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2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Correlation Analysis P3Y" id="{5D7F7EFF-A869-46EF-B09E-E3D432B2D28C}">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Lst>
        </p14:section>
        <p14:section name="Sectors Price Correlation Analysis P3Y" id="{40533B35-3653-4835-9759-52725565CE93}">
          <p14:sldIdLst>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Lst>
        </p14:section>
        <p14:section name="Segments Price Correlation Analysis P3Y" id="{512BEBAF-4F5C-44F1-B254-8A1CD77E5CCD}">
          <p14:sldIdLst>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notesMaster" Target="notesMasters/notesMaster1.xml"/><Relationship Id="rId224" Type="http://schemas.openxmlformats.org/officeDocument/2006/relationships/presProps" Target="presProps.xml"/><Relationship Id="rId225" Type="http://schemas.openxmlformats.org/officeDocument/2006/relationships/viewProps" Target="viewProps.xml"/><Relationship Id="rId226" Type="http://schemas.openxmlformats.org/officeDocument/2006/relationships/theme" Target="theme/theme1.xml"/><Relationship Id="rId227" Type="http://schemas.openxmlformats.org/officeDocument/2006/relationships/tableStyles" Target="tableStyles.xml"/><Relationship Id="rId22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222510548714963</c:v>
                </c:pt>
                <c:pt idx="1">
                  <c:v>0.6644255036483125</c:v>
                </c:pt>
                <c:pt idx="2">
                  <c:v>0.651380581443621</c:v>
                </c:pt>
                <c:pt idx="3">
                  <c:v>0.6617172054319223</c:v>
                </c:pt>
                <c:pt idx="4">
                  <c:v>0.6529883675149433</c:v>
                </c:pt>
                <c:pt idx="5">
                  <c:v>0.6486462204576122</c:v>
                </c:pt>
                <c:pt idx="6">
                  <c:v>0.6113420348309382</c:v>
                </c:pt>
                <c:pt idx="7">
                  <c:v>0.6070268869074918</c:v>
                </c:pt>
                <c:pt idx="8">
                  <c:v>0.626726749174094</c:v>
                </c:pt>
                <c:pt idx="9">
                  <c:v>0.6302936497987517</c:v>
                </c:pt>
                <c:pt idx="10">
                  <c:v>0.6336968835265846</c:v>
                </c:pt>
                <c:pt idx="11">
                  <c:v>0.6607651039295181</c:v>
                </c:pt>
                <c:pt idx="12">
                  <c:v>0.6711275106149424</c:v>
                </c:pt>
                <c:pt idx="13">
                  <c:v>0.6719850339739531</c:v>
                </c:pt>
                <c:pt idx="14">
                  <c:v>0.6791720987564258</c:v>
                </c:pt>
                <c:pt idx="15">
                  <c:v>0.6851847632959411</c:v>
                </c:pt>
                <c:pt idx="16">
                  <c:v>0.6910430791822312</c:v>
                </c:pt>
                <c:pt idx="17">
                  <c:v>0.6643105297463726</c:v>
                </c:pt>
                <c:pt idx="18">
                  <c:v>0.6989267239703545</c:v>
                </c:pt>
                <c:pt idx="19">
                  <c:v>0.7015103994249071</c:v>
                </c:pt>
                <c:pt idx="20">
                  <c:v>0.7341979347825378</c:v>
                </c:pt>
                <c:pt idx="21">
                  <c:v>0.6776203260772503</c:v>
                </c:pt>
                <c:pt idx="22">
                  <c:v>0.6270540239012207</c:v>
                </c:pt>
                <c:pt idx="23">
                  <c:v>0.6246331716770199</c:v>
                </c:pt>
                <c:pt idx="24">
                  <c:v>0.6219669436500921</c:v>
                </c:pt>
                <c:pt idx="25">
                  <c:v>0.5999370300835607</c:v>
                </c:pt>
                <c:pt idx="26">
                  <c:v>0.6050558454909322</c:v>
                </c:pt>
                <c:pt idx="27">
                  <c:v>0.6079294264868358</c:v>
                </c:pt>
                <c:pt idx="28">
                  <c:v>0.5972219486127367</c:v>
                </c:pt>
                <c:pt idx="29">
                  <c:v>0.6030360108341545</c:v>
                </c:pt>
                <c:pt idx="30">
                  <c:v>0.5969424367556282</c:v>
                </c:pt>
                <c:pt idx="31">
                  <c:v>0.5868082492308597</c:v>
                </c:pt>
                <c:pt idx="32">
                  <c:v>0.5734347346884932</c:v>
                </c:pt>
                <c:pt idx="33">
                  <c:v>0.5550179016449902</c:v>
                </c:pt>
                <c:pt idx="34">
                  <c:v>0.5856602303032371</c:v>
                </c:pt>
                <c:pt idx="35">
                  <c:v>0.6672630720143138</c:v>
                </c:pt>
                <c:pt idx="36">
                  <c:v>0.654565557869116</c:v>
                </c:pt>
                <c:pt idx="37">
                  <c:v>0.6287944680555697</c:v>
                </c:pt>
                <c:pt idx="38">
                  <c:v>0.6637069331166262</c:v>
                </c:pt>
                <c:pt idx="39">
                  <c:v>0.6957468363201683</c:v>
                </c:pt>
                <c:pt idx="40">
                  <c:v>0.687916380198556</c:v>
                </c:pt>
                <c:pt idx="41">
                  <c:v>0.6799063773243843</c:v>
                </c:pt>
                <c:pt idx="42">
                  <c:v>0.6936995743226974</c:v>
                </c:pt>
                <c:pt idx="43">
                  <c:v>0.6896296415483597</c:v>
                </c:pt>
                <c:pt idx="44">
                  <c:v>0.7000691279196655</c:v>
                </c:pt>
                <c:pt idx="45">
                  <c:v>0.6881451033689246</c:v>
                </c:pt>
                <c:pt idx="46">
                  <c:v>0.6970049285337645</c:v>
                </c:pt>
                <c:pt idx="47">
                  <c:v>0.6947546347645018</c:v>
                </c:pt>
                <c:pt idx="48">
                  <c:v>0.7071803168784321</c:v>
                </c:pt>
                <c:pt idx="49">
                  <c:v>0.7054050032348653</c:v>
                </c:pt>
                <c:pt idx="50">
                  <c:v>0.6627727796472623</c:v>
                </c:pt>
                <c:pt idx="51">
                  <c:v>0.6522548821574979</c:v>
                </c:pt>
                <c:pt idx="52">
                  <c:v>0.6685020128643611</c:v>
                </c:pt>
                <c:pt idx="53">
                  <c:v>0.6581593099189967</c:v>
                </c:pt>
                <c:pt idx="54">
                  <c:v>0.6354062921776021</c:v>
                </c:pt>
                <c:pt idx="55">
                  <c:v>0.6403917899277966</c:v>
                </c:pt>
                <c:pt idx="56">
                  <c:v>0.6293571128379706</c:v>
                </c:pt>
                <c:pt idx="57">
                  <c:v>0.6292379723097791</c:v>
                </c:pt>
                <c:pt idx="58">
                  <c:v>0.6100217959353095</c:v>
                </c:pt>
                <c:pt idx="59">
                  <c:v>0.6353561430153515</c:v>
                </c:pt>
                <c:pt idx="60">
                  <c:v>0.6422521432144294</c:v>
                </c:pt>
                <c:pt idx="61">
                  <c:v>0.6556352815271135</c:v>
                </c:pt>
                <c:pt idx="62">
                  <c:v>0.630941713328632</c:v>
                </c:pt>
                <c:pt idx="63">
                  <c:v>0.6446857947073779</c:v>
                </c:pt>
                <c:pt idx="64">
                  <c:v>0.6857979358426404</c:v>
                </c:pt>
                <c:pt idx="65">
                  <c:v>0.6914283402838616</c:v>
                </c:pt>
                <c:pt idx="66">
                  <c:v>0.7042687004819187</c:v>
                </c:pt>
                <c:pt idx="67">
                  <c:v>0.7220938599672456</c:v>
                </c:pt>
                <c:pt idx="68">
                  <c:v>0.7307025769262021</c:v>
                </c:pt>
                <c:pt idx="69">
                  <c:v>0.7308639382299895</c:v>
                </c:pt>
                <c:pt idx="70">
                  <c:v>0.7146629258701088</c:v>
                </c:pt>
                <c:pt idx="71">
                  <c:v>0.6950696044234462</c:v>
                </c:pt>
                <c:pt idx="72">
                  <c:v>0.7236533622725869</c:v>
                </c:pt>
                <c:pt idx="73">
                  <c:v>0.7115859940935453</c:v>
                </c:pt>
                <c:pt idx="74">
                  <c:v>0.692030893590753</c:v>
                </c:pt>
                <c:pt idx="75">
                  <c:v>0.6759603593948679</c:v>
                </c:pt>
                <c:pt idx="76">
                  <c:v>0.6681091322986699</c:v>
                </c:pt>
                <c:pt idx="77">
                  <c:v>0.6677286679857721</c:v>
                </c:pt>
                <c:pt idx="78">
                  <c:v>0.6731673361873296</c:v>
                </c:pt>
                <c:pt idx="79">
                  <c:v>0.6651576117864719</c:v>
                </c:pt>
                <c:pt idx="80">
                  <c:v>0.687111217489558</c:v>
                </c:pt>
                <c:pt idx="81">
                  <c:v>0.6986048993410259</c:v>
                </c:pt>
                <c:pt idx="82">
                  <c:v>0.7173883724696921</c:v>
                </c:pt>
                <c:pt idx="83">
                  <c:v>0.6833488582138519</c:v>
                </c:pt>
                <c:pt idx="84">
                  <c:v>0.6921712243066769</c:v>
                </c:pt>
                <c:pt idx="85">
                  <c:v>0.6799751233513974</c:v>
                </c:pt>
                <c:pt idx="86">
                  <c:v>0.6941023408596384</c:v>
                </c:pt>
                <c:pt idx="87">
                  <c:v>0.713615956521522</c:v>
                </c:pt>
                <c:pt idx="88">
                  <c:v>0.6972473733504433</c:v>
                </c:pt>
                <c:pt idx="89">
                  <c:v>0.6671794093892146</c:v>
                </c:pt>
                <c:pt idx="90">
                  <c:v>0.6896893696085942</c:v>
                </c:pt>
                <c:pt idx="91">
                  <c:v>0.7145235465104594</c:v>
                </c:pt>
                <c:pt idx="92">
                  <c:v>0.7029475607129599</c:v>
                </c:pt>
                <c:pt idx="93">
                  <c:v>0.7121751030835664</c:v>
                </c:pt>
                <c:pt idx="94">
                  <c:v>0.7192066345460497</c:v>
                </c:pt>
                <c:pt idx="95">
                  <c:v>0.7225664932863065</c:v>
                </c:pt>
                <c:pt idx="96">
                  <c:v>0.7246518087268266</c:v>
                </c:pt>
                <c:pt idx="97">
                  <c:v>0.7626475065678956</c:v>
                </c:pt>
                <c:pt idx="98">
                  <c:v>0.7718495653746127</c:v>
                </c:pt>
                <c:pt idx="99">
                  <c:v>0.7658933837634635</c:v>
                </c:pt>
                <c:pt idx="100">
                  <c:v>0.7568354787315257</c:v>
                </c:pt>
                <c:pt idx="101">
                  <c:v>0.7179285767058515</c:v>
                </c:pt>
                <c:pt idx="102">
                  <c:v>0.6943718816242654</c:v>
                </c:pt>
                <c:pt idx="103">
                  <c:v>0.7084616520859404</c:v>
                </c:pt>
                <c:pt idx="104">
                  <c:v>0.7097544689970312</c:v>
                </c:pt>
              </c:numCache>
            </c:numRef>
          </c:xVal>
          <c:yVal>
            <c:numRef>
              <c:f>Sheet1!$B$2:$B$106</c:f>
              <c:numCache>
                <c:formatCode>General</c:formatCode>
                <c:ptCount val="105"/>
                <c:pt idx="0">
                  <c:v>0.2222146569528608</c:v>
                </c:pt>
                <c:pt idx="1">
                  <c:v>0.21436831795331712</c:v>
                </c:pt>
                <c:pt idx="2">
                  <c:v>0.21788056610286502</c:v>
                </c:pt>
                <c:pt idx="3">
                  <c:v>0.22284236976901517</c:v>
                </c:pt>
                <c:pt idx="4">
                  <c:v>0.23230982175644757</c:v>
                </c:pt>
                <c:pt idx="5">
                  <c:v>0.23256081761911618</c:v>
                </c:pt>
                <c:pt idx="6">
                  <c:v>0.2603693782602566</c:v>
                </c:pt>
                <c:pt idx="7">
                  <c:v>0.2640731387654637</c:v>
                </c:pt>
                <c:pt idx="8">
                  <c:v>0.25708272083389017</c:v>
                </c:pt>
                <c:pt idx="9">
                  <c:v>0.2529252451947096</c:v>
                </c:pt>
                <c:pt idx="10">
                  <c:v>0.24543585113852945</c:v>
                </c:pt>
                <c:pt idx="11">
                  <c:v>0.22978744913690702</c:v>
                </c:pt>
                <c:pt idx="12">
                  <c:v>0.2215695379614581</c:v>
                </c:pt>
                <c:pt idx="13">
                  <c:v>0.21050827538928607</c:v>
                </c:pt>
                <c:pt idx="14">
                  <c:v>0.19294339713960748</c:v>
                </c:pt>
                <c:pt idx="15">
                  <c:v>0.19069216547261383</c:v>
                </c:pt>
                <c:pt idx="16">
                  <c:v>0.1803606557377049</c:v>
                </c:pt>
                <c:pt idx="17">
                  <c:v>0.1780209562636341</c:v>
                </c:pt>
                <c:pt idx="18">
                  <c:v>0.16206610591162185</c:v>
                </c:pt>
                <c:pt idx="19">
                  <c:v>0.16453110492107706</c:v>
                </c:pt>
                <c:pt idx="20">
                  <c:v>0.17074384594770492</c:v>
                </c:pt>
                <c:pt idx="21">
                  <c:v>0.16795410398879704</c:v>
                </c:pt>
                <c:pt idx="22">
                  <c:v>0.1887250326675378</c:v>
                </c:pt>
                <c:pt idx="23">
                  <c:v>0.19064005505849965</c:v>
                </c:pt>
                <c:pt idx="24">
                  <c:v>0.19543311454192475</c:v>
                </c:pt>
                <c:pt idx="25">
                  <c:v>0.1965275598786738</c:v>
                </c:pt>
                <c:pt idx="26">
                  <c:v>0.2142091277795907</c:v>
                </c:pt>
                <c:pt idx="27">
                  <c:v>0.21903288905063004</c:v>
                </c:pt>
                <c:pt idx="28">
                  <c:v>0.21609717650331495</c:v>
                </c:pt>
                <c:pt idx="29">
                  <c:v>0.21403309077604782</c:v>
                </c:pt>
                <c:pt idx="30">
                  <c:v>0.21525529915422367</c:v>
                </c:pt>
                <c:pt idx="31">
                  <c:v>0.21580469979190986</c:v>
                </c:pt>
                <c:pt idx="32">
                  <c:v>0.22579515903180636</c:v>
                </c:pt>
                <c:pt idx="33">
                  <c:v>0.2243625609463672</c:v>
                </c:pt>
                <c:pt idx="34">
                  <c:v>0.22853110411464553</c:v>
                </c:pt>
                <c:pt idx="35">
                  <c:v>0.24465431218816822</c:v>
                </c:pt>
                <c:pt idx="36">
                  <c:v>0.21023367645953867</c:v>
                </c:pt>
                <c:pt idx="37">
                  <c:v>0.21509433962264152</c:v>
                </c:pt>
                <c:pt idx="38">
                  <c:v>0.2002953183357943</c:v>
                </c:pt>
                <c:pt idx="39">
                  <c:v>0.18644224973338897</c:v>
                </c:pt>
                <c:pt idx="40">
                  <c:v>0.1933965902954563</c:v>
                </c:pt>
                <c:pt idx="41">
                  <c:v>0.1845035313668467</c:v>
                </c:pt>
                <c:pt idx="42">
                  <c:v>0.1825368689733409</c:v>
                </c:pt>
                <c:pt idx="43">
                  <c:v>0.18491152406925856</c:v>
                </c:pt>
                <c:pt idx="44">
                  <c:v>0.179719027169339</c:v>
                </c:pt>
                <c:pt idx="45">
                  <c:v>0.19425275927214875</c:v>
                </c:pt>
                <c:pt idx="46">
                  <c:v>0.20227789562193046</c:v>
                </c:pt>
                <c:pt idx="47">
                  <c:v>0.19447760619247506</c:v>
                </c:pt>
                <c:pt idx="48">
                  <c:v>0.1946365151844604</c:v>
                </c:pt>
                <c:pt idx="49">
                  <c:v>0.2024177181681814</c:v>
                </c:pt>
                <c:pt idx="50">
                  <c:v>0.19343004525223934</c:v>
                </c:pt>
                <c:pt idx="51">
                  <c:v>0.1905886056027699</c:v>
                </c:pt>
                <c:pt idx="52">
                  <c:v>0.19163722255841645</c:v>
                </c:pt>
                <c:pt idx="53">
                  <c:v>0.1821459475050476</c:v>
                </c:pt>
                <c:pt idx="54">
                  <c:v>0.18893706477466823</c:v>
                </c:pt>
                <c:pt idx="55">
                  <c:v>0.18618821936357483</c:v>
                </c:pt>
                <c:pt idx="56">
                  <c:v>0.1827687615728134</c:v>
                </c:pt>
                <c:pt idx="57">
                  <c:v>0.17984808924756707</c:v>
                </c:pt>
                <c:pt idx="58">
                  <c:v>0.19077375079479927</c:v>
                </c:pt>
                <c:pt idx="59">
                  <c:v>0.18824739239018656</c:v>
                </c:pt>
                <c:pt idx="60">
                  <c:v>0.1917924831352393</c:v>
                </c:pt>
                <c:pt idx="61">
                  <c:v>0.18711292376081656</c:v>
                </c:pt>
                <c:pt idx="62">
                  <c:v>0.19957863689034025</c:v>
                </c:pt>
                <c:pt idx="63">
                  <c:v>0.2039075557604749</c:v>
                </c:pt>
                <c:pt idx="64">
                  <c:v>0.1943246991790681</c:v>
                </c:pt>
                <c:pt idx="65">
                  <c:v>0.19147112834115487</c:v>
                </c:pt>
                <c:pt idx="66">
                  <c:v>0.18685303480699092</c:v>
                </c:pt>
                <c:pt idx="67">
                  <c:v>0.1743600914933014</c:v>
                </c:pt>
                <c:pt idx="68">
                  <c:v>0.16798753104031278</c:v>
                </c:pt>
                <c:pt idx="69">
                  <c:v>0.1637571027589512</c:v>
                </c:pt>
                <c:pt idx="70">
                  <c:v>0.16157501697216564</c:v>
                </c:pt>
                <c:pt idx="71">
                  <c:v>0.15957227341493604</c:v>
                </c:pt>
                <c:pt idx="72">
                  <c:v>0.16045343380263072</c:v>
                </c:pt>
                <c:pt idx="73">
                  <c:v>0.16063700882811147</c:v>
                </c:pt>
                <c:pt idx="74">
                  <c:v>0.16004937942079275</c:v>
                </c:pt>
                <c:pt idx="75">
                  <c:v>0.1704176288700145</c:v>
                </c:pt>
                <c:pt idx="76">
                  <c:v>0.17403464829889376</c:v>
                </c:pt>
                <c:pt idx="77">
                  <c:v>0.16306754103838603</c:v>
                </c:pt>
                <c:pt idx="78">
                  <c:v>0.17122101414413549</c:v>
                </c:pt>
                <c:pt idx="79">
                  <c:v>0.16867216425445977</c:v>
                </c:pt>
                <c:pt idx="80">
                  <c:v>0.15128412624047022</c:v>
                </c:pt>
                <c:pt idx="81">
                  <c:v>0.15918572867213351</c:v>
                </c:pt>
                <c:pt idx="82">
                  <c:v>0.1604518736223365</c:v>
                </c:pt>
                <c:pt idx="83">
                  <c:v>0.15352127547249497</c:v>
                </c:pt>
                <c:pt idx="84">
                  <c:v>0.1606915980776667</c:v>
                </c:pt>
                <c:pt idx="85">
                  <c:v>0.16671613733056298</c:v>
                </c:pt>
                <c:pt idx="86">
                  <c:v>0.1759307231144993</c:v>
                </c:pt>
                <c:pt idx="87">
                  <c:v>0.19704711230134958</c:v>
                </c:pt>
                <c:pt idx="88">
                  <c:v>0.18048567053161235</c:v>
                </c:pt>
                <c:pt idx="89">
                  <c:v>0.17244673736505206</c:v>
                </c:pt>
                <c:pt idx="90">
                  <c:v>0.1624969158647915</c:v>
                </c:pt>
                <c:pt idx="91">
                  <c:v>0.1546732452057345</c:v>
                </c:pt>
                <c:pt idx="92">
                  <c:v>0.17381197362905376</c:v>
                </c:pt>
                <c:pt idx="93">
                  <c:v>0.16256891670391893</c:v>
                </c:pt>
                <c:pt idx="94">
                  <c:v>0.16598507525612377</c:v>
                </c:pt>
                <c:pt idx="95">
                  <c:v>0.17649211625850134</c:v>
                </c:pt>
                <c:pt idx="96">
                  <c:v>0.17222309294046526</c:v>
                </c:pt>
                <c:pt idx="97">
                  <c:v>0.17688563038294014</c:v>
                </c:pt>
                <c:pt idx="98">
                  <c:v>0.184845203101095</c:v>
                </c:pt>
                <c:pt idx="99">
                  <c:v>0.1852970193428802</c:v>
                </c:pt>
                <c:pt idx="100">
                  <c:v>0.18696157822191592</c:v>
                </c:pt>
                <c:pt idx="101">
                  <c:v>0.17836053875657837</c:v>
                </c:pt>
                <c:pt idx="102">
                  <c:v>0.16761097479366496</c:v>
                </c:pt>
                <c:pt idx="103">
                  <c:v>0.16980733033013978</c:v>
                </c:pt>
                <c:pt idx="104">
                  <c:v>0.1651442481502012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965231313523472</c:v>
                </c:pt>
                <c:pt idx="1">
                  <c:v>0.6866164893166699</c:v>
                </c:pt>
                <c:pt idx="2">
                  <c:v>0.6885540698119439</c:v>
                </c:pt>
                <c:pt idx="3">
                  <c:v>0.6516036105274993</c:v>
                </c:pt>
                <c:pt idx="4">
                  <c:v>0.6451638939840388</c:v>
                </c:pt>
                <c:pt idx="5">
                  <c:v>0.6813830135844173</c:v>
                </c:pt>
                <c:pt idx="6">
                  <c:v>0.6750642805140896</c:v>
                </c:pt>
                <c:pt idx="7">
                  <c:v>0.6691049967483454</c:v>
                </c:pt>
                <c:pt idx="8">
                  <c:v>0.6790664980113976</c:v>
                </c:pt>
                <c:pt idx="9">
                  <c:v>0.6590132576146425</c:v>
                </c:pt>
                <c:pt idx="10">
                  <c:v>0.6732018698600186</c:v>
                </c:pt>
                <c:pt idx="11">
                  <c:v>0.6791908754350978</c:v>
                </c:pt>
                <c:pt idx="12">
                  <c:v>0.6861514764418489</c:v>
                </c:pt>
                <c:pt idx="13">
                  <c:v>0.6536625844568668</c:v>
                </c:pt>
                <c:pt idx="14">
                  <c:v>0.6576018517063896</c:v>
                </c:pt>
                <c:pt idx="15">
                  <c:v>0.6622879663961417</c:v>
                </c:pt>
                <c:pt idx="16">
                  <c:v>0.6693225912486297</c:v>
                </c:pt>
                <c:pt idx="17">
                  <c:v>0.6566739328147946</c:v>
                </c:pt>
                <c:pt idx="18">
                  <c:v>0.6729485215297695</c:v>
                </c:pt>
                <c:pt idx="19">
                  <c:v>0.6759360663265842</c:v>
                </c:pt>
                <c:pt idx="20">
                  <c:v>0.6478720672435612</c:v>
                </c:pt>
                <c:pt idx="21">
                  <c:v>0.5755057852122222</c:v>
                </c:pt>
                <c:pt idx="22">
                  <c:v>0.6257947014064296</c:v>
                </c:pt>
                <c:pt idx="23">
                  <c:v>0.6321058159241841</c:v>
                </c:pt>
                <c:pt idx="24">
                  <c:v>0.615337012558164</c:v>
                </c:pt>
                <c:pt idx="25">
                  <c:v>0.6662815859524006</c:v>
                </c:pt>
                <c:pt idx="26">
                  <c:v>0.6525734453004399</c:v>
                </c:pt>
                <c:pt idx="27">
                  <c:v>0.6704811817923034</c:v>
                </c:pt>
                <c:pt idx="28">
                  <c:v>0.6862729261793721</c:v>
                </c:pt>
                <c:pt idx="29">
                  <c:v>0.6493510028211523</c:v>
                </c:pt>
                <c:pt idx="30">
                  <c:v>0.6546764309706666</c:v>
                </c:pt>
                <c:pt idx="31">
                  <c:v>0.6502976485424151</c:v>
                </c:pt>
                <c:pt idx="32">
                  <c:v>0.6536433572523714</c:v>
                </c:pt>
                <c:pt idx="33">
                  <c:v>0.6820168088528903</c:v>
                </c:pt>
                <c:pt idx="34">
                  <c:v>0.7062466100726772</c:v>
                </c:pt>
                <c:pt idx="35">
                  <c:v>0.6921947741429638</c:v>
                </c:pt>
                <c:pt idx="36">
                  <c:v>0.6467492399674769</c:v>
                </c:pt>
                <c:pt idx="37">
                  <c:v>0.6506392388449894</c:v>
                </c:pt>
                <c:pt idx="38">
                  <c:v>0.6457329521049858</c:v>
                </c:pt>
                <c:pt idx="39">
                  <c:v>0.6689215932399518</c:v>
                </c:pt>
                <c:pt idx="40">
                  <c:v>0.6545290876567662</c:v>
                </c:pt>
                <c:pt idx="41">
                  <c:v>0.6818279962563</c:v>
                </c:pt>
                <c:pt idx="42">
                  <c:v>0.6488405913705083</c:v>
                </c:pt>
                <c:pt idx="43">
                  <c:v>0.7006352408534089</c:v>
                </c:pt>
                <c:pt idx="44">
                  <c:v>0.7283508881034758</c:v>
                </c:pt>
                <c:pt idx="45">
                  <c:v>0.733204820684695</c:v>
                </c:pt>
                <c:pt idx="46">
                  <c:v>0.7128857451137722</c:v>
                </c:pt>
                <c:pt idx="47">
                  <c:v>0.708152635184384</c:v>
                </c:pt>
                <c:pt idx="48">
                  <c:v>0.750585634691467</c:v>
                </c:pt>
                <c:pt idx="49">
                  <c:v>0.7692867880727414</c:v>
                </c:pt>
                <c:pt idx="50">
                  <c:v>0.7549416578632173</c:v>
                </c:pt>
                <c:pt idx="51">
                  <c:v>0.7216004536912652</c:v>
                </c:pt>
              </c:numCache>
            </c:numRef>
          </c:xVal>
          <c:yVal>
            <c:numRef>
              <c:f>Sheet1!$B$109:$B$160</c:f>
              <c:numCache>
                <c:formatCode>General</c:formatCode>
                <c:ptCount val="52"/>
                <c:pt idx="0">
                  <c:v>0.17802097185585664</c:v>
                </c:pt>
                <c:pt idx="1">
                  <c:v>0.17260350615442</c:v>
                </c:pt>
                <c:pt idx="2">
                  <c:v>0.1908182123655914</c:v>
                </c:pt>
                <c:pt idx="3">
                  <c:v>0.2053767718431356</c:v>
                </c:pt>
                <c:pt idx="4">
                  <c:v>0.1903469538408094</c:v>
                </c:pt>
                <c:pt idx="5">
                  <c:v>0.18622834490461904</c:v>
                </c:pt>
                <c:pt idx="6">
                  <c:v>0.1955257649123549</c:v>
                </c:pt>
                <c:pt idx="7">
                  <c:v>0.19260207710911936</c:v>
                </c:pt>
                <c:pt idx="8">
                  <c:v>0.18238248229826257</c:v>
                </c:pt>
                <c:pt idx="9">
                  <c:v>0.18989008472635677</c:v>
                </c:pt>
                <c:pt idx="10">
                  <c:v>0.19436705194339465</c:v>
                </c:pt>
                <c:pt idx="11">
                  <c:v>0.1953908232455593</c:v>
                </c:pt>
                <c:pt idx="12">
                  <c:v>0.19392331353166312</c:v>
                </c:pt>
                <c:pt idx="13">
                  <c:v>0.19547250296904917</c:v>
                </c:pt>
                <c:pt idx="14">
                  <c:v>0.19394758459866973</c:v>
                </c:pt>
                <c:pt idx="15">
                  <c:v>0.186550055192324</c:v>
                </c:pt>
                <c:pt idx="16">
                  <c:v>0.17574328415283133</c:v>
                </c:pt>
                <c:pt idx="17">
                  <c:v>0.17712701203841472</c:v>
                </c:pt>
                <c:pt idx="18">
                  <c:v>0.17935530898193894</c:v>
                </c:pt>
                <c:pt idx="19">
                  <c:v>0.18094147206621342</c:v>
                </c:pt>
                <c:pt idx="20">
                  <c:v>0.16802036610498242</c:v>
                </c:pt>
                <c:pt idx="21">
                  <c:v>0.18832418904610645</c:v>
                </c:pt>
                <c:pt idx="22">
                  <c:v>0.16631099039674072</c:v>
                </c:pt>
                <c:pt idx="23">
                  <c:v>0.1754661532225375</c:v>
                </c:pt>
                <c:pt idx="24">
                  <c:v>0.1894596397598399</c:v>
                </c:pt>
                <c:pt idx="25">
                  <c:v>0.1797612506867789</c:v>
                </c:pt>
                <c:pt idx="26">
                  <c:v>0.17359107520677053</c:v>
                </c:pt>
                <c:pt idx="27">
                  <c:v>0.17504155478839023</c:v>
                </c:pt>
                <c:pt idx="28">
                  <c:v>0.1650057115846693</c:v>
                </c:pt>
                <c:pt idx="29">
                  <c:v>0.16573712585982525</c:v>
                </c:pt>
                <c:pt idx="30">
                  <c:v>0.1741023903996903</c:v>
                </c:pt>
                <c:pt idx="31">
                  <c:v>0.16851621285118823</c:v>
                </c:pt>
                <c:pt idx="32">
                  <c:v>0.1653202538949798</c:v>
                </c:pt>
                <c:pt idx="33">
                  <c:v>0.18113479147506897</c:v>
                </c:pt>
                <c:pt idx="34">
                  <c:v>0.20092111034525972</c:v>
                </c:pt>
                <c:pt idx="35">
                  <c:v>0.19210507060803395</c:v>
                </c:pt>
                <c:pt idx="36">
                  <c:v>0.17825081976025373</c:v>
                </c:pt>
                <c:pt idx="37">
                  <c:v>0.16967456340905773</c:v>
                </c:pt>
                <c:pt idx="38">
                  <c:v>0.16960600375234522</c:v>
                </c:pt>
                <c:pt idx="39">
                  <c:v>0.18535355622597843</c:v>
                </c:pt>
                <c:pt idx="40">
                  <c:v>0.17469904101203837</c:v>
                </c:pt>
                <c:pt idx="41">
                  <c:v>0.1779274968418635</c:v>
                </c:pt>
                <c:pt idx="42">
                  <c:v>0.17411245116358076</c:v>
                </c:pt>
                <c:pt idx="43">
                  <c:v>0.17360419144354086</c:v>
                </c:pt>
                <c:pt idx="44">
                  <c:v>0.1737144383598237</c:v>
                </c:pt>
                <c:pt idx="45">
                  <c:v>0.19012611441684774</c:v>
                </c:pt>
                <c:pt idx="46">
                  <c:v>0.19959677419354838</c:v>
                </c:pt>
                <c:pt idx="47">
                  <c:v>0.19990393632350587</c:v>
                </c:pt>
                <c:pt idx="48">
                  <c:v>0.19524801357710406</c:v>
                </c:pt>
                <c:pt idx="49">
                  <c:v>0.20261610043016418</c:v>
                </c:pt>
                <c:pt idx="50">
                  <c:v>0.21060356975105685</c:v>
                </c:pt>
                <c:pt idx="51">
                  <c:v>0.1990467903334256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214601375049543</c:v>
                </c:pt>
              </c:numCache>
            </c:numRef>
          </c:xVal>
          <c:yVal>
            <c:numRef>
              <c:f>Sheet1!$B$163:$B$164</c:f>
              <c:numCache>
                <c:formatCode>General</c:formatCode>
                <c:ptCount val="2"/>
                <c:pt idx="0">
                  <c:v>0.23596686533480357</c:v>
                </c:pt>
                <c:pt idx="1">
                  <c:v>0.2359668653348035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214601375049543</c:v>
                </c:pt>
                <c:pt idx="1">
                  <c:v>1.0214601375049543</c:v>
                </c:pt>
              </c:numCache>
            </c:numRef>
          </c:xVal>
          <c:yVal>
            <c:numRef>
              <c:f>Sheet1!$B$167:$B$168</c:f>
              <c:numCache>
                <c:formatCode>General</c:formatCode>
                <c:ptCount val="2"/>
                <c:pt idx="0">
                  <c:v>0.2359668653348035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943613927515939</c:v>
                </c:pt>
              </c:numCache>
            </c:numRef>
          </c:xVal>
          <c:yVal>
            <c:numRef>
              <c:f>Sheet1!$B$171:$B$172</c:f>
              <c:numCache>
                <c:formatCode>General</c:formatCode>
                <c:ptCount val="2"/>
                <c:pt idx="0">
                  <c:v>0.20187861852293768</c:v>
                </c:pt>
                <c:pt idx="1">
                  <c:v>0.2018786185229376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943613927515939</c:v>
                </c:pt>
                <c:pt idx="1">
                  <c:v>0.7943613927515939</c:v>
                </c:pt>
              </c:numCache>
            </c:numRef>
          </c:xVal>
          <c:yVal>
            <c:numRef>
              <c:f>Sheet1!$B$175:$B$176</c:f>
              <c:numCache>
                <c:formatCode>General</c:formatCode>
                <c:ptCount val="2"/>
                <c:pt idx="0">
                  <c:v>0.2018786185229376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08333618797937</c:v>
                </c:pt>
              </c:numCache>
            </c:numRef>
          </c:xVal>
          <c:yVal>
            <c:numRef>
              <c:f>Sheet1!$B$179:$B$180</c:f>
              <c:numCache>
                <c:formatCode>General</c:formatCode>
                <c:ptCount val="2"/>
                <c:pt idx="0">
                  <c:v>0.18896557492865215</c:v>
                </c:pt>
                <c:pt idx="1">
                  <c:v>0.1889655749286521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08333618797937</c:v>
                </c:pt>
                <c:pt idx="1">
                  <c:v>0.708333618797937</c:v>
                </c:pt>
              </c:numCache>
            </c:numRef>
          </c:xVal>
          <c:yVal>
            <c:numRef>
              <c:f>Sheet1!$B$183:$B$184</c:f>
              <c:numCache>
                <c:formatCode>General</c:formatCode>
                <c:ptCount val="2"/>
                <c:pt idx="0">
                  <c:v>0.188965574928652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965231313523472</c:v>
                </c:pt>
                <c:pt idx="1">
                  <c:v>0.6866164893166699</c:v>
                </c:pt>
                <c:pt idx="2">
                  <c:v>0.6885540698119439</c:v>
                </c:pt>
                <c:pt idx="3">
                  <c:v>0.6516036105274993</c:v>
                </c:pt>
                <c:pt idx="4">
                  <c:v>0.6451638939840388</c:v>
                </c:pt>
                <c:pt idx="5">
                  <c:v>0.6813830135844173</c:v>
                </c:pt>
                <c:pt idx="6">
                  <c:v>0.6750642805140896</c:v>
                </c:pt>
                <c:pt idx="7">
                  <c:v>0.6691049967483454</c:v>
                </c:pt>
                <c:pt idx="8">
                  <c:v>0.6790664980113976</c:v>
                </c:pt>
                <c:pt idx="9">
                  <c:v>0.6590132576146425</c:v>
                </c:pt>
                <c:pt idx="10">
                  <c:v>0.6732018698600186</c:v>
                </c:pt>
                <c:pt idx="11">
                  <c:v>0.6791908754350978</c:v>
                </c:pt>
                <c:pt idx="12">
                  <c:v>0.6861514764418489</c:v>
                </c:pt>
                <c:pt idx="13">
                  <c:v>0.6536625844568668</c:v>
                </c:pt>
                <c:pt idx="14">
                  <c:v>0.6576018517063896</c:v>
                </c:pt>
                <c:pt idx="15">
                  <c:v>0.6622879663961417</c:v>
                </c:pt>
                <c:pt idx="16">
                  <c:v>0.6693225912486297</c:v>
                </c:pt>
                <c:pt idx="17">
                  <c:v>0.6566739328147946</c:v>
                </c:pt>
                <c:pt idx="18">
                  <c:v>0.6729485215297695</c:v>
                </c:pt>
                <c:pt idx="19">
                  <c:v>0.6759360663265842</c:v>
                </c:pt>
                <c:pt idx="20">
                  <c:v>0.6478720672435612</c:v>
                </c:pt>
                <c:pt idx="21">
                  <c:v>0.5755057852122222</c:v>
                </c:pt>
                <c:pt idx="22">
                  <c:v>0.6257947014064296</c:v>
                </c:pt>
                <c:pt idx="23">
                  <c:v>0.6321058159241841</c:v>
                </c:pt>
                <c:pt idx="24">
                  <c:v>0.615337012558164</c:v>
                </c:pt>
                <c:pt idx="25">
                  <c:v>0.6662815859524006</c:v>
                </c:pt>
                <c:pt idx="26">
                  <c:v>0.6525734453004399</c:v>
                </c:pt>
                <c:pt idx="27">
                  <c:v>0.6704811817923034</c:v>
                </c:pt>
                <c:pt idx="28">
                  <c:v>0.6862729261793721</c:v>
                </c:pt>
                <c:pt idx="29">
                  <c:v>0.6493510028211523</c:v>
                </c:pt>
                <c:pt idx="30">
                  <c:v>0.6546764309706666</c:v>
                </c:pt>
                <c:pt idx="31">
                  <c:v>0.6502976485424151</c:v>
                </c:pt>
                <c:pt idx="32">
                  <c:v>0.6536433572523714</c:v>
                </c:pt>
                <c:pt idx="33">
                  <c:v>0.6820168088528903</c:v>
                </c:pt>
                <c:pt idx="34">
                  <c:v>0.7062466100726772</c:v>
                </c:pt>
                <c:pt idx="35">
                  <c:v>0.6921947741429638</c:v>
                </c:pt>
                <c:pt idx="36">
                  <c:v>0.6467492399674769</c:v>
                </c:pt>
                <c:pt idx="37">
                  <c:v>0.6506392388449894</c:v>
                </c:pt>
                <c:pt idx="38">
                  <c:v>0.6457329521049858</c:v>
                </c:pt>
                <c:pt idx="39">
                  <c:v>0.6689215932399518</c:v>
                </c:pt>
                <c:pt idx="40">
                  <c:v>0.6545290876567662</c:v>
                </c:pt>
                <c:pt idx="41">
                  <c:v>0.6818279962563</c:v>
                </c:pt>
                <c:pt idx="42">
                  <c:v>0.6488405913705083</c:v>
                </c:pt>
                <c:pt idx="43">
                  <c:v>0.7006352408534089</c:v>
                </c:pt>
                <c:pt idx="44">
                  <c:v>0.7283508881034758</c:v>
                </c:pt>
                <c:pt idx="45">
                  <c:v>0.733204820684695</c:v>
                </c:pt>
                <c:pt idx="46">
                  <c:v>0.7128857451137722</c:v>
                </c:pt>
                <c:pt idx="47">
                  <c:v>0.708152635184384</c:v>
                </c:pt>
                <c:pt idx="48">
                  <c:v>0.750585634691467</c:v>
                </c:pt>
                <c:pt idx="49">
                  <c:v>0.7692867880727414</c:v>
                </c:pt>
                <c:pt idx="50">
                  <c:v>0.7549416578632173</c:v>
                </c:pt>
                <c:pt idx="51">
                  <c:v>0.7216004536912652</c:v>
                </c:pt>
                <c:pt idx="52">
                  <c:v>0.7943613927515939</c:v>
                </c:pt>
                <c:pt idx="53">
                  <c:v>1.0214601375049543</c:v>
                </c:pt>
                <c:pt idx="54">
                  <c:v>0.708333618797937</c:v>
                </c:pt>
              </c:numCache>
            </c:numRef>
          </c:xVal>
          <c:yVal>
            <c:numRef>
              <c:f>Sheet1!$B$187:$B$241</c:f>
              <c:numCache>
                <c:formatCode>General</c:formatCode>
                <c:ptCount val="55"/>
                <c:pt idx="0">
                  <c:v>0.1871927830470812</c:v>
                </c:pt>
                <c:pt idx="1">
                  <c:v>0.1857057644413389</c:v>
                </c:pt>
                <c:pt idx="2">
                  <c:v>0.18599660146121097</c:v>
                </c:pt>
                <c:pt idx="3">
                  <c:v>0.18045021952383872</c:v>
                </c:pt>
                <c:pt idx="4">
                  <c:v>0.17948359750586879</c:v>
                </c:pt>
                <c:pt idx="5">
                  <c:v>0.18492020302117917</c:v>
                </c:pt>
                <c:pt idx="6">
                  <c:v>0.18397174100887895</c:v>
                </c:pt>
                <c:pt idx="7">
                  <c:v>0.1830772334850736</c:v>
                </c:pt>
                <c:pt idx="8">
                  <c:v>0.1845724866360341</c:v>
                </c:pt>
                <c:pt idx="9">
                  <c:v>0.18156243121382265</c:v>
                </c:pt>
                <c:pt idx="10">
                  <c:v>0.18369218722222122</c:v>
                </c:pt>
                <c:pt idx="11">
                  <c:v>0.1845911560845223</c:v>
                </c:pt>
                <c:pt idx="12">
                  <c:v>0.1856359645238413</c:v>
                </c:pt>
                <c:pt idx="13">
                  <c:v>0.18075927808582992</c:v>
                </c:pt>
                <c:pt idx="14">
                  <c:v>0.18135057467976518</c:v>
                </c:pt>
                <c:pt idx="15">
                  <c:v>0.18205397545948532</c:v>
                </c:pt>
                <c:pt idx="16">
                  <c:v>0.18310989511443948</c:v>
                </c:pt>
                <c:pt idx="17">
                  <c:v>0.1812112910908909</c:v>
                </c:pt>
                <c:pt idx="18">
                  <c:v>0.18365415882880015</c:v>
                </c:pt>
                <c:pt idx="19">
                  <c:v>0.18410259884332306</c:v>
                </c:pt>
                <c:pt idx="20">
                  <c:v>0.17989010296049007</c:v>
                </c:pt>
                <c:pt idx="21">
                  <c:v>0.16902769293078923</c:v>
                </c:pt>
                <c:pt idx="22">
                  <c:v>0.17657621984577127</c:v>
                </c:pt>
                <c:pt idx="23">
                  <c:v>0.17752353828900094</c:v>
                </c:pt>
                <c:pt idx="24">
                  <c:v>0.17500648735372895</c:v>
                </c:pt>
                <c:pt idx="25">
                  <c:v>0.18265343050823205</c:v>
                </c:pt>
                <c:pt idx="26">
                  <c:v>0.18059579482035848</c:v>
                </c:pt>
                <c:pt idx="27">
                  <c:v>0.183283803254925</c:v>
                </c:pt>
                <c:pt idx="28">
                  <c:v>0.185654194517285</c:v>
                </c:pt>
                <c:pt idx="29">
                  <c:v>0.18011209591356664</c:v>
                </c:pt>
                <c:pt idx="30">
                  <c:v>0.18091145968520111</c:v>
                </c:pt>
                <c:pt idx="31">
                  <c:v>0.18025419045937685</c:v>
                </c:pt>
                <c:pt idx="32">
                  <c:v>0.18075639202103438</c:v>
                </c:pt>
                <c:pt idx="33">
                  <c:v>0.18501533771495904</c:v>
                </c:pt>
                <c:pt idx="34">
                  <c:v>0.18865230825427032</c:v>
                </c:pt>
                <c:pt idx="35">
                  <c:v>0.1865430828076386</c:v>
                </c:pt>
                <c:pt idx="36">
                  <c:v>0.17972156300067732</c:v>
                </c:pt>
                <c:pt idx="37">
                  <c:v>0.18030546425463867</c:v>
                </c:pt>
                <c:pt idx="38">
                  <c:v>0.17956901494707128</c:v>
                </c:pt>
                <c:pt idx="39">
                  <c:v>0.1830497040327771</c:v>
                </c:pt>
                <c:pt idx="40">
                  <c:v>0.18088934298325382</c:v>
                </c:pt>
                <c:pt idx="41">
                  <c:v>0.18498699634125065</c:v>
                </c:pt>
                <c:pt idx="42">
                  <c:v>0.18003548152486074</c:v>
                </c:pt>
                <c:pt idx="43">
                  <c:v>0.18781002381493242</c:v>
                </c:pt>
                <c:pt idx="44">
                  <c:v>0.19197023097520083</c:v>
                </c:pt>
                <c:pt idx="45">
                  <c:v>0.19269882175634517</c:v>
                </c:pt>
                <c:pt idx="46">
                  <c:v>0.18964886362556463</c:v>
                </c:pt>
                <c:pt idx="47">
                  <c:v>0.188938408710299</c:v>
                </c:pt>
                <c:pt idx="48">
                  <c:v>0.19530773744320834</c:v>
                </c:pt>
                <c:pt idx="49">
                  <c:v>0.1981148402865983</c:v>
                </c:pt>
                <c:pt idx="50">
                  <c:v>0.19596159043195166</c:v>
                </c:pt>
                <c:pt idx="51">
                  <c:v>0.19095696921287508</c:v>
                </c:pt>
                <c:pt idx="52">
                  <c:v>0.20187861852293768</c:v>
                </c:pt>
                <c:pt idx="53">
                  <c:v>0.23596686533480354</c:v>
                </c:pt>
                <c:pt idx="54">
                  <c:v>0.188965574928652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8877665185564"/>
          <c:min val="0.1210273009923761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5.339</c:v>
                </c:pt>
                <c:pt idx="1">
                  <c:v>908.2997</c:v>
                </c:pt>
                <c:pt idx="2">
                  <c:v>940.9637</c:v>
                </c:pt>
                <c:pt idx="3">
                  <c:v>955.9334</c:v>
                </c:pt>
                <c:pt idx="4">
                  <c:v>942.4441</c:v>
                </c:pt>
                <c:pt idx="5">
                  <c:v>940.2147</c:v>
                </c:pt>
                <c:pt idx="6">
                  <c:v>909.8198</c:v>
                </c:pt>
                <c:pt idx="7">
                  <c:v>924.4938</c:v>
                </c:pt>
                <c:pt idx="8">
                  <c:v>923.6388</c:v>
                </c:pt>
                <c:pt idx="9">
                  <c:v>897.1056</c:v>
                </c:pt>
                <c:pt idx="10">
                  <c:v>879.3296</c:v>
                </c:pt>
                <c:pt idx="11">
                  <c:v>894.5324</c:v>
                </c:pt>
                <c:pt idx="12">
                  <c:v>888.5455</c:v>
                </c:pt>
                <c:pt idx="13">
                  <c:v>871.4541</c:v>
                </c:pt>
                <c:pt idx="14">
                  <c:v>924.2327</c:v>
                </c:pt>
                <c:pt idx="15">
                  <c:v>926.4744</c:v>
                </c:pt>
                <c:pt idx="16">
                  <c:v>967.2882</c:v>
                </c:pt>
                <c:pt idx="17">
                  <c:v>949.7834</c:v>
                </c:pt>
                <c:pt idx="18">
                  <c:v>1007.0661</c:v>
                </c:pt>
                <c:pt idx="19">
                  <c:v>1009.8445</c:v>
                </c:pt>
                <c:pt idx="20">
                  <c:v>1021.2071</c:v>
                </c:pt>
                <c:pt idx="21">
                  <c:v>1026.5957</c:v>
                </c:pt>
                <c:pt idx="22">
                  <c:v>1010.5776</c:v>
                </c:pt>
                <c:pt idx="23">
                  <c:v>995.7251</c:v>
                </c:pt>
                <c:pt idx="24">
                  <c:v>1003.6206</c:v>
                </c:pt>
                <c:pt idx="25">
                  <c:v>975.6425</c:v>
                </c:pt>
                <c:pt idx="26">
                  <c:v>996.5869</c:v>
                </c:pt>
                <c:pt idx="27">
                  <c:v>1051.6926</c:v>
                </c:pt>
                <c:pt idx="28">
                  <c:v>1017.9765</c:v>
                </c:pt>
                <c:pt idx="29">
                  <c:v>955.151</c:v>
                </c:pt>
                <c:pt idx="30">
                  <c:v>975.1197</c:v>
                </c:pt>
                <c:pt idx="31">
                  <c:v>979.0429</c:v>
                </c:pt>
                <c:pt idx="32">
                  <c:v>964.5436</c:v>
                </c:pt>
                <c:pt idx="33">
                  <c:v>917.2174</c:v>
                </c:pt>
                <c:pt idx="34">
                  <c:v>975.4718</c:v>
                </c:pt>
                <c:pt idx="35">
                  <c:v>1007.2858</c:v>
                </c:pt>
                <c:pt idx="36">
                  <c:v>1086.5904</c:v>
                </c:pt>
                <c:pt idx="37">
                  <c:v>1090.6655</c:v>
                </c:pt>
                <c:pt idx="38">
                  <c:v>1115.782</c:v>
                </c:pt>
                <c:pt idx="39">
                  <c:v>1139.0051</c:v>
                </c:pt>
                <c:pt idx="40">
                  <c:v>1161.8093</c:v>
                </c:pt>
                <c:pt idx="41">
                  <c:v>1164.516</c:v>
                </c:pt>
                <c:pt idx="42">
                  <c:v>1188.0815</c:v>
                </c:pt>
                <c:pt idx="43">
                  <c:v>1207.3765</c:v>
                </c:pt>
                <c:pt idx="44">
                  <c:v>1068.4104</c:v>
                </c:pt>
                <c:pt idx="45">
                  <c:v>1044.4211</c:v>
                </c:pt>
                <c:pt idx="46">
                  <c:v>1022.3771</c:v>
                </c:pt>
                <c:pt idx="47">
                  <c:v>998.029</c:v>
                </c:pt>
                <c:pt idx="48">
                  <c:v>992.409</c:v>
                </c:pt>
                <c:pt idx="49">
                  <c:v>950.193</c:v>
                </c:pt>
                <c:pt idx="50">
                  <c:v>957.3793</c:v>
                </c:pt>
                <c:pt idx="51">
                  <c:v>985.9719</c:v>
                </c:pt>
                <c:pt idx="52">
                  <c:v>989.7834</c:v>
                </c:pt>
                <c:pt idx="53">
                  <c:v>1077.0405</c:v>
                </c:pt>
                <c:pt idx="54">
                  <c:v>1079.7286</c:v>
                </c:pt>
                <c:pt idx="55">
                  <c:v>1113.3342</c:v>
                </c:pt>
                <c:pt idx="56">
                  <c:v>1089.9423</c:v>
                </c:pt>
                <c:pt idx="57">
                  <c:v>1092.6085</c:v>
                </c:pt>
                <c:pt idx="58">
                  <c:v>1065.2985</c:v>
                </c:pt>
                <c:pt idx="59">
                  <c:v>1076.2585</c:v>
                </c:pt>
                <c:pt idx="60">
                  <c:v>1099.4991</c:v>
                </c:pt>
                <c:pt idx="61">
                  <c:v>1074.6468</c:v>
                </c:pt>
                <c:pt idx="62">
                  <c:v>1024.3388</c:v>
                </c:pt>
                <c:pt idx="63">
                  <c:v>1051.3767</c:v>
                </c:pt>
                <c:pt idx="64">
                  <c:v>1058.04</c:v>
                </c:pt>
                <c:pt idx="65">
                  <c:v>1027.6052</c:v>
                </c:pt>
                <c:pt idx="66">
                  <c:v>1040.2006</c:v>
                </c:pt>
                <c:pt idx="67">
                  <c:v>1026.6074</c:v>
                </c:pt>
                <c:pt idx="68">
                  <c:v>1024.3861</c:v>
                </c:pt>
                <c:pt idx="69">
                  <c:v>1042.0443</c:v>
                </c:pt>
                <c:pt idx="70">
                  <c:v>1039.7038</c:v>
                </c:pt>
                <c:pt idx="71">
                  <c:v>1056.9024</c:v>
                </c:pt>
                <c:pt idx="72">
                  <c:v>1076.037</c:v>
                </c:pt>
                <c:pt idx="73">
                  <c:v>1112.2362</c:v>
                </c:pt>
                <c:pt idx="74">
                  <c:v>1082.1863</c:v>
                </c:pt>
                <c:pt idx="75">
                  <c:v>1094.3358</c:v>
                </c:pt>
                <c:pt idx="76">
                  <c:v>1069.793</c:v>
                </c:pt>
                <c:pt idx="77">
                  <c:v>1033.0136</c:v>
                </c:pt>
                <c:pt idx="78">
                  <c:v>1099.6623</c:v>
                </c:pt>
                <c:pt idx="79">
                  <c:v>835.6999</c:v>
                </c:pt>
                <c:pt idx="80">
                  <c:v>829.1711</c:v>
                </c:pt>
                <c:pt idx="81">
                  <c:v>1000.7921</c:v>
                </c:pt>
                <c:pt idx="82">
                  <c:v>1004.7331</c:v>
                </c:pt>
                <c:pt idx="83">
                  <c:v>1035.0474</c:v>
                </c:pt>
                <c:pt idx="84">
                  <c:v>1034.8995</c:v>
                </c:pt>
                <c:pt idx="85">
                  <c:v>1059.6931</c:v>
                </c:pt>
                <c:pt idx="86">
                  <c:v>1143.2755</c:v>
                </c:pt>
                <c:pt idx="87">
                  <c:v>1164.9097</c:v>
                </c:pt>
                <c:pt idx="88">
                  <c:v>1166.1309</c:v>
                </c:pt>
                <c:pt idx="89">
                  <c:v>1119.1226</c:v>
                </c:pt>
                <c:pt idx="90">
                  <c:v>1152.0588</c:v>
                </c:pt>
                <c:pt idx="91">
                  <c:v>1172.9296</c:v>
                </c:pt>
                <c:pt idx="92">
                  <c:v>1168.2515</c:v>
                </c:pt>
                <c:pt idx="93">
                  <c:v>1196.6421</c:v>
                </c:pt>
                <c:pt idx="94">
                  <c:v>1182.9458</c:v>
                </c:pt>
                <c:pt idx="95">
                  <c:v>1191.1058</c:v>
                </c:pt>
                <c:pt idx="96">
                  <c:v>1134.5103</c:v>
                </c:pt>
                <c:pt idx="97">
                  <c:v>1151.7349</c:v>
                </c:pt>
                <c:pt idx="98">
                  <c:v>1135.9488</c:v>
                </c:pt>
                <c:pt idx="99">
                  <c:v>1087.9181</c:v>
                </c:pt>
                <c:pt idx="100">
                  <c:v>1075.9064</c:v>
                </c:pt>
                <c:pt idx="101">
                  <c:v>1118.8907</c:v>
                </c:pt>
                <c:pt idx="102">
                  <c:v>1146.2543</c:v>
                </c:pt>
                <c:pt idx="103">
                  <c:v>1027.8397</c:v>
                </c:pt>
                <c:pt idx="104">
                  <c:v>1112.0425</c:v>
                </c:pt>
              </c:numCache>
            </c:numRef>
          </c:xVal>
          <c:yVal>
            <c:numRef>
              <c:f>Sheet1!$B$2:$B$106</c:f>
              <c:numCache>
                <c:formatCode>General</c:formatCode>
                <c:ptCount val="105"/>
                <c:pt idx="0">
                  <c:v>0.22194230725584985</c:v>
                </c:pt>
                <c:pt idx="1">
                  <c:v>0.22026857992494867</c:v>
                </c:pt>
                <c:pt idx="2">
                  <c:v>0.20593717638936831</c:v>
                </c:pt>
                <c:pt idx="3">
                  <c:v>0.2040204890306369</c:v>
                </c:pt>
                <c:pt idx="4">
                  <c:v>0.19666111126804328</c:v>
                </c:pt>
                <c:pt idx="5">
                  <c:v>0.18609471714409098</c:v>
                </c:pt>
                <c:pt idx="6">
                  <c:v>0.2048780487804878</c:v>
                </c:pt>
                <c:pt idx="7">
                  <c:v>0.1934277403062366</c:v>
                </c:pt>
                <c:pt idx="8">
                  <c:v>0.20359481491380463</c:v>
                </c:pt>
                <c:pt idx="9">
                  <c:v>0.20617391075701402</c:v>
                </c:pt>
                <c:pt idx="10">
                  <c:v>0.21707292607081954</c:v>
                </c:pt>
                <c:pt idx="11">
                  <c:v>0.2116915611494427</c:v>
                </c:pt>
                <c:pt idx="12">
                  <c:v>0.22563269096819133</c:v>
                </c:pt>
                <c:pt idx="13">
                  <c:v>0.23082949760062677</c:v>
                </c:pt>
                <c:pt idx="14">
                  <c:v>0.22157152191273624</c:v>
                </c:pt>
                <c:pt idx="15">
                  <c:v>0.21490062398890686</c:v>
                </c:pt>
                <c:pt idx="16">
                  <c:v>0.20514754098360655</c:v>
                </c:pt>
                <c:pt idx="17">
                  <c:v>0.19200371920037193</c:v>
                </c:pt>
                <c:pt idx="18">
                  <c:v>0.18350906290723848</c:v>
                </c:pt>
                <c:pt idx="19">
                  <c:v>0.15793871866295264</c:v>
                </c:pt>
                <c:pt idx="20">
                  <c:v>0.17411278281842196</c:v>
                </c:pt>
                <c:pt idx="21">
                  <c:v>0.16994172652120884</c:v>
                </c:pt>
                <c:pt idx="22">
                  <c:v>0.1656244166511107</c:v>
                </c:pt>
                <c:pt idx="23">
                  <c:v>0.16955068331530823</c:v>
                </c:pt>
                <c:pt idx="24">
                  <c:v>0.1800869002496071</c:v>
                </c:pt>
                <c:pt idx="25">
                  <c:v>0.17639368266917688</c:v>
                </c:pt>
                <c:pt idx="26">
                  <c:v>0.17197333457647662</c:v>
                </c:pt>
                <c:pt idx="27">
                  <c:v>0.17267888823181549</c:v>
                </c:pt>
                <c:pt idx="28">
                  <c:v>0.16393898650841485</c:v>
                </c:pt>
                <c:pt idx="29">
                  <c:v>0.17797471441928533</c:v>
                </c:pt>
                <c:pt idx="30">
                  <c:v>0.16221154850161845</c:v>
                </c:pt>
                <c:pt idx="31">
                  <c:v>0.15748870730345632</c:v>
                </c:pt>
                <c:pt idx="32">
                  <c:v>0.16348269653930786</c:v>
                </c:pt>
                <c:pt idx="33">
                  <c:v>0.18088082487411078</c:v>
                </c:pt>
                <c:pt idx="34">
                  <c:v>0.18054500054282924</c:v>
                </c:pt>
                <c:pt idx="35">
                  <c:v>0.19449394155381325</c:v>
                </c:pt>
                <c:pt idx="36">
                  <c:v>0.16721767225185966</c:v>
                </c:pt>
                <c:pt idx="37">
                  <c:v>0.13747257569109259</c:v>
                </c:pt>
                <c:pt idx="38">
                  <c:v>0.13328411361070094</c:v>
                </c:pt>
                <c:pt idx="39">
                  <c:v>0.13529929985626188</c:v>
                </c:pt>
                <c:pt idx="40">
                  <c:v>0.14140245313584818</c:v>
                </c:pt>
                <c:pt idx="41">
                  <c:v>0.1320315745741587</c:v>
                </c:pt>
                <c:pt idx="42">
                  <c:v>0.13478445830969937</c:v>
                </c:pt>
                <c:pt idx="43">
                  <c:v>0.14850637407242975</c:v>
                </c:pt>
                <c:pt idx="44">
                  <c:v>0.160577483329377</c:v>
                </c:pt>
                <c:pt idx="45">
                  <c:v>0.17985482748334494</c:v>
                </c:pt>
                <c:pt idx="46">
                  <c:v>0.1890920904278698</c:v>
                </c:pt>
                <c:pt idx="47">
                  <c:v>0.1872183925751916</c:v>
                </c:pt>
                <c:pt idx="48">
                  <c:v>0.20402986156410813</c:v>
                </c:pt>
                <c:pt idx="49">
                  <c:v>0.2373207055109464</c:v>
                </c:pt>
                <c:pt idx="50">
                  <c:v>0.19963127804987058</c:v>
                </c:pt>
                <c:pt idx="51">
                  <c:v>0.18215747110931246</c:v>
                </c:pt>
                <c:pt idx="52">
                  <c:v>0.19546332988463117</c:v>
                </c:pt>
                <c:pt idx="53">
                  <c:v>0.18087203153542927</c:v>
                </c:pt>
                <c:pt idx="54">
                  <c:v>0.1730390224674813</c:v>
                </c:pt>
                <c:pt idx="55">
                  <c:v>0.1718077183480027</c:v>
                </c:pt>
                <c:pt idx="56">
                  <c:v>0.18865047380459646</c:v>
                </c:pt>
                <c:pt idx="57">
                  <c:v>0.1838357464989319</c:v>
                </c:pt>
                <c:pt idx="58">
                  <c:v>0.19846960029818675</c:v>
                </c:pt>
                <c:pt idx="59">
                  <c:v>0.20095489936829733</c:v>
                </c:pt>
                <c:pt idx="60">
                  <c:v>0.20754898811435915</c:v>
                </c:pt>
                <c:pt idx="61">
                  <c:v>0.20793681621026736</c:v>
                </c:pt>
                <c:pt idx="62">
                  <c:v>0.215126935636785</c:v>
                </c:pt>
                <c:pt idx="63">
                  <c:v>0.22940080302768331</c:v>
                </c:pt>
                <c:pt idx="64">
                  <c:v>0.21880271394834502</c:v>
                </c:pt>
                <c:pt idx="65">
                  <c:v>0.21689451132421955</c:v>
                </c:pt>
                <c:pt idx="66">
                  <c:v>0.2178862817026121</c:v>
                </c:pt>
                <c:pt idx="67">
                  <c:v>0.21287441455179174</c:v>
                </c:pt>
                <c:pt idx="68">
                  <c:v>0.19509166798753105</c:v>
                </c:pt>
                <c:pt idx="69">
                  <c:v>0.1761484219894571</c:v>
                </c:pt>
                <c:pt idx="70">
                  <c:v>0.1632560695697152</c:v>
                </c:pt>
                <c:pt idx="71">
                  <c:v>0.1733943061477101</c:v>
                </c:pt>
                <c:pt idx="72">
                  <c:v>0.1759865159627206</c:v>
                </c:pt>
                <c:pt idx="73">
                  <c:v>0.17940107322139517</c:v>
                </c:pt>
                <c:pt idx="74">
                  <c:v>0.1715601227812625</c:v>
                </c:pt>
                <c:pt idx="75">
                  <c:v>0.16595561470116246</c:v>
                </c:pt>
                <c:pt idx="76">
                  <c:v>0.1590899603423085</c:v>
                </c:pt>
                <c:pt idx="77">
                  <c:v>0.16565724071676205</c:v>
                </c:pt>
                <c:pt idx="78">
                  <c:v>0.15544116232079283</c:v>
                </c:pt>
                <c:pt idx="79">
                  <c:v>0.18983507236620667</c:v>
                </c:pt>
                <c:pt idx="80">
                  <c:v>0.18471825886962817</c:v>
                </c:pt>
                <c:pt idx="81">
                  <c:v>0.16555171917709682</c:v>
                </c:pt>
                <c:pt idx="82">
                  <c:v>0.15227773695811903</c:v>
                </c:pt>
                <c:pt idx="83">
                  <c:v>0.14037588427832332</c:v>
                </c:pt>
                <c:pt idx="84">
                  <c:v>0.13738054466110589</c:v>
                </c:pt>
                <c:pt idx="85">
                  <c:v>0.1408924507766894</c:v>
                </c:pt>
                <c:pt idx="86">
                  <c:v>0.14388276219376805</c:v>
                </c:pt>
                <c:pt idx="87">
                  <c:v>0.16424116424116425</c:v>
                </c:pt>
                <c:pt idx="88">
                  <c:v>0.15143294683876612</c:v>
                </c:pt>
                <c:pt idx="89">
                  <c:v>0.13790962071271615</c:v>
                </c:pt>
                <c:pt idx="90">
                  <c:v>0.13506044905008635</c:v>
                </c:pt>
                <c:pt idx="91">
                  <c:v>0.13018990876931671</c:v>
                </c:pt>
                <c:pt idx="92">
                  <c:v>0.14122937388056858</c:v>
                </c:pt>
                <c:pt idx="93">
                  <c:v>0.13123975562509313</c:v>
                </c:pt>
                <c:pt idx="94">
                  <c:v>0.13373245077785742</c:v>
                </c:pt>
                <c:pt idx="95">
                  <c:v>0.14385922108024032</c:v>
                </c:pt>
                <c:pt idx="96">
                  <c:v>0.13698139399502945</c:v>
                </c:pt>
                <c:pt idx="97">
                  <c:v>0.14533199314137055</c:v>
                </c:pt>
                <c:pt idx="98">
                  <c:v>0.16315129011740842</c:v>
                </c:pt>
                <c:pt idx="99">
                  <c:v>0.17124577715327813</c:v>
                </c:pt>
                <c:pt idx="100">
                  <c:v>0.19575939007580978</c:v>
                </c:pt>
                <c:pt idx="101">
                  <c:v>0.17001159575417002</c:v>
                </c:pt>
                <c:pt idx="102">
                  <c:v>0.14514833816640643</c:v>
                </c:pt>
                <c:pt idx="103">
                  <c:v>0.16519679377366073</c:v>
                </c:pt>
                <c:pt idx="104">
                  <c:v>0.1671687835916222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63.5546</c:v>
                </c:pt>
                <c:pt idx="1">
                  <c:v>1155.5966</c:v>
                </c:pt>
                <c:pt idx="2">
                  <c:v>1143.6186</c:v>
                </c:pt>
                <c:pt idx="3">
                  <c:v>1162.3873</c:v>
                </c:pt>
                <c:pt idx="4">
                  <c:v>1154.7918</c:v>
                </c:pt>
                <c:pt idx="5">
                  <c:v>1172.1345</c:v>
                </c:pt>
                <c:pt idx="6">
                  <c:v>1112.6925</c:v>
                </c:pt>
                <c:pt idx="7">
                  <c:v>1130.1033</c:v>
                </c:pt>
                <c:pt idx="8">
                  <c:v>1197.7869</c:v>
                </c:pt>
                <c:pt idx="9">
                  <c:v>1137.9749</c:v>
                </c:pt>
                <c:pt idx="10">
                  <c:v>1156.724</c:v>
                </c:pt>
                <c:pt idx="11">
                  <c:v>1086.2682</c:v>
                </c:pt>
                <c:pt idx="12">
                  <c:v>1102.1906</c:v>
                </c:pt>
                <c:pt idx="13">
                  <c:v>1121.3606</c:v>
                </c:pt>
                <c:pt idx="14">
                  <c:v>1145.0526</c:v>
                </c:pt>
                <c:pt idx="15">
                  <c:v>1154.4245</c:v>
                </c:pt>
                <c:pt idx="16">
                  <c:v>1167.8843</c:v>
                </c:pt>
                <c:pt idx="17">
                  <c:v>1148.4451</c:v>
                </c:pt>
                <c:pt idx="18">
                  <c:v>1120.5366</c:v>
                </c:pt>
                <c:pt idx="19">
                  <c:v>1186.8136</c:v>
                </c:pt>
                <c:pt idx="20">
                  <c:v>1152.9145</c:v>
                </c:pt>
                <c:pt idx="21">
                  <c:v>1180.6063</c:v>
                </c:pt>
                <c:pt idx="22">
                  <c:v>1165.3685</c:v>
                </c:pt>
                <c:pt idx="23">
                  <c:v>1120.998</c:v>
                </c:pt>
                <c:pt idx="24">
                  <c:v>1127.2032</c:v>
                </c:pt>
                <c:pt idx="25">
                  <c:v>1097.0884</c:v>
                </c:pt>
                <c:pt idx="26">
                  <c:v>1156.8356</c:v>
                </c:pt>
                <c:pt idx="27">
                  <c:v>1200.9329</c:v>
                </c:pt>
                <c:pt idx="28">
                  <c:v>1216.4221</c:v>
                </c:pt>
                <c:pt idx="29">
                  <c:v>1215.7485</c:v>
                </c:pt>
                <c:pt idx="30">
                  <c:v>1217.9024</c:v>
                </c:pt>
                <c:pt idx="31">
                  <c:v>1128.4813</c:v>
                </c:pt>
                <c:pt idx="32">
                  <c:v>1150.3066</c:v>
                </c:pt>
                <c:pt idx="33">
                  <c:v>1196.1109</c:v>
                </c:pt>
                <c:pt idx="34">
                  <c:v>1251.2024</c:v>
                </c:pt>
                <c:pt idx="35">
                  <c:v>1234.7583</c:v>
                </c:pt>
                <c:pt idx="36">
                  <c:v>1196.4672</c:v>
                </c:pt>
                <c:pt idx="37">
                  <c:v>1243.4517</c:v>
                </c:pt>
                <c:pt idx="38">
                  <c:v>1207.2</c:v>
                </c:pt>
                <c:pt idx="39">
                  <c:v>1224.0096</c:v>
                </c:pt>
                <c:pt idx="40">
                  <c:v>1240.0289</c:v>
                </c:pt>
                <c:pt idx="41">
                  <c:v>1269.3422</c:v>
                </c:pt>
                <c:pt idx="42">
                  <c:v>1261.3194</c:v>
                </c:pt>
                <c:pt idx="43">
                  <c:v>1269.6004</c:v>
                </c:pt>
                <c:pt idx="44">
                  <c:v>1196.4278</c:v>
                </c:pt>
                <c:pt idx="45">
                  <c:v>1170.8185</c:v>
                </c:pt>
                <c:pt idx="46">
                  <c:v>1156.6739</c:v>
                </c:pt>
                <c:pt idx="47">
                  <c:v>1141.2065</c:v>
                </c:pt>
                <c:pt idx="48">
                  <c:v>1110.0836</c:v>
                </c:pt>
                <c:pt idx="49">
                  <c:v>1123.5574</c:v>
                </c:pt>
                <c:pt idx="50">
                  <c:v>1041.2598</c:v>
                </c:pt>
                <c:pt idx="51">
                  <c:v>1015.0635</c:v>
                </c:pt>
              </c:numCache>
            </c:numRef>
          </c:xVal>
          <c:yVal>
            <c:numRef>
              <c:f>Sheet1!$B$109:$B$160</c:f>
              <c:numCache>
                <c:formatCode>General</c:formatCode>
                <c:ptCount val="52"/>
                <c:pt idx="0">
                  <c:v>0.16764404525735213</c:v>
                </c:pt>
                <c:pt idx="1">
                  <c:v>0.1625792614696009</c:v>
                </c:pt>
                <c:pt idx="2">
                  <c:v>0.17124495967741934</c:v>
                </c:pt>
                <c:pt idx="3">
                  <c:v>0.17870228847804695</c:v>
                </c:pt>
                <c:pt idx="4">
                  <c:v>0.16702852924573364</c:v>
                </c:pt>
                <c:pt idx="5">
                  <c:v>0.16200530015988085</c:v>
                </c:pt>
                <c:pt idx="6">
                  <c:v>0.16994058317298544</c:v>
                </c:pt>
                <c:pt idx="7">
                  <c:v>0.16670934699103712</c:v>
                </c:pt>
                <c:pt idx="8">
                  <c:v>0.16762843507283445</c:v>
                </c:pt>
                <c:pt idx="9">
                  <c:v>0.18330661781543395</c:v>
                </c:pt>
                <c:pt idx="10">
                  <c:v>0.18040881630851563</c:v>
                </c:pt>
                <c:pt idx="11">
                  <c:v>0.2011106951204293</c:v>
                </c:pt>
                <c:pt idx="12">
                  <c:v>0.1919274930146282</c:v>
                </c:pt>
                <c:pt idx="13">
                  <c:v>0.18640781405269152</c:v>
                </c:pt>
                <c:pt idx="14">
                  <c:v>0.18856824866841562</c:v>
                </c:pt>
                <c:pt idx="15">
                  <c:v>0.1724264809940279</c:v>
                </c:pt>
                <c:pt idx="16">
                  <c:v>0.17109078741913897</c:v>
                </c:pt>
                <c:pt idx="17">
                  <c:v>0.15125794670634385</c:v>
                </c:pt>
                <c:pt idx="18">
                  <c:v>0.14926702842795822</c:v>
                </c:pt>
                <c:pt idx="19">
                  <c:v>0.159806384865504</c:v>
                </c:pt>
                <c:pt idx="20">
                  <c:v>0.1573928152907423</c:v>
                </c:pt>
                <c:pt idx="21">
                  <c:v>0.15343151410145345</c:v>
                </c:pt>
                <c:pt idx="22">
                  <c:v>0.15176059753613347</c:v>
                </c:pt>
                <c:pt idx="23">
                  <c:v>0.15393190109444668</c:v>
                </c:pt>
                <c:pt idx="24">
                  <c:v>0.15267321071190318</c:v>
                </c:pt>
                <c:pt idx="25">
                  <c:v>0.15868338244842914</c:v>
                </c:pt>
                <c:pt idx="26">
                  <c:v>0.14334487401423351</c:v>
                </c:pt>
                <c:pt idx="27">
                  <c:v>0.13084430805949793</c:v>
                </c:pt>
                <c:pt idx="28">
                  <c:v>0.14007169023515972</c:v>
                </c:pt>
                <c:pt idx="29">
                  <c:v>0.12953151143335193</c:v>
                </c:pt>
                <c:pt idx="30">
                  <c:v>0.14574663698828993</c:v>
                </c:pt>
                <c:pt idx="31">
                  <c:v>0.13473718399826773</c:v>
                </c:pt>
                <c:pt idx="32">
                  <c:v>0.1377187920753991</c:v>
                </c:pt>
                <c:pt idx="33">
                  <c:v>0.15714342836578832</c:v>
                </c:pt>
                <c:pt idx="34">
                  <c:v>0.17673413121122877</c:v>
                </c:pt>
                <c:pt idx="35">
                  <c:v>0.17000804858418087</c:v>
                </c:pt>
                <c:pt idx="36">
                  <c:v>0.1492232435628662</c:v>
                </c:pt>
                <c:pt idx="37">
                  <c:v>0.13839568030354624</c:v>
                </c:pt>
                <c:pt idx="38">
                  <c:v>0.1364245510586974</c:v>
                </c:pt>
                <c:pt idx="39">
                  <c:v>0.1550192172583378</c:v>
                </c:pt>
                <c:pt idx="40">
                  <c:v>0.13829830646806773</c:v>
                </c:pt>
                <c:pt idx="41">
                  <c:v>0.1422884048539601</c:v>
                </c:pt>
                <c:pt idx="42">
                  <c:v>0.13852556480380498</c:v>
                </c:pt>
                <c:pt idx="43">
                  <c:v>0.13625405805020732</c:v>
                </c:pt>
                <c:pt idx="44">
                  <c:v>0.14037665286496595</c:v>
                </c:pt>
                <c:pt idx="45">
                  <c:v>0.15610974594342114</c:v>
                </c:pt>
                <c:pt idx="46">
                  <c:v>0.15033521181500195</c:v>
                </c:pt>
                <c:pt idx="47">
                  <c:v>0.15482262528304477</c:v>
                </c:pt>
                <c:pt idx="48">
                  <c:v>0.1476510067114094</c:v>
                </c:pt>
                <c:pt idx="49">
                  <c:v>0.15917829865683433</c:v>
                </c:pt>
                <c:pt idx="50">
                  <c:v>0.198731798966651</c:v>
                </c:pt>
                <c:pt idx="51">
                  <c:v>0.182217300162164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4.6675474147884</c:v>
                </c:pt>
              </c:numCache>
            </c:numRef>
          </c:xVal>
          <c:yVal>
            <c:numRef>
              <c:f>Sheet1!$B$163:$B$164</c:f>
              <c:numCache>
                <c:formatCode>General</c:formatCode>
                <c:ptCount val="2"/>
                <c:pt idx="0">
                  <c:v>0.20409166500149634</c:v>
                </c:pt>
                <c:pt idx="1">
                  <c:v>0.2040916650014963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4.6675474147884</c:v>
                </c:pt>
                <c:pt idx="1">
                  <c:v>924.6675474147884</c:v>
                </c:pt>
              </c:numCache>
            </c:numRef>
          </c:xVal>
          <c:yVal>
            <c:numRef>
              <c:f>Sheet1!$B$167:$B$168</c:f>
              <c:numCache>
                <c:formatCode>General</c:formatCode>
                <c:ptCount val="2"/>
                <c:pt idx="0">
                  <c:v>0.204091665001496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1.6151830890688</c:v>
                </c:pt>
              </c:numCache>
            </c:numRef>
          </c:xVal>
          <c:yVal>
            <c:numRef>
              <c:f>Sheet1!$B$171:$B$172</c:f>
              <c:numCache>
                <c:formatCode>General</c:formatCode>
                <c:ptCount val="2"/>
                <c:pt idx="0">
                  <c:v>0.17280020329117562</c:v>
                </c:pt>
                <c:pt idx="1">
                  <c:v>0.1728002032911756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1.6151830890688</c:v>
                </c:pt>
                <c:pt idx="1">
                  <c:v>1091.6151830890688</c:v>
                </c:pt>
              </c:numCache>
            </c:numRef>
          </c:xVal>
          <c:yVal>
            <c:numRef>
              <c:f>Sheet1!$B$175:$B$176</c:f>
              <c:numCache>
                <c:formatCode>General</c:formatCode>
                <c:ptCount val="2"/>
                <c:pt idx="0">
                  <c:v>0.172800203291175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92.8184121094273</c:v>
                </c:pt>
              </c:numCache>
            </c:numRef>
          </c:xVal>
          <c:yVal>
            <c:numRef>
              <c:f>Sheet1!$B$179:$B$180</c:f>
              <c:numCache>
                <c:formatCode>General</c:formatCode>
                <c:ptCount val="2"/>
                <c:pt idx="0">
                  <c:v>0.1538313993721439</c:v>
                </c:pt>
                <c:pt idx="1">
                  <c:v>0.153831399372143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92.8184121094273</c:v>
                </c:pt>
                <c:pt idx="1">
                  <c:v>1192.8184121094273</c:v>
                </c:pt>
              </c:numCache>
            </c:numRef>
          </c:xVal>
          <c:yVal>
            <c:numRef>
              <c:f>Sheet1!$B$183:$B$184</c:f>
              <c:numCache>
                <c:formatCode>General</c:formatCode>
                <c:ptCount val="2"/>
                <c:pt idx="0">
                  <c:v>0.153831399372143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63.5546</c:v>
                </c:pt>
                <c:pt idx="1">
                  <c:v>1155.5966</c:v>
                </c:pt>
                <c:pt idx="2">
                  <c:v>1143.6186</c:v>
                </c:pt>
                <c:pt idx="3">
                  <c:v>1162.3873</c:v>
                </c:pt>
                <c:pt idx="4">
                  <c:v>1154.7918</c:v>
                </c:pt>
                <c:pt idx="5">
                  <c:v>1172.1345</c:v>
                </c:pt>
                <c:pt idx="6">
                  <c:v>1112.6925</c:v>
                </c:pt>
                <c:pt idx="7">
                  <c:v>1130.1033</c:v>
                </c:pt>
                <c:pt idx="8">
                  <c:v>1197.7869</c:v>
                </c:pt>
                <c:pt idx="9">
                  <c:v>1137.9749</c:v>
                </c:pt>
                <c:pt idx="10">
                  <c:v>1156.724</c:v>
                </c:pt>
                <c:pt idx="11">
                  <c:v>1086.2682</c:v>
                </c:pt>
                <c:pt idx="12">
                  <c:v>1102.1906</c:v>
                </c:pt>
                <c:pt idx="13">
                  <c:v>1121.3606</c:v>
                </c:pt>
                <c:pt idx="14">
                  <c:v>1145.0526</c:v>
                </c:pt>
                <c:pt idx="15">
                  <c:v>1154.4245</c:v>
                </c:pt>
                <c:pt idx="16">
                  <c:v>1167.8843</c:v>
                </c:pt>
                <c:pt idx="17">
                  <c:v>1148.4451</c:v>
                </c:pt>
                <c:pt idx="18">
                  <c:v>1120.5366</c:v>
                </c:pt>
                <c:pt idx="19">
                  <c:v>1186.8136</c:v>
                </c:pt>
                <c:pt idx="20">
                  <c:v>1152.9145</c:v>
                </c:pt>
                <c:pt idx="21">
                  <c:v>1180.6063</c:v>
                </c:pt>
                <c:pt idx="22">
                  <c:v>1165.3685</c:v>
                </c:pt>
                <c:pt idx="23">
                  <c:v>1120.998</c:v>
                </c:pt>
                <c:pt idx="24">
                  <c:v>1127.2032</c:v>
                </c:pt>
                <c:pt idx="25">
                  <c:v>1097.0884</c:v>
                </c:pt>
                <c:pt idx="26">
                  <c:v>1156.8356</c:v>
                </c:pt>
                <c:pt idx="27">
                  <c:v>1200.9329</c:v>
                </c:pt>
                <c:pt idx="28">
                  <c:v>1216.4221</c:v>
                </c:pt>
                <c:pt idx="29">
                  <c:v>1215.7485</c:v>
                </c:pt>
                <c:pt idx="30">
                  <c:v>1217.9024</c:v>
                </c:pt>
                <c:pt idx="31">
                  <c:v>1128.4813</c:v>
                </c:pt>
                <c:pt idx="32">
                  <c:v>1150.3066</c:v>
                </c:pt>
                <c:pt idx="33">
                  <c:v>1196.1109</c:v>
                </c:pt>
                <c:pt idx="34">
                  <c:v>1251.2024</c:v>
                </c:pt>
                <c:pt idx="35">
                  <c:v>1234.7583</c:v>
                </c:pt>
                <c:pt idx="36">
                  <c:v>1196.4672</c:v>
                </c:pt>
                <c:pt idx="37">
                  <c:v>1243.4517</c:v>
                </c:pt>
                <c:pt idx="38">
                  <c:v>1207.2</c:v>
                </c:pt>
                <c:pt idx="39">
                  <c:v>1224.0096</c:v>
                </c:pt>
                <c:pt idx="40">
                  <c:v>1240.0289</c:v>
                </c:pt>
                <c:pt idx="41">
                  <c:v>1269.3422</c:v>
                </c:pt>
                <c:pt idx="42">
                  <c:v>1261.3194</c:v>
                </c:pt>
                <c:pt idx="43">
                  <c:v>1269.6004</c:v>
                </c:pt>
                <c:pt idx="44">
                  <c:v>1196.4278</c:v>
                </c:pt>
                <c:pt idx="45">
                  <c:v>1170.8185</c:v>
                </c:pt>
                <c:pt idx="46">
                  <c:v>1156.6739</c:v>
                </c:pt>
                <c:pt idx="47">
                  <c:v>1141.2065</c:v>
                </c:pt>
                <c:pt idx="48">
                  <c:v>1110.0836</c:v>
                </c:pt>
                <c:pt idx="49">
                  <c:v>1123.5574</c:v>
                </c:pt>
                <c:pt idx="50">
                  <c:v>1041.2598</c:v>
                </c:pt>
                <c:pt idx="51">
                  <c:v>1015.0635</c:v>
                </c:pt>
                <c:pt idx="52">
                  <c:v>1091.6151830890688</c:v>
                </c:pt>
                <c:pt idx="53">
                  <c:v>924.6675474147884</c:v>
                </c:pt>
                <c:pt idx="54">
                  <c:v>1192.8184121094273</c:v>
                </c:pt>
              </c:numCache>
            </c:numRef>
          </c:xVal>
          <c:yVal>
            <c:numRef>
              <c:f>Sheet1!$B$187:$B$241</c:f>
              <c:numCache>
                <c:formatCode>General</c:formatCode>
                <c:ptCount val="55"/>
                <c:pt idx="0">
                  <c:v>0.15931639742211173</c:v>
                </c:pt>
                <c:pt idx="1">
                  <c:v>0.16080798759219697</c:v>
                </c:pt>
                <c:pt idx="2">
                  <c:v>0.16305305759185534</c:v>
                </c:pt>
                <c:pt idx="3">
                  <c:v>0.15953518772187802</c:v>
                </c:pt>
                <c:pt idx="4">
                  <c:v>0.16095883350434634</c:v>
                </c:pt>
                <c:pt idx="5">
                  <c:v>0.15770824279779475</c:v>
                </c:pt>
                <c:pt idx="6">
                  <c:v>0.16884962290463162</c:v>
                </c:pt>
                <c:pt idx="7">
                  <c:v>0.16558626802484772</c:v>
                </c:pt>
                <c:pt idx="8">
                  <c:v>0.1529001418077099</c:v>
                </c:pt>
                <c:pt idx="9">
                  <c:v>0.16411087204811448</c:v>
                </c:pt>
                <c:pt idx="10">
                  <c:v>0.16059667586088835</c:v>
                </c:pt>
                <c:pt idx="11">
                  <c:v>0.17380240326796215</c:v>
                </c:pt>
                <c:pt idx="12">
                  <c:v>0.17081802335791368</c:v>
                </c:pt>
                <c:pt idx="13">
                  <c:v>0.16722493670793448</c:v>
                </c:pt>
                <c:pt idx="14">
                  <c:v>0.16278427896608225</c:v>
                </c:pt>
                <c:pt idx="15">
                  <c:v>0.16102767756937175</c:v>
                </c:pt>
                <c:pt idx="16">
                  <c:v>0.15850486965641455</c:v>
                </c:pt>
                <c:pt idx="17">
                  <c:v>0.16214841321438406</c:v>
                </c:pt>
                <c:pt idx="18">
                  <c:v>0.16737938132971764</c:v>
                </c:pt>
                <c:pt idx="19">
                  <c:v>0.15495689807981303</c:v>
                </c:pt>
                <c:pt idx="20">
                  <c:v>0.16131070108744522</c:v>
                </c:pt>
                <c:pt idx="21">
                  <c:v>0.15612034965844712</c:v>
                </c:pt>
                <c:pt idx="22">
                  <c:v>0.15897641307811602</c:v>
                </c:pt>
                <c:pt idx="23">
                  <c:v>0.16729289983883078</c:v>
                </c:pt>
                <c:pt idx="24">
                  <c:v>0.1661298418690629</c:v>
                </c:pt>
                <c:pt idx="25">
                  <c:v>0.17177434295653254</c:v>
                </c:pt>
                <c:pt idx="26">
                  <c:v>0.16057575836114196</c:v>
                </c:pt>
                <c:pt idx="27">
                  <c:v>0.15231047823959123</c:v>
                </c:pt>
                <c:pt idx="28">
                  <c:v>0.149407294215655</c:v>
                </c:pt>
                <c:pt idx="29">
                  <c:v>0.14953354894530685</c:v>
                </c:pt>
                <c:pt idx="30">
                  <c:v>0.1491298374515463</c:v>
                </c:pt>
                <c:pt idx="31">
                  <c:v>0.16589028401578493</c:v>
                </c:pt>
                <c:pt idx="32">
                  <c:v>0.1617995070694213</c:v>
                </c:pt>
                <c:pt idx="33">
                  <c:v>0.15321427916949212</c:v>
                </c:pt>
                <c:pt idx="34">
                  <c:v>0.14288832543045565</c:v>
                </c:pt>
                <c:pt idx="35">
                  <c:v>0.14597048902883453</c:v>
                </c:pt>
                <c:pt idx="36">
                  <c:v>0.15314749686519435</c:v>
                </c:pt>
                <c:pt idx="37">
                  <c:v>0.14434106078246364</c:v>
                </c:pt>
                <c:pt idx="38">
                  <c:v>0.15113581817991023</c:v>
                </c:pt>
                <c:pt idx="39">
                  <c:v>0.1479851478955341</c:v>
                </c:pt>
                <c:pt idx="40">
                  <c:v>0.14498260574780267</c:v>
                </c:pt>
                <c:pt idx="41">
                  <c:v>0.13948833204426406</c:v>
                </c:pt>
                <c:pt idx="42">
                  <c:v>0.1409920678593633</c:v>
                </c:pt>
                <c:pt idx="43">
                  <c:v>0.1394399368970014</c:v>
                </c:pt>
                <c:pt idx="44">
                  <c:v>0.1531548817172554</c:v>
                </c:pt>
                <c:pt idx="45">
                  <c:v>0.15795490435394352</c:v>
                </c:pt>
                <c:pt idx="46">
                  <c:v>0.160606066243839</c:v>
                </c:pt>
                <c:pt idx="47">
                  <c:v>0.16350516423287853</c:v>
                </c:pt>
                <c:pt idx="48">
                  <c:v>0.16933861631940111</c:v>
                </c:pt>
                <c:pt idx="49">
                  <c:v>0.16681318434733594</c:v>
                </c:pt>
                <c:pt idx="50">
                  <c:v>0.18223845340760342</c:v>
                </c:pt>
                <c:pt idx="51">
                  <c:v>0.18714849909403275</c:v>
                </c:pt>
                <c:pt idx="52">
                  <c:v>0.17280020329117562</c:v>
                </c:pt>
                <c:pt idx="53">
                  <c:v>0.20409166500149634</c:v>
                </c:pt>
                <c:pt idx="54">
                  <c:v>0.153831399372143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24.0"/>
          <c:min val="65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478484661313563"/>
          <c:min val="0.1036252091466815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72.2873</c:v>
                </c:pt>
                <c:pt idx="1">
                  <c:v>974.8146</c:v>
                </c:pt>
                <c:pt idx="2">
                  <c:v>1009.843</c:v>
                </c:pt>
                <c:pt idx="3">
                  <c:v>1028.4172</c:v>
                </c:pt>
                <c:pt idx="4">
                  <c:v>1029.7472</c:v>
                </c:pt>
                <c:pt idx="5">
                  <c:v>1038.6931</c:v>
                </c:pt>
                <c:pt idx="6">
                  <c:v>1005.2735</c:v>
                </c:pt>
                <c:pt idx="7">
                  <c:v>1025.658</c:v>
                </c:pt>
                <c:pt idx="8">
                  <c:v>1014.4635</c:v>
                </c:pt>
                <c:pt idx="9">
                  <c:v>984.1789</c:v>
                </c:pt>
                <c:pt idx="10">
                  <c:v>966.8416</c:v>
                </c:pt>
                <c:pt idx="11">
                  <c:v>987.0812</c:v>
                </c:pt>
                <c:pt idx="12">
                  <c:v>980.5964</c:v>
                </c:pt>
                <c:pt idx="13">
                  <c:v>972.298</c:v>
                </c:pt>
                <c:pt idx="14">
                  <c:v>1024.5843</c:v>
                </c:pt>
                <c:pt idx="15">
                  <c:v>1021.2441</c:v>
                </c:pt>
                <c:pt idx="16">
                  <c:v>1060.9479</c:v>
                </c:pt>
                <c:pt idx="17">
                  <c:v>1040.8933</c:v>
                </c:pt>
                <c:pt idx="18">
                  <c:v>1101.4316</c:v>
                </c:pt>
                <c:pt idx="19">
                  <c:v>1108.5796</c:v>
                </c:pt>
                <c:pt idx="20">
                  <c:v>1108.2622</c:v>
                </c:pt>
                <c:pt idx="21">
                  <c:v>1108.1297</c:v>
                </c:pt>
                <c:pt idx="22">
                  <c:v>1095.8183</c:v>
                </c:pt>
                <c:pt idx="23">
                  <c:v>1078.1905</c:v>
                </c:pt>
                <c:pt idx="24">
                  <c:v>1088.3722</c:v>
                </c:pt>
                <c:pt idx="25">
                  <c:v>1048.203</c:v>
                </c:pt>
                <c:pt idx="26">
                  <c:v>1075.5551</c:v>
                </c:pt>
                <c:pt idx="27">
                  <c:v>1131.2779</c:v>
                </c:pt>
                <c:pt idx="28">
                  <c:v>1089.8563</c:v>
                </c:pt>
                <c:pt idx="29">
                  <c:v>1002.7813</c:v>
                </c:pt>
                <c:pt idx="30">
                  <c:v>1040.2253</c:v>
                </c:pt>
                <c:pt idx="31">
                  <c:v>1035.9483</c:v>
                </c:pt>
                <c:pt idx="32">
                  <c:v>1023.1375</c:v>
                </c:pt>
                <c:pt idx="33">
                  <c:v>961.9561</c:v>
                </c:pt>
                <c:pt idx="34">
                  <c:v>1036.1498</c:v>
                </c:pt>
                <c:pt idx="35">
                  <c:v>1066.676</c:v>
                </c:pt>
                <c:pt idx="36">
                  <c:v>1172.338</c:v>
                </c:pt>
                <c:pt idx="37">
                  <c:v>1168.4175</c:v>
                </c:pt>
                <c:pt idx="38">
                  <c:v>1214.1444</c:v>
                </c:pt>
                <c:pt idx="39">
                  <c:v>1238.2702</c:v>
                </c:pt>
                <c:pt idx="40">
                  <c:v>1266.41</c:v>
                </c:pt>
                <c:pt idx="41">
                  <c:v>1280.9089</c:v>
                </c:pt>
                <c:pt idx="42">
                  <c:v>1317.1437</c:v>
                </c:pt>
                <c:pt idx="43">
                  <c:v>1345.386</c:v>
                </c:pt>
                <c:pt idx="44">
                  <c:v>1168.0343</c:v>
                </c:pt>
                <c:pt idx="45">
                  <c:v>1134.5861</c:v>
                </c:pt>
                <c:pt idx="46">
                  <c:v>1107.3622</c:v>
                </c:pt>
                <c:pt idx="47">
                  <c:v>1088.3397</c:v>
                </c:pt>
                <c:pt idx="48">
                  <c:v>1072.3698</c:v>
                </c:pt>
                <c:pt idx="49">
                  <c:v>1034.8761</c:v>
                </c:pt>
                <c:pt idx="50">
                  <c:v>1047.4876</c:v>
                </c:pt>
                <c:pt idx="51">
                  <c:v>1074.8952</c:v>
                </c:pt>
                <c:pt idx="52">
                  <c:v>1067.0342</c:v>
                </c:pt>
                <c:pt idx="53">
                  <c:v>1175.4004</c:v>
                </c:pt>
                <c:pt idx="54">
                  <c:v>1169.3527</c:v>
                </c:pt>
                <c:pt idx="55">
                  <c:v>1218.8749</c:v>
                </c:pt>
                <c:pt idx="56">
                  <c:v>1192.5897</c:v>
                </c:pt>
                <c:pt idx="57">
                  <c:v>1199.3229</c:v>
                </c:pt>
                <c:pt idx="58">
                  <c:v>1166.6559</c:v>
                </c:pt>
                <c:pt idx="59">
                  <c:v>1158.4297</c:v>
                </c:pt>
                <c:pt idx="60">
                  <c:v>1184.8412</c:v>
                </c:pt>
                <c:pt idx="61">
                  <c:v>1163.1625</c:v>
                </c:pt>
                <c:pt idx="62">
                  <c:v>1122.7847</c:v>
                </c:pt>
                <c:pt idx="63">
                  <c:v>1143.7606</c:v>
                </c:pt>
                <c:pt idx="64">
                  <c:v>1159.791</c:v>
                </c:pt>
                <c:pt idx="65">
                  <c:v>1126.0592</c:v>
                </c:pt>
                <c:pt idx="66">
                  <c:v>1144.4196</c:v>
                </c:pt>
                <c:pt idx="67">
                  <c:v>1123.3883</c:v>
                </c:pt>
                <c:pt idx="68">
                  <c:v>1119.53</c:v>
                </c:pt>
                <c:pt idx="69">
                  <c:v>1140.4296</c:v>
                </c:pt>
                <c:pt idx="70">
                  <c:v>1125.9118</c:v>
                </c:pt>
                <c:pt idx="71">
                  <c:v>1147.5211</c:v>
                </c:pt>
                <c:pt idx="72">
                  <c:v>1200.2097</c:v>
                </c:pt>
                <c:pt idx="73">
                  <c:v>1219.9904</c:v>
                </c:pt>
                <c:pt idx="74">
                  <c:v>1156.535</c:v>
                </c:pt>
                <c:pt idx="75">
                  <c:v>1173.1096</c:v>
                </c:pt>
                <c:pt idx="76">
                  <c:v>1158.8285</c:v>
                </c:pt>
                <c:pt idx="77">
                  <c:v>1099.788</c:v>
                </c:pt>
                <c:pt idx="78">
                  <c:v>1185.15</c:v>
                </c:pt>
                <c:pt idx="79">
                  <c:v>869.9457</c:v>
                </c:pt>
                <c:pt idx="80">
                  <c:v>860.0657</c:v>
                </c:pt>
                <c:pt idx="81">
                  <c:v>1047.4902</c:v>
                </c:pt>
                <c:pt idx="82">
                  <c:v>1061.5598</c:v>
                </c:pt>
                <c:pt idx="83">
                  <c:v>1095.0504</c:v>
                </c:pt>
                <c:pt idx="84">
                  <c:v>1091.7007</c:v>
                </c:pt>
                <c:pt idx="85">
                  <c:v>1118.4574</c:v>
                </c:pt>
                <c:pt idx="86">
                  <c:v>1209.6632</c:v>
                </c:pt>
                <c:pt idx="87">
                  <c:v>1234.3443</c:v>
                </c:pt>
                <c:pt idx="88">
                  <c:v>1242.7241</c:v>
                </c:pt>
                <c:pt idx="89">
                  <c:v>1200.0669</c:v>
                </c:pt>
                <c:pt idx="90">
                  <c:v>1237.9561</c:v>
                </c:pt>
                <c:pt idx="91">
                  <c:v>1272.2123</c:v>
                </c:pt>
                <c:pt idx="92">
                  <c:v>1260.3089</c:v>
                </c:pt>
                <c:pt idx="93">
                  <c:v>1301.7424</c:v>
                </c:pt>
                <c:pt idx="94">
                  <c:v>1288.9335</c:v>
                </c:pt>
                <c:pt idx="95">
                  <c:v>1294.6556</c:v>
                </c:pt>
                <c:pt idx="96">
                  <c:v>1213.2673</c:v>
                </c:pt>
                <c:pt idx="97">
                  <c:v>1239.8987</c:v>
                </c:pt>
                <c:pt idx="98">
                  <c:v>1220.4183</c:v>
                </c:pt>
                <c:pt idx="99">
                  <c:v>1178.8639</c:v>
                </c:pt>
                <c:pt idx="100">
                  <c:v>1160.521</c:v>
                </c:pt>
                <c:pt idx="101">
                  <c:v>1220.4967</c:v>
                </c:pt>
                <c:pt idx="102">
                  <c:v>1252.7527</c:v>
                </c:pt>
                <c:pt idx="103">
                  <c:v>1121.6468</c:v>
                </c:pt>
                <c:pt idx="104">
                  <c:v>1208.1548</c:v>
                </c:pt>
              </c:numCache>
            </c:numRef>
          </c:xVal>
          <c:yVal>
            <c:numRef>
              <c:f>Sheet1!$B$2:$B$106</c:f>
              <c:numCache>
                <c:formatCode>General</c:formatCode>
                <c:ptCount val="105"/>
                <c:pt idx="0">
                  <c:v>0.2104353132628153</c:v>
                </c:pt>
                <c:pt idx="1">
                  <c:v>0.20936580711843744</c:v>
                </c:pt>
                <c:pt idx="2">
                  <c:v>0.1951964281132124</c:v>
                </c:pt>
                <c:pt idx="3">
                  <c:v>0.19280869846054474</c:v>
                </c:pt>
                <c:pt idx="4">
                  <c:v>0.18282521947326416</c:v>
                </c:pt>
                <c:pt idx="5">
                  <c:v>0.17047857630868335</c:v>
                </c:pt>
                <c:pt idx="6">
                  <c:v>0.18916918720638393</c:v>
                </c:pt>
                <c:pt idx="7">
                  <c:v>0.17825161479741633</c:v>
                </c:pt>
                <c:pt idx="8">
                  <c:v>0.18962759881197166</c:v>
                </c:pt>
                <c:pt idx="9">
                  <c:v>0.19161017956950885</c:v>
                </c:pt>
                <c:pt idx="10">
                  <c:v>0.20396039603960395</c:v>
                </c:pt>
                <c:pt idx="11">
                  <c:v>0.19627861497756816</c:v>
                </c:pt>
                <c:pt idx="12">
                  <c:v>0.2090399978766887</c:v>
                </c:pt>
                <c:pt idx="13">
                  <c:v>0.21092146331861766</c:v>
                </c:pt>
                <c:pt idx="14">
                  <c:v>0.20510605089328018</c:v>
                </c:pt>
                <c:pt idx="15">
                  <c:v>0.1997352308456065</c:v>
                </c:pt>
                <c:pt idx="16">
                  <c:v>0.19186415376002985</c:v>
                </c:pt>
                <c:pt idx="17">
                  <c:v>0.1788574697613599</c:v>
                </c:pt>
                <c:pt idx="18">
                  <c:v>0.17484202391235168</c:v>
                </c:pt>
                <c:pt idx="19">
                  <c:v>0.14627434377646062</c:v>
                </c:pt>
                <c:pt idx="20">
                  <c:v>0.16460617710017036</c:v>
                </c:pt>
                <c:pt idx="21">
                  <c:v>0.16421682397235546</c:v>
                </c:pt>
                <c:pt idx="22">
                  <c:v>0.1563387690689111</c:v>
                </c:pt>
                <c:pt idx="23">
                  <c:v>0.16137669437161822</c:v>
                </c:pt>
                <c:pt idx="24">
                  <c:v>0.1694212735091446</c:v>
                </c:pt>
                <c:pt idx="25">
                  <c:v>0.16806624679262888</c:v>
                </c:pt>
                <c:pt idx="26">
                  <c:v>0.1631565194669454</c:v>
                </c:pt>
                <c:pt idx="27">
                  <c:v>0.1644426607805759</c:v>
                </c:pt>
                <c:pt idx="28">
                  <c:v>0.15609481390467414</c:v>
                </c:pt>
                <c:pt idx="29">
                  <c:v>0.1752558726723477</c:v>
                </c:pt>
                <c:pt idx="30">
                  <c:v>0.1553217462070569</c:v>
                </c:pt>
                <c:pt idx="31">
                  <c:v>0.1508401503426929</c:v>
                </c:pt>
                <c:pt idx="32">
                  <c:v>0.15629783511917777</c:v>
                </c:pt>
                <c:pt idx="33">
                  <c:v>0.17726337898744146</c:v>
                </c:pt>
                <c:pt idx="34">
                  <c:v>0.17377744012155624</c:v>
                </c:pt>
                <c:pt idx="35">
                  <c:v>0.192956416138173</c:v>
                </c:pt>
                <c:pt idx="36">
                  <c:v>0.15716185884113393</c:v>
                </c:pt>
                <c:pt idx="37">
                  <c:v>0.1293269230769231</c:v>
                </c:pt>
                <c:pt idx="38">
                  <c:v>0.12359550561797752</c:v>
                </c:pt>
                <c:pt idx="39">
                  <c:v>0.12543323139653414</c:v>
                </c:pt>
                <c:pt idx="40">
                  <c:v>0.13096507313744724</c:v>
                </c:pt>
                <c:pt idx="41">
                  <c:v>0.1206642745422762</c:v>
                </c:pt>
                <c:pt idx="42">
                  <c:v>0.12140700364691581</c:v>
                </c:pt>
                <c:pt idx="43">
                  <c:v>0.13300094800042134</c:v>
                </c:pt>
                <c:pt idx="44">
                  <c:v>0.14654865576726858</c:v>
                </c:pt>
                <c:pt idx="45">
                  <c:v>0.16731320255675555</c:v>
                </c:pt>
                <c:pt idx="46">
                  <c:v>0.1764019187502653</c:v>
                </c:pt>
                <c:pt idx="47">
                  <c:v>0.1716687701884613</c:v>
                </c:pt>
                <c:pt idx="48">
                  <c:v>0.19153248508050896</c:v>
                </c:pt>
                <c:pt idx="49">
                  <c:v>0.22133119486768243</c:v>
                </c:pt>
                <c:pt idx="50">
                  <c:v>0.1820144482271859</c:v>
                </c:pt>
                <c:pt idx="51">
                  <c:v>0.1671104696015728</c:v>
                </c:pt>
                <c:pt idx="52">
                  <c:v>0.1823606150687568</c:v>
                </c:pt>
                <c:pt idx="53">
                  <c:v>0.165633727889347</c:v>
                </c:pt>
                <c:pt idx="54">
                  <c:v>0.15941820276497695</c:v>
                </c:pt>
                <c:pt idx="55">
                  <c:v>0.1570630582190758</c:v>
                </c:pt>
                <c:pt idx="56">
                  <c:v>0.17284360475644353</c:v>
                </c:pt>
                <c:pt idx="57">
                  <c:v>0.16677579027315823</c:v>
                </c:pt>
                <c:pt idx="58">
                  <c:v>0.1796740265733926</c:v>
                </c:pt>
                <c:pt idx="59">
                  <c:v>0.1848297810782139</c:v>
                </c:pt>
                <c:pt idx="60">
                  <c:v>0.1911824354113394</c:v>
                </c:pt>
                <c:pt idx="61">
                  <c:v>0.1938988416432837</c:v>
                </c:pt>
                <c:pt idx="62">
                  <c:v>0.1979644124767882</c:v>
                </c:pt>
                <c:pt idx="63">
                  <c:v>0.21463529815824497</c:v>
                </c:pt>
                <c:pt idx="64">
                  <c:v>0.20133358416421063</c:v>
                </c:pt>
                <c:pt idx="65">
                  <c:v>0.1998720672560711</c:v>
                </c:pt>
                <c:pt idx="66">
                  <c:v>0.19738022185508614</c:v>
                </c:pt>
                <c:pt idx="67">
                  <c:v>0.193351193375548</c:v>
                </c:pt>
                <c:pt idx="68">
                  <c:v>0.1764843521497514</c:v>
                </c:pt>
                <c:pt idx="69">
                  <c:v>0.15879038317054847</c:v>
                </c:pt>
                <c:pt idx="70">
                  <c:v>0.14821472630502977</c:v>
                </c:pt>
                <c:pt idx="71">
                  <c:v>0.15706529935153069</c:v>
                </c:pt>
                <c:pt idx="72">
                  <c:v>0.15622956774427896</c:v>
                </c:pt>
                <c:pt idx="73">
                  <c:v>0.16183638768184394</c:v>
                </c:pt>
                <c:pt idx="74">
                  <c:v>0.1592623335378397</c:v>
                </c:pt>
                <c:pt idx="75">
                  <c:v>0.15497225778915918</c:v>
                </c:pt>
                <c:pt idx="76">
                  <c:v>0.1459560670411472</c:v>
                </c:pt>
                <c:pt idx="77">
                  <c:v>0.15498438843386578</c:v>
                </c:pt>
                <c:pt idx="78">
                  <c:v>0.1446161907257008</c:v>
                </c:pt>
                <c:pt idx="79">
                  <c:v>0.18320854638422207</c:v>
                </c:pt>
                <c:pt idx="80">
                  <c:v>0.1774726788502158</c:v>
                </c:pt>
                <c:pt idx="81">
                  <c:v>0.1575934534557609</c:v>
                </c:pt>
                <c:pt idx="82">
                  <c:v>0.14378602039308408</c:v>
                </c:pt>
                <c:pt idx="83">
                  <c:v>0.1329802220093537</c:v>
                </c:pt>
                <c:pt idx="84">
                  <c:v>0.12998102466793168</c:v>
                </c:pt>
                <c:pt idx="85">
                  <c:v>0.1331891549741534</c:v>
                </c:pt>
                <c:pt idx="86">
                  <c:v>0.13664497698777972</c:v>
                </c:pt>
                <c:pt idx="87">
                  <c:v>0.15707769558051285</c:v>
                </c:pt>
                <c:pt idx="88">
                  <c:v>0.14278950856926428</c:v>
                </c:pt>
                <c:pt idx="89">
                  <c:v>0.12795285677683832</c:v>
                </c:pt>
                <c:pt idx="90">
                  <c:v>0.12505943889681406</c:v>
                </c:pt>
                <c:pt idx="91">
                  <c:v>0.11934383465435938</c:v>
                </c:pt>
                <c:pt idx="92">
                  <c:v>0.13114754098360656</c:v>
                </c:pt>
                <c:pt idx="93">
                  <c:v>0.11910570731512218</c:v>
                </c:pt>
                <c:pt idx="94">
                  <c:v>0.12265742556198987</c:v>
                </c:pt>
                <c:pt idx="95">
                  <c:v>0.13306545345863913</c:v>
                </c:pt>
                <c:pt idx="96">
                  <c:v>0.12835410689746618</c:v>
                </c:pt>
                <c:pt idx="97">
                  <c:v>0.13635974853526067</c:v>
                </c:pt>
                <c:pt idx="98">
                  <c:v>0.15405743754554457</c:v>
                </c:pt>
                <c:pt idx="99">
                  <c:v>0.1593022876350227</c:v>
                </c:pt>
                <c:pt idx="100">
                  <c:v>0.18337582746602418</c:v>
                </c:pt>
                <c:pt idx="101">
                  <c:v>0.15571918341904317</c:v>
                </c:pt>
                <c:pt idx="102">
                  <c:v>0.1313907284768212</c:v>
                </c:pt>
                <c:pt idx="103">
                  <c:v>0.15021106674272675</c:v>
                </c:pt>
                <c:pt idx="104">
                  <c:v>0.1544821131447587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61.5392</c:v>
                </c:pt>
                <c:pt idx="1">
                  <c:v>1245.6689</c:v>
                </c:pt>
                <c:pt idx="2">
                  <c:v>1233.788</c:v>
                </c:pt>
                <c:pt idx="3">
                  <c:v>1264.7184</c:v>
                </c:pt>
                <c:pt idx="4">
                  <c:v>1259.7578</c:v>
                </c:pt>
                <c:pt idx="5">
                  <c:v>1267.6644</c:v>
                </c:pt>
                <c:pt idx="6">
                  <c:v>1198.4309</c:v>
                </c:pt>
                <c:pt idx="7">
                  <c:v>1233.5985</c:v>
                </c:pt>
                <c:pt idx="8">
                  <c:v>1322.6466</c:v>
                </c:pt>
                <c:pt idx="9">
                  <c:v>1251.7059</c:v>
                </c:pt>
                <c:pt idx="10">
                  <c:v>1280.0774</c:v>
                </c:pt>
                <c:pt idx="11">
                  <c:v>1161.3957</c:v>
                </c:pt>
                <c:pt idx="12">
                  <c:v>1201.3</c:v>
                </c:pt>
                <c:pt idx="13">
                  <c:v>1239.31</c:v>
                </c:pt>
                <c:pt idx="14">
                  <c:v>1245.4411</c:v>
                </c:pt>
                <c:pt idx="15">
                  <c:v>1266.6519</c:v>
                </c:pt>
                <c:pt idx="16">
                  <c:v>1275.6881</c:v>
                </c:pt>
                <c:pt idx="17">
                  <c:v>1275.2835</c:v>
                </c:pt>
                <c:pt idx="18">
                  <c:v>1252.5544</c:v>
                </c:pt>
                <c:pt idx="19">
                  <c:v>1327.3777</c:v>
                </c:pt>
                <c:pt idx="20">
                  <c:v>1311.1428</c:v>
                </c:pt>
                <c:pt idx="21">
                  <c:v>1290.5865</c:v>
                </c:pt>
                <c:pt idx="22">
                  <c:v>1262.0245</c:v>
                </c:pt>
                <c:pt idx="23">
                  <c:v>1200.642</c:v>
                </c:pt>
                <c:pt idx="24">
                  <c:v>1204.0025</c:v>
                </c:pt>
                <c:pt idx="25">
                  <c:v>1176.5251</c:v>
                </c:pt>
                <c:pt idx="26">
                  <c:v>1236.1711</c:v>
                </c:pt>
                <c:pt idx="27">
                  <c:v>1304.0936</c:v>
                </c:pt>
                <c:pt idx="28">
                  <c:v>1305.6009</c:v>
                </c:pt>
                <c:pt idx="29">
                  <c:v>1311.2893</c:v>
                </c:pt>
                <c:pt idx="30">
                  <c:v>1282.1342</c:v>
                </c:pt>
                <c:pt idx="31">
                  <c:v>1194.1634</c:v>
                </c:pt>
                <c:pt idx="32">
                  <c:v>1219.4374</c:v>
                </c:pt>
                <c:pt idx="33">
                  <c:v>1266.1164</c:v>
                </c:pt>
                <c:pt idx="34">
                  <c:v>1320.7459</c:v>
                </c:pt>
                <c:pt idx="35">
                  <c:v>1307.4106</c:v>
                </c:pt>
                <c:pt idx="36">
                  <c:v>1256.4778</c:v>
                </c:pt>
                <c:pt idx="37">
                  <c:v>1326.002</c:v>
                </c:pt>
                <c:pt idx="38">
                  <c:v>1282.4261</c:v>
                </c:pt>
                <c:pt idx="39">
                  <c:v>1303.4358</c:v>
                </c:pt>
                <c:pt idx="40">
                  <c:v>1337.8714</c:v>
                </c:pt>
                <c:pt idx="41">
                  <c:v>1378.1038</c:v>
                </c:pt>
                <c:pt idx="42">
                  <c:v>1382.9808</c:v>
                </c:pt>
                <c:pt idx="43">
                  <c:v>1375.9478</c:v>
                </c:pt>
                <c:pt idx="44">
                  <c:v>1314.1395</c:v>
                </c:pt>
                <c:pt idx="45">
                  <c:v>1285.6015</c:v>
                </c:pt>
                <c:pt idx="46">
                  <c:v>1288.2796</c:v>
                </c:pt>
                <c:pt idx="47">
                  <c:v>1258.6776</c:v>
                </c:pt>
                <c:pt idx="48">
                  <c:v>1229.7611</c:v>
                </c:pt>
                <c:pt idx="49">
                  <c:v>1233.7718</c:v>
                </c:pt>
                <c:pt idx="50">
                  <c:v>1134.1745</c:v>
                </c:pt>
                <c:pt idx="51">
                  <c:v>1124.1132</c:v>
                </c:pt>
              </c:numCache>
            </c:numRef>
          </c:xVal>
          <c:yVal>
            <c:numRef>
              <c:f>Sheet1!$B$109:$B$160</c:f>
              <c:numCache>
                <c:formatCode>General</c:formatCode>
                <c:ptCount val="52"/>
                <c:pt idx="0">
                  <c:v>0.15453902381513793</c:v>
                </c:pt>
                <c:pt idx="1">
                  <c:v>0.15065908633527872</c:v>
                </c:pt>
                <c:pt idx="2">
                  <c:v>0.15922999634636464</c:v>
                </c:pt>
                <c:pt idx="3">
                  <c:v>0.16322220203488372</c:v>
                </c:pt>
                <c:pt idx="4">
                  <c:v>0.1516795865633075</c:v>
                </c:pt>
                <c:pt idx="5">
                  <c:v>0.1499715018523796</c:v>
                </c:pt>
                <c:pt idx="6">
                  <c:v>0.15807702011514024</c:v>
                </c:pt>
                <c:pt idx="7">
                  <c:v>0.15210545813781182</c:v>
                </c:pt>
                <c:pt idx="8">
                  <c:v>0.15225104198959732</c:v>
                </c:pt>
                <c:pt idx="9">
                  <c:v>0.16813044983788208</c:v>
                </c:pt>
                <c:pt idx="10">
                  <c:v>0.1647083891391696</c:v>
                </c:pt>
                <c:pt idx="11">
                  <c:v>0.18933902887914386</c:v>
                </c:pt>
                <c:pt idx="12">
                  <c:v>0.17624590760276465</c:v>
                </c:pt>
                <c:pt idx="13">
                  <c:v>0.16931939978563773</c:v>
                </c:pt>
                <c:pt idx="14">
                  <c:v>0.1727391874180865</c:v>
                </c:pt>
                <c:pt idx="15">
                  <c:v>0.15765555451800667</c:v>
                </c:pt>
                <c:pt idx="16">
                  <c:v>0.15561180264207206</c:v>
                </c:pt>
                <c:pt idx="17">
                  <c:v>0.13336514812231562</c:v>
                </c:pt>
                <c:pt idx="18">
                  <c:v>0.1307206849375524</c:v>
                </c:pt>
                <c:pt idx="19">
                  <c:v>0.14154471544715447</c:v>
                </c:pt>
                <c:pt idx="20">
                  <c:v>0.13488269145639664</c:v>
                </c:pt>
                <c:pt idx="21">
                  <c:v>0.14243070362473348</c:v>
                </c:pt>
                <c:pt idx="22">
                  <c:v>0.14002001791076227</c:v>
                </c:pt>
                <c:pt idx="23">
                  <c:v>0.14325596671775784</c:v>
                </c:pt>
                <c:pt idx="24">
                  <c:v>0.1437380175138608</c:v>
                </c:pt>
                <c:pt idx="25">
                  <c:v>0.14956521739130435</c:v>
                </c:pt>
                <c:pt idx="26">
                  <c:v>0.1334056399132321</c:v>
                </c:pt>
                <c:pt idx="27">
                  <c:v>0.11880146386093321</c:v>
                </c:pt>
                <c:pt idx="28">
                  <c:v>0.129798595635538</c:v>
                </c:pt>
                <c:pt idx="29">
                  <c:v>0.1199602286850609</c:v>
                </c:pt>
                <c:pt idx="30">
                  <c:v>0.14040989545595695</c:v>
                </c:pt>
                <c:pt idx="31">
                  <c:v>0.12741490340386386</c:v>
                </c:pt>
                <c:pt idx="32">
                  <c:v>0.1301096199159922</c:v>
                </c:pt>
                <c:pt idx="33">
                  <c:v>0.14949047030230675</c:v>
                </c:pt>
                <c:pt idx="34">
                  <c:v>0.17020268669847394</c:v>
                </c:pt>
                <c:pt idx="35">
                  <c:v>0.16325723103707515</c:v>
                </c:pt>
                <c:pt idx="36">
                  <c:v>0.14331593737454837</c:v>
                </c:pt>
                <c:pt idx="37">
                  <c:v>0.13059604032805724</c:v>
                </c:pt>
                <c:pt idx="38">
                  <c:v>0.12966160220994474</c:v>
                </c:pt>
                <c:pt idx="39">
                  <c:v>0.14714419684722904</c:v>
                </c:pt>
                <c:pt idx="40">
                  <c:v>0.12842914555303162</c:v>
                </c:pt>
                <c:pt idx="41">
                  <c:v>0.13137238701148476</c:v>
                </c:pt>
                <c:pt idx="42">
                  <c:v>0.12623932014437794</c:v>
                </c:pt>
                <c:pt idx="43">
                  <c:v>0.12546138190348063</c:v>
                </c:pt>
                <c:pt idx="44">
                  <c:v>0.12657753702529823</c:v>
                </c:pt>
                <c:pt idx="45">
                  <c:v>0.141745609600633</c:v>
                </c:pt>
                <c:pt idx="46">
                  <c:v>0.13399320820280622</c:v>
                </c:pt>
                <c:pt idx="47">
                  <c:v>0.13891769120624106</c:v>
                </c:pt>
                <c:pt idx="48">
                  <c:v>0.13187201329731976</c:v>
                </c:pt>
                <c:pt idx="49">
                  <c:v>0.144998575092619</c:v>
                </c:pt>
                <c:pt idx="50">
                  <c:v>0.1826004679768313</c:v>
                </c:pt>
                <c:pt idx="51">
                  <c:v>0.1620312297244690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73.4147618369257</c:v>
                </c:pt>
              </c:numCache>
            </c:numRef>
          </c:xVal>
          <c:yVal>
            <c:numRef>
              <c:f>Sheet1!$B$163:$B$164</c:f>
              <c:numCache>
                <c:formatCode>General</c:formatCode>
                <c:ptCount val="2"/>
                <c:pt idx="0">
                  <c:v>0.19090649372808102</c:v>
                </c:pt>
                <c:pt idx="1">
                  <c:v>0.1909064937280810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73.4147618369257</c:v>
                </c:pt>
                <c:pt idx="1">
                  <c:v>973.4147618369257</c:v>
                </c:pt>
              </c:numCache>
            </c:numRef>
          </c:xVal>
          <c:yVal>
            <c:numRef>
              <c:f>Sheet1!$B$167:$B$168</c:f>
              <c:numCache>
                <c:formatCode>General</c:formatCode>
                <c:ptCount val="2"/>
                <c:pt idx="0">
                  <c:v>0.19090649372808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97.5546668827026</c:v>
                </c:pt>
              </c:numCache>
            </c:numRef>
          </c:xVal>
          <c:yVal>
            <c:numRef>
              <c:f>Sheet1!$B$171:$B$172</c:f>
              <c:numCache>
                <c:formatCode>General</c:formatCode>
                <c:ptCount val="2"/>
                <c:pt idx="0">
                  <c:v>0.1566687433393012</c:v>
                </c:pt>
                <c:pt idx="1">
                  <c:v>0.156668743339301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97.5546668827026</c:v>
                </c:pt>
                <c:pt idx="1">
                  <c:v>1197.5546668827026</c:v>
                </c:pt>
              </c:numCache>
            </c:numRef>
          </c:xVal>
          <c:yVal>
            <c:numRef>
              <c:f>Sheet1!$B$175:$B$176</c:f>
              <c:numCache>
                <c:formatCode>General</c:formatCode>
                <c:ptCount val="2"/>
                <c:pt idx="0">
                  <c:v>0.156668743339301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05.981463202584</c:v>
                </c:pt>
              </c:numCache>
            </c:numRef>
          </c:xVal>
          <c:yVal>
            <c:numRef>
              <c:f>Sheet1!$B$179:$B$180</c:f>
              <c:numCache>
                <c:formatCode>General</c:formatCode>
                <c:ptCount val="2"/>
                <c:pt idx="0">
                  <c:v>0.1401063664296786</c:v>
                </c:pt>
                <c:pt idx="1">
                  <c:v>0.140106366429678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05.981463202584</c:v>
                </c:pt>
                <c:pt idx="1">
                  <c:v>1305.981463202584</c:v>
                </c:pt>
              </c:numCache>
            </c:numRef>
          </c:xVal>
          <c:yVal>
            <c:numRef>
              <c:f>Sheet1!$B$183:$B$184</c:f>
              <c:numCache>
                <c:formatCode>General</c:formatCode>
                <c:ptCount val="2"/>
                <c:pt idx="0">
                  <c:v>0.14010636642967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61.5392</c:v>
                </c:pt>
                <c:pt idx="1">
                  <c:v>1245.6689</c:v>
                </c:pt>
                <c:pt idx="2">
                  <c:v>1233.788</c:v>
                </c:pt>
                <c:pt idx="3">
                  <c:v>1264.7184</c:v>
                </c:pt>
                <c:pt idx="4">
                  <c:v>1259.7578</c:v>
                </c:pt>
                <c:pt idx="5">
                  <c:v>1267.6644</c:v>
                </c:pt>
                <c:pt idx="6">
                  <c:v>1198.4309</c:v>
                </c:pt>
                <c:pt idx="7">
                  <c:v>1233.5985</c:v>
                </c:pt>
                <c:pt idx="8">
                  <c:v>1322.6466</c:v>
                </c:pt>
                <c:pt idx="9">
                  <c:v>1251.7059</c:v>
                </c:pt>
                <c:pt idx="10">
                  <c:v>1280.0774</c:v>
                </c:pt>
                <c:pt idx="11">
                  <c:v>1161.3957</c:v>
                </c:pt>
                <c:pt idx="12">
                  <c:v>1201.3</c:v>
                </c:pt>
                <c:pt idx="13">
                  <c:v>1239.31</c:v>
                </c:pt>
                <c:pt idx="14">
                  <c:v>1245.4411</c:v>
                </c:pt>
                <c:pt idx="15">
                  <c:v>1266.6519</c:v>
                </c:pt>
                <c:pt idx="16">
                  <c:v>1275.6881</c:v>
                </c:pt>
                <c:pt idx="17">
                  <c:v>1275.2835</c:v>
                </c:pt>
                <c:pt idx="18">
                  <c:v>1252.5544</c:v>
                </c:pt>
                <c:pt idx="19">
                  <c:v>1327.3777</c:v>
                </c:pt>
                <c:pt idx="20">
                  <c:v>1311.1428</c:v>
                </c:pt>
                <c:pt idx="21">
                  <c:v>1290.5865</c:v>
                </c:pt>
                <c:pt idx="22">
                  <c:v>1262.0245</c:v>
                </c:pt>
                <c:pt idx="23">
                  <c:v>1200.642</c:v>
                </c:pt>
                <c:pt idx="24">
                  <c:v>1204.0025</c:v>
                </c:pt>
                <c:pt idx="25">
                  <c:v>1176.5251</c:v>
                </c:pt>
                <c:pt idx="26">
                  <c:v>1236.1711</c:v>
                </c:pt>
                <c:pt idx="27">
                  <c:v>1304.0936</c:v>
                </c:pt>
                <c:pt idx="28">
                  <c:v>1305.6009</c:v>
                </c:pt>
                <c:pt idx="29">
                  <c:v>1311.2893</c:v>
                </c:pt>
                <c:pt idx="30">
                  <c:v>1282.1342</c:v>
                </c:pt>
                <c:pt idx="31">
                  <c:v>1194.1634</c:v>
                </c:pt>
                <c:pt idx="32">
                  <c:v>1219.4374</c:v>
                </c:pt>
                <c:pt idx="33">
                  <c:v>1266.1164</c:v>
                </c:pt>
                <c:pt idx="34">
                  <c:v>1320.7459</c:v>
                </c:pt>
                <c:pt idx="35">
                  <c:v>1307.4106</c:v>
                </c:pt>
                <c:pt idx="36">
                  <c:v>1256.4778</c:v>
                </c:pt>
                <c:pt idx="37">
                  <c:v>1326.002</c:v>
                </c:pt>
                <c:pt idx="38">
                  <c:v>1282.4261</c:v>
                </c:pt>
                <c:pt idx="39">
                  <c:v>1303.4358</c:v>
                </c:pt>
                <c:pt idx="40">
                  <c:v>1337.8714</c:v>
                </c:pt>
                <c:pt idx="41">
                  <c:v>1378.1038</c:v>
                </c:pt>
                <c:pt idx="42">
                  <c:v>1382.9808</c:v>
                </c:pt>
                <c:pt idx="43">
                  <c:v>1375.9478</c:v>
                </c:pt>
                <c:pt idx="44">
                  <c:v>1314.1395</c:v>
                </c:pt>
                <c:pt idx="45">
                  <c:v>1285.6015</c:v>
                </c:pt>
                <c:pt idx="46">
                  <c:v>1288.2796</c:v>
                </c:pt>
                <c:pt idx="47">
                  <c:v>1258.6776</c:v>
                </c:pt>
                <c:pt idx="48">
                  <c:v>1229.7611</c:v>
                </c:pt>
                <c:pt idx="49">
                  <c:v>1233.7718</c:v>
                </c:pt>
                <c:pt idx="50">
                  <c:v>1134.1745</c:v>
                </c:pt>
                <c:pt idx="51">
                  <c:v>1124.1132</c:v>
                </c:pt>
                <c:pt idx="52">
                  <c:v>1197.5546668827026</c:v>
                </c:pt>
                <c:pt idx="53">
                  <c:v>973.4147618369257</c:v>
                </c:pt>
                <c:pt idx="54">
                  <c:v>1305.981463202584</c:v>
                </c:pt>
              </c:numCache>
            </c:numRef>
          </c:xVal>
          <c:yVal>
            <c:numRef>
              <c:f>Sheet1!$B$187:$B$241</c:f>
              <c:numCache>
                <c:formatCode>General</c:formatCode>
                <c:ptCount val="55"/>
                <c:pt idx="0">
                  <c:v>0.14689499745873064</c:v>
                </c:pt>
                <c:pt idx="1">
                  <c:v>0.1493192126821826</c:v>
                </c:pt>
                <c:pt idx="2">
                  <c:v>0.15113404029403055</c:v>
                </c:pt>
                <c:pt idx="3">
                  <c:v>0.14640936927032847</c:v>
                </c:pt>
                <c:pt idx="4">
                  <c:v>0.14716710932801205</c:v>
                </c:pt>
                <c:pt idx="5">
                  <c:v>0.14595936277717528</c:v>
                </c:pt>
                <c:pt idx="6">
                  <c:v>0.1565348972455131</c:v>
                </c:pt>
                <c:pt idx="7">
                  <c:v>0.15116298674021264</c:v>
                </c:pt>
                <c:pt idx="8">
                  <c:v>0.13756073853825845</c:v>
                </c:pt>
                <c:pt idx="9">
                  <c:v>0.14839705070011674</c:v>
                </c:pt>
                <c:pt idx="10">
                  <c:v>0.14406325598847503</c:v>
                </c:pt>
                <c:pt idx="11">
                  <c:v>0.16219208681619474</c:v>
                </c:pt>
                <c:pt idx="12">
                  <c:v>0.15609663735769713</c:v>
                </c:pt>
                <c:pt idx="13">
                  <c:v>0.15029054543483433</c:v>
                </c:pt>
                <c:pt idx="14">
                  <c:v>0.1493540095182791</c:v>
                </c:pt>
                <c:pt idx="15">
                  <c:v>0.14611402386825387</c:v>
                </c:pt>
                <c:pt idx="16">
                  <c:v>0.14473372900286652</c:v>
                </c:pt>
                <c:pt idx="17">
                  <c:v>0.14479553233862003</c:v>
                </c:pt>
                <c:pt idx="18">
                  <c:v>0.14826744088700047</c:v>
                </c:pt>
                <c:pt idx="19">
                  <c:v>0.1368380549945527</c:v>
                </c:pt>
                <c:pt idx="20">
                  <c:v>0.13931796348596245</c:v>
                </c:pt>
                <c:pt idx="21">
                  <c:v>0.14245797315168057</c:v>
                </c:pt>
                <c:pt idx="22">
                  <c:v>0.1468208670611993</c:v>
                </c:pt>
                <c:pt idx="23">
                  <c:v>0.15619714797293635</c:v>
                </c:pt>
                <c:pt idx="24">
                  <c:v>0.15568382590225022</c:v>
                </c:pt>
                <c:pt idx="25">
                  <c:v>0.15988104532348857</c:v>
                </c:pt>
                <c:pt idx="26">
                  <c:v>0.1507700177299323</c:v>
                </c:pt>
                <c:pt idx="27">
                  <c:v>0.14039474073359848</c:v>
                </c:pt>
                <c:pt idx="28">
                  <c:v>0.14016449810388706</c:v>
                </c:pt>
                <c:pt idx="29">
                  <c:v>0.13929558536266073</c:v>
                </c:pt>
                <c:pt idx="30">
                  <c:v>0.1437490763024202</c:v>
                </c:pt>
                <c:pt idx="31">
                  <c:v>0.15718676510346674</c:v>
                </c:pt>
                <c:pt idx="32">
                  <c:v>0.15332611876675442</c:v>
                </c:pt>
                <c:pt idx="33">
                  <c:v>0.14619582240086879</c:v>
                </c:pt>
                <c:pt idx="34">
                  <c:v>0.1378510736847406</c:v>
                </c:pt>
                <c:pt idx="35">
                  <c:v>0.13988806336164014</c:v>
                </c:pt>
                <c:pt idx="36">
                  <c:v>0.14766813488725938</c:v>
                </c:pt>
                <c:pt idx="37">
                  <c:v>0.13704819550121627</c:v>
                </c:pt>
                <c:pt idx="38">
                  <c:v>0.14370448808268108</c:v>
                </c:pt>
                <c:pt idx="39">
                  <c:v>0.14049522079849874</c:v>
                </c:pt>
                <c:pt idx="40">
                  <c:v>0.13523512453385958</c:v>
                </c:pt>
                <c:pt idx="41">
                  <c:v>0.12908955724426774</c:v>
                </c:pt>
                <c:pt idx="42">
                  <c:v>0.12834458722827716</c:v>
                </c:pt>
                <c:pt idx="43">
                  <c:v>0.12941888989845593</c:v>
                </c:pt>
                <c:pt idx="44">
                  <c:v>0.1388602124818782</c:v>
                </c:pt>
                <c:pt idx="45">
                  <c:v>0.1432194403507195</c:v>
                </c:pt>
                <c:pt idx="46">
                  <c:v>0.14281035603662798</c:v>
                </c:pt>
                <c:pt idx="47">
                  <c:v>0.14733211170883492</c:v>
                </c:pt>
                <c:pt idx="48">
                  <c:v>0.15174915609419304</c:v>
                </c:pt>
                <c:pt idx="49">
                  <c:v>0.1511365148714878</c:v>
                </c:pt>
                <c:pt idx="50">
                  <c:v>0.16635017125320165</c:v>
                </c:pt>
                <c:pt idx="51">
                  <c:v>0.16788705188102326</c:v>
                </c:pt>
                <c:pt idx="52">
                  <c:v>0.1566687433393012</c:v>
                </c:pt>
                <c:pt idx="53">
                  <c:v>0.19090649372808102</c:v>
                </c:pt>
                <c:pt idx="54">
                  <c:v>0.140106366429678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60.0"/>
          <c:min val="68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55974338412189"/>
          <c:min val="0.0950411710887465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0535876134750491</c:v>
                </c:pt>
                <c:pt idx="1">
                  <c:v>0.12086553953510489</c:v>
                </c:pt>
                <c:pt idx="2">
                  <c:v>0.12265705455913728</c:v>
                </c:pt>
                <c:pt idx="3">
                  <c:v>0.11992264815376784</c:v>
                </c:pt>
                <c:pt idx="4">
                  <c:v>0.12293238888848632</c:v>
                </c:pt>
                <c:pt idx="5">
                  <c:v>0.1255339609871649</c:v>
                </c:pt>
                <c:pt idx="6">
                  <c:v>0.12535290334977775</c:v>
                </c:pt>
                <c:pt idx="7">
                  <c:v>0.12608635303173263</c:v>
                </c:pt>
                <c:pt idx="8">
                  <c:v>0.12180528775238286</c:v>
                </c:pt>
                <c:pt idx="9">
                  <c:v>0.12119258025926581</c:v>
                </c:pt>
                <c:pt idx="10">
                  <c:v>0.1196151157061288</c:v>
                </c:pt>
                <c:pt idx="11">
                  <c:v>0.11811757281678405</c:v>
                </c:pt>
                <c:pt idx="12">
                  <c:v>0.11701284884792455</c:v>
                </c:pt>
                <c:pt idx="13">
                  <c:v>0.11137880160699218</c:v>
                </c:pt>
                <c:pt idx="14">
                  <c:v>0.11929185518594475</c:v>
                </c:pt>
                <c:pt idx="15">
                  <c:v>0.11532943805741214</c:v>
                </c:pt>
                <c:pt idx="16">
                  <c:v>0.11401006166173236</c:v>
                </c:pt>
                <c:pt idx="17">
                  <c:v>0.1049225281901603</c:v>
                </c:pt>
                <c:pt idx="18">
                  <c:v>0.1129793924074077</c:v>
                </c:pt>
                <c:pt idx="19">
                  <c:v>0.11480211881430198</c:v>
                </c:pt>
                <c:pt idx="20">
                  <c:v>0.11384360139438977</c:v>
                </c:pt>
                <c:pt idx="21">
                  <c:v>0.11124252857438886</c:v>
                </c:pt>
                <c:pt idx="22">
                  <c:v>0.10434576573610803</c:v>
                </c:pt>
                <c:pt idx="23">
                  <c:v>0.10279459905057645</c:v>
                </c:pt>
                <c:pt idx="24">
                  <c:v>0.10252343811692904</c:v>
                </c:pt>
                <c:pt idx="25">
                  <c:v>0.09933680881651931</c:v>
                </c:pt>
                <c:pt idx="26">
                  <c:v>0.10922969316853898</c:v>
                </c:pt>
                <c:pt idx="27">
                  <c:v>0.11052807031102149</c:v>
                </c:pt>
                <c:pt idx="28">
                  <c:v>0.10728790617272282</c:v>
                </c:pt>
                <c:pt idx="29">
                  <c:v>0.1011829392091191</c:v>
                </c:pt>
                <c:pt idx="30">
                  <c:v>0.10410892374928411</c:v>
                </c:pt>
                <c:pt idx="31">
                  <c:v>0.10272439178448244</c:v>
                </c:pt>
                <c:pt idx="32">
                  <c:v>0.09791559586873154</c:v>
                </c:pt>
                <c:pt idx="33">
                  <c:v>0.09667337465119494</c:v>
                </c:pt>
                <c:pt idx="34">
                  <c:v>0.1044625883976325</c:v>
                </c:pt>
                <c:pt idx="35">
                  <c:v>0.10985012396495183</c:v>
                </c:pt>
                <c:pt idx="36">
                  <c:v>0.11269894545161396</c:v>
                </c:pt>
                <c:pt idx="37">
                  <c:v>0.11371606495168915</c:v>
                </c:pt>
                <c:pt idx="38">
                  <c:v>0.11983025763145547</c:v>
                </c:pt>
                <c:pt idx="39">
                  <c:v>0.12259175725776657</c:v>
                </c:pt>
                <c:pt idx="40">
                  <c:v>0.1294960379985658</c:v>
                </c:pt>
                <c:pt idx="41">
                  <c:v>0.1287240475471511</c:v>
                </c:pt>
                <c:pt idx="42">
                  <c:v>0.13107348488492035</c:v>
                </c:pt>
                <c:pt idx="43">
                  <c:v>0.14375100536731922</c:v>
                </c:pt>
                <c:pt idx="44">
                  <c:v>0.12913543391819243</c:v>
                </c:pt>
                <c:pt idx="45">
                  <c:v>0.12483889769797928</c:v>
                </c:pt>
                <c:pt idx="46">
                  <c:v>0.12355363174945351</c:v>
                </c:pt>
                <c:pt idx="47">
                  <c:v>0.11756450913217582</c:v>
                </c:pt>
                <c:pt idx="48">
                  <c:v>0.11925047564198182</c:v>
                </c:pt>
                <c:pt idx="49">
                  <c:v>0.1255265940398878</c:v>
                </c:pt>
                <c:pt idx="50">
                  <c:v>0.11411511277936731</c:v>
                </c:pt>
                <c:pt idx="51">
                  <c:v>0.11436183243136672</c:v>
                </c:pt>
                <c:pt idx="52">
                  <c:v>0.11569866994599898</c:v>
                </c:pt>
                <c:pt idx="53">
                  <c:v>0.13029633526882928</c:v>
                </c:pt>
                <c:pt idx="54">
                  <c:v>0.12518124797264063</c:v>
                </c:pt>
                <c:pt idx="55">
                  <c:v>0.1264833025371782</c:v>
                </c:pt>
                <c:pt idx="56">
                  <c:v>0.12236357369730508</c:v>
                </c:pt>
                <c:pt idx="57">
                  <c:v>0.12258835425511916</c:v>
                </c:pt>
                <c:pt idx="58">
                  <c:v>0.12108139581333548</c:v>
                </c:pt>
                <c:pt idx="59">
                  <c:v>0.12259699669823129</c:v>
                </c:pt>
                <c:pt idx="60">
                  <c:v>0.12484239827479034</c:v>
                </c:pt>
                <c:pt idx="61">
                  <c:v>0.12203669570377532</c:v>
                </c:pt>
                <c:pt idx="62">
                  <c:v>0.1141667759152936</c:v>
                </c:pt>
                <c:pt idx="63">
                  <c:v>0.11657197763436877</c:v>
                </c:pt>
                <c:pt idx="64">
                  <c:v>0.12396050406849163</c:v>
                </c:pt>
                <c:pt idx="65">
                  <c:v>0.11662362003760218</c:v>
                </c:pt>
                <c:pt idx="66">
                  <c:v>0.11858994084168961</c:v>
                </c:pt>
                <c:pt idx="67">
                  <c:v>0.11668609897190728</c:v>
                </c:pt>
                <c:pt idx="68">
                  <c:v>0.11341639243074722</c:v>
                </c:pt>
                <c:pt idx="69">
                  <c:v>0.11125467313105487</c:v>
                </c:pt>
                <c:pt idx="70">
                  <c:v>0.10951953382344863</c:v>
                </c:pt>
                <c:pt idx="71">
                  <c:v>0.11006610923755447</c:v>
                </c:pt>
                <c:pt idx="72">
                  <c:v>0.1155462641355661</c:v>
                </c:pt>
                <c:pt idx="73">
                  <c:v>0.11625933743739646</c:v>
                </c:pt>
                <c:pt idx="74">
                  <c:v>0.10909114816406616</c:v>
                </c:pt>
                <c:pt idx="75">
                  <c:v>0.10901250007515399</c:v>
                </c:pt>
                <c:pt idx="76">
                  <c:v>0.10885587864307139</c:v>
                </c:pt>
                <c:pt idx="77">
                  <c:v>0.10347245220532893</c:v>
                </c:pt>
                <c:pt idx="78">
                  <c:v>0.10863078881159063</c:v>
                </c:pt>
                <c:pt idx="79">
                  <c:v>0.07888253896197374</c:v>
                </c:pt>
                <c:pt idx="80">
                  <c:v>0.077212758720975</c:v>
                </c:pt>
                <c:pt idx="81">
                  <c:v>0.0967396547330806</c:v>
                </c:pt>
                <c:pt idx="82">
                  <c:v>0.09710329161981036</c:v>
                </c:pt>
                <c:pt idx="83">
                  <c:v>0.09680240995966974</c:v>
                </c:pt>
                <c:pt idx="84">
                  <c:v>0.09897978535245001</c:v>
                </c:pt>
                <c:pt idx="85">
                  <c:v>0.09943634735625934</c:v>
                </c:pt>
                <c:pt idx="86">
                  <c:v>0.11084450624875705</c:v>
                </c:pt>
                <c:pt idx="87">
                  <c:v>0.11065326228004754</c:v>
                </c:pt>
                <c:pt idx="88">
                  <c:v>0.11136893560767105</c:v>
                </c:pt>
                <c:pt idx="89">
                  <c:v>0.10511469489221953</c:v>
                </c:pt>
                <c:pt idx="90">
                  <c:v>0.10925408856226308</c:v>
                </c:pt>
                <c:pt idx="91">
                  <c:v>0.11452190613559536</c:v>
                </c:pt>
                <c:pt idx="92">
                  <c:v>0.11430363016260948</c:v>
                </c:pt>
                <c:pt idx="93">
                  <c:v>0.11735468527038602</c:v>
                </c:pt>
                <c:pt idx="94">
                  <c:v>0.11472566738647313</c:v>
                </c:pt>
                <c:pt idx="95">
                  <c:v>0.11565595761660086</c:v>
                </c:pt>
                <c:pt idx="96">
                  <c:v>0.11307794284120813</c:v>
                </c:pt>
                <c:pt idx="97">
                  <c:v>0.1161129367356142</c:v>
                </c:pt>
                <c:pt idx="98">
                  <c:v>0.11526555803149893</c:v>
                </c:pt>
                <c:pt idx="99">
                  <c:v>0.11414528844431358</c:v>
                </c:pt>
                <c:pt idx="100">
                  <c:v>0.11643400353158358</c:v>
                </c:pt>
                <c:pt idx="101">
                  <c:v>0.1193591558788142</c:v>
                </c:pt>
                <c:pt idx="102">
                  <c:v>0.11986713344149849</c:v>
                </c:pt>
                <c:pt idx="103">
                  <c:v>0.10747456417677484</c:v>
                </c:pt>
                <c:pt idx="104">
                  <c:v>0.11384018559829331</c:v>
                </c:pt>
              </c:numCache>
            </c:numRef>
          </c:xVal>
          <c:yVal>
            <c:numRef>
              <c:f>Sheet1!$B$2:$B$106</c:f>
              <c:numCache>
                <c:formatCode>General</c:formatCode>
                <c:ptCount val="105"/>
                <c:pt idx="0">
                  <c:v>0.2104353132628153</c:v>
                </c:pt>
                <c:pt idx="1">
                  <c:v>0.20936580711843744</c:v>
                </c:pt>
                <c:pt idx="2">
                  <c:v>0.1951964281132124</c:v>
                </c:pt>
                <c:pt idx="3">
                  <c:v>0.19280869846054474</c:v>
                </c:pt>
                <c:pt idx="4">
                  <c:v>0.18282521947326416</c:v>
                </c:pt>
                <c:pt idx="5">
                  <c:v>0.17047857630868335</c:v>
                </c:pt>
                <c:pt idx="6">
                  <c:v>0.18916918720638393</c:v>
                </c:pt>
                <c:pt idx="7">
                  <c:v>0.17825161479741633</c:v>
                </c:pt>
                <c:pt idx="8">
                  <c:v>0.18962759881197166</c:v>
                </c:pt>
                <c:pt idx="9">
                  <c:v>0.19161017956950885</c:v>
                </c:pt>
                <c:pt idx="10">
                  <c:v>0.20396039603960395</c:v>
                </c:pt>
                <c:pt idx="11">
                  <c:v>0.19627861497756816</c:v>
                </c:pt>
                <c:pt idx="12">
                  <c:v>0.2090399978766887</c:v>
                </c:pt>
                <c:pt idx="13">
                  <c:v>0.21092146331861766</c:v>
                </c:pt>
                <c:pt idx="14">
                  <c:v>0.20510605089328018</c:v>
                </c:pt>
                <c:pt idx="15">
                  <c:v>0.1997352308456065</c:v>
                </c:pt>
                <c:pt idx="16">
                  <c:v>0.19186415376002985</c:v>
                </c:pt>
                <c:pt idx="17">
                  <c:v>0.1788574697613599</c:v>
                </c:pt>
                <c:pt idx="18">
                  <c:v>0.17484202391235168</c:v>
                </c:pt>
                <c:pt idx="19">
                  <c:v>0.14627434377646062</c:v>
                </c:pt>
                <c:pt idx="20">
                  <c:v>0.16460617710017036</c:v>
                </c:pt>
                <c:pt idx="21">
                  <c:v>0.16421682397235546</c:v>
                </c:pt>
                <c:pt idx="22">
                  <c:v>0.1563387690689111</c:v>
                </c:pt>
                <c:pt idx="23">
                  <c:v>0.16137669437161822</c:v>
                </c:pt>
                <c:pt idx="24">
                  <c:v>0.1694212735091446</c:v>
                </c:pt>
                <c:pt idx="25">
                  <c:v>0.16806624679262888</c:v>
                </c:pt>
                <c:pt idx="26">
                  <c:v>0.1631565194669454</c:v>
                </c:pt>
                <c:pt idx="27">
                  <c:v>0.1644426607805759</c:v>
                </c:pt>
                <c:pt idx="28">
                  <c:v>0.15609481390467414</c:v>
                </c:pt>
                <c:pt idx="29">
                  <c:v>0.1752558726723477</c:v>
                </c:pt>
                <c:pt idx="30">
                  <c:v>0.1553217462070569</c:v>
                </c:pt>
                <c:pt idx="31">
                  <c:v>0.1508401503426929</c:v>
                </c:pt>
                <c:pt idx="32">
                  <c:v>0.15629783511917777</c:v>
                </c:pt>
                <c:pt idx="33">
                  <c:v>0.17726337898744146</c:v>
                </c:pt>
                <c:pt idx="34">
                  <c:v>0.17377744012155624</c:v>
                </c:pt>
                <c:pt idx="35">
                  <c:v>0.192956416138173</c:v>
                </c:pt>
                <c:pt idx="36">
                  <c:v>0.15716185884113393</c:v>
                </c:pt>
                <c:pt idx="37">
                  <c:v>0.1293269230769231</c:v>
                </c:pt>
                <c:pt idx="38">
                  <c:v>0.12359550561797752</c:v>
                </c:pt>
                <c:pt idx="39">
                  <c:v>0.12543323139653414</c:v>
                </c:pt>
                <c:pt idx="40">
                  <c:v>0.13096507313744724</c:v>
                </c:pt>
                <c:pt idx="41">
                  <c:v>0.1206642745422762</c:v>
                </c:pt>
                <c:pt idx="42">
                  <c:v>0.12140700364691581</c:v>
                </c:pt>
                <c:pt idx="43">
                  <c:v>0.13300094800042134</c:v>
                </c:pt>
                <c:pt idx="44">
                  <c:v>0.14654865576726858</c:v>
                </c:pt>
                <c:pt idx="45">
                  <c:v>0.16731320255675555</c:v>
                </c:pt>
                <c:pt idx="46">
                  <c:v>0.1764019187502653</c:v>
                </c:pt>
                <c:pt idx="47">
                  <c:v>0.1716687701884613</c:v>
                </c:pt>
                <c:pt idx="48">
                  <c:v>0.19153248508050896</c:v>
                </c:pt>
                <c:pt idx="49">
                  <c:v>0.22133119486768243</c:v>
                </c:pt>
                <c:pt idx="50">
                  <c:v>0.1820144482271859</c:v>
                </c:pt>
                <c:pt idx="51">
                  <c:v>0.1671104696015728</c:v>
                </c:pt>
                <c:pt idx="52">
                  <c:v>0.1823606150687568</c:v>
                </c:pt>
                <c:pt idx="53">
                  <c:v>0.165633727889347</c:v>
                </c:pt>
                <c:pt idx="54">
                  <c:v>0.15941820276497695</c:v>
                </c:pt>
                <c:pt idx="55">
                  <c:v>0.1570630582190758</c:v>
                </c:pt>
                <c:pt idx="56">
                  <c:v>0.17284360475644353</c:v>
                </c:pt>
                <c:pt idx="57">
                  <c:v>0.16677579027315823</c:v>
                </c:pt>
                <c:pt idx="58">
                  <c:v>0.1796740265733926</c:v>
                </c:pt>
                <c:pt idx="59">
                  <c:v>0.1848297810782139</c:v>
                </c:pt>
                <c:pt idx="60">
                  <c:v>0.1911824354113394</c:v>
                </c:pt>
                <c:pt idx="61">
                  <c:v>0.1938988416432837</c:v>
                </c:pt>
                <c:pt idx="62">
                  <c:v>0.1979644124767882</c:v>
                </c:pt>
                <c:pt idx="63">
                  <c:v>0.21463529815824497</c:v>
                </c:pt>
                <c:pt idx="64">
                  <c:v>0.20133358416421063</c:v>
                </c:pt>
                <c:pt idx="65">
                  <c:v>0.1998720672560711</c:v>
                </c:pt>
                <c:pt idx="66">
                  <c:v>0.19738022185508614</c:v>
                </c:pt>
                <c:pt idx="67">
                  <c:v>0.193351193375548</c:v>
                </c:pt>
                <c:pt idx="68">
                  <c:v>0.1764843521497514</c:v>
                </c:pt>
                <c:pt idx="69">
                  <c:v>0.15879038317054847</c:v>
                </c:pt>
                <c:pt idx="70">
                  <c:v>0.14821472630502977</c:v>
                </c:pt>
                <c:pt idx="71">
                  <c:v>0.15706529935153069</c:v>
                </c:pt>
                <c:pt idx="72">
                  <c:v>0.15622956774427896</c:v>
                </c:pt>
                <c:pt idx="73">
                  <c:v>0.16183638768184394</c:v>
                </c:pt>
                <c:pt idx="74">
                  <c:v>0.1592623335378397</c:v>
                </c:pt>
                <c:pt idx="75">
                  <c:v>0.15497225778915918</c:v>
                </c:pt>
                <c:pt idx="76">
                  <c:v>0.1459560670411472</c:v>
                </c:pt>
                <c:pt idx="77">
                  <c:v>0.15498438843386578</c:v>
                </c:pt>
                <c:pt idx="78">
                  <c:v>0.1446161907257008</c:v>
                </c:pt>
                <c:pt idx="79">
                  <c:v>0.18320854638422207</c:v>
                </c:pt>
                <c:pt idx="80">
                  <c:v>0.1774726788502158</c:v>
                </c:pt>
                <c:pt idx="81">
                  <c:v>0.1575934534557609</c:v>
                </c:pt>
                <c:pt idx="82">
                  <c:v>0.14378602039308408</c:v>
                </c:pt>
                <c:pt idx="83">
                  <c:v>0.1329802220093537</c:v>
                </c:pt>
                <c:pt idx="84">
                  <c:v>0.12998102466793168</c:v>
                </c:pt>
                <c:pt idx="85">
                  <c:v>0.1331891549741534</c:v>
                </c:pt>
                <c:pt idx="86">
                  <c:v>0.13664497698777972</c:v>
                </c:pt>
                <c:pt idx="87">
                  <c:v>0.15707769558051285</c:v>
                </c:pt>
                <c:pt idx="88">
                  <c:v>0.14278950856926428</c:v>
                </c:pt>
                <c:pt idx="89">
                  <c:v>0.12795285677683832</c:v>
                </c:pt>
                <c:pt idx="90">
                  <c:v>0.12505943889681406</c:v>
                </c:pt>
                <c:pt idx="91">
                  <c:v>0.11934383465435938</c:v>
                </c:pt>
                <c:pt idx="92">
                  <c:v>0.13114754098360656</c:v>
                </c:pt>
                <c:pt idx="93">
                  <c:v>0.11910570731512218</c:v>
                </c:pt>
                <c:pt idx="94">
                  <c:v>0.12265742556198987</c:v>
                </c:pt>
                <c:pt idx="95">
                  <c:v>0.13306545345863913</c:v>
                </c:pt>
                <c:pt idx="96">
                  <c:v>0.12835410689746618</c:v>
                </c:pt>
                <c:pt idx="97">
                  <c:v>0.13635974853526067</c:v>
                </c:pt>
                <c:pt idx="98">
                  <c:v>0.15405743754554457</c:v>
                </c:pt>
                <c:pt idx="99">
                  <c:v>0.1593022876350227</c:v>
                </c:pt>
                <c:pt idx="100">
                  <c:v>0.18337582746602418</c:v>
                </c:pt>
                <c:pt idx="101">
                  <c:v>0.15571918341904317</c:v>
                </c:pt>
                <c:pt idx="102">
                  <c:v>0.1313907284768212</c:v>
                </c:pt>
                <c:pt idx="103">
                  <c:v>0.15021106674272675</c:v>
                </c:pt>
                <c:pt idx="104">
                  <c:v>0.1544821131447587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225101520032317</c:v>
                </c:pt>
                <c:pt idx="1">
                  <c:v>0.12322888920534178</c:v>
                </c:pt>
                <c:pt idx="2">
                  <c:v>0.11989808427663697</c:v>
                </c:pt>
                <c:pt idx="3">
                  <c:v>0.12395921035828748</c:v>
                </c:pt>
                <c:pt idx="4">
                  <c:v>0.12250759488899632</c:v>
                </c:pt>
                <c:pt idx="5">
                  <c:v>0.12203676483648254</c:v>
                </c:pt>
                <c:pt idx="6">
                  <c:v>0.11571584709584032</c:v>
                </c:pt>
                <c:pt idx="7">
                  <c:v>0.11947083652417348</c:v>
                </c:pt>
                <c:pt idx="8">
                  <c:v>0.12752840673274968</c:v>
                </c:pt>
                <c:pt idx="9">
                  <c:v>0.12424522769599979</c:v>
                </c:pt>
                <c:pt idx="10">
                  <c:v>0.1259556404760111</c:v>
                </c:pt>
                <c:pt idx="11">
                  <c:v>0.11335974864066381</c:v>
                </c:pt>
                <c:pt idx="12">
                  <c:v>0.11695214360730218</c:v>
                </c:pt>
                <c:pt idx="13">
                  <c:v>0.11888015547745129</c:v>
                </c:pt>
                <c:pt idx="14">
                  <c:v>0.11758247162453499</c:v>
                </c:pt>
                <c:pt idx="15">
                  <c:v>0.1163356467160677</c:v>
                </c:pt>
                <c:pt idx="16">
                  <c:v>0.11701695686644288</c:v>
                </c:pt>
                <c:pt idx="17">
                  <c:v>0.11677175298974304</c:v>
                </c:pt>
                <c:pt idx="18">
                  <c:v>0.11319232865691743</c:v>
                </c:pt>
                <c:pt idx="19">
                  <c:v>0.12311729585726064</c:v>
                </c:pt>
                <c:pt idx="20">
                  <c:v>0.12011840570929588</c:v>
                </c:pt>
                <c:pt idx="21">
                  <c:v>0.12092730455784333</c:v>
                </c:pt>
                <c:pt idx="22">
                  <c:v>0.11804825498227392</c:v>
                </c:pt>
                <c:pt idx="23">
                  <c:v>0.11425002534994341</c:v>
                </c:pt>
                <c:pt idx="24">
                  <c:v>0.11177872559668456</c:v>
                </c:pt>
                <c:pt idx="25">
                  <c:v>0.10883271242658517</c:v>
                </c:pt>
                <c:pt idx="26">
                  <c:v>0.1127020536048734</c:v>
                </c:pt>
                <c:pt idx="27">
                  <c:v>0.1187140225152658</c:v>
                </c:pt>
                <c:pt idx="28">
                  <c:v>0.1205482682144305</c:v>
                </c:pt>
                <c:pt idx="29">
                  <c:v>0.12179009476318195</c:v>
                </c:pt>
                <c:pt idx="30">
                  <c:v>0.12095141024393856</c:v>
                </c:pt>
                <c:pt idx="31">
                  <c:v>0.11168320815630015</c:v>
                </c:pt>
                <c:pt idx="32">
                  <c:v>0.11505366281122917</c:v>
                </c:pt>
                <c:pt idx="33">
                  <c:v>0.12168851103007342</c:v>
                </c:pt>
                <c:pt idx="34">
                  <c:v>0.12275314118433042</c:v>
                </c:pt>
                <c:pt idx="35">
                  <c:v>0.11822597618855546</c:v>
                </c:pt>
                <c:pt idx="36">
                  <c:v>0.11404456751652532</c:v>
                </c:pt>
                <c:pt idx="37">
                  <c:v>0.11932336805338148</c:v>
                </c:pt>
                <c:pt idx="38">
                  <c:v>0.11492439429965097</c:v>
                </c:pt>
                <c:pt idx="39">
                  <c:v>0.11803799507367459</c:v>
                </c:pt>
                <c:pt idx="40">
                  <c:v>0.12278582027765773</c:v>
                </c:pt>
                <c:pt idx="41">
                  <c:v>0.12766098804255874</c:v>
                </c:pt>
                <c:pt idx="42">
                  <c:v>0.12633156736462645</c:v>
                </c:pt>
                <c:pt idx="43">
                  <c:v>0.12912524472437906</c:v>
                </c:pt>
                <c:pt idx="44">
                  <c:v>0.12687619007418727</c:v>
                </c:pt>
                <c:pt idx="45">
                  <c:v>0.12720264590693411</c:v>
                </c:pt>
                <c:pt idx="46">
                  <c:v>0.12626307957930355</c:v>
                </c:pt>
                <c:pt idx="47">
                  <c:v>0.12200665799670846</c:v>
                </c:pt>
                <c:pt idx="48">
                  <c:v>0.11954933471918251</c:v>
                </c:pt>
                <c:pt idx="49">
                  <c:v>0.12354546003565997</c:v>
                </c:pt>
                <c:pt idx="50">
                  <c:v>0.11798865127970735</c:v>
                </c:pt>
                <c:pt idx="51">
                  <c:v>0.11115650643425061</c:v>
                </c:pt>
              </c:numCache>
            </c:numRef>
          </c:xVal>
          <c:yVal>
            <c:numRef>
              <c:f>Sheet1!$B$109:$B$160</c:f>
              <c:numCache>
                <c:formatCode>General</c:formatCode>
                <c:ptCount val="52"/>
                <c:pt idx="0">
                  <c:v>0.15453902381513793</c:v>
                </c:pt>
                <c:pt idx="1">
                  <c:v>0.15065908633527872</c:v>
                </c:pt>
                <c:pt idx="2">
                  <c:v>0.15922999634636464</c:v>
                </c:pt>
                <c:pt idx="3">
                  <c:v>0.16322220203488372</c:v>
                </c:pt>
                <c:pt idx="4">
                  <c:v>0.1516795865633075</c:v>
                </c:pt>
                <c:pt idx="5">
                  <c:v>0.1499715018523796</c:v>
                </c:pt>
                <c:pt idx="6">
                  <c:v>0.15807702011514024</c:v>
                </c:pt>
                <c:pt idx="7">
                  <c:v>0.15210545813781182</c:v>
                </c:pt>
                <c:pt idx="8">
                  <c:v>0.15225104198959732</c:v>
                </c:pt>
                <c:pt idx="9">
                  <c:v>0.16813044983788208</c:v>
                </c:pt>
                <c:pt idx="10">
                  <c:v>0.1647083891391696</c:v>
                </c:pt>
                <c:pt idx="11">
                  <c:v>0.18933902887914386</c:v>
                </c:pt>
                <c:pt idx="12">
                  <c:v>0.17624590760276465</c:v>
                </c:pt>
                <c:pt idx="13">
                  <c:v>0.16931939978563773</c:v>
                </c:pt>
                <c:pt idx="14">
                  <c:v>0.1727391874180865</c:v>
                </c:pt>
                <c:pt idx="15">
                  <c:v>0.15765555451800667</c:v>
                </c:pt>
                <c:pt idx="16">
                  <c:v>0.15561180264207206</c:v>
                </c:pt>
                <c:pt idx="17">
                  <c:v>0.13336514812231562</c:v>
                </c:pt>
                <c:pt idx="18">
                  <c:v>0.1307206849375524</c:v>
                </c:pt>
                <c:pt idx="19">
                  <c:v>0.14154471544715447</c:v>
                </c:pt>
                <c:pt idx="20">
                  <c:v>0.13488269145639664</c:v>
                </c:pt>
                <c:pt idx="21">
                  <c:v>0.14243070362473348</c:v>
                </c:pt>
                <c:pt idx="22">
                  <c:v>0.14002001791076227</c:v>
                </c:pt>
                <c:pt idx="23">
                  <c:v>0.14325596671775784</c:v>
                </c:pt>
                <c:pt idx="24">
                  <c:v>0.1437380175138608</c:v>
                </c:pt>
                <c:pt idx="25">
                  <c:v>0.14956521739130435</c:v>
                </c:pt>
                <c:pt idx="26">
                  <c:v>0.1334056399132321</c:v>
                </c:pt>
                <c:pt idx="27">
                  <c:v>0.11880146386093321</c:v>
                </c:pt>
                <c:pt idx="28">
                  <c:v>0.129798595635538</c:v>
                </c:pt>
                <c:pt idx="29">
                  <c:v>0.1199602286850609</c:v>
                </c:pt>
                <c:pt idx="30">
                  <c:v>0.14040989545595695</c:v>
                </c:pt>
                <c:pt idx="31">
                  <c:v>0.12741490340386386</c:v>
                </c:pt>
                <c:pt idx="32">
                  <c:v>0.1301096199159922</c:v>
                </c:pt>
                <c:pt idx="33">
                  <c:v>0.14949047030230675</c:v>
                </c:pt>
                <c:pt idx="34">
                  <c:v>0.17020268669847394</c:v>
                </c:pt>
                <c:pt idx="35">
                  <c:v>0.16325723103707515</c:v>
                </c:pt>
                <c:pt idx="36">
                  <c:v>0.14331593737454837</c:v>
                </c:pt>
                <c:pt idx="37">
                  <c:v>0.13059604032805724</c:v>
                </c:pt>
                <c:pt idx="38">
                  <c:v>0.12966160220994474</c:v>
                </c:pt>
                <c:pt idx="39">
                  <c:v>0.14714419684722904</c:v>
                </c:pt>
                <c:pt idx="40">
                  <c:v>0.12842914555303162</c:v>
                </c:pt>
                <c:pt idx="41">
                  <c:v>0.13137238701148476</c:v>
                </c:pt>
                <c:pt idx="42">
                  <c:v>0.12623932014437794</c:v>
                </c:pt>
                <c:pt idx="43">
                  <c:v>0.12546138190348063</c:v>
                </c:pt>
                <c:pt idx="44">
                  <c:v>0.12657753702529823</c:v>
                </c:pt>
                <c:pt idx="45">
                  <c:v>0.141745609600633</c:v>
                </c:pt>
                <c:pt idx="46">
                  <c:v>0.13399320820280622</c:v>
                </c:pt>
                <c:pt idx="47">
                  <c:v>0.13891769120624106</c:v>
                </c:pt>
                <c:pt idx="48">
                  <c:v>0.13187201329731976</c:v>
                </c:pt>
                <c:pt idx="49">
                  <c:v>0.144998575092619</c:v>
                </c:pt>
                <c:pt idx="50">
                  <c:v>0.1826004679768313</c:v>
                </c:pt>
                <c:pt idx="51">
                  <c:v>0.1620312297244690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2587527973672439</c:v>
                </c:pt>
              </c:numCache>
            </c:numRef>
          </c:xVal>
          <c:yVal>
            <c:numRef>
              <c:f>Sheet1!$B$163:$B$164</c:f>
              <c:numCache>
                <c:formatCode>General</c:formatCode>
                <c:ptCount val="2"/>
                <c:pt idx="0">
                  <c:v>0.19090649372808102</c:v>
                </c:pt>
                <c:pt idx="1">
                  <c:v>0.1909064937280810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2587527973672439</c:v>
                </c:pt>
                <c:pt idx="1">
                  <c:v>0.02587527973672439</c:v>
                </c:pt>
              </c:numCache>
            </c:numRef>
          </c:xVal>
          <c:yVal>
            <c:numRef>
              <c:f>Sheet1!$B$167:$B$168</c:f>
              <c:numCache>
                <c:formatCode>General</c:formatCode>
                <c:ptCount val="2"/>
                <c:pt idx="0">
                  <c:v>0.19090649372808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9806393790878559</c:v>
                </c:pt>
              </c:numCache>
            </c:numRef>
          </c:xVal>
          <c:yVal>
            <c:numRef>
              <c:f>Sheet1!$B$171:$B$172</c:f>
              <c:numCache>
                <c:formatCode>General</c:formatCode>
                <c:ptCount val="2"/>
                <c:pt idx="0">
                  <c:v>0.1566687433393012</c:v>
                </c:pt>
                <c:pt idx="1">
                  <c:v>0.156668743339301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9806393790878559</c:v>
                </c:pt>
                <c:pt idx="1">
                  <c:v>0.09806393790878559</c:v>
                </c:pt>
              </c:numCache>
            </c:numRef>
          </c:xVal>
          <c:yVal>
            <c:numRef>
              <c:f>Sheet1!$B$175:$B$176</c:f>
              <c:numCache>
                <c:formatCode>General</c:formatCode>
                <c:ptCount val="2"/>
                <c:pt idx="0">
                  <c:v>0.156668743339301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3298491699383097</c:v>
                </c:pt>
              </c:numCache>
            </c:numRef>
          </c:xVal>
          <c:yVal>
            <c:numRef>
              <c:f>Sheet1!$B$179:$B$180</c:f>
              <c:numCache>
                <c:formatCode>General</c:formatCode>
                <c:ptCount val="2"/>
                <c:pt idx="0">
                  <c:v>0.1401063664296786</c:v>
                </c:pt>
                <c:pt idx="1">
                  <c:v>0.140106366429678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3298491699383097</c:v>
                </c:pt>
                <c:pt idx="1">
                  <c:v>0.13298491699383097</c:v>
                </c:pt>
              </c:numCache>
            </c:numRef>
          </c:xVal>
          <c:yVal>
            <c:numRef>
              <c:f>Sheet1!$B$183:$B$184</c:f>
              <c:numCache>
                <c:formatCode>General</c:formatCode>
                <c:ptCount val="2"/>
                <c:pt idx="0">
                  <c:v>0.14010636642967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225101520032317</c:v>
                </c:pt>
                <c:pt idx="1">
                  <c:v>0.12322888920534178</c:v>
                </c:pt>
                <c:pt idx="2">
                  <c:v>0.11989808427663697</c:v>
                </c:pt>
                <c:pt idx="3">
                  <c:v>0.12395921035828748</c:v>
                </c:pt>
                <c:pt idx="4">
                  <c:v>0.12250759488899632</c:v>
                </c:pt>
                <c:pt idx="5">
                  <c:v>0.12203676483648254</c:v>
                </c:pt>
                <c:pt idx="6">
                  <c:v>0.11571584709584032</c:v>
                </c:pt>
                <c:pt idx="7">
                  <c:v>0.11947083652417348</c:v>
                </c:pt>
                <c:pt idx="8">
                  <c:v>0.12752840673274968</c:v>
                </c:pt>
                <c:pt idx="9">
                  <c:v>0.12424522769599979</c:v>
                </c:pt>
                <c:pt idx="10">
                  <c:v>0.1259556404760111</c:v>
                </c:pt>
                <c:pt idx="11">
                  <c:v>0.11335974864066381</c:v>
                </c:pt>
                <c:pt idx="12">
                  <c:v>0.11695214360730218</c:v>
                </c:pt>
                <c:pt idx="13">
                  <c:v>0.11888015547745129</c:v>
                </c:pt>
                <c:pt idx="14">
                  <c:v>0.11758247162453499</c:v>
                </c:pt>
                <c:pt idx="15">
                  <c:v>0.1163356467160677</c:v>
                </c:pt>
                <c:pt idx="16">
                  <c:v>0.11701695686644288</c:v>
                </c:pt>
                <c:pt idx="17">
                  <c:v>0.11677175298974304</c:v>
                </c:pt>
                <c:pt idx="18">
                  <c:v>0.11319232865691743</c:v>
                </c:pt>
                <c:pt idx="19">
                  <c:v>0.12311729585726064</c:v>
                </c:pt>
                <c:pt idx="20">
                  <c:v>0.12011840570929588</c:v>
                </c:pt>
                <c:pt idx="21">
                  <c:v>0.12092730455784333</c:v>
                </c:pt>
                <c:pt idx="22">
                  <c:v>0.11804825498227392</c:v>
                </c:pt>
                <c:pt idx="23">
                  <c:v>0.11425002534994341</c:v>
                </c:pt>
                <c:pt idx="24">
                  <c:v>0.11177872559668456</c:v>
                </c:pt>
                <c:pt idx="25">
                  <c:v>0.10883271242658517</c:v>
                </c:pt>
                <c:pt idx="26">
                  <c:v>0.1127020536048734</c:v>
                </c:pt>
                <c:pt idx="27">
                  <c:v>0.1187140225152658</c:v>
                </c:pt>
                <c:pt idx="28">
                  <c:v>0.1205482682144305</c:v>
                </c:pt>
                <c:pt idx="29">
                  <c:v>0.12179009476318195</c:v>
                </c:pt>
                <c:pt idx="30">
                  <c:v>0.12095141024393856</c:v>
                </c:pt>
                <c:pt idx="31">
                  <c:v>0.11168320815630015</c:v>
                </c:pt>
                <c:pt idx="32">
                  <c:v>0.11505366281122917</c:v>
                </c:pt>
                <c:pt idx="33">
                  <c:v>0.12168851103007342</c:v>
                </c:pt>
                <c:pt idx="34">
                  <c:v>0.12275314118433042</c:v>
                </c:pt>
                <c:pt idx="35">
                  <c:v>0.11822597618855546</c:v>
                </c:pt>
                <c:pt idx="36">
                  <c:v>0.11404456751652532</c:v>
                </c:pt>
                <c:pt idx="37">
                  <c:v>0.11932336805338148</c:v>
                </c:pt>
                <c:pt idx="38">
                  <c:v>0.11492439429965097</c:v>
                </c:pt>
                <c:pt idx="39">
                  <c:v>0.11803799507367459</c:v>
                </c:pt>
                <c:pt idx="40">
                  <c:v>0.12278582027765773</c:v>
                </c:pt>
                <c:pt idx="41">
                  <c:v>0.12766098804255874</c:v>
                </c:pt>
                <c:pt idx="42">
                  <c:v>0.12633156736462645</c:v>
                </c:pt>
                <c:pt idx="43">
                  <c:v>0.12912524472437906</c:v>
                </c:pt>
                <c:pt idx="44">
                  <c:v>0.12687619007418727</c:v>
                </c:pt>
                <c:pt idx="45">
                  <c:v>0.12720264590693411</c:v>
                </c:pt>
                <c:pt idx="46">
                  <c:v>0.12626307957930355</c:v>
                </c:pt>
                <c:pt idx="47">
                  <c:v>0.12200665799670846</c:v>
                </c:pt>
                <c:pt idx="48">
                  <c:v>0.11954933471918251</c:v>
                </c:pt>
                <c:pt idx="49">
                  <c:v>0.12354546003565997</c:v>
                </c:pt>
                <c:pt idx="50">
                  <c:v>0.11798865127970735</c:v>
                </c:pt>
                <c:pt idx="51">
                  <c:v>0.11115650643425061</c:v>
                </c:pt>
                <c:pt idx="52">
                  <c:v>0.09806393790878559</c:v>
                </c:pt>
                <c:pt idx="53">
                  <c:v>0.02587527973672439</c:v>
                </c:pt>
                <c:pt idx="54">
                  <c:v>0.13298491699383097</c:v>
                </c:pt>
              </c:numCache>
            </c:numRef>
          </c:xVal>
          <c:yVal>
            <c:numRef>
              <c:f>Sheet1!$B$187:$B$241</c:f>
              <c:numCache>
                <c:formatCode>General</c:formatCode>
                <c:ptCount val="55"/>
                <c:pt idx="0">
                  <c:v>0.1450743544517647</c:v>
                </c:pt>
                <c:pt idx="1">
                  <c:v>0.14473347064059422</c:v>
                </c:pt>
                <c:pt idx="2">
                  <c:v>0.14631321004329792</c:v>
                </c:pt>
                <c:pt idx="3">
                  <c:v>0.14438709277499376</c:v>
                </c:pt>
                <c:pt idx="4">
                  <c:v>0.14507556724392795</c:v>
                </c:pt>
                <c:pt idx="5">
                  <c:v>0.14529887326209884</c:v>
                </c:pt>
                <c:pt idx="6">
                  <c:v>0.1482967680742769</c:v>
                </c:pt>
                <c:pt idx="7">
                  <c:v>0.14651584577962296</c:v>
                </c:pt>
                <c:pt idx="8">
                  <c:v>0.14269428870228043</c:v>
                </c:pt>
                <c:pt idx="9">
                  <c:v>0.14425144002200704</c:v>
                </c:pt>
                <c:pt idx="10">
                  <c:v>0.14344022275731946</c:v>
                </c:pt>
                <c:pt idx="11">
                  <c:v>0.14941422215698688</c:v>
                </c:pt>
                <c:pt idx="12">
                  <c:v>0.1477104154194726</c:v>
                </c:pt>
                <c:pt idx="13">
                  <c:v>0.14679599491591602</c:v>
                </c:pt>
                <c:pt idx="14">
                  <c:v>0.14741146245562012</c:v>
                </c:pt>
                <c:pt idx="15">
                  <c:v>0.1480028085351229</c:v>
                </c:pt>
                <c:pt idx="16">
                  <c:v>0.1476796756849418</c:v>
                </c:pt>
                <c:pt idx="17">
                  <c:v>0.1477959713654184</c:v>
                </c:pt>
                <c:pt idx="18">
                  <c:v>0.14949362637031827</c:v>
                </c:pt>
                <c:pt idx="19">
                  <c:v>0.1447863973093175</c:v>
                </c:pt>
                <c:pt idx="20">
                  <c:v>0.14620871564753432</c:v>
                </c:pt>
                <c:pt idx="21">
                  <c:v>0.1458250698288196</c:v>
                </c:pt>
                <c:pt idx="22">
                  <c:v>0.14719054999178816</c:v>
                </c:pt>
                <c:pt idx="23">
                  <c:v>0.1489919803184337</c:v>
                </c:pt>
                <c:pt idx="24">
                  <c:v>0.1501640722540707</c:v>
                </c:pt>
                <c:pt idx="25">
                  <c:v>0.15156131201602208</c:v>
                </c:pt>
                <c:pt idx="26">
                  <c:v>0.14972615479346366</c:v>
                </c:pt>
                <c:pt idx="27">
                  <c:v>0.14687478871863635</c:v>
                </c:pt>
                <c:pt idx="28">
                  <c:v>0.14600483978219803</c:v>
                </c:pt>
                <c:pt idx="29">
                  <c:v>0.14541586433260634</c:v>
                </c:pt>
                <c:pt idx="30">
                  <c:v>0.14581363694608734</c:v>
                </c:pt>
                <c:pt idx="31">
                  <c:v>0.15020937441599566</c:v>
                </c:pt>
                <c:pt idx="32">
                  <c:v>0.14861082987874835</c:v>
                </c:pt>
                <c:pt idx="33">
                  <c:v>0.14546404362538998</c:v>
                </c:pt>
                <c:pt idx="34">
                  <c:v>0.14495910916060273</c:v>
                </c:pt>
                <c:pt idx="35">
                  <c:v>0.14710626009842348</c:v>
                </c:pt>
                <c:pt idx="36">
                  <c:v>0.14908942518296103</c:v>
                </c:pt>
                <c:pt idx="37">
                  <c:v>0.14658578735799607</c:v>
                </c:pt>
                <c:pt idx="38">
                  <c:v>0.1486721395518274</c:v>
                </c:pt>
                <c:pt idx="39">
                  <c:v>0.1471954160773829</c:v>
                </c:pt>
                <c:pt idx="40">
                  <c:v>0.14494361006879794</c:v>
                </c:pt>
                <c:pt idx="41">
                  <c:v>0.1426314078300437</c:v>
                </c:pt>
                <c:pt idx="42">
                  <c:v>0.14326192756105516</c:v>
                </c:pt>
                <c:pt idx="43">
                  <c:v>0.14193693786693984</c:v>
                </c:pt>
                <c:pt idx="44">
                  <c:v>0.14300362304538514</c:v>
                </c:pt>
                <c:pt idx="45">
                  <c:v>0.14284879105934228</c:v>
                </c:pt>
                <c:pt idx="46">
                  <c:v>0.1432944100556456</c:v>
                </c:pt>
                <c:pt idx="47">
                  <c:v>0.14531315238144088</c:v>
                </c:pt>
                <c:pt idx="48">
                  <c:v>0.1464786155321749</c:v>
                </c:pt>
                <c:pt idx="49">
                  <c:v>0.1445833269290576</c:v>
                </c:pt>
                <c:pt idx="50">
                  <c:v>0.14721881892962957</c:v>
                </c:pt>
                <c:pt idx="51">
                  <c:v>0.15045917933750966</c:v>
                </c:pt>
                <c:pt idx="52">
                  <c:v>0.1566687433393012</c:v>
                </c:pt>
                <c:pt idx="53">
                  <c:v>0.19090649372808102</c:v>
                </c:pt>
                <c:pt idx="54">
                  <c:v>0.140106366429678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55974338412189"/>
          <c:min val="0.0950411710887465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72.2873</c:v>
                </c:pt>
                <c:pt idx="1">
                  <c:v>974.8146</c:v>
                </c:pt>
                <c:pt idx="2">
                  <c:v>1009.843</c:v>
                </c:pt>
                <c:pt idx="3">
                  <c:v>1028.4172</c:v>
                </c:pt>
                <c:pt idx="4">
                  <c:v>1029.7472</c:v>
                </c:pt>
                <c:pt idx="5">
                  <c:v>1038.6931</c:v>
                </c:pt>
                <c:pt idx="6">
                  <c:v>1005.2735</c:v>
                </c:pt>
                <c:pt idx="7">
                  <c:v>1025.658</c:v>
                </c:pt>
                <c:pt idx="8">
                  <c:v>1014.4635</c:v>
                </c:pt>
                <c:pt idx="9">
                  <c:v>984.1789</c:v>
                </c:pt>
                <c:pt idx="10">
                  <c:v>966.8416</c:v>
                </c:pt>
                <c:pt idx="11">
                  <c:v>987.0812</c:v>
                </c:pt>
                <c:pt idx="12">
                  <c:v>980.5964</c:v>
                </c:pt>
                <c:pt idx="13">
                  <c:v>972.298</c:v>
                </c:pt>
                <c:pt idx="14">
                  <c:v>1024.5843</c:v>
                </c:pt>
                <c:pt idx="15">
                  <c:v>1021.2441</c:v>
                </c:pt>
                <c:pt idx="16">
                  <c:v>1060.9479</c:v>
                </c:pt>
                <c:pt idx="17">
                  <c:v>1040.8933</c:v>
                </c:pt>
                <c:pt idx="18">
                  <c:v>1101.4316</c:v>
                </c:pt>
                <c:pt idx="19">
                  <c:v>1108.5796</c:v>
                </c:pt>
                <c:pt idx="20">
                  <c:v>1108.2622</c:v>
                </c:pt>
                <c:pt idx="21">
                  <c:v>1108.1297</c:v>
                </c:pt>
                <c:pt idx="22">
                  <c:v>1095.8183</c:v>
                </c:pt>
                <c:pt idx="23">
                  <c:v>1078.1905</c:v>
                </c:pt>
                <c:pt idx="24">
                  <c:v>1088.3722</c:v>
                </c:pt>
                <c:pt idx="25">
                  <c:v>1048.203</c:v>
                </c:pt>
                <c:pt idx="26">
                  <c:v>1075.5551</c:v>
                </c:pt>
                <c:pt idx="27">
                  <c:v>1131.2779</c:v>
                </c:pt>
                <c:pt idx="28">
                  <c:v>1089.8563</c:v>
                </c:pt>
                <c:pt idx="29">
                  <c:v>1002.7813</c:v>
                </c:pt>
                <c:pt idx="30">
                  <c:v>1040.2253</c:v>
                </c:pt>
                <c:pt idx="31">
                  <c:v>1035.9483</c:v>
                </c:pt>
                <c:pt idx="32">
                  <c:v>1023.1375</c:v>
                </c:pt>
                <c:pt idx="33">
                  <c:v>961.9561</c:v>
                </c:pt>
                <c:pt idx="34">
                  <c:v>1036.1498</c:v>
                </c:pt>
                <c:pt idx="35">
                  <c:v>1066.676</c:v>
                </c:pt>
                <c:pt idx="36">
                  <c:v>1172.338</c:v>
                </c:pt>
                <c:pt idx="37">
                  <c:v>1168.4175</c:v>
                </c:pt>
                <c:pt idx="38">
                  <c:v>1214.1444</c:v>
                </c:pt>
                <c:pt idx="39">
                  <c:v>1238.2702</c:v>
                </c:pt>
                <c:pt idx="40">
                  <c:v>1266.41</c:v>
                </c:pt>
                <c:pt idx="41">
                  <c:v>1280.9089</c:v>
                </c:pt>
                <c:pt idx="42">
                  <c:v>1317.1437</c:v>
                </c:pt>
                <c:pt idx="43">
                  <c:v>1345.386</c:v>
                </c:pt>
                <c:pt idx="44">
                  <c:v>1168.0343</c:v>
                </c:pt>
                <c:pt idx="45">
                  <c:v>1134.5861</c:v>
                </c:pt>
                <c:pt idx="46">
                  <c:v>1107.3622</c:v>
                </c:pt>
                <c:pt idx="47">
                  <c:v>1088.3397</c:v>
                </c:pt>
                <c:pt idx="48">
                  <c:v>1072.3698</c:v>
                </c:pt>
                <c:pt idx="49">
                  <c:v>1034.8761</c:v>
                </c:pt>
                <c:pt idx="50">
                  <c:v>1047.4876</c:v>
                </c:pt>
                <c:pt idx="51">
                  <c:v>1074.8952</c:v>
                </c:pt>
                <c:pt idx="52">
                  <c:v>1067.0342</c:v>
                </c:pt>
                <c:pt idx="53">
                  <c:v>1175.4004</c:v>
                </c:pt>
                <c:pt idx="54">
                  <c:v>1169.3527</c:v>
                </c:pt>
                <c:pt idx="55">
                  <c:v>1218.8749</c:v>
                </c:pt>
                <c:pt idx="56">
                  <c:v>1192.5897</c:v>
                </c:pt>
                <c:pt idx="57">
                  <c:v>1199.3229</c:v>
                </c:pt>
                <c:pt idx="58">
                  <c:v>1166.6559</c:v>
                </c:pt>
                <c:pt idx="59">
                  <c:v>1158.4297</c:v>
                </c:pt>
                <c:pt idx="60">
                  <c:v>1184.8412</c:v>
                </c:pt>
                <c:pt idx="61">
                  <c:v>1163.1625</c:v>
                </c:pt>
                <c:pt idx="62">
                  <c:v>1122.7847</c:v>
                </c:pt>
                <c:pt idx="63">
                  <c:v>1143.7606</c:v>
                </c:pt>
                <c:pt idx="64">
                  <c:v>1159.791</c:v>
                </c:pt>
                <c:pt idx="65">
                  <c:v>1126.0592</c:v>
                </c:pt>
                <c:pt idx="66">
                  <c:v>1144.4196</c:v>
                </c:pt>
                <c:pt idx="67">
                  <c:v>1123.3883</c:v>
                </c:pt>
                <c:pt idx="68">
                  <c:v>1119.53</c:v>
                </c:pt>
                <c:pt idx="69">
                  <c:v>1140.4296</c:v>
                </c:pt>
                <c:pt idx="70">
                  <c:v>1125.9118</c:v>
                </c:pt>
                <c:pt idx="71">
                  <c:v>1147.5211</c:v>
                </c:pt>
                <c:pt idx="72">
                  <c:v>1200.2097</c:v>
                </c:pt>
                <c:pt idx="73">
                  <c:v>1219.9904</c:v>
                </c:pt>
                <c:pt idx="74">
                  <c:v>1156.535</c:v>
                </c:pt>
                <c:pt idx="75">
                  <c:v>1173.1096</c:v>
                </c:pt>
                <c:pt idx="76">
                  <c:v>1158.8285</c:v>
                </c:pt>
                <c:pt idx="77">
                  <c:v>1099.788</c:v>
                </c:pt>
                <c:pt idx="78">
                  <c:v>1185.15</c:v>
                </c:pt>
                <c:pt idx="79">
                  <c:v>869.9457</c:v>
                </c:pt>
                <c:pt idx="80">
                  <c:v>860.0657</c:v>
                </c:pt>
                <c:pt idx="81">
                  <c:v>1047.4902</c:v>
                </c:pt>
                <c:pt idx="82">
                  <c:v>1061.5598</c:v>
                </c:pt>
                <c:pt idx="83">
                  <c:v>1095.0504</c:v>
                </c:pt>
                <c:pt idx="84">
                  <c:v>1091.7007</c:v>
                </c:pt>
                <c:pt idx="85">
                  <c:v>1118.4574</c:v>
                </c:pt>
                <c:pt idx="86">
                  <c:v>1209.6632</c:v>
                </c:pt>
                <c:pt idx="87">
                  <c:v>1234.3443</c:v>
                </c:pt>
                <c:pt idx="88">
                  <c:v>1242.7241</c:v>
                </c:pt>
                <c:pt idx="89">
                  <c:v>1200.0669</c:v>
                </c:pt>
                <c:pt idx="90">
                  <c:v>1237.9561</c:v>
                </c:pt>
                <c:pt idx="91">
                  <c:v>1272.2123</c:v>
                </c:pt>
                <c:pt idx="92">
                  <c:v>1260.3089</c:v>
                </c:pt>
                <c:pt idx="93">
                  <c:v>1301.7424</c:v>
                </c:pt>
                <c:pt idx="94">
                  <c:v>1288.9335</c:v>
                </c:pt>
                <c:pt idx="95">
                  <c:v>1294.6556</c:v>
                </c:pt>
                <c:pt idx="96">
                  <c:v>1213.2673</c:v>
                </c:pt>
                <c:pt idx="97">
                  <c:v>1239.8987</c:v>
                </c:pt>
                <c:pt idx="98">
                  <c:v>1220.4183</c:v>
                </c:pt>
                <c:pt idx="99">
                  <c:v>1178.8639</c:v>
                </c:pt>
                <c:pt idx="100">
                  <c:v>1160.521</c:v>
                </c:pt>
                <c:pt idx="101">
                  <c:v>1220.4967</c:v>
                </c:pt>
                <c:pt idx="102">
                  <c:v>1252.7527</c:v>
                </c:pt>
                <c:pt idx="103">
                  <c:v>1121.6468</c:v>
                </c:pt>
                <c:pt idx="104">
                  <c:v>1208.1548</c:v>
                </c:pt>
              </c:numCache>
            </c:numRef>
          </c:xVal>
          <c:yVal>
            <c:numRef>
              <c:f>Sheet1!$B$2:$B$106</c:f>
              <c:numCache>
                <c:formatCode>General</c:formatCode>
                <c:ptCount val="105"/>
                <c:pt idx="0">
                  <c:v>0.2104353132628153</c:v>
                </c:pt>
                <c:pt idx="1">
                  <c:v>0.20936580711843744</c:v>
                </c:pt>
                <c:pt idx="2">
                  <c:v>0.1951964281132124</c:v>
                </c:pt>
                <c:pt idx="3">
                  <c:v>0.19280869846054474</c:v>
                </c:pt>
                <c:pt idx="4">
                  <c:v>0.18282521947326416</c:v>
                </c:pt>
                <c:pt idx="5">
                  <c:v>0.17047857630868335</c:v>
                </c:pt>
                <c:pt idx="6">
                  <c:v>0.18916918720638393</c:v>
                </c:pt>
                <c:pt idx="7">
                  <c:v>0.17825161479741633</c:v>
                </c:pt>
                <c:pt idx="8">
                  <c:v>0.18962759881197166</c:v>
                </c:pt>
                <c:pt idx="9">
                  <c:v>0.19161017956950885</c:v>
                </c:pt>
                <c:pt idx="10">
                  <c:v>0.20396039603960395</c:v>
                </c:pt>
                <c:pt idx="11">
                  <c:v>0.19627861497756816</c:v>
                </c:pt>
                <c:pt idx="12">
                  <c:v>0.2090399978766887</c:v>
                </c:pt>
                <c:pt idx="13">
                  <c:v>0.21092146331861766</c:v>
                </c:pt>
                <c:pt idx="14">
                  <c:v>0.20510605089328018</c:v>
                </c:pt>
                <c:pt idx="15">
                  <c:v>0.1997352308456065</c:v>
                </c:pt>
                <c:pt idx="16">
                  <c:v>0.19186415376002985</c:v>
                </c:pt>
                <c:pt idx="17">
                  <c:v>0.1788574697613599</c:v>
                </c:pt>
                <c:pt idx="18">
                  <c:v>0.17484202391235168</c:v>
                </c:pt>
                <c:pt idx="19">
                  <c:v>0.14627434377646062</c:v>
                </c:pt>
                <c:pt idx="20">
                  <c:v>0.16460617710017036</c:v>
                </c:pt>
                <c:pt idx="21">
                  <c:v>0.16421682397235546</c:v>
                </c:pt>
                <c:pt idx="22">
                  <c:v>0.1563387690689111</c:v>
                </c:pt>
                <c:pt idx="23">
                  <c:v>0.16137669437161822</c:v>
                </c:pt>
                <c:pt idx="24">
                  <c:v>0.1694212735091446</c:v>
                </c:pt>
                <c:pt idx="25">
                  <c:v>0.16806624679262888</c:v>
                </c:pt>
                <c:pt idx="26">
                  <c:v>0.1631565194669454</c:v>
                </c:pt>
                <c:pt idx="27">
                  <c:v>0.1644426607805759</c:v>
                </c:pt>
                <c:pt idx="28">
                  <c:v>0.15609481390467414</c:v>
                </c:pt>
                <c:pt idx="29">
                  <c:v>0.1752558726723477</c:v>
                </c:pt>
                <c:pt idx="30">
                  <c:v>0.1553217462070569</c:v>
                </c:pt>
                <c:pt idx="31">
                  <c:v>0.1508401503426929</c:v>
                </c:pt>
                <c:pt idx="32">
                  <c:v>0.15629783511917777</c:v>
                </c:pt>
                <c:pt idx="33">
                  <c:v>0.17726337898744146</c:v>
                </c:pt>
                <c:pt idx="34">
                  <c:v>0.17377744012155624</c:v>
                </c:pt>
                <c:pt idx="35">
                  <c:v>0.192956416138173</c:v>
                </c:pt>
                <c:pt idx="36">
                  <c:v>0.15716185884113393</c:v>
                </c:pt>
                <c:pt idx="37">
                  <c:v>0.1293269230769231</c:v>
                </c:pt>
                <c:pt idx="38">
                  <c:v>0.12359550561797752</c:v>
                </c:pt>
                <c:pt idx="39">
                  <c:v>0.12543323139653414</c:v>
                </c:pt>
                <c:pt idx="40">
                  <c:v>0.13096507313744724</c:v>
                </c:pt>
                <c:pt idx="41">
                  <c:v>0.1206642745422762</c:v>
                </c:pt>
                <c:pt idx="42">
                  <c:v>0.12140700364691581</c:v>
                </c:pt>
                <c:pt idx="43">
                  <c:v>0.13300094800042134</c:v>
                </c:pt>
                <c:pt idx="44">
                  <c:v>0.14654865576726858</c:v>
                </c:pt>
                <c:pt idx="45">
                  <c:v>0.16731320255675555</c:v>
                </c:pt>
                <c:pt idx="46">
                  <c:v>0.1764019187502653</c:v>
                </c:pt>
                <c:pt idx="47">
                  <c:v>0.1716687701884613</c:v>
                </c:pt>
                <c:pt idx="48">
                  <c:v>0.19153248508050896</c:v>
                </c:pt>
                <c:pt idx="49">
                  <c:v>0.22133119486768243</c:v>
                </c:pt>
                <c:pt idx="50">
                  <c:v>0.1820144482271859</c:v>
                </c:pt>
                <c:pt idx="51">
                  <c:v>0.1671104696015728</c:v>
                </c:pt>
                <c:pt idx="52">
                  <c:v>0.1823606150687568</c:v>
                </c:pt>
                <c:pt idx="53">
                  <c:v>0.165633727889347</c:v>
                </c:pt>
                <c:pt idx="54">
                  <c:v>0.15941820276497695</c:v>
                </c:pt>
                <c:pt idx="55">
                  <c:v>0.1570630582190758</c:v>
                </c:pt>
                <c:pt idx="56">
                  <c:v>0.17284360475644353</c:v>
                </c:pt>
                <c:pt idx="57">
                  <c:v>0.16677579027315823</c:v>
                </c:pt>
                <c:pt idx="58">
                  <c:v>0.1796740265733926</c:v>
                </c:pt>
                <c:pt idx="59">
                  <c:v>0.1848297810782139</c:v>
                </c:pt>
                <c:pt idx="60">
                  <c:v>0.1911824354113394</c:v>
                </c:pt>
                <c:pt idx="61">
                  <c:v>0.1938988416432837</c:v>
                </c:pt>
                <c:pt idx="62">
                  <c:v>0.1979644124767882</c:v>
                </c:pt>
                <c:pt idx="63">
                  <c:v>0.21463529815824497</c:v>
                </c:pt>
                <c:pt idx="64">
                  <c:v>0.20133358416421063</c:v>
                </c:pt>
                <c:pt idx="65">
                  <c:v>0.1998720672560711</c:v>
                </c:pt>
                <c:pt idx="66">
                  <c:v>0.19738022185508614</c:v>
                </c:pt>
                <c:pt idx="67">
                  <c:v>0.193351193375548</c:v>
                </c:pt>
                <c:pt idx="68">
                  <c:v>0.1764843521497514</c:v>
                </c:pt>
                <c:pt idx="69">
                  <c:v>0.15879038317054847</c:v>
                </c:pt>
                <c:pt idx="70">
                  <c:v>0.14821472630502977</c:v>
                </c:pt>
                <c:pt idx="71">
                  <c:v>0.15706529935153069</c:v>
                </c:pt>
                <c:pt idx="72">
                  <c:v>0.15622956774427896</c:v>
                </c:pt>
                <c:pt idx="73">
                  <c:v>0.16183638768184394</c:v>
                </c:pt>
                <c:pt idx="74">
                  <c:v>0.1592623335378397</c:v>
                </c:pt>
                <c:pt idx="75">
                  <c:v>0.15497225778915918</c:v>
                </c:pt>
                <c:pt idx="76">
                  <c:v>0.1459560670411472</c:v>
                </c:pt>
                <c:pt idx="77">
                  <c:v>0.15498438843386578</c:v>
                </c:pt>
                <c:pt idx="78">
                  <c:v>0.1446161907257008</c:v>
                </c:pt>
                <c:pt idx="79">
                  <c:v>0.18320854638422207</c:v>
                </c:pt>
                <c:pt idx="80">
                  <c:v>0.1774726788502158</c:v>
                </c:pt>
                <c:pt idx="81">
                  <c:v>0.1575934534557609</c:v>
                </c:pt>
                <c:pt idx="82">
                  <c:v>0.14378602039308408</c:v>
                </c:pt>
                <c:pt idx="83">
                  <c:v>0.1329802220093537</c:v>
                </c:pt>
                <c:pt idx="84">
                  <c:v>0.12998102466793168</c:v>
                </c:pt>
                <c:pt idx="85">
                  <c:v>0.1331891549741534</c:v>
                </c:pt>
                <c:pt idx="86">
                  <c:v>0.13664497698777972</c:v>
                </c:pt>
                <c:pt idx="87">
                  <c:v>0.15707769558051285</c:v>
                </c:pt>
                <c:pt idx="88">
                  <c:v>0.14278950856926428</c:v>
                </c:pt>
                <c:pt idx="89">
                  <c:v>0.12795285677683832</c:v>
                </c:pt>
                <c:pt idx="90">
                  <c:v>0.12505943889681406</c:v>
                </c:pt>
                <c:pt idx="91">
                  <c:v>0.11934383465435938</c:v>
                </c:pt>
                <c:pt idx="92">
                  <c:v>0.13114754098360656</c:v>
                </c:pt>
                <c:pt idx="93">
                  <c:v>0.11910570731512218</c:v>
                </c:pt>
                <c:pt idx="94">
                  <c:v>0.12265742556198987</c:v>
                </c:pt>
                <c:pt idx="95">
                  <c:v>0.13306545345863913</c:v>
                </c:pt>
                <c:pt idx="96">
                  <c:v>0.12835410689746618</c:v>
                </c:pt>
                <c:pt idx="97">
                  <c:v>0.13635974853526067</c:v>
                </c:pt>
                <c:pt idx="98">
                  <c:v>0.15405743754554457</c:v>
                </c:pt>
                <c:pt idx="99">
                  <c:v>0.1593022876350227</c:v>
                </c:pt>
                <c:pt idx="100">
                  <c:v>0.18337582746602418</c:v>
                </c:pt>
                <c:pt idx="101">
                  <c:v>0.15571918341904317</c:v>
                </c:pt>
                <c:pt idx="102">
                  <c:v>0.1313907284768212</c:v>
                </c:pt>
                <c:pt idx="103">
                  <c:v>0.15021106674272675</c:v>
                </c:pt>
                <c:pt idx="104">
                  <c:v>0.1544821131447587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61.5392</c:v>
                </c:pt>
                <c:pt idx="1">
                  <c:v>1245.6689</c:v>
                </c:pt>
                <c:pt idx="2">
                  <c:v>1233.788</c:v>
                </c:pt>
                <c:pt idx="3">
                  <c:v>1264.7184</c:v>
                </c:pt>
                <c:pt idx="4">
                  <c:v>1259.7578</c:v>
                </c:pt>
                <c:pt idx="5">
                  <c:v>1267.6644</c:v>
                </c:pt>
                <c:pt idx="6">
                  <c:v>1198.4309</c:v>
                </c:pt>
                <c:pt idx="7">
                  <c:v>1233.5985</c:v>
                </c:pt>
                <c:pt idx="8">
                  <c:v>1322.6466</c:v>
                </c:pt>
                <c:pt idx="9">
                  <c:v>1251.7059</c:v>
                </c:pt>
                <c:pt idx="10">
                  <c:v>1280.0774</c:v>
                </c:pt>
                <c:pt idx="11">
                  <c:v>1161.3957</c:v>
                </c:pt>
                <c:pt idx="12">
                  <c:v>1201.3</c:v>
                </c:pt>
                <c:pt idx="13">
                  <c:v>1239.31</c:v>
                </c:pt>
                <c:pt idx="14">
                  <c:v>1245.4411</c:v>
                </c:pt>
                <c:pt idx="15">
                  <c:v>1266.6519</c:v>
                </c:pt>
                <c:pt idx="16">
                  <c:v>1275.6881</c:v>
                </c:pt>
                <c:pt idx="17">
                  <c:v>1275.2835</c:v>
                </c:pt>
                <c:pt idx="18">
                  <c:v>1252.5544</c:v>
                </c:pt>
                <c:pt idx="19">
                  <c:v>1327.3777</c:v>
                </c:pt>
                <c:pt idx="20">
                  <c:v>1311.1428</c:v>
                </c:pt>
                <c:pt idx="21">
                  <c:v>1290.5865</c:v>
                </c:pt>
                <c:pt idx="22">
                  <c:v>1262.0245</c:v>
                </c:pt>
                <c:pt idx="23">
                  <c:v>1200.642</c:v>
                </c:pt>
                <c:pt idx="24">
                  <c:v>1204.0025</c:v>
                </c:pt>
                <c:pt idx="25">
                  <c:v>1176.5251</c:v>
                </c:pt>
                <c:pt idx="26">
                  <c:v>1236.1711</c:v>
                </c:pt>
                <c:pt idx="27">
                  <c:v>1304.0936</c:v>
                </c:pt>
                <c:pt idx="28">
                  <c:v>1305.6009</c:v>
                </c:pt>
                <c:pt idx="29">
                  <c:v>1311.2893</c:v>
                </c:pt>
                <c:pt idx="30">
                  <c:v>1282.1342</c:v>
                </c:pt>
                <c:pt idx="31">
                  <c:v>1194.1634</c:v>
                </c:pt>
                <c:pt idx="32">
                  <c:v>1219.4374</c:v>
                </c:pt>
                <c:pt idx="33">
                  <c:v>1266.1164</c:v>
                </c:pt>
                <c:pt idx="34">
                  <c:v>1320.7459</c:v>
                </c:pt>
                <c:pt idx="35">
                  <c:v>1307.4106</c:v>
                </c:pt>
                <c:pt idx="36">
                  <c:v>1256.4778</c:v>
                </c:pt>
                <c:pt idx="37">
                  <c:v>1326.002</c:v>
                </c:pt>
                <c:pt idx="38">
                  <c:v>1282.4261</c:v>
                </c:pt>
                <c:pt idx="39">
                  <c:v>1303.4358</c:v>
                </c:pt>
                <c:pt idx="40">
                  <c:v>1337.8714</c:v>
                </c:pt>
                <c:pt idx="41">
                  <c:v>1378.1038</c:v>
                </c:pt>
                <c:pt idx="42">
                  <c:v>1382.9808</c:v>
                </c:pt>
                <c:pt idx="43">
                  <c:v>1375.9478</c:v>
                </c:pt>
                <c:pt idx="44">
                  <c:v>1314.1395</c:v>
                </c:pt>
                <c:pt idx="45">
                  <c:v>1285.6015</c:v>
                </c:pt>
                <c:pt idx="46">
                  <c:v>1288.2796</c:v>
                </c:pt>
                <c:pt idx="47">
                  <c:v>1258.6776</c:v>
                </c:pt>
                <c:pt idx="48">
                  <c:v>1229.7611</c:v>
                </c:pt>
                <c:pt idx="49">
                  <c:v>1233.7718</c:v>
                </c:pt>
                <c:pt idx="50">
                  <c:v>1134.1745</c:v>
                </c:pt>
                <c:pt idx="51">
                  <c:v>1124.1132</c:v>
                </c:pt>
              </c:numCache>
            </c:numRef>
          </c:xVal>
          <c:yVal>
            <c:numRef>
              <c:f>Sheet1!$B$109:$B$160</c:f>
              <c:numCache>
                <c:formatCode>General</c:formatCode>
                <c:ptCount val="52"/>
                <c:pt idx="0">
                  <c:v>0.15453902381513793</c:v>
                </c:pt>
                <c:pt idx="1">
                  <c:v>0.15065908633527872</c:v>
                </c:pt>
                <c:pt idx="2">
                  <c:v>0.15922999634636464</c:v>
                </c:pt>
                <c:pt idx="3">
                  <c:v>0.16322220203488372</c:v>
                </c:pt>
                <c:pt idx="4">
                  <c:v>0.1516795865633075</c:v>
                </c:pt>
                <c:pt idx="5">
                  <c:v>0.1499715018523796</c:v>
                </c:pt>
                <c:pt idx="6">
                  <c:v>0.15807702011514024</c:v>
                </c:pt>
                <c:pt idx="7">
                  <c:v>0.15210545813781182</c:v>
                </c:pt>
                <c:pt idx="8">
                  <c:v>0.15225104198959732</c:v>
                </c:pt>
                <c:pt idx="9">
                  <c:v>0.16813044983788208</c:v>
                </c:pt>
                <c:pt idx="10">
                  <c:v>0.1647083891391696</c:v>
                </c:pt>
                <c:pt idx="11">
                  <c:v>0.18933902887914386</c:v>
                </c:pt>
                <c:pt idx="12">
                  <c:v>0.17624590760276465</c:v>
                </c:pt>
                <c:pt idx="13">
                  <c:v>0.16931939978563773</c:v>
                </c:pt>
                <c:pt idx="14">
                  <c:v>0.1727391874180865</c:v>
                </c:pt>
                <c:pt idx="15">
                  <c:v>0.15765555451800667</c:v>
                </c:pt>
                <c:pt idx="16">
                  <c:v>0.15561180264207206</c:v>
                </c:pt>
                <c:pt idx="17">
                  <c:v>0.13336514812231562</c:v>
                </c:pt>
                <c:pt idx="18">
                  <c:v>0.1307206849375524</c:v>
                </c:pt>
                <c:pt idx="19">
                  <c:v>0.14154471544715447</c:v>
                </c:pt>
                <c:pt idx="20">
                  <c:v>0.13488269145639664</c:v>
                </c:pt>
                <c:pt idx="21">
                  <c:v>0.14243070362473348</c:v>
                </c:pt>
                <c:pt idx="22">
                  <c:v>0.14002001791076227</c:v>
                </c:pt>
                <c:pt idx="23">
                  <c:v>0.14325596671775784</c:v>
                </c:pt>
                <c:pt idx="24">
                  <c:v>0.1437380175138608</c:v>
                </c:pt>
                <c:pt idx="25">
                  <c:v>0.14956521739130435</c:v>
                </c:pt>
                <c:pt idx="26">
                  <c:v>0.1334056399132321</c:v>
                </c:pt>
                <c:pt idx="27">
                  <c:v>0.11880146386093321</c:v>
                </c:pt>
                <c:pt idx="28">
                  <c:v>0.129798595635538</c:v>
                </c:pt>
                <c:pt idx="29">
                  <c:v>0.1199602286850609</c:v>
                </c:pt>
                <c:pt idx="30">
                  <c:v>0.14040989545595695</c:v>
                </c:pt>
                <c:pt idx="31">
                  <c:v>0.12741490340386386</c:v>
                </c:pt>
                <c:pt idx="32">
                  <c:v>0.1301096199159922</c:v>
                </c:pt>
                <c:pt idx="33">
                  <c:v>0.14949047030230675</c:v>
                </c:pt>
                <c:pt idx="34">
                  <c:v>0.17020268669847394</c:v>
                </c:pt>
                <c:pt idx="35">
                  <c:v>0.16325723103707515</c:v>
                </c:pt>
                <c:pt idx="36">
                  <c:v>0.14331593737454837</c:v>
                </c:pt>
                <c:pt idx="37">
                  <c:v>0.13059604032805724</c:v>
                </c:pt>
                <c:pt idx="38">
                  <c:v>0.12966160220994474</c:v>
                </c:pt>
                <c:pt idx="39">
                  <c:v>0.14714419684722904</c:v>
                </c:pt>
                <c:pt idx="40">
                  <c:v>0.12842914555303162</c:v>
                </c:pt>
                <c:pt idx="41">
                  <c:v>0.13137238701148476</c:v>
                </c:pt>
                <c:pt idx="42">
                  <c:v>0.12623932014437794</c:v>
                </c:pt>
                <c:pt idx="43">
                  <c:v>0.12546138190348063</c:v>
                </c:pt>
                <c:pt idx="44">
                  <c:v>0.12657753702529823</c:v>
                </c:pt>
                <c:pt idx="45">
                  <c:v>0.141745609600633</c:v>
                </c:pt>
                <c:pt idx="46">
                  <c:v>0.13399320820280622</c:v>
                </c:pt>
                <c:pt idx="47">
                  <c:v>0.13891769120624106</c:v>
                </c:pt>
                <c:pt idx="48">
                  <c:v>0.13187201329731976</c:v>
                </c:pt>
                <c:pt idx="49">
                  <c:v>0.144998575092619</c:v>
                </c:pt>
                <c:pt idx="50">
                  <c:v>0.1826004679768313</c:v>
                </c:pt>
                <c:pt idx="51">
                  <c:v>0.1620312297244690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73.4147618369257</c:v>
                </c:pt>
              </c:numCache>
            </c:numRef>
          </c:xVal>
          <c:yVal>
            <c:numRef>
              <c:f>Sheet1!$B$163:$B$164</c:f>
              <c:numCache>
                <c:formatCode>General</c:formatCode>
                <c:ptCount val="2"/>
                <c:pt idx="0">
                  <c:v>0.19090649372808102</c:v>
                </c:pt>
                <c:pt idx="1">
                  <c:v>0.1909064937280810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73.4147618369257</c:v>
                </c:pt>
                <c:pt idx="1">
                  <c:v>973.4147618369257</c:v>
                </c:pt>
              </c:numCache>
            </c:numRef>
          </c:xVal>
          <c:yVal>
            <c:numRef>
              <c:f>Sheet1!$B$167:$B$168</c:f>
              <c:numCache>
                <c:formatCode>General</c:formatCode>
                <c:ptCount val="2"/>
                <c:pt idx="0">
                  <c:v>0.19090649372808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97.5546668827026</c:v>
                </c:pt>
              </c:numCache>
            </c:numRef>
          </c:xVal>
          <c:yVal>
            <c:numRef>
              <c:f>Sheet1!$B$171:$B$172</c:f>
              <c:numCache>
                <c:formatCode>General</c:formatCode>
                <c:ptCount val="2"/>
                <c:pt idx="0">
                  <c:v>0.1566687433393012</c:v>
                </c:pt>
                <c:pt idx="1">
                  <c:v>0.156668743339301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97.5546668827026</c:v>
                </c:pt>
                <c:pt idx="1">
                  <c:v>1197.5546668827026</c:v>
                </c:pt>
              </c:numCache>
            </c:numRef>
          </c:xVal>
          <c:yVal>
            <c:numRef>
              <c:f>Sheet1!$B$175:$B$176</c:f>
              <c:numCache>
                <c:formatCode>General</c:formatCode>
                <c:ptCount val="2"/>
                <c:pt idx="0">
                  <c:v>0.156668743339301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05.981463202584</c:v>
                </c:pt>
              </c:numCache>
            </c:numRef>
          </c:xVal>
          <c:yVal>
            <c:numRef>
              <c:f>Sheet1!$B$179:$B$180</c:f>
              <c:numCache>
                <c:formatCode>General</c:formatCode>
                <c:ptCount val="2"/>
                <c:pt idx="0">
                  <c:v>0.1401063664296786</c:v>
                </c:pt>
                <c:pt idx="1">
                  <c:v>0.140106366429678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05.981463202584</c:v>
                </c:pt>
                <c:pt idx="1">
                  <c:v>1305.981463202584</c:v>
                </c:pt>
              </c:numCache>
            </c:numRef>
          </c:xVal>
          <c:yVal>
            <c:numRef>
              <c:f>Sheet1!$B$183:$B$184</c:f>
              <c:numCache>
                <c:formatCode>General</c:formatCode>
                <c:ptCount val="2"/>
                <c:pt idx="0">
                  <c:v>0.14010636642967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61.5392</c:v>
                </c:pt>
                <c:pt idx="1">
                  <c:v>1245.6689</c:v>
                </c:pt>
                <c:pt idx="2">
                  <c:v>1233.788</c:v>
                </c:pt>
                <c:pt idx="3">
                  <c:v>1264.7184</c:v>
                </c:pt>
                <c:pt idx="4">
                  <c:v>1259.7578</c:v>
                </c:pt>
                <c:pt idx="5">
                  <c:v>1267.6644</c:v>
                </c:pt>
                <c:pt idx="6">
                  <c:v>1198.4309</c:v>
                </c:pt>
                <c:pt idx="7">
                  <c:v>1233.5985</c:v>
                </c:pt>
                <c:pt idx="8">
                  <c:v>1322.6466</c:v>
                </c:pt>
                <c:pt idx="9">
                  <c:v>1251.7059</c:v>
                </c:pt>
                <c:pt idx="10">
                  <c:v>1280.0774</c:v>
                </c:pt>
                <c:pt idx="11">
                  <c:v>1161.3957</c:v>
                </c:pt>
                <c:pt idx="12">
                  <c:v>1201.3</c:v>
                </c:pt>
                <c:pt idx="13">
                  <c:v>1239.31</c:v>
                </c:pt>
                <c:pt idx="14">
                  <c:v>1245.4411</c:v>
                </c:pt>
                <c:pt idx="15">
                  <c:v>1266.6519</c:v>
                </c:pt>
                <c:pt idx="16">
                  <c:v>1275.6881</c:v>
                </c:pt>
                <c:pt idx="17">
                  <c:v>1275.2835</c:v>
                </c:pt>
                <c:pt idx="18">
                  <c:v>1252.5544</c:v>
                </c:pt>
                <c:pt idx="19">
                  <c:v>1327.3777</c:v>
                </c:pt>
                <c:pt idx="20">
                  <c:v>1311.1428</c:v>
                </c:pt>
                <c:pt idx="21">
                  <c:v>1290.5865</c:v>
                </c:pt>
                <c:pt idx="22">
                  <c:v>1262.0245</c:v>
                </c:pt>
                <c:pt idx="23">
                  <c:v>1200.642</c:v>
                </c:pt>
                <c:pt idx="24">
                  <c:v>1204.0025</c:v>
                </c:pt>
                <c:pt idx="25">
                  <c:v>1176.5251</c:v>
                </c:pt>
                <c:pt idx="26">
                  <c:v>1236.1711</c:v>
                </c:pt>
                <c:pt idx="27">
                  <c:v>1304.0936</c:v>
                </c:pt>
                <c:pt idx="28">
                  <c:v>1305.6009</c:v>
                </c:pt>
                <c:pt idx="29">
                  <c:v>1311.2893</c:v>
                </c:pt>
                <c:pt idx="30">
                  <c:v>1282.1342</c:v>
                </c:pt>
                <c:pt idx="31">
                  <c:v>1194.1634</c:v>
                </c:pt>
                <c:pt idx="32">
                  <c:v>1219.4374</c:v>
                </c:pt>
                <c:pt idx="33">
                  <c:v>1266.1164</c:v>
                </c:pt>
                <c:pt idx="34">
                  <c:v>1320.7459</c:v>
                </c:pt>
                <c:pt idx="35">
                  <c:v>1307.4106</c:v>
                </c:pt>
                <c:pt idx="36">
                  <c:v>1256.4778</c:v>
                </c:pt>
                <c:pt idx="37">
                  <c:v>1326.002</c:v>
                </c:pt>
                <c:pt idx="38">
                  <c:v>1282.4261</c:v>
                </c:pt>
                <c:pt idx="39">
                  <c:v>1303.4358</c:v>
                </c:pt>
                <c:pt idx="40">
                  <c:v>1337.8714</c:v>
                </c:pt>
                <c:pt idx="41">
                  <c:v>1378.1038</c:v>
                </c:pt>
                <c:pt idx="42">
                  <c:v>1382.9808</c:v>
                </c:pt>
                <c:pt idx="43">
                  <c:v>1375.9478</c:v>
                </c:pt>
                <c:pt idx="44">
                  <c:v>1314.1395</c:v>
                </c:pt>
                <c:pt idx="45">
                  <c:v>1285.6015</c:v>
                </c:pt>
                <c:pt idx="46">
                  <c:v>1288.2796</c:v>
                </c:pt>
                <c:pt idx="47">
                  <c:v>1258.6776</c:v>
                </c:pt>
                <c:pt idx="48">
                  <c:v>1229.7611</c:v>
                </c:pt>
                <c:pt idx="49">
                  <c:v>1233.7718</c:v>
                </c:pt>
                <c:pt idx="50">
                  <c:v>1134.1745</c:v>
                </c:pt>
                <c:pt idx="51">
                  <c:v>1124.1132</c:v>
                </c:pt>
                <c:pt idx="52">
                  <c:v>1197.5546668827026</c:v>
                </c:pt>
                <c:pt idx="53">
                  <c:v>973.4147618369257</c:v>
                </c:pt>
                <c:pt idx="54">
                  <c:v>1305.981463202584</c:v>
                </c:pt>
              </c:numCache>
            </c:numRef>
          </c:xVal>
          <c:yVal>
            <c:numRef>
              <c:f>Sheet1!$B$187:$B$241</c:f>
              <c:numCache>
                <c:formatCode>General</c:formatCode>
                <c:ptCount val="55"/>
                <c:pt idx="0">
                  <c:v>0.14689499745873064</c:v>
                </c:pt>
                <c:pt idx="1">
                  <c:v>0.1493192126821826</c:v>
                </c:pt>
                <c:pt idx="2">
                  <c:v>0.15113404029403055</c:v>
                </c:pt>
                <c:pt idx="3">
                  <c:v>0.14640936927032847</c:v>
                </c:pt>
                <c:pt idx="4">
                  <c:v>0.14716710932801205</c:v>
                </c:pt>
                <c:pt idx="5">
                  <c:v>0.14595936277717528</c:v>
                </c:pt>
                <c:pt idx="6">
                  <c:v>0.1565348972455131</c:v>
                </c:pt>
                <c:pt idx="7">
                  <c:v>0.15116298674021264</c:v>
                </c:pt>
                <c:pt idx="8">
                  <c:v>0.13756073853825845</c:v>
                </c:pt>
                <c:pt idx="9">
                  <c:v>0.14839705070011674</c:v>
                </c:pt>
                <c:pt idx="10">
                  <c:v>0.14406325598847503</c:v>
                </c:pt>
                <c:pt idx="11">
                  <c:v>0.16219208681619474</c:v>
                </c:pt>
                <c:pt idx="12">
                  <c:v>0.15609663735769713</c:v>
                </c:pt>
                <c:pt idx="13">
                  <c:v>0.15029054543483433</c:v>
                </c:pt>
                <c:pt idx="14">
                  <c:v>0.1493540095182791</c:v>
                </c:pt>
                <c:pt idx="15">
                  <c:v>0.14611402386825387</c:v>
                </c:pt>
                <c:pt idx="16">
                  <c:v>0.14473372900286652</c:v>
                </c:pt>
                <c:pt idx="17">
                  <c:v>0.14479553233862003</c:v>
                </c:pt>
                <c:pt idx="18">
                  <c:v>0.14826744088700047</c:v>
                </c:pt>
                <c:pt idx="19">
                  <c:v>0.1368380549945527</c:v>
                </c:pt>
                <c:pt idx="20">
                  <c:v>0.13931796348596245</c:v>
                </c:pt>
                <c:pt idx="21">
                  <c:v>0.14245797315168057</c:v>
                </c:pt>
                <c:pt idx="22">
                  <c:v>0.1468208670611993</c:v>
                </c:pt>
                <c:pt idx="23">
                  <c:v>0.15619714797293635</c:v>
                </c:pt>
                <c:pt idx="24">
                  <c:v>0.15568382590225022</c:v>
                </c:pt>
                <c:pt idx="25">
                  <c:v>0.15988104532348857</c:v>
                </c:pt>
                <c:pt idx="26">
                  <c:v>0.1507700177299323</c:v>
                </c:pt>
                <c:pt idx="27">
                  <c:v>0.14039474073359848</c:v>
                </c:pt>
                <c:pt idx="28">
                  <c:v>0.14016449810388706</c:v>
                </c:pt>
                <c:pt idx="29">
                  <c:v>0.13929558536266073</c:v>
                </c:pt>
                <c:pt idx="30">
                  <c:v>0.1437490763024202</c:v>
                </c:pt>
                <c:pt idx="31">
                  <c:v>0.15718676510346674</c:v>
                </c:pt>
                <c:pt idx="32">
                  <c:v>0.15332611876675442</c:v>
                </c:pt>
                <c:pt idx="33">
                  <c:v>0.14619582240086879</c:v>
                </c:pt>
                <c:pt idx="34">
                  <c:v>0.1378510736847406</c:v>
                </c:pt>
                <c:pt idx="35">
                  <c:v>0.13988806336164014</c:v>
                </c:pt>
                <c:pt idx="36">
                  <c:v>0.14766813488725938</c:v>
                </c:pt>
                <c:pt idx="37">
                  <c:v>0.13704819550121627</c:v>
                </c:pt>
                <c:pt idx="38">
                  <c:v>0.14370448808268108</c:v>
                </c:pt>
                <c:pt idx="39">
                  <c:v>0.14049522079849874</c:v>
                </c:pt>
                <c:pt idx="40">
                  <c:v>0.13523512453385958</c:v>
                </c:pt>
                <c:pt idx="41">
                  <c:v>0.12908955724426774</c:v>
                </c:pt>
                <c:pt idx="42">
                  <c:v>0.12834458722827716</c:v>
                </c:pt>
                <c:pt idx="43">
                  <c:v>0.12941888989845593</c:v>
                </c:pt>
                <c:pt idx="44">
                  <c:v>0.1388602124818782</c:v>
                </c:pt>
                <c:pt idx="45">
                  <c:v>0.1432194403507195</c:v>
                </c:pt>
                <c:pt idx="46">
                  <c:v>0.14281035603662798</c:v>
                </c:pt>
                <c:pt idx="47">
                  <c:v>0.14733211170883492</c:v>
                </c:pt>
                <c:pt idx="48">
                  <c:v>0.15174915609419304</c:v>
                </c:pt>
                <c:pt idx="49">
                  <c:v>0.1511365148714878</c:v>
                </c:pt>
                <c:pt idx="50">
                  <c:v>0.16635017125320165</c:v>
                </c:pt>
                <c:pt idx="51">
                  <c:v>0.16788705188102326</c:v>
                </c:pt>
                <c:pt idx="52">
                  <c:v>0.1566687433393012</c:v>
                </c:pt>
                <c:pt idx="53">
                  <c:v>0.19090649372808102</c:v>
                </c:pt>
                <c:pt idx="54">
                  <c:v>0.140106366429678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60.0"/>
          <c:min val="68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55974338412189"/>
          <c:min val="0.0950411710887465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734116814354444</c:v>
                </c:pt>
                <c:pt idx="1">
                  <c:v>2.748431108195611</c:v>
                </c:pt>
                <c:pt idx="2">
                  <c:v>2.219011822727423</c:v>
                </c:pt>
                <c:pt idx="3">
                  <c:v>2.1008221130228972</c:v>
                </c:pt>
                <c:pt idx="4">
                  <c:v>2.762049002499646</c:v>
                </c:pt>
                <c:pt idx="5">
                  <c:v>2.697490506800662</c:v>
                </c:pt>
                <c:pt idx="6">
                  <c:v>2.193633461131302</c:v>
                </c:pt>
                <c:pt idx="7">
                  <c:v>2.141805745402464</c:v>
                </c:pt>
                <c:pt idx="8">
                  <c:v>2.067953089000651</c:v>
                </c:pt>
                <c:pt idx="9">
                  <c:v>2.3336771778134278</c:v>
                </c:pt>
                <c:pt idx="10">
                  <c:v>2.5994233774090927</c:v>
                </c:pt>
                <c:pt idx="11">
                  <c:v>2.3004722374009137</c:v>
                </c:pt>
                <c:pt idx="12">
                  <c:v>2.396190850177732</c:v>
                </c:pt>
                <c:pt idx="13">
                  <c:v>2.3396475124011338</c:v>
                </c:pt>
                <c:pt idx="14">
                  <c:v>2.8870005620553867</c:v>
                </c:pt>
                <c:pt idx="15">
                  <c:v>2.2739777876102782</c:v>
                </c:pt>
                <c:pt idx="16">
                  <c:v>3.1048780909876585</c:v>
                </c:pt>
                <c:pt idx="17">
                  <c:v>2.2976236156756635</c:v>
                </c:pt>
                <c:pt idx="18">
                  <c:v>3.0676597471360036</c:v>
                </c:pt>
                <c:pt idx="19">
                  <c:v>2.613857770581127</c:v>
                </c:pt>
                <c:pt idx="20">
                  <c:v>2.138042448732141</c:v>
                </c:pt>
                <c:pt idx="21">
                  <c:v>4.294971483178923</c:v>
                </c:pt>
                <c:pt idx="22">
                  <c:v>1.8912982756474386</c:v>
                </c:pt>
                <c:pt idx="23">
                  <c:v>2.342723228614771</c:v>
                </c:pt>
                <c:pt idx="24">
                  <c:v>1.6466552415177123</c:v>
                </c:pt>
                <c:pt idx="25">
                  <c:v>1.5869198774771591</c:v>
                </c:pt>
                <c:pt idx="26">
                  <c:v>1.8526374452164345</c:v>
                </c:pt>
                <c:pt idx="27">
                  <c:v>1.8013248412518699</c:v>
                </c:pt>
                <c:pt idx="28">
                  <c:v>1.896432761581466</c:v>
                </c:pt>
                <c:pt idx="29">
                  <c:v>1.8091323274642754</c:v>
                </c:pt>
                <c:pt idx="30">
                  <c:v>1.7822757910509033</c:v>
                </c:pt>
                <c:pt idx="31">
                  <c:v>1.9245796287910895</c:v>
                </c:pt>
                <c:pt idx="32">
                  <c:v>2.4565451407902823</c:v>
                </c:pt>
                <c:pt idx="33">
                  <c:v>1.5303118158097313</c:v>
                </c:pt>
                <c:pt idx="34">
                  <c:v>1.8062605545504604</c:v>
                </c:pt>
                <c:pt idx="35">
                  <c:v>1.8534406227012268</c:v>
                </c:pt>
                <c:pt idx="36">
                  <c:v>1.7871911330956498</c:v>
                </c:pt>
                <c:pt idx="37">
                  <c:v>1.810214822644351</c:v>
                </c:pt>
                <c:pt idx="38">
                  <c:v>1.8336419902221708</c:v>
                </c:pt>
                <c:pt idx="39">
                  <c:v>2.2333577726111553</c:v>
                </c:pt>
                <c:pt idx="40">
                  <c:v>2.5309891042037136</c:v>
                </c:pt>
                <c:pt idx="41">
                  <c:v>2.299433351154791</c:v>
                </c:pt>
                <c:pt idx="42">
                  <c:v>2.0555163716115685</c:v>
                </c:pt>
                <c:pt idx="43">
                  <c:v>1.8170066451149003</c:v>
                </c:pt>
                <c:pt idx="44">
                  <c:v>1.85263787425651</c:v>
                </c:pt>
                <c:pt idx="45">
                  <c:v>1.9590678957166598</c:v>
                </c:pt>
                <c:pt idx="46">
                  <c:v>1.9241082154791376</c:v>
                </c:pt>
                <c:pt idx="47">
                  <c:v>1.7249419732812858</c:v>
                </c:pt>
                <c:pt idx="48">
                  <c:v>2.425569107994151</c:v>
                </c:pt>
                <c:pt idx="49">
                  <c:v>2.075927737357215</c:v>
                </c:pt>
                <c:pt idx="50">
                  <c:v>1.9916695600061254</c:v>
                </c:pt>
                <c:pt idx="51">
                  <c:v>1.735270952598371</c:v>
                </c:pt>
                <c:pt idx="52">
                  <c:v>2.042903721153115</c:v>
                </c:pt>
                <c:pt idx="53">
                  <c:v>1.9127104239591917</c:v>
                </c:pt>
                <c:pt idx="54">
                  <c:v>1.624060233889405</c:v>
                </c:pt>
                <c:pt idx="55">
                  <c:v>1.7251668570200422</c:v>
                </c:pt>
                <c:pt idx="56">
                  <c:v>1.4132527803258035</c:v>
                </c:pt>
                <c:pt idx="57">
                  <c:v>1.497368089374581</c:v>
                </c:pt>
                <c:pt idx="58">
                  <c:v>1.341619739617881</c:v>
                </c:pt>
                <c:pt idx="59">
                  <c:v>1.5223051909059622</c:v>
                </c:pt>
                <c:pt idx="60">
                  <c:v>1.4635846748527517</c:v>
                </c:pt>
                <c:pt idx="61">
                  <c:v>1.5170033946325072</c:v>
                </c:pt>
                <c:pt idx="62">
                  <c:v>1.396408295726451</c:v>
                </c:pt>
                <c:pt idx="63">
                  <c:v>1.5511336012662182</c:v>
                </c:pt>
                <c:pt idx="64">
                  <c:v>1.455224642193243</c:v>
                </c:pt>
                <c:pt idx="65">
                  <c:v>1.4954565276018983</c:v>
                </c:pt>
                <c:pt idx="66">
                  <c:v>1.4005667030846642</c:v>
                </c:pt>
                <c:pt idx="67">
                  <c:v>1.5126556278329741</c:v>
                </c:pt>
                <c:pt idx="68">
                  <c:v>1.223837014747581</c:v>
                </c:pt>
                <c:pt idx="69">
                  <c:v>1.1308419813286916</c:v>
                </c:pt>
                <c:pt idx="70">
                  <c:v>1.2921283850269678</c:v>
                </c:pt>
                <c:pt idx="71">
                  <c:v>0.9679718324725959</c:v>
                </c:pt>
                <c:pt idx="72">
                  <c:v>1.1499442652063219</c:v>
                </c:pt>
                <c:pt idx="73">
                  <c:v>0.87110820311846</c:v>
                </c:pt>
                <c:pt idx="74">
                  <c:v>1.04351812507449</c:v>
                </c:pt>
                <c:pt idx="75">
                  <c:v>1.556308860016359</c:v>
                </c:pt>
                <c:pt idx="76">
                  <c:v>1.5996133494152145</c:v>
                </c:pt>
                <c:pt idx="77">
                  <c:v>1.9100364088787505</c:v>
                </c:pt>
                <c:pt idx="78">
                  <c:v>1.5695675819318373</c:v>
                </c:pt>
                <c:pt idx="79">
                  <c:v>2.1825526468203216</c:v>
                </c:pt>
                <c:pt idx="80">
                  <c:v>1.9258509496148615</c:v>
                </c:pt>
                <c:pt idx="81">
                  <c:v>1.9368165640355102</c:v>
                </c:pt>
                <c:pt idx="82">
                  <c:v>1.896719309402066</c:v>
                </c:pt>
                <c:pt idx="83">
                  <c:v>2.217529193781153</c:v>
                </c:pt>
                <c:pt idx="84">
                  <c:v>1.9660360203021252</c:v>
                </c:pt>
                <c:pt idx="85">
                  <c:v>1.8632473482579506</c:v>
                </c:pt>
                <c:pt idx="86">
                  <c:v>2.5892809668459353</c:v>
                </c:pt>
                <c:pt idx="87">
                  <c:v>2.5852725272673602</c:v>
                </c:pt>
                <c:pt idx="88">
                  <c:v>2.1952008210480667</c:v>
                </c:pt>
                <c:pt idx="89">
                  <c:v>2.114891446320617</c:v>
                </c:pt>
                <c:pt idx="90">
                  <c:v>2.3700468461024835</c:v>
                </c:pt>
                <c:pt idx="91">
                  <c:v>2.004202843767685</c:v>
                </c:pt>
                <c:pt idx="92">
                  <c:v>2.3490159805140487</c:v>
                </c:pt>
                <c:pt idx="93">
                  <c:v>2.5019124708086156</c:v>
                </c:pt>
                <c:pt idx="94">
                  <c:v>2.459203651710117</c:v>
                </c:pt>
                <c:pt idx="95">
                  <c:v>2.5254582599771034</c:v>
                </c:pt>
                <c:pt idx="96">
                  <c:v>2.1833251577484534</c:v>
                </c:pt>
                <c:pt idx="97">
                  <c:v>2.3028203110914536</c:v>
                </c:pt>
                <c:pt idx="98">
                  <c:v>2.2452945226850507</c:v>
                </c:pt>
                <c:pt idx="99">
                  <c:v>2.381923423093969</c:v>
                </c:pt>
                <c:pt idx="100">
                  <c:v>2.6773542525187</c:v>
                </c:pt>
                <c:pt idx="101">
                  <c:v>2.332324877000224</c:v>
                </c:pt>
                <c:pt idx="102">
                  <c:v>2.3232515675941987</c:v>
                </c:pt>
                <c:pt idx="103">
                  <c:v>2.4599990744885005</c:v>
                </c:pt>
                <c:pt idx="104">
                  <c:v>2.557346873535847</c:v>
                </c:pt>
              </c:numCache>
            </c:numRef>
          </c:xVal>
          <c:yVal>
            <c:numRef>
              <c:f>Sheet1!$B$2:$B$106</c:f>
              <c:numCache>
                <c:formatCode>General</c:formatCode>
                <c:ptCount val="105"/>
                <c:pt idx="0">
                  <c:v>0.0004068348250610252</c:v>
                </c:pt>
                <c:pt idx="1">
                  <c:v>0.00013251000450534016</c:v>
                </c:pt>
                <c:pt idx="2">
                  <c:v>0.00015396063739703882</c:v>
                </c:pt>
                <c:pt idx="3">
                  <c:v>0.00013456776832813006</c:v>
                </c:pt>
                <c:pt idx="4">
                  <c:v>9.577015163607342e-05</c:v>
                </c:pt>
                <c:pt idx="5">
                  <c:v>0.0001952044766893321</c:v>
                </c:pt>
                <c:pt idx="6">
                  <c:v>0.00035394813051032887</c:v>
                </c:pt>
                <c:pt idx="7">
                  <c:v>0.0002935995302407516</c:v>
                </c:pt>
                <c:pt idx="8">
                  <c:v>0.0002665448176071891</c:v>
                </c:pt>
                <c:pt idx="9">
                  <c:v>0.0002675704602211916</c:v>
                </c:pt>
                <c:pt idx="10">
                  <c:v>0.00017219113215669393</c:v>
                </c:pt>
                <c:pt idx="11">
                  <c:v>0.00028758771425284714</c:v>
                </c:pt>
                <c:pt idx="12">
                  <c:v>0.00029195530429705125</c:v>
                </c:pt>
                <c:pt idx="13">
                  <c:v>0.00028119112560807583</c:v>
                </c:pt>
                <c:pt idx="14">
                  <c:v>8.361437052314724e-05</c:v>
                </c:pt>
                <c:pt idx="15">
                  <c:v>0.00019857686579513486</c:v>
                </c:pt>
                <c:pt idx="16">
                  <c:v>7.464079119238663e-05</c:v>
                </c:pt>
                <c:pt idx="17">
                  <c:v>0.00016345210853220007</c:v>
                </c:pt>
                <c:pt idx="18">
                  <c:v>9.092148929399464e-05</c:v>
                </c:pt>
                <c:pt idx="19">
                  <c:v>0.00015876375952582556</c:v>
                </c:pt>
                <c:pt idx="20">
                  <c:v>0.00021842645581232798</c:v>
                </c:pt>
                <c:pt idx="21">
                  <c:v>5.157563566970963e-05</c:v>
                </c:pt>
                <c:pt idx="22">
                  <c:v>0.0003682272488164124</c:v>
                </c:pt>
                <c:pt idx="23">
                  <c:v>0.0002789089083505327</c:v>
                </c:pt>
                <c:pt idx="24">
                  <c:v>0.0004662970830526916</c:v>
                </c:pt>
                <c:pt idx="25">
                  <c:v>0.000583158385817588</c:v>
                </c:pt>
                <c:pt idx="26">
                  <c:v>0.0005226025607525476</c:v>
                </c:pt>
                <c:pt idx="27">
                  <c:v>0.0002508277315139962</c:v>
                </c:pt>
                <c:pt idx="28">
                  <c:v>0.0002559770644550248</c:v>
                </c:pt>
                <c:pt idx="29">
                  <c:v>0.00040578926011091576</c:v>
                </c:pt>
                <c:pt idx="30">
                  <c:v>0.00029064698017787597</c:v>
                </c:pt>
                <c:pt idx="31">
                  <c:v>0.00033163829316825116</c:v>
                </c:pt>
                <c:pt idx="32">
                  <c:v>0.00021867483052700635</c:v>
                </c:pt>
                <c:pt idx="33">
                  <c:v>0.0005688531046252134</c:v>
                </c:pt>
                <c:pt idx="34">
                  <c:v>0.0005597984725498821</c:v>
                </c:pt>
                <c:pt idx="35">
                  <c:v>0.0006072055053299149</c:v>
                </c:pt>
                <c:pt idx="36">
                  <c:v>0.0003740959348241749</c:v>
                </c:pt>
                <c:pt idx="37">
                  <c:v>0.0002884615384615385</c:v>
                </c:pt>
                <c:pt idx="38">
                  <c:v>0.0002411149153686647</c:v>
                </c:pt>
                <c:pt idx="39">
                  <c:v>0.0003058103975535168</c:v>
                </c:pt>
                <c:pt idx="40">
                  <c:v>0.00017058296729071602</c:v>
                </c:pt>
                <c:pt idx="41">
                  <c:v>0.00018400956849756188</c:v>
                </c:pt>
                <c:pt idx="42">
                  <c:v>0.00011764244539429826</c:v>
                </c:pt>
                <c:pt idx="43">
                  <c:v>0.00024577788701239423</c:v>
                </c:pt>
                <c:pt idx="44">
                  <c:v>0.0002135585981064471</c:v>
                </c:pt>
                <c:pt idx="45">
                  <c:v>0.00015428697377121447</c:v>
                </c:pt>
                <c:pt idx="46">
                  <c:v>0.00031837670331536275</c:v>
                </c:pt>
                <c:pt idx="47">
                  <c:v>0.00038505144715168886</c:v>
                </c:pt>
                <c:pt idx="48">
                  <c:v>0.00019302845561149806</c:v>
                </c:pt>
                <c:pt idx="49">
                  <c:v>0.00019773483758280146</c:v>
                </c:pt>
                <c:pt idx="50">
                  <c:v>0.00029062525948683884</c:v>
                </c:pt>
                <c:pt idx="51">
                  <c:v>0.00037329218823880747</c:v>
                </c:pt>
                <c:pt idx="52">
                  <c:v>0.0001283175431467739</c:v>
                </c:pt>
                <c:pt idx="53">
                  <c:v>0.00015959569091634525</c:v>
                </c:pt>
                <c:pt idx="54">
                  <c:v>0.0003744239631336406</c:v>
                </c:pt>
                <c:pt idx="55">
                  <c:v>0.00023897003913134391</c:v>
                </c:pt>
                <c:pt idx="56">
                  <c:v>0.00024144383412808595</c:v>
                </c:pt>
                <c:pt idx="57">
                  <c:v>0.00015713799334782496</c:v>
                </c:pt>
                <c:pt idx="58">
                  <c:v>0.0001700308484539338</c:v>
                </c:pt>
                <c:pt idx="59">
                  <c:v>0.00020895618349567622</c:v>
                </c:pt>
                <c:pt idx="60">
                  <c:v>0.0003703377127237457</c:v>
                </c:pt>
                <c:pt idx="61">
                  <c:v>0.0003837206513658057</c:v>
                </c:pt>
                <c:pt idx="62">
                  <c:v>0.0004231013327691982</c:v>
                </c:pt>
                <c:pt idx="63">
                  <c:v>0.00036491649851886834</c:v>
                </c:pt>
                <c:pt idx="64">
                  <c:v>0.0005016617545619866</c:v>
                </c:pt>
                <c:pt idx="65">
                  <c:v>0.00036552212551115986</c:v>
                </c:pt>
                <c:pt idx="66">
                  <c:v>0.00040122728345527497</c:v>
                </c:pt>
                <c:pt idx="67">
                  <c:v>0.0002922552362396493</c:v>
                </c:pt>
                <c:pt idx="68">
                  <c:v>0.00046797309154723605</c:v>
                </c:pt>
                <c:pt idx="69">
                  <c:v>0.0004883546205860256</c:v>
                </c:pt>
                <c:pt idx="70">
                  <c:v>0.00038771985478129074</c:v>
                </c:pt>
                <c:pt idx="71">
                  <c:v>0.00041471874528728697</c:v>
                </c:pt>
                <c:pt idx="72">
                  <c:v>0.0005811841627315655</c:v>
                </c:pt>
                <c:pt idx="73">
                  <c:v>0.0009446438692612885</c:v>
                </c:pt>
                <c:pt idx="74">
                  <c:v>0.0010105020029593274</c:v>
                </c:pt>
                <c:pt idx="75">
                  <c:v>0.0010670081092616305</c:v>
                </c:pt>
                <c:pt idx="76">
                  <c:v>0.0015070557610631593</c:v>
                </c:pt>
                <c:pt idx="77">
                  <c:v>0.001357527489931671</c:v>
                </c:pt>
                <c:pt idx="78">
                  <c:v>0.0019386953104532354</c:v>
                </c:pt>
                <c:pt idx="79">
                  <c:v>0.0013696128560993425</c:v>
                </c:pt>
                <c:pt idx="80">
                  <c:v>0.0013775369639085315</c:v>
                </c:pt>
                <c:pt idx="81">
                  <c:v>0.0015751661608206231</c:v>
                </c:pt>
                <c:pt idx="82">
                  <c:v>0.0016255356878971479</c:v>
                </c:pt>
                <c:pt idx="83">
                  <c:v>0.0012959936890742096</c:v>
                </c:pt>
                <c:pt idx="84">
                  <c:v>0.0014231499051233396</c:v>
                </c:pt>
                <c:pt idx="85">
                  <c:v>0.001213208144319021</c:v>
                </c:pt>
                <c:pt idx="86">
                  <c:v>0.0011109347722583717</c:v>
                </c:pt>
                <c:pt idx="87">
                  <c:v>0.0010732492621411322</c:v>
                </c:pt>
                <c:pt idx="88">
                  <c:v>0.0015150080484802575</c:v>
                </c:pt>
                <c:pt idx="89">
                  <c:v>0.0017422495516269537</c:v>
                </c:pt>
                <c:pt idx="90">
                  <c:v>0.0015322026734294922</c:v>
                </c:pt>
                <c:pt idx="91">
                  <c:v>0.0017557941205979732</c:v>
                </c:pt>
                <c:pt idx="92">
                  <c:v>0.0014452657224263946</c:v>
                </c:pt>
                <c:pt idx="93">
                  <c:v>0.0013598368195816503</c:v>
                </c:pt>
                <c:pt idx="94">
                  <c:v>0.0015503169030139984</c:v>
                </c:pt>
                <c:pt idx="95">
                  <c:v>0.0016272041975226646</c:v>
                </c:pt>
                <c:pt idx="96">
                  <c:v>0.0020251211456399623</c:v>
                </c:pt>
                <c:pt idx="97">
                  <c:v>0.0024804345036992686</c:v>
                </c:pt>
                <c:pt idx="98">
                  <c:v>0.002372989031932585</c:v>
                </c:pt>
                <c:pt idx="99">
                  <c:v>0.002219103873641615</c:v>
                </c:pt>
                <c:pt idx="100">
                  <c:v>0.001695866763350565</c:v>
                </c:pt>
                <c:pt idx="101">
                  <c:v>0.002240143369175627</c:v>
                </c:pt>
                <c:pt idx="102">
                  <c:v>0.0018302227573750753</c:v>
                </c:pt>
                <c:pt idx="103">
                  <c:v>0.001802624073017684</c:v>
                </c:pt>
                <c:pt idx="104">
                  <c:v>0.00137791181364392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2.53340199846113</c:v>
                </c:pt>
                <c:pt idx="1">
                  <c:v>2.179778502106846</c:v>
                </c:pt>
                <c:pt idx="2">
                  <c:v>2.4208968655749645</c:v>
                </c:pt>
                <c:pt idx="3">
                  <c:v>2.020163339336287</c:v>
                </c:pt>
                <c:pt idx="4">
                  <c:v>2.423930608124522</c:v>
                </c:pt>
                <c:pt idx="5">
                  <c:v>2.7204017759219132</c:v>
                </c:pt>
                <c:pt idx="6">
                  <c:v>2.6251121654274465</c:v>
                </c:pt>
                <c:pt idx="7">
                  <c:v>2.475738174006067</c:v>
                </c:pt>
                <c:pt idx="8">
                  <c:v>2.3493660948158057</c:v>
                </c:pt>
                <c:pt idx="9">
                  <c:v>2.3555233665428377</c:v>
                </c:pt>
                <c:pt idx="10">
                  <c:v>2.416119843864173</c:v>
                </c:pt>
                <c:pt idx="11">
                  <c:v>2.5437843096717097</c:v>
                </c:pt>
                <c:pt idx="12">
                  <c:v>2.3401659812481865</c:v>
                </c:pt>
                <c:pt idx="13">
                  <c:v>1.9275500529402434</c:v>
                </c:pt>
                <c:pt idx="14">
                  <c:v>1.96574236082619</c:v>
                </c:pt>
                <c:pt idx="15">
                  <c:v>2.040174028549066</c:v>
                </c:pt>
                <c:pt idx="16">
                  <c:v>2.1422637190718516</c:v>
                </c:pt>
                <c:pt idx="17">
                  <c:v>1.6253990021963034</c:v>
                </c:pt>
                <c:pt idx="18">
                  <c:v>2.314413068819987</c:v>
                </c:pt>
                <c:pt idx="19">
                  <c:v>2.3545871802160026</c:v>
                </c:pt>
                <c:pt idx="20">
                  <c:v>2.1942872466789174</c:v>
                </c:pt>
                <c:pt idx="21">
                  <c:v>1.8999097290304086</c:v>
                </c:pt>
                <c:pt idx="22">
                  <c:v>1.9797838642231294</c:v>
                </c:pt>
                <c:pt idx="23">
                  <c:v>1.6223697999683127</c:v>
                </c:pt>
                <c:pt idx="24">
                  <c:v>2.0726022597491083</c:v>
                </c:pt>
                <c:pt idx="25">
                  <c:v>1.9624247687885126</c:v>
                </c:pt>
                <c:pt idx="26">
                  <c:v>2.052174551396968</c:v>
                </c:pt>
                <c:pt idx="27">
                  <c:v>2.046690618690266</c:v>
                </c:pt>
                <c:pt idx="28">
                  <c:v>2.0773666382934772</c:v>
                </c:pt>
                <c:pt idx="29">
                  <c:v>1.8414962906471684</c:v>
                </c:pt>
                <c:pt idx="30">
                  <c:v>1.8390448751741164</c:v>
                </c:pt>
                <c:pt idx="31">
                  <c:v>2.037737455640011</c:v>
                </c:pt>
                <c:pt idx="32">
                  <c:v>2.3132941470625057</c:v>
                </c:pt>
                <c:pt idx="33">
                  <c:v>2.259280836863193</c:v>
                </c:pt>
                <c:pt idx="34">
                  <c:v>2.38490878036852</c:v>
                </c:pt>
                <c:pt idx="35">
                  <c:v>2.136800735255696</c:v>
                </c:pt>
                <c:pt idx="36">
                  <c:v>2.0716605790513247</c:v>
                </c:pt>
                <c:pt idx="37">
                  <c:v>2.0763987310010186</c:v>
                </c:pt>
                <c:pt idx="38">
                  <c:v>1.7646731491808587</c:v>
                </c:pt>
                <c:pt idx="39">
                  <c:v>1.7374876294024135</c:v>
                </c:pt>
                <c:pt idx="40">
                  <c:v>1.6322617036420337</c:v>
                </c:pt>
                <c:pt idx="41">
                  <c:v>1.82684446564999</c:v>
                </c:pt>
                <c:pt idx="42">
                  <c:v>1.6323062474844596</c:v>
                </c:pt>
                <c:pt idx="43">
                  <c:v>1.9525443309996875</c:v>
                </c:pt>
                <c:pt idx="44">
                  <c:v>2.426895626789388</c:v>
                </c:pt>
                <c:pt idx="45">
                  <c:v>2.6183554204700097</c:v>
                </c:pt>
                <c:pt idx="46">
                  <c:v>2.587202622268386</c:v>
                </c:pt>
                <c:pt idx="47">
                  <c:v>2.574311749279469</c:v>
                </c:pt>
                <c:pt idx="48">
                  <c:v>2.5534451903254793</c:v>
                </c:pt>
                <c:pt idx="49">
                  <c:v>2.5311368731374815</c:v>
                </c:pt>
                <c:pt idx="50">
                  <c:v>2.6673002240175117</c:v>
                </c:pt>
                <c:pt idx="51">
                  <c:v>2.7343141929618726</c:v>
                </c:pt>
              </c:numCache>
            </c:numRef>
          </c:xVal>
          <c:yVal>
            <c:numRef>
              <c:f>Sheet1!$B$109:$B$160</c:f>
              <c:numCache>
                <c:formatCode>General</c:formatCode>
                <c:ptCount val="52"/>
                <c:pt idx="0">
                  <c:v>0.0013676019806649375</c:v>
                </c:pt>
                <c:pt idx="1">
                  <c:v>0.0016099818877037633</c:v>
                </c:pt>
                <c:pt idx="2">
                  <c:v>0.0015756302521008404</c:v>
                </c:pt>
                <c:pt idx="3">
                  <c:v>0.001680595930232558</c:v>
                </c:pt>
                <c:pt idx="4">
                  <c:v>0.0015973690392295044</c:v>
                </c:pt>
                <c:pt idx="5">
                  <c:v>0.0014011589246698964</c:v>
                </c:pt>
                <c:pt idx="6">
                  <c:v>0.001628477717378839</c:v>
                </c:pt>
                <c:pt idx="7">
                  <c:v>0.0018831810323536675</c:v>
                </c:pt>
                <c:pt idx="8">
                  <c:v>0.0022389859116117255</c:v>
                </c:pt>
                <c:pt idx="9">
                  <c:v>0.0022979821827682815</c:v>
                </c:pt>
                <c:pt idx="10">
                  <c:v>0.0021916473882868624</c:v>
                </c:pt>
                <c:pt idx="11">
                  <c:v>0.0022494376405898524</c:v>
                </c:pt>
                <c:pt idx="12">
                  <c:v>0.0022865457568986124</c:v>
                </c:pt>
                <c:pt idx="13">
                  <c:v>0.00334941050375134</c:v>
                </c:pt>
                <c:pt idx="14">
                  <c:v>0.003291102373671181</c:v>
                </c:pt>
                <c:pt idx="15">
                  <c:v>0.0032060260839792075</c:v>
                </c:pt>
                <c:pt idx="16">
                  <c:v>0.002947193231857425</c:v>
                </c:pt>
                <c:pt idx="17">
                  <c:v>0.003891193421680555</c:v>
                </c:pt>
                <c:pt idx="18">
                  <c:v>0.0021183635641466966</c:v>
                </c:pt>
                <c:pt idx="19">
                  <c:v>0.0018699186991869919</c:v>
                </c:pt>
                <c:pt idx="20">
                  <c:v>0.002169101372288623</c:v>
                </c:pt>
                <c:pt idx="21">
                  <c:v>0.002878464818763326</c:v>
                </c:pt>
                <c:pt idx="22">
                  <c:v>0.0024758994890164885</c:v>
                </c:pt>
                <c:pt idx="23">
                  <c:v>0.0025180643748631487</c:v>
                </c:pt>
                <c:pt idx="24">
                  <c:v>0.00233172703248873</c:v>
                </c:pt>
                <c:pt idx="25">
                  <c:v>0.0026630434782608696</c:v>
                </c:pt>
                <c:pt idx="26">
                  <c:v>0.0026856729676686293</c:v>
                </c:pt>
                <c:pt idx="27">
                  <c:v>0.0025617566331198535</c:v>
                </c:pt>
                <c:pt idx="28">
                  <c:v>0.002144388849177984</c:v>
                </c:pt>
                <c:pt idx="29">
                  <c:v>0.002535421327367636</c:v>
                </c:pt>
                <c:pt idx="30">
                  <c:v>0.002432460407825277</c:v>
                </c:pt>
                <c:pt idx="31">
                  <c:v>0.002529898804047838</c:v>
                </c:pt>
                <c:pt idx="32">
                  <c:v>0.0021514189119967216</c:v>
                </c:pt>
                <c:pt idx="33">
                  <c:v>0.0021745618897369206</c:v>
                </c:pt>
                <c:pt idx="34">
                  <c:v>0.002030250735965892</c:v>
                </c:pt>
                <c:pt idx="35">
                  <c:v>0.0024136430182408104</c:v>
                </c:pt>
                <c:pt idx="36">
                  <c:v>0.002752767104433102</c:v>
                </c:pt>
                <c:pt idx="37">
                  <c:v>0.0028208744710860366</c:v>
                </c:pt>
                <c:pt idx="38">
                  <c:v>0.0031652854511970536</c:v>
                </c:pt>
                <c:pt idx="39">
                  <c:v>0.0031259768677711786</c:v>
                </c:pt>
                <c:pt idx="40">
                  <c:v>0.0029267866503582037</c:v>
                </c:pt>
                <c:pt idx="41">
                  <c:v>0.0023961001404610425</c:v>
                </c:pt>
                <c:pt idx="42">
                  <c:v>0.0027413533147530498</c:v>
                </c:pt>
                <c:pt idx="43">
                  <c:v>0.0020007589085515197</c:v>
                </c:pt>
                <c:pt idx="44">
                  <c:v>0.0015271134674119749</c:v>
                </c:pt>
                <c:pt idx="45">
                  <c:v>0.0012748093280875662</c:v>
                </c:pt>
                <c:pt idx="46">
                  <c:v>0.0013688893568852502</c:v>
                </c:pt>
                <c:pt idx="47">
                  <c:v>0.0014565743346664692</c:v>
                </c:pt>
                <c:pt idx="48">
                  <c:v>0.0015998337835030126</c:v>
                </c:pt>
                <c:pt idx="49">
                  <c:v>0.001481903676261043</c:v>
                </c:pt>
                <c:pt idx="50">
                  <c:v>0.0012530527177179098</c:v>
                </c:pt>
                <c:pt idx="51">
                  <c:v>0.001362515679743933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9262132816757065</c:v>
                </c:pt>
              </c:numCache>
            </c:numRef>
          </c:xVal>
          <c:yVal>
            <c:numRef>
              <c:f>Sheet1!$B$163:$B$164</c:f>
              <c:numCache>
                <c:formatCode>General</c:formatCode>
                <c:ptCount val="2"/>
                <c:pt idx="0">
                  <c:v>0.0026727990029129967</c:v>
                </c:pt>
                <c:pt idx="1">
                  <c:v>0.002672799002912996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9262132816757065</c:v>
                </c:pt>
                <c:pt idx="1">
                  <c:v>1.9262132816757065</c:v>
                </c:pt>
              </c:numCache>
            </c:numRef>
          </c:xVal>
          <c:yVal>
            <c:numRef>
              <c:f>Sheet1!$B$167:$B$168</c:f>
              <c:numCache>
                <c:formatCode>General</c:formatCode>
                <c:ptCount val="2"/>
                <c:pt idx="0">
                  <c:v>0.002672799002912996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9262132816757065</c:v>
                </c:pt>
              </c:numCache>
            </c:numRef>
          </c:xVal>
          <c:yVal>
            <c:numRef>
              <c:f>Sheet1!$B$171:$B$172</c:f>
              <c:numCache>
                <c:formatCode>General</c:formatCode>
                <c:ptCount val="2"/>
                <c:pt idx="0">
                  <c:v>0.0026727990029129967</c:v>
                </c:pt>
                <c:pt idx="1">
                  <c:v>0.002672799002912996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9262132816757065</c:v>
                </c:pt>
                <c:pt idx="1">
                  <c:v>1.9262132816757065</c:v>
                </c:pt>
              </c:numCache>
            </c:numRef>
          </c:xVal>
          <c:yVal>
            <c:numRef>
              <c:f>Sheet1!$B$175:$B$176</c:f>
              <c:numCache>
                <c:formatCode>General</c:formatCode>
                <c:ptCount val="2"/>
                <c:pt idx="0">
                  <c:v>0.002672799002912996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4091983390217315</c:v>
                </c:pt>
              </c:numCache>
            </c:numRef>
          </c:xVal>
          <c:yVal>
            <c:numRef>
              <c:f>Sheet1!$B$179:$B$180</c:f>
              <c:numCache>
                <c:formatCode>General</c:formatCode>
                <c:ptCount val="2"/>
                <c:pt idx="0">
                  <c:v>0.0018858206327824734</c:v>
                </c:pt>
                <c:pt idx="1">
                  <c:v>0.001885820632782473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4091983390217315</c:v>
                </c:pt>
                <c:pt idx="1">
                  <c:v>2.4091983390217315</c:v>
                </c:pt>
              </c:numCache>
            </c:numRef>
          </c:xVal>
          <c:yVal>
            <c:numRef>
              <c:f>Sheet1!$B$183:$B$184</c:f>
              <c:numCache>
                <c:formatCode>General</c:formatCode>
                <c:ptCount val="2"/>
                <c:pt idx="0">
                  <c:v>0.001885820632782473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2.53340199846113</c:v>
                </c:pt>
                <c:pt idx="1">
                  <c:v>2.179778502106846</c:v>
                </c:pt>
                <c:pt idx="2">
                  <c:v>2.4208968655749645</c:v>
                </c:pt>
                <c:pt idx="3">
                  <c:v>2.020163339336287</c:v>
                </c:pt>
                <c:pt idx="4">
                  <c:v>2.423930608124522</c:v>
                </c:pt>
                <c:pt idx="5">
                  <c:v>2.7204017759219132</c:v>
                </c:pt>
                <c:pt idx="6">
                  <c:v>2.6251121654274465</c:v>
                </c:pt>
                <c:pt idx="7">
                  <c:v>2.475738174006067</c:v>
                </c:pt>
                <c:pt idx="8">
                  <c:v>2.3493660948158057</c:v>
                </c:pt>
                <c:pt idx="9">
                  <c:v>2.3555233665428377</c:v>
                </c:pt>
                <c:pt idx="10">
                  <c:v>2.416119843864173</c:v>
                </c:pt>
                <c:pt idx="11">
                  <c:v>2.5437843096717097</c:v>
                </c:pt>
                <c:pt idx="12">
                  <c:v>2.3401659812481865</c:v>
                </c:pt>
                <c:pt idx="13">
                  <c:v>1.9275500529402434</c:v>
                </c:pt>
                <c:pt idx="14">
                  <c:v>1.96574236082619</c:v>
                </c:pt>
                <c:pt idx="15">
                  <c:v>2.040174028549066</c:v>
                </c:pt>
                <c:pt idx="16">
                  <c:v>2.1422637190718516</c:v>
                </c:pt>
                <c:pt idx="17">
                  <c:v>1.6253990021963034</c:v>
                </c:pt>
                <c:pt idx="18">
                  <c:v>2.314413068819987</c:v>
                </c:pt>
                <c:pt idx="19">
                  <c:v>2.3545871802160026</c:v>
                </c:pt>
                <c:pt idx="20">
                  <c:v>2.1942872466789174</c:v>
                </c:pt>
                <c:pt idx="21">
                  <c:v>1.8999097290304086</c:v>
                </c:pt>
                <c:pt idx="22">
                  <c:v>1.9797838642231294</c:v>
                </c:pt>
                <c:pt idx="23">
                  <c:v>1.6223697999683127</c:v>
                </c:pt>
                <c:pt idx="24">
                  <c:v>2.0726022597491083</c:v>
                </c:pt>
                <c:pt idx="25">
                  <c:v>1.9624247687885126</c:v>
                </c:pt>
                <c:pt idx="26">
                  <c:v>2.052174551396968</c:v>
                </c:pt>
                <c:pt idx="27">
                  <c:v>2.046690618690266</c:v>
                </c:pt>
                <c:pt idx="28">
                  <c:v>2.0773666382934772</c:v>
                </c:pt>
                <c:pt idx="29">
                  <c:v>1.8414962906471684</c:v>
                </c:pt>
                <c:pt idx="30">
                  <c:v>1.8390448751741164</c:v>
                </c:pt>
                <c:pt idx="31">
                  <c:v>2.037737455640011</c:v>
                </c:pt>
                <c:pt idx="32">
                  <c:v>2.3132941470625057</c:v>
                </c:pt>
                <c:pt idx="33">
                  <c:v>2.259280836863193</c:v>
                </c:pt>
                <c:pt idx="34">
                  <c:v>2.38490878036852</c:v>
                </c:pt>
                <c:pt idx="35">
                  <c:v>2.136800735255696</c:v>
                </c:pt>
                <c:pt idx="36">
                  <c:v>2.0716605790513247</c:v>
                </c:pt>
                <c:pt idx="37">
                  <c:v>2.0763987310010186</c:v>
                </c:pt>
                <c:pt idx="38">
                  <c:v>1.7646731491808587</c:v>
                </c:pt>
                <c:pt idx="39">
                  <c:v>1.7374876294024135</c:v>
                </c:pt>
                <c:pt idx="40">
                  <c:v>1.6322617036420337</c:v>
                </c:pt>
                <c:pt idx="41">
                  <c:v>1.82684446564999</c:v>
                </c:pt>
                <c:pt idx="42">
                  <c:v>1.6323062474844596</c:v>
                </c:pt>
                <c:pt idx="43">
                  <c:v>1.9525443309996875</c:v>
                </c:pt>
                <c:pt idx="44">
                  <c:v>2.426895626789388</c:v>
                </c:pt>
                <c:pt idx="45">
                  <c:v>2.6183554204700097</c:v>
                </c:pt>
                <c:pt idx="46">
                  <c:v>2.587202622268386</c:v>
                </c:pt>
                <c:pt idx="47">
                  <c:v>2.574311749279469</c:v>
                </c:pt>
                <c:pt idx="48">
                  <c:v>2.5534451903254793</c:v>
                </c:pt>
                <c:pt idx="49">
                  <c:v>2.5311368731374815</c:v>
                </c:pt>
                <c:pt idx="50">
                  <c:v>2.6673002240175117</c:v>
                </c:pt>
                <c:pt idx="51">
                  <c:v>2.7343141929618726</c:v>
                </c:pt>
                <c:pt idx="52">
                  <c:v>1.9262132816757065</c:v>
                </c:pt>
                <c:pt idx="53">
                  <c:v>1.9262132816757065</c:v>
                </c:pt>
                <c:pt idx="54">
                  <c:v>2.4091983390217315</c:v>
                </c:pt>
              </c:numCache>
            </c:numRef>
          </c:xVal>
          <c:yVal>
            <c:numRef>
              <c:f>Sheet1!$B$187:$B$241</c:f>
              <c:numCache>
                <c:formatCode>General</c:formatCode>
                <c:ptCount val="55"/>
                <c:pt idx="0">
                  <c:v>0.001683442542646579</c:v>
                </c:pt>
                <c:pt idx="1">
                  <c:v>0.0022596385109648555</c:v>
                </c:pt>
                <c:pt idx="2">
                  <c:v>0.0018667589926348862</c:v>
                </c:pt>
                <c:pt idx="3">
                  <c:v>0.002519716289220632</c:v>
                </c:pt>
                <c:pt idx="4">
                  <c:v>0.0018618157967104296</c:v>
                </c:pt>
                <c:pt idx="5">
                  <c:v>0.0013787441304648033</c:v>
                </c:pt>
                <c:pt idx="6">
                  <c:v>0.001534009518527486</c:v>
                </c:pt>
                <c:pt idx="7">
                  <c:v>0.001777400278802019</c:v>
                </c:pt>
                <c:pt idx="8">
                  <c:v>0.0019833116033834476</c:v>
                </c:pt>
                <c:pt idx="9">
                  <c:v>0.001973278912734969</c:v>
                </c:pt>
                <c:pt idx="10">
                  <c:v>0.0018745426967119744</c:v>
                </c:pt>
                <c:pt idx="11">
                  <c:v>0.0016665255506394406</c:v>
                </c:pt>
                <c:pt idx="12">
                  <c:v>0.0019983023163886193</c:v>
                </c:pt>
                <c:pt idx="13">
                  <c:v>0.0026706208608462765</c:v>
                </c:pt>
                <c:pt idx="14">
                  <c:v>0.002608390115289128</c:v>
                </c:pt>
                <c:pt idx="15">
                  <c:v>0.0024871107679061717</c:v>
                </c:pt>
                <c:pt idx="16">
                  <c:v>0.00232076529399808</c:v>
                </c:pt>
                <c:pt idx="17">
                  <c:v>0.0031629473579729435</c:v>
                </c:pt>
                <c:pt idx="18">
                  <c:v>0.0020402642461431844</c:v>
                </c:pt>
                <c:pt idx="19">
                  <c:v>0.00197480433961604</c:v>
                </c:pt>
                <c:pt idx="20">
                  <c:v>0.002235997886928347</c:v>
                </c:pt>
                <c:pt idx="21">
                  <c:v>0.002715658148707664</c:v>
                </c:pt>
                <c:pt idx="22">
                  <c:v>0.002585510816459001</c:v>
                </c:pt>
                <c:pt idx="23">
                  <c:v>0.0031678831558737716</c:v>
                </c:pt>
                <c:pt idx="24">
                  <c:v>0.0024342720389478522</c:v>
                </c:pt>
                <c:pt idx="25">
                  <c:v>0.00261379581704917</c:v>
                </c:pt>
                <c:pt idx="26">
                  <c:v>0.0024675570534218125</c:v>
                </c:pt>
                <c:pt idx="27">
                  <c:v>0.0024764926019606027</c:v>
                </c:pt>
                <c:pt idx="28">
                  <c:v>0.002426508935712039</c:v>
                </c:pt>
                <c:pt idx="29">
                  <c:v>0.0028108373097052424</c:v>
                </c:pt>
                <c:pt idx="30">
                  <c:v>0.002814831658855703</c:v>
                </c:pt>
                <c:pt idx="31">
                  <c:v>0.002491080932505485</c:v>
                </c:pt>
                <c:pt idx="32">
                  <c:v>0.0020420874230875083</c:v>
                </c:pt>
                <c:pt idx="33">
                  <c:v>0.0021300969922853313</c:v>
                </c:pt>
                <c:pt idx="34">
                  <c:v>0.0019253981662679448</c:v>
                </c:pt>
                <c:pt idx="35">
                  <c:v>0.0023296667083054124</c:v>
                </c:pt>
                <c:pt idx="36">
                  <c:v>0.0024358064183855875</c:v>
                </c:pt>
                <c:pt idx="37">
                  <c:v>0.002428086048899851</c:v>
                </c:pt>
                <c:pt idx="38">
                  <c:v>0.0029360133368719564</c:v>
                </c:pt>
                <c:pt idx="39">
                  <c:v>0.0029803095645108673</c:v>
                </c:pt>
                <c:pt idx="40">
                  <c:v>0.0031517652364635735</c:v>
                </c:pt>
                <c:pt idx="41">
                  <c:v>0.0028347110697322657</c:v>
                </c:pt>
                <c:pt idx="42">
                  <c:v>0.003151692656494528</c:v>
                </c:pt>
                <c:pt idx="43">
                  <c:v>0.0026298950538867494</c:v>
                </c:pt>
                <c:pt idx="44">
                  <c:v>0.0018569845798419313</c:v>
                </c:pt>
                <c:pt idx="45">
                  <c:v>0.0015450189939825035</c:v>
                </c:pt>
                <c:pt idx="46">
                  <c:v>0.0015957795257646587</c:v>
                </c:pt>
                <c:pt idx="47">
                  <c:v>0.0016167839814099803</c:v>
                </c:pt>
                <c:pt idx="48">
                  <c:v>0.0016507840613422219</c:v>
                </c:pt>
                <c:pt idx="49">
                  <c:v>0.0016871333496565133</c:v>
                </c:pt>
                <c:pt idx="50">
                  <c:v>0.00146526807594411</c:v>
                </c:pt>
                <c:pt idx="51">
                  <c:v>0.0013560751656176376</c:v>
                </c:pt>
                <c:pt idx="52">
                  <c:v>0.0026727990029129967</c:v>
                </c:pt>
                <c:pt idx="53">
                  <c:v>0.0026727990029129967</c:v>
                </c:pt>
                <c:pt idx="54">
                  <c:v>0.001885820632782473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69432106016665"/>
          <c:min val="4.126050853576771e-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34.3125</c:v>
                </c:pt>
                <c:pt idx="1">
                  <c:v>3740.2</c:v>
                </c:pt>
                <c:pt idx="2">
                  <c:v>3175.8333</c:v>
                </c:pt>
                <c:pt idx="3">
                  <c:v>3027.4</c:v>
                </c:pt>
                <c:pt idx="4">
                  <c:v>3982.3333</c:v>
                </c:pt>
                <c:pt idx="5">
                  <c:v>3848.6667</c:v>
                </c:pt>
                <c:pt idx="6">
                  <c:v>3216.6364</c:v>
                </c:pt>
                <c:pt idx="7">
                  <c:v>3208.875</c:v>
                </c:pt>
                <c:pt idx="8">
                  <c:v>3023.0</c:v>
                </c:pt>
                <c:pt idx="9">
                  <c:v>3233.3333</c:v>
                </c:pt>
                <c:pt idx="10">
                  <c:v>3528.3333</c:v>
                </c:pt>
                <c:pt idx="11">
                  <c:v>3129.7</c:v>
                </c:pt>
                <c:pt idx="12">
                  <c:v>3208.4545</c:v>
                </c:pt>
                <c:pt idx="13">
                  <c:v>3153.0</c:v>
                </c:pt>
                <c:pt idx="14">
                  <c:v>3951.0</c:v>
                </c:pt>
                <c:pt idx="15">
                  <c:v>3128.3333</c:v>
                </c:pt>
                <c:pt idx="16">
                  <c:v>4342.0</c:v>
                </c:pt>
                <c:pt idx="17">
                  <c:v>3291.5</c:v>
                </c:pt>
                <c:pt idx="18">
                  <c:v>4434.0</c:v>
                </c:pt>
                <c:pt idx="19">
                  <c:v>3808.0</c:v>
                </c:pt>
                <c:pt idx="20">
                  <c:v>3044.2</c:v>
                </c:pt>
                <c:pt idx="21">
                  <c:v>6720.0</c:v>
                </c:pt>
                <c:pt idx="22">
                  <c:v>3122.1429</c:v>
                </c:pt>
                <c:pt idx="23">
                  <c:v>3924.6</c:v>
                </c:pt>
                <c:pt idx="24">
                  <c:v>2808.3333</c:v>
                </c:pt>
                <c:pt idx="25">
                  <c:v>2765.0</c:v>
                </c:pt>
                <c:pt idx="26">
                  <c:v>3202.0</c:v>
                </c:pt>
                <c:pt idx="27">
                  <c:v>3106.4</c:v>
                </c:pt>
                <c:pt idx="28">
                  <c:v>3346.6</c:v>
                </c:pt>
                <c:pt idx="29">
                  <c:v>3119.6667</c:v>
                </c:pt>
                <c:pt idx="30">
                  <c:v>3099.8</c:v>
                </c:pt>
                <c:pt idx="31">
                  <c:v>3342.0</c:v>
                </c:pt>
                <c:pt idx="32">
                  <c:v>4329.0</c:v>
                </c:pt>
                <c:pt idx="33">
                  <c:v>2663.4615</c:v>
                </c:pt>
                <c:pt idx="34">
                  <c:v>3005.3571</c:v>
                </c:pt>
                <c:pt idx="35">
                  <c:v>2884.4444</c:v>
                </c:pt>
                <c:pt idx="36">
                  <c:v>2882.1111</c:v>
                </c:pt>
                <c:pt idx="37">
                  <c:v>3050.0</c:v>
                </c:pt>
                <c:pt idx="38">
                  <c:v>3066.2</c:v>
                </c:pt>
                <c:pt idx="39">
                  <c:v>3735.1667</c:v>
                </c:pt>
                <c:pt idx="40">
                  <c:v>4272.75</c:v>
                </c:pt>
                <c:pt idx="41">
                  <c:v>4003.25</c:v>
                </c:pt>
                <c:pt idx="42">
                  <c:v>3549.6667</c:v>
                </c:pt>
                <c:pt idx="43">
                  <c:v>3104.1429</c:v>
                </c:pt>
                <c:pt idx="44">
                  <c:v>3004.2222</c:v>
                </c:pt>
                <c:pt idx="45">
                  <c:v>3138.1429</c:v>
                </c:pt>
                <c:pt idx="46">
                  <c:v>2995.8667</c:v>
                </c:pt>
                <c:pt idx="47">
                  <c:v>2660.1667</c:v>
                </c:pt>
                <c:pt idx="48">
                  <c:v>3669.0</c:v>
                </c:pt>
                <c:pt idx="49">
                  <c:v>3025.0556</c:v>
                </c:pt>
                <c:pt idx="50">
                  <c:v>3099.3571</c:v>
                </c:pt>
                <c:pt idx="51">
                  <c:v>2739.4667</c:v>
                </c:pt>
                <c:pt idx="52">
                  <c:v>3202.5</c:v>
                </c:pt>
                <c:pt idx="53">
                  <c:v>3334.5</c:v>
                </c:pt>
                <c:pt idx="54">
                  <c:v>2909.6923</c:v>
                </c:pt>
                <c:pt idx="55">
                  <c:v>3116.0</c:v>
                </c:pt>
                <c:pt idx="56">
                  <c:v>2599.75</c:v>
                </c:pt>
                <c:pt idx="57">
                  <c:v>2696.8333</c:v>
                </c:pt>
                <c:pt idx="58">
                  <c:v>2451.5714</c:v>
                </c:pt>
                <c:pt idx="59">
                  <c:v>2641.6154</c:v>
                </c:pt>
                <c:pt idx="60">
                  <c:v>2559.1905</c:v>
                </c:pt>
                <c:pt idx="61">
                  <c:v>2616.8125</c:v>
                </c:pt>
                <c:pt idx="62">
                  <c:v>2355.3889</c:v>
                </c:pt>
                <c:pt idx="63">
                  <c:v>2616.8235</c:v>
                </c:pt>
                <c:pt idx="64">
                  <c:v>2307.1667</c:v>
                </c:pt>
                <c:pt idx="65">
                  <c:v>2335.0625</c:v>
                </c:pt>
                <c:pt idx="66">
                  <c:v>2205.0588</c:v>
                </c:pt>
                <c:pt idx="67">
                  <c:v>2366.9167</c:v>
                </c:pt>
                <c:pt idx="68">
                  <c:v>1907.25</c:v>
                </c:pt>
                <c:pt idx="69">
                  <c:v>1806.8462</c:v>
                </c:pt>
                <c:pt idx="70">
                  <c:v>2093.8182</c:v>
                </c:pt>
                <c:pt idx="71">
                  <c:v>1689.1818</c:v>
                </c:pt>
                <c:pt idx="72">
                  <c:v>2030.4375</c:v>
                </c:pt>
                <c:pt idx="73">
                  <c:v>1540.12</c:v>
                </c:pt>
                <c:pt idx="74">
                  <c:v>1899.0714</c:v>
                </c:pt>
                <c:pt idx="75">
                  <c:v>2853.48</c:v>
                </c:pt>
                <c:pt idx="76">
                  <c:v>2875.1212</c:v>
                </c:pt>
                <c:pt idx="77">
                  <c:v>3425.6333</c:v>
                </c:pt>
                <c:pt idx="78">
                  <c:v>2855.7568</c:v>
                </c:pt>
                <c:pt idx="79">
                  <c:v>3978.3</c:v>
                </c:pt>
                <c:pt idx="80">
                  <c:v>3440.1333</c:v>
                </c:pt>
                <c:pt idx="81">
                  <c:v>3386.2927</c:v>
                </c:pt>
                <c:pt idx="82">
                  <c:v>3334.303</c:v>
                </c:pt>
                <c:pt idx="83">
                  <c:v>3918.6087</c:v>
                </c:pt>
                <c:pt idx="84">
                  <c:v>3499.875</c:v>
                </c:pt>
                <c:pt idx="85">
                  <c:v>3327.3478</c:v>
                </c:pt>
                <c:pt idx="86">
                  <c:v>4500.5714</c:v>
                </c:pt>
                <c:pt idx="87">
                  <c:v>4381.2143</c:v>
                </c:pt>
                <c:pt idx="88">
                  <c:v>3936.9063</c:v>
                </c:pt>
                <c:pt idx="89">
                  <c:v>3929.9118</c:v>
                </c:pt>
                <c:pt idx="90">
                  <c:v>4465.6207</c:v>
                </c:pt>
                <c:pt idx="91">
                  <c:v>3604.8857</c:v>
                </c:pt>
                <c:pt idx="92">
                  <c:v>4148.6286</c:v>
                </c:pt>
                <c:pt idx="93">
                  <c:v>4459.8824</c:v>
                </c:pt>
                <c:pt idx="94">
                  <c:v>4274.8824</c:v>
                </c:pt>
                <c:pt idx="95">
                  <c:v>4202.5714</c:v>
                </c:pt>
                <c:pt idx="96">
                  <c:v>3518.4405</c:v>
                </c:pt>
                <c:pt idx="97">
                  <c:v>3508.6293</c:v>
                </c:pt>
                <c:pt idx="98">
                  <c:v>3336.811</c:v>
                </c:pt>
                <c:pt idx="99">
                  <c:v>3491.1985</c:v>
                </c:pt>
                <c:pt idx="100">
                  <c:v>3901.069</c:v>
                </c:pt>
                <c:pt idx="101">
                  <c:v>3699.9652</c:v>
                </c:pt>
                <c:pt idx="102">
                  <c:v>3851.6974</c:v>
                </c:pt>
                <c:pt idx="103">
                  <c:v>3939.1392</c:v>
                </c:pt>
                <c:pt idx="104">
                  <c:v>4226.3208</c:v>
                </c:pt>
              </c:numCache>
            </c:numRef>
          </c:xVal>
          <c:yVal>
            <c:numRef>
              <c:f>Sheet1!$B$2:$B$106</c:f>
              <c:numCache>
                <c:formatCode>General</c:formatCode>
                <c:ptCount val="105"/>
                <c:pt idx="0">
                  <c:v>0.0004068348250610252</c:v>
                </c:pt>
                <c:pt idx="1">
                  <c:v>0.00013251000450534016</c:v>
                </c:pt>
                <c:pt idx="2">
                  <c:v>0.00015396063739703882</c:v>
                </c:pt>
                <c:pt idx="3">
                  <c:v>0.00013456776832813006</c:v>
                </c:pt>
                <c:pt idx="4">
                  <c:v>9.577015163607342e-05</c:v>
                </c:pt>
                <c:pt idx="5">
                  <c:v>0.0001952044766893321</c:v>
                </c:pt>
                <c:pt idx="6">
                  <c:v>0.00035394813051032887</c:v>
                </c:pt>
                <c:pt idx="7">
                  <c:v>0.0002935995302407516</c:v>
                </c:pt>
                <c:pt idx="8">
                  <c:v>0.0002665448176071891</c:v>
                </c:pt>
                <c:pt idx="9">
                  <c:v>0.0002675704602211916</c:v>
                </c:pt>
                <c:pt idx="10">
                  <c:v>0.00017219113215669393</c:v>
                </c:pt>
                <c:pt idx="11">
                  <c:v>0.00028758771425284714</c:v>
                </c:pt>
                <c:pt idx="12">
                  <c:v>0.00029195530429705125</c:v>
                </c:pt>
                <c:pt idx="13">
                  <c:v>0.00028119112560807583</c:v>
                </c:pt>
                <c:pt idx="14">
                  <c:v>8.361437052314724e-05</c:v>
                </c:pt>
                <c:pt idx="15">
                  <c:v>0.00019857686579513486</c:v>
                </c:pt>
                <c:pt idx="16">
                  <c:v>7.464079119238663e-05</c:v>
                </c:pt>
                <c:pt idx="17">
                  <c:v>0.00016345210853220007</c:v>
                </c:pt>
                <c:pt idx="18">
                  <c:v>9.092148929399464e-05</c:v>
                </c:pt>
                <c:pt idx="19">
                  <c:v>0.00015876375952582556</c:v>
                </c:pt>
                <c:pt idx="20">
                  <c:v>0.00021842645581232798</c:v>
                </c:pt>
                <c:pt idx="21">
                  <c:v>5.157563566970963e-05</c:v>
                </c:pt>
                <c:pt idx="22">
                  <c:v>0.0003682272488164124</c:v>
                </c:pt>
                <c:pt idx="23">
                  <c:v>0.0002789089083505327</c:v>
                </c:pt>
                <c:pt idx="24">
                  <c:v>0.0004662970830526916</c:v>
                </c:pt>
                <c:pt idx="25">
                  <c:v>0.000583158385817588</c:v>
                </c:pt>
                <c:pt idx="26">
                  <c:v>0.0005226025607525476</c:v>
                </c:pt>
                <c:pt idx="27">
                  <c:v>0.0002508277315139962</c:v>
                </c:pt>
                <c:pt idx="28">
                  <c:v>0.0002559770644550248</c:v>
                </c:pt>
                <c:pt idx="29">
                  <c:v>0.00040578926011091576</c:v>
                </c:pt>
                <c:pt idx="30">
                  <c:v>0.00029064698017787597</c:v>
                </c:pt>
                <c:pt idx="31">
                  <c:v>0.00033163829316825116</c:v>
                </c:pt>
                <c:pt idx="32">
                  <c:v>0.00021867483052700635</c:v>
                </c:pt>
                <c:pt idx="33">
                  <c:v>0.0005688531046252134</c:v>
                </c:pt>
                <c:pt idx="34">
                  <c:v>0.0005597984725498821</c:v>
                </c:pt>
                <c:pt idx="35">
                  <c:v>0.0006072055053299149</c:v>
                </c:pt>
                <c:pt idx="36">
                  <c:v>0.0003740959348241749</c:v>
                </c:pt>
                <c:pt idx="37">
                  <c:v>0.0002884615384615385</c:v>
                </c:pt>
                <c:pt idx="38">
                  <c:v>0.0002411149153686647</c:v>
                </c:pt>
                <c:pt idx="39">
                  <c:v>0.0003058103975535168</c:v>
                </c:pt>
                <c:pt idx="40">
                  <c:v>0.00017058296729071602</c:v>
                </c:pt>
                <c:pt idx="41">
                  <c:v>0.00018400956849756188</c:v>
                </c:pt>
                <c:pt idx="42">
                  <c:v>0.00011764244539429826</c:v>
                </c:pt>
                <c:pt idx="43">
                  <c:v>0.00024577788701239423</c:v>
                </c:pt>
                <c:pt idx="44">
                  <c:v>0.0002135585981064471</c:v>
                </c:pt>
                <c:pt idx="45">
                  <c:v>0.00015428697377121447</c:v>
                </c:pt>
                <c:pt idx="46">
                  <c:v>0.00031837670331536275</c:v>
                </c:pt>
                <c:pt idx="47">
                  <c:v>0.00038505144715168886</c:v>
                </c:pt>
                <c:pt idx="48">
                  <c:v>0.00019302845561149806</c:v>
                </c:pt>
                <c:pt idx="49">
                  <c:v>0.00019773483758280146</c:v>
                </c:pt>
                <c:pt idx="50">
                  <c:v>0.00029062525948683884</c:v>
                </c:pt>
                <c:pt idx="51">
                  <c:v>0.00037329218823880747</c:v>
                </c:pt>
                <c:pt idx="52">
                  <c:v>0.0001283175431467739</c:v>
                </c:pt>
                <c:pt idx="53">
                  <c:v>0.00015959569091634525</c:v>
                </c:pt>
                <c:pt idx="54">
                  <c:v>0.0003744239631336406</c:v>
                </c:pt>
                <c:pt idx="55">
                  <c:v>0.00023897003913134391</c:v>
                </c:pt>
                <c:pt idx="56">
                  <c:v>0.00024144383412808595</c:v>
                </c:pt>
                <c:pt idx="57">
                  <c:v>0.00015713799334782496</c:v>
                </c:pt>
                <c:pt idx="58">
                  <c:v>0.0001700308484539338</c:v>
                </c:pt>
                <c:pt idx="59">
                  <c:v>0.00020895618349567622</c:v>
                </c:pt>
                <c:pt idx="60">
                  <c:v>0.0003703377127237457</c:v>
                </c:pt>
                <c:pt idx="61">
                  <c:v>0.0003837206513658057</c:v>
                </c:pt>
                <c:pt idx="62">
                  <c:v>0.0004231013327691982</c:v>
                </c:pt>
                <c:pt idx="63">
                  <c:v>0.00036491649851886834</c:v>
                </c:pt>
                <c:pt idx="64">
                  <c:v>0.0005016617545619866</c:v>
                </c:pt>
                <c:pt idx="65">
                  <c:v>0.00036552212551115986</c:v>
                </c:pt>
                <c:pt idx="66">
                  <c:v>0.00040122728345527497</c:v>
                </c:pt>
                <c:pt idx="67">
                  <c:v>0.0002922552362396493</c:v>
                </c:pt>
                <c:pt idx="68">
                  <c:v>0.00046797309154723605</c:v>
                </c:pt>
                <c:pt idx="69">
                  <c:v>0.0004883546205860256</c:v>
                </c:pt>
                <c:pt idx="70">
                  <c:v>0.00038771985478129074</c:v>
                </c:pt>
                <c:pt idx="71">
                  <c:v>0.00041471874528728697</c:v>
                </c:pt>
                <c:pt idx="72">
                  <c:v>0.0005811841627315655</c:v>
                </c:pt>
                <c:pt idx="73">
                  <c:v>0.0009446438692612885</c:v>
                </c:pt>
                <c:pt idx="74">
                  <c:v>0.0010105020029593274</c:v>
                </c:pt>
                <c:pt idx="75">
                  <c:v>0.0010670081092616305</c:v>
                </c:pt>
                <c:pt idx="76">
                  <c:v>0.0015070557610631593</c:v>
                </c:pt>
                <c:pt idx="77">
                  <c:v>0.001357527489931671</c:v>
                </c:pt>
                <c:pt idx="78">
                  <c:v>0.0019386953104532354</c:v>
                </c:pt>
                <c:pt idx="79">
                  <c:v>0.0013696128560993425</c:v>
                </c:pt>
                <c:pt idx="80">
                  <c:v>0.0013775369639085315</c:v>
                </c:pt>
                <c:pt idx="81">
                  <c:v>0.0015751661608206231</c:v>
                </c:pt>
                <c:pt idx="82">
                  <c:v>0.0016255356878971479</c:v>
                </c:pt>
                <c:pt idx="83">
                  <c:v>0.0012959936890742096</c:v>
                </c:pt>
                <c:pt idx="84">
                  <c:v>0.0014231499051233396</c:v>
                </c:pt>
                <c:pt idx="85">
                  <c:v>0.001213208144319021</c:v>
                </c:pt>
                <c:pt idx="86">
                  <c:v>0.0011109347722583717</c:v>
                </c:pt>
                <c:pt idx="87">
                  <c:v>0.0010732492621411322</c:v>
                </c:pt>
                <c:pt idx="88">
                  <c:v>0.0015150080484802575</c:v>
                </c:pt>
                <c:pt idx="89">
                  <c:v>0.0017422495516269537</c:v>
                </c:pt>
                <c:pt idx="90">
                  <c:v>0.0015322026734294922</c:v>
                </c:pt>
                <c:pt idx="91">
                  <c:v>0.0017557941205979732</c:v>
                </c:pt>
                <c:pt idx="92">
                  <c:v>0.0014452657224263946</c:v>
                </c:pt>
                <c:pt idx="93">
                  <c:v>0.0013598368195816503</c:v>
                </c:pt>
                <c:pt idx="94">
                  <c:v>0.0015503169030139984</c:v>
                </c:pt>
                <c:pt idx="95">
                  <c:v>0.0016272041975226646</c:v>
                </c:pt>
                <c:pt idx="96">
                  <c:v>0.0020251211456399623</c:v>
                </c:pt>
                <c:pt idx="97">
                  <c:v>0.0024804345036992686</c:v>
                </c:pt>
                <c:pt idx="98">
                  <c:v>0.002372989031932585</c:v>
                </c:pt>
                <c:pt idx="99">
                  <c:v>0.002219103873641615</c:v>
                </c:pt>
                <c:pt idx="100">
                  <c:v>0.001695866763350565</c:v>
                </c:pt>
                <c:pt idx="101">
                  <c:v>0.002240143369175627</c:v>
                </c:pt>
                <c:pt idx="102">
                  <c:v>0.0018302227573750753</c:v>
                </c:pt>
                <c:pt idx="103">
                  <c:v>0.001802624073017684</c:v>
                </c:pt>
                <c:pt idx="104">
                  <c:v>0.00137791181364392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109:$B$160</c:f>
              <c:numCache>
                <c:formatCode>General</c:formatCode>
                <c:ptCount val="52"/>
                <c:pt idx="0">
                  <c:v>0.0013676019806649375</c:v>
                </c:pt>
                <c:pt idx="1">
                  <c:v>0.0016099818877037633</c:v>
                </c:pt>
                <c:pt idx="2">
                  <c:v>0.0015756302521008404</c:v>
                </c:pt>
                <c:pt idx="3">
                  <c:v>0.001680595930232558</c:v>
                </c:pt>
                <c:pt idx="4">
                  <c:v>0.0015973690392295044</c:v>
                </c:pt>
                <c:pt idx="5">
                  <c:v>0.0014011589246698964</c:v>
                </c:pt>
                <c:pt idx="6">
                  <c:v>0.001628477717378839</c:v>
                </c:pt>
                <c:pt idx="7">
                  <c:v>0.0018831810323536675</c:v>
                </c:pt>
                <c:pt idx="8">
                  <c:v>0.0022389859116117255</c:v>
                </c:pt>
                <c:pt idx="9">
                  <c:v>0.0022979821827682815</c:v>
                </c:pt>
                <c:pt idx="10">
                  <c:v>0.0021916473882868624</c:v>
                </c:pt>
                <c:pt idx="11">
                  <c:v>0.0022494376405898524</c:v>
                </c:pt>
                <c:pt idx="12">
                  <c:v>0.0022865457568986124</c:v>
                </c:pt>
                <c:pt idx="13">
                  <c:v>0.00334941050375134</c:v>
                </c:pt>
                <c:pt idx="14">
                  <c:v>0.003291102373671181</c:v>
                </c:pt>
                <c:pt idx="15">
                  <c:v>0.0032060260839792075</c:v>
                </c:pt>
                <c:pt idx="16">
                  <c:v>0.002947193231857425</c:v>
                </c:pt>
                <c:pt idx="17">
                  <c:v>0.003891193421680555</c:v>
                </c:pt>
                <c:pt idx="18">
                  <c:v>0.0021183635641466966</c:v>
                </c:pt>
                <c:pt idx="19">
                  <c:v>0.0018699186991869919</c:v>
                </c:pt>
                <c:pt idx="20">
                  <c:v>0.002169101372288623</c:v>
                </c:pt>
                <c:pt idx="21">
                  <c:v>0.002878464818763326</c:v>
                </c:pt>
                <c:pt idx="22">
                  <c:v>0.0024758994890164885</c:v>
                </c:pt>
                <c:pt idx="23">
                  <c:v>0.0025180643748631487</c:v>
                </c:pt>
                <c:pt idx="24">
                  <c:v>0.00233172703248873</c:v>
                </c:pt>
                <c:pt idx="25">
                  <c:v>0.0026630434782608696</c:v>
                </c:pt>
                <c:pt idx="26">
                  <c:v>0.0026856729676686293</c:v>
                </c:pt>
                <c:pt idx="27">
                  <c:v>0.0025617566331198535</c:v>
                </c:pt>
                <c:pt idx="28">
                  <c:v>0.002144388849177984</c:v>
                </c:pt>
                <c:pt idx="29">
                  <c:v>0.002535421327367636</c:v>
                </c:pt>
                <c:pt idx="30">
                  <c:v>0.002432460407825277</c:v>
                </c:pt>
                <c:pt idx="31">
                  <c:v>0.002529898804047838</c:v>
                </c:pt>
                <c:pt idx="32">
                  <c:v>0.0021514189119967216</c:v>
                </c:pt>
                <c:pt idx="33">
                  <c:v>0.0021745618897369206</c:v>
                </c:pt>
                <c:pt idx="34">
                  <c:v>0.002030250735965892</c:v>
                </c:pt>
                <c:pt idx="35">
                  <c:v>0.0024136430182408104</c:v>
                </c:pt>
                <c:pt idx="36">
                  <c:v>0.002752767104433102</c:v>
                </c:pt>
                <c:pt idx="37">
                  <c:v>0.0028208744710860366</c:v>
                </c:pt>
                <c:pt idx="38">
                  <c:v>0.0031652854511970536</c:v>
                </c:pt>
                <c:pt idx="39">
                  <c:v>0.0031259768677711786</c:v>
                </c:pt>
                <c:pt idx="40">
                  <c:v>0.0029267866503582037</c:v>
                </c:pt>
                <c:pt idx="41">
                  <c:v>0.0023961001404610425</c:v>
                </c:pt>
                <c:pt idx="42">
                  <c:v>0.0027413533147530498</c:v>
                </c:pt>
                <c:pt idx="43">
                  <c:v>0.0020007589085515197</c:v>
                </c:pt>
                <c:pt idx="44">
                  <c:v>0.0015271134674119749</c:v>
                </c:pt>
                <c:pt idx="45">
                  <c:v>0.0012748093280875662</c:v>
                </c:pt>
                <c:pt idx="46">
                  <c:v>0.0013688893568852502</c:v>
                </c:pt>
                <c:pt idx="47">
                  <c:v>0.0014565743346664692</c:v>
                </c:pt>
                <c:pt idx="48">
                  <c:v>0.0015998337835030126</c:v>
                </c:pt>
                <c:pt idx="49">
                  <c:v>0.001481903676261043</c:v>
                </c:pt>
                <c:pt idx="50">
                  <c:v>0.0012530527177179098</c:v>
                </c:pt>
                <c:pt idx="51">
                  <c:v>0.001362515679743933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58.3130213900017</c:v>
                </c:pt>
              </c:numCache>
            </c:numRef>
          </c:xVal>
          <c:yVal>
            <c:numRef>
              <c:f>Sheet1!$B$163:$B$164</c:f>
              <c:numCache>
                <c:formatCode>General</c:formatCode>
                <c:ptCount val="2"/>
                <c:pt idx="0">
                  <c:v>0.0026727990029129967</c:v>
                </c:pt>
                <c:pt idx="1">
                  <c:v>0.002672799002912996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58.3130213900017</c:v>
                </c:pt>
                <c:pt idx="1">
                  <c:v>3558.3130213900017</c:v>
                </c:pt>
              </c:numCache>
            </c:numRef>
          </c:xVal>
          <c:yVal>
            <c:numRef>
              <c:f>Sheet1!$B$167:$B$168</c:f>
              <c:numCache>
                <c:formatCode>General</c:formatCode>
                <c:ptCount val="2"/>
                <c:pt idx="0">
                  <c:v>0.002672799002912996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58.3130213900017</c:v>
                </c:pt>
              </c:numCache>
            </c:numRef>
          </c:xVal>
          <c:yVal>
            <c:numRef>
              <c:f>Sheet1!$B$171:$B$172</c:f>
              <c:numCache>
                <c:formatCode>General</c:formatCode>
                <c:ptCount val="2"/>
                <c:pt idx="0">
                  <c:v>0.0026727990029129967</c:v>
                </c:pt>
                <c:pt idx="1">
                  <c:v>0.002672799002912996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58.3130213900017</c:v>
                </c:pt>
                <c:pt idx="1">
                  <c:v>3558.3130213900017</c:v>
                </c:pt>
              </c:numCache>
            </c:numRef>
          </c:xVal>
          <c:yVal>
            <c:numRef>
              <c:f>Sheet1!$B$175:$B$176</c:f>
              <c:numCache>
                <c:formatCode>General</c:formatCode>
                <c:ptCount val="2"/>
                <c:pt idx="0">
                  <c:v>0.002672799002912996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47.124876832874</c:v>
                </c:pt>
              </c:numCache>
            </c:numRef>
          </c:xVal>
          <c:yVal>
            <c:numRef>
              <c:f>Sheet1!$B$179:$B$180</c:f>
              <c:numCache>
                <c:formatCode>General</c:formatCode>
                <c:ptCount val="2"/>
                <c:pt idx="0">
                  <c:v>0.0018858206327824734</c:v>
                </c:pt>
                <c:pt idx="1">
                  <c:v>0.001885820632782473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47.124876832874</c:v>
                </c:pt>
                <c:pt idx="1">
                  <c:v>4247.124876832874</c:v>
                </c:pt>
              </c:numCache>
            </c:numRef>
          </c:xVal>
          <c:yVal>
            <c:numRef>
              <c:f>Sheet1!$B$183:$B$184</c:f>
              <c:numCache>
                <c:formatCode>General</c:formatCode>
                <c:ptCount val="2"/>
                <c:pt idx="0">
                  <c:v>0.001885820632782473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558.3130213900017</c:v>
                </c:pt>
                <c:pt idx="53">
                  <c:v>3558.3130213900017</c:v>
                </c:pt>
                <c:pt idx="54">
                  <c:v>4247.124876832874</c:v>
                </c:pt>
              </c:numCache>
            </c:numRef>
          </c:xVal>
          <c:yVal>
            <c:numRef>
              <c:f>Sheet1!$B$187:$B$241</c:f>
              <c:numCache>
                <c:formatCode>General</c:formatCode>
                <c:ptCount val="55"/>
                <c:pt idx="0">
                  <c:v>0.0017045791109948812</c:v>
                </c:pt>
                <c:pt idx="1">
                  <c:v>0.0022731511429918538</c:v>
                </c:pt>
                <c:pt idx="2">
                  <c:v>0.001829301153609901</c:v>
                </c:pt>
                <c:pt idx="3">
                  <c:v>0.002518206825357183</c:v>
                </c:pt>
                <c:pt idx="4">
                  <c:v>0.0015662101751599171</c:v>
                </c:pt>
                <c:pt idx="5">
                  <c:v>0.0012248145970904087</c:v>
                </c:pt>
                <c:pt idx="6">
                  <c:v>0.0016985264054868434</c:v>
                </c:pt>
                <c:pt idx="7">
                  <c:v>0.0018435029667130502</c:v>
                </c:pt>
                <c:pt idx="8">
                  <c:v>0.001974288568735408</c:v>
                </c:pt>
                <c:pt idx="9">
                  <c:v>0.002056057276005491</c:v>
                </c:pt>
                <c:pt idx="10">
                  <c:v>0.00193893159188224</c:v>
                </c:pt>
                <c:pt idx="11">
                  <c:v>0.0020696890880179866</c:v>
                </c:pt>
                <c:pt idx="12">
                  <c:v>0.002343527826058861</c:v>
                </c:pt>
                <c:pt idx="13">
                  <c:v>0.0028385380696760855</c:v>
                </c:pt>
                <c:pt idx="14">
                  <c:v>0.002790411080414913</c:v>
                </c:pt>
                <c:pt idx="15">
                  <c:v>0.002576885861267114</c:v>
                </c:pt>
                <c:pt idx="16">
                  <c:v>0.002311059814444876</c:v>
                </c:pt>
                <c:pt idx="17">
                  <c:v>0.0034143583356261963</c:v>
                </c:pt>
                <c:pt idx="18">
                  <c:v>0.0020640767080668506</c:v>
                </c:pt>
                <c:pt idx="19">
                  <c:v>0.0017060418738659268</c:v>
                </c:pt>
                <c:pt idx="20">
                  <c:v>0.0018741418106659052</c:v>
                </c:pt>
                <c:pt idx="21">
                  <c:v>0.0025404767416911883</c:v>
                </c:pt>
                <c:pt idx="22">
                  <c:v>0.0023059471708678676</c:v>
                </c:pt>
                <c:pt idx="23">
                  <c:v>0.0031454129923964525</c:v>
                </c:pt>
                <c:pt idx="24">
                  <c:v>0.002102736583603067</c:v>
                </c:pt>
                <c:pt idx="25">
                  <c:v>0.0026149349479016194</c:v>
                </c:pt>
                <c:pt idx="26">
                  <c:v>0.0023753994444691536</c:v>
                </c:pt>
                <c:pt idx="27">
                  <c:v>0.002498004862468926</c:v>
                </c:pt>
                <c:pt idx="28">
                  <c:v>0.002381165492784075</c:v>
                </c:pt>
                <c:pt idx="29">
                  <c:v>0.002644190548077253</c:v>
                </c:pt>
                <c:pt idx="30">
                  <c:v>0.002661998826289161</c:v>
                </c:pt>
                <c:pt idx="31">
                  <c:v>0.0023033450913249433</c:v>
                </c:pt>
                <c:pt idx="32">
                  <c:v>0.001644266848869094</c:v>
                </c:pt>
                <c:pt idx="33">
                  <c:v>0.001969098119838148</c:v>
                </c:pt>
                <c:pt idx="34">
                  <c:v>0.0018175646609184856</c:v>
                </c:pt>
                <c:pt idx="35">
                  <c:v>0.002150259067798965</c:v>
                </c:pt>
                <c:pt idx="36">
                  <c:v>0.001968867103160396</c:v>
                </c:pt>
                <c:pt idx="37">
                  <c:v>0.0020071969059062937</c:v>
                </c:pt>
                <c:pt idx="38">
                  <c:v>0.002620850208769035</c:v>
                </c:pt>
                <c:pt idx="39">
                  <c:v>0.002984639094869865</c:v>
                </c:pt>
                <c:pt idx="40">
                  <c:v>0.0030574853256567546</c:v>
                </c:pt>
                <c:pt idx="41">
                  <c:v>0.002703157497947587</c:v>
                </c:pt>
                <c:pt idx="42">
                  <c:v>0.00296004233102889</c:v>
                </c:pt>
                <c:pt idx="43">
                  <c:v>0.0025472829363138516</c:v>
                </c:pt>
                <c:pt idx="44">
                  <c:v>0.0020215561576750916</c:v>
                </c:pt>
                <c:pt idx="45">
                  <c:v>0.0018283647477291614</c:v>
                </c:pt>
                <c:pt idx="46">
                  <c:v>0.0017415888510826467</c:v>
                </c:pt>
                <c:pt idx="47">
                  <c:v>0.0018353634562499515</c:v>
                </c:pt>
                <c:pt idx="48">
                  <c:v>0.0022166548833571185</c:v>
                </c:pt>
                <c:pt idx="49">
                  <c:v>0.0023147875004710895</c:v>
                </c:pt>
                <c:pt idx="50">
                  <c:v>0.00215410477569863</c:v>
                </c:pt>
                <c:pt idx="51">
                  <c:v>0.001899129429133283</c:v>
                </c:pt>
                <c:pt idx="52">
                  <c:v>0.002672799002912997</c:v>
                </c:pt>
                <c:pt idx="53">
                  <c:v>0.002672799002912997</c:v>
                </c:pt>
                <c:pt idx="54">
                  <c:v>0.001885820632782473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64.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69432106016665"/>
          <c:min val="4.126050853576771e-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749104841367857</c:v>
                </c:pt>
                <c:pt idx="1">
                  <c:v>0.6957575235362742</c:v>
                </c:pt>
                <c:pt idx="2">
                  <c:v>0.5806748435802742</c:v>
                </c:pt>
                <c:pt idx="3">
                  <c:v>0.5556109094644375</c:v>
                </c:pt>
                <c:pt idx="4">
                  <c:v>0.7026871936025456</c:v>
                </c:pt>
                <c:pt idx="5">
                  <c:v>0.6734247163549818</c:v>
                </c:pt>
                <c:pt idx="6">
                  <c:v>0.5858633000374069</c:v>
                </c:pt>
                <c:pt idx="7">
                  <c:v>0.5628067023576135</c:v>
                </c:pt>
                <c:pt idx="8">
                  <c:v>0.5272544137717528</c:v>
                </c:pt>
                <c:pt idx="9">
                  <c:v>0.5965846439037271</c:v>
                </c:pt>
                <c:pt idx="10">
                  <c:v>0.6617079206082517</c:v>
                </c:pt>
                <c:pt idx="11">
                  <c:v>0.5979862592513568</c:v>
                </c:pt>
                <c:pt idx="12">
                  <c:v>0.6349979705901423</c:v>
                </c:pt>
                <c:pt idx="13">
                  <c:v>0.6070302886551275</c:v>
                </c:pt>
                <c:pt idx="14">
                  <c:v>0.7896356631842355</c:v>
                </c:pt>
                <c:pt idx="15">
                  <c:v>0.6106191955878953</c:v>
                </c:pt>
                <c:pt idx="16">
                  <c:v>0.779057904402777</c:v>
                </c:pt>
                <c:pt idx="17">
                  <c:v>0.5545520042830319</c:v>
                </c:pt>
                <c:pt idx="18">
                  <c:v>0.6923989971551521</c:v>
                </c:pt>
                <c:pt idx="19">
                  <c:v>0.6056254525292862</c:v>
                </c:pt>
                <c:pt idx="20">
                  <c:v>0.5025582479817726</c:v>
                </c:pt>
                <c:pt idx="21">
                  <c:v>1.04173592518265</c:v>
                </c:pt>
                <c:pt idx="22">
                  <c:v>0.4504958199595201</c:v>
                </c:pt>
                <c:pt idx="23">
                  <c:v>0.5672442259131142</c:v>
                </c:pt>
                <c:pt idx="24">
                  <c:v>0.41505690600212786</c:v>
                </c:pt>
                <c:pt idx="25">
                  <c:v>0.3946222394051386</c:v>
                </c:pt>
                <c:pt idx="26">
                  <c:v>0.48095466105598955</c:v>
                </c:pt>
                <c:pt idx="27">
                  <c:v>0.44948022554693157</c:v>
                </c:pt>
                <c:pt idx="28">
                  <c:v>0.4691137003152086</c:v>
                </c:pt>
                <c:pt idx="29">
                  <c:v>0.45446164032292075</c:v>
                </c:pt>
                <c:pt idx="30">
                  <c:v>0.4353946799821011</c:v>
                </c:pt>
                <c:pt idx="31">
                  <c:v>0.43832270923200745</c:v>
                </c:pt>
                <c:pt idx="32">
                  <c:v>0.573108699259178</c:v>
                </c:pt>
                <c:pt idx="33">
                  <c:v>0.3685069071381823</c:v>
                </c:pt>
                <c:pt idx="34">
                  <c:v>0.4474293992288008</c:v>
                </c:pt>
                <c:pt idx="35">
                  <c:v>0.4390831912380779</c:v>
                </c:pt>
                <c:pt idx="36">
                  <c:v>0.39880092297407294</c:v>
                </c:pt>
                <c:pt idx="37">
                  <c:v>0.3909201026215256</c:v>
                </c:pt>
                <c:pt idx="38">
                  <c:v>0.4068274946604388</c:v>
                </c:pt>
                <c:pt idx="39">
                  <c:v>0.49031784279019075</c:v>
                </c:pt>
                <c:pt idx="40">
                  <c:v>0.5895497794847191</c:v>
                </c:pt>
                <c:pt idx="41">
                  <c:v>0.5374652805752697</c:v>
                </c:pt>
                <c:pt idx="42">
                  <c:v>0.47663478052076347</c:v>
                </c:pt>
                <c:pt idx="43">
                  <c:v>0.4440459611043944</c:v>
                </c:pt>
                <c:pt idx="44">
                  <c:v>0.4983389239983022</c:v>
                </c:pt>
                <c:pt idx="45">
                  <c:v>0.5096998712619772</c:v>
                </c:pt>
                <c:pt idx="46">
                  <c:v>0.5099930051585466</c:v>
                </c:pt>
                <c:pt idx="47">
                  <c:v>0.4316831731047988</c:v>
                </c:pt>
                <c:pt idx="48">
                  <c:v>0.6765224063612504</c:v>
                </c:pt>
                <c:pt idx="49">
                  <c:v>0.615212637475889</c:v>
                </c:pt>
                <c:pt idx="50">
                  <c:v>0.5346880896105064</c:v>
                </c:pt>
                <c:pt idx="51">
                  <c:v>0.4543160089424806</c:v>
                </c:pt>
                <c:pt idx="52">
                  <c:v>0.565997620070585</c:v>
                </c:pt>
                <c:pt idx="53">
                  <c:v>0.5489458437144515</c:v>
                </c:pt>
                <c:pt idx="54">
                  <c:v>0.48695990979009074</c:v>
                </c:pt>
                <c:pt idx="55">
                  <c:v>0.4831894947780877</c:v>
                </c:pt>
                <c:pt idx="56">
                  <c:v>0.4071989038404429</c:v>
                </c:pt>
                <c:pt idx="57">
                  <c:v>0.4293734323597284</c:v>
                </c:pt>
                <c:pt idx="58">
                  <c:v>0.4073158813045478</c:v>
                </c:pt>
                <c:pt idx="59">
                  <c:v>0.5056967122324519</c:v>
                </c:pt>
                <c:pt idx="60">
                  <c:v>0.47971464220787724</c:v>
                </c:pt>
                <c:pt idx="61">
                  <c:v>0.46902708209802374</c:v>
                </c:pt>
                <c:pt idx="62">
                  <c:v>0.43664930127533</c:v>
                </c:pt>
                <c:pt idx="63">
                  <c:v>0.48690288041922986</c:v>
                </c:pt>
                <c:pt idx="64">
                  <c:v>0.44177942174313756</c:v>
                </c:pt>
                <c:pt idx="65">
                  <c:v>0.44101607535170845</c:v>
                </c:pt>
                <c:pt idx="66">
                  <c:v>0.4019808797834312</c:v>
                </c:pt>
                <c:pt idx="67">
                  <c:v>0.43072318091983836</c:v>
                </c:pt>
                <c:pt idx="68">
                  <c:v>0.3285810410574092</c:v>
                </c:pt>
                <c:pt idx="69">
                  <c:v>0.2858948245973769</c:v>
                </c:pt>
                <c:pt idx="70">
                  <c:v>0.3234269738810043</c:v>
                </c:pt>
                <c:pt idx="71">
                  <c:v>0.2622308074810356</c:v>
                </c:pt>
                <c:pt idx="72">
                  <c:v>0.3303595341645634</c:v>
                </c:pt>
                <c:pt idx="73">
                  <c:v>0.24538476384186067</c:v>
                </c:pt>
                <c:pt idx="74">
                  <c:v>0.29575029808297787</c:v>
                </c:pt>
                <c:pt idx="75">
                  <c:v>0.43507788871253217</c:v>
                </c:pt>
                <c:pt idx="76">
                  <c:v>0.42045348771793073</c:v>
                </c:pt>
                <c:pt idx="77">
                  <c:v>0.4920914479055389</c:v>
                </c:pt>
                <c:pt idx="78">
                  <c:v>0.4132823650262374</c:v>
                </c:pt>
                <c:pt idx="79">
                  <c:v>0.5614815525513241</c:v>
                </c:pt>
                <c:pt idx="80">
                  <c:v>0.4610311623815078</c:v>
                </c:pt>
                <c:pt idx="81">
                  <c:v>0.4838575580176655</c:v>
                </c:pt>
                <c:pt idx="82">
                  <c:v>0.4602534070737501</c:v>
                </c:pt>
                <c:pt idx="83">
                  <c:v>0.5058388657265679</c:v>
                </c:pt>
                <c:pt idx="84">
                  <c:v>0.4434823630902043</c:v>
                </c:pt>
                <c:pt idx="85">
                  <c:v>0.42271199035895624</c:v>
                </c:pt>
                <c:pt idx="86">
                  <c:v>0.5927771477649403</c:v>
                </c:pt>
                <c:pt idx="87">
                  <c:v>0.6398344199447181</c:v>
                </c:pt>
                <c:pt idx="88">
                  <c:v>0.5156192340164973</c:v>
                </c:pt>
                <c:pt idx="89">
                  <c:v>0.5005087601060144</c:v>
                </c:pt>
                <c:pt idx="90">
                  <c:v>0.5742802006025928</c:v>
                </c:pt>
                <c:pt idx="91">
                  <c:v>0.48006340660118896</c:v>
                </c:pt>
                <c:pt idx="92">
                  <c:v>0.5857047877062082</c:v>
                </c:pt>
                <c:pt idx="93">
                  <c:v>0.6172877173916985</c:v>
                </c:pt>
                <c:pt idx="94">
                  <c:v>0.5773763695811771</c:v>
                </c:pt>
                <c:pt idx="95">
                  <c:v>0.6031860398382505</c:v>
                </c:pt>
                <c:pt idx="96">
                  <c:v>0.5321799301049969</c:v>
                </c:pt>
                <c:pt idx="97">
                  <c:v>0.561040311575451</c:v>
                </c:pt>
                <c:pt idx="98">
                  <c:v>0.5647489338935017</c:v>
                </c:pt>
                <c:pt idx="99">
                  <c:v>0.6297366681540666</c:v>
                </c:pt>
                <c:pt idx="100">
                  <c:v>0.7651430827561845</c:v>
                </c:pt>
                <c:pt idx="101">
                  <c:v>0.6673163623687458</c:v>
                </c:pt>
                <c:pt idx="102">
                  <c:v>0.6573813528858321</c:v>
                </c:pt>
                <c:pt idx="103">
                  <c:v>0.6634495804473918</c:v>
                </c:pt>
                <c:pt idx="104">
                  <c:v>0.73976559647432</c:v>
                </c:pt>
              </c:numCache>
            </c:numRef>
          </c:xVal>
          <c:yVal>
            <c:numRef>
              <c:f>Sheet1!$B$2:$B$106</c:f>
              <c:numCache>
                <c:formatCode>General</c:formatCode>
                <c:ptCount val="105"/>
                <c:pt idx="0">
                  <c:v>0.0004068348250610252</c:v>
                </c:pt>
                <c:pt idx="1">
                  <c:v>0.00013251000450534016</c:v>
                </c:pt>
                <c:pt idx="2">
                  <c:v>0.00015396063739703882</c:v>
                </c:pt>
                <c:pt idx="3">
                  <c:v>0.00013456776832813006</c:v>
                </c:pt>
                <c:pt idx="4">
                  <c:v>9.577015163607342e-05</c:v>
                </c:pt>
                <c:pt idx="5">
                  <c:v>0.0001952044766893321</c:v>
                </c:pt>
                <c:pt idx="6">
                  <c:v>0.00035394813051032887</c:v>
                </c:pt>
                <c:pt idx="7">
                  <c:v>0.0002935995302407516</c:v>
                </c:pt>
                <c:pt idx="8">
                  <c:v>0.0002665448176071891</c:v>
                </c:pt>
                <c:pt idx="9">
                  <c:v>0.0002675704602211916</c:v>
                </c:pt>
                <c:pt idx="10">
                  <c:v>0.00017219113215669393</c:v>
                </c:pt>
                <c:pt idx="11">
                  <c:v>0.00028758771425284714</c:v>
                </c:pt>
                <c:pt idx="12">
                  <c:v>0.00029195530429705125</c:v>
                </c:pt>
                <c:pt idx="13">
                  <c:v>0.00028119112560807583</c:v>
                </c:pt>
                <c:pt idx="14">
                  <c:v>8.361437052314724e-05</c:v>
                </c:pt>
                <c:pt idx="15">
                  <c:v>0.00019857686579513486</c:v>
                </c:pt>
                <c:pt idx="16">
                  <c:v>7.464079119238663e-05</c:v>
                </c:pt>
                <c:pt idx="17">
                  <c:v>0.00016345210853220007</c:v>
                </c:pt>
                <c:pt idx="18">
                  <c:v>9.092148929399464e-05</c:v>
                </c:pt>
                <c:pt idx="19">
                  <c:v>0.00015876375952582556</c:v>
                </c:pt>
                <c:pt idx="20">
                  <c:v>0.00021842645581232798</c:v>
                </c:pt>
                <c:pt idx="21">
                  <c:v>5.157563566970963e-05</c:v>
                </c:pt>
                <c:pt idx="22">
                  <c:v>0.0003682272488164124</c:v>
                </c:pt>
                <c:pt idx="23">
                  <c:v>0.0002789089083505327</c:v>
                </c:pt>
                <c:pt idx="24">
                  <c:v>0.0004662970830526916</c:v>
                </c:pt>
                <c:pt idx="25">
                  <c:v>0.000583158385817588</c:v>
                </c:pt>
                <c:pt idx="26">
                  <c:v>0.0005226025607525476</c:v>
                </c:pt>
                <c:pt idx="27">
                  <c:v>0.0002508277315139962</c:v>
                </c:pt>
                <c:pt idx="28">
                  <c:v>0.0002559770644550248</c:v>
                </c:pt>
                <c:pt idx="29">
                  <c:v>0.00040578926011091576</c:v>
                </c:pt>
                <c:pt idx="30">
                  <c:v>0.00029064698017787597</c:v>
                </c:pt>
                <c:pt idx="31">
                  <c:v>0.00033163829316825116</c:v>
                </c:pt>
                <c:pt idx="32">
                  <c:v>0.00021867483052700635</c:v>
                </c:pt>
                <c:pt idx="33">
                  <c:v>0.0005688531046252134</c:v>
                </c:pt>
                <c:pt idx="34">
                  <c:v>0.0005597984725498821</c:v>
                </c:pt>
                <c:pt idx="35">
                  <c:v>0.0006072055053299149</c:v>
                </c:pt>
                <c:pt idx="36">
                  <c:v>0.0003740959348241749</c:v>
                </c:pt>
                <c:pt idx="37">
                  <c:v>0.0002884615384615385</c:v>
                </c:pt>
                <c:pt idx="38">
                  <c:v>0.0002411149153686647</c:v>
                </c:pt>
                <c:pt idx="39">
                  <c:v>0.0003058103975535168</c:v>
                </c:pt>
                <c:pt idx="40">
                  <c:v>0.00017058296729071602</c:v>
                </c:pt>
                <c:pt idx="41">
                  <c:v>0.00018400956849756188</c:v>
                </c:pt>
                <c:pt idx="42">
                  <c:v>0.00011764244539429826</c:v>
                </c:pt>
                <c:pt idx="43">
                  <c:v>0.00024577788701239423</c:v>
                </c:pt>
                <c:pt idx="44">
                  <c:v>0.0002135585981064471</c:v>
                </c:pt>
                <c:pt idx="45">
                  <c:v>0.00015428697377121447</c:v>
                </c:pt>
                <c:pt idx="46">
                  <c:v>0.00031837670331536275</c:v>
                </c:pt>
                <c:pt idx="47">
                  <c:v>0.00038505144715168886</c:v>
                </c:pt>
                <c:pt idx="48">
                  <c:v>0.00019302845561149806</c:v>
                </c:pt>
                <c:pt idx="49">
                  <c:v>0.00019773483758280146</c:v>
                </c:pt>
                <c:pt idx="50">
                  <c:v>0.00029062525948683884</c:v>
                </c:pt>
                <c:pt idx="51">
                  <c:v>0.00037329218823880747</c:v>
                </c:pt>
                <c:pt idx="52">
                  <c:v>0.0001283175431467739</c:v>
                </c:pt>
                <c:pt idx="53">
                  <c:v>0.00015959569091634525</c:v>
                </c:pt>
                <c:pt idx="54">
                  <c:v>0.0003744239631336406</c:v>
                </c:pt>
                <c:pt idx="55">
                  <c:v>0.00023897003913134391</c:v>
                </c:pt>
                <c:pt idx="56">
                  <c:v>0.00024144383412808595</c:v>
                </c:pt>
                <c:pt idx="57">
                  <c:v>0.00015713799334782496</c:v>
                </c:pt>
                <c:pt idx="58">
                  <c:v>0.0001700308484539338</c:v>
                </c:pt>
                <c:pt idx="59">
                  <c:v>0.00020895618349567622</c:v>
                </c:pt>
                <c:pt idx="60">
                  <c:v>0.0003703377127237457</c:v>
                </c:pt>
                <c:pt idx="61">
                  <c:v>0.0003837206513658057</c:v>
                </c:pt>
                <c:pt idx="62">
                  <c:v>0.0004231013327691982</c:v>
                </c:pt>
                <c:pt idx="63">
                  <c:v>0.00036491649851886834</c:v>
                </c:pt>
                <c:pt idx="64">
                  <c:v>0.0005016617545619866</c:v>
                </c:pt>
                <c:pt idx="65">
                  <c:v>0.00036552212551115986</c:v>
                </c:pt>
                <c:pt idx="66">
                  <c:v>0.00040122728345527497</c:v>
                </c:pt>
                <c:pt idx="67">
                  <c:v>0.0002922552362396493</c:v>
                </c:pt>
                <c:pt idx="68">
                  <c:v>0.00046797309154723605</c:v>
                </c:pt>
                <c:pt idx="69">
                  <c:v>0.0004883546205860256</c:v>
                </c:pt>
                <c:pt idx="70">
                  <c:v>0.00038771985478129074</c:v>
                </c:pt>
                <c:pt idx="71">
                  <c:v>0.00041471874528728697</c:v>
                </c:pt>
                <c:pt idx="72">
                  <c:v>0.0005811841627315655</c:v>
                </c:pt>
                <c:pt idx="73">
                  <c:v>0.0009446438692612885</c:v>
                </c:pt>
                <c:pt idx="74">
                  <c:v>0.0010105020029593274</c:v>
                </c:pt>
                <c:pt idx="75">
                  <c:v>0.0010670081092616305</c:v>
                </c:pt>
                <c:pt idx="76">
                  <c:v>0.0015070557610631593</c:v>
                </c:pt>
                <c:pt idx="77">
                  <c:v>0.001357527489931671</c:v>
                </c:pt>
                <c:pt idx="78">
                  <c:v>0.0019386953104532354</c:v>
                </c:pt>
                <c:pt idx="79">
                  <c:v>0.0013696128560993425</c:v>
                </c:pt>
                <c:pt idx="80">
                  <c:v>0.0013775369639085315</c:v>
                </c:pt>
                <c:pt idx="81">
                  <c:v>0.0015751661608206231</c:v>
                </c:pt>
                <c:pt idx="82">
                  <c:v>0.0016255356878971479</c:v>
                </c:pt>
                <c:pt idx="83">
                  <c:v>0.0012959936890742096</c:v>
                </c:pt>
                <c:pt idx="84">
                  <c:v>0.0014231499051233396</c:v>
                </c:pt>
                <c:pt idx="85">
                  <c:v>0.001213208144319021</c:v>
                </c:pt>
                <c:pt idx="86">
                  <c:v>0.0011109347722583717</c:v>
                </c:pt>
                <c:pt idx="87">
                  <c:v>0.0010732492621411322</c:v>
                </c:pt>
                <c:pt idx="88">
                  <c:v>0.0015150080484802575</c:v>
                </c:pt>
                <c:pt idx="89">
                  <c:v>0.0017422495516269537</c:v>
                </c:pt>
                <c:pt idx="90">
                  <c:v>0.0015322026734294922</c:v>
                </c:pt>
                <c:pt idx="91">
                  <c:v>0.0017557941205979732</c:v>
                </c:pt>
                <c:pt idx="92">
                  <c:v>0.0014452657224263946</c:v>
                </c:pt>
                <c:pt idx="93">
                  <c:v>0.0013598368195816503</c:v>
                </c:pt>
                <c:pt idx="94">
                  <c:v>0.0015503169030139984</c:v>
                </c:pt>
                <c:pt idx="95">
                  <c:v>0.0016272041975226646</c:v>
                </c:pt>
                <c:pt idx="96">
                  <c:v>0.0020251211456399623</c:v>
                </c:pt>
                <c:pt idx="97">
                  <c:v>0.0024804345036992686</c:v>
                </c:pt>
                <c:pt idx="98">
                  <c:v>0.002372989031932585</c:v>
                </c:pt>
                <c:pt idx="99">
                  <c:v>0.002219103873641615</c:v>
                </c:pt>
                <c:pt idx="100">
                  <c:v>0.001695866763350565</c:v>
                </c:pt>
                <c:pt idx="101">
                  <c:v>0.002240143369175627</c:v>
                </c:pt>
                <c:pt idx="102">
                  <c:v>0.0018302227573750753</c:v>
                </c:pt>
                <c:pt idx="103">
                  <c:v>0.001802624073017684</c:v>
                </c:pt>
                <c:pt idx="104">
                  <c:v>0.00137791181364392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570901701869049</c:v>
                </c:pt>
                <c:pt idx="1">
                  <c:v>0.6878278211701246</c:v>
                </c:pt>
                <c:pt idx="2">
                  <c:v>0.7321423964525585</c:v>
                </c:pt>
                <c:pt idx="3">
                  <c:v>0.6311194615900372</c:v>
                </c:pt>
                <c:pt idx="4">
                  <c:v>0.7537313749686164</c:v>
                </c:pt>
                <c:pt idx="5">
                  <c:v>0.803258136519184</c:v>
                </c:pt>
                <c:pt idx="6">
                  <c:v>0.733405950292105</c:v>
                </c:pt>
                <c:pt idx="7">
                  <c:v>0.6751452196149667</c:v>
                </c:pt>
                <c:pt idx="8">
                  <c:v>0.6706781379642341</c:v>
                </c:pt>
                <c:pt idx="9">
                  <c:v>0.6826295170583118</c:v>
                </c:pt>
                <c:pt idx="10">
                  <c:v>0.7070705865231366</c:v>
                </c:pt>
                <c:pt idx="11">
                  <c:v>0.7073224760220113</c:v>
                </c:pt>
                <c:pt idx="12">
                  <c:v>0.640090916104257</c:v>
                </c:pt>
                <c:pt idx="13">
                  <c:v>0.556846885313277</c:v>
                </c:pt>
                <c:pt idx="14">
                  <c:v>0.5542192333709371</c:v>
                </c:pt>
                <c:pt idx="15">
                  <c:v>0.5593285831090409</c:v>
                </c:pt>
                <c:pt idx="16">
                  <c:v>0.573660284891846</c:v>
                </c:pt>
                <c:pt idx="17">
                  <c:v>0.4206542713737571</c:v>
                </c:pt>
                <c:pt idx="18">
                  <c:v>0.5740862683605752</c:v>
                </c:pt>
                <c:pt idx="19">
                  <c:v>0.6365397312946541</c:v>
                </c:pt>
                <c:pt idx="20">
                  <c:v>0.5732789483120787</c:v>
                </c:pt>
                <c:pt idx="21">
                  <c:v>0.48193186526552306</c:v>
                </c:pt>
                <c:pt idx="22">
                  <c:v>0.5426885694153993</c:v>
                </c:pt>
                <c:pt idx="23">
                  <c:v>0.40587991306471755</c:v>
                </c:pt>
                <c:pt idx="24">
                  <c:v>0.5164542427306748</c:v>
                </c:pt>
                <c:pt idx="25">
                  <c:v>0.4648040508085898</c:v>
                </c:pt>
                <c:pt idx="26">
                  <c:v>0.48197466087698615</c:v>
                </c:pt>
                <c:pt idx="27">
                  <c:v>0.47635137762871893</c:v>
                </c:pt>
                <c:pt idx="28">
                  <c:v>0.500586076186557</c:v>
                </c:pt>
                <c:pt idx="29">
                  <c:v>0.45214909159285127</c:v>
                </c:pt>
                <c:pt idx="30">
                  <c:v>0.43745680704323203</c:v>
                </c:pt>
                <c:pt idx="31">
                  <c:v>0.48371869051077726</c:v>
                </c:pt>
                <c:pt idx="32">
                  <c:v>0.5403735250753909</c:v>
                </c:pt>
                <c:pt idx="33">
                  <c:v>0.5328300683439222</c:v>
                </c:pt>
                <c:pt idx="34">
                  <c:v>0.5988717529912254</c:v>
                </c:pt>
                <c:pt idx="35">
                  <c:v>0.5362376059875177</c:v>
                </c:pt>
                <c:pt idx="36">
                  <c:v>0.49659324439400937</c:v>
                </c:pt>
                <c:pt idx="37">
                  <c:v>0.5272807292453757</c:v>
                </c:pt>
                <c:pt idx="38">
                  <c:v>0.43399694247260673</c:v>
                </c:pt>
                <c:pt idx="39">
                  <c:v>0.42721277801499746</c:v>
                </c:pt>
                <c:pt idx="40">
                  <c:v>0.4111992646840807</c:v>
                </c:pt>
                <c:pt idx="41">
                  <c:v>0.4686551262993973</c:v>
                </c:pt>
                <c:pt idx="42">
                  <c:v>0.4315372805394643</c:v>
                </c:pt>
                <c:pt idx="43">
                  <c:v>0.4957682264345494</c:v>
                </c:pt>
                <c:pt idx="44">
                  <c:v>0.5909511256264609</c:v>
                </c:pt>
                <c:pt idx="45">
                  <c:v>0.644107508383308</c:v>
                </c:pt>
                <c:pt idx="46">
                  <c:v>0.6212747882738747</c:v>
                </c:pt>
                <c:pt idx="47">
                  <c:v>0.6111341914727624</c:v>
                </c:pt>
                <c:pt idx="48">
                  <c:v>0.5886042806300649</c:v>
                </c:pt>
                <c:pt idx="49">
                  <c:v>0.6235936647608807</c:v>
                </c:pt>
                <c:pt idx="50">
                  <c:v>0.7184439940963163</c:v>
                </c:pt>
                <c:pt idx="51">
                  <c:v>0.6740791331810876</c:v>
                </c:pt>
              </c:numCache>
            </c:numRef>
          </c:xVal>
          <c:yVal>
            <c:numRef>
              <c:f>Sheet1!$B$109:$B$160</c:f>
              <c:numCache>
                <c:formatCode>General</c:formatCode>
                <c:ptCount val="52"/>
                <c:pt idx="0">
                  <c:v>0.0013676019806649375</c:v>
                </c:pt>
                <c:pt idx="1">
                  <c:v>0.0016099818877037633</c:v>
                </c:pt>
                <c:pt idx="2">
                  <c:v>0.0015756302521008404</c:v>
                </c:pt>
                <c:pt idx="3">
                  <c:v>0.001680595930232558</c:v>
                </c:pt>
                <c:pt idx="4">
                  <c:v>0.0015973690392295044</c:v>
                </c:pt>
                <c:pt idx="5">
                  <c:v>0.0014011589246698964</c:v>
                </c:pt>
                <c:pt idx="6">
                  <c:v>0.001628477717378839</c:v>
                </c:pt>
                <c:pt idx="7">
                  <c:v>0.0018831810323536675</c:v>
                </c:pt>
                <c:pt idx="8">
                  <c:v>0.0022389859116117255</c:v>
                </c:pt>
                <c:pt idx="9">
                  <c:v>0.0022979821827682815</c:v>
                </c:pt>
                <c:pt idx="10">
                  <c:v>0.0021916473882868624</c:v>
                </c:pt>
                <c:pt idx="11">
                  <c:v>0.0022494376405898524</c:v>
                </c:pt>
                <c:pt idx="12">
                  <c:v>0.0022865457568986124</c:v>
                </c:pt>
                <c:pt idx="13">
                  <c:v>0.00334941050375134</c:v>
                </c:pt>
                <c:pt idx="14">
                  <c:v>0.003291102373671181</c:v>
                </c:pt>
                <c:pt idx="15">
                  <c:v>0.0032060260839792075</c:v>
                </c:pt>
                <c:pt idx="16">
                  <c:v>0.002947193231857425</c:v>
                </c:pt>
                <c:pt idx="17">
                  <c:v>0.003891193421680555</c:v>
                </c:pt>
                <c:pt idx="18">
                  <c:v>0.0021183635641466966</c:v>
                </c:pt>
                <c:pt idx="19">
                  <c:v>0.0018699186991869919</c:v>
                </c:pt>
                <c:pt idx="20">
                  <c:v>0.002169101372288623</c:v>
                </c:pt>
                <c:pt idx="21">
                  <c:v>0.002878464818763326</c:v>
                </c:pt>
                <c:pt idx="22">
                  <c:v>0.0024758994890164885</c:v>
                </c:pt>
                <c:pt idx="23">
                  <c:v>0.0025180643748631487</c:v>
                </c:pt>
                <c:pt idx="24">
                  <c:v>0.00233172703248873</c:v>
                </c:pt>
                <c:pt idx="25">
                  <c:v>0.0026630434782608696</c:v>
                </c:pt>
                <c:pt idx="26">
                  <c:v>0.0026856729676686293</c:v>
                </c:pt>
                <c:pt idx="27">
                  <c:v>0.0025617566331198535</c:v>
                </c:pt>
                <c:pt idx="28">
                  <c:v>0.002144388849177984</c:v>
                </c:pt>
                <c:pt idx="29">
                  <c:v>0.002535421327367636</c:v>
                </c:pt>
                <c:pt idx="30">
                  <c:v>0.002432460407825277</c:v>
                </c:pt>
                <c:pt idx="31">
                  <c:v>0.002529898804047838</c:v>
                </c:pt>
                <c:pt idx="32">
                  <c:v>0.0021514189119967216</c:v>
                </c:pt>
                <c:pt idx="33">
                  <c:v>0.0021745618897369206</c:v>
                </c:pt>
                <c:pt idx="34">
                  <c:v>0.002030250735965892</c:v>
                </c:pt>
                <c:pt idx="35">
                  <c:v>0.0024136430182408104</c:v>
                </c:pt>
                <c:pt idx="36">
                  <c:v>0.002752767104433102</c:v>
                </c:pt>
                <c:pt idx="37">
                  <c:v>0.0028208744710860366</c:v>
                </c:pt>
                <c:pt idx="38">
                  <c:v>0.0031652854511970536</c:v>
                </c:pt>
                <c:pt idx="39">
                  <c:v>0.0031259768677711786</c:v>
                </c:pt>
                <c:pt idx="40">
                  <c:v>0.0029267866503582037</c:v>
                </c:pt>
                <c:pt idx="41">
                  <c:v>0.0023961001404610425</c:v>
                </c:pt>
                <c:pt idx="42">
                  <c:v>0.0027413533147530498</c:v>
                </c:pt>
                <c:pt idx="43">
                  <c:v>0.0020007589085515197</c:v>
                </c:pt>
                <c:pt idx="44">
                  <c:v>0.0015271134674119749</c:v>
                </c:pt>
                <c:pt idx="45">
                  <c:v>0.0012748093280875662</c:v>
                </c:pt>
                <c:pt idx="46">
                  <c:v>0.0013688893568852502</c:v>
                </c:pt>
                <c:pt idx="47">
                  <c:v>0.0014565743346664692</c:v>
                </c:pt>
                <c:pt idx="48">
                  <c:v>0.0015998337835030126</c:v>
                </c:pt>
                <c:pt idx="49">
                  <c:v>0.001481903676261043</c:v>
                </c:pt>
                <c:pt idx="50">
                  <c:v>0.0012530527177179098</c:v>
                </c:pt>
                <c:pt idx="51">
                  <c:v>0.001362515679743933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7291520849148877</c:v>
                </c:pt>
              </c:numCache>
            </c:numRef>
          </c:xVal>
          <c:yVal>
            <c:numRef>
              <c:f>Sheet1!$B$163:$B$164</c:f>
              <c:numCache>
                <c:formatCode>General</c:formatCode>
                <c:ptCount val="2"/>
                <c:pt idx="0">
                  <c:v>0.0026727990029129967</c:v>
                </c:pt>
                <c:pt idx="1">
                  <c:v>0.002672799002912996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7291520849148877</c:v>
                </c:pt>
                <c:pt idx="1">
                  <c:v>0.47291520849148877</c:v>
                </c:pt>
              </c:numCache>
            </c:numRef>
          </c:xVal>
          <c:yVal>
            <c:numRef>
              <c:f>Sheet1!$B$167:$B$168</c:f>
              <c:numCache>
                <c:formatCode>General</c:formatCode>
                <c:ptCount val="2"/>
                <c:pt idx="0">
                  <c:v>0.002672799002912996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7291520849148877</c:v>
                </c:pt>
              </c:numCache>
            </c:numRef>
          </c:xVal>
          <c:yVal>
            <c:numRef>
              <c:f>Sheet1!$B$171:$B$172</c:f>
              <c:numCache>
                <c:formatCode>General</c:formatCode>
                <c:ptCount val="2"/>
                <c:pt idx="0">
                  <c:v>0.0026727990029129967</c:v>
                </c:pt>
                <c:pt idx="1">
                  <c:v>0.002672799002912996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7291520849148877</c:v>
                </c:pt>
                <c:pt idx="1">
                  <c:v>0.47291520849148877</c:v>
                </c:pt>
              </c:numCache>
            </c:numRef>
          </c:xVal>
          <c:yVal>
            <c:numRef>
              <c:f>Sheet1!$B$175:$B$176</c:f>
              <c:numCache>
                <c:formatCode>General</c:formatCode>
                <c:ptCount val="2"/>
                <c:pt idx="0">
                  <c:v>0.002672799002912996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579337381159088</c:v>
                </c:pt>
              </c:numCache>
            </c:numRef>
          </c:xVal>
          <c:yVal>
            <c:numRef>
              <c:f>Sheet1!$B$179:$B$180</c:f>
              <c:numCache>
                <c:formatCode>General</c:formatCode>
                <c:ptCount val="2"/>
                <c:pt idx="0">
                  <c:v>0.0018858206327824734</c:v>
                </c:pt>
                <c:pt idx="1">
                  <c:v>0.001885820632782473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579337381159088</c:v>
                </c:pt>
                <c:pt idx="1">
                  <c:v>0.6579337381159088</c:v>
                </c:pt>
              </c:numCache>
            </c:numRef>
          </c:xVal>
          <c:yVal>
            <c:numRef>
              <c:f>Sheet1!$B$183:$B$184</c:f>
              <c:numCache>
                <c:formatCode>General</c:formatCode>
                <c:ptCount val="2"/>
                <c:pt idx="0">
                  <c:v>0.001885820632782473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570901701869049</c:v>
                </c:pt>
                <c:pt idx="1">
                  <c:v>0.6878278211701246</c:v>
                </c:pt>
                <c:pt idx="2">
                  <c:v>0.7321423964525585</c:v>
                </c:pt>
                <c:pt idx="3">
                  <c:v>0.6311194615900372</c:v>
                </c:pt>
                <c:pt idx="4">
                  <c:v>0.7537313749686164</c:v>
                </c:pt>
                <c:pt idx="5">
                  <c:v>0.803258136519184</c:v>
                </c:pt>
                <c:pt idx="6">
                  <c:v>0.733405950292105</c:v>
                </c:pt>
                <c:pt idx="7">
                  <c:v>0.6751452196149667</c:v>
                </c:pt>
                <c:pt idx="8">
                  <c:v>0.6706781379642341</c:v>
                </c:pt>
                <c:pt idx="9">
                  <c:v>0.6826295170583118</c:v>
                </c:pt>
                <c:pt idx="10">
                  <c:v>0.7070705865231366</c:v>
                </c:pt>
                <c:pt idx="11">
                  <c:v>0.7073224760220113</c:v>
                </c:pt>
                <c:pt idx="12">
                  <c:v>0.640090916104257</c:v>
                </c:pt>
                <c:pt idx="13">
                  <c:v>0.556846885313277</c:v>
                </c:pt>
                <c:pt idx="14">
                  <c:v>0.5542192333709371</c:v>
                </c:pt>
                <c:pt idx="15">
                  <c:v>0.5593285831090409</c:v>
                </c:pt>
                <c:pt idx="16">
                  <c:v>0.573660284891846</c:v>
                </c:pt>
                <c:pt idx="17">
                  <c:v>0.4206542713737571</c:v>
                </c:pt>
                <c:pt idx="18">
                  <c:v>0.5740862683605752</c:v>
                </c:pt>
                <c:pt idx="19">
                  <c:v>0.6365397312946541</c:v>
                </c:pt>
                <c:pt idx="20">
                  <c:v>0.5732789483120787</c:v>
                </c:pt>
                <c:pt idx="21">
                  <c:v>0.48193186526552306</c:v>
                </c:pt>
                <c:pt idx="22">
                  <c:v>0.5426885694153993</c:v>
                </c:pt>
                <c:pt idx="23">
                  <c:v>0.40587991306471755</c:v>
                </c:pt>
                <c:pt idx="24">
                  <c:v>0.5164542427306748</c:v>
                </c:pt>
                <c:pt idx="25">
                  <c:v>0.4648040508085898</c:v>
                </c:pt>
                <c:pt idx="26">
                  <c:v>0.48197466087698615</c:v>
                </c:pt>
                <c:pt idx="27">
                  <c:v>0.47635137762871893</c:v>
                </c:pt>
                <c:pt idx="28">
                  <c:v>0.500586076186557</c:v>
                </c:pt>
                <c:pt idx="29">
                  <c:v>0.45214909159285127</c:v>
                </c:pt>
                <c:pt idx="30">
                  <c:v>0.43745680704323203</c:v>
                </c:pt>
                <c:pt idx="31">
                  <c:v>0.48371869051077726</c:v>
                </c:pt>
                <c:pt idx="32">
                  <c:v>0.5403735250753909</c:v>
                </c:pt>
                <c:pt idx="33">
                  <c:v>0.5328300683439222</c:v>
                </c:pt>
                <c:pt idx="34">
                  <c:v>0.5988717529912254</c:v>
                </c:pt>
                <c:pt idx="35">
                  <c:v>0.5362376059875177</c:v>
                </c:pt>
                <c:pt idx="36">
                  <c:v>0.49659324439400937</c:v>
                </c:pt>
                <c:pt idx="37">
                  <c:v>0.5272807292453757</c:v>
                </c:pt>
                <c:pt idx="38">
                  <c:v>0.43399694247260673</c:v>
                </c:pt>
                <c:pt idx="39">
                  <c:v>0.42721277801499746</c:v>
                </c:pt>
                <c:pt idx="40">
                  <c:v>0.4111992646840807</c:v>
                </c:pt>
                <c:pt idx="41">
                  <c:v>0.4686551262993973</c:v>
                </c:pt>
                <c:pt idx="42">
                  <c:v>0.4315372805394643</c:v>
                </c:pt>
                <c:pt idx="43">
                  <c:v>0.4957682264345494</c:v>
                </c:pt>
                <c:pt idx="44">
                  <c:v>0.5909511256264609</c:v>
                </c:pt>
                <c:pt idx="45">
                  <c:v>0.644107508383308</c:v>
                </c:pt>
                <c:pt idx="46">
                  <c:v>0.6212747882738747</c:v>
                </c:pt>
                <c:pt idx="47">
                  <c:v>0.6111341914727624</c:v>
                </c:pt>
                <c:pt idx="48">
                  <c:v>0.5886042806300649</c:v>
                </c:pt>
                <c:pt idx="49">
                  <c:v>0.6235936647608807</c:v>
                </c:pt>
                <c:pt idx="50">
                  <c:v>0.7184439940963163</c:v>
                </c:pt>
                <c:pt idx="51">
                  <c:v>0.6740791331810876</c:v>
                </c:pt>
                <c:pt idx="52">
                  <c:v>0.47291520849148877</c:v>
                </c:pt>
                <c:pt idx="53">
                  <c:v>0.47291520849148877</c:v>
                </c:pt>
                <c:pt idx="54">
                  <c:v>0.6579337381159088</c:v>
                </c:pt>
              </c:numCache>
            </c:numRef>
          </c:xVal>
          <c:yVal>
            <c:numRef>
              <c:f>Sheet1!$B$187:$B$241</c:f>
              <c:numCache>
                <c:formatCode>General</c:formatCode>
                <c:ptCount val="55"/>
                <c:pt idx="0">
                  <c:v>0.0014640576479744319</c:v>
                </c:pt>
                <c:pt idx="1">
                  <c:v>0.0017586658185792148</c:v>
                </c:pt>
                <c:pt idx="2">
                  <c:v>0.0015701732805637513</c:v>
                </c:pt>
                <c:pt idx="3">
                  <c:v>0.0019998754557204587</c:v>
                </c:pt>
                <c:pt idx="4">
                  <c:v>0.0014783443207301646</c:v>
                </c:pt>
                <c:pt idx="5">
                  <c:v>0.0012676816905491258</c:v>
                </c:pt>
                <c:pt idx="6">
                  <c:v>0.001564798740277235</c:v>
                </c:pt>
                <c:pt idx="7">
                  <c:v>0.0018126114051167036</c:v>
                </c:pt>
                <c:pt idx="8">
                  <c:v>0.0018316121865188137</c:v>
                </c:pt>
                <c:pt idx="9">
                  <c:v>0.001780776862838737</c:v>
                </c:pt>
                <c:pt idx="10">
                  <c:v>0.001676816502486073</c:v>
                </c:pt>
                <c:pt idx="11">
                  <c:v>0.0016757450877057278</c:v>
                </c:pt>
                <c:pt idx="12">
                  <c:v>0.001961715274328719</c:v>
                </c:pt>
                <c:pt idx="13">
                  <c:v>0.002315794683607161</c:v>
                </c:pt>
                <c:pt idx="14">
                  <c:v>0.002326971430320318</c:v>
                </c:pt>
                <c:pt idx="15">
                  <c:v>0.002305238754477082</c:v>
                </c:pt>
                <c:pt idx="16">
                  <c:v>0.0022442787018103353</c:v>
                </c:pt>
                <c:pt idx="17">
                  <c:v>0.0028950914792281787</c:v>
                </c:pt>
                <c:pt idx="18">
                  <c:v>0.0022424667763961425</c:v>
                </c:pt>
                <c:pt idx="19">
                  <c:v>0.0019768202783473254</c:v>
                </c:pt>
                <c:pt idx="20">
                  <c:v>0.002245900721186587</c:v>
                </c:pt>
                <c:pt idx="21">
                  <c:v>0.0026344465532072278</c:v>
                </c:pt>
                <c:pt idx="22">
                  <c:v>0.00237601723748716</c:v>
                </c:pt>
                <c:pt idx="23">
                  <c:v>0.002957934376344348</c:v>
                </c:pt>
                <c:pt idx="24">
                  <c:v>0.002487605237336291</c:v>
                </c:pt>
                <c:pt idx="25">
                  <c:v>0.002707299902180315</c:v>
                </c:pt>
                <c:pt idx="26">
                  <c:v>0.0026342645215986843</c:v>
                </c:pt>
                <c:pt idx="27">
                  <c:v>0.002658183219333916</c:v>
                </c:pt>
                <c:pt idx="28">
                  <c:v>0.002555100659925582</c:v>
                </c:pt>
                <c:pt idx="29">
                  <c:v>0.0027611279117201537</c:v>
                </c:pt>
                <c:pt idx="30">
                  <c:v>0.0028236217071893133</c:v>
                </c:pt>
                <c:pt idx="31">
                  <c:v>0.0026268462721863338</c:v>
                </c:pt>
                <c:pt idx="32">
                  <c:v>0.0023858643042927283</c:v>
                </c:pt>
                <c:pt idx="33">
                  <c:v>0.0024179504812596097</c:v>
                </c:pt>
                <c:pt idx="34">
                  <c:v>0.0021370414423113895</c:v>
                </c:pt>
                <c:pt idx="35">
                  <c:v>0.0024034564820566177</c:v>
                </c:pt>
                <c:pt idx="36">
                  <c:v>0.0025720842142900185</c:v>
                </c:pt>
                <c:pt idx="37">
                  <c:v>0.0024415546567329582</c:v>
                </c:pt>
                <c:pt idx="38">
                  <c:v>0.002838338279557445</c:v>
                </c:pt>
                <c:pt idx="39">
                  <c:v>0.002867194798406582</c:v>
                </c:pt>
                <c:pt idx="40">
                  <c:v>0.0029353084551673966</c:v>
                </c:pt>
                <c:pt idx="41">
                  <c:v>0.0026909193098193364</c:v>
                </c:pt>
                <c:pt idx="42">
                  <c:v>0.002848800478901186</c:v>
                </c:pt>
                <c:pt idx="43">
                  <c:v>0.002575593437341257</c:v>
                </c:pt>
                <c:pt idx="44">
                  <c:v>0.0021707319187549493</c:v>
                </c:pt>
                <c:pt idx="45">
                  <c:v>0.0019446306544711133</c:v>
                </c:pt>
                <c:pt idx="46">
                  <c:v>0.00204174988298214</c:v>
                </c:pt>
                <c:pt idx="47">
                  <c:v>0.0020848830240728735</c:v>
                </c:pt>
                <c:pt idx="48">
                  <c:v>0.0021807142500055647</c:v>
                </c:pt>
                <c:pt idx="49">
                  <c:v>0.0020318865160967666</c:v>
                </c:pt>
                <c:pt idx="50">
                  <c:v>0.0016284395870877046</c:v>
                </c:pt>
                <c:pt idx="51">
                  <c:v>0.0018171460156006128</c:v>
                </c:pt>
                <c:pt idx="52">
                  <c:v>0.0026727990029129967</c:v>
                </c:pt>
                <c:pt idx="53">
                  <c:v>0.0026727990029129967</c:v>
                </c:pt>
                <c:pt idx="54">
                  <c:v>0.001885820632782473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69432106016665"/>
          <c:min val="4.126050853576771e-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34.3125</c:v>
                </c:pt>
                <c:pt idx="1">
                  <c:v>3740.2</c:v>
                </c:pt>
                <c:pt idx="2">
                  <c:v>3175.8333</c:v>
                </c:pt>
                <c:pt idx="3">
                  <c:v>3027.4</c:v>
                </c:pt>
                <c:pt idx="4">
                  <c:v>3982.3333</c:v>
                </c:pt>
                <c:pt idx="5">
                  <c:v>3848.6667</c:v>
                </c:pt>
                <c:pt idx="6">
                  <c:v>3216.6364</c:v>
                </c:pt>
                <c:pt idx="7">
                  <c:v>3208.875</c:v>
                </c:pt>
                <c:pt idx="8">
                  <c:v>3023.0</c:v>
                </c:pt>
                <c:pt idx="9">
                  <c:v>3233.3333</c:v>
                </c:pt>
                <c:pt idx="10">
                  <c:v>3528.3333</c:v>
                </c:pt>
                <c:pt idx="11">
                  <c:v>3129.7</c:v>
                </c:pt>
                <c:pt idx="12">
                  <c:v>3208.4545</c:v>
                </c:pt>
                <c:pt idx="13">
                  <c:v>3153.0</c:v>
                </c:pt>
                <c:pt idx="14">
                  <c:v>3951.0</c:v>
                </c:pt>
                <c:pt idx="15">
                  <c:v>3128.3333</c:v>
                </c:pt>
                <c:pt idx="16">
                  <c:v>4342.0</c:v>
                </c:pt>
                <c:pt idx="17">
                  <c:v>3291.5</c:v>
                </c:pt>
                <c:pt idx="18">
                  <c:v>4434.0</c:v>
                </c:pt>
                <c:pt idx="19">
                  <c:v>3808.0</c:v>
                </c:pt>
                <c:pt idx="20">
                  <c:v>3044.2</c:v>
                </c:pt>
                <c:pt idx="21">
                  <c:v>6720.0</c:v>
                </c:pt>
                <c:pt idx="22">
                  <c:v>3122.1429</c:v>
                </c:pt>
                <c:pt idx="23">
                  <c:v>3924.6</c:v>
                </c:pt>
                <c:pt idx="24">
                  <c:v>2808.3333</c:v>
                </c:pt>
                <c:pt idx="25">
                  <c:v>2765.0</c:v>
                </c:pt>
                <c:pt idx="26">
                  <c:v>3202.0</c:v>
                </c:pt>
                <c:pt idx="27">
                  <c:v>3106.4</c:v>
                </c:pt>
                <c:pt idx="28">
                  <c:v>3346.6</c:v>
                </c:pt>
                <c:pt idx="29">
                  <c:v>3119.6667</c:v>
                </c:pt>
                <c:pt idx="30">
                  <c:v>3099.8</c:v>
                </c:pt>
                <c:pt idx="31">
                  <c:v>3342.0</c:v>
                </c:pt>
                <c:pt idx="32">
                  <c:v>4329.0</c:v>
                </c:pt>
                <c:pt idx="33">
                  <c:v>2663.4615</c:v>
                </c:pt>
                <c:pt idx="34">
                  <c:v>3005.3571</c:v>
                </c:pt>
                <c:pt idx="35">
                  <c:v>2884.4444</c:v>
                </c:pt>
                <c:pt idx="36">
                  <c:v>2882.1111</c:v>
                </c:pt>
                <c:pt idx="37">
                  <c:v>3050.0</c:v>
                </c:pt>
                <c:pt idx="38">
                  <c:v>3066.2</c:v>
                </c:pt>
                <c:pt idx="39">
                  <c:v>3735.1667</c:v>
                </c:pt>
                <c:pt idx="40">
                  <c:v>4272.75</c:v>
                </c:pt>
                <c:pt idx="41">
                  <c:v>4003.25</c:v>
                </c:pt>
                <c:pt idx="42">
                  <c:v>3549.6667</c:v>
                </c:pt>
                <c:pt idx="43">
                  <c:v>3104.1429</c:v>
                </c:pt>
                <c:pt idx="44">
                  <c:v>3004.2222</c:v>
                </c:pt>
                <c:pt idx="45">
                  <c:v>3138.1429</c:v>
                </c:pt>
                <c:pt idx="46">
                  <c:v>2995.8667</c:v>
                </c:pt>
                <c:pt idx="47">
                  <c:v>2660.1667</c:v>
                </c:pt>
                <c:pt idx="48">
                  <c:v>3669.0</c:v>
                </c:pt>
                <c:pt idx="49">
                  <c:v>3025.0556</c:v>
                </c:pt>
                <c:pt idx="50">
                  <c:v>3099.3571</c:v>
                </c:pt>
                <c:pt idx="51">
                  <c:v>2739.4667</c:v>
                </c:pt>
                <c:pt idx="52">
                  <c:v>3202.5</c:v>
                </c:pt>
                <c:pt idx="53">
                  <c:v>3334.5</c:v>
                </c:pt>
                <c:pt idx="54">
                  <c:v>2909.6923</c:v>
                </c:pt>
                <c:pt idx="55">
                  <c:v>3116.0</c:v>
                </c:pt>
                <c:pt idx="56">
                  <c:v>2599.75</c:v>
                </c:pt>
                <c:pt idx="57">
                  <c:v>2696.8333</c:v>
                </c:pt>
                <c:pt idx="58">
                  <c:v>2451.5714</c:v>
                </c:pt>
                <c:pt idx="59">
                  <c:v>2641.6154</c:v>
                </c:pt>
                <c:pt idx="60">
                  <c:v>2559.1905</c:v>
                </c:pt>
                <c:pt idx="61">
                  <c:v>2616.8125</c:v>
                </c:pt>
                <c:pt idx="62">
                  <c:v>2355.3889</c:v>
                </c:pt>
                <c:pt idx="63">
                  <c:v>2616.8235</c:v>
                </c:pt>
                <c:pt idx="64">
                  <c:v>2307.1667</c:v>
                </c:pt>
                <c:pt idx="65">
                  <c:v>2335.0625</c:v>
                </c:pt>
                <c:pt idx="66">
                  <c:v>2205.0588</c:v>
                </c:pt>
                <c:pt idx="67">
                  <c:v>2366.9167</c:v>
                </c:pt>
                <c:pt idx="68">
                  <c:v>1907.25</c:v>
                </c:pt>
                <c:pt idx="69">
                  <c:v>1806.8462</c:v>
                </c:pt>
                <c:pt idx="70">
                  <c:v>2093.8182</c:v>
                </c:pt>
                <c:pt idx="71">
                  <c:v>1689.1818</c:v>
                </c:pt>
                <c:pt idx="72">
                  <c:v>2030.4375</c:v>
                </c:pt>
                <c:pt idx="73">
                  <c:v>1540.12</c:v>
                </c:pt>
                <c:pt idx="74">
                  <c:v>1899.0714</c:v>
                </c:pt>
                <c:pt idx="75">
                  <c:v>2853.48</c:v>
                </c:pt>
                <c:pt idx="76">
                  <c:v>2875.1212</c:v>
                </c:pt>
                <c:pt idx="77">
                  <c:v>3425.6333</c:v>
                </c:pt>
                <c:pt idx="78">
                  <c:v>2855.7568</c:v>
                </c:pt>
                <c:pt idx="79">
                  <c:v>3978.3</c:v>
                </c:pt>
                <c:pt idx="80">
                  <c:v>3440.1333</c:v>
                </c:pt>
                <c:pt idx="81">
                  <c:v>3386.2927</c:v>
                </c:pt>
                <c:pt idx="82">
                  <c:v>3334.303</c:v>
                </c:pt>
                <c:pt idx="83">
                  <c:v>3918.6087</c:v>
                </c:pt>
                <c:pt idx="84">
                  <c:v>3499.875</c:v>
                </c:pt>
                <c:pt idx="85">
                  <c:v>3327.3478</c:v>
                </c:pt>
                <c:pt idx="86">
                  <c:v>4500.5714</c:v>
                </c:pt>
                <c:pt idx="87">
                  <c:v>4381.2143</c:v>
                </c:pt>
                <c:pt idx="88">
                  <c:v>3936.9063</c:v>
                </c:pt>
                <c:pt idx="89">
                  <c:v>3929.9118</c:v>
                </c:pt>
                <c:pt idx="90">
                  <c:v>4465.6207</c:v>
                </c:pt>
                <c:pt idx="91">
                  <c:v>3604.8857</c:v>
                </c:pt>
                <c:pt idx="92">
                  <c:v>4148.6286</c:v>
                </c:pt>
                <c:pt idx="93">
                  <c:v>4459.8824</c:v>
                </c:pt>
                <c:pt idx="94">
                  <c:v>4274.8824</c:v>
                </c:pt>
                <c:pt idx="95">
                  <c:v>4202.5714</c:v>
                </c:pt>
                <c:pt idx="96">
                  <c:v>3518.4405</c:v>
                </c:pt>
                <c:pt idx="97">
                  <c:v>3508.6293</c:v>
                </c:pt>
                <c:pt idx="98">
                  <c:v>3336.811</c:v>
                </c:pt>
                <c:pt idx="99">
                  <c:v>3491.1985</c:v>
                </c:pt>
                <c:pt idx="100">
                  <c:v>3901.069</c:v>
                </c:pt>
                <c:pt idx="101">
                  <c:v>3699.9652</c:v>
                </c:pt>
                <c:pt idx="102">
                  <c:v>3851.6974</c:v>
                </c:pt>
                <c:pt idx="103">
                  <c:v>3939.1392</c:v>
                </c:pt>
                <c:pt idx="104">
                  <c:v>4226.3208</c:v>
                </c:pt>
              </c:numCache>
            </c:numRef>
          </c:xVal>
          <c:yVal>
            <c:numRef>
              <c:f>Sheet1!$B$2:$B$106</c:f>
              <c:numCache>
                <c:formatCode>General</c:formatCode>
                <c:ptCount val="105"/>
                <c:pt idx="0">
                  <c:v>0.0004068348250610252</c:v>
                </c:pt>
                <c:pt idx="1">
                  <c:v>0.00013251000450534016</c:v>
                </c:pt>
                <c:pt idx="2">
                  <c:v>0.00015396063739703882</c:v>
                </c:pt>
                <c:pt idx="3">
                  <c:v>0.00013456776832813006</c:v>
                </c:pt>
                <c:pt idx="4">
                  <c:v>9.577015163607342e-05</c:v>
                </c:pt>
                <c:pt idx="5">
                  <c:v>0.0001952044766893321</c:v>
                </c:pt>
                <c:pt idx="6">
                  <c:v>0.00035394813051032887</c:v>
                </c:pt>
                <c:pt idx="7">
                  <c:v>0.0002935995302407516</c:v>
                </c:pt>
                <c:pt idx="8">
                  <c:v>0.0002665448176071891</c:v>
                </c:pt>
                <c:pt idx="9">
                  <c:v>0.0002675704602211916</c:v>
                </c:pt>
                <c:pt idx="10">
                  <c:v>0.00017219113215669393</c:v>
                </c:pt>
                <c:pt idx="11">
                  <c:v>0.00028758771425284714</c:v>
                </c:pt>
                <c:pt idx="12">
                  <c:v>0.00029195530429705125</c:v>
                </c:pt>
                <c:pt idx="13">
                  <c:v>0.00028119112560807583</c:v>
                </c:pt>
                <c:pt idx="14">
                  <c:v>8.361437052314724e-05</c:v>
                </c:pt>
                <c:pt idx="15">
                  <c:v>0.00019857686579513486</c:v>
                </c:pt>
                <c:pt idx="16">
                  <c:v>7.464079119238663e-05</c:v>
                </c:pt>
                <c:pt idx="17">
                  <c:v>0.00016345210853220007</c:v>
                </c:pt>
                <c:pt idx="18">
                  <c:v>9.092148929399464e-05</c:v>
                </c:pt>
                <c:pt idx="19">
                  <c:v>0.00015876375952582556</c:v>
                </c:pt>
                <c:pt idx="20">
                  <c:v>0.00021842645581232798</c:v>
                </c:pt>
                <c:pt idx="21">
                  <c:v>5.157563566970963e-05</c:v>
                </c:pt>
                <c:pt idx="22">
                  <c:v>0.0003682272488164124</c:v>
                </c:pt>
                <c:pt idx="23">
                  <c:v>0.0002789089083505327</c:v>
                </c:pt>
                <c:pt idx="24">
                  <c:v>0.0004662970830526916</c:v>
                </c:pt>
                <c:pt idx="25">
                  <c:v>0.000583158385817588</c:v>
                </c:pt>
                <c:pt idx="26">
                  <c:v>0.0005226025607525476</c:v>
                </c:pt>
                <c:pt idx="27">
                  <c:v>0.0002508277315139962</c:v>
                </c:pt>
                <c:pt idx="28">
                  <c:v>0.0002559770644550248</c:v>
                </c:pt>
                <c:pt idx="29">
                  <c:v>0.00040578926011091576</c:v>
                </c:pt>
                <c:pt idx="30">
                  <c:v>0.00029064698017787597</c:v>
                </c:pt>
                <c:pt idx="31">
                  <c:v>0.00033163829316825116</c:v>
                </c:pt>
                <c:pt idx="32">
                  <c:v>0.00021867483052700635</c:v>
                </c:pt>
                <c:pt idx="33">
                  <c:v>0.0005688531046252134</c:v>
                </c:pt>
                <c:pt idx="34">
                  <c:v>0.0005597984725498821</c:v>
                </c:pt>
                <c:pt idx="35">
                  <c:v>0.0006072055053299149</c:v>
                </c:pt>
                <c:pt idx="36">
                  <c:v>0.0003740959348241749</c:v>
                </c:pt>
                <c:pt idx="37">
                  <c:v>0.0002884615384615385</c:v>
                </c:pt>
                <c:pt idx="38">
                  <c:v>0.0002411149153686647</c:v>
                </c:pt>
                <c:pt idx="39">
                  <c:v>0.0003058103975535168</c:v>
                </c:pt>
                <c:pt idx="40">
                  <c:v>0.00017058296729071602</c:v>
                </c:pt>
                <c:pt idx="41">
                  <c:v>0.00018400956849756188</c:v>
                </c:pt>
                <c:pt idx="42">
                  <c:v>0.00011764244539429826</c:v>
                </c:pt>
                <c:pt idx="43">
                  <c:v>0.00024577788701239423</c:v>
                </c:pt>
                <c:pt idx="44">
                  <c:v>0.0002135585981064471</c:v>
                </c:pt>
                <c:pt idx="45">
                  <c:v>0.00015428697377121447</c:v>
                </c:pt>
                <c:pt idx="46">
                  <c:v>0.00031837670331536275</c:v>
                </c:pt>
                <c:pt idx="47">
                  <c:v>0.00038505144715168886</c:v>
                </c:pt>
                <c:pt idx="48">
                  <c:v>0.00019302845561149806</c:v>
                </c:pt>
                <c:pt idx="49">
                  <c:v>0.00019773483758280146</c:v>
                </c:pt>
                <c:pt idx="50">
                  <c:v>0.00029062525948683884</c:v>
                </c:pt>
                <c:pt idx="51">
                  <c:v>0.00037329218823880747</c:v>
                </c:pt>
                <c:pt idx="52">
                  <c:v>0.0001283175431467739</c:v>
                </c:pt>
                <c:pt idx="53">
                  <c:v>0.00015959569091634525</c:v>
                </c:pt>
                <c:pt idx="54">
                  <c:v>0.0003744239631336406</c:v>
                </c:pt>
                <c:pt idx="55">
                  <c:v>0.00023897003913134391</c:v>
                </c:pt>
                <c:pt idx="56">
                  <c:v>0.00024144383412808595</c:v>
                </c:pt>
                <c:pt idx="57">
                  <c:v>0.00015713799334782496</c:v>
                </c:pt>
                <c:pt idx="58">
                  <c:v>0.0001700308484539338</c:v>
                </c:pt>
                <c:pt idx="59">
                  <c:v>0.00020895618349567622</c:v>
                </c:pt>
                <c:pt idx="60">
                  <c:v>0.0003703377127237457</c:v>
                </c:pt>
                <c:pt idx="61">
                  <c:v>0.0003837206513658057</c:v>
                </c:pt>
                <c:pt idx="62">
                  <c:v>0.0004231013327691982</c:v>
                </c:pt>
                <c:pt idx="63">
                  <c:v>0.00036491649851886834</c:v>
                </c:pt>
                <c:pt idx="64">
                  <c:v>0.0005016617545619866</c:v>
                </c:pt>
                <c:pt idx="65">
                  <c:v>0.00036552212551115986</c:v>
                </c:pt>
                <c:pt idx="66">
                  <c:v>0.00040122728345527497</c:v>
                </c:pt>
                <c:pt idx="67">
                  <c:v>0.0002922552362396493</c:v>
                </c:pt>
                <c:pt idx="68">
                  <c:v>0.00046797309154723605</c:v>
                </c:pt>
                <c:pt idx="69">
                  <c:v>0.0004883546205860256</c:v>
                </c:pt>
                <c:pt idx="70">
                  <c:v>0.00038771985478129074</c:v>
                </c:pt>
                <c:pt idx="71">
                  <c:v>0.00041471874528728697</c:v>
                </c:pt>
                <c:pt idx="72">
                  <c:v>0.0005811841627315655</c:v>
                </c:pt>
                <c:pt idx="73">
                  <c:v>0.0009446438692612885</c:v>
                </c:pt>
                <c:pt idx="74">
                  <c:v>0.0010105020029593274</c:v>
                </c:pt>
                <c:pt idx="75">
                  <c:v>0.0010670081092616305</c:v>
                </c:pt>
                <c:pt idx="76">
                  <c:v>0.0015070557610631593</c:v>
                </c:pt>
                <c:pt idx="77">
                  <c:v>0.001357527489931671</c:v>
                </c:pt>
                <c:pt idx="78">
                  <c:v>0.0019386953104532354</c:v>
                </c:pt>
                <c:pt idx="79">
                  <c:v>0.0013696128560993425</c:v>
                </c:pt>
                <c:pt idx="80">
                  <c:v>0.0013775369639085315</c:v>
                </c:pt>
                <c:pt idx="81">
                  <c:v>0.0015751661608206231</c:v>
                </c:pt>
                <c:pt idx="82">
                  <c:v>0.0016255356878971479</c:v>
                </c:pt>
                <c:pt idx="83">
                  <c:v>0.0012959936890742096</c:v>
                </c:pt>
                <c:pt idx="84">
                  <c:v>0.0014231499051233396</c:v>
                </c:pt>
                <c:pt idx="85">
                  <c:v>0.001213208144319021</c:v>
                </c:pt>
                <c:pt idx="86">
                  <c:v>0.0011109347722583717</c:v>
                </c:pt>
                <c:pt idx="87">
                  <c:v>0.0010732492621411322</c:v>
                </c:pt>
                <c:pt idx="88">
                  <c:v>0.0015150080484802575</c:v>
                </c:pt>
                <c:pt idx="89">
                  <c:v>0.0017422495516269537</c:v>
                </c:pt>
                <c:pt idx="90">
                  <c:v>0.0015322026734294922</c:v>
                </c:pt>
                <c:pt idx="91">
                  <c:v>0.0017557941205979732</c:v>
                </c:pt>
                <c:pt idx="92">
                  <c:v>0.0014452657224263946</c:v>
                </c:pt>
                <c:pt idx="93">
                  <c:v>0.0013598368195816503</c:v>
                </c:pt>
                <c:pt idx="94">
                  <c:v>0.0015503169030139984</c:v>
                </c:pt>
                <c:pt idx="95">
                  <c:v>0.0016272041975226646</c:v>
                </c:pt>
                <c:pt idx="96">
                  <c:v>0.0020251211456399623</c:v>
                </c:pt>
                <c:pt idx="97">
                  <c:v>0.0024804345036992686</c:v>
                </c:pt>
                <c:pt idx="98">
                  <c:v>0.002372989031932585</c:v>
                </c:pt>
                <c:pt idx="99">
                  <c:v>0.002219103873641615</c:v>
                </c:pt>
                <c:pt idx="100">
                  <c:v>0.001695866763350565</c:v>
                </c:pt>
                <c:pt idx="101">
                  <c:v>0.002240143369175627</c:v>
                </c:pt>
                <c:pt idx="102">
                  <c:v>0.0018302227573750753</c:v>
                </c:pt>
                <c:pt idx="103">
                  <c:v>0.001802624073017684</c:v>
                </c:pt>
                <c:pt idx="104">
                  <c:v>0.00137791181364392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109:$B$160</c:f>
              <c:numCache>
                <c:formatCode>General</c:formatCode>
                <c:ptCount val="52"/>
                <c:pt idx="0">
                  <c:v>0.0013676019806649375</c:v>
                </c:pt>
                <c:pt idx="1">
                  <c:v>0.0016099818877037633</c:v>
                </c:pt>
                <c:pt idx="2">
                  <c:v>0.0015756302521008404</c:v>
                </c:pt>
                <c:pt idx="3">
                  <c:v>0.001680595930232558</c:v>
                </c:pt>
                <c:pt idx="4">
                  <c:v>0.0015973690392295044</c:v>
                </c:pt>
                <c:pt idx="5">
                  <c:v>0.0014011589246698964</c:v>
                </c:pt>
                <c:pt idx="6">
                  <c:v>0.001628477717378839</c:v>
                </c:pt>
                <c:pt idx="7">
                  <c:v>0.0018831810323536675</c:v>
                </c:pt>
                <c:pt idx="8">
                  <c:v>0.0022389859116117255</c:v>
                </c:pt>
                <c:pt idx="9">
                  <c:v>0.0022979821827682815</c:v>
                </c:pt>
                <c:pt idx="10">
                  <c:v>0.0021916473882868624</c:v>
                </c:pt>
                <c:pt idx="11">
                  <c:v>0.0022494376405898524</c:v>
                </c:pt>
                <c:pt idx="12">
                  <c:v>0.0022865457568986124</c:v>
                </c:pt>
                <c:pt idx="13">
                  <c:v>0.00334941050375134</c:v>
                </c:pt>
                <c:pt idx="14">
                  <c:v>0.003291102373671181</c:v>
                </c:pt>
                <c:pt idx="15">
                  <c:v>0.0032060260839792075</c:v>
                </c:pt>
                <c:pt idx="16">
                  <c:v>0.002947193231857425</c:v>
                </c:pt>
                <c:pt idx="17">
                  <c:v>0.003891193421680555</c:v>
                </c:pt>
                <c:pt idx="18">
                  <c:v>0.0021183635641466966</c:v>
                </c:pt>
                <c:pt idx="19">
                  <c:v>0.0018699186991869919</c:v>
                </c:pt>
                <c:pt idx="20">
                  <c:v>0.002169101372288623</c:v>
                </c:pt>
                <c:pt idx="21">
                  <c:v>0.002878464818763326</c:v>
                </c:pt>
                <c:pt idx="22">
                  <c:v>0.0024758994890164885</c:v>
                </c:pt>
                <c:pt idx="23">
                  <c:v>0.0025180643748631487</c:v>
                </c:pt>
                <c:pt idx="24">
                  <c:v>0.00233172703248873</c:v>
                </c:pt>
                <c:pt idx="25">
                  <c:v>0.0026630434782608696</c:v>
                </c:pt>
                <c:pt idx="26">
                  <c:v>0.0026856729676686293</c:v>
                </c:pt>
                <c:pt idx="27">
                  <c:v>0.0025617566331198535</c:v>
                </c:pt>
                <c:pt idx="28">
                  <c:v>0.002144388849177984</c:v>
                </c:pt>
                <c:pt idx="29">
                  <c:v>0.002535421327367636</c:v>
                </c:pt>
                <c:pt idx="30">
                  <c:v>0.002432460407825277</c:v>
                </c:pt>
                <c:pt idx="31">
                  <c:v>0.002529898804047838</c:v>
                </c:pt>
                <c:pt idx="32">
                  <c:v>0.0021514189119967216</c:v>
                </c:pt>
                <c:pt idx="33">
                  <c:v>0.0021745618897369206</c:v>
                </c:pt>
                <c:pt idx="34">
                  <c:v>0.002030250735965892</c:v>
                </c:pt>
                <c:pt idx="35">
                  <c:v>0.0024136430182408104</c:v>
                </c:pt>
                <c:pt idx="36">
                  <c:v>0.002752767104433102</c:v>
                </c:pt>
                <c:pt idx="37">
                  <c:v>0.0028208744710860366</c:v>
                </c:pt>
                <c:pt idx="38">
                  <c:v>0.0031652854511970536</c:v>
                </c:pt>
                <c:pt idx="39">
                  <c:v>0.0031259768677711786</c:v>
                </c:pt>
                <c:pt idx="40">
                  <c:v>0.0029267866503582037</c:v>
                </c:pt>
                <c:pt idx="41">
                  <c:v>0.0023961001404610425</c:v>
                </c:pt>
                <c:pt idx="42">
                  <c:v>0.0027413533147530498</c:v>
                </c:pt>
                <c:pt idx="43">
                  <c:v>0.0020007589085515197</c:v>
                </c:pt>
                <c:pt idx="44">
                  <c:v>0.0015271134674119749</c:v>
                </c:pt>
                <c:pt idx="45">
                  <c:v>0.0012748093280875662</c:v>
                </c:pt>
                <c:pt idx="46">
                  <c:v>0.0013688893568852502</c:v>
                </c:pt>
                <c:pt idx="47">
                  <c:v>0.0014565743346664692</c:v>
                </c:pt>
                <c:pt idx="48">
                  <c:v>0.0015998337835030126</c:v>
                </c:pt>
                <c:pt idx="49">
                  <c:v>0.001481903676261043</c:v>
                </c:pt>
                <c:pt idx="50">
                  <c:v>0.0012530527177179098</c:v>
                </c:pt>
                <c:pt idx="51">
                  <c:v>0.001362515679743933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58.3130213900017</c:v>
                </c:pt>
              </c:numCache>
            </c:numRef>
          </c:xVal>
          <c:yVal>
            <c:numRef>
              <c:f>Sheet1!$B$163:$B$164</c:f>
              <c:numCache>
                <c:formatCode>General</c:formatCode>
                <c:ptCount val="2"/>
                <c:pt idx="0">
                  <c:v>0.0026727990029129967</c:v>
                </c:pt>
                <c:pt idx="1">
                  <c:v>0.002672799002912996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58.3130213900017</c:v>
                </c:pt>
                <c:pt idx="1">
                  <c:v>3558.3130213900017</c:v>
                </c:pt>
              </c:numCache>
            </c:numRef>
          </c:xVal>
          <c:yVal>
            <c:numRef>
              <c:f>Sheet1!$B$167:$B$168</c:f>
              <c:numCache>
                <c:formatCode>General</c:formatCode>
                <c:ptCount val="2"/>
                <c:pt idx="0">
                  <c:v>0.002672799002912996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58.3130213900017</c:v>
                </c:pt>
              </c:numCache>
            </c:numRef>
          </c:xVal>
          <c:yVal>
            <c:numRef>
              <c:f>Sheet1!$B$171:$B$172</c:f>
              <c:numCache>
                <c:formatCode>General</c:formatCode>
                <c:ptCount val="2"/>
                <c:pt idx="0">
                  <c:v>0.0026727990029129967</c:v>
                </c:pt>
                <c:pt idx="1">
                  <c:v>0.002672799002912996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58.3130213900017</c:v>
                </c:pt>
                <c:pt idx="1">
                  <c:v>3558.3130213900017</c:v>
                </c:pt>
              </c:numCache>
            </c:numRef>
          </c:xVal>
          <c:yVal>
            <c:numRef>
              <c:f>Sheet1!$B$175:$B$176</c:f>
              <c:numCache>
                <c:formatCode>General</c:formatCode>
                <c:ptCount val="2"/>
                <c:pt idx="0">
                  <c:v>0.002672799002912996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47.124876832874</c:v>
                </c:pt>
              </c:numCache>
            </c:numRef>
          </c:xVal>
          <c:yVal>
            <c:numRef>
              <c:f>Sheet1!$B$179:$B$180</c:f>
              <c:numCache>
                <c:formatCode>General</c:formatCode>
                <c:ptCount val="2"/>
                <c:pt idx="0">
                  <c:v>0.0018858206327824734</c:v>
                </c:pt>
                <c:pt idx="1">
                  <c:v>0.001885820632782473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47.124876832874</c:v>
                </c:pt>
                <c:pt idx="1">
                  <c:v>4247.124876832874</c:v>
                </c:pt>
              </c:numCache>
            </c:numRef>
          </c:xVal>
          <c:yVal>
            <c:numRef>
              <c:f>Sheet1!$B$183:$B$184</c:f>
              <c:numCache>
                <c:formatCode>General</c:formatCode>
                <c:ptCount val="2"/>
                <c:pt idx="0">
                  <c:v>0.001885820632782473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558.3130213900017</c:v>
                </c:pt>
                <c:pt idx="53">
                  <c:v>3558.3130213900017</c:v>
                </c:pt>
                <c:pt idx="54">
                  <c:v>4247.124876832874</c:v>
                </c:pt>
              </c:numCache>
            </c:numRef>
          </c:xVal>
          <c:yVal>
            <c:numRef>
              <c:f>Sheet1!$B$187:$B$241</c:f>
              <c:numCache>
                <c:formatCode>General</c:formatCode>
                <c:ptCount val="55"/>
                <c:pt idx="0">
                  <c:v>0.0017045791109948812</c:v>
                </c:pt>
                <c:pt idx="1">
                  <c:v>0.0022731511429918538</c:v>
                </c:pt>
                <c:pt idx="2">
                  <c:v>0.001829301153609901</c:v>
                </c:pt>
                <c:pt idx="3">
                  <c:v>0.002518206825357183</c:v>
                </c:pt>
                <c:pt idx="4">
                  <c:v>0.0015662101751599171</c:v>
                </c:pt>
                <c:pt idx="5">
                  <c:v>0.0012248145970904087</c:v>
                </c:pt>
                <c:pt idx="6">
                  <c:v>0.0016985264054868434</c:v>
                </c:pt>
                <c:pt idx="7">
                  <c:v>0.0018435029667130502</c:v>
                </c:pt>
                <c:pt idx="8">
                  <c:v>0.001974288568735408</c:v>
                </c:pt>
                <c:pt idx="9">
                  <c:v>0.002056057276005491</c:v>
                </c:pt>
                <c:pt idx="10">
                  <c:v>0.00193893159188224</c:v>
                </c:pt>
                <c:pt idx="11">
                  <c:v>0.0020696890880179866</c:v>
                </c:pt>
                <c:pt idx="12">
                  <c:v>0.002343527826058861</c:v>
                </c:pt>
                <c:pt idx="13">
                  <c:v>0.0028385380696760855</c:v>
                </c:pt>
                <c:pt idx="14">
                  <c:v>0.002790411080414913</c:v>
                </c:pt>
                <c:pt idx="15">
                  <c:v>0.002576885861267114</c:v>
                </c:pt>
                <c:pt idx="16">
                  <c:v>0.002311059814444876</c:v>
                </c:pt>
                <c:pt idx="17">
                  <c:v>0.0034143583356261963</c:v>
                </c:pt>
                <c:pt idx="18">
                  <c:v>0.0020640767080668506</c:v>
                </c:pt>
                <c:pt idx="19">
                  <c:v>0.0017060418738659268</c:v>
                </c:pt>
                <c:pt idx="20">
                  <c:v>0.0018741418106659052</c:v>
                </c:pt>
                <c:pt idx="21">
                  <c:v>0.0025404767416911883</c:v>
                </c:pt>
                <c:pt idx="22">
                  <c:v>0.0023059471708678676</c:v>
                </c:pt>
                <c:pt idx="23">
                  <c:v>0.0031454129923964525</c:v>
                </c:pt>
                <c:pt idx="24">
                  <c:v>0.002102736583603067</c:v>
                </c:pt>
                <c:pt idx="25">
                  <c:v>0.0026149349479016194</c:v>
                </c:pt>
                <c:pt idx="26">
                  <c:v>0.0023753994444691536</c:v>
                </c:pt>
                <c:pt idx="27">
                  <c:v>0.002498004862468926</c:v>
                </c:pt>
                <c:pt idx="28">
                  <c:v>0.002381165492784075</c:v>
                </c:pt>
                <c:pt idx="29">
                  <c:v>0.002644190548077253</c:v>
                </c:pt>
                <c:pt idx="30">
                  <c:v>0.002661998826289161</c:v>
                </c:pt>
                <c:pt idx="31">
                  <c:v>0.0023033450913249433</c:v>
                </c:pt>
                <c:pt idx="32">
                  <c:v>0.001644266848869094</c:v>
                </c:pt>
                <c:pt idx="33">
                  <c:v>0.001969098119838148</c:v>
                </c:pt>
                <c:pt idx="34">
                  <c:v>0.0018175646609184856</c:v>
                </c:pt>
                <c:pt idx="35">
                  <c:v>0.002150259067798965</c:v>
                </c:pt>
                <c:pt idx="36">
                  <c:v>0.001968867103160396</c:v>
                </c:pt>
                <c:pt idx="37">
                  <c:v>0.0020071969059062937</c:v>
                </c:pt>
                <c:pt idx="38">
                  <c:v>0.002620850208769035</c:v>
                </c:pt>
                <c:pt idx="39">
                  <c:v>0.002984639094869865</c:v>
                </c:pt>
                <c:pt idx="40">
                  <c:v>0.0030574853256567546</c:v>
                </c:pt>
                <c:pt idx="41">
                  <c:v>0.002703157497947587</c:v>
                </c:pt>
                <c:pt idx="42">
                  <c:v>0.00296004233102889</c:v>
                </c:pt>
                <c:pt idx="43">
                  <c:v>0.0025472829363138516</c:v>
                </c:pt>
                <c:pt idx="44">
                  <c:v>0.0020215561576750916</c:v>
                </c:pt>
                <c:pt idx="45">
                  <c:v>0.0018283647477291614</c:v>
                </c:pt>
                <c:pt idx="46">
                  <c:v>0.0017415888510826467</c:v>
                </c:pt>
                <c:pt idx="47">
                  <c:v>0.0018353634562499515</c:v>
                </c:pt>
                <c:pt idx="48">
                  <c:v>0.0022166548833571185</c:v>
                </c:pt>
                <c:pt idx="49">
                  <c:v>0.0023147875004710895</c:v>
                </c:pt>
                <c:pt idx="50">
                  <c:v>0.00215410477569863</c:v>
                </c:pt>
                <c:pt idx="51">
                  <c:v>0.001899129429133283</c:v>
                </c:pt>
                <c:pt idx="52">
                  <c:v>0.002672799002912997</c:v>
                </c:pt>
                <c:pt idx="53">
                  <c:v>0.002672799002912997</c:v>
                </c:pt>
                <c:pt idx="54">
                  <c:v>0.001885820632782473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64.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69432106016665"/>
          <c:min val="4.126050853576771e-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785762817778059</c:v>
                </c:pt>
                <c:pt idx="1">
                  <c:v>0.46374078821675346</c:v>
                </c:pt>
                <c:pt idx="2">
                  <c:v>0.3857415047178868</c:v>
                </c:pt>
                <c:pt idx="3">
                  <c:v>0.35302193022512335</c:v>
                </c:pt>
                <c:pt idx="4">
                  <c:v>0.4754154669409822</c:v>
                </c:pt>
                <c:pt idx="5">
                  <c:v>0.4651406419956008</c:v>
                </c:pt>
                <c:pt idx="6">
                  <c:v>0.40109951347625994</c:v>
                </c:pt>
                <c:pt idx="7">
                  <c:v>0.39447393388897767</c:v>
                </c:pt>
                <c:pt idx="8">
                  <c:v>0.36296760295018343</c:v>
                </c:pt>
                <c:pt idx="9">
                  <c:v>0.3981552596435534</c:v>
                </c:pt>
                <c:pt idx="10">
                  <c:v>0.43651617382753</c:v>
                </c:pt>
                <c:pt idx="11">
                  <c:v>0.3745107977385133</c:v>
                </c:pt>
                <c:pt idx="12">
                  <c:v>0.3828592491711609</c:v>
                </c:pt>
                <c:pt idx="13">
                  <c:v>0.3611828487427171</c:v>
                </c:pt>
                <c:pt idx="14">
                  <c:v>0.4600130217100415</c:v>
                </c:pt>
                <c:pt idx="15">
                  <c:v>0.35328372672634256</c:v>
                </c:pt>
                <c:pt idx="16">
                  <c:v>0.4665937768812605</c:v>
                </c:pt>
                <c:pt idx="17">
                  <c:v>0.3317847290763738</c:v>
                </c:pt>
                <c:pt idx="18">
                  <c:v>0.4548177353314049</c:v>
                </c:pt>
                <c:pt idx="19">
                  <c:v>0.3943482889680289</c:v>
                </c:pt>
                <c:pt idx="20">
                  <c:v>0.31270821233892243</c:v>
                </c:pt>
                <c:pt idx="21">
                  <c:v>0.6746049600691085</c:v>
                </c:pt>
                <c:pt idx="22">
                  <c:v>0.29729599481780233</c:v>
                </c:pt>
                <c:pt idx="23">
                  <c:v>0.37417106108233406</c:v>
                </c:pt>
                <c:pt idx="24">
                  <c:v>0.26454184082822135</c:v>
                </c:pt>
                <c:pt idx="25">
                  <c:v>0.26203538472764903</c:v>
                </c:pt>
                <c:pt idx="26">
                  <c:v>0.32518415609359463</c:v>
                </c:pt>
                <c:pt idx="27">
                  <c:v>0.3035013745200513</c:v>
                </c:pt>
                <c:pt idx="28">
                  <c:v>0.3294468333097072</c:v>
                </c:pt>
                <c:pt idx="29">
                  <c:v>0.31478154415006865</c:v>
                </c:pt>
                <c:pt idx="30">
                  <c:v>0.31023744744338644</c:v>
                </c:pt>
                <c:pt idx="31">
                  <c:v>0.33139194045083165</c:v>
                </c:pt>
                <c:pt idx="32">
                  <c:v>0.414290957486886</c:v>
                </c:pt>
                <c:pt idx="33">
                  <c:v>0.2676689834999057</c:v>
                </c:pt>
                <c:pt idx="34">
                  <c:v>0.3029942019244732</c:v>
                </c:pt>
                <c:pt idx="35">
                  <c:v>0.2970504397867873</c:v>
                </c:pt>
                <c:pt idx="36">
                  <c:v>0.2770624867950976</c:v>
                </c:pt>
                <c:pt idx="37">
                  <c:v>0.2968408108425729</c:v>
                </c:pt>
                <c:pt idx="38">
                  <c:v>0.3026193061958436</c:v>
                </c:pt>
                <c:pt idx="39">
                  <c:v>0.36979057511332586</c:v>
                </c:pt>
                <c:pt idx="40">
                  <c:v>0.4369076336718535</c:v>
                </c:pt>
                <c:pt idx="41">
                  <c:v>0.4023038198447468</c:v>
                </c:pt>
                <c:pt idx="42">
                  <c:v>0.3532395019229527</c:v>
                </c:pt>
                <c:pt idx="43">
                  <c:v>0.3316696194837956</c:v>
                </c:pt>
                <c:pt idx="44">
                  <c:v>0.3321405350713303</c:v>
                </c:pt>
                <c:pt idx="45">
                  <c:v>0.3452909395371052</c:v>
                </c:pt>
                <c:pt idx="46">
                  <c:v>0.33426299996717473</c:v>
                </c:pt>
                <c:pt idx="47">
                  <c:v>0.2873562292134157</c:v>
                </c:pt>
                <c:pt idx="48">
                  <c:v>0.40800290639519254</c:v>
                </c:pt>
                <c:pt idx="49">
                  <c:v>0.3669279117077776</c:v>
                </c:pt>
                <c:pt idx="50">
                  <c:v>0.33764932874626186</c:v>
                </c:pt>
                <c:pt idx="51">
                  <c:v>0.29146137381273</c:v>
                </c:pt>
                <c:pt idx="52">
                  <c:v>0.3472475301185864</c:v>
                </c:pt>
                <c:pt idx="53">
                  <c:v>0.3696384057329836</c:v>
                </c:pt>
                <c:pt idx="54">
                  <c:v>0.3114876404102741</c:v>
                </c:pt>
                <c:pt idx="55">
                  <c:v>0.32334899234191083</c:v>
                </c:pt>
                <c:pt idx="56">
                  <c:v>0.2667427873304363</c:v>
                </c:pt>
                <c:pt idx="57">
                  <c:v>0.2756558354279753</c:v>
                </c:pt>
                <c:pt idx="58">
                  <c:v>0.25443636555393323</c:v>
                </c:pt>
                <c:pt idx="59">
                  <c:v>0.2795630278400122</c:v>
                </c:pt>
                <c:pt idx="60">
                  <c:v>0.26965257425388295</c:v>
                </c:pt>
                <c:pt idx="61">
                  <c:v>0.27455076206147944</c:v>
                </c:pt>
                <c:pt idx="62">
                  <c:v>0.2395001969119012</c:v>
                </c:pt>
                <c:pt idx="63">
                  <c:v>0.26670641611110807</c:v>
                </c:pt>
                <c:pt idx="64">
                  <c:v>0.24659403901395893</c:v>
                </c:pt>
                <c:pt idx="65">
                  <c:v>0.24183758879111636</c:v>
                </c:pt>
                <c:pt idx="66">
                  <c:v>0.22849817728082172</c:v>
                </c:pt>
                <c:pt idx="67">
                  <c:v>0.2458511240632114</c:v>
                </c:pt>
                <c:pt idx="68">
                  <c:v>0.19321805977824857</c:v>
                </c:pt>
                <c:pt idx="69">
                  <c:v>0.17626698165243046</c:v>
                </c:pt>
                <c:pt idx="70">
                  <c:v>0.20366958866143187</c:v>
                </c:pt>
                <c:pt idx="71">
                  <c:v>0.1620202613449887</c:v>
                </c:pt>
                <c:pt idx="72">
                  <c:v>0.1954737307036916</c:v>
                </c:pt>
                <c:pt idx="73">
                  <c:v>0.14676618010607545</c:v>
                </c:pt>
                <c:pt idx="74">
                  <c:v>0.1791315260424808</c:v>
                </c:pt>
                <c:pt idx="75">
                  <c:v>0.26516276800944294</c:v>
                </c:pt>
                <c:pt idx="76">
                  <c:v>0.27007779359182293</c:v>
                </c:pt>
                <c:pt idx="77">
                  <c:v>0.3222972772090923</c:v>
                </c:pt>
                <c:pt idx="78">
                  <c:v>0.2617585232570256</c:v>
                </c:pt>
                <c:pt idx="79">
                  <c:v>0.36073332479535236</c:v>
                </c:pt>
                <c:pt idx="80">
                  <c:v>0.30883940896711903</c:v>
                </c:pt>
                <c:pt idx="81">
                  <c:v>0.3127368510208032</c:v>
                </c:pt>
                <c:pt idx="82">
                  <c:v>0.30499628617983515</c:v>
                </c:pt>
                <c:pt idx="83">
                  <c:v>0.34640484661612697</c:v>
                </c:pt>
                <c:pt idx="84">
                  <c:v>0.31731854368180396</c:v>
                </c:pt>
                <c:pt idx="85">
                  <c:v>0.29581753548761475</c:v>
                </c:pt>
                <c:pt idx="86">
                  <c:v>0.41239876907082673</c:v>
                </c:pt>
                <c:pt idx="87">
                  <c:v>0.3927556153036028</c:v>
                </c:pt>
                <c:pt idx="88">
                  <c:v>0.35281287634007785</c:v>
                </c:pt>
                <c:pt idx="89">
                  <c:v>0.34422370937014696</c:v>
                </c:pt>
                <c:pt idx="90">
                  <c:v>0.39410712499681955</c:v>
                </c:pt>
                <c:pt idx="91">
                  <c:v>0.3245043156436626</c:v>
                </c:pt>
                <c:pt idx="92">
                  <c:v>0.37625958935656517</c:v>
                </c:pt>
                <c:pt idx="93">
                  <c:v>0.4020673332872417</c:v>
                </c:pt>
                <c:pt idx="94">
                  <c:v>0.38049964279669046</c:v>
                </c:pt>
                <c:pt idx="95">
                  <c:v>0.3754298978965054</c:v>
                </c:pt>
                <c:pt idx="96">
                  <c:v>0.32792280295462656</c:v>
                </c:pt>
                <c:pt idx="97">
                  <c:v>0.32857301321440396</c:v>
                </c:pt>
                <c:pt idx="98">
                  <c:v>0.31515373209385994</c:v>
                </c:pt>
                <c:pt idx="99">
                  <c:v>0.338040599766313</c:v>
                </c:pt>
                <c:pt idx="100">
                  <c:v>0.39139066136929124</c:v>
                </c:pt>
                <c:pt idx="101">
                  <c:v>0.3618401615121024</c:v>
                </c:pt>
                <c:pt idx="102">
                  <c:v>0.3685419526312518</c:v>
                </c:pt>
                <c:pt idx="103">
                  <c:v>0.3774425859830826</c:v>
                </c:pt>
                <c:pt idx="104">
                  <c:v>0.3982313725608072</c:v>
                </c:pt>
              </c:numCache>
            </c:numRef>
          </c:xVal>
          <c:yVal>
            <c:numRef>
              <c:f>Sheet1!$B$2:$B$106</c:f>
              <c:numCache>
                <c:formatCode>General</c:formatCode>
                <c:ptCount val="105"/>
                <c:pt idx="0">
                  <c:v>0.0004068348250610252</c:v>
                </c:pt>
                <c:pt idx="1">
                  <c:v>0.00013251000450534016</c:v>
                </c:pt>
                <c:pt idx="2">
                  <c:v>0.00015396063739703882</c:v>
                </c:pt>
                <c:pt idx="3">
                  <c:v>0.00013456776832813006</c:v>
                </c:pt>
                <c:pt idx="4">
                  <c:v>9.577015163607342e-05</c:v>
                </c:pt>
                <c:pt idx="5">
                  <c:v>0.0001952044766893321</c:v>
                </c:pt>
                <c:pt idx="6">
                  <c:v>0.00035394813051032887</c:v>
                </c:pt>
                <c:pt idx="7">
                  <c:v>0.0002935995302407516</c:v>
                </c:pt>
                <c:pt idx="8">
                  <c:v>0.0002665448176071891</c:v>
                </c:pt>
                <c:pt idx="9">
                  <c:v>0.0002675704602211916</c:v>
                </c:pt>
                <c:pt idx="10">
                  <c:v>0.00017219113215669393</c:v>
                </c:pt>
                <c:pt idx="11">
                  <c:v>0.00028758771425284714</c:v>
                </c:pt>
                <c:pt idx="12">
                  <c:v>0.00029195530429705125</c:v>
                </c:pt>
                <c:pt idx="13">
                  <c:v>0.00028119112560807583</c:v>
                </c:pt>
                <c:pt idx="14">
                  <c:v>8.361437052314724e-05</c:v>
                </c:pt>
                <c:pt idx="15">
                  <c:v>0.00019857686579513486</c:v>
                </c:pt>
                <c:pt idx="16">
                  <c:v>7.464079119238663e-05</c:v>
                </c:pt>
                <c:pt idx="17">
                  <c:v>0.00016345210853220007</c:v>
                </c:pt>
                <c:pt idx="18">
                  <c:v>9.092148929399464e-05</c:v>
                </c:pt>
                <c:pt idx="19">
                  <c:v>0.00015876375952582556</c:v>
                </c:pt>
                <c:pt idx="20">
                  <c:v>0.00021842645581232798</c:v>
                </c:pt>
                <c:pt idx="21">
                  <c:v>5.157563566970963e-05</c:v>
                </c:pt>
                <c:pt idx="22">
                  <c:v>0.0003682272488164124</c:v>
                </c:pt>
                <c:pt idx="23">
                  <c:v>0.0002789089083505327</c:v>
                </c:pt>
                <c:pt idx="24">
                  <c:v>0.0004662970830526916</c:v>
                </c:pt>
                <c:pt idx="25">
                  <c:v>0.000583158385817588</c:v>
                </c:pt>
                <c:pt idx="26">
                  <c:v>0.0005226025607525476</c:v>
                </c:pt>
                <c:pt idx="27">
                  <c:v>0.0002508277315139962</c:v>
                </c:pt>
                <c:pt idx="28">
                  <c:v>0.0002559770644550248</c:v>
                </c:pt>
                <c:pt idx="29">
                  <c:v>0.00040578926011091576</c:v>
                </c:pt>
                <c:pt idx="30">
                  <c:v>0.00029064698017787597</c:v>
                </c:pt>
                <c:pt idx="31">
                  <c:v>0.00033163829316825116</c:v>
                </c:pt>
                <c:pt idx="32">
                  <c:v>0.00021867483052700635</c:v>
                </c:pt>
                <c:pt idx="33">
                  <c:v>0.0005688531046252134</c:v>
                </c:pt>
                <c:pt idx="34">
                  <c:v>0.0005597984725498821</c:v>
                </c:pt>
                <c:pt idx="35">
                  <c:v>0.0006072055053299149</c:v>
                </c:pt>
                <c:pt idx="36">
                  <c:v>0.0003740959348241749</c:v>
                </c:pt>
                <c:pt idx="37">
                  <c:v>0.0002884615384615385</c:v>
                </c:pt>
                <c:pt idx="38">
                  <c:v>0.0002411149153686647</c:v>
                </c:pt>
                <c:pt idx="39">
                  <c:v>0.0003058103975535168</c:v>
                </c:pt>
                <c:pt idx="40">
                  <c:v>0.00017058296729071602</c:v>
                </c:pt>
                <c:pt idx="41">
                  <c:v>0.00018400956849756188</c:v>
                </c:pt>
                <c:pt idx="42">
                  <c:v>0.00011764244539429826</c:v>
                </c:pt>
                <c:pt idx="43">
                  <c:v>0.00024577788701239423</c:v>
                </c:pt>
                <c:pt idx="44">
                  <c:v>0.0002135585981064471</c:v>
                </c:pt>
                <c:pt idx="45">
                  <c:v>0.00015428697377121447</c:v>
                </c:pt>
                <c:pt idx="46">
                  <c:v>0.00031837670331536275</c:v>
                </c:pt>
                <c:pt idx="47">
                  <c:v>0.00038505144715168886</c:v>
                </c:pt>
                <c:pt idx="48">
                  <c:v>0.00019302845561149806</c:v>
                </c:pt>
                <c:pt idx="49">
                  <c:v>0.00019773483758280146</c:v>
                </c:pt>
                <c:pt idx="50">
                  <c:v>0.00029062525948683884</c:v>
                </c:pt>
                <c:pt idx="51">
                  <c:v>0.00037329218823880747</c:v>
                </c:pt>
                <c:pt idx="52">
                  <c:v>0.0001283175431467739</c:v>
                </c:pt>
                <c:pt idx="53">
                  <c:v>0.00015959569091634525</c:v>
                </c:pt>
                <c:pt idx="54">
                  <c:v>0.0003744239631336406</c:v>
                </c:pt>
                <c:pt idx="55">
                  <c:v>0.00023897003913134391</c:v>
                </c:pt>
                <c:pt idx="56">
                  <c:v>0.00024144383412808595</c:v>
                </c:pt>
                <c:pt idx="57">
                  <c:v>0.00015713799334782496</c:v>
                </c:pt>
                <c:pt idx="58">
                  <c:v>0.0001700308484539338</c:v>
                </c:pt>
                <c:pt idx="59">
                  <c:v>0.00020895618349567622</c:v>
                </c:pt>
                <c:pt idx="60">
                  <c:v>0.0003703377127237457</c:v>
                </c:pt>
                <c:pt idx="61">
                  <c:v>0.0003837206513658057</c:v>
                </c:pt>
                <c:pt idx="62">
                  <c:v>0.0004231013327691982</c:v>
                </c:pt>
                <c:pt idx="63">
                  <c:v>0.00036491649851886834</c:v>
                </c:pt>
                <c:pt idx="64">
                  <c:v>0.0005016617545619866</c:v>
                </c:pt>
                <c:pt idx="65">
                  <c:v>0.00036552212551115986</c:v>
                </c:pt>
                <c:pt idx="66">
                  <c:v>0.00040122728345527497</c:v>
                </c:pt>
                <c:pt idx="67">
                  <c:v>0.0002922552362396493</c:v>
                </c:pt>
                <c:pt idx="68">
                  <c:v>0.00046797309154723605</c:v>
                </c:pt>
                <c:pt idx="69">
                  <c:v>0.0004883546205860256</c:v>
                </c:pt>
                <c:pt idx="70">
                  <c:v>0.00038771985478129074</c:v>
                </c:pt>
                <c:pt idx="71">
                  <c:v>0.00041471874528728697</c:v>
                </c:pt>
                <c:pt idx="72">
                  <c:v>0.0005811841627315655</c:v>
                </c:pt>
                <c:pt idx="73">
                  <c:v>0.0009446438692612885</c:v>
                </c:pt>
                <c:pt idx="74">
                  <c:v>0.0010105020029593274</c:v>
                </c:pt>
                <c:pt idx="75">
                  <c:v>0.0010670081092616305</c:v>
                </c:pt>
                <c:pt idx="76">
                  <c:v>0.0015070557610631593</c:v>
                </c:pt>
                <c:pt idx="77">
                  <c:v>0.001357527489931671</c:v>
                </c:pt>
                <c:pt idx="78">
                  <c:v>0.0019386953104532354</c:v>
                </c:pt>
                <c:pt idx="79">
                  <c:v>0.0013696128560993425</c:v>
                </c:pt>
                <c:pt idx="80">
                  <c:v>0.0013775369639085315</c:v>
                </c:pt>
                <c:pt idx="81">
                  <c:v>0.0015751661608206231</c:v>
                </c:pt>
                <c:pt idx="82">
                  <c:v>0.0016255356878971479</c:v>
                </c:pt>
                <c:pt idx="83">
                  <c:v>0.0012959936890742096</c:v>
                </c:pt>
                <c:pt idx="84">
                  <c:v>0.0014231499051233396</c:v>
                </c:pt>
                <c:pt idx="85">
                  <c:v>0.001213208144319021</c:v>
                </c:pt>
                <c:pt idx="86">
                  <c:v>0.0011109347722583717</c:v>
                </c:pt>
                <c:pt idx="87">
                  <c:v>0.0010732492621411322</c:v>
                </c:pt>
                <c:pt idx="88">
                  <c:v>0.0015150080484802575</c:v>
                </c:pt>
                <c:pt idx="89">
                  <c:v>0.0017422495516269537</c:v>
                </c:pt>
                <c:pt idx="90">
                  <c:v>0.0015322026734294922</c:v>
                </c:pt>
                <c:pt idx="91">
                  <c:v>0.0017557941205979732</c:v>
                </c:pt>
                <c:pt idx="92">
                  <c:v>0.0014452657224263946</c:v>
                </c:pt>
                <c:pt idx="93">
                  <c:v>0.0013598368195816503</c:v>
                </c:pt>
                <c:pt idx="94">
                  <c:v>0.0015503169030139984</c:v>
                </c:pt>
                <c:pt idx="95">
                  <c:v>0.0016272041975226646</c:v>
                </c:pt>
                <c:pt idx="96">
                  <c:v>0.0020251211456399623</c:v>
                </c:pt>
                <c:pt idx="97">
                  <c:v>0.0024804345036992686</c:v>
                </c:pt>
                <c:pt idx="98">
                  <c:v>0.002372989031932585</c:v>
                </c:pt>
                <c:pt idx="99">
                  <c:v>0.002219103873641615</c:v>
                </c:pt>
                <c:pt idx="100">
                  <c:v>0.001695866763350565</c:v>
                </c:pt>
                <c:pt idx="101">
                  <c:v>0.002240143369175627</c:v>
                </c:pt>
                <c:pt idx="102">
                  <c:v>0.0018302227573750753</c:v>
                </c:pt>
                <c:pt idx="103">
                  <c:v>0.001802624073017684</c:v>
                </c:pt>
                <c:pt idx="104">
                  <c:v>0.00137791181364392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278504827876497</c:v>
                </c:pt>
                <c:pt idx="1">
                  <c:v>0.38661315238339394</c:v>
                </c:pt>
                <c:pt idx="2">
                  <c:v>0.41753803205583906</c:v>
                </c:pt>
                <c:pt idx="3">
                  <c:v>0.36202400225877507</c:v>
                </c:pt>
                <c:pt idx="4">
                  <c:v>0.44022403517320785</c:v>
                </c:pt>
                <c:pt idx="5">
                  <c:v>0.4645631219608182</c:v>
                </c:pt>
                <c:pt idx="6">
                  <c:v>0.425914515673739</c:v>
                </c:pt>
                <c:pt idx="7">
                  <c:v>0.4149102361422014</c:v>
                </c:pt>
                <c:pt idx="8">
                  <c:v>0.4020380164927007</c:v>
                </c:pt>
                <c:pt idx="9">
                  <c:v>0.40678266558844384</c:v>
                </c:pt>
                <c:pt idx="10">
                  <c:v>0.41332982135138613</c:v>
                </c:pt>
                <c:pt idx="11">
                  <c:v>0.39883881667679366</c:v>
                </c:pt>
                <c:pt idx="12">
                  <c:v>0.37447577927239234</c:v>
                </c:pt>
                <c:pt idx="13">
                  <c:v>0.32741400692570843</c:v>
                </c:pt>
                <c:pt idx="14">
                  <c:v>0.32622268918816894</c:v>
                </c:pt>
                <c:pt idx="15">
                  <c:v>0.3345235710876231</c:v>
                </c:pt>
                <c:pt idx="16">
                  <c:v>0.35544146446165903</c:v>
                </c:pt>
                <c:pt idx="17">
                  <c:v>0.2663868631662285</c:v>
                </c:pt>
                <c:pt idx="18">
                  <c:v>0.36970977961204343</c:v>
                </c:pt>
                <c:pt idx="19">
                  <c:v>0.40852536392466465</c:v>
                </c:pt>
                <c:pt idx="20">
                  <c:v>0.3900305307548598</c:v>
                </c:pt>
                <c:pt idx="21">
                  <c:v>0.3442640916545982</c:v>
                </c:pt>
                <c:pt idx="22">
                  <c:v>0.3628748158104141</c:v>
                </c:pt>
                <c:pt idx="23">
                  <c:v>0.2992370694734611</c:v>
                </c:pt>
                <c:pt idx="24">
                  <c:v>0.3766737204713993</c:v>
                </c:pt>
                <c:pt idx="25">
                  <c:v>0.33384142741440775</c:v>
                </c:pt>
                <c:pt idx="26">
                  <c:v>0.3481441990572301</c:v>
                </c:pt>
                <c:pt idx="27">
                  <c:v>0.3378467459171543</c:v>
                </c:pt>
                <c:pt idx="28">
                  <c:v>0.3521130312080286</c:v>
                </c:pt>
                <c:pt idx="29">
                  <c:v>0.3328151074373312</c:v>
                </c:pt>
                <c:pt idx="30">
                  <c:v>0.33656876879220265</c:v>
                </c:pt>
                <c:pt idx="31">
                  <c:v>0.36303128739829227</c:v>
                </c:pt>
                <c:pt idx="32">
                  <c:v>0.42066303050752346</c:v>
                </c:pt>
                <c:pt idx="33">
                  <c:v>0.40119255887228994</c:v>
                </c:pt>
                <c:pt idx="34">
                  <c:v>0.40029003011646014</c:v>
                </c:pt>
                <c:pt idx="35">
                  <c:v>0.36312750873799443</c:v>
                </c:pt>
                <c:pt idx="36">
                  <c:v>0.37889401572575754</c:v>
                </c:pt>
                <c:pt idx="37">
                  <c:v>0.372627500021012</c:v>
                </c:pt>
                <c:pt idx="38">
                  <c:v>0.32295228594700776</c:v>
                </c:pt>
                <c:pt idx="39">
                  <c:v>0.2975203328989363</c:v>
                </c:pt>
                <c:pt idx="40">
                  <c:v>0.2956698676403154</c:v>
                </c:pt>
                <c:pt idx="41">
                  <c:v>0.32716374240808976</c:v>
                </c:pt>
                <c:pt idx="42">
                  <c:v>0.30207639912143625</c:v>
                </c:pt>
                <c:pt idx="43">
                  <c:v>0.34423810179515013</c:v>
                </c:pt>
                <c:pt idx="44">
                  <c:v>0.39857687445512513</c:v>
                </c:pt>
                <c:pt idx="45">
                  <c:v>0.42520361551925084</c:v>
                </c:pt>
                <c:pt idx="46">
                  <c:v>0.42862945553866766</c:v>
                </c:pt>
                <c:pt idx="47">
                  <c:v>0.41596491395576185</c:v>
                </c:pt>
                <c:pt idx="48">
                  <c:v>0.38472795556170414</c:v>
                </c:pt>
                <c:pt idx="49">
                  <c:v>0.3876947451354015</c:v>
                </c:pt>
                <c:pt idx="50">
                  <c:v>0.4174018947351951</c:v>
                </c:pt>
                <c:pt idx="51">
                  <c:v>0.4188196860222043</c:v>
                </c:pt>
              </c:numCache>
            </c:numRef>
          </c:xVal>
          <c:yVal>
            <c:numRef>
              <c:f>Sheet1!$B$109:$B$160</c:f>
              <c:numCache>
                <c:formatCode>General</c:formatCode>
                <c:ptCount val="52"/>
                <c:pt idx="0">
                  <c:v>0.0013676019806649375</c:v>
                </c:pt>
                <c:pt idx="1">
                  <c:v>0.0016099818877037633</c:v>
                </c:pt>
                <c:pt idx="2">
                  <c:v>0.0015756302521008404</c:v>
                </c:pt>
                <c:pt idx="3">
                  <c:v>0.001680595930232558</c:v>
                </c:pt>
                <c:pt idx="4">
                  <c:v>0.0015973690392295044</c:v>
                </c:pt>
                <c:pt idx="5">
                  <c:v>0.0014011589246698964</c:v>
                </c:pt>
                <c:pt idx="6">
                  <c:v>0.001628477717378839</c:v>
                </c:pt>
                <c:pt idx="7">
                  <c:v>0.0018831810323536675</c:v>
                </c:pt>
                <c:pt idx="8">
                  <c:v>0.0022389859116117255</c:v>
                </c:pt>
                <c:pt idx="9">
                  <c:v>0.0022979821827682815</c:v>
                </c:pt>
                <c:pt idx="10">
                  <c:v>0.0021916473882868624</c:v>
                </c:pt>
                <c:pt idx="11">
                  <c:v>0.0022494376405898524</c:v>
                </c:pt>
                <c:pt idx="12">
                  <c:v>0.0022865457568986124</c:v>
                </c:pt>
                <c:pt idx="13">
                  <c:v>0.00334941050375134</c:v>
                </c:pt>
                <c:pt idx="14">
                  <c:v>0.003291102373671181</c:v>
                </c:pt>
                <c:pt idx="15">
                  <c:v>0.0032060260839792075</c:v>
                </c:pt>
                <c:pt idx="16">
                  <c:v>0.002947193231857425</c:v>
                </c:pt>
                <c:pt idx="17">
                  <c:v>0.003891193421680555</c:v>
                </c:pt>
                <c:pt idx="18">
                  <c:v>0.0021183635641466966</c:v>
                </c:pt>
                <c:pt idx="19">
                  <c:v>0.0018699186991869919</c:v>
                </c:pt>
                <c:pt idx="20">
                  <c:v>0.002169101372288623</c:v>
                </c:pt>
                <c:pt idx="21">
                  <c:v>0.002878464818763326</c:v>
                </c:pt>
                <c:pt idx="22">
                  <c:v>0.0024758994890164885</c:v>
                </c:pt>
                <c:pt idx="23">
                  <c:v>0.0025180643748631487</c:v>
                </c:pt>
                <c:pt idx="24">
                  <c:v>0.00233172703248873</c:v>
                </c:pt>
                <c:pt idx="25">
                  <c:v>0.0026630434782608696</c:v>
                </c:pt>
                <c:pt idx="26">
                  <c:v>0.0026856729676686293</c:v>
                </c:pt>
                <c:pt idx="27">
                  <c:v>0.0025617566331198535</c:v>
                </c:pt>
                <c:pt idx="28">
                  <c:v>0.002144388849177984</c:v>
                </c:pt>
                <c:pt idx="29">
                  <c:v>0.002535421327367636</c:v>
                </c:pt>
                <c:pt idx="30">
                  <c:v>0.002432460407825277</c:v>
                </c:pt>
                <c:pt idx="31">
                  <c:v>0.002529898804047838</c:v>
                </c:pt>
                <c:pt idx="32">
                  <c:v>0.0021514189119967216</c:v>
                </c:pt>
                <c:pt idx="33">
                  <c:v>0.0021745618897369206</c:v>
                </c:pt>
                <c:pt idx="34">
                  <c:v>0.002030250735965892</c:v>
                </c:pt>
                <c:pt idx="35">
                  <c:v>0.0024136430182408104</c:v>
                </c:pt>
                <c:pt idx="36">
                  <c:v>0.002752767104433102</c:v>
                </c:pt>
                <c:pt idx="37">
                  <c:v>0.0028208744710860366</c:v>
                </c:pt>
                <c:pt idx="38">
                  <c:v>0.0031652854511970536</c:v>
                </c:pt>
                <c:pt idx="39">
                  <c:v>0.0031259768677711786</c:v>
                </c:pt>
                <c:pt idx="40">
                  <c:v>0.0029267866503582037</c:v>
                </c:pt>
                <c:pt idx="41">
                  <c:v>0.0023961001404610425</c:v>
                </c:pt>
                <c:pt idx="42">
                  <c:v>0.0027413533147530498</c:v>
                </c:pt>
                <c:pt idx="43">
                  <c:v>0.0020007589085515197</c:v>
                </c:pt>
                <c:pt idx="44">
                  <c:v>0.0015271134674119749</c:v>
                </c:pt>
                <c:pt idx="45">
                  <c:v>0.0012748093280875662</c:v>
                </c:pt>
                <c:pt idx="46">
                  <c:v>0.0013688893568852502</c:v>
                </c:pt>
                <c:pt idx="47">
                  <c:v>0.0014565743346664692</c:v>
                </c:pt>
                <c:pt idx="48">
                  <c:v>0.0015998337835030126</c:v>
                </c:pt>
                <c:pt idx="49">
                  <c:v>0.001481903676261043</c:v>
                </c:pt>
                <c:pt idx="50">
                  <c:v>0.0012530527177179098</c:v>
                </c:pt>
                <c:pt idx="51">
                  <c:v>0.001362515679743933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3655663826189175</c:v>
                </c:pt>
              </c:numCache>
            </c:numRef>
          </c:xVal>
          <c:yVal>
            <c:numRef>
              <c:f>Sheet1!$B$163:$B$164</c:f>
              <c:numCache>
                <c:formatCode>General</c:formatCode>
                <c:ptCount val="2"/>
                <c:pt idx="0">
                  <c:v>0.0026727990029129967</c:v>
                </c:pt>
                <c:pt idx="1">
                  <c:v>0.002672799002912996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3655663826189175</c:v>
                </c:pt>
                <c:pt idx="1">
                  <c:v>0.33655663826189175</c:v>
                </c:pt>
              </c:numCache>
            </c:numRef>
          </c:xVal>
          <c:yVal>
            <c:numRef>
              <c:f>Sheet1!$B$167:$B$168</c:f>
              <c:numCache>
                <c:formatCode>General</c:formatCode>
                <c:ptCount val="2"/>
                <c:pt idx="0">
                  <c:v>0.002672799002912996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3655663826189175</c:v>
                </c:pt>
              </c:numCache>
            </c:numRef>
          </c:xVal>
          <c:yVal>
            <c:numRef>
              <c:f>Sheet1!$B$171:$B$172</c:f>
              <c:numCache>
                <c:formatCode>General</c:formatCode>
                <c:ptCount val="2"/>
                <c:pt idx="0">
                  <c:v>0.0026727990029129967</c:v>
                </c:pt>
                <c:pt idx="1">
                  <c:v>0.002672799002912996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3655663826189175</c:v>
                </c:pt>
                <c:pt idx="1">
                  <c:v>0.33655663826189175</c:v>
                </c:pt>
              </c:numCache>
            </c:numRef>
          </c:xVal>
          <c:yVal>
            <c:numRef>
              <c:f>Sheet1!$B$175:$B$176</c:f>
              <c:numCache>
                <c:formatCode>General</c:formatCode>
                <c:ptCount val="2"/>
                <c:pt idx="0">
                  <c:v>0.002672799002912996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0356315112235047</c:v>
                </c:pt>
              </c:numCache>
            </c:numRef>
          </c:xVal>
          <c:yVal>
            <c:numRef>
              <c:f>Sheet1!$B$179:$B$180</c:f>
              <c:numCache>
                <c:formatCode>General</c:formatCode>
                <c:ptCount val="2"/>
                <c:pt idx="0">
                  <c:v>0.0018858206327824734</c:v>
                </c:pt>
                <c:pt idx="1">
                  <c:v>0.001885820632782473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0356315112235047</c:v>
                </c:pt>
                <c:pt idx="1">
                  <c:v>0.40356315112235047</c:v>
                </c:pt>
              </c:numCache>
            </c:numRef>
          </c:xVal>
          <c:yVal>
            <c:numRef>
              <c:f>Sheet1!$B$183:$B$184</c:f>
              <c:numCache>
                <c:formatCode>General</c:formatCode>
                <c:ptCount val="2"/>
                <c:pt idx="0">
                  <c:v>0.001885820632782473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278504827876497</c:v>
                </c:pt>
                <c:pt idx="1">
                  <c:v>0.38661315238339394</c:v>
                </c:pt>
                <c:pt idx="2">
                  <c:v>0.41753803205583906</c:v>
                </c:pt>
                <c:pt idx="3">
                  <c:v>0.36202400225877507</c:v>
                </c:pt>
                <c:pt idx="4">
                  <c:v>0.44022403517320785</c:v>
                </c:pt>
                <c:pt idx="5">
                  <c:v>0.4645631219608182</c:v>
                </c:pt>
                <c:pt idx="6">
                  <c:v>0.425914515673739</c:v>
                </c:pt>
                <c:pt idx="7">
                  <c:v>0.4149102361422014</c:v>
                </c:pt>
                <c:pt idx="8">
                  <c:v>0.4020380164927007</c:v>
                </c:pt>
                <c:pt idx="9">
                  <c:v>0.40678266558844384</c:v>
                </c:pt>
                <c:pt idx="10">
                  <c:v>0.41332982135138613</c:v>
                </c:pt>
                <c:pt idx="11">
                  <c:v>0.39883881667679366</c:v>
                </c:pt>
                <c:pt idx="12">
                  <c:v>0.37447577927239234</c:v>
                </c:pt>
                <c:pt idx="13">
                  <c:v>0.32741400692570843</c:v>
                </c:pt>
                <c:pt idx="14">
                  <c:v>0.32622268918816894</c:v>
                </c:pt>
                <c:pt idx="15">
                  <c:v>0.3345235710876231</c:v>
                </c:pt>
                <c:pt idx="16">
                  <c:v>0.35544146446165903</c:v>
                </c:pt>
                <c:pt idx="17">
                  <c:v>0.2663868631662285</c:v>
                </c:pt>
                <c:pt idx="18">
                  <c:v>0.36970977961204343</c:v>
                </c:pt>
                <c:pt idx="19">
                  <c:v>0.40852536392466465</c:v>
                </c:pt>
                <c:pt idx="20">
                  <c:v>0.3900305307548598</c:v>
                </c:pt>
                <c:pt idx="21">
                  <c:v>0.3442640916545982</c:v>
                </c:pt>
                <c:pt idx="22">
                  <c:v>0.3628748158104141</c:v>
                </c:pt>
                <c:pt idx="23">
                  <c:v>0.2992370694734611</c:v>
                </c:pt>
                <c:pt idx="24">
                  <c:v>0.3766737204713993</c:v>
                </c:pt>
                <c:pt idx="25">
                  <c:v>0.33384142741440775</c:v>
                </c:pt>
                <c:pt idx="26">
                  <c:v>0.3481441990572301</c:v>
                </c:pt>
                <c:pt idx="27">
                  <c:v>0.3378467459171543</c:v>
                </c:pt>
                <c:pt idx="28">
                  <c:v>0.3521130312080286</c:v>
                </c:pt>
                <c:pt idx="29">
                  <c:v>0.3328151074373312</c:v>
                </c:pt>
                <c:pt idx="30">
                  <c:v>0.33656876879220265</c:v>
                </c:pt>
                <c:pt idx="31">
                  <c:v>0.36303128739829227</c:v>
                </c:pt>
                <c:pt idx="32">
                  <c:v>0.42066303050752346</c:v>
                </c:pt>
                <c:pt idx="33">
                  <c:v>0.40119255887228994</c:v>
                </c:pt>
                <c:pt idx="34">
                  <c:v>0.40029003011646014</c:v>
                </c:pt>
                <c:pt idx="35">
                  <c:v>0.36312750873799443</c:v>
                </c:pt>
                <c:pt idx="36">
                  <c:v>0.37889401572575754</c:v>
                </c:pt>
                <c:pt idx="37">
                  <c:v>0.372627500021012</c:v>
                </c:pt>
                <c:pt idx="38">
                  <c:v>0.32295228594700776</c:v>
                </c:pt>
                <c:pt idx="39">
                  <c:v>0.2975203328989363</c:v>
                </c:pt>
                <c:pt idx="40">
                  <c:v>0.2956698676403154</c:v>
                </c:pt>
                <c:pt idx="41">
                  <c:v>0.32716374240808976</c:v>
                </c:pt>
                <c:pt idx="42">
                  <c:v>0.30207639912143625</c:v>
                </c:pt>
                <c:pt idx="43">
                  <c:v>0.34423810179515013</c:v>
                </c:pt>
                <c:pt idx="44">
                  <c:v>0.39857687445512513</c:v>
                </c:pt>
                <c:pt idx="45">
                  <c:v>0.42520361551925084</c:v>
                </c:pt>
                <c:pt idx="46">
                  <c:v>0.42862945553866766</c:v>
                </c:pt>
                <c:pt idx="47">
                  <c:v>0.41596491395576185</c:v>
                </c:pt>
                <c:pt idx="48">
                  <c:v>0.38472795556170414</c:v>
                </c:pt>
                <c:pt idx="49">
                  <c:v>0.3876947451354015</c:v>
                </c:pt>
                <c:pt idx="50">
                  <c:v>0.4174018947351951</c:v>
                </c:pt>
                <c:pt idx="51">
                  <c:v>0.4188196860222043</c:v>
                </c:pt>
                <c:pt idx="52">
                  <c:v>0.33655663826189175</c:v>
                </c:pt>
                <c:pt idx="53">
                  <c:v>0.33655663826189175</c:v>
                </c:pt>
                <c:pt idx="54">
                  <c:v>0.40356315112235047</c:v>
                </c:pt>
              </c:numCache>
            </c:numRef>
          </c:xVal>
          <c:yVal>
            <c:numRef>
              <c:f>Sheet1!$B$187:$B$241</c:f>
              <c:numCache>
                <c:formatCode>General</c:formatCode>
                <c:ptCount val="55"/>
                <c:pt idx="0">
                  <c:v>0.0016005706791163152</c:v>
                </c:pt>
                <c:pt idx="1">
                  <c:v>0.0020848950482661973</c:v>
                </c:pt>
                <c:pt idx="2">
                  <c:v>0.0017216883932387114</c:v>
                </c:pt>
                <c:pt idx="3">
                  <c:v>0.0023736898006250628</c:v>
                </c:pt>
                <c:pt idx="4">
                  <c:v>0.0014552457297432589</c:v>
                </c:pt>
                <c:pt idx="5">
                  <c:v>0.001169387922301944</c:v>
                </c:pt>
                <c:pt idx="6">
                  <c:v>0.0016233082337045474</c:v>
                </c:pt>
                <c:pt idx="7">
                  <c:v>0.0017525513415831036</c:v>
                </c:pt>
                <c:pt idx="8">
                  <c:v>0.0019037330403057677</c:v>
                </c:pt>
                <c:pt idx="9">
                  <c:v>0.0018480080659292446</c:v>
                </c:pt>
                <c:pt idx="10">
                  <c:v>0.0017711130037725105</c:v>
                </c:pt>
                <c:pt idx="11">
                  <c:v>0.0019413070155712394</c:v>
                </c:pt>
                <c:pt idx="12">
                  <c:v>0.0022274461183159674</c:v>
                </c:pt>
                <c:pt idx="13">
                  <c:v>0.002780177417346196</c:v>
                </c:pt>
                <c:pt idx="14">
                  <c:v>0.00279416921085064</c:v>
                </c:pt>
                <c:pt idx="15">
                  <c:v>0.002696676978692811</c:v>
                </c:pt>
                <c:pt idx="16">
                  <c:v>0.002451000417843496</c:v>
                </c:pt>
                <c:pt idx="17">
                  <c:v>0.003496929268462119</c:v>
                </c:pt>
                <c:pt idx="18">
                  <c:v>0.002283421850892216</c:v>
                </c:pt>
                <c:pt idx="19">
                  <c:v>0.0018275404152827421</c:v>
                </c:pt>
                <c:pt idx="20">
                  <c:v>0.0020447586085965757</c:v>
                </c:pt>
                <c:pt idx="21">
                  <c:v>0.002582276472342264</c:v>
                </c:pt>
                <c:pt idx="22">
                  <c:v>0.002363697162095309</c:v>
                </c:pt>
                <c:pt idx="23">
                  <c:v>0.003111110029189735</c:v>
                </c:pt>
                <c:pt idx="24">
                  <c:v>0.002201631729406648</c:v>
                </c:pt>
                <c:pt idx="25">
                  <c:v>0.0027046886225349526</c:v>
                </c:pt>
                <c:pt idx="26">
                  <c:v>0.0025367053708283908</c:v>
                </c:pt>
                <c:pt idx="27">
                  <c:v>0.0026576469411731815</c:v>
                </c:pt>
                <c:pt idx="28">
                  <c:v>0.0024900922145242935</c:v>
                </c:pt>
                <c:pt idx="29">
                  <c:v>0.002716742549658038</c:v>
                </c:pt>
                <c:pt idx="30">
                  <c:v>0.0026726565322102947</c:v>
                </c:pt>
                <c:pt idx="31">
                  <c:v>0.0023618594339410845</c:v>
                </c:pt>
                <c:pt idx="32">
                  <c:v>0.0016849858984634867</c:v>
                </c:pt>
                <c:pt idx="33">
                  <c:v>0.001913662774472219</c:v>
                </c:pt>
                <c:pt idx="34">
                  <c:v>0.001924262797946624</c:v>
                </c:pt>
                <c:pt idx="35">
                  <c:v>0.0023607293331515044</c:v>
                </c:pt>
                <c:pt idx="36">
                  <c:v>0.002175554796495332</c:v>
                </c:pt>
                <c:pt idx="37">
                  <c:v>0.0022491537961326965</c:v>
                </c:pt>
                <c:pt idx="38">
                  <c:v>0.002832579456400329</c:v>
                </c:pt>
                <c:pt idx="39">
                  <c:v>0.0031312727640298026</c:v>
                </c:pt>
                <c:pt idx="40">
                  <c:v>0.0031530061160734368</c:v>
                </c:pt>
                <c:pt idx="41">
                  <c:v>0.0027831167250906117</c:v>
                </c:pt>
                <c:pt idx="42">
                  <c:v>0.003077762658565031</c:v>
                </c:pt>
                <c:pt idx="43">
                  <c:v>0.002582581718151294</c:v>
                </c:pt>
                <c:pt idx="44">
                  <c:v>0.0019443834756626092</c:v>
                </c:pt>
                <c:pt idx="45">
                  <c:v>0.0016316576167871993</c:v>
                </c:pt>
                <c:pt idx="46">
                  <c:v>0.001591421796719632</c:v>
                </c:pt>
                <c:pt idx="47">
                  <c:v>0.0017401643572244772</c:v>
                </c:pt>
                <c:pt idx="48">
                  <c:v>0.0021070363157158004</c:v>
                </c:pt>
                <c:pt idx="49">
                  <c:v>0.002072191953226876</c:v>
                </c:pt>
                <c:pt idx="50">
                  <c:v>0.001723287299406794</c:v>
                </c:pt>
                <c:pt idx="51">
                  <c:v>0.0017066356184193146</c:v>
                </c:pt>
                <c:pt idx="52">
                  <c:v>0.002672799002912997</c:v>
                </c:pt>
                <c:pt idx="53">
                  <c:v>0.002672799002912997</c:v>
                </c:pt>
                <c:pt idx="54">
                  <c:v>0.00188582063278247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69432106016665"/>
          <c:min val="4.126050853576771e-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34.3125</c:v>
                </c:pt>
                <c:pt idx="1">
                  <c:v>3740.2</c:v>
                </c:pt>
                <c:pt idx="2">
                  <c:v>3175.8333</c:v>
                </c:pt>
                <c:pt idx="3">
                  <c:v>3027.4</c:v>
                </c:pt>
                <c:pt idx="4">
                  <c:v>3982.3333</c:v>
                </c:pt>
                <c:pt idx="5">
                  <c:v>3848.6667</c:v>
                </c:pt>
                <c:pt idx="6">
                  <c:v>3216.6364</c:v>
                </c:pt>
                <c:pt idx="7">
                  <c:v>3208.875</c:v>
                </c:pt>
                <c:pt idx="8">
                  <c:v>3023.0</c:v>
                </c:pt>
                <c:pt idx="9">
                  <c:v>3233.3333</c:v>
                </c:pt>
                <c:pt idx="10">
                  <c:v>3528.3333</c:v>
                </c:pt>
                <c:pt idx="11">
                  <c:v>3129.7</c:v>
                </c:pt>
                <c:pt idx="12">
                  <c:v>3208.4545</c:v>
                </c:pt>
                <c:pt idx="13">
                  <c:v>3153.0</c:v>
                </c:pt>
                <c:pt idx="14">
                  <c:v>3951.0</c:v>
                </c:pt>
                <c:pt idx="15">
                  <c:v>3128.3333</c:v>
                </c:pt>
                <c:pt idx="16">
                  <c:v>4342.0</c:v>
                </c:pt>
                <c:pt idx="17">
                  <c:v>3291.5</c:v>
                </c:pt>
                <c:pt idx="18">
                  <c:v>4434.0</c:v>
                </c:pt>
                <c:pt idx="19">
                  <c:v>3808.0</c:v>
                </c:pt>
                <c:pt idx="20">
                  <c:v>3044.2</c:v>
                </c:pt>
                <c:pt idx="21">
                  <c:v>6720.0</c:v>
                </c:pt>
                <c:pt idx="22">
                  <c:v>3122.1429</c:v>
                </c:pt>
                <c:pt idx="23">
                  <c:v>3924.6</c:v>
                </c:pt>
                <c:pt idx="24">
                  <c:v>2808.3333</c:v>
                </c:pt>
                <c:pt idx="25">
                  <c:v>2765.0</c:v>
                </c:pt>
                <c:pt idx="26">
                  <c:v>3202.0</c:v>
                </c:pt>
                <c:pt idx="27">
                  <c:v>3106.4</c:v>
                </c:pt>
                <c:pt idx="28">
                  <c:v>3346.6</c:v>
                </c:pt>
                <c:pt idx="29">
                  <c:v>3119.6667</c:v>
                </c:pt>
                <c:pt idx="30">
                  <c:v>3099.8</c:v>
                </c:pt>
                <c:pt idx="31">
                  <c:v>3342.0</c:v>
                </c:pt>
                <c:pt idx="32">
                  <c:v>4329.0</c:v>
                </c:pt>
                <c:pt idx="33">
                  <c:v>2663.4615</c:v>
                </c:pt>
                <c:pt idx="34">
                  <c:v>3005.3571</c:v>
                </c:pt>
                <c:pt idx="35">
                  <c:v>2884.4444</c:v>
                </c:pt>
                <c:pt idx="36">
                  <c:v>2882.1111</c:v>
                </c:pt>
                <c:pt idx="37">
                  <c:v>3050.0</c:v>
                </c:pt>
                <c:pt idx="38">
                  <c:v>3066.2</c:v>
                </c:pt>
                <c:pt idx="39">
                  <c:v>3735.1667</c:v>
                </c:pt>
                <c:pt idx="40">
                  <c:v>4272.75</c:v>
                </c:pt>
                <c:pt idx="41">
                  <c:v>4003.25</c:v>
                </c:pt>
                <c:pt idx="42">
                  <c:v>3549.6667</c:v>
                </c:pt>
                <c:pt idx="43">
                  <c:v>3104.1429</c:v>
                </c:pt>
                <c:pt idx="44">
                  <c:v>3004.2222</c:v>
                </c:pt>
                <c:pt idx="45">
                  <c:v>3138.1429</c:v>
                </c:pt>
                <c:pt idx="46">
                  <c:v>2995.8667</c:v>
                </c:pt>
                <c:pt idx="47">
                  <c:v>2660.1667</c:v>
                </c:pt>
                <c:pt idx="48">
                  <c:v>3669.0</c:v>
                </c:pt>
                <c:pt idx="49">
                  <c:v>3025.0556</c:v>
                </c:pt>
                <c:pt idx="50">
                  <c:v>3099.3571</c:v>
                </c:pt>
                <c:pt idx="51">
                  <c:v>2739.4667</c:v>
                </c:pt>
                <c:pt idx="52">
                  <c:v>3202.5</c:v>
                </c:pt>
                <c:pt idx="53">
                  <c:v>3334.5</c:v>
                </c:pt>
                <c:pt idx="54">
                  <c:v>2909.6923</c:v>
                </c:pt>
                <c:pt idx="55">
                  <c:v>3116.0</c:v>
                </c:pt>
                <c:pt idx="56">
                  <c:v>2599.75</c:v>
                </c:pt>
                <c:pt idx="57">
                  <c:v>2696.8333</c:v>
                </c:pt>
                <c:pt idx="58">
                  <c:v>2451.5714</c:v>
                </c:pt>
                <c:pt idx="59">
                  <c:v>2641.6154</c:v>
                </c:pt>
                <c:pt idx="60">
                  <c:v>2559.1905</c:v>
                </c:pt>
                <c:pt idx="61">
                  <c:v>2616.8125</c:v>
                </c:pt>
                <c:pt idx="62">
                  <c:v>2355.3889</c:v>
                </c:pt>
                <c:pt idx="63">
                  <c:v>2616.8235</c:v>
                </c:pt>
                <c:pt idx="64">
                  <c:v>2307.1667</c:v>
                </c:pt>
                <c:pt idx="65">
                  <c:v>2335.0625</c:v>
                </c:pt>
                <c:pt idx="66">
                  <c:v>2205.0588</c:v>
                </c:pt>
                <c:pt idx="67">
                  <c:v>2366.9167</c:v>
                </c:pt>
                <c:pt idx="68">
                  <c:v>1907.25</c:v>
                </c:pt>
                <c:pt idx="69">
                  <c:v>1806.8462</c:v>
                </c:pt>
                <c:pt idx="70">
                  <c:v>2093.8182</c:v>
                </c:pt>
                <c:pt idx="71">
                  <c:v>1689.1818</c:v>
                </c:pt>
                <c:pt idx="72">
                  <c:v>2030.4375</c:v>
                </c:pt>
                <c:pt idx="73">
                  <c:v>1540.12</c:v>
                </c:pt>
                <c:pt idx="74">
                  <c:v>1899.0714</c:v>
                </c:pt>
                <c:pt idx="75">
                  <c:v>2853.48</c:v>
                </c:pt>
                <c:pt idx="76">
                  <c:v>2875.1212</c:v>
                </c:pt>
                <c:pt idx="77">
                  <c:v>3425.6333</c:v>
                </c:pt>
                <c:pt idx="78">
                  <c:v>2855.7568</c:v>
                </c:pt>
                <c:pt idx="79">
                  <c:v>3978.3</c:v>
                </c:pt>
                <c:pt idx="80">
                  <c:v>3440.1333</c:v>
                </c:pt>
                <c:pt idx="81">
                  <c:v>3386.2927</c:v>
                </c:pt>
                <c:pt idx="82">
                  <c:v>3334.303</c:v>
                </c:pt>
                <c:pt idx="83">
                  <c:v>3918.6087</c:v>
                </c:pt>
                <c:pt idx="84">
                  <c:v>3499.875</c:v>
                </c:pt>
                <c:pt idx="85">
                  <c:v>3327.3478</c:v>
                </c:pt>
                <c:pt idx="86">
                  <c:v>4500.5714</c:v>
                </c:pt>
                <c:pt idx="87">
                  <c:v>4381.2143</c:v>
                </c:pt>
                <c:pt idx="88">
                  <c:v>3936.9063</c:v>
                </c:pt>
                <c:pt idx="89">
                  <c:v>3929.9118</c:v>
                </c:pt>
                <c:pt idx="90">
                  <c:v>4465.6207</c:v>
                </c:pt>
                <c:pt idx="91">
                  <c:v>3604.8857</c:v>
                </c:pt>
                <c:pt idx="92">
                  <c:v>4148.6286</c:v>
                </c:pt>
                <c:pt idx="93">
                  <c:v>4459.8824</c:v>
                </c:pt>
                <c:pt idx="94">
                  <c:v>4274.8824</c:v>
                </c:pt>
                <c:pt idx="95">
                  <c:v>4202.5714</c:v>
                </c:pt>
                <c:pt idx="96">
                  <c:v>3518.4405</c:v>
                </c:pt>
                <c:pt idx="97">
                  <c:v>3508.6293</c:v>
                </c:pt>
                <c:pt idx="98">
                  <c:v>3336.811</c:v>
                </c:pt>
                <c:pt idx="99">
                  <c:v>3491.1985</c:v>
                </c:pt>
                <c:pt idx="100">
                  <c:v>3901.069</c:v>
                </c:pt>
                <c:pt idx="101">
                  <c:v>3699.9652</c:v>
                </c:pt>
                <c:pt idx="102">
                  <c:v>3851.6974</c:v>
                </c:pt>
                <c:pt idx="103">
                  <c:v>3939.1392</c:v>
                </c:pt>
                <c:pt idx="104">
                  <c:v>4226.3208</c:v>
                </c:pt>
              </c:numCache>
            </c:numRef>
          </c:xVal>
          <c:yVal>
            <c:numRef>
              <c:f>Sheet1!$B$2:$B$106</c:f>
              <c:numCache>
                <c:formatCode>General</c:formatCode>
                <c:ptCount val="105"/>
                <c:pt idx="0">
                  <c:v>0.0004068348250610252</c:v>
                </c:pt>
                <c:pt idx="1">
                  <c:v>0.00013251000450534016</c:v>
                </c:pt>
                <c:pt idx="2">
                  <c:v>0.00015396063739703882</c:v>
                </c:pt>
                <c:pt idx="3">
                  <c:v>0.00013456776832813006</c:v>
                </c:pt>
                <c:pt idx="4">
                  <c:v>9.577015163607342e-05</c:v>
                </c:pt>
                <c:pt idx="5">
                  <c:v>0.0001952044766893321</c:v>
                </c:pt>
                <c:pt idx="6">
                  <c:v>0.00035394813051032887</c:v>
                </c:pt>
                <c:pt idx="7">
                  <c:v>0.0002935995302407516</c:v>
                </c:pt>
                <c:pt idx="8">
                  <c:v>0.0002665448176071891</c:v>
                </c:pt>
                <c:pt idx="9">
                  <c:v>0.0002675704602211916</c:v>
                </c:pt>
                <c:pt idx="10">
                  <c:v>0.00017219113215669393</c:v>
                </c:pt>
                <c:pt idx="11">
                  <c:v>0.00028758771425284714</c:v>
                </c:pt>
                <c:pt idx="12">
                  <c:v>0.00029195530429705125</c:v>
                </c:pt>
                <c:pt idx="13">
                  <c:v>0.00028119112560807583</c:v>
                </c:pt>
                <c:pt idx="14">
                  <c:v>8.361437052314724e-05</c:v>
                </c:pt>
                <c:pt idx="15">
                  <c:v>0.00019857686579513486</c:v>
                </c:pt>
                <c:pt idx="16">
                  <c:v>7.464079119238663e-05</c:v>
                </c:pt>
                <c:pt idx="17">
                  <c:v>0.00016345210853220007</c:v>
                </c:pt>
                <c:pt idx="18">
                  <c:v>9.092148929399464e-05</c:v>
                </c:pt>
                <c:pt idx="19">
                  <c:v>0.00015876375952582556</c:v>
                </c:pt>
                <c:pt idx="20">
                  <c:v>0.00021842645581232798</c:v>
                </c:pt>
                <c:pt idx="21">
                  <c:v>5.157563566970963e-05</c:v>
                </c:pt>
                <c:pt idx="22">
                  <c:v>0.0003682272488164124</c:v>
                </c:pt>
                <c:pt idx="23">
                  <c:v>0.0002789089083505327</c:v>
                </c:pt>
                <c:pt idx="24">
                  <c:v>0.0004662970830526916</c:v>
                </c:pt>
                <c:pt idx="25">
                  <c:v>0.000583158385817588</c:v>
                </c:pt>
                <c:pt idx="26">
                  <c:v>0.0005226025607525476</c:v>
                </c:pt>
                <c:pt idx="27">
                  <c:v>0.0002508277315139962</c:v>
                </c:pt>
                <c:pt idx="28">
                  <c:v>0.0002559770644550248</c:v>
                </c:pt>
                <c:pt idx="29">
                  <c:v>0.00040578926011091576</c:v>
                </c:pt>
                <c:pt idx="30">
                  <c:v>0.00029064698017787597</c:v>
                </c:pt>
                <c:pt idx="31">
                  <c:v>0.00033163829316825116</c:v>
                </c:pt>
                <c:pt idx="32">
                  <c:v>0.00021867483052700635</c:v>
                </c:pt>
                <c:pt idx="33">
                  <c:v>0.0005688531046252134</c:v>
                </c:pt>
                <c:pt idx="34">
                  <c:v>0.0005597984725498821</c:v>
                </c:pt>
                <c:pt idx="35">
                  <c:v>0.0006072055053299149</c:v>
                </c:pt>
                <c:pt idx="36">
                  <c:v>0.0003740959348241749</c:v>
                </c:pt>
                <c:pt idx="37">
                  <c:v>0.0002884615384615385</c:v>
                </c:pt>
                <c:pt idx="38">
                  <c:v>0.0002411149153686647</c:v>
                </c:pt>
                <c:pt idx="39">
                  <c:v>0.0003058103975535168</c:v>
                </c:pt>
                <c:pt idx="40">
                  <c:v>0.00017058296729071602</c:v>
                </c:pt>
                <c:pt idx="41">
                  <c:v>0.00018400956849756188</c:v>
                </c:pt>
                <c:pt idx="42">
                  <c:v>0.00011764244539429826</c:v>
                </c:pt>
                <c:pt idx="43">
                  <c:v>0.00024577788701239423</c:v>
                </c:pt>
                <c:pt idx="44">
                  <c:v>0.0002135585981064471</c:v>
                </c:pt>
                <c:pt idx="45">
                  <c:v>0.00015428697377121447</c:v>
                </c:pt>
                <c:pt idx="46">
                  <c:v>0.00031837670331536275</c:v>
                </c:pt>
                <c:pt idx="47">
                  <c:v>0.00038505144715168886</c:v>
                </c:pt>
                <c:pt idx="48">
                  <c:v>0.00019302845561149806</c:v>
                </c:pt>
                <c:pt idx="49">
                  <c:v>0.00019773483758280146</c:v>
                </c:pt>
                <c:pt idx="50">
                  <c:v>0.00029062525948683884</c:v>
                </c:pt>
                <c:pt idx="51">
                  <c:v>0.00037329218823880747</c:v>
                </c:pt>
                <c:pt idx="52">
                  <c:v>0.0001283175431467739</c:v>
                </c:pt>
                <c:pt idx="53">
                  <c:v>0.00015959569091634525</c:v>
                </c:pt>
                <c:pt idx="54">
                  <c:v>0.0003744239631336406</c:v>
                </c:pt>
                <c:pt idx="55">
                  <c:v>0.00023897003913134391</c:v>
                </c:pt>
                <c:pt idx="56">
                  <c:v>0.00024144383412808595</c:v>
                </c:pt>
                <c:pt idx="57">
                  <c:v>0.00015713799334782496</c:v>
                </c:pt>
                <c:pt idx="58">
                  <c:v>0.0001700308484539338</c:v>
                </c:pt>
                <c:pt idx="59">
                  <c:v>0.00020895618349567622</c:v>
                </c:pt>
                <c:pt idx="60">
                  <c:v>0.0003703377127237457</c:v>
                </c:pt>
                <c:pt idx="61">
                  <c:v>0.0003837206513658057</c:v>
                </c:pt>
                <c:pt idx="62">
                  <c:v>0.0004231013327691982</c:v>
                </c:pt>
                <c:pt idx="63">
                  <c:v>0.00036491649851886834</c:v>
                </c:pt>
                <c:pt idx="64">
                  <c:v>0.0005016617545619866</c:v>
                </c:pt>
                <c:pt idx="65">
                  <c:v>0.00036552212551115986</c:v>
                </c:pt>
                <c:pt idx="66">
                  <c:v>0.00040122728345527497</c:v>
                </c:pt>
                <c:pt idx="67">
                  <c:v>0.0002922552362396493</c:v>
                </c:pt>
                <c:pt idx="68">
                  <c:v>0.00046797309154723605</c:v>
                </c:pt>
                <c:pt idx="69">
                  <c:v>0.0004883546205860256</c:v>
                </c:pt>
                <c:pt idx="70">
                  <c:v>0.00038771985478129074</c:v>
                </c:pt>
                <c:pt idx="71">
                  <c:v>0.00041471874528728697</c:v>
                </c:pt>
                <c:pt idx="72">
                  <c:v>0.0005811841627315655</c:v>
                </c:pt>
                <c:pt idx="73">
                  <c:v>0.0009446438692612885</c:v>
                </c:pt>
                <c:pt idx="74">
                  <c:v>0.0010105020029593274</c:v>
                </c:pt>
                <c:pt idx="75">
                  <c:v>0.0010670081092616305</c:v>
                </c:pt>
                <c:pt idx="76">
                  <c:v>0.0015070557610631593</c:v>
                </c:pt>
                <c:pt idx="77">
                  <c:v>0.001357527489931671</c:v>
                </c:pt>
                <c:pt idx="78">
                  <c:v>0.0019386953104532354</c:v>
                </c:pt>
                <c:pt idx="79">
                  <c:v>0.0013696128560993425</c:v>
                </c:pt>
                <c:pt idx="80">
                  <c:v>0.0013775369639085315</c:v>
                </c:pt>
                <c:pt idx="81">
                  <c:v>0.0015751661608206231</c:v>
                </c:pt>
                <c:pt idx="82">
                  <c:v>0.0016255356878971479</c:v>
                </c:pt>
                <c:pt idx="83">
                  <c:v>0.0012959936890742096</c:v>
                </c:pt>
                <c:pt idx="84">
                  <c:v>0.0014231499051233396</c:v>
                </c:pt>
                <c:pt idx="85">
                  <c:v>0.001213208144319021</c:v>
                </c:pt>
                <c:pt idx="86">
                  <c:v>0.0011109347722583717</c:v>
                </c:pt>
                <c:pt idx="87">
                  <c:v>0.0010732492621411322</c:v>
                </c:pt>
                <c:pt idx="88">
                  <c:v>0.0015150080484802575</c:v>
                </c:pt>
                <c:pt idx="89">
                  <c:v>0.0017422495516269537</c:v>
                </c:pt>
                <c:pt idx="90">
                  <c:v>0.0015322026734294922</c:v>
                </c:pt>
                <c:pt idx="91">
                  <c:v>0.0017557941205979732</c:v>
                </c:pt>
                <c:pt idx="92">
                  <c:v>0.0014452657224263946</c:v>
                </c:pt>
                <c:pt idx="93">
                  <c:v>0.0013598368195816503</c:v>
                </c:pt>
                <c:pt idx="94">
                  <c:v>0.0015503169030139984</c:v>
                </c:pt>
                <c:pt idx="95">
                  <c:v>0.0016272041975226646</c:v>
                </c:pt>
                <c:pt idx="96">
                  <c:v>0.0020251211456399623</c:v>
                </c:pt>
                <c:pt idx="97">
                  <c:v>0.0024804345036992686</c:v>
                </c:pt>
                <c:pt idx="98">
                  <c:v>0.002372989031932585</c:v>
                </c:pt>
                <c:pt idx="99">
                  <c:v>0.002219103873641615</c:v>
                </c:pt>
                <c:pt idx="100">
                  <c:v>0.001695866763350565</c:v>
                </c:pt>
                <c:pt idx="101">
                  <c:v>0.002240143369175627</c:v>
                </c:pt>
                <c:pt idx="102">
                  <c:v>0.0018302227573750753</c:v>
                </c:pt>
                <c:pt idx="103">
                  <c:v>0.001802624073017684</c:v>
                </c:pt>
                <c:pt idx="104">
                  <c:v>0.00137791181364392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109:$B$160</c:f>
              <c:numCache>
                <c:formatCode>General</c:formatCode>
                <c:ptCount val="52"/>
                <c:pt idx="0">
                  <c:v>0.0013676019806649375</c:v>
                </c:pt>
                <c:pt idx="1">
                  <c:v>0.0016099818877037633</c:v>
                </c:pt>
                <c:pt idx="2">
                  <c:v>0.0015756302521008404</c:v>
                </c:pt>
                <c:pt idx="3">
                  <c:v>0.001680595930232558</c:v>
                </c:pt>
                <c:pt idx="4">
                  <c:v>0.0015973690392295044</c:v>
                </c:pt>
                <c:pt idx="5">
                  <c:v>0.0014011589246698964</c:v>
                </c:pt>
                <c:pt idx="6">
                  <c:v>0.001628477717378839</c:v>
                </c:pt>
                <c:pt idx="7">
                  <c:v>0.0018831810323536675</c:v>
                </c:pt>
                <c:pt idx="8">
                  <c:v>0.0022389859116117255</c:v>
                </c:pt>
                <c:pt idx="9">
                  <c:v>0.0022979821827682815</c:v>
                </c:pt>
                <c:pt idx="10">
                  <c:v>0.0021916473882868624</c:v>
                </c:pt>
                <c:pt idx="11">
                  <c:v>0.0022494376405898524</c:v>
                </c:pt>
                <c:pt idx="12">
                  <c:v>0.0022865457568986124</c:v>
                </c:pt>
                <c:pt idx="13">
                  <c:v>0.00334941050375134</c:v>
                </c:pt>
                <c:pt idx="14">
                  <c:v>0.003291102373671181</c:v>
                </c:pt>
                <c:pt idx="15">
                  <c:v>0.0032060260839792075</c:v>
                </c:pt>
                <c:pt idx="16">
                  <c:v>0.002947193231857425</c:v>
                </c:pt>
                <c:pt idx="17">
                  <c:v>0.003891193421680555</c:v>
                </c:pt>
                <c:pt idx="18">
                  <c:v>0.0021183635641466966</c:v>
                </c:pt>
                <c:pt idx="19">
                  <c:v>0.0018699186991869919</c:v>
                </c:pt>
                <c:pt idx="20">
                  <c:v>0.002169101372288623</c:v>
                </c:pt>
                <c:pt idx="21">
                  <c:v>0.002878464818763326</c:v>
                </c:pt>
                <c:pt idx="22">
                  <c:v>0.0024758994890164885</c:v>
                </c:pt>
                <c:pt idx="23">
                  <c:v>0.0025180643748631487</c:v>
                </c:pt>
                <c:pt idx="24">
                  <c:v>0.00233172703248873</c:v>
                </c:pt>
                <c:pt idx="25">
                  <c:v>0.0026630434782608696</c:v>
                </c:pt>
                <c:pt idx="26">
                  <c:v>0.0026856729676686293</c:v>
                </c:pt>
                <c:pt idx="27">
                  <c:v>0.0025617566331198535</c:v>
                </c:pt>
                <c:pt idx="28">
                  <c:v>0.002144388849177984</c:v>
                </c:pt>
                <c:pt idx="29">
                  <c:v>0.002535421327367636</c:v>
                </c:pt>
                <c:pt idx="30">
                  <c:v>0.002432460407825277</c:v>
                </c:pt>
                <c:pt idx="31">
                  <c:v>0.002529898804047838</c:v>
                </c:pt>
                <c:pt idx="32">
                  <c:v>0.0021514189119967216</c:v>
                </c:pt>
                <c:pt idx="33">
                  <c:v>0.0021745618897369206</c:v>
                </c:pt>
                <c:pt idx="34">
                  <c:v>0.002030250735965892</c:v>
                </c:pt>
                <c:pt idx="35">
                  <c:v>0.0024136430182408104</c:v>
                </c:pt>
                <c:pt idx="36">
                  <c:v>0.002752767104433102</c:v>
                </c:pt>
                <c:pt idx="37">
                  <c:v>0.0028208744710860366</c:v>
                </c:pt>
                <c:pt idx="38">
                  <c:v>0.0031652854511970536</c:v>
                </c:pt>
                <c:pt idx="39">
                  <c:v>0.0031259768677711786</c:v>
                </c:pt>
                <c:pt idx="40">
                  <c:v>0.0029267866503582037</c:v>
                </c:pt>
                <c:pt idx="41">
                  <c:v>0.0023961001404610425</c:v>
                </c:pt>
                <c:pt idx="42">
                  <c:v>0.0027413533147530498</c:v>
                </c:pt>
                <c:pt idx="43">
                  <c:v>0.0020007589085515197</c:v>
                </c:pt>
                <c:pt idx="44">
                  <c:v>0.0015271134674119749</c:v>
                </c:pt>
                <c:pt idx="45">
                  <c:v>0.0012748093280875662</c:v>
                </c:pt>
                <c:pt idx="46">
                  <c:v>0.0013688893568852502</c:v>
                </c:pt>
                <c:pt idx="47">
                  <c:v>0.0014565743346664692</c:v>
                </c:pt>
                <c:pt idx="48">
                  <c:v>0.0015998337835030126</c:v>
                </c:pt>
                <c:pt idx="49">
                  <c:v>0.001481903676261043</c:v>
                </c:pt>
                <c:pt idx="50">
                  <c:v>0.0012530527177179098</c:v>
                </c:pt>
                <c:pt idx="51">
                  <c:v>0.001362515679743933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58.3130213900017</c:v>
                </c:pt>
              </c:numCache>
            </c:numRef>
          </c:xVal>
          <c:yVal>
            <c:numRef>
              <c:f>Sheet1!$B$163:$B$164</c:f>
              <c:numCache>
                <c:formatCode>General</c:formatCode>
                <c:ptCount val="2"/>
                <c:pt idx="0">
                  <c:v>0.0026727990029129967</c:v>
                </c:pt>
                <c:pt idx="1">
                  <c:v>0.002672799002912996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58.3130213900017</c:v>
                </c:pt>
                <c:pt idx="1">
                  <c:v>3558.3130213900017</c:v>
                </c:pt>
              </c:numCache>
            </c:numRef>
          </c:xVal>
          <c:yVal>
            <c:numRef>
              <c:f>Sheet1!$B$167:$B$168</c:f>
              <c:numCache>
                <c:formatCode>General</c:formatCode>
                <c:ptCount val="2"/>
                <c:pt idx="0">
                  <c:v>0.002672799002912996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58.3130213900017</c:v>
                </c:pt>
              </c:numCache>
            </c:numRef>
          </c:xVal>
          <c:yVal>
            <c:numRef>
              <c:f>Sheet1!$B$171:$B$172</c:f>
              <c:numCache>
                <c:formatCode>General</c:formatCode>
                <c:ptCount val="2"/>
                <c:pt idx="0">
                  <c:v>0.0026727990029129967</c:v>
                </c:pt>
                <c:pt idx="1">
                  <c:v>0.002672799002912996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58.3130213900017</c:v>
                </c:pt>
                <c:pt idx="1">
                  <c:v>3558.3130213900017</c:v>
                </c:pt>
              </c:numCache>
            </c:numRef>
          </c:xVal>
          <c:yVal>
            <c:numRef>
              <c:f>Sheet1!$B$175:$B$176</c:f>
              <c:numCache>
                <c:formatCode>General</c:formatCode>
                <c:ptCount val="2"/>
                <c:pt idx="0">
                  <c:v>0.002672799002912996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47.124876832874</c:v>
                </c:pt>
              </c:numCache>
            </c:numRef>
          </c:xVal>
          <c:yVal>
            <c:numRef>
              <c:f>Sheet1!$B$179:$B$180</c:f>
              <c:numCache>
                <c:formatCode>General</c:formatCode>
                <c:ptCount val="2"/>
                <c:pt idx="0">
                  <c:v>0.0018858206327824734</c:v>
                </c:pt>
                <c:pt idx="1">
                  <c:v>0.001885820632782473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47.124876832874</c:v>
                </c:pt>
                <c:pt idx="1">
                  <c:v>4247.124876832874</c:v>
                </c:pt>
              </c:numCache>
            </c:numRef>
          </c:xVal>
          <c:yVal>
            <c:numRef>
              <c:f>Sheet1!$B$183:$B$184</c:f>
              <c:numCache>
                <c:formatCode>General</c:formatCode>
                <c:ptCount val="2"/>
                <c:pt idx="0">
                  <c:v>0.001885820632782473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558.3130213900017</c:v>
                </c:pt>
                <c:pt idx="53">
                  <c:v>3558.3130213900017</c:v>
                </c:pt>
                <c:pt idx="54">
                  <c:v>4247.124876832874</c:v>
                </c:pt>
              </c:numCache>
            </c:numRef>
          </c:xVal>
          <c:yVal>
            <c:numRef>
              <c:f>Sheet1!$B$187:$B$241</c:f>
              <c:numCache>
                <c:formatCode>General</c:formatCode>
                <c:ptCount val="55"/>
                <c:pt idx="0">
                  <c:v>0.0017045791109948812</c:v>
                </c:pt>
                <c:pt idx="1">
                  <c:v>0.0022731511429918538</c:v>
                </c:pt>
                <c:pt idx="2">
                  <c:v>0.001829301153609901</c:v>
                </c:pt>
                <c:pt idx="3">
                  <c:v>0.002518206825357183</c:v>
                </c:pt>
                <c:pt idx="4">
                  <c:v>0.0015662101751599171</c:v>
                </c:pt>
                <c:pt idx="5">
                  <c:v>0.0012248145970904087</c:v>
                </c:pt>
                <c:pt idx="6">
                  <c:v>0.0016985264054868434</c:v>
                </c:pt>
                <c:pt idx="7">
                  <c:v>0.0018435029667130502</c:v>
                </c:pt>
                <c:pt idx="8">
                  <c:v>0.001974288568735408</c:v>
                </c:pt>
                <c:pt idx="9">
                  <c:v>0.002056057276005491</c:v>
                </c:pt>
                <c:pt idx="10">
                  <c:v>0.00193893159188224</c:v>
                </c:pt>
                <c:pt idx="11">
                  <c:v>0.0020696890880179866</c:v>
                </c:pt>
                <c:pt idx="12">
                  <c:v>0.002343527826058861</c:v>
                </c:pt>
                <c:pt idx="13">
                  <c:v>0.0028385380696760855</c:v>
                </c:pt>
                <c:pt idx="14">
                  <c:v>0.002790411080414913</c:v>
                </c:pt>
                <c:pt idx="15">
                  <c:v>0.002576885861267114</c:v>
                </c:pt>
                <c:pt idx="16">
                  <c:v>0.002311059814444876</c:v>
                </c:pt>
                <c:pt idx="17">
                  <c:v>0.0034143583356261963</c:v>
                </c:pt>
                <c:pt idx="18">
                  <c:v>0.0020640767080668506</c:v>
                </c:pt>
                <c:pt idx="19">
                  <c:v>0.0017060418738659268</c:v>
                </c:pt>
                <c:pt idx="20">
                  <c:v>0.0018741418106659052</c:v>
                </c:pt>
                <c:pt idx="21">
                  <c:v>0.0025404767416911883</c:v>
                </c:pt>
                <c:pt idx="22">
                  <c:v>0.0023059471708678676</c:v>
                </c:pt>
                <c:pt idx="23">
                  <c:v>0.0031454129923964525</c:v>
                </c:pt>
                <c:pt idx="24">
                  <c:v>0.002102736583603067</c:v>
                </c:pt>
                <c:pt idx="25">
                  <c:v>0.0026149349479016194</c:v>
                </c:pt>
                <c:pt idx="26">
                  <c:v>0.0023753994444691536</c:v>
                </c:pt>
                <c:pt idx="27">
                  <c:v>0.002498004862468926</c:v>
                </c:pt>
                <c:pt idx="28">
                  <c:v>0.002381165492784075</c:v>
                </c:pt>
                <c:pt idx="29">
                  <c:v>0.002644190548077253</c:v>
                </c:pt>
                <c:pt idx="30">
                  <c:v>0.002661998826289161</c:v>
                </c:pt>
                <c:pt idx="31">
                  <c:v>0.0023033450913249433</c:v>
                </c:pt>
                <c:pt idx="32">
                  <c:v>0.001644266848869094</c:v>
                </c:pt>
                <c:pt idx="33">
                  <c:v>0.001969098119838148</c:v>
                </c:pt>
                <c:pt idx="34">
                  <c:v>0.0018175646609184856</c:v>
                </c:pt>
                <c:pt idx="35">
                  <c:v>0.002150259067798965</c:v>
                </c:pt>
                <c:pt idx="36">
                  <c:v>0.001968867103160396</c:v>
                </c:pt>
                <c:pt idx="37">
                  <c:v>0.0020071969059062937</c:v>
                </c:pt>
                <c:pt idx="38">
                  <c:v>0.002620850208769035</c:v>
                </c:pt>
                <c:pt idx="39">
                  <c:v>0.002984639094869865</c:v>
                </c:pt>
                <c:pt idx="40">
                  <c:v>0.0030574853256567546</c:v>
                </c:pt>
                <c:pt idx="41">
                  <c:v>0.002703157497947587</c:v>
                </c:pt>
                <c:pt idx="42">
                  <c:v>0.00296004233102889</c:v>
                </c:pt>
                <c:pt idx="43">
                  <c:v>0.0025472829363138516</c:v>
                </c:pt>
                <c:pt idx="44">
                  <c:v>0.0020215561576750916</c:v>
                </c:pt>
                <c:pt idx="45">
                  <c:v>0.0018283647477291614</c:v>
                </c:pt>
                <c:pt idx="46">
                  <c:v>0.0017415888510826467</c:v>
                </c:pt>
                <c:pt idx="47">
                  <c:v>0.0018353634562499515</c:v>
                </c:pt>
                <c:pt idx="48">
                  <c:v>0.0022166548833571185</c:v>
                </c:pt>
                <c:pt idx="49">
                  <c:v>0.0023147875004710895</c:v>
                </c:pt>
                <c:pt idx="50">
                  <c:v>0.00215410477569863</c:v>
                </c:pt>
                <c:pt idx="51">
                  <c:v>0.001899129429133283</c:v>
                </c:pt>
                <c:pt idx="52">
                  <c:v>0.002672799002912997</c:v>
                </c:pt>
                <c:pt idx="53">
                  <c:v>0.002672799002912997</c:v>
                </c:pt>
                <c:pt idx="54">
                  <c:v>0.001885820632782473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64.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69432106016665"/>
          <c:min val="4.126050853576771e-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105256022109318</c:v>
                </c:pt>
                <c:pt idx="1">
                  <c:v>0.645146438577532</c:v>
                </c:pt>
                <c:pt idx="2">
                  <c:v>0.6330889433396742</c:v>
                </c:pt>
                <c:pt idx="3">
                  <c:v>0.6367526147521197</c:v>
                </c:pt>
                <c:pt idx="4">
                  <c:v>0.6219429894162363</c:v>
                </c:pt>
                <c:pt idx="5">
                  <c:v>0.6165928338984955</c:v>
                </c:pt>
                <c:pt idx="6">
                  <c:v>0.5814990179762796</c:v>
                </c:pt>
                <c:pt idx="7">
                  <c:v>0.5680322730557392</c:v>
                </c:pt>
                <c:pt idx="8">
                  <c:v>0.5804095345423508</c:v>
                </c:pt>
                <c:pt idx="9">
                  <c:v>0.6151664934806061</c:v>
                </c:pt>
                <c:pt idx="10">
                  <c:v>0.6230514043813024</c:v>
                </c:pt>
                <c:pt idx="11">
                  <c:v>0.645512776052089</c:v>
                </c:pt>
                <c:pt idx="12">
                  <c:v>0.6746808159439491</c:v>
                </c:pt>
                <c:pt idx="13">
                  <c:v>0.6773059339209125</c:v>
                </c:pt>
                <c:pt idx="14">
                  <c:v>0.6941099855564651</c:v>
                </c:pt>
                <c:pt idx="15">
                  <c:v>0.7045821381436765</c:v>
                </c:pt>
                <c:pt idx="16">
                  <c:v>0.7092337071220395</c:v>
                </c:pt>
                <c:pt idx="17">
                  <c:v>0.7068502746092981</c:v>
                </c:pt>
                <c:pt idx="18">
                  <c:v>0.7257465294013158</c:v>
                </c:pt>
                <c:pt idx="19">
                  <c:v>0.7271544035541391</c:v>
                </c:pt>
                <c:pt idx="20">
                  <c:v>0.7496757914853479</c:v>
                </c:pt>
                <c:pt idx="21">
                  <c:v>0.6781434788394857</c:v>
                </c:pt>
                <c:pt idx="22">
                  <c:v>0.6321046576594639</c:v>
                </c:pt>
                <c:pt idx="23">
                  <c:v>0.6176509934341851</c:v>
                </c:pt>
                <c:pt idx="24">
                  <c:v>0.6077819952654252</c:v>
                </c:pt>
                <c:pt idx="25">
                  <c:v>0.5824858099174522</c:v>
                </c:pt>
                <c:pt idx="26">
                  <c:v>0.58148723388114</c:v>
                </c:pt>
                <c:pt idx="27">
                  <c:v>0.5923896682624664</c:v>
                </c:pt>
                <c:pt idx="28">
                  <c:v>0.5873596971940712</c:v>
                </c:pt>
                <c:pt idx="29">
                  <c:v>0.5878227510589357</c:v>
                </c:pt>
                <c:pt idx="30">
                  <c:v>0.5812542935598939</c:v>
                </c:pt>
                <c:pt idx="31">
                  <c:v>0.5774395684925357</c:v>
                </c:pt>
                <c:pt idx="32">
                  <c:v>0.5565485817609016</c:v>
                </c:pt>
                <c:pt idx="33">
                  <c:v>0.5529885715707353</c:v>
                </c:pt>
                <c:pt idx="34">
                  <c:v>0.5890667671511515</c:v>
                </c:pt>
                <c:pt idx="35">
                  <c:v>0.6399698402211801</c:v>
                </c:pt>
                <c:pt idx="36">
                  <c:v>0.6636299749242354</c:v>
                </c:pt>
                <c:pt idx="37">
                  <c:v>0.6397829744823176</c:v>
                </c:pt>
                <c:pt idx="38">
                  <c:v>0.6720864509388359</c:v>
                </c:pt>
                <c:pt idx="39">
                  <c:v>0.6937980855524</c:v>
                </c:pt>
                <c:pt idx="40">
                  <c:v>0.68645907753426</c:v>
                </c:pt>
                <c:pt idx="41">
                  <c:v>0.6738576880685465</c:v>
                </c:pt>
                <c:pt idx="42">
                  <c:v>0.6961483781820581</c:v>
                </c:pt>
                <c:pt idx="43">
                  <c:v>0.705621331331827</c:v>
                </c:pt>
                <c:pt idx="44">
                  <c:v>0.7109201896801651</c:v>
                </c:pt>
                <c:pt idx="45">
                  <c:v>0.7095193510464005</c:v>
                </c:pt>
                <c:pt idx="46">
                  <c:v>0.713119043890119</c:v>
                </c:pt>
                <c:pt idx="47">
                  <c:v>0.7164179104477613</c:v>
                </c:pt>
                <c:pt idx="48">
                  <c:v>0.7229028561181151</c:v>
                </c:pt>
                <c:pt idx="49">
                  <c:v>0.7189600471827621</c:v>
                </c:pt>
                <c:pt idx="50">
                  <c:v>0.6731955378258755</c:v>
                </c:pt>
                <c:pt idx="51">
                  <c:v>0.666796193134575</c:v>
                </c:pt>
                <c:pt idx="52">
                  <c:v>0.6737796932804723</c:v>
                </c:pt>
                <c:pt idx="53">
                  <c:v>0.665250269755264</c:v>
                </c:pt>
                <c:pt idx="54">
                  <c:v>0.6332746031732083</c:v>
                </c:pt>
                <c:pt idx="55">
                  <c:v>0.6433709162987796</c:v>
                </c:pt>
                <c:pt idx="56">
                  <c:v>0.6427232055816607</c:v>
                </c:pt>
                <c:pt idx="57">
                  <c:v>0.6390540273952187</c:v>
                </c:pt>
                <c:pt idx="58">
                  <c:v>0.6232551301341324</c:v>
                </c:pt>
                <c:pt idx="59">
                  <c:v>0.6409151269513989</c:v>
                </c:pt>
                <c:pt idx="60">
                  <c:v>0.6433545498164522</c:v>
                </c:pt>
                <c:pt idx="61">
                  <c:v>0.6590774341431281</c:v>
                </c:pt>
                <c:pt idx="62">
                  <c:v>0.6369934233412109</c:v>
                </c:pt>
                <c:pt idx="63">
                  <c:v>0.6518097300835981</c:v>
                </c:pt>
                <c:pt idx="64">
                  <c:v>0.6990823125841242</c:v>
                </c:pt>
                <c:pt idx="65">
                  <c:v>0.7080992266562046</c:v>
                </c:pt>
                <c:pt idx="66">
                  <c:v>0.7213660125979728</c:v>
                </c:pt>
                <c:pt idx="67">
                  <c:v>0.7407672661315113</c:v>
                </c:pt>
                <c:pt idx="68">
                  <c:v>0.7518760548552211</c:v>
                </c:pt>
                <c:pt idx="69">
                  <c:v>0.7602957441875852</c:v>
                </c:pt>
                <c:pt idx="70">
                  <c:v>0.7301110114336199</c:v>
                </c:pt>
                <c:pt idx="71">
                  <c:v>0.7029766632561825</c:v>
                </c:pt>
                <c:pt idx="72">
                  <c:v>0.7483686177107798</c:v>
                </c:pt>
                <c:pt idx="73">
                  <c:v>0.7127833812361589</c:v>
                </c:pt>
                <c:pt idx="74">
                  <c:v>0.7015659765065355</c:v>
                </c:pt>
                <c:pt idx="75">
                  <c:v>0.6707378280977924</c:v>
                </c:pt>
                <c:pt idx="76">
                  <c:v>0.6559978593574354</c:v>
                </c:pt>
                <c:pt idx="77">
                  <c:v>0.6669962236196343</c:v>
                </c:pt>
                <c:pt idx="78">
                  <c:v>0.6943145345588724</c:v>
                </c:pt>
                <c:pt idx="79">
                  <c:v>0.6763894473797715</c:v>
                </c:pt>
                <c:pt idx="80">
                  <c:v>0.716603870357304</c:v>
                </c:pt>
                <c:pt idx="81">
                  <c:v>0.7187479203801876</c:v>
                </c:pt>
                <c:pt idx="82">
                  <c:v>0.7088887405384796</c:v>
                </c:pt>
                <c:pt idx="83">
                  <c:v>0.673585998179166</c:v>
                </c:pt>
                <c:pt idx="84">
                  <c:v>0.6929103943641713</c:v>
                </c:pt>
                <c:pt idx="85">
                  <c:v>0.6816165724438575</c:v>
                </c:pt>
                <c:pt idx="86">
                  <c:v>0.7020434144880825</c:v>
                </c:pt>
                <c:pt idx="87">
                  <c:v>0.7243832757141697</c:v>
                </c:pt>
                <c:pt idx="88">
                  <c:v>0.7001550655062969</c:v>
                </c:pt>
                <c:pt idx="89">
                  <c:v>0.6735161299739042</c:v>
                </c:pt>
                <c:pt idx="90">
                  <c:v>0.6939095285831204</c:v>
                </c:pt>
                <c:pt idx="91">
                  <c:v>0.7135498864219536</c:v>
                </c:pt>
                <c:pt idx="92">
                  <c:v>0.7161463114813909</c:v>
                </c:pt>
                <c:pt idx="93">
                  <c:v>0.7247095492806281</c:v>
                </c:pt>
                <c:pt idx="94">
                  <c:v>0.7319701147885451</c:v>
                </c:pt>
                <c:pt idx="95">
                  <c:v>0.7431557378947534</c:v>
                </c:pt>
                <c:pt idx="96">
                  <c:v>0.748891996506674</c:v>
                </c:pt>
                <c:pt idx="97">
                  <c:v>0.7847532305517134</c:v>
                </c:pt>
                <c:pt idx="98">
                  <c:v>0.7910545812695191</c:v>
                </c:pt>
                <c:pt idx="99">
                  <c:v>0.7778321137702249</c:v>
                </c:pt>
                <c:pt idx="100">
                  <c:v>0.7681488012850511</c:v>
                </c:pt>
                <c:pt idx="101">
                  <c:v>0.727598363954438</c:v>
                </c:pt>
                <c:pt idx="102">
                  <c:v>0.7053976755317749</c:v>
                </c:pt>
                <c:pt idx="103">
                  <c:v>0.718751791525255</c:v>
                </c:pt>
                <c:pt idx="104">
                  <c:v>0.7091790781222626</c:v>
                </c:pt>
              </c:numCache>
            </c:numRef>
          </c:xVal>
          <c:yVal>
            <c:numRef>
              <c:f>Sheet1!$B$2:$B$106</c:f>
              <c:numCache>
                <c:formatCode>General</c:formatCode>
                <c:ptCount val="105"/>
                <c:pt idx="0">
                  <c:v>0.22226506555029193</c:v>
                </c:pt>
                <c:pt idx="1">
                  <c:v>0.21748878923766815</c:v>
                </c:pt>
                <c:pt idx="2">
                  <c:v>0.21873943899966206</c:v>
                </c:pt>
                <c:pt idx="3">
                  <c:v>0.21880877742946708</c:v>
                </c:pt>
                <c:pt idx="4">
                  <c:v>0.23012847663419456</c:v>
                </c:pt>
                <c:pt idx="5">
                  <c:v>0.23601854534917416</c:v>
                </c:pt>
                <c:pt idx="6">
                  <c:v>0.2631891967534285</c:v>
                </c:pt>
                <c:pt idx="7">
                  <c:v>0.264646382909856</c:v>
                </c:pt>
                <c:pt idx="8">
                  <c:v>0.2586243119458801</c:v>
                </c:pt>
                <c:pt idx="9">
                  <c:v>0.24723282141843525</c:v>
                </c:pt>
                <c:pt idx="10">
                  <c:v>0.240457548323954</c:v>
                </c:pt>
                <c:pt idx="11">
                  <c:v>0.21958603645350633</c:v>
                </c:pt>
                <c:pt idx="12">
                  <c:v>0.20595766473199045</c:v>
                </c:pt>
                <c:pt idx="13">
                  <c:v>0.19534355479841</c:v>
                </c:pt>
                <c:pt idx="14">
                  <c:v>0.1779950952193527</c:v>
                </c:pt>
                <c:pt idx="15">
                  <c:v>0.168645487930973</c:v>
                </c:pt>
                <c:pt idx="16">
                  <c:v>0.16324619268670088</c:v>
                </c:pt>
                <c:pt idx="17">
                  <c:v>0.15663621708758732</c:v>
                </c:pt>
                <c:pt idx="18">
                  <c:v>0.1496506308751822</c:v>
                </c:pt>
                <c:pt idx="19">
                  <c:v>0.1484397783610382</c:v>
                </c:pt>
                <c:pt idx="20">
                  <c:v>0.15575458594760286</c:v>
                </c:pt>
                <c:pt idx="21">
                  <c:v>0.16326167003207032</c:v>
                </c:pt>
                <c:pt idx="22">
                  <c:v>0.17795461243737107</c:v>
                </c:pt>
                <c:pt idx="23">
                  <c:v>0.1898969839890778</c:v>
                </c:pt>
                <c:pt idx="24">
                  <c:v>0.19180421172453044</c:v>
                </c:pt>
                <c:pt idx="25">
                  <c:v>0.19442463533225285</c:v>
                </c:pt>
                <c:pt idx="26">
                  <c:v>0.20790259591086607</c:v>
                </c:pt>
                <c:pt idx="27">
                  <c:v>0.2096837172979305</c:v>
                </c:pt>
                <c:pt idx="28">
                  <c:v>0.21572077185017027</c:v>
                </c:pt>
                <c:pt idx="29">
                  <c:v>0.20905013062552374</c:v>
                </c:pt>
                <c:pt idx="30">
                  <c:v>0.21441727532550015</c:v>
                </c:pt>
                <c:pt idx="31">
                  <c:v>0.21806815395930376</c:v>
                </c:pt>
                <c:pt idx="32">
                  <c:v>0.22538531278331822</c:v>
                </c:pt>
                <c:pt idx="33">
                  <c:v>0.22100081250298714</c:v>
                </c:pt>
                <c:pt idx="34">
                  <c:v>0.21928327645051193</c:v>
                </c:pt>
                <c:pt idx="35">
                  <c:v>0.23582775119617225</c:v>
                </c:pt>
                <c:pt idx="36">
                  <c:v>0.20781902445739459</c:v>
                </c:pt>
                <c:pt idx="37">
                  <c:v>0.20361056699666472</c:v>
                </c:pt>
                <c:pt idx="38">
                  <c:v>0.1926458832933653</c:v>
                </c:pt>
                <c:pt idx="39">
                  <c:v>0.18791795448159596</c:v>
                </c:pt>
                <c:pt idx="40">
                  <c:v>0.18927819961577166</c:v>
                </c:pt>
                <c:pt idx="41">
                  <c:v>0.18410232983097305</c:v>
                </c:pt>
                <c:pt idx="42">
                  <c:v>0.1844411662617147</c:v>
                </c:pt>
                <c:pt idx="43">
                  <c:v>0.17869283065512978</c:v>
                </c:pt>
                <c:pt idx="44">
                  <c:v>0.1801480101433525</c:v>
                </c:pt>
                <c:pt idx="45">
                  <c:v>0.19204877130213727</c:v>
                </c:pt>
                <c:pt idx="46">
                  <c:v>0.19389858458155834</c:v>
                </c:pt>
                <c:pt idx="47">
                  <c:v>0.19004100761570006</c:v>
                </c:pt>
                <c:pt idx="48">
                  <c:v>0.187392393842797</c:v>
                </c:pt>
                <c:pt idx="49">
                  <c:v>0.20137562094000763</c:v>
                </c:pt>
                <c:pt idx="50">
                  <c:v>0.19135440180586907</c:v>
                </c:pt>
                <c:pt idx="51">
                  <c:v>0.1846539978486913</c:v>
                </c:pt>
                <c:pt idx="52">
                  <c:v>0.18815193402253455</c:v>
                </c:pt>
                <c:pt idx="53">
                  <c:v>0.1812184824674563</c:v>
                </c:pt>
                <c:pt idx="54">
                  <c:v>0.1860592401802962</c:v>
                </c:pt>
                <c:pt idx="55">
                  <c:v>0.18362143188290617</c:v>
                </c:pt>
                <c:pt idx="56">
                  <c:v>0.18648420341273864</c:v>
                </c:pt>
                <c:pt idx="57">
                  <c:v>0.18117511188104518</c:v>
                </c:pt>
                <c:pt idx="58">
                  <c:v>0.19146386921561317</c:v>
                </c:pt>
                <c:pt idx="59">
                  <c:v>0.19048030109457548</c:v>
                </c:pt>
                <c:pt idx="60">
                  <c:v>0.19382582445748134</c:v>
                </c:pt>
                <c:pt idx="61">
                  <c:v>0.1902548569041153</c:v>
                </c:pt>
                <c:pt idx="62">
                  <c:v>0.2036891381016416</c:v>
                </c:pt>
                <c:pt idx="63">
                  <c:v>0.20864302643992913</c:v>
                </c:pt>
                <c:pt idx="64">
                  <c:v>0.19630329195898544</c:v>
                </c:pt>
                <c:pt idx="65">
                  <c:v>0.19063234142521535</c:v>
                </c:pt>
                <c:pt idx="66">
                  <c:v>0.19000101822624987</c:v>
                </c:pt>
                <c:pt idx="67">
                  <c:v>0.17937626829007797</c:v>
                </c:pt>
                <c:pt idx="68">
                  <c:v>0.16788459713390907</c:v>
                </c:pt>
                <c:pt idx="69">
                  <c:v>0.1609119170984456</c:v>
                </c:pt>
                <c:pt idx="70">
                  <c:v>0.16178092986603626</c:v>
                </c:pt>
                <c:pt idx="71">
                  <c:v>0.16205719163465643</c:v>
                </c:pt>
                <c:pt idx="72">
                  <c:v>0.16154716676097325</c:v>
                </c:pt>
                <c:pt idx="73">
                  <c:v>0.16443455564588594</c:v>
                </c:pt>
                <c:pt idx="74">
                  <c:v>0.16447449293177627</c:v>
                </c:pt>
                <c:pt idx="75">
                  <c:v>0.17549175203193382</c:v>
                </c:pt>
                <c:pt idx="76">
                  <c:v>0.17818368922047853</c:v>
                </c:pt>
                <c:pt idx="77">
                  <c:v>0.17209963663173417</c:v>
                </c:pt>
                <c:pt idx="78">
                  <c:v>0.17405100481842756</c:v>
                </c:pt>
                <c:pt idx="79">
                  <c:v>0.1605390891252711</c:v>
                </c:pt>
                <c:pt idx="80">
                  <c:v>0.15557729941291584</c:v>
                </c:pt>
                <c:pt idx="81">
                  <c:v>0.1628547688809201</c:v>
                </c:pt>
                <c:pt idx="82">
                  <c:v>0.1626240974729242</c:v>
                </c:pt>
                <c:pt idx="83">
                  <c:v>0.16220834702596124</c:v>
                </c:pt>
                <c:pt idx="84">
                  <c:v>0.16348265992145378</c:v>
                </c:pt>
                <c:pt idx="85">
                  <c:v>0.16821068577754472</c:v>
                </c:pt>
                <c:pt idx="86">
                  <c:v>0.1764033081119127</c:v>
                </c:pt>
                <c:pt idx="87">
                  <c:v>0.19161401012679416</c:v>
                </c:pt>
                <c:pt idx="88">
                  <c:v>0.18565601991630912</c:v>
                </c:pt>
                <c:pt idx="89">
                  <c:v>0.18069021237303787</c:v>
                </c:pt>
                <c:pt idx="90">
                  <c:v>0.1697967889092956</c:v>
                </c:pt>
                <c:pt idx="91">
                  <c:v>0.16111781956184235</c:v>
                </c:pt>
                <c:pt idx="92">
                  <c:v>0.1722055773219636</c:v>
                </c:pt>
                <c:pt idx="93">
                  <c:v>0.16393442622950818</c:v>
                </c:pt>
                <c:pt idx="94">
                  <c:v>0.16772088353413656</c:v>
                </c:pt>
                <c:pt idx="95">
                  <c:v>0.1712412039936632</c:v>
                </c:pt>
                <c:pt idx="96">
                  <c:v>0.17387654450536477</c:v>
                </c:pt>
                <c:pt idx="97">
                  <c:v>0.17686965320577683</c:v>
                </c:pt>
                <c:pt idx="98">
                  <c:v>0.18162422985663867</c:v>
                </c:pt>
                <c:pt idx="99">
                  <c:v>0.18420596994251678</c:v>
                </c:pt>
                <c:pt idx="100">
                  <c:v>0.1880809529200156</c:v>
                </c:pt>
                <c:pt idx="101">
                  <c:v>0.1839502684374117</c:v>
                </c:pt>
                <c:pt idx="102">
                  <c:v>0.17164885702691735</c:v>
                </c:pt>
                <c:pt idx="103">
                  <c:v>0.17687576250508336</c:v>
                </c:pt>
                <c:pt idx="104">
                  <c:v>0.1747592827066340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070123533280721</c:v>
                </c:pt>
                <c:pt idx="1">
                  <c:v>0.6783259500302962</c:v>
                </c:pt>
                <c:pt idx="2">
                  <c:v>0.6920128361757607</c:v>
                </c:pt>
                <c:pt idx="3">
                  <c:v>0.6711598735852166</c:v>
                </c:pt>
                <c:pt idx="4">
                  <c:v>0.6796620202178065</c:v>
                </c:pt>
                <c:pt idx="5">
                  <c:v>0.6876745096788175</c:v>
                </c:pt>
                <c:pt idx="6">
                  <c:v>0.6879155751438306</c:v>
                </c:pt>
                <c:pt idx="7">
                  <c:v>0.6839654934446234</c:v>
                </c:pt>
                <c:pt idx="8">
                  <c:v>0.7033095049428476</c:v>
                </c:pt>
                <c:pt idx="9">
                  <c:v>0.6754880420455857</c:v>
                </c:pt>
                <c:pt idx="10">
                  <c:v>0.6924373397148949</c:v>
                </c:pt>
                <c:pt idx="11">
                  <c:v>0.6945314060522362</c:v>
                </c:pt>
                <c:pt idx="12">
                  <c:v>0.7016895504100462</c:v>
                </c:pt>
                <c:pt idx="13">
                  <c:v>0.6686763490331205</c:v>
                </c:pt>
                <c:pt idx="14">
                  <c:v>0.673790652945936</c:v>
                </c:pt>
                <c:pt idx="15">
                  <c:v>0.6658282227489262</c:v>
                </c:pt>
                <c:pt idx="16">
                  <c:v>0.692456534892586</c:v>
                </c:pt>
                <c:pt idx="17">
                  <c:v>0.661588688847843</c:v>
                </c:pt>
                <c:pt idx="18">
                  <c:v>0.6791250087314417</c:v>
                </c:pt>
                <c:pt idx="19">
                  <c:v>0.6952325392655947</c:v>
                </c:pt>
                <c:pt idx="20">
                  <c:v>0.6549708564015421</c:v>
                </c:pt>
                <c:pt idx="21">
                  <c:v>0.618108411805718</c:v>
                </c:pt>
                <c:pt idx="22">
                  <c:v>0.6247783433961807</c:v>
                </c:pt>
                <c:pt idx="23">
                  <c:v>0.622348880097159</c:v>
                </c:pt>
                <c:pt idx="24">
                  <c:v>0.6160261019785447</c:v>
                </c:pt>
                <c:pt idx="25">
                  <c:v>0.6503706961827922</c:v>
                </c:pt>
                <c:pt idx="26">
                  <c:v>0.6516596596336554</c:v>
                </c:pt>
                <c:pt idx="27">
                  <c:v>0.6792677024562161</c:v>
                </c:pt>
                <c:pt idx="28">
                  <c:v>0.6911469518429815</c:v>
                </c:pt>
                <c:pt idx="29">
                  <c:v>0.6538989950930048</c:v>
                </c:pt>
                <c:pt idx="30">
                  <c:v>0.6486887405987405</c:v>
                </c:pt>
                <c:pt idx="31">
                  <c:v>0.6487713016806961</c:v>
                </c:pt>
                <c:pt idx="32">
                  <c:v>0.6541240263815864</c:v>
                </c:pt>
                <c:pt idx="33">
                  <c:v>0.676038570895639</c:v>
                </c:pt>
                <c:pt idx="34">
                  <c:v>0.7014827951333354</c:v>
                </c:pt>
                <c:pt idx="35">
                  <c:v>0.6823937874204069</c:v>
                </c:pt>
                <c:pt idx="36">
                  <c:v>0.629530115174744</c:v>
                </c:pt>
                <c:pt idx="37">
                  <c:v>0.6312241090234259</c:v>
                </c:pt>
                <c:pt idx="38">
                  <c:v>0.6359127308601258</c:v>
                </c:pt>
                <c:pt idx="39">
                  <c:v>0.6730614317378069</c:v>
                </c:pt>
                <c:pt idx="40">
                  <c:v>0.6723983230725539</c:v>
                </c:pt>
                <c:pt idx="41">
                  <c:v>0.6878448162694061</c:v>
                </c:pt>
                <c:pt idx="42">
                  <c:v>0.6568687119005638</c:v>
                </c:pt>
                <c:pt idx="43">
                  <c:v>0.7092053965234757</c:v>
                </c:pt>
                <c:pt idx="44">
                  <c:v>0.7469575218187782</c:v>
                </c:pt>
                <c:pt idx="45">
                  <c:v>0.7554101843718581</c:v>
                </c:pt>
                <c:pt idx="46">
                  <c:v>0.7253906967669823</c:v>
                </c:pt>
                <c:pt idx="47">
                  <c:v>0.7317016740263154</c:v>
                </c:pt>
                <c:pt idx="48">
                  <c:v>0.7663274088905646</c:v>
                </c:pt>
                <c:pt idx="49">
                  <c:v>0.7814072446041148</c:v>
                </c:pt>
                <c:pt idx="50">
                  <c:v>0.7639271033420019</c:v>
                </c:pt>
                <c:pt idx="51">
                  <c:v>0.7339236914487116</c:v>
                </c:pt>
              </c:numCache>
            </c:numRef>
          </c:xVal>
          <c:yVal>
            <c:numRef>
              <c:f>Sheet1!$B$109:$B$160</c:f>
              <c:numCache>
                <c:formatCode>General</c:formatCode>
                <c:ptCount val="52"/>
                <c:pt idx="0">
                  <c:v>0.18217210363807224</c:v>
                </c:pt>
                <c:pt idx="1">
                  <c:v>0.180339502668332</c:v>
                </c:pt>
                <c:pt idx="2">
                  <c:v>0.19413928707344918</c:v>
                </c:pt>
                <c:pt idx="3">
                  <c:v>0.20516422332328754</c:v>
                </c:pt>
                <c:pt idx="4">
                  <c:v>0.19036010493123826</c:v>
                </c:pt>
                <c:pt idx="5">
                  <c:v>0.1889782655018112</c:v>
                </c:pt>
                <c:pt idx="6">
                  <c:v>0.19689534301452177</c:v>
                </c:pt>
                <c:pt idx="7">
                  <c:v>0.19303298361105398</c:v>
                </c:pt>
                <c:pt idx="8">
                  <c:v>0.18199813258636788</c:v>
                </c:pt>
                <c:pt idx="9">
                  <c:v>0.19081744616650664</c:v>
                </c:pt>
                <c:pt idx="10">
                  <c:v>0.19138913594887505</c:v>
                </c:pt>
                <c:pt idx="11">
                  <c:v>0.19509012114645918</c:v>
                </c:pt>
                <c:pt idx="12">
                  <c:v>0.19295151718732506</c:v>
                </c:pt>
                <c:pt idx="13">
                  <c:v>0.19295169632681686</c:v>
                </c:pt>
                <c:pt idx="14">
                  <c:v>0.19092221331194867</c:v>
                </c:pt>
                <c:pt idx="15">
                  <c:v>0.1895449417074088</c:v>
                </c:pt>
                <c:pt idx="16">
                  <c:v>0.1792311335648879</c:v>
                </c:pt>
                <c:pt idx="17">
                  <c:v>0.18335527398387363</c:v>
                </c:pt>
                <c:pt idx="18">
                  <c:v>0.18697068403908795</c:v>
                </c:pt>
                <c:pt idx="19">
                  <c:v>0.18265391401244313</c:v>
                </c:pt>
                <c:pt idx="20">
                  <c:v>0.17537102654958148</c:v>
                </c:pt>
                <c:pt idx="21">
                  <c:v>0.18476560055079178</c:v>
                </c:pt>
                <c:pt idx="22">
                  <c:v>0.18236423307944766</c:v>
                </c:pt>
                <c:pt idx="23">
                  <c:v>0.1897367922741905</c:v>
                </c:pt>
                <c:pt idx="24">
                  <c:v>0.19025981591518118</c:v>
                </c:pt>
                <c:pt idx="25">
                  <c:v>0.18831606694047692</c:v>
                </c:pt>
                <c:pt idx="26">
                  <c:v>0.18173383589446215</c:v>
                </c:pt>
                <c:pt idx="27">
                  <c:v>0.18173173437582546</c:v>
                </c:pt>
                <c:pt idx="28">
                  <c:v>0.17265331366858558</c:v>
                </c:pt>
                <c:pt idx="29">
                  <c:v>0.1752766469812511</c:v>
                </c:pt>
                <c:pt idx="30">
                  <c:v>0.17988221997501636</c:v>
                </c:pt>
                <c:pt idx="31">
                  <c:v>0.17247824685787946</c:v>
                </c:pt>
                <c:pt idx="32">
                  <c:v>0.16771168728464103</c:v>
                </c:pt>
                <c:pt idx="33">
                  <c:v>0.1849237183739221</c:v>
                </c:pt>
                <c:pt idx="34">
                  <c:v>0.1982008772581964</c:v>
                </c:pt>
                <c:pt idx="35">
                  <c:v>0.19501184463415724</c:v>
                </c:pt>
                <c:pt idx="36">
                  <c:v>0.18242677824267783</c:v>
                </c:pt>
                <c:pt idx="37">
                  <c:v>0.18479685452162517</c:v>
                </c:pt>
                <c:pt idx="38">
                  <c:v>0.18242111142139067</c:v>
                </c:pt>
                <c:pt idx="39">
                  <c:v>0.18836707429863322</c:v>
                </c:pt>
                <c:pt idx="40">
                  <c:v>0.17894789180588702</c:v>
                </c:pt>
                <c:pt idx="41">
                  <c:v>0.1818480917465689</c:v>
                </c:pt>
                <c:pt idx="42">
                  <c:v>0.18211622864999208</c:v>
                </c:pt>
                <c:pt idx="43">
                  <c:v>0.1748787435522365</c:v>
                </c:pt>
                <c:pt idx="44">
                  <c:v>0.17223699202430687</c:v>
                </c:pt>
                <c:pt idx="45">
                  <c:v>0.18621399176954734</c:v>
                </c:pt>
                <c:pt idx="46">
                  <c:v>0.2003267130943169</c:v>
                </c:pt>
                <c:pt idx="47">
                  <c:v>0.20219166308551784</c:v>
                </c:pt>
                <c:pt idx="48">
                  <c:v>0.19862168047231016</c:v>
                </c:pt>
                <c:pt idx="49">
                  <c:v>0.2040362858016512</c:v>
                </c:pt>
                <c:pt idx="50">
                  <c:v>0.21092607636068236</c:v>
                </c:pt>
                <c:pt idx="51">
                  <c:v>0.20336543000094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365039230008922</c:v>
                </c:pt>
              </c:numCache>
            </c:numRef>
          </c:xVal>
          <c:yVal>
            <c:numRef>
              <c:f>Sheet1!$B$163:$B$164</c:f>
              <c:numCache>
                <c:formatCode>General</c:formatCode>
                <c:ptCount val="2"/>
                <c:pt idx="0">
                  <c:v>0.23665655386773585</c:v>
                </c:pt>
                <c:pt idx="1">
                  <c:v>0.2366565538677358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365039230008922</c:v>
                </c:pt>
                <c:pt idx="1">
                  <c:v>1.1365039230008922</c:v>
                </c:pt>
              </c:numCache>
            </c:numRef>
          </c:xVal>
          <c:yVal>
            <c:numRef>
              <c:f>Sheet1!$B$167:$B$168</c:f>
              <c:numCache>
                <c:formatCode>General</c:formatCode>
                <c:ptCount val="2"/>
                <c:pt idx="0">
                  <c:v>0.236656553867735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376003790852784</c:v>
                </c:pt>
              </c:numCache>
            </c:numRef>
          </c:xVal>
          <c:yVal>
            <c:numRef>
              <c:f>Sheet1!$B$171:$B$172</c:f>
              <c:numCache>
                <c:formatCode>General</c:formatCode>
                <c:ptCount val="2"/>
                <c:pt idx="0">
                  <c:v>0.20423736815889693</c:v>
                </c:pt>
                <c:pt idx="1">
                  <c:v>0.2042373681588969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376003790852784</c:v>
                </c:pt>
                <c:pt idx="1">
                  <c:v>0.8376003790852784</c:v>
                </c:pt>
              </c:numCache>
            </c:numRef>
          </c:xVal>
          <c:yVal>
            <c:numRef>
              <c:f>Sheet1!$B$175:$B$176</c:f>
              <c:numCache>
                <c:formatCode>General</c:formatCode>
                <c:ptCount val="2"/>
                <c:pt idx="0">
                  <c:v>0.2042373681588969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163161358942193</c:v>
                </c:pt>
              </c:numCache>
            </c:numRef>
          </c:xVal>
          <c:yVal>
            <c:numRef>
              <c:f>Sheet1!$B$179:$B$180</c:f>
              <c:numCache>
                <c:formatCode>General</c:formatCode>
                <c:ptCount val="2"/>
                <c:pt idx="0">
                  <c:v>0.19108283558943034</c:v>
                </c:pt>
                <c:pt idx="1">
                  <c:v>0.1910828355894303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163161358942193</c:v>
                </c:pt>
                <c:pt idx="1">
                  <c:v>0.7163161358942193</c:v>
                </c:pt>
              </c:numCache>
            </c:numRef>
          </c:xVal>
          <c:yVal>
            <c:numRef>
              <c:f>Sheet1!$B$183:$B$184</c:f>
              <c:numCache>
                <c:formatCode>General</c:formatCode>
                <c:ptCount val="2"/>
                <c:pt idx="0">
                  <c:v>0.1910828355894303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070123533280721</c:v>
                </c:pt>
                <c:pt idx="1">
                  <c:v>0.6783259500302962</c:v>
                </c:pt>
                <c:pt idx="2">
                  <c:v>0.6920128361757607</c:v>
                </c:pt>
                <c:pt idx="3">
                  <c:v>0.6711598735852166</c:v>
                </c:pt>
                <c:pt idx="4">
                  <c:v>0.6796620202178065</c:v>
                </c:pt>
                <c:pt idx="5">
                  <c:v>0.6876745096788175</c:v>
                </c:pt>
                <c:pt idx="6">
                  <c:v>0.6879155751438306</c:v>
                </c:pt>
                <c:pt idx="7">
                  <c:v>0.6839654934446234</c:v>
                </c:pt>
                <c:pt idx="8">
                  <c:v>0.7033095049428476</c:v>
                </c:pt>
                <c:pt idx="9">
                  <c:v>0.6754880420455857</c:v>
                </c:pt>
                <c:pt idx="10">
                  <c:v>0.6924373397148949</c:v>
                </c:pt>
                <c:pt idx="11">
                  <c:v>0.6945314060522362</c:v>
                </c:pt>
                <c:pt idx="12">
                  <c:v>0.7016895504100462</c:v>
                </c:pt>
                <c:pt idx="13">
                  <c:v>0.6686763490331205</c:v>
                </c:pt>
                <c:pt idx="14">
                  <c:v>0.673790652945936</c:v>
                </c:pt>
                <c:pt idx="15">
                  <c:v>0.6658282227489262</c:v>
                </c:pt>
                <c:pt idx="16">
                  <c:v>0.692456534892586</c:v>
                </c:pt>
                <c:pt idx="17">
                  <c:v>0.661588688847843</c:v>
                </c:pt>
                <c:pt idx="18">
                  <c:v>0.6791250087314417</c:v>
                </c:pt>
                <c:pt idx="19">
                  <c:v>0.6952325392655947</c:v>
                </c:pt>
                <c:pt idx="20">
                  <c:v>0.6549708564015421</c:v>
                </c:pt>
                <c:pt idx="21">
                  <c:v>0.618108411805718</c:v>
                </c:pt>
                <c:pt idx="22">
                  <c:v>0.6247783433961807</c:v>
                </c:pt>
                <c:pt idx="23">
                  <c:v>0.622348880097159</c:v>
                </c:pt>
                <c:pt idx="24">
                  <c:v>0.6160261019785447</c:v>
                </c:pt>
                <c:pt idx="25">
                  <c:v>0.6503706961827922</c:v>
                </c:pt>
                <c:pt idx="26">
                  <c:v>0.6516596596336554</c:v>
                </c:pt>
                <c:pt idx="27">
                  <c:v>0.6792677024562161</c:v>
                </c:pt>
                <c:pt idx="28">
                  <c:v>0.6911469518429815</c:v>
                </c:pt>
                <c:pt idx="29">
                  <c:v>0.6538989950930048</c:v>
                </c:pt>
                <c:pt idx="30">
                  <c:v>0.6486887405987405</c:v>
                </c:pt>
                <c:pt idx="31">
                  <c:v>0.6487713016806961</c:v>
                </c:pt>
                <c:pt idx="32">
                  <c:v>0.6541240263815864</c:v>
                </c:pt>
                <c:pt idx="33">
                  <c:v>0.676038570895639</c:v>
                </c:pt>
                <c:pt idx="34">
                  <c:v>0.7014827951333354</c:v>
                </c:pt>
                <c:pt idx="35">
                  <c:v>0.6823937874204069</c:v>
                </c:pt>
                <c:pt idx="36">
                  <c:v>0.629530115174744</c:v>
                </c:pt>
                <c:pt idx="37">
                  <c:v>0.6312241090234259</c:v>
                </c:pt>
                <c:pt idx="38">
                  <c:v>0.6359127308601258</c:v>
                </c:pt>
                <c:pt idx="39">
                  <c:v>0.6730614317378069</c:v>
                </c:pt>
                <c:pt idx="40">
                  <c:v>0.6723983230725539</c:v>
                </c:pt>
                <c:pt idx="41">
                  <c:v>0.6878448162694061</c:v>
                </c:pt>
                <c:pt idx="42">
                  <c:v>0.6568687119005638</c:v>
                </c:pt>
                <c:pt idx="43">
                  <c:v>0.7092053965234757</c:v>
                </c:pt>
                <c:pt idx="44">
                  <c:v>0.7469575218187782</c:v>
                </c:pt>
                <c:pt idx="45">
                  <c:v>0.7554101843718581</c:v>
                </c:pt>
                <c:pt idx="46">
                  <c:v>0.7253906967669823</c:v>
                </c:pt>
                <c:pt idx="47">
                  <c:v>0.7317016740263154</c:v>
                </c:pt>
                <c:pt idx="48">
                  <c:v>0.7663274088905646</c:v>
                </c:pt>
                <c:pt idx="49">
                  <c:v>0.7814072446041148</c:v>
                </c:pt>
                <c:pt idx="50">
                  <c:v>0.7639271033420019</c:v>
                </c:pt>
                <c:pt idx="51">
                  <c:v>0.7339236914487116</c:v>
                </c:pt>
                <c:pt idx="52">
                  <c:v>0.8376003790852784</c:v>
                </c:pt>
                <c:pt idx="53">
                  <c:v>1.1365039230008922</c:v>
                </c:pt>
                <c:pt idx="54">
                  <c:v>0.7163161358942193</c:v>
                </c:pt>
              </c:numCache>
            </c:numRef>
          </c:xVal>
          <c:yVal>
            <c:numRef>
              <c:f>Sheet1!$B$187:$B$241</c:f>
              <c:numCache>
                <c:formatCode>General</c:formatCode>
                <c:ptCount val="55"/>
                <c:pt idx="0">
                  <c:v>0.19007374399133362</c:v>
                </c:pt>
                <c:pt idx="1">
                  <c:v>0.18696240638841846</c:v>
                </c:pt>
                <c:pt idx="2">
                  <c:v>0.18844689097469297</c:v>
                </c:pt>
                <c:pt idx="3">
                  <c:v>0.18618517116385935</c:v>
                </c:pt>
                <c:pt idx="4">
                  <c:v>0.18710731704073635</c:v>
                </c:pt>
                <c:pt idx="5">
                  <c:v>0.18797635452494887</c:v>
                </c:pt>
                <c:pt idx="6">
                  <c:v>0.1880025005718504</c:v>
                </c:pt>
                <c:pt idx="7">
                  <c:v>0.1875740732922868</c:v>
                </c:pt>
                <c:pt idx="8">
                  <c:v>0.18967213172578562</c:v>
                </c:pt>
                <c:pt idx="9">
                  <c:v>0.18665460586930888</c:v>
                </c:pt>
                <c:pt idx="10">
                  <c:v>0.18849293278098594</c:v>
                </c:pt>
                <c:pt idx="11">
                  <c:v>0.18872005596790964</c:v>
                </c:pt>
                <c:pt idx="12">
                  <c:v>0.1894964308754351</c:v>
                </c:pt>
                <c:pt idx="13">
                  <c:v>0.18591580719910958</c:v>
                </c:pt>
                <c:pt idx="14">
                  <c:v>0.1864705064380313</c:v>
                </c:pt>
                <c:pt idx="15">
                  <c:v>0.18560689839956857</c:v>
                </c:pt>
                <c:pt idx="16">
                  <c:v>0.18849501469685126</c:v>
                </c:pt>
                <c:pt idx="17">
                  <c:v>0.18514707703024774</c:v>
                </c:pt>
                <c:pt idx="18">
                  <c:v>0.1870490725820853</c:v>
                </c:pt>
                <c:pt idx="19">
                  <c:v>0.1887961011280062</c:v>
                </c:pt>
                <c:pt idx="20">
                  <c:v>0.18442930454666961</c:v>
                </c:pt>
                <c:pt idx="21">
                  <c:v>0.1804311905685657</c:v>
                </c:pt>
                <c:pt idx="22">
                  <c:v>0.18115461374402833</c:v>
                </c:pt>
                <c:pt idx="23">
                  <c:v>0.18089111328220034</c:v>
                </c:pt>
                <c:pt idx="24">
                  <c:v>0.1802053424969566</c:v>
                </c:pt>
                <c:pt idx="25">
                  <c:v>0.18393036951743436</c:v>
                </c:pt>
                <c:pt idx="26">
                  <c:v>0.18407017095617953</c:v>
                </c:pt>
                <c:pt idx="27">
                  <c:v>0.18706454919471543</c:v>
                </c:pt>
                <c:pt idx="28">
                  <c:v>0.18835297684902214</c:v>
                </c:pt>
                <c:pt idx="29">
                  <c:v>0.1843130500842421</c:v>
                </c:pt>
                <c:pt idx="30">
                  <c:v>0.18374794401080072</c:v>
                </c:pt>
                <c:pt idx="31">
                  <c:v>0.18375689861539718</c:v>
                </c:pt>
                <c:pt idx="32">
                  <c:v>0.18433745705861002</c:v>
                </c:pt>
                <c:pt idx="33">
                  <c:v>0.1867143164260796</c:v>
                </c:pt>
                <c:pt idx="34">
                  <c:v>0.18947400612387758</c:v>
                </c:pt>
                <c:pt idx="35">
                  <c:v>0.18740360549250334</c:v>
                </c:pt>
                <c:pt idx="36">
                  <c:v>0.18166999261748443</c:v>
                </c:pt>
                <c:pt idx="37">
                  <c:v>0.18185372379862275</c:v>
                </c:pt>
                <c:pt idx="38">
                  <c:v>0.1823622534067073</c:v>
                </c:pt>
                <c:pt idx="39">
                  <c:v>0.18639141484393557</c:v>
                </c:pt>
                <c:pt idx="40">
                  <c:v>0.18631949383998103</c:v>
                </c:pt>
                <c:pt idx="41">
                  <c:v>0.18799482603892093</c:v>
                </c:pt>
                <c:pt idx="42">
                  <c:v>0.18463514663561018</c:v>
                </c:pt>
                <c:pt idx="43">
                  <c:v>0.19031160224382515</c:v>
                </c:pt>
                <c:pt idx="44">
                  <c:v>0.1944062113100773</c:v>
                </c:pt>
                <c:pt idx="45">
                  <c:v>0.195322990125921</c:v>
                </c:pt>
                <c:pt idx="46">
                  <c:v>0.1920670657203495</c:v>
                </c:pt>
                <c:pt idx="47">
                  <c:v>0.1927515565801579</c:v>
                </c:pt>
                <c:pt idx="48">
                  <c:v>0.19650707621757657</c:v>
                </c:pt>
                <c:pt idx="49">
                  <c:v>0.19814264061421144</c:v>
                </c:pt>
                <c:pt idx="50">
                  <c:v>0.19624673821583383</c:v>
                </c:pt>
                <c:pt idx="51">
                  <c:v>0.19299255738771365</c:v>
                </c:pt>
                <c:pt idx="52">
                  <c:v>0.20423736815889693</c:v>
                </c:pt>
                <c:pt idx="53">
                  <c:v>0.23665655386773585</c:v>
                </c:pt>
                <c:pt idx="54">
                  <c:v>0.1910828355894303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57565949182714"/>
          <c:min val="0.1187518226888305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977527885127924</c:v>
                </c:pt>
                <c:pt idx="1">
                  <c:v>0.11239101374958435</c:v>
                </c:pt>
                <c:pt idx="2">
                  <c:v>0.1139112171019946</c:v>
                </c:pt>
                <c:pt idx="3">
                  <c:v>0.11107157880321726</c:v>
                </c:pt>
                <c:pt idx="4">
                  <c:v>0.11212778876417676</c:v>
                </c:pt>
                <c:pt idx="5">
                  <c:v>0.11075261764701934</c:v>
                </c:pt>
                <c:pt idx="6">
                  <c:v>0.10822087492663016</c:v>
                </c:pt>
                <c:pt idx="7">
                  <c:v>0.10675549121827713</c:v>
                </c:pt>
                <c:pt idx="8">
                  <c:v>0.10477199011967678</c:v>
                </c:pt>
                <c:pt idx="9">
                  <c:v>0.10267868016130718</c:v>
                </c:pt>
                <c:pt idx="10">
                  <c:v>0.10232597748012895</c:v>
                </c:pt>
                <c:pt idx="11">
                  <c:v>0.10248682109609016</c:v>
                </c:pt>
                <c:pt idx="12">
                  <c:v>0.10196438062220563</c:v>
                </c:pt>
                <c:pt idx="13">
                  <c:v>0.09699781029405664</c:v>
                </c:pt>
                <c:pt idx="14">
                  <c:v>0.1059242814652177</c:v>
                </c:pt>
                <c:pt idx="15">
                  <c:v>0.1032806451115212</c:v>
                </c:pt>
                <c:pt idx="16">
                  <c:v>0.10272159802901258</c:v>
                </c:pt>
                <c:pt idx="17">
                  <c:v>0.09547444910616792</c:v>
                </c:pt>
                <c:pt idx="18">
                  <c:v>0.10267689542821315</c:v>
                </c:pt>
                <c:pt idx="19">
                  <c:v>0.10382516998411921</c:v>
                </c:pt>
                <c:pt idx="20">
                  <c:v>0.10430693005747024</c:v>
                </c:pt>
                <c:pt idx="21">
                  <c:v>0.10283377658756594</c:v>
                </c:pt>
                <c:pt idx="22">
                  <c:v>0.09634348171610248</c:v>
                </c:pt>
                <c:pt idx="23">
                  <c:v>0.09449587234175254</c:v>
                </c:pt>
                <c:pt idx="24">
                  <c:v>0.09445901217139062</c:v>
                </c:pt>
                <c:pt idx="25">
                  <c:v>0.09227114178729172</c:v>
                </c:pt>
                <c:pt idx="26">
                  <c:v>0.10057976123306311</c:v>
                </c:pt>
                <c:pt idx="27">
                  <c:v>0.10253310615677078</c:v>
                </c:pt>
                <c:pt idx="28">
                  <c:v>0.10034725980744849</c:v>
                </c:pt>
                <c:pt idx="29">
                  <c:v>0.09644390592936997</c:v>
                </c:pt>
                <c:pt idx="30">
                  <c:v>0.09776805876472537</c:v>
                </c:pt>
                <c:pt idx="31">
                  <c:v>0.09723893839834563</c:v>
                </c:pt>
                <c:pt idx="32">
                  <c:v>0.0922955943548461</c:v>
                </c:pt>
                <c:pt idx="33">
                  <c:v>0.0921971555545888</c:v>
                </c:pt>
                <c:pt idx="34">
                  <c:v>0.09829759861244722</c:v>
                </c:pt>
                <c:pt idx="35">
                  <c:v>0.1037383618397284</c:v>
                </c:pt>
                <c:pt idx="36">
                  <c:v>0.10421593732993188</c:v>
                </c:pt>
                <c:pt idx="37">
                  <c:v>0.10576406085399051</c:v>
                </c:pt>
                <c:pt idx="38">
                  <c:v>0.10997536405655768</c:v>
                </c:pt>
                <c:pt idx="39">
                  <c:v>0.11326183444389926</c:v>
                </c:pt>
                <c:pt idx="40">
                  <c:v>0.11921311314867425</c:v>
                </c:pt>
                <c:pt idx="41">
                  <c:v>0.11749509508859897</c:v>
                </c:pt>
                <c:pt idx="42">
                  <c:v>0.1185159950354781</c:v>
                </c:pt>
                <c:pt idx="43">
                  <c:v>0.12934913876158763</c:v>
                </c:pt>
                <c:pt idx="44">
                  <c:v>0.11171402825530191</c:v>
                </c:pt>
                <c:pt idx="45">
                  <c:v>0.109736953103047</c:v>
                </c:pt>
                <c:pt idx="46">
                  <c:v>0.11019475062657155</c:v>
                </c:pt>
                <c:pt idx="47">
                  <c:v>0.10535534586627193</c:v>
                </c:pt>
                <c:pt idx="48">
                  <c:v>0.10873017130368594</c:v>
                </c:pt>
                <c:pt idx="49">
                  <c:v>0.113519309087388</c:v>
                </c:pt>
                <c:pt idx="50">
                  <c:v>0.10348815145302818</c:v>
                </c:pt>
                <c:pt idx="51">
                  <c:v>0.10416425595078777</c:v>
                </c:pt>
                <c:pt idx="52">
                  <c:v>0.10702533521831416</c:v>
                </c:pt>
                <c:pt idx="53">
                  <c:v>0.11890331679093805</c:v>
                </c:pt>
                <c:pt idx="54">
                  <c:v>0.1152876578301699</c:v>
                </c:pt>
                <c:pt idx="55">
                  <c:v>0.1152305041265081</c:v>
                </c:pt>
                <c:pt idx="56">
                  <c:v>0.11137050686644717</c:v>
                </c:pt>
                <c:pt idx="57">
                  <c:v>0.11125940718157899</c:v>
                </c:pt>
                <c:pt idx="58">
                  <c:v>0.11046474448892088</c:v>
                </c:pt>
                <c:pt idx="59">
                  <c:v>0.11370141339275121</c:v>
                </c:pt>
                <c:pt idx="60">
                  <c:v>0.11553492002470843</c:v>
                </c:pt>
                <c:pt idx="61">
                  <c:v>0.11242338077680733</c:v>
                </c:pt>
                <c:pt idx="62">
                  <c:v>0.10313129610811449</c:v>
                </c:pt>
                <c:pt idx="63">
                  <c:v>0.10604054372631422</c:v>
                </c:pt>
                <c:pt idx="64">
                  <c:v>0.11195028799445424</c:v>
                </c:pt>
                <c:pt idx="65">
                  <c:v>0.10489060590870616</c:v>
                </c:pt>
                <c:pt idx="66">
                  <c:v>0.10687505722235419</c:v>
                </c:pt>
                <c:pt idx="67">
                  <c:v>0.1061139533261151</c:v>
                </c:pt>
                <c:pt idx="68">
                  <c:v>0.1036851827359237</c:v>
                </c:pt>
                <c:pt idx="69">
                  <c:v>0.10182751312859473</c:v>
                </c:pt>
                <c:pt idx="70">
                  <c:v>0.10083853868237362</c:v>
                </c:pt>
                <c:pt idx="71">
                  <c:v>0.10150654424237536</c:v>
                </c:pt>
                <c:pt idx="72">
                  <c:v>0.10308858590977517</c:v>
                </c:pt>
                <c:pt idx="73">
                  <c:v>0.10601753157583936</c:v>
                </c:pt>
                <c:pt idx="74">
                  <c:v>0.10197906439987826</c:v>
                </c:pt>
                <c:pt idx="75">
                  <c:v>0.10103873805405812</c:v>
                </c:pt>
                <c:pt idx="76">
                  <c:v>0.10032421494850337</c:v>
                </c:pt>
                <c:pt idx="77">
                  <c:v>0.09668397608393758</c:v>
                </c:pt>
                <c:pt idx="78">
                  <c:v>0.10027889376359526</c:v>
                </c:pt>
                <c:pt idx="79">
                  <c:v>0.07547323221430217</c:v>
                </c:pt>
                <c:pt idx="80">
                  <c:v>0.07414451023702488</c:v>
                </c:pt>
                <c:pt idx="81">
                  <c:v>0.09235990150672692</c:v>
                </c:pt>
                <c:pt idx="82">
                  <c:v>0.09158145999117212</c:v>
                </c:pt>
                <c:pt idx="83">
                  <c:v>0.09135967367783715</c:v>
                </c:pt>
                <c:pt idx="84">
                  <c:v>0.09365422840357923</c:v>
                </c:pt>
                <c:pt idx="85">
                  <c:v>0.09392418842529156</c:v>
                </c:pt>
                <c:pt idx="86">
                  <c:v>0.10456639612721597</c:v>
                </c:pt>
                <c:pt idx="87">
                  <c:v>0.10413170683863847</c:v>
                </c:pt>
                <c:pt idx="88">
                  <c:v>0.1048610358325061</c:v>
                </c:pt>
                <c:pt idx="89">
                  <c:v>0.09823631929752732</c:v>
                </c:pt>
                <c:pt idx="90">
                  <c:v>0.10180242959599047</c:v>
                </c:pt>
                <c:pt idx="91">
                  <c:v>0.10581150395786741</c:v>
                </c:pt>
                <c:pt idx="92">
                  <c:v>0.10673166943602218</c:v>
                </c:pt>
                <c:pt idx="93">
                  <c:v>0.10807335167836364</c:v>
                </c:pt>
                <c:pt idx="94">
                  <c:v>0.10523959086274591</c:v>
                </c:pt>
                <c:pt idx="95">
                  <c:v>0.10628409528051928</c:v>
                </c:pt>
                <c:pt idx="96">
                  <c:v>0.10469533408369998</c:v>
                </c:pt>
                <c:pt idx="97">
                  <c:v>0.10586415216239062</c:v>
                </c:pt>
                <c:pt idx="98">
                  <c:v>0.10489956033098262</c:v>
                </c:pt>
                <c:pt idx="99">
                  <c:v>0.10342337364340956</c:v>
                </c:pt>
                <c:pt idx="100">
                  <c:v>0.10574765506289222</c:v>
                </c:pt>
                <c:pt idx="101">
                  <c:v>0.10782532541421738</c:v>
                </c:pt>
                <c:pt idx="102">
                  <c:v>0.10836883752576641</c:v>
                </c:pt>
                <c:pt idx="103">
                  <c:v>0.09744800658024531</c:v>
                </c:pt>
                <c:pt idx="104">
                  <c:v>0.10396343969938662</c:v>
                </c:pt>
              </c:numCache>
            </c:numRef>
          </c:xVal>
          <c:yVal>
            <c:numRef>
              <c:f>Sheet1!$B$2:$B$106</c:f>
              <c:numCache>
                <c:formatCode>General</c:formatCode>
                <c:ptCount val="105"/>
                <c:pt idx="0">
                  <c:v>0.22194230725584985</c:v>
                </c:pt>
                <c:pt idx="1">
                  <c:v>0.22026857992494867</c:v>
                </c:pt>
                <c:pt idx="2">
                  <c:v>0.20593717638936831</c:v>
                </c:pt>
                <c:pt idx="3">
                  <c:v>0.2040204890306369</c:v>
                </c:pt>
                <c:pt idx="4">
                  <c:v>0.19666111126804328</c:v>
                </c:pt>
                <c:pt idx="5">
                  <c:v>0.18609471714409098</c:v>
                </c:pt>
                <c:pt idx="6">
                  <c:v>0.2048780487804878</c:v>
                </c:pt>
                <c:pt idx="7">
                  <c:v>0.1934277403062366</c:v>
                </c:pt>
                <c:pt idx="8">
                  <c:v>0.20359481491380463</c:v>
                </c:pt>
                <c:pt idx="9">
                  <c:v>0.20617391075701402</c:v>
                </c:pt>
                <c:pt idx="10">
                  <c:v>0.21707292607081954</c:v>
                </c:pt>
                <c:pt idx="11">
                  <c:v>0.2116915611494427</c:v>
                </c:pt>
                <c:pt idx="12">
                  <c:v>0.22563269096819133</c:v>
                </c:pt>
                <c:pt idx="13">
                  <c:v>0.23082949760062677</c:v>
                </c:pt>
                <c:pt idx="14">
                  <c:v>0.22157152191273624</c:v>
                </c:pt>
                <c:pt idx="15">
                  <c:v>0.21490062398890686</c:v>
                </c:pt>
                <c:pt idx="16">
                  <c:v>0.20514754098360655</c:v>
                </c:pt>
                <c:pt idx="17">
                  <c:v>0.19200371920037193</c:v>
                </c:pt>
                <c:pt idx="18">
                  <c:v>0.18350906290723848</c:v>
                </c:pt>
                <c:pt idx="19">
                  <c:v>0.15793871866295264</c:v>
                </c:pt>
                <c:pt idx="20">
                  <c:v>0.17411278281842196</c:v>
                </c:pt>
                <c:pt idx="21">
                  <c:v>0.16994172652120884</c:v>
                </c:pt>
                <c:pt idx="22">
                  <c:v>0.1656244166511107</c:v>
                </c:pt>
                <c:pt idx="23">
                  <c:v>0.16955068331530823</c:v>
                </c:pt>
                <c:pt idx="24">
                  <c:v>0.1800869002496071</c:v>
                </c:pt>
                <c:pt idx="25">
                  <c:v>0.17639368266917688</c:v>
                </c:pt>
                <c:pt idx="26">
                  <c:v>0.17197333457647662</c:v>
                </c:pt>
                <c:pt idx="27">
                  <c:v>0.17267888823181549</c:v>
                </c:pt>
                <c:pt idx="28">
                  <c:v>0.16393898650841485</c:v>
                </c:pt>
                <c:pt idx="29">
                  <c:v>0.17797471441928533</c:v>
                </c:pt>
                <c:pt idx="30">
                  <c:v>0.16221154850161845</c:v>
                </c:pt>
                <c:pt idx="31">
                  <c:v>0.15748870730345632</c:v>
                </c:pt>
                <c:pt idx="32">
                  <c:v>0.16348269653930786</c:v>
                </c:pt>
                <c:pt idx="33">
                  <c:v>0.18088082487411078</c:v>
                </c:pt>
                <c:pt idx="34">
                  <c:v>0.18054500054282924</c:v>
                </c:pt>
                <c:pt idx="35">
                  <c:v>0.19449394155381325</c:v>
                </c:pt>
                <c:pt idx="36">
                  <c:v>0.16721767225185966</c:v>
                </c:pt>
                <c:pt idx="37">
                  <c:v>0.13747257569109259</c:v>
                </c:pt>
                <c:pt idx="38">
                  <c:v>0.13328411361070094</c:v>
                </c:pt>
                <c:pt idx="39">
                  <c:v>0.13529929985626188</c:v>
                </c:pt>
                <c:pt idx="40">
                  <c:v>0.14140245313584818</c:v>
                </c:pt>
                <c:pt idx="41">
                  <c:v>0.1320315745741587</c:v>
                </c:pt>
                <c:pt idx="42">
                  <c:v>0.13478445830969937</c:v>
                </c:pt>
                <c:pt idx="43">
                  <c:v>0.14850637407242975</c:v>
                </c:pt>
                <c:pt idx="44">
                  <c:v>0.160577483329377</c:v>
                </c:pt>
                <c:pt idx="45">
                  <c:v>0.17985482748334494</c:v>
                </c:pt>
                <c:pt idx="46">
                  <c:v>0.1890920904278698</c:v>
                </c:pt>
                <c:pt idx="47">
                  <c:v>0.1872183925751916</c:v>
                </c:pt>
                <c:pt idx="48">
                  <c:v>0.20402986156410813</c:v>
                </c:pt>
                <c:pt idx="49">
                  <c:v>0.2373207055109464</c:v>
                </c:pt>
                <c:pt idx="50">
                  <c:v>0.19963127804987058</c:v>
                </c:pt>
                <c:pt idx="51">
                  <c:v>0.18215747110931246</c:v>
                </c:pt>
                <c:pt idx="52">
                  <c:v>0.19546332988463117</c:v>
                </c:pt>
                <c:pt idx="53">
                  <c:v>0.18087203153542927</c:v>
                </c:pt>
                <c:pt idx="54">
                  <c:v>0.1730390224674813</c:v>
                </c:pt>
                <c:pt idx="55">
                  <c:v>0.1718077183480027</c:v>
                </c:pt>
                <c:pt idx="56">
                  <c:v>0.18865047380459646</c:v>
                </c:pt>
                <c:pt idx="57">
                  <c:v>0.1838357464989319</c:v>
                </c:pt>
                <c:pt idx="58">
                  <c:v>0.19846960029818675</c:v>
                </c:pt>
                <c:pt idx="59">
                  <c:v>0.20095489936829733</c:v>
                </c:pt>
                <c:pt idx="60">
                  <c:v>0.20754898811435915</c:v>
                </c:pt>
                <c:pt idx="61">
                  <c:v>0.20793681621026736</c:v>
                </c:pt>
                <c:pt idx="62">
                  <c:v>0.215126935636785</c:v>
                </c:pt>
                <c:pt idx="63">
                  <c:v>0.22940080302768331</c:v>
                </c:pt>
                <c:pt idx="64">
                  <c:v>0.21880271394834502</c:v>
                </c:pt>
                <c:pt idx="65">
                  <c:v>0.21689451132421955</c:v>
                </c:pt>
                <c:pt idx="66">
                  <c:v>0.2178862817026121</c:v>
                </c:pt>
                <c:pt idx="67">
                  <c:v>0.21287441455179174</c:v>
                </c:pt>
                <c:pt idx="68">
                  <c:v>0.19509166798753105</c:v>
                </c:pt>
                <c:pt idx="69">
                  <c:v>0.1761484219894571</c:v>
                </c:pt>
                <c:pt idx="70">
                  <c:v>0.1632560695697152</c:v>
                </c:pt>
                <c:pt idx="71">
                  <c:v>0.1733943061477101</c:v>
                </c:pt>
                <c:pt idx="72">
                  <c:v>0.1759865159627206</c:v>
                </c:pt>
                <c:pt idx="73">
                  <c:v>0.17940107322139517</c:v>
                </c:pt>
                <c:pt idx="74">
                  <c:v>0.1715601227812625</c:v>
                </c:pt>
                <c:pt idx="75">
                  <c:v>0.16595561470116246</c:v>
                </c:pt>
                <c:pt idx="76">
                  <c:v>0.1590899603423085</c:v>
                </c:pt>
                <c:pt idx="77">
                  <c:v>0.16565724071676205</c:v>
                </c:pt>
                <c:pt idx="78">
                  <c:v>0.15544116232079283</c:v>
                </c:pt>
                <c:pt idx="79">
                  <c:v>0.18983507236620667</c:v>
                </c:pt>
                <c:pt idx="80">
                  <c:v>0.18471825886962817</c:v>
                </c:pt>
                <c:pt idx="81">
                  <c:v>0.16555171917709682</c:v>
                </c:pt>
                <c:pt idx="82">
                  <c:v>0.15227773695811903</c:v>
                </c:pt>
                <c:pt idx="83">
                  <c:v>0.14037588427832332</c:v>
                </c:pt>
                <c:pt idx="84">
                  <c:v>0.13738054466110589</c:v>
                </c:pt>
                <c:pt idx="85">
                  <c:v>0.1408924507766894</c:v>
                </c:pt>
                <c:pt idx="86">
                  <c:v>0.14388276219376805</c:v>
                </c:pt>
                <c:pt idx="87">
                  <c:v>0.16424116424116425</c:v>
                </c:pt>
                <c:pt idx="88">
                  <c:v>0.15143294683876612</c:v>
                </c:pt>
                <c:pt idx="89">
                  <c:v>0.13790962071271615</c:v>
                </c:pt>
                <c:pt idx="90">
                  <c:v>0.13506044905008635</c:v>
                </c:pt>
                <c:pt idx="91">
                  <c:v>0.13018990876931671</c:v>
                </c:pt>
                <c:pt idx="92">
                  <c:v>0.14122937388056858</c:v>
                </c:pt>
                <c:pt idx="93">
                  <c:v>0.13123975562509313</c:v>
                </c:pt>
                <c:pt idx="94">
                  <c:v>0.13373245077785742</c:v>
                </c:pt>
                <c:pt idx="95">
                  <c:v>0.14385922108024032</c:v>
                </c:pt>
                <c:pt idx="96">
                  <c:v>0.13698139399502945</c:v>
                </c:pt>
                <c:pt idx="97">
                  <c:v>0.14533199314137055</c:v>
                </c:pt>
                <c:pt idx="98">
                  <c:v>0.16315129011740842</c:v>
                </c:pt>
                <c:pt idx="99">
                  <c:v>0.17124577715327813</c:v>
                </c:pt>
                <c:pt idx="100">
                  <c:v>0.19575939007580978</c:v>
                </c:pt>
                <c:pt idx="101">
                  <c:v>0.17001159575417002</c:v>
                </c:pt>
                <c:pt idx="102">
                  <c:v>0.14514833816640643</c:v>
                </c:pt>
                <c:pt idx="103">
                  <c:v>0.16519679377366073</c:v>
                </c:pt>
                <c:pt idx="104">
                  <c:v>0.1671687835916222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24338048651221</c:v>
                </c:pt>
                <c:pt idx="1">
                  <c:v>0.1140876734560287</c:v>
                </c:pt>
                <c:pt idx="2">
                  <c:v>0.11087387757657961</c:v>
                </c:pt>
                <c:pt idx="3">
                  <c:v>0.11367188582203211</c:v>
                </c:pt>
                <c:pt idx="4">
                  <c:v>0.11183697733068322</c:v>
                </c:pt>
                <c:pt idx="5">
                  <c:v>0.1067743804232508</c:v>
                </c:pt>
                <c:pt idx="6">
                  <c:v>0.10184940246483258</c:v>
                </c:pt>
                <c:pt idx="7">
                  <c:v>0.1055177912644577</c:v>
                </c:pt>
                <c:pt idx="8">
                  <c:v>0.11346032610945886</c:v>
                </c:pt>
                <c:pt idx="9">
                  <c:v>0.11170106322224294</c:v>
                </c:pt>
                <c:pt idx="10">
                  <c:v>0.11236514762086332</c:v>
                </c:pt>
                <c:pt idx="11">
                  <c:v>0.10501153536618081</c:v>
                </c:pt>
                <c:pt idx="12">
                  <c:v>0.10622187865740144</c:v>
                </c:pt>
                <c:pt idx="13">
                  <c:v>0.10694783650105504</c:v>
                </c:pt>
                <c:pt idx="14">
                  <c:v>0.10838734395743657</c:v>
                </c:pt>
                <c:pt idx="15">
                  <c:v>0.10658870308002592</c:v>
                </c:pt>
                <c:pt idx="16">
                  <c:v>0.10773929261003315</c:v>
                </c:pt>
                <c:pt idx="17">
                  <c:v>0.10570454651971599</c:v>
                </c:pt>
                <c:pt idx="18">
                  <c:v>0.10157420645850891</c:v>
                </c:pt>
                <c:pt idx="19">
                  <c:v>0.11064251623407209</c:v>
                </c:pt>
                <c:pt idx="20">
                  <c:v>0.10554168342863991</c:v>
                </c:pt>
                <c:pt idx="21">
                  <c:v>0.11073940331290268</c:v>
                </c:pt>
                <c:pt idx="22">
                  <c:v>0.10898578615417585</c:v>
                </c:pt>
                <c:pt idx="23">
                  <c:v>0.10654415416702392</c:v>
                </c:pt>
                <c:pt idx="24">
                  <c:v>0.10436353032711605</c:v>
                </c:pt>
                <c:pt idx="25">
                  <c:v>0.10142563835199189</c:v>
                </c:pt>
                <c:pt idx="26">
                  <c:v>0.10519614498910884</c:v>
                </c:pt>
                <c:pt idx="27">
                  <c:v>0.10926240896367923</c:v>
                </c:pt>
                <c:pt idx="28">
                  <c:v>0.11237807399121032</c:v>
                </c:pt>
                <c:pt idx="29">
                  <c:v>0.11315222390488243</c:v>
                </c:pt>
                <c:pt idx="30">
                  <c:v>0.1149774577032196</c:v>
                </c:pt>
                <c:pt idx="31">
                  <c:v>0.10528301083388995</c:v>
                </c:pt>
                <c:pt idx="32">
                  <c:v>0.10864480722641834</c:v>
                </c:pt>
                <c:pt idx="33">
                  <c:v>0.11507459182324209</c:v>
                </c:pt>
                <c:pt idx="34">
                  <c:v>0.11615776474269164</c:v>
                </c:pt>
                <c:pt idx="35">
                  <c:v>0.11221893027700007</c:v>
                </c:pt>
                <c:pt idx="36">
                  <c:v>0.10870446348311187</c:v>
                </c:pt>
                <c:pt idx="37">
                  <c:v>0.11185503923376817</c:v>
                </c:pt>
                <c:pt idx="38">
                  <c:v>0.10831485459363326</c:v>
                </c:pt>
                <c:pt idx="39">
                  <c:v>0.11082838926243227</c:v>
                </c:pt>
                <c:pt idx="40">
                  <c:v>0.1143718271492744</c:v>
                </c:pt>
                <c:pt idx="41">
                  <c:v>0.11810821952283967</c:v>
                </c:pt>
                <c:pt idx="42">
                  <c:v>0.11594343286614017</c:v>
                </c:pt>
                <c:pt idx="43">
                  <c:v>0.11922783921086672</c:v>
                </c:pt>
                <c:pt idx="44">
                  <c:v>0.11605188966429938</c:v>
                </c:pt>
                <c:pt idx="45">
                  <c:v>0.11593161707148272</c:v>
                </c:pt>
                <c:pt idx="46">
                  <c:v>0.11314479289888157</c:v>
                </c:pt>
                <c:pt idx="47">
                  <c:v>0.11061538773797222</c:v>
                </c:pt>
                <c:pt idx="48">
                  <c:v>0.10892249423539223</c:v>
                </c:pt>
                <c:pt idx="49">
                  <c:v>0.11378734985280557</c:v>
                </c:pt>
                <c:pt idx="50">
                  <c:v>0.10916116538010939</c:v>
                </c:pt>
                <c:pt idx="51">
                  <c:v>0.10123293401782861</c:v>
                </c:pt>
              </c:numCache>
            </c:numRef>
          </c:xVal>
          <c:yVal>
            <c:numRef>
              <c:f>Sheet1!$B$109:$B$160</c:f>
              <c:numCache>
                <c:formatCode>General</c:formatCode>
                <c:ptCount val="52"/>
                <c:pt idx="0">
                  <c:v>0.16764404525735213</c:v>
                </c:pt>
                <c:pt idx="1">
                  <c:v>0.1625792614696009</c:v>
                </c:pt>
                <c:pt idx="2">
                  <c:v>0.17124495967741934</c:v>
                </c:pt>
                <c:pt idx="3">
                  <c:v>0.17870228847804695</c:v>
                </c:pt>
                <c:pt idx="4">
                  <c:v>0.16702852924573364</c:v>
                </c:pt>
                <c:pt idx="5">
                  <c:v>0.16200530015988085</c:v>
                </c:pt>
                <c:pt idx="6">
                  <c:v>0.16994058317298544</c:v>
                </c:pt>
                <c:pt idx="7">
                  <c:v>0.16670934699103712</c:v>
                </c:pt>
                <c:pt idx="8">
                  <c:v>0.16762843507283445</c:v>
                </c:pt>
                <c:pt idx="9">
                  <c:v>0.18330661781543395</c:v>
                </c:pt>
                <c:pt idx="10">
                  <c:v>0.18040881630851563</c:v>
                </c:pt>
                <c:pt idx="11">
                  <c:v>0.2011106951204293</c:v>
                </c:pt>
                <c:pt idx="12">
                  <c:v>0.1919274930146282</c:v>
                </c:pt>
                <c:pt idx="13">
                  <c:v>0.18640781405269152</c:v>
                </c:pt>
                <c:pt idx="14">
                  <c:v>0.18856824866841562</c:v>
                </c:pt>
                <c:pt idx="15">
                  <c:v>0.1724264809940279</c:v>
                </c:pt>
                <c:pt idx="16">
                  <c:v>0.17109078741913897</c:v>
                </c:pt>
                <c:pt idx="17">
                  <c:v>0.15125794670634385</c:v>
                </c:pt>
                <c:pt idx="18">
                  <c:v>0.14926702842795822</c:v>
                </c:pt>
                <c:pt idx="19">
                  <c:v>0.159806384865504</c:v>
                </c:pt>
                <c:pt idx="20">
                  <c:v>0.1573928152907423</c:v>
                </c:pt>
                <c:pt idx="21">
                  <c:v>0.15343151410145345</c:v>
                </c:pt>
                <c:pt idx="22">
                  <c:v>0.15176059753613347</c:v>
                </c:pt>
                <c:pt idx="23">
                  <c:v>0.15393190109444668</c:v>
                </c:pt>
                <c:pt idx="24">
                  <c:v>0.15267321071190318</c:v>
                </c:pt>
                <c:pt idx="25">
                  <c:v>0.15868338244842914</c:v>
                </c:pt>
                <c:pt idx="26">
                  <c:v>0.14334487401423351</c:v>
                </c:pt>
                <c:pt idx="27">
                  <c:v>0.13084430805949793</c:v>
                </c:pt>
                <c:pt idx="28">
                  <c:v>0.14007169023515972</c:v>
                </c:pt>
                <c:pt idx="29">
                  <c:v>0.12953151143335193</c:v>
                </c:pt>
                <c:pt idx="30">
                  <c:v>0.14574663698828993</c:v>
                </c:pt>
                <c:pt idx="31">
                  <c:v>0.13473718399826773</c:v>
                </c:pt>
                <c:pt idx="32">
                  <c:v>0.1377187920753991</c:v>
                </c:pt>
                <c:pt idx="33">
                  <c:v>0.15714342836578832</c:v>
                </c:pt>
                <c:pt idx="34">
                  <c:v>0.17673413121122877</c:v>
                </c:pt>
                <c:pt idx="35">
                  <c:v>0.17000804858418087</c:v>
                </c:pt>
                <c:pt idx="36">
                  <c:v>0.1492232435628662</c:v>
                </c:pt>
                <c:pt idx="37">
                  <c:v>0.13839568030354624</c:v>
                </c:pt>
                <c:pt idx="38">
                  <c:v>0.1364245510586974</c:v>
                </c:pt>
                <c:pt idx="39">
                  <c:v>0.1550192172583378</c:v>
                </c:pt>
                <c:pt idx="40">
                  <c:v>0.13829830646806773</c:v>
                </c:pt>
                <c:pt idx="41">
                  <c:v>0.1422884048539601</c:v>
                </c:pt>
                <c:pt idx="42">
                  <c:v>0.13852556480380498</c:v>
                </c:pt>
                <c:pt idx="43">
                  <c:v>0.13625405805020732</c:v>
                </c:pt>
                <c:pt idx="44">
                  <c:v>0.14037665286496595</c:v>
                </c:pt>
                <c:pt idx="45">
                  <c:v>0.15610974594342114</c:v>
                </c:pt>
                <c:pt idx="46">
                  <c:v>0.15033521181500195</c:v>
                </c:pt>
                <c:pt idx="47">
                  <c:v>0.15482262528304477</c:v>
                </c:pt>
                <c:pt idx="48">
                  <c:v>0.1476510067114094</c:v>
                </c:pt>
                <c:pt idx="49">
                  <c:v>0.15917829865683433</c:v>
                </c:pt>
                <c:pt idx="50">
                  <c:v>0.198731798966651</c:v>
                </c:pt>
                <c:pt idx="51">
                  <c:v>0.182217300162164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6521697512169024</c:v>
                </c:pt>
              </c:numCache>
            </c:numRef>
          </c:xVal>
          <c:yVal>
            <c:numRef>
              <c:f>Sheet1!$B$163:$B$164</c:f>
              <c:numCache>
                <c:formatCode>General</c:formatCode>
                <c:ptCount val="2"/>
                <c:pt idx="0">
                  <c:v>0.20409166500149634</c:v>
                </c:pt>
                <c:pt idx="1">
                  <c:v>0.2040916650014963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6521697512169024</c:v>
                </c:pt>
                <c:pt idx="1">
                  <c:v>0.06521697512169024</c:v>
                </c:pt>
              </c:numCache>
            </c:numRef>
          </c:xVal>
          <c:yVal>
            <c:numRef>
              <c:f>Sheet1!$B$167:$B$168</c:f>
              <c:numCache>
                <c:formatCode>General</c:formatCode>
                <c:ptCount val="2"/>
                <c:pt idx="0">
                  <c:v>0.204091665001496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9627042597972074</c:v>
                </c:pt>
              </c:numCache>
            </c:numRef>
          </c:xVal>
          <c:yVal>
            <c:numRef>
              <c:f>Sheet1!$B$171:$B$172</c:f>
              <c:numCache>
                <c:formatCode>General</c:formatCode>
                <c:ptCount val="2"/>
                <c:pt idx="0">
                  <c:v>0.17280020329117562</c:v>
                </c:pt>
                <c:pt idx="1">
                  <c:v>0.1728002032911756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9627042597972074</c:v>
                </c:pt>
                <c:pt idx="1">
                  <c:v>0.09627042597972074</c:v>
                </c:pt>
              </c:numCache>
            </c:numRef>
          </c:xVal>
          <c:yVal>
            <c:numRef>
              <c:f>Sheet1!$B$175:$B$176</c:f>
              <c:numCache>
                <c:formatCode>General</c:formatCode>
                <c:ptCount val="2"/>
                <c:pt idx="0">
                  <c:v>0.172800203291175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1509494832988584</c:v>
                </c:pt>
              </c:numCache>
            </c:numRef>
          </c:xVal>
          <c:yVal>
            <c:numRef>
              <c:f>Sheet1!$B$179:$B$180</c:f>
              <c:numCache>
                <c:formatCode>General</c:formatCode>
                <c:ptCount val="2"/>
                <c:pt idx="0">
                  <c:v>0.1538313993721439</c:v>
                </c:pt>
                <c:pt idx="1">
                  <c:v>0.153831399372143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1509494832988584</c:v>
                </c:pt>
                <c:pt idx="1">
                  <c:v>0.11509494832988584</c:v>
                </c:pt>
              </c:numCache>
            </c:numRef>
          </c:xVal>
          <c:yVal>
            <c:numRef>
              <c:f>Sheet1!$B$183:$B$184</c:f>
              <c:numCache>
                <c:formatCode>General</c:formatCode>
                <c:ptCount val="2"/>
                <c:pt idx="0">
                  <c:v>0.153831399372143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24338048651221</c:v>
                </c:pt>
                <c:pt idx="1">
                  <c:v>0.1140876734560287</c:v>
                </c:pt>
                <c:pt idx="2">
                  <c:v>0.11087387757657961</c:v>
                </c:pt>
                <c:pt idx="3">
                  <c:v>0.11367188582203211</c:v>
                </c:pt>
                <c:pt idx="4">
                  <c:v>0.11183697733068322</c:v>
                </c:pt>
                <c:pt idx="5">
                  <c:v>0.1067743804232508</c:v>
                </c:pt>
                <c:pt idx="6">
                  <c:v>0.10184940246483258</c:v>
                </c:pt>
                <c:pt idx="7">
                  <c:v>0.1055177912644577</c:v>
                </c:pt>
                <c:pt idx="8">
                  <c:v>0.11346032610945886</c:v>
                </c:pt>
                <c:pt idx="9">
                  <c:v>0.11170106322224294</c:v>
                </c:pt>
                <c:pt idx="10">
                  <c:v>0.11236514762086332</c:v>
                </c:pt>
                <c:pt idx="11">
                  <c:v>0.10501153536618081</c:v>
                </c:pt>
                <c:pt idx="12">
                  <c:v>0.10622187865740144</c:v>
                </c:pt>
                <c:pt idx="13">
                  <c:v>0.10694783650105504</c:v>
                </c:pt>
                <c:pt idx="14">
                  <c:v>0.10838734395743657</c:v>
                </c:pt>
                <c:pt idx="15">
                  <c:v>0.10658870308002592</c:v>
                </c:pt>
                <c:pt idx="16">
                  <c:v>0.10773929261003315</c:v>
                </c:pt>
                <c:pt idx="17">
                  <c:v>0.10570454651971599</c:v>
                </c:pt>
                <c:pt idx="18">
                  <c:v>0.10157420645850891</c:v>
                </c:pt>
                <c:pt idx="19">
                  <c:v>0.11064251623407209</c:v>
                </c:pt>
                <c:pt idx="20">
                  <c:v>0.10554168342863991</c:v>
                </c:pt>
                <c:pt idx="21">
                  <c:v>0.11073940331290268</c:v>
                </c:pt>
                <c:pt idx="22">
                  <c:v>0.10898578615417585</c:v>
                </c:pt>
                <c:pt idx="23">
                  <c:v>0.10654415416702392</c:v>
                </c:pt>
                <c:pt idx="24">
                  <c:v>0.10436353032711605</c:v>
                </c:pt>
                <c:pt idx="25">
                  <c:v>0.10142563835199189</c:v>
                </c:pt>
                <c:pt idx="26">
                  <c:v>0.10519614498910884</c:v>
                </c:pt>
                <c:pt idx="27">
                  <c:v>0.10926240896367923</c:v>
                </c:pt>
                <c:pt idx="28">
                  <c:v>0.11237807399121032</c:v>
                </c:pt>
                <c:pt idx="29">
                  <c:v>0.11315222390488243</c:v>
                </c:pt>
                <c:pt idx="30">
                  <c:v>0.1149774577032196</c:v>
                </c:pt>
                <c:pt idx="31">
                  <c:v>0.10528301083388995</c:v>
                </c:pt>
                <c:pt idx="32">
                  <c:v>0.10864480722641834</c:v>
                </c:pt>
                <c:pt idx="33">
                  <c:v>0.11507459182324209</c:v>
                </c:pt>
                <c:pt idx="34">
                  <c:v>0.11615776474269164</c:v>
                </c:pt>
                <c:pt idx="35">
                  <c:v>0.11221893027700007</c:v>
                </c:pt>
                <c:pt idx="36">
                  <c:v>0.10870446348311187</c:v>
                </c:pt>
                <c:pt idx="37">
                  <c:v>0.11185503923376817</c:v>
                </c:pt>
                <c:pt idx="38">
                  <c:v>0.10831485459363326</c:v>
                </c:pt>
                <c:pt idx="39">
                  <c:v>0.11082838926243227</c:v>
                </c:pt>
                <c:pt idx="40">
                  <c:v>0.1143718271492744</c:v>
                </c:pt>
                <c:pt idx="41">
                  <c:v>0.11810821952283967</c:v>
                </c:pt>
                <c:pt idx="42">
                  <c:v>0.11594343286614017</c:v>
                </c:pt>
                <c:pt idx="43">
                  <c:v>0.11922783921086672</c:v>
                </c:pt>
                <c:pt idx="44">
                  <c:v>0.11605188966429938</c:v>
                </c:pt>
                <c:pt idx="45">
                  <c:v>0.11593161707148272</c:v>
                </c:pt>
                <c:pt idx="46">
                  <c:v>0.11314479289888157</c:v>
                </c:pt>
                <c:pt idx="47">
                  <c:v>0.11061538773797222</c:v>
                </c:pt>
                <c:pt idx="48">
                  <c:v>0.10892249423539223</c:v>
                </c:pt>
                <c:pt idx="49">
                  <c:v>0.11378734985280557</c:v>
                </c:pt>
                <c:pt idx="50">
                  <c:v>0.10916116538010939</c:v>
                </c:pt>
                <c:pt idx="51">
                  <c:v>0.10123293401782861</c:v>
                </c:pt>
                <c:pt idx="52">
                  <c:v>0.09627042597972074</c:v>
                </c:pt>
                <c:pt idx="53">
                  <c:v>0.06521697512169024</c:v>
                </c:pt>
                <c:pt idx="54">
                  <c:v>0.11509494832988584</c:v>
                </c:pt>
              </c:numCache>
            </c:numRef>
          </c:xVal>
          <c:yVal>
            <c:numRef>
              <c:f>Sheet1!$B$187:$B$241</c:f>
              <c:numCache>
                <c:formatCode>General</c:formatCode>
                <c:ptCount val="55"/>
                <c:pt idx="0">
                  <c:v>0.1565129393148067</c:v>
                </c:pt>
                <c:pt idx="1">
                  <c:v>0.1548463945587068</c:v>
                </c:pt>
                <c:pt idx="2">
                  <c:v>0.15808482275035374</c:v>
                </c:pt>
                <c:pt idx="3">
                  <c:v>0.15526536901949417</c:v>
                </c:pt>
                <c:pt idx="4">
                  <c:v>0.157114341266137</c:v>
                </c:pt>
                <c:pt idx="5">
                  <c:v>0.16221574072115902</c:v>
                </c:pt>
                <c:pt idx="6">
                  <c:v>0.1671784664392949</c:v>
                </c:pt>
                <c:pt idx="7">
                  <c:v>0.1634819610754682</c:v>
                </c:pt>
                <c:pt idx="8">
                  <c:v>0.1554785502429175</c:v>
                </c:pt>
                <c:pt idx="9">
                  <c:v>0.15725129709560648</c:v>
                </c:pt>
                <c:pt idx="10">
                  <c:v>0.15658212278622446</c:v>
                </c:pt>
                <c:pt idx="11">
                  <c:v>0.16399209719943647</c:v>
                </c:pt>
                <c:pt idx="12">
                  <c:v>0.162772477166651</c:v>
                </c:pt>
                <c:pt idx="13">
                  <c:v>0.16204095517987255</c:v>
                </c:pt>
                <c:pt idx="14">
                  <c:v>0.1605904145407978</c:v>
                </c:pt>
                <c:pt idx="15">
                  <c:v>0.16240284119841542</c:v>
                </c:pt>
                <c:pt idx="16">
                  <c:v>0.16124343291277535</c:v>
                </c:pt>
                <c:pt idx="17">
                  <c:v>0.16329377442446336</c:v>
                </c:pt>
                <c:pt idx="18">
                  <c:v>0.16745577170028117</c:v>
                </c:pt>
                <c:pt idx="19">
                  <c:v>0.1583179573743741</c:v>
                </c:pt>
                <c:pt idx="20">
                  <c:v>0.16345788578850245</c:v>
                </c:pt>
                <c:pt idx="21">
                  <c:v>0.15822032769929184</c:v>
                </c:pt>
                <c:pt idx="22">
                  <c:v>0.1599873855515006</c:v>
                </c:pt>
                <c:pt idx="23">
                  <c:v>0.16244773155896863</c:v>
                </c:pt>
                <c:pt idx="24">
                  <c:v>0.16464506890814262</c:v>
                </c:pt>
                <c:pt idx="25">
                  <c:v>0.1676054785150795</c:v>
                </c:pt>
                <c:pt idx="26">
                  <c:v>0.16380607262607688</c:v>
                </c:pt>
                <c:pt idx="27">
                  <c:v>0.15970864255152456</c:v>
                </c:pt>
                <c:pt idx="28">
                  <c:v>0.15656909734101337</c:v>
                </c:pt>
                <c:pt idx="29">
                  <c:v>0.15578901391349137</c:v>
                </c:pt>
                <c:pt idx="30">
                  <c:v>0.15394979051206764</c:v>
                </c:pt>
                <c:pt idx="31">
                  <c:v>0.16371854099333402</c:v>
                </c:pt>
                <c:pt idx="32">
                  <c:v>0.1603309779306771</c:v>
                </c:pt>
                <c:pt idx="33">
                  <c:v>0.15385191190233294</c:v>
                </c:pt>
                <c:pt idx="34">
                  <c:v>0.1527604369455055</c:v>
                </c:pt>
                <c:pt idx="35">
                  <c:v>0.15672946082082162</c:v>
                </c:pt>
                <c:pt idx="36">
                  <c:v>0.1602708644353802</c:v>
                </c:pt>
                <c:pt idx="37">
                  <c:v>0.15709614092661975</c:v>
                </c:pt>
                <c:pt idx="38">
                  <c:v>0.16066345950324745</c:v>
                </c:pt>
                <c:pt idx="39">
                  <c:v>0.15813065971214313</c:v>
                </c:pt>
                <c:pt idx="40">
                  <c:v>0.15456006295412303</c:v>
                </c:pt>
                <c:pt idx="41">
                  <c:v>0.15079503279928863</c:v>
                </c:pt>
                <c:pt idx="42">
                  <c:v>0.1529764115803077</c:v>
                </c:pt>
                <c:pt idx="43">
                  <c:v>0.1496668317256563</c:v>
                </c:pt>
                <c:pt idx="44">
                  <c:v>0.15286712350915777</c:v>
                </c:pt>
                <c:pt idx="45">
                  <c:v>0.15298831793776185</c:v>
                </c:pt>
                <c:pt idx="46">
                  <c:v>0.1557965018748393</c:v>
                </c:pt>
                <c:pt idx="47">
                  <c:v>0.15834529379829843</c:v>
                </c:pt>
                <c:pt idx="48">
                  <c:v>0.16005116257461618</c:v>
                </c:pt>
                <c:pt idx="49">
                  <c:v>0.1551490200084169</c:v>
                </c:pt>
                <c:pt idx="50">
                  <c:v>0.1598106621220121</c:v>
                </c:pt>
                <c:pt idx="51">
                  <c:v>0.1677996598420261</c:v>
                </c:pt>
                <c:pt idx="52">
                  <c:v>0.17280020329117562</c:v>
                </c:pt>
                <c:pt idx="53">
                  <c:v>0.20409166500149634</c:v>
                </c:pt>
                <c:pt idx="54">
                  <c:v>0.15383139937214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478484661313563"/>
          <c:min val="0.1036252091466815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0.1602</c:v>
                </c:pt>
                <c:pt idx="1">
                  <c:v>896.6671</c:v>
                </c:pt>
                <c:pt idx="2">
                  <c:v>925.3649</c:v>
                </c:pt>
                <c:pt idx="3">
                  <c:v>939.8836</c:v>
                </c:pt>
                <c:pt idx="4">
                  <c:v>933.8344</c:v>
                </c:pt>
                <c:pt idx="5">
                  <c:v>919.7325</c:v>
                </c:pt>
                <c:pt idx="6">
                  <c:v>883.5374</c:v>
                </c:pt>
                <c:pt idx="7">
                  <c:v>889.8271</c:v>
                </c:pt>
                <c:pt idx="8">
                  <c:v>894.7587</c:v>
                </c:pt>
                <c:pt idx="9">
                  <c:v>870.9048</c:v>
                </c:pt>
                <c:pt idx="10">
                  <c:v>858.2044</c:v>
                </c:pt>
                <c:pt idx="11">
                  <c:v>900.905</c:v>
                </c:pt>
                <c:pt idx="12">
                  <c:v>915.5783</c:v>
                </c:pt>
                <c:pt idx="13">
                  <c:v>919.7056</c:v>
                </c:pt>
                <c:pt idx="14">
                  <c:v>960.2228</c:v>
                </c:pt>
                <c:pt idx="15">
                  <c:v>977.2438</c:v>
                </c:pt>
                <c:pt idx="16">
                  <c:v>994.4941</c:v>
                </c:pt>
                <c:pt idx="17">
                  <c:v>1017.189</c:v>
                </c:pt>
                <c:pt idx="18">
                  <c:v>1057.7813</c:v>
                </c:pt>
                <c:pt idx="19">
                  <c:v>1066.0149</c:v>
                </c:pt>
                <c:pt idx="20">
                  <c:v>1091.4757</c:v>
                </c:pt>
                <c:pt idx="21">
                  <c:v>1100.1601</c:v>
                </c:pt>
                <c:pt idx="22">
                  <c:v>1064.3803</c:v>
                </c:pt>
                <c:pt idx="23">
                  <c:v>1056.8376</c:v>
                </c:pt>
                <c:pt idx="24">
                  <c:v>1060.7294</c:v>
                </c:pt>
                <c:pt idx="25">
                  <c:v>1038.9553</c:v>
                </c:pt>
                <c:pt idx="26">
                  <c:v>1026.3227</c:v>
                </c:pt>
                <c:pt idx="27">
                  <c:v>1037.4307</c:v>
                </c:pt>
                <c:pt idx="28">
                  <c:v>1037.9847</c:v>
                </c:pt>
                <c:pt idx="29">
                  <c:v>1029.1964</c:v>
                </c:pt>
                <c:pt idx="30">
                  <c:v>1031.7509</c:v>
                </c:pt>
                <c:pt idx="31">
                  <c:v>1013.6425</c:v>
                </c:pt>
                <c:pt idx="32">
                  <c:v>1003.4237</c:v>
                </c:pt>
                <c:pt idx="33">
                  <c:v>971.3372</c:v>
                </c:pt>
                <c:pt idx="34">
                  <c:v>981.5778</c:v>
                </c:pt>
                <c:pt idx="35">
                  <c:v>1018.1876</c:v>
                </c:pt>
                <c:pt idx="36">
                  <c:v>1083.6092</c:v>
                </c:pt>
                <c:pt idx="37">
                  <c:v>1095.7103</c:v>
                </c:pt>
                <c:pt idx="38">
                  <c:v>1138.3225</c:v>
                </c:pt>
                <c:pt idx="39">
                  <c:v>1161.1624</c:v>
                </c:pt>
                <c:pt idx="40">
                  <c:v>1163.3908</c:v>
                </c:pt>
                <c:pt idx="41">
                  <c:v>1195.6292</c:v>
                </c:pt>
                <c:pt idx="42">
                  <c:v>1211.0972</c:v>
                </c:pt>
                <c:pt idx="43">
                  <c:v>1218.396</c:v>
                </c:pt>
                <c:pt idx="44">
                  <c:v>1156.9309</c:v>
                </c:pt>
                <c:pt idx="45">
                  <c:v>1121.7811</c:v>
                </c:pt>
                <c:pt idx="46">
                  <c:v>1111.4667</c:v>
                </c:pt>
                <c:pt idx="47">
                  <c:v>1098.4128</c:v>
                </c:pt>
                <c:pt idx="48">
                  <c:v>1094.8564</c:v>
                </c:pt>
                <c:pt idx="49">
                  <c:v>1046.4081</c:v>
                </c:pt>
                <c:pt idx="50">
                  <c:v>1047.8026</c:v>
                </c:pt>
                <c:pt idx="51">
                  <c:v>1055.6736</c:v>
                </c:pt>
                <c:pt idx="52">
                  <c:v>1053.314</c:v>
                </c:pt>
                <c:pt idx="53">
                  <c:v>1166.5389</c:v>
                </c:pt>
                <c:pt idx="54">
                  <c:v>1152.9671</c:v>
                </c:pt>
                <c:pt idx="55">
                  <c:v>1167.2546</c:v>
                </c:pt>
                <c:pt idx="56">
                  <c:v>1178.832</c:v>
                </c:pt>
                <c:pt idx="57">
                  <c:v>1152.5788</c:v>
                </c:pt>
                <c:pt idx="58">
                  <c:v>1130.1762</c:v>
                </c:pt>
                <c:pt idx="59">
                  <c:v>1114.6146</c:v>
                </c:pt>
                <c:pt idx="60">
                  <c:v>1131.0099</c:v>
                </c:pt>
                <c:pt idx="61">
                  <c:v>1145.4141</c:v>
                </c:pt>
                <c:pt idx="62">
                  <c:v>1077.2692</c:v>
                </c:pt>
                <c:pt idx="63">
                  <c:v>1097.606</c:v>
                </c:pt>
                <c:pt idx="64">
                  <c:v>1110.3883</c:v>
                </c:pt>
                <c:pt idx="65">
                  <c:v>1101.1496</c:v>
                </c:pt>
                <c:pt idx="66">
                  <c:v>1136.1167</c:v>
                </c:pt>
                <c:pt idx="67">
                  <c:v>1160.0968</c:v>
                </c:pt>
                <c:pt idx="68">
                  <c:v>1175.814</c:v>
                </c:pt>
                <c:pt idx="69">
                  <c:v>1207.8284</c:v>
                </c:pt>
                <c:pt idx="70">
                  <c:v>1189.7808</c:v>
                </c:pt>
                <c:pt idx="71">
                  <c:v>1242.0927</c:v>
                </c:pt>
                <c:pt idx="72">
                  <c:v>1307.1248</c:v>
                </c:pt>
                <c:pt idx="73">
                  <c:v>1283.356</c:v>
                </c:pt>
                <c:pt idx="74">
                  <c:v>1277.4382</c:v>
                </c:pt>
                <c:pt idx="75">
                  <c:v>1240.835</c:v>
                </c:pt>
                <c:pt idx="76">
                  <c:v>1206.9189</c:v>
                </c:pt>
                <c:pt idx="77">
                  <c:v>1204.1637</c:v>
                </c:pt>
                <c:pt idx="78">
                  <c:v>1256.4379</c:v>
                </c:pt>
                <c:pt idx="79">
                  <c:v>1241.5478</c:v>
                </c:pt>
                <c:pt idx="80">
                  <c:v>1256.622</c:v>
                </c:pt>
                <c:pt idx="81">
                  <c:v>1246.3743</c:v>
                </c:pt>
                <c:pt idx="82">
                  <c:v>1257.2699</c:v>
                </c:pt>
                <c:pt idx="83">
                  <c:v>1219.594</c:v>
                </c:pt>
                <c:pt idx="84">
                  <c:v>1240.0375</c:v>
                </c:pt>
                <c:pt idx="85">
                  <c:v>1216.7624</c:v>
                </c:pt>
                <c:pt idx="86">
                  <c:v>1220.1259</c:v>
                </c:pt>
                <c:pt idx="87">
                  <c:v>1222.8493</c:v>
                </c:pt>
                <c:pt idx="88">
                  <c:v>1269.4996</c:v>
                </c:pt>
                <c:pt idx="89">
                  <c:v>1255.1555</c:v>
                </c:pt>
                <c:pt idx="90">
                  <c:v>1314.4375</c:v>
                </c:pt>
                <c:pt idx="91">
                  <c:v>1315.6106</c:v>
                </c:pt>
                <c:pt idx="92">
                  <c:v>1266.0669</c:v>
                </c:pt>
                <c:pt idx="93">
                  <c:v>1292.6658</c:v>
                </c:pt>
                <c:pt idx="94">
                  <c:v>1281.8216</c:v>
                </c:pt>
                <c:pt idx="95">
                  <c:v>1251.4322</c:v>
                </c:pt>
                <c:pt idx="96">
                  <c:v>1200.8594</c:v>
                </c:pt>
                <c:pt idx="97">
                  <c:v>1193.5625</c:v>
                </c:pt>
                <c:pt idx="98">
                  <c:v>1172.9539</c:v>
                </c:pt>
                <c:pt idx="99">
                  <c:v>1137.7425</c:v>
                </c:pt>
                <c:pt idx="100">
                  <c:v>1118.3324</c:v>
                </c:pt>
                <c:pt idx="101">
                  <c:v>1165.05</c:v>
                </c:pt>
                <c:pt idx="102">
                  <c:v>1177.0303</c:v>
                </c:pt>
                <c:pt idx="103">
                  <c:v>1152.1832</c:v>
                </c:pt>
                <c:pt idx="104">
                  <c:v>1184.3692</c:v>
                </c:pt>
              </c:numCache>
            </c:numRef>
          </c:xVal>
          <c:yVal>
            <c:numRef>
              <c:f>Sheet1!$B$2:$B$106</c:f>
              <c:numCache>
                <c:formatCode>General</c:formatCode>
                <c:ptCount val="105"/>
                <c:pt idx="0">
                  <c:v>0.22226506555029193</c:v>
                </c:pt>
                <c:pt idx="1">
                  <c:v>0.21748878923766815</c:v>
                </c:pt>
                <c:pt idx="2">
                  <c:v>0.21873943899966206</c:v>
                </c:pt>
                <c:pt idx="3">
                  <c:v>0.21880877742946708</c:v>
                </c:pt>
                <c:pt idx="4">
                  <c:v>0.23012847663419456</c:v>
                </c:pt>
                <c:pt idx="5">
                  <c:v>0.23601854534917416</c:v>
                </c:pt>
                <c:pt idx="6">
                  <c:v>0.2631891967534285</c:v>
                </c:pt>
                <c:pt idx="7">
                  <c:v>0.264646382909856</c:v>
                </c:pt>
                <c:pt idx="8">
                  <c:v>0.2586243119458801</c:v>
                </c:pt>
                <c:pt idx="9">
                  <c:v>0.24723282141843525</c:v>
                </c:pt>
                <c:pt idx="10">
                  <c:v>0.240457548323954</c:v>
                </c:pt>
                <c:pt idx="11">
                  <c:v>0.21958603645350633</c:v>
                </c:pt>
                <c:pt idx="12">
                  <c:v>0.20595766473199045</c:v>
                </c:pt>
                <c:pt idx="13">
                  <c:v>0.19534355479841</c:v>
                </c:pt>
                <c:pt idx="14">
                  <c:v>0.1779950952193527</c:v>
                </c:pt>
                <c:pt idx="15">
                  <c:v>0.168645487930973</c:v>
                </c:pt>
                <c:pt idx="16">
                  <c:v>0.16324619268670088</c:v>
                </c:pt>
                <c:pt idx="17">
                  <c:v>0.15663621708758732</c:v>
                </c:pt>
                <c:pt idx="18">
                  <c:v>0.1496506308751822</c:v>
                </c:pt>
                <c:pt idx="19">
                  <c:v>0.1484397783610382</c:v>
                </c:pt>
                <c:pt idx="20">
                  <c:v>0.15575458594760286</c:v>
                </c:pt>
                <c:pt idx="21">
                  <c:v>0.16326167003207032</c:v>
                </c:pt>
                <c:pt idx="22">
                  <c:v>0.17795461243737107</c:v>
                </c:pt>
                <c:pt idx="23">
                  <c:v>0.1898969839890778</c:v>
                </c:pt>
                <c:pt idx="24">
                  <c:v>0.19180421172453044</c:v>
                </c:pt>
                <c:pt idx="25">
                  <c:v>0.19442463533225285</c:v>
                </c:pt>
                <c:pt idx="26">
                  <c:v>0.20790259591086607</c:v>
                </c:pt>
                <c:pt idx="27">
                  <c:v>0.2096837172979305</c:v>
                </c:pt>
                <c:pt idx="28">
                  <c:v>0.21572077185017027</c:v>
                </c:pt>
                <c:pt idx="29">
                  <c:v>0.20905013062552374</c:v>
                </c:pt>
                <c:pt idx="30">
                  <c:v>0.21441727532550015</c:v>
                </c:pt>
                <c:pt idx="31">
                  <c:v>0.21806815395930376</c:v>
                </c:pt>
                <c:pt idx="32">
                  <c:v>0.22538531278331822</c:v>
                </c:pt>
                <c:pt idx="33">
                  <c:v>0.22100081250298714</c:v>
                </c:pt>
                <c:pt idx="34">
                  <c:v>0.21928327645051193</c:v>
                </c:pt>
                <c:pt idx="35">
                  <c:v>0.23582775119617225</c:v>
                </c:pt>
                <c:pt idx="36">
                  <c:v>0.20781902445739459</c:v>
                </c:pt>
                <c:pt idx="37">
                  <c:v>0.20361056699666472</c:v>
                </c:pt>
                <c:pt idx="38">
                  <c:v>0.1926458832933653</c:v>
                </c:pt>
                <c:pt idx="39">
                  <c:v>0.18791795448159596</c:v>
                </c:pt>
                <c:pt idx="40">
                  <c:v>0.18927819961577166</c:v>
                </c:pt>
                <c:pt idx="41">
                  <c:v>0.18410232983097305</c:v>
                </c:pt>
                <c:pt idx="42">
                  <c:v>0.1844411662617147</c:v>
                </c:pt>
                <c:pt idx="43">
                  <c:v>0.17869283065512978</c:v>
                </c:pt>
                <c:pt idx="44">
                  <c:v>0.1801480101433525</c:v>
                </c:pt>
                <c:pt idx="45">
                  <c:v>0.19204877130213727</c:v>
                </c:pt>
                <c:pt idx="46">
                  <c:v>0.19389858458155834</c:v>
                </c:pt>
                <c:pt idx="47">
                  <c:v>0.19004100761570006</c:v>
                </c:pt>
                <c:pt idx="48">
                  <c:v>0.187392393842797</c:v>
                </c:pt>
                <c:pt idx="49">
                  <c:v>0.20137562094000763</c:v>
                </c:pt>
                <c:pt idx="50">
                  <c:v>0.19135440180586907</c:v>
                </c:pt>
                <c:pt idx="51">
                  <c:v>0.1846539978486913</c:v>
                </c:pt>
                <c:pt idx="52">
                  <c:v>0.18815193402253455</c:v>
                </c:pt>
                <c:pt idx="53">
                  <c:v>0.1812184824674563</c:v>
                </c:pt>
                <c:pt idx="54">
                  <c:v>0.1860592401802962</c:v>
                </c:pt>
                <c:pt idx="55">
                  <c:v>0.18362143188290617</c:v>
                </c:pt>
                <c:pt idx="56">
                  <c:v>0.18648420341273864</c:v>
                </c:pt>
                <c:pt idx="57">
                  <c:v>0.18117511188104518</c:v>
                </c:pt>
                <c:pt idx="58">
                  <c:v>0.19146386921561317</c:v>
                </c:pt>
                <c:pt idx="59">
                  <c:v>0.19048030109457548</c:v>
                </c:pt>
                <c:pt idx="60">
                  <c:v>0.19382582445748134</c:v>
                </c:pt>
                <c:pt idx="61">
                  <c:v>0.1902548569041153</c:v>
                </c:pt>
                <c:pt idx="62">
                  <c:v>0.2036891381016416</c:v>
                </c:pt>
                <c:pt idx="63">
                  <c:v>0.20864302643992913</c:v>
                </c:pt>
                <c:pt idx="64">
                  <c:v>0.19630329195898544</c:v>
                </c:pt>
                <c:pt idx="65">
                  <c:v>0.19063234142521535</c:v>
                </c:pt>
                <c:pt idx="66">
                  <c:v>0.19000101822624987</c:v>
                </c:pt>
                <c:pt idx="67">
                  <c:v>0.17937626829007797</c:v>
                </c:pt>
                <c:pt idx="68">
                  <c:v>0.16788459713390907</c:v>
                </c:pt>
                <c:pt idx="69">
                  <c:v>0.1609119170984456</c:v>
                </c:pt>
                <c:pt idx="70">
                  <c:v>0.16178092986603626</c:v>
                </c:pt>
                <c:pt idx="71">
                  <c:v>0.16205719163465643</c:v>
                </c:pt>
                <c:pt idx="72">
                  <c:v>0.16154716676097325</c:v>
                </c:pt>
                <c:pt idx="73">
                  <c:v>0.16443455564588594</c:v>
                </c:pt>
                <c:pt idx="74">
                  <c:v>0.16447449293177627</c:v>
                </c:pt>
                <c:pt idx="75">
                  <c:v>0.17549175203193382</c:v>
                </c:pt>
                <c:pt idx="76">
                  <c:v>0.17818368922047853</c:v>
                </c:pt>
                <c:pt idx="77">
                  <c:v>0.17209963663173417</c:v>
                </c:pt>
                <c:pt idx="78">
                  <c:v>0.17405100481842756</c:v>
                </c:pt>
                <c:pt idx="79">
                  <c:v>0.1605390891252711</c:v>
                </c:pt>
                <c:pt idx="80">
                  <c:v>0.15557729941291584</c:v>
                </c:pt>
                <c:pt idx="81">
                  <c:v>0.1628547688809201</c:v>
                </c:pt>
                <c:pt idx="82">
                  <c:v>0.1626240974729242</c:v>
                </c:pt>
                <c:pt idx="83">
                  <c:v>0.16220834702596124</c:v>
                </c:pt>
                <c:pt idx="84">
                  <c:v>0.16348265992145378</c:v>
                </c:pt>
                <c:pt idx="85">
                  <c:v>0.16821068577754472</c:v>
                </c:pt>
                <c:pt idx="86">
                  <c:v>0.1764033081119127</c:v>
                </c:pt>
                <c:pt idx="87">
                  <c:v>0.19161401012679416</c:v>
                </c:pt>
                <c:pt idx="88">
                  <c:v>0.18565601991630912</c:v>
                </c:pt>
                <c:pt idx="89">
                  <c:v>0.18069021237303787</c:v>
                </c:pt>
                <c:pt idx="90">
                  <c:v>0.1697967889092956</c:v>
                </c:pt>
                <c:pt idx="91">
                  <c:v>0.16111781956184235</c:v>
                </c:pt>
                <c:pt idx="92">
                  <c:v>0.1722055773219636</c:v>
                </c:pt>
                <c:pt idx="93">
                  <c:v>0.16393442622950818</c:v>
                </c:pt>
                <c:pt idx="94">
                  <c:v>0.16772088353413656</c:v>
                </c:pt>
                <c:pt idx="95">
                  <c:v>0.1712412039936632</c:v>
                </c:pt>
                <c:pt idx="96">
                  <c:v>0.17387654450536477</c:v>
                </c:pt>
                <c:pt idx="97">
                  <c:v>0.17686965320577683</c:v>
                </c:pt>
                <c:pt idx="98">
                  <c:v>0.18162422985663867</c:v>
                </c:pt>
                <c:pt idx="99">
                  <c:v>0.18420596994251678</c:v>
                </c:pt>
                <c:pt idx="100">
                  <c:v>0.1880809529200156</c:v>
                </c:pt>
                <c:pt idx="101">
                  <c:v>0.1839502684374117</c:v>
                </c:pt>
                <c:pt idx="102">
                  <c:v>0.17164885702691735</c:v>
                </c:pt>
                <c:pt idx="103">
                  <c:v>0.17687576250508336</c:v>
                </c:pt>
                <c:pt idx="104">
                  <c:v>0.1747592827066340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0.5912</c:v>
                </c:pt>
                <c:pt idx="1">
                  <c:v>1237.7126</c:v>
                </c:pt>
                <c:pt idx="2">
                  <c:v>1244.7866</c:v>
                </c:pt>
                <c:pt idx="3">
                  <c:v>1234.0677</c:v>
                </c:pt>
                <c:pt idx="4">
                  <c:v>1258.56</c:v>
                </c:pt>
                <c:pt idx="5">
                  <c:v>1250.2569</c:v>
                </c:pt>
                <c:pt idx="6">
                  <c:v>1164.5687</c:v>
                </c:pt>
                <c:pt idx="7">
                  <c:v>1194.7737</c:v>
                </c:pt>
                <c:pt idx="8">
                  <c:v>1247.4773</c:v>
                </c:pt>
                <c:pt idx="9">
                  <c:v>1175.6943</c:v>
                </c:pt>
                <c:pt idx="10">
                  <c:v>1205.7759</c:v>
                </c:pt>
                <c:pt idx="11">
                  <c:v>1110.92</c:v>
                </c:pt>
                <c:pt idx="12">
                  <c:v>1150.6327</c:v>
                </c:pt>
                <c:pt idx="13">
                  <c:v>1180.9382</c:v>
                </c:pt>
                <c:pt idx="14">
                  <c:v>1191.5638</c:v>
                </c:pt>
                <c:pt idx="15">
                  <c:v>1193.0121</c:v>
                </c:pt>
                <c:pt idx="16">
                  <c:v>1244.6981</c:v>
                </c:pt>
                <c:pt idx="17">
                  <c:v>1191.8941</c:v>
                </c:pt>
                <c:pt idx="18">
                  <c:v>1219.1898</c:v>
                </c:pt>
                <c:pt idx="19">
                  <c:v>1317.9428</c:v>
                </c:pt>
                <c:pt idx="20">
                  <c:v>1290.4524</c:v>
                </c:pt>
                <c:pt idx="21">
                  <c:v>1220.3404</c:v>
                </c:pt>
                <c:pt idx="22">
                  <c:v>1242.508</c:v>
                </c:pt>
                <c:pt idx="23">
                  <c:v>1225.5446</c:v>
                </c:pt>
                <c:pt idx="24">
                  <c:v>1221.3668</c:v>
                </c:pt>
                <c:pt idx="25">
                  <c:v>1212.181</c:v>
                </c:pt>
                <c:pt idx="26">
                  <c:v>1224.1385</c:v>
                </c:pt>
                <c:pt idx="27">
                  <c:v>1236.0506</c:v>
                </c:pt>
                <c:pt idx="28">
                  <c:v>1270.3037</c:v>
                </c:pt>
                <c:pt idx="29">
                  <c:v>1273.6984</c:v>
                </c:pt>
                <c:pt idx="30">
                  <c:v>1266.8522</c:v>
                </c:pt>
                <c:pt idx="31">
                  <c:v>1252.2354</c:v>
                </c:pt>
                <c:pt idx="32">
                  <c:v>1271.4732</c:v>
                </c:pt>
                <c:pt idx="33">
                  <c:v>1267.4386</c:v>
                </c:pt>
                <c:pt idx="34">
                  <c:v>1286.4124</c:v>
                </c:pt>
                <c:pt idx="35">
                  <c:v>1312.7891</c:v>
                </c:pt>
                <c:pt idx="36">
                  <c:v>1334.6724</c:v>
                </c:pt>
                <c:pt idx="37">
                  <c:v>1326.2307</c:v>
                </c:pt>
                <c:pt idx="38">
                  <c:v>1337.6582</c:v>
                </c:pt>
                <c:pt idx="39">
                  <c:v>1300.5035</c:v>
                </c:pt>
                <c:pt idx="40">
                  <c:v>1319.2248</c:v>
                </c:pt>
                <c:pt idx="41">
                  <c:v>1350.2781</c:v>
                </c:pt>
                <c:pt idx="42">
                  <c:v>1337.7756</c:v>
                </c:pt>
                <c:pt idx="43">
                  <c:v>1345.0308</c:v>
                </c:pt>
                <c:pt idx="44">
                  <c:v>1271.2854</c:v>
                </c:pt>
                <c:pt idx="45">
                  <c:v>1232.453</c:v>
                </c:pt>
                <c:pt idx="46">
                  <c:v>1224.3599</c:v>
                </c:pt>
                <c:pt idx="47">
                  <c:v>1197.6553</c:v>
                </c:pt>
                <c:pt idx="48">
                  <c:v>1178.8108</c:v>
                </c:pt>
                <c:pt idx="49">
                  <c:v>1186.8418</c:v>
                </c:pt>
                <c:pt idx="50">
                  <c:v>1142.2921</c:v>
                </c:pt>
                <c:pt idx="51">
                  <c:v>1126.4572</c:v>
                </c:pt>
              </c:numCache>
            </c:numRef>
          </c:xVal>
          <c:yVal>
            <c:numRef>
              <c:f>Sheet1!$B$109:$B$160</c:f>
              <c:numCache>
                <c:formatCode>General</c:formatCode>
                <c:ptCount val="52"/>
                <c:pt idx="0">
                  <c:v>0.18217210363807224</c:v>
                </c:pt>
                <c:pt idx="1">
                  <c:v>0.180339502668332</c:v>
                </c:pt>
                <c:pt idx="2">
                  <c:v>0.19413928707344918</c:v>
                </c:pt>
                <c:pt idx="3">
                  <c:v>0.20516422332328754</c:v>
                </c:pt>
                <c:pt idx="4">
                  <c:v>0.19036010493123826</c:v>
                </c:pt>
                <c:pt idx="5">
                  <c:v>0.1889782655018112</c:v>
                </c:pt>
                <c:pt idx="6">
                  <c:v>0.19689534301452177</c:v>
                </c:pt>
                <c:pt idx="7">
                  <c:v>0.19303298361105398</c:v>
                </c:pt>
                <c:pt idx="8">
                  <c:v>0.18199813258636788</c:v>
                </c:pt>
                <c:pt idx="9">
                  <c:v>0.19081744616650664</c:v>
                </c:pt>
                <c:pt idx="10">
                  <c:v>0.19138913594887505</c:v>
                </c:pt>
                <c:pt idx="11">
                  <c:v>0.19509012114645918</c:v>
                </c:pt>
                <c:pt idx="12">
                  <c:v>0.19295151718732506</c:v>
                </c:pt>
                <c:pt idx="13">
                  <c:v>0.19295169632681686</c:v>
                </c:pt>
                <c:pt idx="14">
                  <c:v>0.19092221331194867</c:v>
                </c:pt>
                <c:pt idx="15">
                  <c:v>0.1895449417074088</c:v>
                </c:pt>
                <c:pt idx="16">
                  <c:v>0.1792311335648879</c:v>
                </c:pt>
                <c:pt idx="17">
                  <c:v>0.18335527398387363</c:v>
                </c:pt>
                <c:pt idx="18">
                  <c:v>0.18697068403908795</c:v>
                </c:pt>
                <c:pt idx="19">
                  <c:v>0.18265391401244313</c:v>
                </c:pt>
                <c:pt idx="20">
                  <c:v>0.17537102654958148</c:v>
                </c:pt>
                <c:pt idx="21">
                  <c:v>0.18476560055079178</c:v>
                </c:pt>
                <c:pt idx="22">
                  <c:v>0.18236423307944766</c:v>
                </c:pt>
                <c:pt idx="23">
                  <c:v>0.1897367922741905</c:v>
                </c:pt>
                <c:pt idx="24">
                  <c:v>0.19025981591518118</c:v>
                </c:pt>
                <c:pt idx="25">
                  <c:v>0.18831606694047692</c:v>
                </c:pt>
                <c:pt idx="26">
                  <c:v>0.18173383589446215</c:v>
                </c:pt>
                <c:pt idx="27">
                  <c:v>0.18173173437582546</c:v>
                </c:pt>
                <c:pt idx="28">
                  <c:v>0.17265331366858558</c:v>
                </c:pt>
                <c:pt idx="29">
                  <c:v>0.1752766469812511</c:v>
                </c:pt>
                <c:pt idx="30">
                  <c:v>0.17988221997501636</c:v>
                </c:pt>
                <c:pt idx="31">
                  <c:v>0.17247824685787946</c:v>
                </c:pt>
                <c:pt idx="32">
                  <c:v>0.16771168728464103</c:v>
                </c:pt>
                <c:pt idx="33">
                  <c:v>0.1849237183739221</c:v>
                </c:pt>
                <c:pt idx="34">
                  <c:v>0.1982008772581964</c:v>
                </c:pt>
                <c:pt idx="35">
                  <c:v>0.19501184463415724</c:v>
                </c:pt>
                <c:pt idx="36">
                  <c:v>0.18242677824267783</c:v>
                </c:pt>
                <c:pt idx="37">
                  <c:v>0.18479685452162517</c:v>
                </c:pt>
                <c:pt idx="38">
                  <c:v>0.18242111142139067</c:v>
                </c:pt>
                <c:pt idx="39">
                  <c:v>0.18836707429863322</c:v>
                </c:pt>
                <c:pt idx="40">
                  <c:v>0.17894789180588702</c:v>
                </c:pt>
                <c:pt idx="41">
                  <c:v>0.1818480917465689</c:v>
                </c:pt>
                <c:pt idx="42">
                  <c:v>0.18211622864999208</c:v>
                </c:pt>
                <c:pt idx="43">
                  <c:v>0.1748787435522365</c:v>
                </c:pt>
                <c:pt idx="44">
                  <c:v>0.17223699202430687</c:v>
                </c:pt>
                <c:pt idx="45">
                  <c:v>0.18621399176954734</c:v>
                </c:pt>
                <c:pt idx="46">
                  <c:v>0.2003267130943169</c:v>
                </c:pt>
                <c:pt idx="47">
                  <c:v>0.20219166308551784</c:v>
                </c:pt>
                <c:pt idx="48">
                  <c:v>0.19862168047231016</c:v>
                </c:pt>
                <c:pt idx="49">
                  <c:v>0.2040362858016512</c:v>
                </c:pt>
                <c:pt idx="50">
                  <c:v>0.21092607636068236</c:v>
                </c:pt>
                <c:pt idx="51">
                  <c:v>0.20336543000094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17.5525308844246</c:v>
                </c:pt>
              </c:numCache>
            </c:numRef>
          </c:xVal>
          <c:yVal>
            <c:numRef>
              <c:f>Sheet1!$B$163:$B$164</c:f>
              <c:numCache>
                <c:formatCode>General</c:formatCode>
                <c:ptCount val="2"/>
                <c:pt idx="0">
                  <c:v>0.23665655386773585</c:v>
                </c:pt>
                <c:pt idx="1">
                  <c:v>0.2366565538677358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17.5525308844246</c:v>
                </c:pt>
                <c:pt idx="1">
                  <c:v>717.5525308844246</c:v>
                </c:pt>
              </c:numCache>
            </c:numRef>
          </c:xVal>
          <c:yVal>
            <c:numRef>
              <c:f>Sheet1!$B$167:$B$168</c:f>
              <c:numCache>
                <c:formatCode>General</c:formatCode>
                <c:ptCount val="2"/>
                <c:pt idx="0">
                  <c:v>0.236656553867735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61.8204746880806</c:v>
                </c:pt>
              </c:numCache>
            </c:numRef>
          </c:xVal>
          <c:yVal>
            <c:numRef>
              <c:f>Sheet1!$B$171:$B$172</c:f>
              <c:numCache>
                <c:formatCode>General</c:formatCode>
                <c:ptCount val="2"/>
                <c:pt idx="0">
                  <c:v>0.20423736815889693</c:v>
                </c:pt>
                <c:pt idx="1">
                  <c:v>0.2042373681588969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61.8204746880806</c:v>
                </c:pt>
                <c:pt idx="1">
                  <c:v>1061.8204746880806</c:v>
                </c:pt>
              </c:numCache>
            </c:numRef>
          </c:xVal>
          <c:yVal>
            <c:numRef>
              <c:f>Sheet1!$B$175:$B$176</c:f>
              <c:numCache>
                <c:formatCode>General</c:formatCode>
                <c:ptCount val="2"/>
                <c:pt idx="0">
                  <c:v>0.2042373681588969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1.5119499787065</c:v>
                </c:pt>
              </c:numCache>
            </c:numRef>
          </c:xVal>
          <c:yVal>
            <c:numRef>
              <c:f>Sheet1!$B$179:$B$180</c:f>
              <c:numCache>
                <c:formatCode>General</c:formatCode>
                <c:ptCount val="2"/>
                <c:pt idx="0">
                  <c:v>0.19108283558943034</c:v>
                </c:pt>
                <c:pt idx="1">
                  <c:v>0.1910828355894303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1.5119499787065</c:v>
                </c:pt>
                <c:pt idx="1">
                  <c:v>1201.5119499787065</c:v>
                </c:pt>
              </c:numCache>
            </c:numRef>
          </c:xVal>
          <c:yVal>
            <c:numRef>
              <c:f>Sheet1!$B$183:$B$184</c:f>
              <c:numCache>
                <c:formatCode>General</c:formatCode>
                <c:ptCount val="2"/>
                <c:pt idx="0">
                  <c:v>0.1910828355894303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0.5912</c:v>
                </c:pt>
                <c:pt idx="1">
                  <c:v>1237.7126</c:v>
                </c:pt>
                <c:pt idx="2">
                  <c:v>1244.7866</c:v>
                </c:pt>
                <c:pt idx="3">
                  <c:v>1234.0677</c:v>
                </c:pt>
                <c:pt idx="4">
                  <c:v>1258.56</c:v>
                </c:pt>
                <c:pt idx="5">
                  <c:v>1250.2569</c:v>
                </c:pt>
                <c:pt idx="6">
                  <c:v>1164.5687</c:v>
                </c:pt>
                <c:pt idx="7">
                  <c:v>1194.7737</c:v>
                </c:pt>
                <c:pt idx="8">
                  <c:v>1247.4773</c:v>
                </c:pt>
                <c:pt idx="9">
                  <c:v>1175.6943</c:v>
                </c:pt>
                <c:pt idx="10">
                  <c:v>1205.7759</c:v>
                </c:pt>
                <c:pt idx="11">
                  <c:v>1110.92</c:v>
                </c:pt>
                <c:pt idx="12">
                  <c:v>1150.6327</c:v>
                </c:pt>
                <c:pt idx="13">
                  <c:v>1180.9382</c:v>
                </c:pt>
                <c:pt idx="14">
                  <c:v>1191.5638</c:v>
                </c:pt>
                <c:pt idx="15">
                  <c:v>1193.0121</c:v>
                </c:pt>
                <c:pt idx="16">
                  <c:v>1244.6981</c:v>
                </c:pt>
                <c:pt idx="17">
                  <c:v>1191.8941</c:v>
                </c:pt>
                <c:pt idx="18">
                  <c:v>1219.1898</c:v>
                </c:pt>
                <c:pt idx="19">
                  <c:v>1317.9428</c:v>
                </c:pt>
                <c:pt idx="20">
                  <c:v>1290.4524</c:v>
                </c:pt>
                <c:pt idx="21">
                  <c:v>1220.3404</c:v>
                </c:pt>
                <c:pt idx="22">
                  <c:v>1242.508</c:v>
                </c:pt>
                <c:pt idx="23">
                  <c:v>1225.5446</c:v>
                </c:pt>
                <c:pt idx="24">
                  <c:v>1221.3668</c:v>
                </c:pt>
                <c:pt idx="25">
                  <c:v>1212.181</c:v>
                </c:pt>
                <c:pt idx="26">
                  <c:v>1224.1385</c:v>
                </c:pt>
                <c:pt idx="27">
                  <c:v>1236.0506</c:v>
                </c:pt>
                <c:pt idx="28">
                  <c:v>1270.3037</c:v>
                </c:pt>
                <c:pt idx="29">
                  <c:v>1273.6984</c:v>
                </c:pt>
                <c:pt idx="30">
                  <c:v>1266.8522</c:v>
                </c:pt>
                <c:pt idx="31">
                  <c:v>1252.2354</c:v>
                </c:pt>
                <c:pt idx="32">
                  <c:v>1271.4732</c:v>
                </c:pt>
                <c:pt idx="33">
                  <c:v>1267.4386</c:v>
                </c:pt>
                <c:pt idx="34">
                  <c:v>1286.4124</c:v>
                </c:pt>
                <c:pt idx="35">
                  <c:v>1312.7891</c:v>
                </c:pt>
                <c:pt idx="36">
                  <c:v>1334.6724</c:v>
                </c:pt>
                <c:pt idx="37">
                  <c:v>1326.2307</c:v>
                </c:pt>
                <c:pt idx="38">
                  <c:v>1337.6582</c:v>
                </c:pt>
                <c:pt idx="39">
                  <c:v>1300.5035</c:v>
                </c:pt>
                <c:pt idx="40">
                  <c:v>1319.2248</c:v>
                </c:pt>
                <c:pt idx="41">
                  <c:v>1350.2781</c:v>
                </c:pt>
                <c:pt idx="42">
                  <c:v>1337.7756</c:v>
                </c:pt>
                <c:pt idx="43">
                  <c:v>1345.0308</c:v>
                </c:pt>
                <c:pt idx="44">
                  <c:v>1271.2854</c:v>
                </c:pt>
                <c:pt idx="45">
                  <c:v>1232.453</c:v>
                </c:pt>
                <c:pt idx="46">
                  <c:v>1224.3599</c:v>
                </c:pt>
                <c:pt idx="47">
                  <c:v>1197.6553</c:v>
                </c:pt>
                <c:pt idx="48">
                  <c:v>1178.8108</c:v>
                </c:pt>
                <c:pt idx="49">
                  <c:v>1186.8418</c:v>
                </c:pt>
                <c:pt idx="50">
                  <c:v>1142.2921</c:v>
                </c:pt>
                <c:pt idx="51">
                  <c:v>1126.4572</c:v>
                </c:pt>
                <c:pt idx="52">
                  <c:v>1061.8204746880806</c:v>
                </c:pt>
                <c:pt idx="53">
                  <c:v>717.5525308844246</c:v>
                </c:pt>
                <c:pt idx="54">
                  <c:v>1201.5119499787065</c:v>
                </c:pt>
              </c:numCache>
            </c:numRef>
          </c:xVal>
          <c:yVal>
            <c:numRef>
              <c:f>Sheet1!$B$187:$B$241</c:f>
              <c:numCache>
                <c:formatCode>General</c:formatCode>
                <c:ptCount val="55"/>
                <c:pt idx="0">
                  <c:v>0.1883444870917505</c:v>
                </c:pt>
                <c:pt idx="1">
                  <c:v>0.18767387574595934</c:v>
                </c:pt>
                <c:pt idx="2">
                  <c:v>0.1870077279856697</c:v>
                </c:pt>
                <c:pt idx="3">
                  <c:v>0.1880171104040707</c:v>
                </c:pt>
                <c:pt idx="4">
                  <c:v>0.18571070797413824</c:v>
                </c:pt>
                <c:pt idx="5">
                  <c:v>0.1864925982015147</c:v>
                </c:pt>
                <c:pt idx="6">
                  <c:v>0.19456172493508145</c:v>
                </c:pt>
                <c:pt idx="7">
                  <c:v>0.19171736628374575</c:v>
                </c:pt>
                <c:pt idx="8">
                  <c:v>0.18675434888210574</c:v>
                </c:pt>
                <c:pt idx="9">
                  <c:v>0.19351404419972965</c:v>
                </c:pt>
                <c:pt idx="10">
                  <c:v>0.19068130593765317</c:v>
                </c:pt>
                <c:pt idx="11">
                  <c:v>0.1996137409581873</c:v>
                </c:pt>
                <c:pt idx="12">
                  <c:v>0.19587405673991554</c:v>
                </c:pt>
                <c:pt idx="13">
                  <c:v>0.19302023415729497</c:v>
                </c:pt>
                <c:pt idx="14">
                  <c:v>0.19201963765719127</c:v>
                </c:pt>
                <c:pt idx="15">
                  <c:v>0.19188325346137175</c:v>
                </c:pt>
                <c:pt idx="16">
                  <c:v>0.18701606189530862</c:v>
                </c:pt>
                <c:pt idx="17">
                  <c:v>0.19198853381138642</c:v>
                </c:pt>
                <c:pt idx="18">
                  <c:v>0.1894181394912651</c:v>
                </c:pt>
                <c:pt idx="19">
                  <c:v>0.1801187205243605</c:v>
                </c:pt>
                <c:pt idx="20">
                  <c:v>0.1827074494456874</c:v>
                </c:pt>
                <c:pt idx="21">
                  <c:v>0.18930978924911224</c:v>
                </c:pt>
                <c:pt idx="22">
                  <c:v>0.18722230026254216</c:v>
                </c:pt>
                <c:pt idx="23">
                  <c:v>0.18881971769495628</c:v>
                </c:pt>
                <c:pt idx="24">
                  <c:v>0.18921313473099505</c:v>
                </c:pt>
                <c:pt idx="25">
                  <c:v>0.1900781474672784</c:v>
                </c:pt>
                <c:pt idx="26">
                  <c:v>0.18895212798132088</c:v>
                </c:pt>
                <c:pt idx="27">
                  <c:v>0.1878303837439239</c:v>
                </c:pt>
                <c:pt idx="28">
                  <c:v>0.18460482170717282</c:v>
                </c:pt>
                <c:pt idx="29">
                  <c:v>0.1842851480003796</c:v>
                </c:pt>
                <c:pt idx="30">
                  <c:v>0.18492984418309022</c:v>
                </c:pt>
                <c:pt idx="31">
                  <c:v>0.1863062858826381</c:v>
                </c:pt>
                <c:pt idx="32">
                  <c:v>0.1844946916809276</c:v>
                </c:pt>
                <c:pt idx="33">
                  <c:v>0.1848746237919913</c:v>
                </c:pt>
                <c:pt idx="34">
                  <c:v>0.1830878900664918</c:v>
                </c:pt>
                <c:pt idx="35">
                  <c:v>0.1806040365707564</c:v>
                </c:pt>
                <c:pt idx="36">
                  <c:v>0.1785433196803484</c:v>
                </c:pt>
                <c:pt idx="37">
                  <c:v>0.1793382616577356</c:v>
                </c:pt>
                <c:pt idx="38">
                  <c:v>0.17826215146114102</c:v>
                </c:pt>
                <c:pt idx="39">
                  <c:v>0.1817609527318837</c:v>
                </c:pt>
                <c:pt idx="40">
                  <c:v>0.17999799654518445</c:v>
                </c:pt>
                <c:pt idx="41">
                  <c:v>0.1770737547803269</c:v>
                </c:pt>
                <c:pt idx="42">
                  <c:v>0.17825109608270479</c:v>
                </c:pt>
                <c:pt idx="43">
                  <c:v>0.17756788499556125</c:v>
                </c:pt>
                <c:pt idx="44">
                  <c:v>0.18451237651968677</c:v>
                </c:pt>
                <c:pt idx="45">
                  <c:v>0.18816916423338081</c:v>
                </c:pt>
                <c:pt idx="46">
                  <c:v>0.18893127908195306</c:v>
                </c:pt>
                <c:pt idx="47">
                  <c:v>0.1914460104191641</c:v>
                </c:pt>
                <c:pt idx="48">
                  <c:v>0.19322056816142846</c:v>
                </c:pt>
                <c:pt idx="49">
                  <c:v>0.192464301174874</c:v>
                </c:pt>
                <c:pt idx="50">
                  <c:v>0.1966594782849356</c:v>
                </c:pt>
                <c:pt idx="51">
                  <c:v>0.1981506265983948</c:v>
                </c:pt>
                <c:pt idx="52">
                  <c:v>0.20423736815889693</c:v>
                </c:pt>
                <c:pt idx="53">
                  <c:v>0.23665655386773585</c:v>
                </c:pt>
                <c:pt idx="54">
                  <c:v>0.191082835589430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0.0"/>
          <c:min val="57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57565949182714"/>
          <c:min val="0.1187518226888305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64462223776375</c:v>
                </c:pt>
                <c:pt idx="1">
                  <c:v>0.1747173934536503</c:v>
                </c:pt>
                <c:pt idx="2">
                  <c:v>0.176932831233443</c:v>
                </c:pt>
                <c:pt idx="3">
                  <c:v>0.17907084634218695</c:v>
                </c:pt>
                <c:pt idx="4">
                  <c:v>0.17229590223739336</c:v>
                </c:pt>
                <c:pt idx="5">
                  <c:v>0.16829598948561436</c:v>
                </c:pt>
                <c:pt idx="6">
                  <c:v>0.1685525856560477</c:v>
                </c:pt>
                <c:pt idx="7">
                  <c:v>0.16383105014953595</c:v>
                </c:pt>
                <c:pt idx="8">
                  <c:v>0.16442853686432657</c:v>
                </c:pt>
                <c:pt idx="9">
                  <c:v>0.1633811368259109</c:v>
                </c:pt>
                <c:pt idx="10">
                  <c:v>0.16757836811412796</c:v>
                </c:pt>
                <c:pt idx="11">
                  <c:v>0.18071296475434737</c:v>
                </c:pt>
                <c:pt idx="12">
                  <c:v>0.18697954365494815</c:v>
                </c:pt>
                <c:pt idx="13">
                  <c:v>0.1834340934908638</c:v>
                </c:pt>
                <c:pt idx="14">
                  <c:v>0.18888360793194747</c:v>
                </c:pt>
                <c:pt idx="15">
                  <c:v>0.19028771197791294</c:v>
                </c:pt>
                <c:pt idx="16">
                  <c:v>0.1822459705167702</c:v>
                </c:pt>
                <c:pt idx="17">
                  <c:v>0.1821398063115957</c:v>
                </c:pt>
                <c:pt idx="18">
                  <c:v>0.17481666402128804</c:v>
                </c:pt>
                <c:pt idx="19">
                  <c:v>0.17487897059736654</c:v>
                </c:pt>
                <c:pt idx="20">
                  <c:v>0.18585827635879812</c:v>
                </c:pt>
                <c:pt idx="21">
                  <c:v>0.1772587212576732</c:v>
                </c:pt>
                <c:pt idx="22">
                  <c:v>0.16400794957115228</c:v>
                </c:pt>
                <c:pt idx="23">
                  <c:v>0.1606177813667935</c:v>
                </c:pt>
                <c:pt idx="24">
                  <c:v>0.16493955312525121</c:v>
                </c:pt>
                <c:pt idx="25">
                  <c:v>0.15404642509586208</c:v>
                </c:pt>
                <c:pt idx="26">
                  <c:v>0.15694073834404376</c:v>
                </c:pt>
                <c:pt idx="27">
                  <c:v>0.15583406143369521</c:v>
                </c:pt>
                <c:pt idx="28">
                  <c:v>0.15315448894456174</c:v>
                </c:pt>
                <c:pt idx="29">
                  <c:v>0.15677920879843368</c:v>
                </c:pt>
                <c:pt idx="30">
                  <c:v>0.14780667971862618</c:v>
                </c:pt>
                <c:pt idx="31">
                  <c:v>0.13814698607356596</c:v>
                </c:pt>
                <c:pt idx="32">
                  <c:v>0.1397712282916583</c:v>
                </c:pt>
                <c:pt idx="33">
                  <c:v>0.14103067361382743</c:v>
                </c:pt>
                <c:pt idx="34">
                  <c:v>0.1513734630334281</c:v>
                </c:pt>
                <c:pt idx="35">
                  <c:v>0.16139180458539956</c:v>
                </c:pt>
                <c:pt idx="36">
                  <c:v>0.1547439639620419</c:v>
                </c:pt>
                <c:pt idx="37">
                  <c:v>0.144227442050256</c:v>
                </c:pt>
                <c:pt idx="38">
                  <c:v>0.15405859849371212</c:v>
                </c:pt>
                <c:pt idx="39">
                  <c:v>0.15619507874332444</c:v>
                </c:pt>
                <c:pt idx="40">
                  <c:v>0.1701760749737881</c:v>
                </c:pt>
                <c:pt idx="41">
                  <c:v>0.1669360741902985</c:v>
                </c:pt>
                <c:pt idx="42">
                  <c:v>0.16676503545317733</c:v>
                </c:pt>
                <c:pt idx="43">
                  <c:v>0.17689993718899125</c:v>
                </c:pt>
                <c:pt idx="44">
                  <c:v>0.18360056693274365</c:v>
                </c:pt>
                <c:pt idx="45">
                  <c:v>0.18799054977135335</c:v>
                </c:pt>
                <c:pt idx="46">
                  <c:v>0.18708267447063526</c:v>
                </c:pt>
                <c:pt idx="47">
                  <c:v>0.1808166205016793</c:v>
                </c:pt>
                <c:pt idx="48">
                  <c:v>0.20602226167747148</c:v>
                </c:pt>
                <c:pt idx="49">
                  <c:v>0.21500144093409188</c:v>
                </c:pt>
                <c:pt idx="50">
                  <c:v>0.1859949191099844</c:v>
                </c:pt>
                <c:pt idx="51">
                  <c:v>0.17493017407205527</c:v>
                </c:pt>
                <c:pt idx="52">
                  <c:v>0.19011809492468687</c:v>
                </c:pt>
                <c:pt idx="53">
                  <c:v>0.19407823416224687</c:v>
                </c:pt>
                <c:pt idx="54">
                  <c:v>0.1862267152220246</c:v>
                </c:pt>
                <c:pt idx="55">
                  <c:v>0.18404487268299694</c:v>
                </c:pt>
                <c:pt idx="56">
                  <c:v>0.18859721446532085</c:v>
                </c:pt>
                <c:pt idx="57">
                  <c:v>0.1832327648975143</c:v>
                </c:pt>
                <c:pt idx="58">
                  <c:v>0.19326281753880417</c:v>
                </c:pt>
                <c:pt idx="59">
                  <c:v>0.21539575591663387</c:v>
                </c:pt>
                <c:pt idx="60">
                  <c:v>0.2170641480741464</c:v>
                </c:pt>
                <c:pt idx="61">
                  <c:v>0.20735411209334073</c:v>
                </c:pt>
                <c:pt idx="62">
                  <c:v>0.20256072431001826</c:v>
                </c:pt>
                <c:pt idx="63">
                  <c:v>0.20650431996360005</c:v>
                </c:pt>
                <c:pt idx="64">
                  <c:v>0.21480350263396286</c:v>
                </c:pt>
                <c:pt idx="65">
                  <c:v>0.20413879010492586</c:v>
                </c:pt>
                <c:pt idx="66">
                  <c:v>0.20644396243600077</c:v>
                </c:pt>
                <c:pt idx="67">
                  <c:v>0.2140131772783533</c:v>
                </c:pt>
                <c:pt idx="68">
                  <c:v>0.20145317661474801</c:v>
                </c:pt>
                <c:pt idx="69">
                  <c:v>0.19314441403124877</c:v>
                </c:pt>
                <c:pt idx="70">
                  <c:v>0.18598368503778376</c:v>
                </c:pt>
                <c:pt idx="71">
                  <c:v>0.19329823411431196</c:v>
                </c:pt>
                <c:pt idx="72">
                  <c:v>0.21264143066982177</c:v>
                </c:pt>
                <c:pt idx="73">
                  <c:v>0.20609964409896686</c:v>
                </c:pt>
                <c:pt idx="74">
                  <c:v>0.20409610258399927</c:v>
                </c:pt>
                <c:pt idx="75">
                  <c:v>0.1926476382497369</c:v>
                </c:pt>
                <c:pt idx="76">
                  <c:v>0.182151425939294</c:v>
                </c:pt>
                <c:pt idx="77">
                  <c:v>0.18471175040367607</c:v>
                </c:pt>
                <c:pt idx="78">
                  <c:v>0.18422109735660816</c:v>
                </c:pt>
                <c:pt idx="79">
                  <c:v>0.17281582672012882</c:v>
                </c:pt>
                <c:pt idx="80">
                  <c:v>0.17271612183307836</c:v>
                </c:pt>
                <c:pt idx="81">
                  <c:v>0.1813296184048702</c:v>
                </c:pt>
                <c:pt idx="82">
                  <c:v>0.1749857449244116</c:v>
                </c:pt>
                <c:pt idx="83">
                  <c:v>0.16006243778208176</c:v>
                </c:pt>
                <c:pt idx="84">
                  <c:v>0.1574491525085856</c:v>
                </c:pt>
                <c:pt idx="85">
                  <c:v>0.15940045550533105</c:v>
                </c:pt>
                <c:pt idx="86">
                  <c:v>0.16812688632336587</c:v>
                </c:pt>
                <c:pt idx="87">
                  <c:v>0.18450295590395693</c:v>
                </c:pt>
                <c:pt idx="88">
                  <c:v>0.16948676760515818</c:v>
                </c:pt>
                <c:pt idx="89">
                  <c:v>0.1604509839827757</c:v>
                </c:pt>
                <c:pt idx="90">
                  <c:v>0.17069431555187978</c:v>
                </c:pt>
                <c:pt idx="91">
                  <c:v>0.1775562334590851</c:v>
                </c:pt>
                <c:pt idx="92">
                  <c:v>0.17998266884073105</c:v>
                </c:pt>
                <c:pt idx="93">
                  <c:v>0.17953728820911033</c:v>
                </c:pt>
                <c:pt idx="94">
                  <c:v>0.1744221197811544</c:v>
                </c:pt>
                <c:pt idx="95">
                  <c:v>0.18292162847453716</c:v>
                </c:pt>
                <c:pt idx="96">
                  <c:v>0.1886293926636629</c:v>
                </c:pt>
                <c:pt idx="97">
                  <c:v>0.1978410546479489</c:v>
                </c:pt>
                <c:pt idx="98">
                  <c:v>0.20724594213547154</c:v>
                </c:pt>
                <c:pt idx="99">
                  <c:v>0.2108225318230626</c:v>
                </c:pt>
                <c:pt idx="100">
                  <c:v>0.22541641922070907</c:v>
                </c:pt>
                <c:pt idx="101">
                  <c:v>0.21162830364397398</c:v>
                </c:pt>
                <c:pt idx="102">
                  <c:v>0.21090169945661688</c:v>
                </c:pt>
                <c:pt idx="103">
                  <c:v>0.2016581964146918</c:v>
                </c:pt>
                <c:pt idx="104">
                  <c:v>0.20690250578657282</c:v>
                </c:pt>
              </c:numCache>
            </c:numRef>
          </c:xVal>
          <c:yVal>
            <c:numRef>
              <c:f>Sheet1!$B$2:$B$106</c:f>
              <c:numCache>
                <c:formatCode>General</c:formatCode>
                <c:ptCount val="105"/>
                <c:pt idx="0">
                  <c:v>0.22226506555029193</c:v>
                </c:pt>
                <c:pt idx="1">
                  <c:v>0.21748878923766815</c:v>
                </c:pt>
                <c:pt idx="2">
                  <c:v>0.21873943899966206</c:v>
                </c:pt>
                <c:pt idx="3">
                  <c:v>0.21880877742946708</c:v>
                </c:pt>
                <c:pt idx="4">
                  <c:v>0.23012847663419456</c:v>
                </c:pt>
                <c:pt idx="5">
                  <c:v>0.23601854534917416</c:v>
                </c:pt>
                <c:pt idx="6">
                  <c:v>0.2631891967534285</c:v>
                </c:pt>
                <c:pt idx="7">
                  <c:v>0.264646382909856</c:v>
                </c:pt>
                <c:pt idx="8">
                  <c:v>0.2586243119458801</c:v>
                </c:pt>
                <c:pt idx="9">
                  <c:v>0.24723282141843525</c:v>
                </c:pt>
                <c:pt idx="10">
                  <c:v>0.240457548323954</c:v>
                </c:pt>
                <c:pt idx="11">
                  <c:v>0.21958603645350633</c:v>
                </c:pt>
                <c:pt idx="12">
                  <c:v>0.20595766473199045</c:v>
                </c:pt>
                <c:pt idx="13">
                  <c:v>0.19534355479841</c:v>
                </c:pt>
                <c:pt idx="14">
                  <c:v>0.1779950952193527</c:v>
                </c:pt>
                <c:pt idx="15">
                  <c:v>0.168645487930973</c:v>
                </c:pt>
                <c:pt idx="16">
                  <c:v>0.16324619268670088</c:v>
                </c:pt>
                <c:pt idx="17">
                  <c:v>0.15663621708758732</c:v>
                </c:pt>
                <c:pt idx="18">
                  <c:v>0.1496506308751822</c:v>
                </c:pt>
                <c:pt idx="19">
                  <c:v>0.1484397783610382</c:v>
                </c:pt>
                <c:pt idx="20">
                  <c:v>0.15575458594760286</c:v>
                </c:pt>
                <c:pt idx="21">
                  <c:v>0.16326167003207032</c:v>
                </c:pt>
                <c:pt idx="22">
                  <c:v>0.17795461243737107</c:v>
                </c:pt>
                <c:pt idx="23">
                  <c:v>0.1898969839890778</c:v>
                </c:pt>
                <c:pt idx="24">
                  <c:v>0.19180421172453044</c:v>
                </c:pt>
                <c:pt idx="25">
                  <c:v>0.19442463533225285</c:v>
                </c:pt>
                <c:pt idx="26">
                  <c:v>0.20790259591086607</c:v>
                </c:pt>
                <c:pt idx="27">
                  <c:v>0.2096837172979305</c:v>
                </c:pt>
                <c:pt idx="28">
                  <c:v>0.21572077185017027</c:v>
                </c:pt>
                <c:pt idx="29">
                  <c:v>0.20905013062552374</c:v>
                </c:pt>
                <c:pt idx="30">
                  <c:v>0.21441727532550015</c:v>
                </c:pt>
                <c:pt idx="31">
                  <c:v>0.21806815395930376</c:v>
                </c:pt>
                <c:pt idx="32">
                  <c:v>0.22538531278331822</c:v>
                </c:pt>
                <c:pt idx="33">
                  <c:v>0.22100081250298714</c:v>
                </c:pt>
                <c:pt idx="34">
                  <c:v>0.21928327645051193</c:v>
                </c:pt>
                <c:pt idx="35">
                  <c:v>0.23582775119617225</c:v>
                </c:pt>
                <c:pt idx="36">
                  <c:v>0.20781902445739459</c:v>
                </c:pt>
                <c:pt idx="37">
                  <c:v>0.20361056699666472</c:v>
                </c:pt>
                <c:pt idx="38">
                  <c:v>0.1926458832933653</c:v>
                </c:pt>
                <c:pt idx="39">
                  <c:v>0.18791795448159596</c:v>
                </c:pt>
                <c:pt idx="40">
                  <c:v>0.18927819961577166</c:v>
                </c:pt>
                <c:pt idx="41">
                  <c:v>0.18410232983097305</c:v>
                </c:pt>
                <c:pt idx="42">
                  <c:v>0.1844411662617147</c:v>
                </c:pt>
                <c:pt idx="43">
                  <c:v>0.17869283065512978</c:v>
                </c:pt>
                <c:pt idx="44">
                  <c:v>0.1801480101433525</c:v>
                </c:pt>
                <c:pt idx="45">
                  <c:v>0.19204877130213727</c:v>
                </c:pt>
                <c:pt idx="46">
                  <c:v>0.19389858458155834</c:v>
                </c:pt>
                <c:pt idx="47">
                  <c:v>0.19004100761570006</c:v>
                </c:pt>
                <c:pt idx="48">
                  <c:v>0.187392393842797</c:v>
                </c:pt>
                <c:pt idx="49">
                  <c:v>0.20137562094000763</c:v>
                </c:pt>
                <c:pt idx="50">
                  <c:v>0.19135440180586907</c:v>
                </c:pt>
                <c:pt idx="51">
                  <c:v>0.1846539978486913</c:v>
                </c:pt>
                <c:pt idx="52">
                  <c:v>0.18815193402253455</c:v>
                </c:pt>
                <c:pt idx="53">
                  <c:v>0.1812184824674563</c:v>
                </c:pt>
                <c:pt idx="54">
                  <c:v>0.1860592401802962</c:v>
                </c:pt>
                <c:pt idx="55">
                  <c:v>0.18362143188290617</c:v>
                </c:pt>
                <c:pt idx="56">
                  <c:v>0.18648420341273864</c:v>
                </c:pt>
                <c:pt idx="57">
                  <c:v>0.18117511188104518</c:v>
                </c:pt>
                <c:pt idx="58">
                  <c:v>0.19146386921561317</c:v>
                </c:pt>
                <c:pt idx="59">
                  <c:v>0.19048030109457548</c:v>
                </c:pt>
                <c:pt idx="60">
                  <c:v>0.19382582445748134</c:v>
                </c:pt>
                <c:pt idx="61">
                  <c:v>0.1902548569041153</c:v>
                </c:pt>
                <c:pt idx="62">
                  <c:v>0.2036891381016416</c:v>
                </c:pt>
                <c:pt idx="63">
                  <c:v>0.20864302643992913</c:v>
                </c:pt>
                <c:pt idx="64">
                  <c:v>0.19630329195898544</c:v>
                </c:pt>
                <c:pt idx="65">
                  <c:v>0.19063234142521535</c:v>
                </c:pt>
                <c:pt idx="66">
                  <c:v>0.19000101822624987</c:v>
                </c:pt>
                <c:pt idx="67">
                  <c:v>0.17937626829007797</c:v>
                </c:pt>
                <c:pt idx="68">
                  <c:v>0.16788459713390907</c:v>
                </c:pt>
                <c:pt idx="69">
                  <c:v>0.1609119170984456</c:v>
                </c:pt>
                <c:pt idx="70">
                  <c:v>0.16178092986603626</c:v>
                </c:pt>
                <c:pt idx="71">
                  <c:v>0.16205719163465643</c:v>
                </c:pt>
                <c:pt idx="72">
                  <c:v>0.16154716676097325</c:v>
                </c:pt>
                <c:pt idx="73">
                  <c:v>0.16443455564588594</c:v>
                </c:pt>
                <c:pt idx="74">
                  <c:v>0.16447449293177627</c:v>
                </c:pt>
                <c:pt idx="75">
                  <c:v>0.17549175203193382</c:v>
                </c:pt>
                <c:pt idx="76">
                  <c:v>0.17818368922047853</c:v>
                </c:pt>
                <c:pt idx="77">
                  <c:v>0.17209963663173417</c:v>
                </c:pt>
                <c:pt idx="78">
                  <c:v>0.17405100481842756</c:v>
                </c:pt>
                <c:pt idx="79">
                  <c:v>0.1605390891252711</c:v>
                </c:pt>
                <c:pt idx="80">
                  <c:v>0.15557729941291584</c:v>
                </c:pt>
                <c:pt idx="81">
                  <c:v>0.1628547688809201</c:v>
                </c:pt>
                <c:pt idx="82">
                  <c:v>0.1626240974729242</c:v>
                </c:pt>
                <c:pt idx="83">
                  <c:v>0.16220834702596124</c:v>
                </c:pt>
                <c:pt idx="84">
                  <c:v>0.16348265992145378</c:v>
                </c:pt>
                <c:pt idx="85">
                  <c:v>0.16821068577754472</c:v>
                </c:pt>
                <c:pt idx="86">
                  <c:v>0.1764033081119127</c:v>
                </c:pt>
                <c:pt idx="87">
                  <c:v>0.19161401012679416</c:v>
                </c:pt>
                <c:pt idx="88">
                  <c:v>0.18565601991630912</c:v>
                </c:pt>
                <c:pt idx="89">
                  <c:v>0.18069021237303787</c:v>
                </c:pt>
                <c:pt idx="90">
                  <c:v>0.1697967889092956</c:v>
                </c:pt>
                <c:pt idx="91">
                  <c:v>0.16111781956184235</c:v>
                </c:pt>
                <c:pt idx="92">
                  <c:v>0.1722055773219636</c:v>
                </c:pt>
                <c:pt idx="93">
                  <c:v>0.16393442622950818</c:v>
                </c:pt>
                <c:pt idx="94">
                  <c:v>0.16772088353413656</c:v>
                </c:pt>
                <c:pt idx="95">
                  <c:v>0.1712412039936632</c:v>
                </c:pt>
                <c:pt idx="96">
                  <c:v>0.17387654450536477</c:v>
                </c:pt>
                <c:pt idx="97">
                  <c:v>0.17686965320577683</c:v>
                </c:pt>
                <c:pt idx="98">
                  <c:v>0.18162422985663867</c:v>
                </c:pt>
                <c:pt idx="99">
                  <c:v>0.18420596994251678</c:v>
                </c:pt>
                <c:pt idx="100">
                  <c:v>0.1880809529200156</c:v>
                </c:pt>
                <c:pt idx="101">
                  <c:v>0.1839502684374117</c:v>
                </c:pt>
                <c:pt idx="102">
                  <c:v>0.17164885702691735</c:v>
                </c:pt>
                <c:pt idx="103">
                  <c:v>0.17687576250508336</c:v>
                </c:pt>
                <c:pt idx="104">
                  <c:v>0.1747592827066340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932678457772709</c:v>
                </c:pt>
                <c:pt idx="1">
                  <c:v>0.21925388010493682</c:v>
                </c:pt>
                <c:pt idx="2">
                  <c:v>0.21837372208858888</c:v>
                </c:pt>
                <c:pt idx="3">
                  <c:v>0.21868811800259672</c:v>
                </c:pt>
                <c:pt idx="4">
                  <c:v>0.21367386417000192</c:v>
                </c:pt>
                <c:pt idx="5">
                  <c:v>0.21699586216644698</c:v>
                </c:pt>
                <c:pt idx="6">
                  <c:v>0.2008520661318804</c:v>
                </c:pt>
                <c:pt idx="7">
                  <c:v>0.19420259970640757</c:v>
                </c:pt>
                <c:pt idx="8">
                  <c:v>0.20921265180142498</c:v>
                </c:pt>
                <c:pt idx="9">
                  <c:v>0.20052218570344418</c:v>
                </c:pt>
                <c:pt idx="10">
                  <c:v>0.20986934406216798</c:v>
                </c:pt>
                <c:pt idx="11">
                  <c:v>0.19822903240225298</c:v>
                </c:pt>
                <c:pt idx="12">
                  <c:v>0.20488082554975404</c:v>
                </c:pt>
                <c:pt idx="13">
                  <c:v>0.19961952656999718</c:v>
                </c:pt>
                <c:pt idx="14">
                  <c:v>0.2005551486693024</c:v>
                </c:pt>
                <c:pt idx="15">
                  <c:v>0.19134955451051636</c:v>
                </c:pt>
                <c:pt idx="16">
                  <c:v>0.192077980291476</c:v>
                </c:pt>
                <c:pt idx="17">
                  <c:v>0.18251274544460463</c:v>
                </c:pt>
                <c:pt idx="18">
                  <c:v>0.16998057908233452</c:v>
                </c:pt>
                <c:pt idx="19">
                  <c:v>0.20076508833019036</c:v>
                </c:pt>
                <c:pt idx="20">
                  <c:v>0.1834421600318594</c:v>
                </c:pt>
                <c:pt idx="21">
                  <c:v>0.1675156471566015</c:v>
                </c:pt>
                <c:pt idx="22">
                  <c:v>0.17389459382333178</c:v>
                </c:pt>
                <c:pt idx="23">
                  <c:v>0.1617129799481091</c:v>
                </c:pt>
                <c:pt idx="24">
                  <c:v>0.15995430112096518</c:v>
                </c:pt>
                <c:pt idx="25">
                  <c:v>0.15719386119432224</c:v>
                </c:pt>
                <c:pt idx="26">
                  <c:v>0.1620032714870677</c:v>
                </c:pt>
                <c:pt idx="27">
                  <c:v>0.1624226485589647</c:v>
                </c:pt>
                <c:pt idx="28">
                  <c:v>0.17192836350782592</c:v>
                </c:pt>
                <c:pt idx="29">
                  <c:v>0.16330932891321</c:v>
                </c:pt>
                <c:pt idx="30">
                  <c:v>0.15790746577498577</c:v>
                </c:pt>
                <c:pt idx="31">
                  <c:v>0.1581036192584612</c:v>
                </c:pt>
                <c:pt idx="32">
                  <c:v>0.1562501666683093</c:v>
                </c:pt>
                <c:pt idx="33">
                  <c:v>0.16733455421961613</c:v>
                </c:pt>
                <c:pt idx="34">
                  <c:v>0.18380087516034557</c:v>
                </c:pt>
                <c:pt idx="35">
                  <c:v>0.17736966413394428</c:v>
                </c:pt>
                <c:pt idx="36">
                  <c:v>0.16252744846052075</c:v>
                </c:pt>
                <c:pt idx="37">
                  <c:v>0.16245285889344507</c:v>
                </c:pt>
                <c:pt idx="38">
                  <c:v>0.16562712801819435</c:v>
                </c:pt>
                <c:pt idx="39">
                  <c:v>0.1738584166905663</c:v>
                </c:pt>
                <c:pt idx="40">
                  <c:v>0.1749479485928459</c:v>
                </c:pt>
                <c:pt idx="41">
                  <c:v>0.1821174120543613</c:v>
                </c:pt>
                <c:pt idx="42">
                  <c:v>0.17743506110460075</c:v>
                </c:pt>
                <c:pt idx="43">
                  <c:v>0.18645421077091506</c:v>
                </c:pt>
                <c:pt idx="44">
                  <c:v>0.18583018142206875</c:v>
                </c:pt>
                <c:pt idx="45">
                  <c:v>0.19157350942664658</c:v>
                </c:pt>
                <c:pt idx="46">
                  <c:v>0.17784243910440004</c:v>
                </c:pt>
                <c:pt idx="47">
                  <c:v>0.17596651936077146</c:v>
                </c:pt>
                <c:pt idx="48">
                  <c:v>0.17930930166542255</c:v>
                </c:pt>
                <c:pt idx="49">
                  <c:v>0.1997832592945391</c:v>
                </c:pt>
                <c:pt idx="50">
                  <c:v>0.211845417612649</c:v>
                </c:pt>
                <c:pt idx="51">
                  <c:v>0.18619619692421618</c:v>
                </c:pt>
              </c:numCache>
            </c:numRef>
          </c:xVal>
          <c:yVal>
            <c:numRef>
              <c:f>Sheet1!$B$109:$B$160</c:f>
              <c:numCache>
                <c:formatCode>General</c:formatCode>
                <c:ptCount val="52"/>
                <c:pt idx="0">
                  <c:v>0.18217210363807224</c:v>
                </c:pt>
                <c:pt idx="1">
                  <c:v>0.180339502668332</c:v>
                </c:pt>
                <c:pt idx="2">
                  <c:v>0.19413928707344918</c:v>
                </c:pt>
                <c:pt idx="3">
                  <c:v>0.20516422332328754</c:v>
                </c:pt>
                <c:pt idx="4">
                  <c:v>0.19036010493123826</c:v>
                </c:pt>
                <c:pt idx="5">
                  <c:v>0.1889782655018112</c:v>
                </c:pt>
                <c:pt idx="6">
                  <c:v>0.19689534301452177</c:v>
                </c:pt>
                <c:pt idx="7">
                  <c:v>0.19303298361105398</c:v>
                </c:pt>
                <c:pt idx="8">
                  <c:v>0.18199813258636788</c:v>
                </c:pt>
                <c:pt idx="9">
                  <c:v>0.19081744616650664</c:v>
                </c:pt>
                <c:pt idx="10">
                  <c:v>0.19138913594887505</c:v>
                </c:pt>
                <c:pt idx="11">
                  <c:v>0.19509012114645918</c:v>
                </c:pt>
                <c:pt idx="12">
                  <c:v>0.19295151718732506</c:v>
                </c:pt>
                <c:pt idx="13">
                  <c:v>0.19295169632681686</c:v>
                </c:pt>
                <c:pt idx="14">
                  <c:v>0.19092221331194867</c:v>
                </c:pt>
                <c:pt idx="15">
                  <c:v>0.1895449417074088</c:v>
                </c:pt>
                <c:pt idx="16">
                  <c:v>0.1792311335648879</c:v>
                </c:pt>
                <c:pt idx="17">
                  <c:v>0.18335527398387363</c:v>
                </c:pt>
                <c:pt idx="18">
                  <c:v>0.18697068403908795</c:v>
                </c:pt>
                <c:pt idx="19">
                  <c:v>0.18265391401244313</c:v>
                </c:pt>
                <c:pt idx="20">
                  <c:v>0.17537102654958148</c:v>
                </c:pt>
                <c:pt idx="21">
                  <c:v>0.18476560055079178</c:v>
                </c:pt>
                <c:pt idx="22">
                  <c:v>0.18236423307944766</c:v>
                </c:pt>
                <c:pt idx="23">
                  <c:v>0.1897367922741905</c:v>
                </c:pt>
                <c:pt idx="24">
                  <c:v>0.19025981591518118</c:v>
                </c:pt>
                <c:pt idx="25">
                  <c:v>0.18831606694047692</c:v>
                </c:pt>
                <c:pt idx="26">
                  <c:v>0.18173383589446215</c:v>
                </c:pt>
                <c:pt idx="27">
                  <c:v>0.18173173437582546</c:v>
                </c:pt>
                <c:pt idx="28">
                  <c:v>0.17265331366858558</c:v>
                </c:pt>
                <c:pt idx="29">
                  <c:v>0.1752766469812511</c:v>
                </c:pt>
                <c:pt idx="30">
                  <c:v>0.17988221997501636</c:v>
                </c:pt>
                <c:pt idx="31">
                  <c:v>0.17247824685787946</c:v>
                </c:pt>
                <c:pt idx="32">
                  <c:v>0.16771168728464103</c:v>
                </c:pt>
                <c:pt idx="33">
                  <c:v>0.1849237183739221</c:v>
                </c:pt>
                <c:pt idx="34">
                  <c:v>0.1982008772581964</c:v>
                </c:pt>
                <c:pt idx="35">
                  <c:v>0.19501184463415724</c:v>
                </c:pt>
                <c:pt idx="36">
                  <c:v>0.18242677824267783</c:v>
                </c:pt>
                <c:pt idx="37">
                  <c:v>0.18479685452162517</c:v>
                </c:pt>
                <c:pt idx="38">
                  <c:v>0.18242111142139067</c:v>
                </c:pt>
                <c:pt idx="39">
                  <c:v>0.18836707429863322</c:v>
                </c:pt>
                <c:pt idx="40">
                  <c:v>0.17894789180588702</c:v>
                </c:pt>
                <c:pt idx="41">
                  <c:v>0.1818480917465689</c:v>
                </c:pt>
                <c:pt idx="42">
                  <c:v>0.18211622864999208</c:v>
                </c:pt>
                <c:pt idx="43">
                  <c:v>0.1748787435522365</c:v>
                </c:pt>
                <c:pt idx="44">
                  <c:v>0.17223699202430687</c:v>
                </c:pt>
                <c:pt idx="45">
                  <c:v>0.18621399176954734</c:v>
                </c:pt>
                <c:pt idx="46">
                  <c:v>0.2003267130943169</c:v>
                </c:pt>
                <c:pt idx="47">
                  <c:v>0.20219166308551784</c:v>
                </c:pt>
                <c:pt idx="48">
                  <c:v>0.19862168047231016</c:v>
                </c:pt>
                <c:pt idx="49">
                  <c:v>0.2040362858016512</c:v>
                </c:pt>
                <c:pt idx="50">
                  <c:v>0.21092607636068236</c:v>
                </c:pt>
                <c:pt idx="51">
                  <c:v>0.20336543000094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362471612641106</c:v>
                </c:pt>
              </c:numCache>
            </c:numRef>
          </c:xVal>
          <c:yVal>
            <c:numRef>
              <c:f>Sheet1!$B$163:$B$164</c:f>
              <c:numCache>
                <c:formatCode>General</c:formatCode>
                <c:ptCount val="2"/>
                <c:pt idx="0">
                  <c:v>0.23665655386773585</c:v>
                </c:pt>
                <c:pt idx="1">
                  <c:v>0.2366565538677358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362471612641106</c:v>
                </c:pt>
                <c:pt idx="1">
                  <c:v>0.4362471612641106</c:v>
                </c:pt>
              </c:numCache>
            </c:numRef>
          </c:xVal>
          <c:yVal>
            <c:numRef>
              <c:f>Sheet1!$B$167:$B$168</c:f>
              <c:numCache>
                <c:formatCode>General</c:formatCode>
                <c:ptCount val="2"/>
                <c:pt idx="0">
                  <c:v>0.236656553867735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709791588474756</c:v>
                </c:pt>
              </c:numCache>
            </c:numRef>
          </c:xVal>
          <c:yVal>
            <c:numRef>
              <c:f>Sheet1!$B$171:$B$172</c:f>
              <c:numCache>
                <c:formatCode>General</c:formatCode>
                <c:ptCount val="2"/>
                <c:pt idx="0">
                  <c:v>0.20423736815889693</c:v>
                </c:pt>
                <c:pt idx="1">
                  <c:v>0.2042373681588969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709791588474756</c:v>
                </c:pt>
                <c:pt idx="1">
                  <c:v>0.2709791588474756</c:v>
                </c:pt>
              </c:numCache>
            </c:numRef>
          </c:xVal>
          <c:yVal>
            <c:numRef>
              <c:f>Sheet1!$B$175:$B$176</c:f>
              <c:numCache>
                <c:formatCode>General</c:formatCode>
                <c:ptCount val="2"/>
                <c:pt idx="0">
                  <c:v>0.2042373681588969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0391938319470304</c:v>
                </c:pt>
              </c:numCache>
            </c:numRef>
          </c:xVal>
          <c:yVal>
            <c:numRef>
              <c:f>Sheet1!$B$179:$B$180</c:f>
              <c:numCache>
                <c:formatCode>General</c:formatCode>
                <c:ptCount val="2"/>
                <c:pt idx="0">
                  <c:v>0.19108283558943034</c:v>
                </c:pt>
                <c:pt idx="1">
                  <c:v>0.1910828355894303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0391938319470304</c:v>
                </c:pt>
                <c:pt idx="1">
                  <c:v>0.20391938319470304</c:v>
                </c:pt>
              </c:numCache>
            </c:numRef>
          </c:xVal>
          <c:yVal>
            <c:numRef>
              <c:f>Sheet1!$B$183:$B$184</c:f>
              <c:numCache>
                <c:formatCode>General</c:formatCode>
                <c:ptCount val="2"/>
                <c:pt idx="0">
                  <c:v>0.1910828355894303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932678457772709</c:v>
                </c:pt>
                <c:pt idx="1">
                  <c:v>0.21925388010493682</c:v>
                </c:pt>
                <c:pt idx="2">
                  <c:v>0.21837372208858888</c:v>
                </c:pt>
                <c:pt idx="3">
                  <c:v>0.21868811800259672</c:v>
                </c:pt>
                <c:pt idx="4">
                  <c:v>0.21367386417000192</c:v>
                </c:pt>
                <c:pt idx="5">
                  <c:v>0.21699586216644698</c:v>
                </c:pt>
                <c:pt idx="6">
                  <c:v>0.2008520661318804</c:v>
                </c:pt>
                <c:pt idx="7">
                  <c:v>0.19420259970640757</c:v>
                </c:pt>
                <c:pt idx="8">
                  <c:v>0.20921265180142498</c:v>
                </c:pt>
                <c:pt idx="9">
                  <c:v>0.20052218570344418</c:v>
                </c:pt>
                <c:pt idx="10">
                  <c:v>0.20986934406216798</c:v>
                </c:pt>
                <c:pt idx="11">
                  <c:v>0.19822903240225298</c:v>
                </c:pt>
                <c:pt idx="12">
                  <c:v>0.20488082554975404</c:v>
                </c:pt>
                <c:pt idx="13">
                  <c:v>0.19961952656999718</c:v>
                </c:pt>
                <c:pt idx="14">
                  <c:v>0.2005551486693024</c:v>
                </c:pt>
                <c:pt idx="15">
                  <c:v>0.19134955451051636</c:v>
                </c:pt>
                <c:pt idx="16">
                  <c:v>0.192077980291476</c:v>
                </c:pt>
                <c:pt idx="17">
                  <c:v>0.18251274544460463</c:v>
                </c:pt>
                <c:pt idx="18">
                  <c:v>0.16998057908233452</c:v>
                </c:pt>
                <c:pt idx="19">
                  <c:v>0.20076508833019036</c:v>
                </c:pt>
                <c:pt idx="20">
                  <c:v>0.1834421600318594</c:v>
                </c:pt>
                <c:pt idx="21">
                  <c:v>0.1675156471566015</c:v>
                </c:pt>
                <c:pt idx="22">
                  <c:v>0.17389459382333178</c:v>
                </c:pt>
                <c:pt idx="23">
                  <c:v>0.1617129799481091</c:v>
                </c:pt>
                <c:pt idx="24">
                  <c:v>0.15995430112096518</c:v>
                </c:pt>
                <c:pt idx="25">
                  <c:v>0.15719386119432224</c:v>
                </c:pt>
                <c:pt idx="26">
                  <c:v>0.1620032714870677</c:v>
                </c:pt>
                <c:pt idx="27">
                  <c:v>0.1624226485589647</c:v>
                </c:pt>
                <c:pt idx="28">
                  <c:v>0.17192836350782592</c:v>
                </c:pt>
                <c:pt idx="29">
                  <c:v>0.16330932891321</c:v>
                </c:pt>
                <c:pt idx="30">
                  <c:v>0.15790746577498577</c:v>
                </c:pt>
                <c:pt idx="31">
                  <c:v>0.1581036192584612</c:v>
                </c:pt>
                <c:pt idx="32">
                  <c:v>0.1562501666683093</c:v>
                </c:pt>
                <c:pt idx="33">
                  <c:v>0.16733455421961613</c:v>
                </c:pt>
                <c:pt idx="34">
                  <c:v>0.18380087516034557</c:v>
                </c:pt>
                <c:pt idx="35">
                  <c:v>0.17736966413394428</c:v>
                </c:pt>
                <c:pt idx="36">
                  <c:v>0.16252744846052075</c:v>
                </c:pt>
                <c:pt idx="37">
                  <c:v>0.16245285889344507</c:v>
                </c:pt>
                <c:pt idx="38">
                  <c:v>0.16562712801819435</c:v>
                </c:pt>
                <c:pt idx="39">
                  <c:v>0.1738584166905663</c:v>
                </c:pt>
                <c:pt idx="40">
                  <c:v>0.1749479485928459</c:v>
                </c:pt>
                <c:pt idx="41">
                  <c:v>0.1821174120543613</c:v>
                </c:pt>
                <c:pt idx="42">
                  <c:v>0.17743506110460075</c:v>
                </c:pt>
                <c:pt idx="43">
                  <c:v>0.18645421077091506</c:v>
                </c:pt>
                <c:pt idx="44">
                  <c:v>0.18583018142206875</c:v>
                </c:pt>
                <c:pt idx="45">
                  <c:v>0.19157350942664658</c:v>
                </c:pt>
                <c:pt idx="46">
                  <c:v>0.17784243910440004</c:v>
                </c:pt>
                <c:pt idx="47">
                  <c:v>0.17596651936077146</c:v>
                </c:pt>
                <c:pt idx="48">
                  <c:v>0.17930930166542255</c:v>
                </c:pt>
                <c:pt idx="49">
                  <c:v>0.1997832592945391</c:v>
                </c:pt>
                <c:pt idx="50">
                  <c:v>0.211845417612649</c:v>
                </c:pt>
                <c:pt idx="51">
                  <c:v>0.18619619692421618</c:v>
                </c:pt>
                <c:pt idx="52">
                  <c:v>0.2709791588474756</c:v>
                </c:pt>
                <c:pt idx="53">
                  <c:v>0.4362471612641106</c:v>
                </c:pt>
                <c:pt idx="54">
                  <c:v>0.20391938319470304</c:v>
                </c:pt>
              </c:numCache>
            </c:numRef>
          </c:xVal>
          <c:yVal>
            <c:numRef>
              <c:f>Sheet1!$B$187:$B$241</c:f>
              <c:numCache>
                <c:formatCode>General</c:formatCode>
                <c:ptCount val="55"/>
                <c:pt idx="0">
                  <c:v>0.19410517142832834</c:v>
                </c:pt>
                <c:pt idx="1">
                  <c:v>0.19409087039238776</c:v>
                </c:pt>
                <c:pt idx="2">
                  <c:v>0.1939182174543243</c:v>
                </c:pt>
                <c:pt idx="3">
                  <c:v>0.19397988976459174</c:v>
                </c:pt>
                <c:pt idx="4">
                  <c:v>0.19299628722923623</c:v>
                </c:pt>
                <c:pt idx="5">
                  <c:v>0.19364793466489436</c:v>
                </c:pt>
                <c:pt idx="6">
                  <c:v>0.19048114669603614</c:v>
                </c:pt>
                <c:pt idx="7">
                  <c:v>0.18917677873756922</c:v>
                </c:pt>
                <c:pt idx="8">
                  <c:v>0.19212117002476453</c:v>
                </c:pt>
                <c:pt idx="9">
                  <c:v>0.1904164369233348</c:v>
                </c:pt>
                <c:pt idx="10">
                  <c:v>0.19224998763037046</c:v>
                </c:pt>
                <c:pt idx="11">
                  <c:v>0.18996660899752288</c:v>
                </c:pt>
                <c:pt idx="12">
                  <c:v>0.19127143336880065</c:v>
                </c:pt>
                <c:pt idx="13">
                  <c:v>0.19023937013695696</c:v>
                </c:pt>
                <c:pt idx="14">
                  <c:v>0.19042290298147094</c:v>
                </c:pt>
                <c:pt idx="15">
                  <c:v>0.1886171216915057</c:v>
                </c:pt>
                <c:pt idx="16">
                  <c:v>0.18876001063747666</c:v>
                </c:pt>
                <c:pt idx="17">
                  <c:v>0.18688368176367787</c:v>
                </c:pt>
                <c:pt idx="18">
                  <c:v>0.18442535575566893</c:v>
                </c:pt>
                <c:pt idx="19">
                  <c:v>0.19046408501764525</c:v>
                </c:pt>
                <c:pt idx="20">
                  <c:v>0.18706599693457682</c:v>
                </c:pt>
                <c:pt idx="21">
                  <c:v>0.18394183151206772</c:v>
                </c:pt>
                <c:pt idx="22">
                  <c:v>0.185193133963792</c:v>
                </c:pt>
                <c:pt idx="23">
                  <c:v>0.1828035727863135</c:v>
                </c:pt>
                <c:pt idx="24">
                  <c:v>0.18245858806655119</c:v>
                </c:pt>
                <c:pt idx="25">
                  <c:v>0.18191709659021368</c:v>
                </c:pt>
                <c:pt idx="26">
                  <c:v>0.1828605167511076</c:v>
                </c:pt>
                <c:pt idx="27">
                  <c:v>0.18294278230146854</c:v>
                </c:pt>
                <c:pt idx="28">
                  <c:v>0.18480743567487556</c:v>
                </c:pt>
                <c:pt idx="29">
                  <c:v>0.18311671466979348</c:v>
                </c:pt>
                <c:pt idx="30">
                  <c:v>0.18205707819031125</c:v>
                </c:pt>
                <c:pt idx="31">
                  <c:v>0.18209555591204346</c:v>
                </c:pt>
                <c:pt idx="32">
                  <c:v>0.18173198024800669</c:v>
                </c:pt>
                <c:pt idx="33">
                  <c:v>0.18390630808666875</c:v>
                </c:pt>
                <c:pt idx="34">
                  <c:v>0.18713636295943895</c:v>
                </c:pt>
                <c:pt idx="35">
                  <c:v>0.18587480826313404</c:v>
                </c:pt>
                <c:pt idx="36">
                  <c:v>0.18296333998608463</c:v>
                </c:pt>
                <c:pt idx="37">
                  <c:v>0.1829487083998634</c:v>
                </c:pt>
                <c:pt idx="38">
                  <c:v>0.1835713771484434</c:v>
                </c:pt>
                <c:pt idx="39">
                  <c:v>0.1851860374105065</c:v>
                </c:pt>
                <c:pt idx="40">
                  <c:v>0.185399761401595</c:v>
                </c:pt>
                <c:pt idx="41">
                  <c:v>0.1868061326530951</c:v>
                </c:pt>
                <c:pt idx="42">
                  <c:v>0.18588763661771876</c:v>
                </c:pt>
                <c:pt idx="43">
                  <c:v>0.18765684471421976</c:v>
                </c:pt>
                <c:pt idx="44">
                  <c:v>0.18753443430777572</c:v>
                </c:pt>
                <c:pt idx="45">
                  <c:v>0.1886610529783263</c:v>
                </c:pt>
                <c:pt idx="46">
                  <c:v>0.18596754841453406</c:v>
                </c:pt>
                <c:pt idx="47">
                  <c:v>0.18559956556453108</c:v>
                </c:pt>
                <c:pt idx="48">
                  <c:v>0.18625529007704444</c:v>
                </c:pt>
                <c:pt idx="49">
                  <c:v>0.1902714881605666</c:v>
                </c:pt>
                <c:pt idx="50">
                  <c:v>0.19263761678102642</c:v>
                </c:pt>
                <c:pt idx="51">
                  <c:v>0.1876062323834039</c:v>
                </c:pt>
                <c:pt idx="52">
                  <c:v>0.20423736815889693</c:v>
                </c:pt>
                <c:pt idx="53">
                  <c:v>0.23665655386773585</c:v>
                </c:pt>
                <c:pt idx="54">
                  <c:v>0.1910828355894303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57565949182714"/>
          <c:min val="0.1187518226888305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0.1602</c:v>
                </c:pt>
                <c:pt idx="1">
                  <c:v>896.6671</c:v>
                </c:pt>
                <c:pt idx="2">
                  <c:v>925.3649</c:v>
                </c:pt>
                <c:pt idx="3">
                  <c:v>939.8836</c:v>
                </c:pt>
                <c:pt idx="4">
                  <c:v>933.8344</c:v>
                </c:pt>
                <c:pt idx="5">
                  <c:v>919.7325</c:v>
                </c:pt>
                <c:pt idx="6">
                  <c:v>883.5374</c:v>
                </c:pt>
                <c:pt idx="7">
                  <c:v>889.8271</c:v>
                </c:pt>
                <c:pt idx="8">
                  <c:v>894.7587</c:v>
                </c:pt>
                <c:pt idx="9">
                  <c:v>870.9048</c:v>
                </c:pt>
                <c:pt idx="10">
                  <c:v>858.2044</c:v>
                </c:pt>
                <c:pt idx="11">
                  <c:v>900.905</c:v>
                </c:pt>
                <c:pt idx="12">
                  <c:v>915.5783</c:v>
                </c:pt>
                <c:pt idx="13">
                  <c:v>919.7056</c:v>
                </c:pt>
                <c:pt idx="14">
                  <c:v>960.2228</c:v>
                </c:pt>
                <c:pt idx="15">
                  <c:v>977.2438</c:v>
                </c:pt>
                <c:pt idx="16">
                  <c:v>994.4941</c:v>
                </c:pt>
                <c:pt idx="17">
                  <c:v>1017.189</c:v>
                </c:pt>
                <c:pt idx="18">
                  <c:v>1057.7813</c:v>
                </c:pt>
                <c:pt idx="19">
                  <c:v>1066.0149</c:v>
                </c:pt>
                <c:pt idx="20">
                  <c:v>1091.4757</c:v>
                </c:pt>
                <c:pt idx="21">
                  <c:v>1100.1601</c:v>
                </c:pt>
                <c:pt idx="22">
                  <c:v>1064.3803</c:v>
                </c:pt>
                <c:pt idx="23">
                  <c:v>1056.8376</c:v>
                </c:pt>
                <c:pt idx="24">
                  <c:v>1060.7294</c:v>
                </c:pt>
                <c:pt idx="25">
                  <c:v>1038.9553</c:v>
                </c:pt>
                <c:pt idx="26">
                  <c:v>1026.3227</c:v>
                </c:pt>
                <c:pt idx="27">
                  <c:v>1037.4307</c:v>
                </c:pt>
                <c:pt idx="28">
                  <c:v>1037.9847</c:v>
                </c:pt>
                <c:pt idx="29">
                  <c:v>1029.1964</c:v>
                </c:pt>
                <c:pt idx="30">
                  <c:v>1031.7509</c:v>
                </c:pt>
                <c:pt idx="31">
                  <c:v>1013.6425</c:v>
                </c:pt>
                <c:pt idx="32">
                  <c:v>1003.4237</c:v>
                </c:pt>
                <c:pt idx="33">
                  <c:v>971.3372</c:v>
                </c:pt>
                <c:pt idx="34">
                  <c:v>981.5778</c:v>
                </c:pt>
                <c:pt idx="35">
                  <c:v>1018.1876</c:v>
                </c:pt>
                <c:pt idx="36">
                  <c:v>1083.6092</c:v>
                </c:pt>
                <c:pt idx="37">
                  <c:v>1095.7103</c:v>
                </c:pt>
                <c:pt idx="38">
                  <c:v>1138.3225</c:v>
                </c:pt>
                <c:pt idx="39">
                  <c:v>1161.1624</c:v>
                </c:pt>
                <c:pt idx="40">
                  <c:v>1163.3908</c:v>
                </c:pt>
                <c:pt idx="41">
                  <c:v>1195.6292</c:v>
                </c:pt>
                <c:pt idx="42">
                  <c:v>1211.0972</c:v>
                </c:pt>
                <c:pt idx="43">
                  <c:v>1218.396</c:v>
                </c:pt>
                <c:pt idx="44">
                  <c:v>1156.9309</c:v>
                </c:pt>
                <c:pt idx="45">
                  <c:v>1121.7811</c:v>
                </c:pt>
                <c:pt idx="46">
                  <c:v>1111.4667</c:v>
                </c:pt>
                <c:pt idx="47">
                  <c:v>1098.4128</c:v>
                </c:pt>
                <c:pt idx="48">
                  <c:v>1094.8564</c:v>
                </c:pt>
                <c:pt idx="49">
                  <c:v>1046.4081</c:v>
                </c:pt>
                <c:pt idx="50">
                  <c:v>1047.8026</c:v>
                </c:pt>
                <c:pt idx="51">
                  <c:v>1055.6736</c:v>
                </c:pt>
                <c:pt idx="52">
                  <c:v>1053.314</c:v>
                </c:pt>
                <c:pt idx="53">
                  <c:v>1166.5389</c:v>
                </c:pt>
                <c:pt idx="54">
                  <c:v>1152.9671</c:v>
                </c:pt>
                <c:pt idx="55">
                  <c:v>1167.2546</c:v>
                </c:pt>
                <c:pt idx="56">
                  <c:v>1178.832</c:v>
                </c:pt>
                <c:pt idx="57">
                  <c:v>1152.5788</c:v>
                </c:pt>
                <c:pt idx="58">
                  <c:v>1130.1762</c:v>
                </c:pt>
                <c:pt idx="59">
                  <c:v>1114.6146</c:v>
                </c:pt>
                <c:pt idx="60">
                  <c:v>1131.0099</c:v>
                </c:pt>
                <c:pt idx="61">
                  <c:v>1145.4141</c:v>
                </c:pt>
                <c:pt idx="62">
                  <c:v>1077.2692</c:v>
                </c:pt>
                <c:pt idx="63">
                  <c:v>1097.606</c:v>
                </c:pt>
                <c:pt idx="64">
                  <c:v>1110.3883</c:v>
                </c:pt>
                <c:pt idx="65">
                  <c:v>1101.1496</c:v>
                </c:pt>
                <c:pt idx="66">
                  <c:v>1136.1167</c:v>
                </c:pt>
                <c:pt idx="67">
                  <c:v>1160.0968</c:v>
                </c:pt>
                <c:pt idx="68">
                  <c:v>1175.814</c:v>
                </c:pt>
                <c:pt idx="69">
                  <c:v>1207.8284</c:v>
                </c:pt>
                <c:pt idx="70">
                  <c:v>1189.7808</c:v>
                </c:pt>
                <c:pt idx="71">
                  <c:v>1242.0927</c:v>
                </c:pt>
                <c:pt idx="72">
                  <c:v>1307.1248</c:v>
                </c:pt>
                <c:pt idx="73">
                  <c:v>1283.356</c:v>
                </c:pt>
                <c:pt idx="74">
                  <c:v>1277.4382</c:v>
                </c:pt>
                <c:pt idx="75">
                  <c:v>1240.835</c:v>
                </c:pt>
                <c:pt idx="76">
                  <c:v>1206.9189</c:v>
                </c:pt>
                <c:pt idx="77">
                  <c:v>1204.1637</c:v>
                </c:pt>
                <c:pt idx="78">
                  <c:v>1256.4379</c:v>
                </c:pt>
                <c:pt idx="79">
                  <c:v>1241.5478</c:v>
                </c:pt>
                <c:pt idx="80">
                  <c:v>1256.622</c:v>
                </c:pt>
                <c:pt idx="81">
                  <c:v>1246.3743</c:v>
                </c:pt>
                <c:pt idx="82">
                  <c:v>1257.2699</c:v>
                </c:pt>
                <c:pt idx="83">
                  <c:v>1219.594</c:v>
                </c:pt>
                <c:pt idx="84">
                  <c:v>1240.0375</c:v>
                </c:pt>
                <c:pt idx="85">
                  <c:v>1216.7624</c:v>
                </c:pt>
                <c:pt idx="86">
                  <c:v>1220.1259</c:v>
                </c:pt>
                <c:pt idx="87">
                  <c:v>1222.8493</c:v>
                </c:pt>
                <c:pt idx="88">
                  <c:v>1269.4996</c:v>
                </c:pt>
                <c:pt idx="89">
                  <c:v>1255.1555</c:v>
                </c:pt>
                <c:pt idx="90">
                  <c:v>1314.4375</c:v>
                </c:pt>
                <c:pt idx="91">
                  <c:v>1315.6106</c:v>
                </c:pt>
                <c:pt idx="92">
                  <c:v>1266.0669</c:v>
                </c:pt>
                <c:pt idx="93">
                  <c:v>1292.6658</c:v>
                </c:pt>
                <c:pt idx="94">
                  <c:v>1281.8216</c:v>
                </c:pt>
                <c:pt idx="95">
                  <c:v>1251.4322</c:v>
                </c:pt>
                <c:pt idx="96">
                  <c:v>1200.8594</c:v>
                </c:pt>
                <c:pt idx="97">
                  <c:v>1193.5625</c:v>
                </c:pt>
                <c:pt idx="98">
                  <c:v>1172.9539</c:v>
                </c:pt>
                <c:pt idx="99">
                  <c:v>1137.7425</c:v>
                </c:pt>
                <c:pt idx="100">
                  <c:v>1118.3324</c:v>
                </c:pt>
                <c:pt idx="101">
                  <c:v>1165.05</c:v>
                </c:pt>
                <c:pt idx="102">
                  <c:v>1177.0303</c:v>
                </c:pt>
                <c:pt idx="103">
                  <c:v>1152.1832</c:v>
                </c:pt>
                <c:pt idx="104">
                  <c:v>1184.3692</c:v>
                </c:pt>
              </c:numCache>
            </c:numRef>
          </c:xVal>
          <c:yVal>
            <c:numRef>
              <c:f>Sheet1!$B$2:$B$106</c:f>
              <c:numCache>
                <c:formatCode>General</c:formatCode>
                <c:ptCount val="105"/>
                <c:pt idx="0">
                  <c:v>0.22226506555029193</c:v>
                </c:pt>
                <c:pt idx="1">
                  <c:v>0.21748878923766815</c:v>
                </c:pt>
                <c:pt idx="2">
                  <c:v>0.21873943899966206</c:v>
                </c:pt>
                <c:pt idx="3">
                  <c:v>0.21880877742946708</c:v>
                </c:pt>
                <c:pt idx="4">
                  <c:v>0.23012847663419456</c:v>
                </c:pt>
                <c:pt idx="5">
                  <c:v>0.23601854534917416</c:v>
                </c:pt>
                <c:pt idx="6">
                  <c:v>0.2631891967534285</c:v>
                </c:pt>
                <c:pt idx="7">
                  <c:v>0.264646382909856</c:v>
                </c:pt>
                <c:pt idx="8">
                  <c:v>0.2586243119458801</c:v>
                </c:pt>
                <c:pt idx="9">
                  <c:v>0.24723282141843525</c:v>
                </c:pt>
                <c:pt idx="10">
                  <c:v>0.240457548323954</c:v>
                </c:pt>
                <c:pt idx="11">
                  <c:v>0.21958603645350633</c:v>
                </c:pt>
                <c:pt idx="12">
                  <c:v>0.20595766473199045</c:v>
                </c:pt>
                <c:pt idx="13">
                  <c:v>0.19534355479841</c:v>
                </c:pt>
                <c:pt idx="14">
                  <c:v>0.1779950952193527</c:v>
                </c:pt>
                <c:pt idx="15">
                  <c:v>0.168645487930973</c:v>
                </c:pt>
                <c:pt idx="16">
                  <c:v>0.16324619268670088</c:v>
                </c:pt>
                <c:pt idx="17">
                  <c:v>0.15663621708758732</c:v>
                </c:pt>
                <c:pt idx="18">
                  <c:v>0.1496506308751822</c:v>
                </c:pt>
                <c:pt idx="19">
                  <c:v>0.1484397783610382</c:v>
                </c:pt>
                <c:pt idx="20">
                  <c:v>0.15575458594760286</c:v>
                </c:pt>
                <c:pt idx="21">
                  <c:v>0.16326167003207032</c:v>
                </c:pt>
                <c:pt idx="22">
                  <c:v>0.17795461243737107</c:v>
                </c:pt>
                <c:pt idx="23">
                  <c:v>0.1898969839890778</c:v>
                </c:pt>
                <c:pt idx="24">
                  <c:v>0.19180421172453044</c:v>
                </c:pt>
                <c:pt idx="25">
                  <c:v>0.19442463533225285</c:v>
                </c:pt>
                <c:pt idx="26">
                  <c:v>0.20790259591086607</c:v>
                </c:pt>
                <c:pt idx="27">
                  <c:v>0.2096837172979305</c:v>
                </c:pt>
                <c:pt idx="28">
                  <c:v>0.21572077185017027</c:v>
                </c:pt>
                <c:pt idx="29">
                  <c:v>0.20905013062552374</c:v>
                </c:pt>
                <c:pt idx="30">
                  <c:v>0.21441727532550015</c:v>
                </c:pt>
                <c:pt idx="31">
                  <c:v>0.21806815395930376</c:v>
                </c:pt>
                <c:pt idx="32">
                  <c:v>0.22538531278331822</c:v>
                </c:pt>
                <c:pt idx="33">
                  <c:v>0.22100081250298714</c:v>
                </c:pt>
                <c:pt idx="34">
                  <c:v>0.21928327645051193</c:v>
                </c:pt>
                <c:pt idx="35">
                  <c:v>0.23582775119617225</c:v>
                </c:pt>
                <c:pt idx="36">
                  <c:v>0.20781902445739459</c:v>
                </c:pt>
                <c:pt idx="37">
                  <c:v>0.20361056699666472</c:v>
                </c:pt>
                <c:pt idx="38">
                  <c:v>0.1926458832933653</c:v>
                </c:pt>
                <c:pt idx="39">
                  <c:v>0.18791795448159596</c:v>
                </c:pt>
                <c:pt idx="40">
                  <c:v>0.18927819961577166</c:v>
                </c:pt>
                <c:pt idx="41">
                  <c:v>0.18410232983097305</c:v>
                </c:pt>
                <c:pt idx="42">
                  <c:v>0.1844411662617147</c:v>
                </c:pt>
                <c:pt idx="43">
                  <c:v>0.17869283065512978</c:v>
                </c:pt>
                <c:pt idx="44">
                  <c:v>0.1801480101433525</c:v>
                </c:pt>
                <c:pt idx="45">
                  <c:v>0.19204877130213727</c:v>
                </c:pt>
                <c:pt idx="46">
                  <c:v>0.19389858458155834</c:v>
                </c:pt>
                <c:pt idx="47">
                  <c:v>0.19004100761570006</c:v>
                </c:pt>
                <c:pt idx="48">
                  <c:v>0.187392393842797</c:v>
                </c:pt>
                <c:pt idx="49">
                  <c:v>0.20137562094000763</c:v>
                </c:pt>
                <c:pt idx="50">
                  <c:v>0.19135440180586907</c:v>
                </c:pt>
                <c:pt idx="51">
                  <c:v>0.1846539978486913</c:v>
                </c:pt>
                <c:pt idx="52">
                  <c:v>0.18815193402253455</c:v>
                </c:pt>
                <c:pt idx="53">
                  <c:v>0.1812184824674563</c:v>
                </c:pt>
                <c:pt idx="54">
                  <c:v>0.1860592401802962</c:v>
                </c:pt>
                <c:pt idx="55">
                  <c:v>0.18362143188290617</c:v>
                </c:pt>
                <c:pt idx="56">
                  <c:v>0.18648420341273864</c:v>
                </c:pt>
                <c:pt idx="57">
                  <c:v>0.18117511188104518</c:v>
                </c:pt>
                <c:pt idx="58">
                  <c:v>0.19146386921561317</c:v>
                </c:pt>
                <c:pt idx="59">
                  <c:v>0.19048030109457548</c:v>
                </c:pt>
                <c:pt idx="60">
                  <c:v>0.19382582445748134</c:v>
                </c:pt>
                <c:pt idx="61">
                  <c:v>0.1902548569041153</c:v>
                </c:pt>
                <c:pt idx="62">
                  <c:v>0.2036891381016416</c:v>
                </c:pt>
                <c:pt idx="63">
                  <c:v>0.20864302643992913</c:v>
                </c:pt>
                <c:pt idx="64">
                  <c:v>0.19630329195898544</c:v>
                </c:pt>
                <c:pt idx="65">
                  <c:v>0.19063234142521535</c:v>
                </c:pt>
                <c:pt idx="66">
                  <c:v>0.19000101822624987</c:v>
                </c:pt>
                <c:pt idx="67">
                  <c:v>0.17937626829007797</c:v>
                </c:pt>
                <c:pt idx="68">
                  <c:v>0.16788459713390907</c:v>
                </c:pt>
                <c:pt idx="69">
                  <c:v>0.1609119170984456</c:v>
                </c:pt>
                <c:pt idx="70">
                  <c:v>0.16178092986603626</c:v>
                </c:pt>
                <c:pt idx="71">
                  <c:v>0.16205719163465643</c:v>
                </c:pt>
                <c:pt idx="72">
                  <c:v>0.16154716676097325</c:v>
                </c:pt>
                <c:pt idx="73">
                  <c:v>0.16443455564588594</c:v>
                </c:pt>
                <c:pt idx="74">
                  <c:v>0.16447449293177627</c:v>
                </c:pt>
                <c:pt idx="75">
                  <c:v>0.17549175203193382</c:v>
                </c:pt>
                <c:pt idx="76">
                  <c:v>0.17818368922047853</c:v>
                </c:pt>
                <c:pt idx="77">
                  <c:v>0.17209963663173417</c:v>
                </c:pt>
                <c:pt idx="78">
                  <c:v>0.17405100481842756</c:v>
                </c:pt>
                <c:pt idx="79">
                  <c:v>0.1605390891252711</c:v>
                </c:pt>
                <c:pt idx="80">
                  <c:v>0.15557729941291584</c:v>
                </c:pt>
                <c:pt idx="81">
                  <c:v>0.1628547688809201</c:v>
                </c:pt>
                <c:pt idx="82">
                  <c:v>0.1626240974729242</c:v>
                </c:pt>
                <c:pt idx="83">
                  <c:v>0.16220834702596124</c:v>
                </c:pt>
                <c:pt idx="84">
                  <c:v>0.16348265992145378</c:v>
                </c:pt>
                <c:pt idx="85">
                  <c:v>0.16821068577754472</c:v>
                </c:pt>
                <c:pt idx="86">
                  <c:v>0.1764033081119127</c:v>
                </c:pt>
                <c:pt idx="87">
                  <c:v>0.19161401012679416</c:v>
                </c:pt>
                <c:pt idx="88">
                  <c:v>0.18565601991630912</c:v>
                </c:pt>
                <c:pt idx="89">
                  <c:v>0.18069021237303787</c:v>
                </c:pt>
                <c:pt idx="90">
                  <c:v>0.1697967889092956</c:v>
                </c:pt>
                <c:pt idx="91">
                  <c:v>0.16111781956184235</c:v>
                </c:pt>
                <c:pt idx="92">
                  <c:v>0.1722055773219636</c:v>
                </c:pt>
                <c:pt idx="93">
                  <c:v>0.16393442622950818</c:v>
                </c:pt>
                <c:pt idx="94">
                  <c:v>0.16772088353413656</c:v>
                </c:pt>
                <c:pt idx="95">
                  <c:v>0.1712412039936632</c:v>
                </c:pt>
                <c:pt idx="96">
                  <c:v>0.17387654450536477</c:v>
                </c:pt>
                <c:pt idx="97">
                  <c:v>0.17686965320577683</c:v>
                </c:pt>
                <c:pt idx="98">
                  <c:v>0.18162422985663867</c:v>
                </c:pt>
                <c:pt idx="99">
                  <c:v>0.18420596994251678</c:v>
                </c:pt>
                <c:pt idx="100">
                  <c:v>0.1880809529200156</c:v>
                </c:pt>
                <c:pt idx="101">
                  <c:v>0.1839502684374117</c:v>
                </c:pt>
                <c:pt idx="102">
                  <c:v>0.17164885702691735</c:v>
                </c:pt>
                <c:pt idx="103">
                  <c:v>0.17687576250508336</c:v>
                </c:pt>
                <c:pt idx="104">
                  <c:v>0.1747592827066340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0.5912</c:v>
                </c:pt>
                <c:pt idx="1">
                  <c:v>1237.7126</c:v>
                </c:pt>
                <c:pt idx="2">
                  <c:v>1244.7866</c:v>
                </c:pt>
                <c:pt idx="3">
                  <c:v>1234.0677</c:v>
                </c:pt>
                <c:pt idx="4">
                  <c:v>1258.56</c:v>
                </c:pt>
                <c:pt idx="5">
                  <c:v>1250.2569</c:v>
                </c:pt>
                <c:pt idx="6">
                  <c:v>1164.5687</c:v>
                </c:pt>
                <c:pt idx="7">
                  <c:v>1194.7737</c:v>
                </c:pt>
                <c:pt idx="8">
                  <c:v>1247.4773</c:v>
                </c:pt>
                <c:pt idx="9">
                  <c:v>1175.6943</c:v>
                </c:pt>
                <c:pt idx="10">
                  <c:v>1205.7759</c:v>
                </c:pt>
                <c:pt idx="11">
                  <c:v>1110.92</c:v>
                </c:pt>
                <c:pt idx="12">
                  <c:v>1150.6327</c:v>
                </c:pt>
                <c:pt idx="13">
                  <c:v>1180.9382</c:v>
                </c:pt>
                <c:pt idx="14">
                  <c:v>1191.5638</c:v>
                </c:pt>
                <c:pt idx="15">
                  <c:v>1193.0121</c:v>
                </c:pt>
                <c:pt idx="16">
                  <c:v>1244.6981</c:v>
                </c:pt>
                <c:pt idx="17">
                  <c:v>1191.8941</c:v>
                </c:pt>
                <c:pt idx="18">
                  <c:v>1219.1898</c:v>
                </c:pt>
                <c:pt idx="19">
                  <c:v>1317.9428</c:v>
                </c:pt>
                <c:pt idx="20">
                  <c:v>1290.4524</c:v>
                </c:pt>
                <c:pt idx="21">
                  <c:v>1220.3404</c:v>
                </c:pt>
                <c:pt idx="22">
                  <c:v>1242.508</c:v>
                </c:pt>
                <c:pt idx="23">
                  <c:v>1225.5446</c:v>
                </c:pt>
                <c:pt idx="24">
                  <c:v>1221.3668</c:v>
                </c:pt>
                <c:pt idx="25">
                  <c:v>1212.181</c:v>
                </c:pt>
                <c:pt idx="26">
                  <c:v>1224.1385</c:v>
                </c:pt>
                <c:pt idx="27">
                  <c:v>1236.0506</c:v>
                </c:pt>
                <c:pt idx="28">
                  <c:v>1270.3037</c:v>
                </c:pt>
                <c:pt idx="29">
                  <c:v>1273.6984</c:v>
                </c:pt>
                <c:pt idx="30">
                  <c:v>1266.8522</c:v>
                </c:pt>
                <c:pt idx="31">
                  <c:v>1252.2354</c:v>
                </c:pt>
                <c:pt idx="32">
                  <c:v>1271.4732</c:v>
                </c:pt>
                <c:pt idx="33">
                  <c:v>1267.4386</c:v>
                </c:pt>
                <c:pt idx="34">
                  <c:v>1286.4124</c:v>
                </c:pt>
                <c:pt idx="35">
                  <c:v>1312.7891</c:v>
                </c:pt>
                <c:pt idx="36">
                  <c:v>1334.6724</c:v>
                </c:pt>
                <c:pt idx="37">
                  <c:v>1326.2307</c:v>
                </c:pt>
                <c:pt idx="38">
                  <c:v>1337.6582</c:v>
                </c:pt>
                <c:pt idx="39">
                  <c:v>1300.5035</c:v>
                </c:pt>
                <c:pt idx="40">
                  <c:v>1319.2248</c:v>
                </c:pt>
                <c:pt idx="41">
                  <c:v>1350.2781</c:v>
                </c:pt>
                <c:pt idx="42">
                  <c:v>1337.7756</c:v>
                </c:pt>
                <c:pt idx="43">
                  <c:v>1345.0308</c:v>
                </c:pt>
                <c:pt idx="44">
                  <c:v>1271.2854</c:v>
                </c:pt>
                <c:pt idx="45">
                  <c:v>1232.453</c:v>
                </c:pt>
                <c:pt idx="46">
                  <c:v>1224.3599</c:v>
                </c:pt>
                <c:pt idx="47">
                  <c:v>1197.6553</c:v>
                </c:pt>
                <c:pt idx="48">
                  <c:v>1178.8108</c:v>
                </c:pt>
                <c:pt idx="49">
                  <c:v>1186.8418</c:v>
                </c:pt>
                <c:pt idx="50">
                  <c:v>1142.2921</c:v>
                </c:pt>
                <c:pt idx="51">
                  <c:v>1126.4572</c:v>
                </c:pt>
              </c:numCache>
            </c:numRef>
          </c:xVal>
          <c:yVal>
            <c:numRef>
              <c:f>Sheet1!$B$109:$B$160</c:f>
              <c:numCache>
                <c:formatCode>General</c:formatCode>
                <c:ptCount val="52"/>
                <c:pt idx="0">
                  <c:v>0.18217210363807224</c:v>
                </c:pt>
                <c:pt idx="1">
                  <c:v>0.180339502668332</c:v>
                </c:pt>
                <c:pt idx="2">
                  <c:v>0.19413928707344918</c:v>
                </c:pt>
                <c:pt idx="3">
                  <c:v>0.20516422332328754</c:v>
                </c:pt>
                <c:pt idx="4">
                  <c:v>0.19036010493123826</c:v>
                </c:pt>
                <c:pt idx="5">
                  <c:v>0.1889782655018112</c:v>
                </c:pt>
                <c:pt idx="6">
                  <c:v>0.19689534301452177</c:v>
                </c:pt>
                <c:pt idx="7">
                  <c:v>0.19303298361105398</c:v>
                </c:pt>
                <c:pt idx="8">
                  <c:v>0.18199813258636788</c:v>
                </c:pt>
                <c:pt idx="9">
                  <c:v>0.19081744616650664</c:v>
                </c:pt>
                <c:pt idx="10">
                  <c:v>0.19138913594887505</c:v>
                </c:pt>
                <c:pt idx="11">
                  <c:v>0.19509012114645918</c:v>
                </c:pt>
                <c:pt idx="12">
                  <c:v>0.19295151718732506</c:v>
                </c:pt>
                <c:pt idx="13">
                  <c:v>0.19295169632681686</c:v>
                </c:pt>
                <c:pt idx="14">
                  <c:v>0.19092221331194867</c:v>
                </c:pt>
                <c:pt idx="15">
                  <c:v>0.1895449417074088</c:v>
                </c:pt>
                <c:pt idx="16">
                  <c:v>0.1792311335648879</c:v>
                </c:pt>
                <c:pt idx="17">
                  <c:v>0.18335527398387363</c:v>
                </c:pt>
                <c:pt idx="18">
                  <c:v>0.18697068403908795</c:v>
                </c:pt>
                <c:pt idx="19">
                  <c:v>0.18265391401244313</c:v>
                </c:pt>
                <c:pt idx="20">
                  <c:v>0.17537102654958148</c:v>
                </c:pt>
                <c:pt idx="21">
                  <c:v>0.18476560055079178</c:v>
                </c:pt>
                <c:pt idx="22">
                  <c:v>0.18236423307944766</c:v>
                </c:pt>
                <c:pt idx="23">
                  <c:v>0.1897367922741905</c:v>
                </c:pt>
                <c:pt idx="24">
                  <c:v>0.19025981591518118</c:v>
                </c:pt>
                <c:pt idx="25">
                  <c:v>0.18831606694047692</c:v>
                </c:pt>
                <c:pt idx="26">
                  <c:v>0.18173383589446215</c:v>
                </c:pt>
                <c:pt idx="27">
                  <c:v>0.18173173437582546</c:v>
                </c:pt>
                <c:pt idx="28">
                  <c:v>0.17265331366858558</c:v>
                </c:pt>
                <c:pt idx="29">
                  <c:v>0.1752766469812511</c:v>
                </c:pt>
                <c:pt idx="30">
                  <c:v>0.17988221997501636</c:v>
                </c:pt>
                <c:pt idx="31">
                  <c:v>0.17247824685787946</c:v>
                </c:pt>
                <c:pt idx="32">
                  <c:v>0.16771168728464103</c:v>
                </c:pt>
                <c:pt idx="33">
                  <c:v>0.1849237183739221</c:v>
                </c:pt>
                <c:pt idx="34">
                  <c:v>0.1982008772581964</c:v>
                </c:pt>
                <c:pt idx="35">
                  <c:v>0.19501184463415724</c:v>
                </c:pt>
                <c:pt idx="36">
                  <c:v>0.18242677824267783</c:v>
                </c:pt>
                <c:pt idx="37">
                  <c:v>0.18479685452162517</c:v>
                </c:pt>
                <c:pt idx="38">
                  <c:v>0.18242111142139067</c:v>
                </c:pt>
                <c:pt idx="39">
                  <c:v>0.18836707429863322</c:v>
                </c:pt>
                <c:pt idx="40">
                  <c:v>0.17894789180588702</c:v>
                </c:pt>
                <c:pt idx="41">
                  <c:v>0.1818480917465689</c:v>
                </c:pt>
                <c:pt idx="42">
                  <c:v>0.18211622864999208</c:v>
                </c:pt>
                <c:pt idx="43">
                  <c:v>0.1748787435522365</c:v>
                </c:pt>
                <c:pt idx="44">
                  <c:v>0.17223699202430687</c:v>
                </c:pt>
                <c:pt idx="45">
                  <c:v>0.18621399176954734</c:v>
                </c:pt>
                <c:pt idx="46">
                  <c:v>0.2003267130943169</c:v>
                </c:pt>
                <c:pt idx="47">
                  <c:v>0.20219166308551784</c:v>
                </c:pt>
                <c:pt idx="48">
                  <c:v>0.19862168047231016</c:v>
                </c:pt>
                <c:pt idx="49">
                  <c:v>0.2040362858016512</c:v>
                </c:pt>
                <c:pt idx="50">
                  <c:v>0.21092607636068236</c:v>
                </c:pt>
                <c:pt idx="51">
                  <c:v>0.20336543000094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17.5525308844246</c:v>
                </c:pt>
              </c:numCache>
            </c:numRef>
          </c:xVal>
          <c:yVal>
            <c:numRef>
              <c:f>Sheet1!$B$163:$B$164</c:f>
              <c:numCache>
                <c:formatCode>General</c:formatCode>
                <c:ptCount val="2"/>
                <c:pt idx="0">
                  <c:v>0.23665655386773585</c:v>
                </c:pt>
                <c:pt idx="1">
                  <c:v>0.2366565538677358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17.5525308844246</c:v>
                </c:pt>
                <c:pt idx="1">
                  <c:v>717.5525308844246</c:v>
                </c:pt>
              </c:numCache>
            </c:numRef>
          </c:xVal>
          <c:yVal>
            <c:numRef>
              <c:f>Sheet1!$B$167:$B$168</c:f>
              <c:numCache>
                <c:formatCode>General</c:formatCode>
                <c:ptCount val="2"/>
                <c:pt idx="0">
                  <c:v>0.236656553867735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61.8204746880806</c:v>
                </c:pt>
              </c:numCache>
            </c:numRef>
          </c:xVal>
          <c:yVal>
            <c:numRef>
              <c:f>Sheet1!$B$171:$B$172</c:f>
              <c:numCache>
                <c:formatCode>General</c:formatCode>
                <c:ptCount val="2"/>
                <c:pt idx="0">
                  <c:v>0.20423736815889693</c:v>
                </c:pt>
                <c:pt idx="1">
                  <c:v>0.2042373681588969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61.8204746880806</c:v>
                </c:pt>
                <c:pt idx="1">
                  <c:v>1061.8204746880806</c:v>
                </c:pt>
              </c:numCache>
            </c:numRef>
          </c:xVal>
          <c:yVal>
            <c:numRef>
              <c:f>Sheet1!$B$175:$B$176</c:f>
              <c:numCache>
                <c:formatCode>General</c:formatCode>
                <c:ptCount val="2"/>
                <c:pt idx="0">
                  <c:v>0.2042373681588969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1.5119499787065</c:v>
                </c:pt>
              </c:numCache>
            </c:numRef>
          </c:xVal>
          <c:yVal>
            <c:numRef>
              <c:f>Sheet1!$B$179:$B$180</c:f>
              <c:numCache>
                <c:formatCode>General</c:formatCode>
                <c:ptCount val="2"/>
                <c:pt idx="0">
                  <c:v>0.19108283558943034</c:v>
                </c:pt>
                <c:pt idx="1">
                  <c:v>0.1910828355894303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1.5119499787065</c:v>
                </c:pt>
                <c:pt idx="1">
                  <c:v>1201.5119499787065</c:v>
                </c:pt>
              </c:numCache>
            </c:numRef>
          </c:xVal>
          <c:yVal>
            <c:numRef>
              <c:f>Sheet1!$B$183:$B$184</c:f>
              <c:numCache>
                <c:formatCode>General</c:formatCode>
                <c:ptCount val="2"/>
                <c:pt idx="0">
                  <c:v>0.1910828355894303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0.5912</c:v>
                </c:pt>
                <c:pt idx="1">
                  <c:v>1237.7126</c:v>
                </c:pt>
                <c:pt idx="2">
                  <c:v>1244.7866</c:v>
                </c:pt>
                <c:pt idx="3">
                  <c:v>1234.0677</c:v>
                </c:pt>
                <c:pt idx="4">
                  <c:v>1258.56</c:v>
                </c:pt>
                <c:pt idx="5">
                  <c:v>1250.2569</c:v>
                </c:pt>
                <c:pt idx="6">
                  <c:v>1164.5687</c:v>
                </c:pt>
                <c:pt idx="7">
                  <c:v>1194.7737</c:v>
                </c:pt>
                <c:pt idx="8">
                  <c:v>1247.4773</c:v>
                </c:pt>
                <c:pt idx="9">
                  <c:v>1175.6943</c:v>
                </c:pt>
                <c:pt idx="10">
                  <c:v>1205.7759</c:v>
                </c:pt>
                <c:pt idx="11">
                  <c:v>1110.92</c:v>
                </c:pt>
                <c:pt idx="12">
                  <c:v>1150.6327</c:v>
                </c:pt>
                <c:pt idx="13">
                  <c:v>1180.9382</c:v>
                </c:pt>
                <c:pt idx="14">
                  <c:v>1191.5638</c:v>
                </c:pt>
                <c:pt idx="15">
                  <c:v>1193.0121</c:v>
                </c:pt>
                <c:pt idx="16">
                  <c:v>1244.6981</c:v>
                </c:pt>
                <c:pt idx="17">
                  <c:v>1191.8941</c:v>
                </c:pt>
                <c:pt idx="18">
                  <c:v>1219.1898</c:v>
                </c:pt>
                <c:pt idx="19">
                  <c:v>1317.9428</c:v>
                </c:pt>
                <c:pt idx="20">
                  <c:v>1290.4524</c:v>
                </c:pt>
                <c:pt idx="21">
                  <c:v>1220.3404</c:v>
                </c:pt>
                <c:pt idx="22">
                  <c:v>1242.508</c:v>
                </c:pt>
                <c:pt idx="23">
                  <c:v>1225.5446</c:v>
                </c:pt>
                <c:pt idx="24">
                  <c:v>1221.3668</c:v>
                </c:pt>
                <c:pt idx="25">
                  <c:v>1212.181</c:v>
                </c:pt>
                <c:pt idx="26">
                  <c:v>1224.1385</c:v>
                </c:pt>
                <c:pt idx="27">
                  <c:v>1236.0506</c:v>
                </c:pt>
                <c:pt idx="28">
                  <c:v>1270.3037</c:v>
                </c:pt>
                <c:pt idx="29">
                  <c:v>1273.6984</c:v>
                </c:pt>
                <c:pt idx="30">
                  <c:v>1266.8522</c:v>
                </c:pt>
                <c:pt idx="31">
                  <c:v>1252.2354</c:v>
                </c:pt>
                <c:pt idx="32">
                  <c:v>1271.4732</c:v>
                </c:pt>
                <c:pt idx="33">
                  <c:v>1267.4386</c:v>
                </c:pt>
                <c:pt idx="34">
                  <c:v>1286.4124</c:v>
                </c:pt>
                <c:pt idx="35">
                  <c:v>1312.7891</c:v>
                </c:pt>
                <c:pt idx="36">
                  <c:v>1334.6724</c:v>
                </c:pt>
                <c:pt idx="37">
                  <c:v>1326.2307</c:v>
                </c:pt>
                <c:pt idx="38">
                  <c:v>1337.6582</c:v>
                </c:pt>
                <c:pt idx="39">
                  <c:v>1300.5035</c:v>
                </c:pt>
                <c:pt idx="40">
                  <c:v>1319.2248</c:v>
                </c:pt>
                <c:pt idx="41">
                  <c:v>1350.2781</c:v>
                </c:pt>
                <c:pt idx="42">
                  <c:v>1337.7756</c:v>
                </c:pt>
                <c:pt idx="43">
                  <c:v>1345.0308</c:v>
                </c:pt>
                <c:pt idx="44">
                  <c:v>1271.2854</c:v>
                </c:pt>
                <c:pt idx="45">
                  <c:v>1232.453</c:v>
                </c:pt>
                <c:pt idx="46">
                  <c:v>1224.3599</c:v>
                </c:pt>
                <c:pt idx="47">
                  <c:v>1197.6553</c:v>
                </c:pt>
                <c:pt idx="48">
                  <c:v>1178.8108</c:v>
                </c:pt>
                <c:pt idx="49">
                  <c:v>1186.8418</c:v>
                </c:pt>
                <c:pt idx="50">
                  <c:v>1142.2921</c:v>
                </c:pt>
                <c:pt idx="51">
                  <c:v>1126.4572</c:v>
                </c:pt>
                <c:pt idx="52">
                  <c:v>1061.8204746880806</c:v>
                </c:pt>
                <c:pt idx="53">
                  <c:v>717.5525308844246</c:v>
                </c:pt>
                <c:pt idx="54">
                  <c:v>1201.5119499787065</c:v>
                </c:pt>
              </c:numCache>
            </c:numRef>
          </c:xVal>
          <c:yVal>
            <c:numRef>
              <c:f>Sheet1!$B$187:$B$241</c:f>
              <c:numCache>
                <c:formatCode>General</c:formatCode>
                <c:ptCount val="55"/>
                <c:pt idx="0">
                  <c:v>0.1883444870917505</c:v>
                </c:pt>
                <c:pt idx="1">
                  <c:v>0.18767387574595934</c:v>
                </c:pt>
                <c:pt idx="2">
                  <c:v>0.1870077279856697</c:v>
                </c:pt>
                <c:pt idx="3">
                  <c:v>0.1880171104040707</c:v>
                </c:pt>
                <c:pt idx="4">
                  <c:v>0.18571070797413824</c:v>
                </c:pt>
                <c:pt idx="5">
                  <c:v>0.1864925982015147</c:v>
                </c:pt>
                <c:pt idx="6">
                  <c:v>0.19456172493508145</c:v>
                </c:pt>
                <c:pt idx="7">
                  <c:v>0.19171736628374575</c:v>
                </c:pt>
                <c:pt idx="8">
                  <c:v>0.18675434888210574</c:v>
                </c:pt>
                <c:pt idx="9">
                  <c:v>0.19351404419972965</c:v>
                </c:pt>
                <c:pt idx="10">
                  <c:v>0.19068130593765317</c:v>
                </c:pt>
                <c:pt idx="11">
                  <c:v>0.1996137409581873</c:v>
                </c:pt>
                <c:pt idx="12">
                  <c:v>0.19587405673991554</c:v>
                </c:pt>
                <c:pt idx="13">
                  <c:v>0.19302023415729497</c:v>
                </c:pt>
                <c:pt idx="14">
                  <c:v>0.19201963765719127</c:v>
                </c:pt>
                <c:pt idx="15">
                  <c:v>0.19188325346137175</c:v>
                </c:pt>
                <c:pt idx="16">
                  <c:v>0.18701606189530862</c:v>
                </c:pt>
                <c:pt idx="17">
                  <c:v>0.19198853381138642</c:v>
                </c:pt>
                <c:pt idx="18">
                  <c:v>0.1894181394912651</c:v>
                </c:pt>
                <c:pt idx="19">
                  <c:v>0.1801187205243605</c:v>
                </c:pt>
                <c:pt idx="20">
                  <c:v>0.1827074494456874</c:v>
                </c:pt>
                <c:pt idx="21">
                  <c:v>0.18930978924911224</c:v>
                </c:pt>
                <c:pt idx="22">
                  <c:v>0.18722230026254216</c:v>
                </c:pt>
                <c:pt idx="23">
                  <c:v>0.18881971769495628</c:v>
                </c:pt>
                <c:pt idx="24">
                  <c:v>0.18921313473099505</c:v>
                </c:pt>
                <c:pt idx="25">
                  <c:v>0.1900781474672784</c:v>
                </c:pt>
                <c:pt idx="26">
                  <c:v>0.18895212798132088</c:v>
                </c:pt>
                <c:pt idx="27">
                  <c:v>0.1878303837439239</c:v>
                </c:pt>
                <c:pt idx="28">
                  <c:v>0.18460482170717282</c:v>
                </c:pt>
                <c:pt idx="29">
                  <c:v>0.1842851480003796</c:v>
                </c:pt>
                <c:pt idx="30">
                  <c:v>0.18492984418309022</c:v>
                </c:pt>
                <c:pt idx="31">
                  <c:v>0.1863062858826381</c:v>
                </c:pt>
                <c:pt idx="32">
                  <c:v>0.1844946916809276</c:v>
                </c:pt>
                <c:pt idx="33">
                  <c:v>0.1848746237919913</c:v>
                </c:pt>
                <c:pt idx="34">
                  <c:v>0.1830878900664918</c:v>
                </c:pt>
                <c:pt idx="35">
                  <c:v>0.1806040365707564</c:v>
                </c:pt>
                <c:pt idx="36">
                  <c:v>0.1785433196803484</c:v>
                </c:pt>
                <c:pt idx="37">
                  <c:v>0.1793382616577356</c:v>
                </c:pt>
                <c:pt idx="38">
                  <c:v>0.17826215146114102</c:v>
                </c:pt>
                <c:pt idx="39">
                  <c:v>0.1817609527318837</c:v>
                </c:pt>
                <c:pt idx="40">
                  <c:v>0.17999799654518445</c:v>
                </c:pt>
                <c:pt idx="41">
                  <c:v>0.1770737547803269</c:v>
                </c:pt>
                <c:pt idx="42">
                  <c:v>0.17825109608270479</c:v>
                </c:pt>
                <c:pt idx="43">
                  <c:v>0.17756788499556125</c:v>
                </c:pt>
                <c:pt idx="44">
                  <c:v>0.18451237651968677</c:v>
                </c:pt>
                <c:pt idx="45">
                  <c:v>0.18816916423338081</c:v>
                </c:pt>
                <c:pt idx="46">
                  <c:v>0.18893127908195306</c:v>
                </c:pt>
                <c:pt idx="47">
                  <c:v>0.1914460104191641</c:v>
                </c:pt>
                <c:pt idx="48">
                  <c:v>0.19322056816142846</c:v>
                </c:pt>
                <c:pt idx="49">
                  <c:v>0.192464301174874</c:v>
                </c:pt>
                <c:pt idx="50">
                  <c:v>0.1966594782849356</c:v>
                </c:pt>
                <c:pt idx="51">
                  <c:v>0.1981506265983948</c:v>
                </c:pt>
                <c:pt idx="52">
                  <c:v>0.20423736815889693</c:v>
                </c:pt>
                <c:pt idx="53">
                  <c:v>0.23665655386773585</c:v>
                </c:pt>
                <c:pt idx="54">
                  <c:v>0.191082835589430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0.0"/>
          <c:min val="57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57565949182714"/>
          <c:min val="0.1187518226888305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958293413700842</c:v>
                </c:pt>
                <c:pt idx="1">
                  <c:v>0.10963181992833115</c:v>
                </c:pt>
                <c:pt idx="2">
                  <c:v>0.11291094067373882</c:v>
                </c:pt>
                <c:pt idx="3">
                  <c:v>0.10843332989764773</c:v>
                </c:pt>
                <c:pt idx="4">
                  <c:v>0.10442693625015119</c:v>
                </c:pt>
                <c:pt idx="5">
                  <c:v>0.10331078297876325</c:v>
                </c:pt>
                <c:pt idx="6">
                  <c:v>0.10540106599091956</c:v>
                </c:pt>
                <c:pt idx="7">
                  <c:v>0.10709569321371461</c:v>
                </c:pt>
                <c:pt idx="8">
                  <c:v>0.10263546734799207</c:v>
                </c:pt>
                <c:pt idx="9">
                  <c:v>0.10296478665084328</c:v>
                </c:pt>
                <c:pt idx="10">
                  <c:v>0.10181433954965097</c:v>
                </c:pt>
                <c:pt idx="11">
                  <c:v>0.10534710104371514</c:v>
                </c:pt>
                <c:pt idx="12">
                  <c:v>0.10501033669823208</c:v>
                </c:pt>
                <c:pt idx="13">
                  <c:v>0.1023190185666669</c:v>
                </c:pt>
                <c:pt idx="14">
                  <c:v>0.10391301676262647</c:v>
                </c:pt>
                <c:pt idx="15">
                  <c:v>0.10321656871495617</c:v>
                </c:pt>
                <c:pt idx="16">
                  <c:v>0.09992831444842781</c:v>
                </c:pt>
                <c:pt idx="17">
                  <c:v>0.09413772713123984</c:v>
                </c:pt>
                <c:pt idx="18">
                  <c:v>0.10161799106383756</c:v>
                </c:pt>
                <c:pt idx="19">
                  <c:v>0.10013898363940692</c:v>
                </c:pt>
                <c:pt idx="20">
                  <c:v>0.10309241533584208</c:v>
                </c:pt>
                <c:pt idx="21">
                  <c:v>0.10311478008841556</c:v>
                </c:pt>
                <c:pt idx="22">
                  <c:v>0.09623476328174393</c:v>
                </c:pt>
                <c:pt idx="23">
                  <c:v>0.09671565574734392</c:v>
                </c:pt>
                <c:pt idx="24">
                  <c:v>0.09376418699810433</c:v>
                </c:pt>
                <c:pt idx="25">
                  <c:v>0.0969198073121482</c:v>
                </c:pt>
                <c:pt idx="26">
                  <c:v>0.10006056342902882</c:v>
                </c:pt>
                <c:pt idx="27">
                  <c:v>0.09944296143916603</c:v>
                </c:pt>
                <c:pt idx="28">
                  <c:v>0.10045753176542041</c:v>
                </c:pt>
                <c:pt idx="29">
                  <c:v>0.1022003173742061</c:v>
                </c:pt>
                <c:pt idx="30">
                  <c:v>0.10011491930972571</c:v>
                </c:pt>
                <c:pt idx="31">
                  <c:v>0.09728290245305503</c:v>
                </c:pt>
                <c:pt idx="32">
                  <c:v>0.09476262174499404</c:v>
                </c:pt>
                <c:pt idx="33">
                  <c:v>0.0952421639551896</c:v>
                </c:pt>
                <c:pt idx="34">
                  <c:v>0.09706103111404436</c:v>
                </c:pt>
                <c:pt idx="35">
                  <c:v>0.10279879643779154</c:v>
                </c:pt>
                <c:pt idx="36">
                  <c:v>0.10401733200477183</c:v>
                </c:pt>
                <c:pt idx="37">
                  <c:v>0.10497592009925452</c:v>
                </c:pt>
                <c:pt idx="38">
                  <c:v>0.11021436750030283</c:v>
                </c:pt>
                <c:pt idx="39">
                  <c:v>0.11595203568418617</c:v>
                </c:pt>
                <c:pt idx="40">
                  <c:v>0.11851542255508538</c:v>
                </c:pt>
                <c:pt idx="41">
                  <c:v>0.11959015067730923</c:v>
                </c:pt>
                <c:pt idx="42">
                  <c:v>0.11891809167825451</c:v>
                </c:pt>
                <c:pt idx="43">
                  <c:v>0.11914162829590887</c:v>
                </c:pt>
                <c:pt idx="44">
                  <c:v>0.12139906455227303</c:v>
                </c:pt>
                <c:pt idx="45">
                  <c:v>0.12058988258348644</c:v>
                </c:pt>
                <c:pt idx="46">
                  <c:v>0.11783767838378645</c:v>
                </c:pt>
                <c:pt idx="47">
                  <c:v>0.11364165231712671</c:v>
                </c:pt>
                <c:pt idx="48">
                  <c:v>0.12042139730481803</c:v>
                </c:pt>
                <c:pt idx="49">
                  <c:v>0.1275120713295836</c:v>
                </c:pt>
                <c:pt idx="50">
                  <c:v>0.1126711514146942</c:v>
                </c:pt>
                <c:pt idx="51">
                  <c:v>0.11127832851111671</c:v>
                </c:pt>
                <c:pt idx="52">
                  <c:v>0.11321508123501361</c:v>
                </c:pt>
                <c:pt idx="53">
                  <c:v>0.1280582984927212</c:v>
                </c:pt>
                <c:pt idx="54">
                  <c:v>0.1220404737557968</c:v>
                </c:pt>
                <c:pt idx="55">
                  <c:v>0.11921902242135071</c:v>
                </c:pt>
                <c:pt idx="56">
                  <c:v>0.12020001195849571</c:v>
                </c:pt>
                <c:pt idx="57">
                  <c:v>0.11735004232101558</c:v>
                </c:pt>
                <c:pt idx="58">
                  <c:v>0.11694040821215429</c:v>
                </c:pt>
                <c:pt idx="59">
                  <c:v>0.11815470798418869</c:v>
                </c:pt>
                <c:pt idx="60">
                  <c:v>0.11759553118434632</c:v>
                </c:pt>
                <c:pt idx="61">
                  <c:v>0.11986643941229498</c:v>
                </c:pt>
                <c:pt idx="62">
                  <c:v>0.10874573706138066</c:v>
                </c:pt>
                <c:pt idx="63">
                  <c:v>0.11314245047313201</c:v>
                </c:pt>
                <c:pt idx="64">
                  <c:v>0.11908265750120922</c:v>
                </c:pt>
                <c:pt idx="65">
                  <c:v>0.11383437880123252</c:v>
                </c:pt>
                <c:pt idx="66">
                  <c:v>0.11766827312586979</c:v>
                </c:pt>
                <c:pt idx="67">
                  <c:v>0.11911284964854117</c:v>
                </c:pt>
                <c:pt idx="68">
                  <c:v>0.11921240692965623</c:v>
                </c:pt>
                <c:pt idx="69">
                  <c:v>0.11593599097720907</c:v>
                </c:pt>
                <c:pt idx="70">
                  <c:v>0.11202039154272504</c:v>
                </c:pt>
                <c:pt idx="71">
                  <c:v>0.11642263541528959</c:v>
                </c:pt>
                <c:pt idx="72">
                  <c:v>0.12336235708592026</c:v>
                </c:pt>
                <c:pt idx="73">
                  <c:v>0.12071732176401465</c:v>
                </c:pt>
                <c:pt idx="74">
                  <c:v>0.11851900467869796</c:v>
                </c:pt>
                <c:pt idx="75">
                  <c:v>0.11218246400674552</c:v>
                </c:pt>
                <c:pt idx="76">
                  <c:v>0.11053316281813846</c:v>
                </c:pt>
                <c:pt idx="77">
                  <c:v>0.1097427495718268</c:v>
                </c:pt>
                <c:pt idx="78">
                  <c:v>0.11388912486661215</c:v>
                </c:pt>
                <c:pt idx="79">
                  <c:v>0.1100654981077442</c:v>
                </c:pt>
                <c:pt idx="80">
                  <c:v>0.11055043917561677</c:v>
                </c:pt>
                <c:pt idx="81">
                  <c:v>0.11443254714575389</c:v>
                </c:pt>
                <c:pt idx="82">
                  <c:v>0.11512525493579413</c:v>
                </c:pt>
                <c:pt idx="83">
                  <c:v>0.10721641965831341</c:v>
                </c:pt>
                <c:pt idx="84">
                  <c:v>0.109365188850154</c:v>
                </c:pt>
                <c:pt idx="85">
                  <c:v>0.10499424692615919</c:v>
                </c:pt>
                <c:pt idx="86">
                  <c:v>0.10974464148600642</c:v>
                </c:pt>
                <c:pt idx="87">
                  <c:v>0.10693241349048244</c:v>
                </c:pt>
                <c:pt idx="88">
                  <c:v>0.11104385110378542</c:v>
                </c:pt>
                <c:pt idx="89">
                  <c:v>0.1079474649429641</c:v>
                </c:pt>
                <c:pt idx="90">
                  <c:v>0.11370259828370201</c:v>
                </c:pt>
                <c:pt idx="91">
                  <c:v>0.11872398410367606</c:v>
                </c:pt>
                <c:pt idx="92">
                  <c:v>0.11306136118632286</c:v>
                </c:pt>
                <c:pt idx="93">
                  <c:v>0.11547082964596138</c:v>
                </c:pt>
                <c:pt idx="94">
                  <c:v>0.1127192488968882</c:v>
                </c:pt>
                <c:pt idx="95">
                  <c:v>0.11006709936037215</c:v>
                </c:pt>
                <c:pt idx="96">
                  <c:v>0.1109709626790806</c:v>
                </c:pt>
                <c:pt idx="97">
                  <c:v>0.10999225919900449</c:v>
                </c:pt>
                <c:pt idx="98">
                  <c:v>0.11209804807455911</c:v>
                </c:pt>
                <c:pt idx="99">
                  <c:v>0.10963008901964096</c:v>
                </c:pt>
                <c:pt idx="100">
                  <c:v>0.11233512187068409</c:v>
                </c:pt>
                <c:pt idx="101">
                  <c:v>0.11401258010728112</c:v>
                </c:pt>
                <c:pt idx="102">
                  <c:v>0.11176698484461607</c:v>
                </c:pt>
                <c:pt idx="103">
                  <c:v>0.10995434375614935</c:v>
                </c:pt>
                <c:pt idx="104">
                  <c:v>0.11170731710537689</c:v>
                </c:pt>
              </c:numCache>
            </c:numRef>
          </c:xVal>
          <c:yVal>
            <c:numRef>
              <c:f>Sheet1!$B$2:$B$106</c:f>
              <c:numCache>
                <c:formatCode>General</c:formatCode>
                <c:ptCount val="105"/>
                <c:pt idx="0">
                  <c:v>0.22226506555029193</c:v>
                </c:pt>
                <c:pt idx="1">
                  <c:v>0.21748878923766815</c:v>
                </c:pt>
                <c:pt idx="2">
                  <c:v>0.21873943899966206</c:v>
                </c:pt>
                <c:pt idx="3">
                  <c:v>0.21880877742946708</c:v>
                </c:pt>
                <c:pt idx="4">
                  <c:v>0.23012847663419456</c:v>
                </c:pt>
                <c:pt idx="5">
                  <c:v>0.23601854534917416</c:v>
                </c:pt>
                <c:pt idx="6">
                  <c:v>0.2631891967534285</c:v>
                </c:pt>
                <c:pt idx="7">
                  <c:v>0.264646382909856</c:v>
                </c:pt>
                <c:pt idx="8">
                  <c:v>0.2586243119458801</c:v>
                </c:pt>
                <c:pt idx="9">
                  <c:v>0.24723282141843525</c:v>
                </c:pt>
                <c:pt idx="10">
                  <c:v>0.240457548323954</c:v>
                </c:pt>
                <c:pt idx="11">
                  <c:v>0.21958603645350633</c:v>
                </c:pt>
                <c:pt idx="12">
                  <c:v>0.20595766473199045</c:v>
                </c:pt>
                <c:pt idx="13">
                  <c:v>0.19534355479841</c:v>
                </c:pt>
                <c:pt idx="14">
                  <c:v>0.1779950952193527</c:v>
                </c:pt>
                <c:pt idx="15">
                  <c:v>0.168645487930973</c:v>
                </c:pt>
                <c:pt idx="16">
                  <c:v>0.16324619268670088</c:v>
                </c:pt>
                <c:pt idx="17">
                  <c:v>0.15663621708758732</c:v>
                </c:pt>
                <c:pt idx="18">
                  <c:v>0.1496506308751822</c:v>
                </c:pt>
                <c:pt idx="19">
                  <c:v>0.1484397783610382</c:v>
                </c:pt>
                <c:pt idx="20">
                  <c:v>0.15575458594760286</c:v>
                </c:pt>
                <c:pt idx="21">
                  <c:v>0.16326167003207032</c:v>
                </c:pt>
                <c:pt idx="22">
                  <c:v>0.17795461243737107</c:v>
                </c:pt>
                <c:pt idx="23">
                  <c:v>0.1898969839890778</c:v>
                </c:pt>
                <c:pt idx="24">
                  <c:v>0.19180421172453044</c:v>
                </c:pt>
                <c:pt idx="25">
                  <c:v>0.19442463533225285</c:v>
                </c:pt>
                <c:pt idx="26">
                  <c:v>0.20790259591086607</c:v>
                </c:pt>
                <c:pt idx="27">
                  <c:v>0.2096837172979305</c:v>
                </c:pt>
                <c:pt idx="28">
                  <c:v>0.21572077185017027</c:v>
                </c:pt>
                <c:pt idx="29">
                  <c:v>0.20905013062552374</c:v>
                </c:pt>
                <c:pt idx="30">
                  <c:v>0.21441727532550015</c:v>
                </c:pt>
                <c:pt idx="31">
                  <c:v>0.21806815395930376</c:v>
                </c:pt>
                <c:pt idx="32">
                  <c:v>0.22538531278331822</c:v>
                </c:pt>
                <c:pt idx="33">
                  <c:v>0.22100081250298714</c:v>
                </c:pt>
                <c:pt idx="34">
                  <c:v>0.21928327645051193</c:v>
                </c:pt>
                <c:pt idx="35">
                  <c:v>0.23582775119617225</c:v>
                </c:pt>
                <c:pt idx="36">
                  <c:v>0.20781902445739459</c:v>
                </c:pt>
                <c:pt idx="37">
                  <c:v>0.20361056699666472</c:v>
                </c:pt>
                <c:pt idx="38">
                  <c:v>0.1926458832933653</c:v>
                </c:pt>
                <c:pt idx="39">
                  <c:v>0.18791795448159596</c:v>
                </c:pt>
                <c:pt idx="40">
                  <c:v>0.18927819961577166</c:v>
                </c:pt>
                <c:pt idx="41">
                  <c:v>0.18410232983097305</c:v>
                </c:pt>
                <c:pt idx="42">
                  <c:v>0.1844411662617147</c:v>
                </c:pt>
                <c:pt idx="43">
                  <c:v>0.17869283065512978</c:v>
                </c:pt>
                <c:pt idx="44">
                  <c:v>0.1801480101433525</c:v>
                </c:pt>
                <c:pt idx="45">
                  <c:v>0.19204877130213727</c:v>
                </c:pt>
                <c:pt idx="46">
                  <c:v>0.19389858458155834</c:v>
                </c:pt>
                <c:pt idx="47">
                  <c:v>0.19004100761570006</c:v>
                </c:pt>
                <c:pt idx="48">
                  <c:v>0.187392393842797</c:v>
                </c:pt>
                <c:pt idx="49">
                  <c:v>0.20137562094000763</c:v>
                </c:pt>
                <c:pt idx="50">
                  <c:v>0.19135440180586907</c:v>
                </c:pt>
                <c:pt idx="51">
                  <c:v>0.1846539978486913</c:v>
                </c:pt>
                <c:pt idx="52">
                  <c:v>0.18815193402253455</c:v>
                </c:pt>
                <c:pt idx="53">
                  <c:v>0.1812184824674563</c:v>
                </c:pt>
                <c:pt idx="54">
                  <c:v>0.1860592401802962</c:v>
                </c:pt>
                <c:pt idx="55">
                  <c:v>0.18362143188290617</c:v>
                </c:pt>
                <c:pt idx="56">
                  <c:v>0.18648420341273864</c:v>
                </c:pt>
                <c:pt idx="57">
                  <c:v>0.18117511188104518</c:v>
                </c:pt>
                <c:pt idx="58">
                  <c:v>0.19146386921561317</c:v>
                </c:pt>
                <c:pt idx="59">
                  <c:v>0.19048030109457548</c:v>
                </c:pt>
                <c:pt idx="60">
                  <c:v>0.19382582445748134</c:v>
                </c:pt>
                <c:pt idx="61">
                  <c:v>0.1902548569041153</c:v>
                </c:pt>
                <c:pt idx="62">
                  <c:v>0.2036891381016416</c:v>
                </c:pt>
                <c:pt idx="63">
                  <c:v>0.20864302643992913</c:v>
                </c:pt>
                <c:pt idx="64">
                  <c:v>0.19630329195898544</c:v>
                </c:pt>
                <c:pt idx="65">
                  <c:v>0.19063234142521535</c:v>
                </c:pt>
                <c:pt idx="66">
                  <c:v>0.19000101822624987</c:v>
                </c:pt>
                <c:pt idx="67">
                  <c:v>0.17937626829007797</c:v>
                </c:pt>
                <c:pt idx="68">
                  <c:v>0.16788459713390907</c:v>
                </c:pt>
                <c:pt idx="69">
                  <c:v>0.1609119170984456</c:v>
                </c:pt>
                <c:pt idx="70">
                  <c:v>0.16178092986603626</c:v>
                </c:pt>
                <c:pt idx="71">
                  <c:v>0.16205719163465643</c:v>
                </c:pt>
                <c:pt idx="72">
                  <c:v>0.16154716676097325</c:v>
                </c:pt>
                <c:pt idx="73">
                  <c:v>0.16443455564588594</c:v>
                </c:pt>
                <c:pt idx="74">
                  <c:v>0.16447449293177627</c:v>
                </c:pt>
                <c:pt idx="75">
                  <c:v>0.17549175203193382</c:v>
                </c:pt>
                <c:pt idx="76">
                  <c:v>0.17818368922047853</c:v>
                </c:pt>
                <c:pt idx="77">
                  <c:v>0.17209963663173417</c:v>
                </c:pt>
                <c:pt idx="78">
                  <c:v>0.17405100481842756</c:v>
                </c:pt>
                <c:pt idx="79">
                  <c:v>0.1605390891252711</c:v>
                </c:pt>
                <c:pt idx="80">
                  <c:v>0.15557729941291584</c:v>
                </c:pt>
                <c:pt idx="81">
                  <c:v>0.1628547688809201</c:v>
                </c:pt>
                <c:pt idx="82">
                  <c:v>0.1626240974729242</c:v>
                </c:pt>
                <c:pt idx="83">
                  <c:v>0.16220834702596124</c:v>
                </c:pt>
                <c:pt idx="84">
                  <c:v>0.16348265992145378</c:v>
                </c:pt>
                <c:pt idx="85">
                  <c:v>0.16821068577754472</c:v>
                </c:pt>
                <c:pt idx="86">
                  <c:v>0.1764033081119127</c:v>
                </c:pt>
                <c:pt idx="87">
                  <c:v>0.19161401012679416</c:v>
                </c:pt>
                <c:pt idx="88">
                  <c:v>0.18565601991630912</c:v>
                </c:pt>
                <c:pt idx="89">
                  <c:v>0.18069021237303787</c:v>
                </c:pt>
                <c:pt idx="90">
                  <c:v>0.1697967889092956</c:v>
                </c:pt>
                <c:pt idx="91">
                  <c:v>0.16111781956184235</c:v>
                </c:pt>
                <c:pt idx="92">
                  <c:v>0.1722055773219636</c:v>
                </c:pt>
                <c:pt idx="93">
                  <c:v>0.16393442622950818</c:v>
                </c:pt>
                <c:pt idx="94">
                  <c:v>0.16772088353413656</c:v>
                </c:pt>
                <c:pt idx="95">
                  <c:v>0.1712412039936632</c:v>
                </c:pt>
                <c:pt idx="96">
                  <c:v>0.17387654450536477</c:v>
                </c:pt>
                <c:pt idx="97">
                  <c:v>0.17686965320577683</c:v>
                </c:pt>
                <c:pt idx="98">
                  <c:v>0.18162422985663867</c:v>
                </c:pt>
                <c:pt idx="99">
                  <c:v>0.18420596994251678</c:v>
                </c:pt>
                <c:pt idx="100">
                  <c:v>0.1880809529200156</c:v>
                </c:pt>
                <c:pt idx="101">
                  <c:v>0.1839502684374117</c:v>
                </c:pt>
                <c:pt idx="102">
                  <c:v>0.17164885702691735</c:v>
                </c:pt>
                <c:pt idx="103">
                  <c:v>0.17687576250508336</c:v>
                </c:pt>
                <c:pt idx="104">
                  <c:v>0.1747592827066340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80477147363577</c:v>
                </c:pt>
                <c:pt idx="1">
                  <c:v>0.12284942860014168</c:v>
                </c:pt>
                <c:pt idx="2">
                  <c:v>0.12098130697197955</c:v>
                </c:pt>
                <c:pt idx="3">
                  <c:v>0.11882769372634691</c:v>
                </c:pt>
                <c:pt idx="4">
                  <c:v>0.12094115698028796</c:v>
                </c:pt>
                <c:pt idx="5">
                  <c:v>0.11935133145615402</c:v>
                </c:pt>
                <c:pt idx="6">
                  <c:v>0.1119303043950799</c:v>
                </c:pt>
                <c:pt idx="7">
                  <c:v>0.11257455495984746</c:v>
                </c:pt>
                <c:pt idx="8">
                  <c:v>0.12131503023327675</c:v>
                </c:pt>
                <c:pt idx="9">
                  <c:v>0.11529995334629607</c:v>
                </c:pt>
                <c:pt idx="10">
                  <c:v>0.11865748642049224</c:v>
                </c:pt>
                <c:pt idx="11">
                  <c:v>0.10818758948152365</c:v>
                </c:pt>
                <c:pt idx="12">
                  <c:v>0.11121446328411423</c:v>
                </c:pt>
                <c:pt idx="13">
                  <c:v>0.11270695179168337</c:v>
                </c:pt>
                <c:pt idx="14">
                  <c:v>0.11207452629367921</c:v>
                </c:pt>
                <c:pt idx="15">
                  <c:v>0.1090894970849625</c:v>
                </c:pt>
                <c:pt idx="16">
                  <c:v>0.11239909373340187</c:v>
                </c:pt>
                <c:pt idx="17">
                  <c:v>0.10673028822675366</c:v>
                </c:pt>
                <c:pt idx="18">
                  <c:v>0.10817662217268426</c:v>
                </c:pt>
                <c:pt idx="19">
                  <c:v>0.11902274437324004</c:v>
                </c:pt>
                <c:pt idx="20">
                  <c:v>0.11419023263633869</c:v>
                </c:pt>
                <c:pt idx="21">
                  <c:v>0.11043063390424404</c:v>
                </c:pt>
                <c:pt idx="22">
                  <c:v>0.11446177701386485</c:v>
                </c:pt>
                <c:pt idx="23">
                  <c:v>0.11390333643771752</c:v>
                </c:pt>
                <c:pt idx="24">
                  <c:v>0.11192993988711301</c:v>
                </c:pt>
                <c:pt idx="25">
                  <c:v>0.11000412544623515</c:v>
                </c:pt>
                <c:pt idx="26">
                  <c:v>0.10959910408213874</c:v>
                </c:pt>
                <c:pt idx="27">
                  <c:v>0.10958888102115492</c:v>
                </c:pt>
                <c:pt idx="28">
                  <c:v>0.11556880698630735</c:v>
                </c:pt>
                <c:pt idx="29">
                  <c:v>0.11586022183935632</c:v>
                </c:pt>
                <c:pt idx="30">
                  <c:v>0.1147383217268366</c:v>
                </c:pt>
                <c:pt idx="31">
                  <c:v>0.11046517792656566</c:v>
                </c:pt>
                <c:pt idx="32">
                  <c:v>0.1161296145609275</c:v>
                </c:pt>
                <c:pt idx="33">
                  <c:v>0.11805916458145141</c:v>
                </c:pt>
                <c:pt idx="34">
                  <c:v>0.11757218233152986</c:v>
                </c:pt>
                <c:pt idx="35">
                  <c:v>0.11723835649713565</c:v>
                </c:pt>
                <c:pt idx="36">
                  <c:v>0.12004921121036186</c:v>
                </c:pt>
                <c:pt idx="37">
                  <c:v>0.11934610252476585</c:v>
                </c:pt>
                <c:pt idx="38">
                  <c:v>0.11934964021387531</c:v>
                </c:pt>
                <c:pt idx="39">
                  <c:v>0.11905721295678448</c:v>
                </c:pt>
                <c:pt idx="40">
                  <c:v>0.11982031650061498</c:v>
                </c:pt>
                <c:pt idx="41">
                  <c:v>0.12347788496976526</c:v>
                </c:pt>
                <c:pt idx="42">
                  <c:v>0.12230965283959681</c:v>
                </c:pt>
                <c:pt idx="43">
                  <c:v>0.12521345029770561</c:v>
                </c:pt>
                <c:pt idx="44">
                  <c:v>0.12249950541449117</c:v>
                </c:pt>
                <c:pt idx="45">
                  <c:v>0.12269806662286203</c:v>
                </c:pt>
                <c:pt idx="46">
                  <c:v>0.12173166398267926</c:v>
                </c:pt>
                <c:pt idx="47">
                  <c:v>0.11548229068371797</c:v>
                </c:pt>
                <c:pt idx="48">
                  <c:v>0.11436927200191457</c:v>
                </c:pt>
                <c:pt idx="49">
                  <c:v>0.12021953250227434</c:v>
                </c:pt>
                <c:pt idx="50">
                  <c:v>0.12063054591629195</c:v>
                </c:pt>
                <c:pt idx="51">
                  <c:v>0.11213266484130514</c:v>
                </c:pt>
              </c:numCache>
            </c:numRef>
          </c:xVal>
          <c:yVal>
            <c:numRef>
              <c:f>Sheet1!$B$109:$B$160</c:f>
              <c:numCache>
                <c:formatCode>General</c:formatCode>
                <c:ptCount val="52"/>
                <c:pt idx="0">
                  <c:v>0.18217210363807224</c:v>
                </c:pt>
                <c:pt idx="1">
                  <c:v>0.180339502668332</c:v>
                </c:pt>
                <c:pt idx="2">
                  <c:v>0.19413928707344918</c:v>
                </c:pt>
                <c:pt idx="3">
                  <c:v>0.20516422332328754</c:v>
                </c:pt>
                <c:pt idx="4">
                  <c:v>0.19036010493123826</c:v>
                </c:pt>
                <c:pt idx="5">
                  <c:v>0.1889782655018112</c:v>
                </c:pt>
                <c:pt idx="6">
                  <c:v>0.19689534301452177</c:v>
                </c:pt>
                <c:pt idx="7">
                  <c:v>0.19303298361105398</c:v>
                </c:pt>
                <c:pt idx="8">
                  <c:v>0.18199813258636788</c:v>
                </c:pt>
                <c:pt idx="9">
                  <c:v>0.19081744616650664</c:v>
                </c:pt>
                <c:pt idx="10">
                  <c:v>0.19138913594887505</c:v>
                </c:pt>
                <c:pt idx="11">
                  <c:v>0.19509012114645918</c:v>
                </c:pt>
                <c:pt idx="12">
                  <c:v>0.19295151718732506</c:v>
                </c:pt>
                <c:pt idx="13">
                  <c:v>0.19295169632681686</c:v>
                </c:pt>
                <c:pt idx="14">
                  <c:v>0.19092221331194867</c:v>
                </c:pt>
                <c:pt idx="15">
                  <c:v>0.1895449417074088</c:v>
                </c:pt>
                <c:pt idx="16">
                  <c:v>0.1792311335648879</c:v>
                </c:pt>
                <c:pt idx="17">
                  <c:v>0.18335527398387363</c:v>
                </c:pt>
                <c:pt idx="18">
                  <c:v>0.18697068403908795</c:v>
                </c:pt>
                <c:pt idx="19">
                  <c:v>0.18265391401244313</c:v>
                </c:pt>
                <c:pt idx="20">
                  <c:v>0.17537102654958148</c:v>
                </c:pt>
                <c:pt idx="21">
                  <c:v>0.18476560055079178</c:v>
                </c:pt>
                <c:pt idx="22">
                  <c:v>0.18236423307944766</c:v>
                </c:pt>
                <c:pt idx="23">
                  <c:v>0.1897367922741905</c:v>
                </c:pt>
                <c:pt idx="24">
                  <c:v>0.19025981591518118</c:v>
                </c:pt>
                <c:pt idx="25">
                  <c:v>0.18831606694047692</c:v>
                </c:pt>
                <c:pt idx="26">
                  <c:v>0.18173383589446215</c:v>
                </c:pt>
                <c:pt idx="27">
                  <c:v>0.18173173437582546</c:v>
                </c:pt>
                <c:pt idx="28">
                  <c:v>0.17265331366858558</c:v>
                </c:pt>
                <c:pt idx="29">
                  <c:v>0.1752766469812511</c:v>
                </c:pt>
                <c:pt idx="30">
                  <c:v>0.17988221997501636</c:v>
                </c:pt>
                <c:pt idx="31">
                  <c:v>0.17247824685787946</c:v>
                </c:pt>
                <c:pt idx="32">
                  <c:v>0.16771168728464103</c:v>
                </c:pt>
                <c:pt idx="33">
                  <c:v>0.1849237183739221</c:v>
                </c:pt>
                <c:pt idx="34">
                  <c:v>0.1982008772581964</c:v>
                </c:pt>
                <c:pt idx="35">
                  <c:v>0.19501184463415724</c:v>
                </c:pt>
                <c:pt idx="36">
                  <c:v>0.18242677824267783</c:v>
                </c:pt>
                <c:pt idx="37">
                  <c:v>0.18479685452162517</c:v>
                </c:pt>
                <c:pt idx="38">
                  <c:v>0.18242111142139067</c:v>
                </c:pt>
                <c:pt idx="39">
                  <c:v>0.18836707429863322</c:v>
                </c:pt>
                <c:pt idx="40">
                  <c:v>0.17894789180588702</c:v>
                </c:pt>
                <c:pt idx="41">
                  <c:v>0.1818480917465689</c:v>
                </c:pt>
                <c:pt idx="42">
                  <c:v>0.18211622864999208</c:v>
                </c:pt>
                <c:pt idx="43">
                  <c:v>0.1748787435522365</c:v>
                </c:pt>
                <c:pt idx="44">
                  <c:v>0.17223699202430687</c:v>
                </c:pt>
                <c:pt idx="45">
                  <c:v>0.18621399176954734</c:v>
                </c:pt>
                <c:pt idx="46">
                  <c:v>0.2003267130943169</c:v>
                </c:pt>
                <c:pt idx="47">
                  <c:v>0.20219166308551784</c:v>
                </c:pt>
                <c:pt idx="48">
                  <c:v>0.19862168047231016</c:v>
                </c:pt>
                <c:pt idx="49">
                  <c:v>0.2040362858016512</c:v>
                </c:pt>
                <c:pt idx="50">
                  <c:v>0.21092607636068236</c:v>
                </c:pt>
                <c:pt idx="51">
                  <c:v>0.20336543000094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293374666630115</c:v>
                </c:pt>
              </c:numCache>
            </c:numRef>
          </c:xVal>
          <c:yVal>
            <c:numRef>
              <c:f>Sheet1!$B$163:$B$164</c:f>
              <c:numCache>
                <c:formatCode>General</c:formatCode>
                <c:ptCount val="2"/>
                <c:pt idx="0">
                  <c:v>0.23665655386773585</c:v>
                </c:pt>
                <c:pt idx="1">
                  <c:v>0.2366565538677358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293374666630115</c:v>
                </c:pt>
                <c:pt idx="1">
                  <c:v>-0.4293374666630115</c:v>
                </c:pt>
              </c:numCache>
            </c:numRef>
          </c:xVal>
          <c:yVal>
            <c:numRef>
              <c:f>Sheet1!$B$167:$B$168</c:f>
              <c:numCache>
                <c:formatCode>General</c:formatCode>
                <c:ptCount val="2"/>
                <c:pt idx="0">
                  <c:v>0.236656553867735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7056887974519166</c:v>
                </c:pt>
              </c:numCache>
            </c:numRef>
          </c:xVal>
          <c:yVal>
            <c:numRef>
              <c:f>Sheet1!$B$171:$B$172</c:f>
              <c:numCache>
                <c:formatCode>General</c:formatCode>
                <c:ptCount val="2"/>
                <c:pt idx="0">
                  <c:v>0.20423736815889693</c:v>
                </c:pt>
                <c:pt idx="1">
                  <c:v>0.2042373681588969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7056887974519166</c:v>
                </c:pt>
                <c:pt idx="1">
                  <c:v>-0.07056887974519166</c:v>
                </c:pt>
              </c:numCache>
            </c:numRef>
          </c:xVal>
          <c:yVal>
            <c:numRef>
              <c:f>Sheet1!$B$175:$B$176</c:f>
              <c:numCache>
                <c:formatCode>General</c:formatCode>
                <c:ptCount val="2"/>
                <c:pt idx="0">
                  <c:v>0.2042373681588969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7500643185880199</c:v>
                </c:pt>
              </c:numCache>
            </c:numRef>
          </c:xVal>
          <c:yVal>
            <c:numRef>
              <c:f>Sheet1!$B$179:$B$180</c:f>
              <c:numCache>
                <c:formatCode>General</c:formatCode>
                <c:ptCount val="2"/>
                <c:pt idx="0">
                  <c:v>0.19108283558943034</c:v>
                </c:pt>
                <c:pt idx="1">
                  <c:v>0.1910828355894303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7500643185880199</c:v>
                </c:pt>
                <c:pt idx="1">
                  <c:v>0.07500643185880199</c:v>
                </c:pt>
              </c:numCache>
            </c:numRef>
          </c:xVal>
          <c:yVal>
            <c:numRef>
              <c:f>Sheet1!$B$183:$B$184</c:f>
              <c:numCache>
                <c:formatCode>General</c:formatCode>
                <c:ptCount val="2"/>
                <c:pt idx="0">
                  <c:v>0.1910828355894303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80477147363577</c:v>
                </c:pt>
                <c:pt idx="1">
                  <c:v>0.12284942860014168</c:v>
                </c:pt>
                <c:pt idx="2">
                  <c:v>0.12098130697197955</c:v>
                </c:pt>
                <c:pt idx="3">
                  <c:v>0.11882769372634691</c:v>
                </c:pt>
                <c:pt idx="4">
                  <c:v>0.12094115698028796</c:v>
                </c:pt>
                <c:pt idx="5">
                  <c:v>0.11935133145615402</c:v>
                </c:pt>
                <c:pt idx="6">
                  <c:v>0.1119303043950799</c:v>
                </c:pt>
                <c:pt idx="7">
                  <c:v>0.11257455495984746</c:v>
                </c:pt>
                <c:pt idx="8">
                  <c:v>0.12131503023327675</c:v>
                </c:pt>
                <c:pt idx="9">
                  <c:v>0.11529995334629607</c:v>
                </c:pt>
                <c:pt idx="10">
                  <c:v>0.11865748642049224</c:v>
                </c:pt>
                <c:pt idx="11">
                  <c:v>0.10818758948152365</c:v>
                </c:pt>
                <c:pt idx="12">
                  <c:v>0.11121446328411423</c:v>
                </c:pt>
                <c:pt idx="13">
                  <c:v>0.11270695179168337</c:v>
                </c:pt>
                <c:pt idx="14">
                  <c:v>0.11207452629367921</c:v>
                </c:pt>
                <c:pt idx="15">
                  <c:v>0.1090894970849625</c:v>
                </c:pt>
                <c:pt idx="16">
                  <c:v>0.11239909373340187</c:v>
                </c:pt>
                <c:pt idx="17">
                  <c:v>0.10673028822675366</c:v>
                </c:pt>
                <c:pt idx="18">
                  <c:v>0.10817662217268426</c:v>
                </c:pt>
                <c:pt idx="19">
                  <c:v>0.11902274437324004</c:v>
                </c:pt>
                <c:pt idx="20">
                  <c:v>0.11419023263633869</c:v>
                </c:pt>
                <c:pt idx="21">
                  <c:v>0.11043063390424404</c:v>
                </c:pt>
                <c:pt idx="22">
                  <c:v>0.11446177701386485</c:v>
                </c:pt>
                <c:pt idx="23">
                  <c:v>0.11390333643771752</c:v>
                </c:pt>
                <c:pt idx="24">
                  <c:v>0.11192993988711301</c:v>
                </c:pt>
                <c:pt idx="25">
                  <c:v>0.11000412544623515</c:v>
                </c:pt>
                <c:pt idx="26">
                  <c:v>0.10959910408213874</c:v>
                </c:pt>
                <c:pt idx="27">
                  <c:v>0.10958888102115492</c:v>
                </c:pt>
                <c:pt idx="28">
                  <c:v>0.11556880698630735</c:v>
                </c:pt>
                <c:pt idx="29">
                  <c:v>0.11586022183935632</c:v>
                </c:pt>
                <c:pt idx="30">
                  <c:v>0.1147383217268366</c:v>
                </c:pt>
                <c:pt idx="31">
                  <c:v>0.11046517792656566</c:v>
                </c:pt>
                <c:pt idx="32">
                  <c:v>0.1161296145609275</c:v>
                </c:pt>
                <c:pt idx="33">
                  <c:v>0.11805916458145141</c:v>
                </c:pt>
                <c:pt idx="34">
                  <c:v>0.11757218233152986</c:v>
                </c:pt>
                <c:pt idx="35">
                  <c:v>0.11723835649713565</c:v>
                </c:pt>
                <c:pt idx="36">
                  <c:v>0.12004921121036186</c:v>
                </c:pt>
                <c:pt idx="37">
                  <c:v>0.11934610252476585</c:v>
                </c:pt>
                <c:pt idx="38">
                  <c:v>0.11934964021387531</c:v>
                </c:pt>
                <c:pt idx="39">
                  <c:v>0.11905721295678448</c:v>
                </c:pt>
                <c:pt idx="40">
                  <c:v>0.11982031650061498</c:v>
                </c:pt>
                <c:pt idx="41">
                  <c:v>0.12347788496976526</c:v>
                </c:pt>
                <c:pt idx="42">
                  <c:v>0.12230965283959681</c:v>
                </c:pt>
                <c:pt idx="43">
                  <c:v>0.12521345029770561</c:v>
                </c:pt>
                <c:pt idx="44">
                  <c:v>0.12249950541449117</c:v>
                </c:pt>
                <c:pt idx="45">
                  <c:v>0.12269806662286203</c:v>
                </c:pt>
                <c:pt idx="46">
                  <c:v>0.12173166398267926</c:v>
                </c:pt>
                <c:pt idx="47">
                  <c:v>0.11548229068371797</c:v>
                </c:pt>
                <c:pt idx="48">
                  <c:v>0.11436927200191457</c:v>
                </c:pt>
                <c:pt idx="49">
                  <c:v>0.12021953250227434</c:v>
                </c:pt>
                <c:pt idx="50">
                  <c:v>0.12063054591629195</c:v>
                </c:pt>
                <c:pt idx="51">
                  <c:v>0.11213266484130514</c:v>
                </c:pt>
                <c:pt idx="52">
                  <c:v>-0.07056887974519166</c:v>
                </c:pt>
                <c:pt idx="53">
                  <c:v>-0.4293374666630115</c:v>
                </c:pt>
                <c:pt idx="54">
                  <c:v>0.07500643185880199</c:v>
                </c:pt>
              </c:numCache>
            </c:numRef>
          </c:xVal>
          <c:yVal>
            <c:numRef>
              <c:f>Sheet1!$B$187:$B$241</c:f>
              <c:numCache>
                <c:formatCode>General</c:formatCode>
                <c:ptCount val="55"/>
                <c:pt idx="0">
                  <c:v>0.1871935225513472</c:v>
                </c:pt>
                <c:pt idx="1">
                  <c:v>0.18675962822740969</c:v>
                </c:pt>
                <c:pt idx="2">
                  <c:v>0.18692843615596993</c:v>
                </c:pt>
                <c:pt idx="3">
                  <c:v>0.18712304178840558</c:v>
                </c:pt>
                <c:pt idx="4">
                  <c:v>0.18693206420503644</c:v>
                </c:pt>
                <c:pt idx="5">
                  <c:v>0.18707572463348793</c:v>
                </c:pt>
                <c:pt idx="6">
                  <c:v>0.18774630634887762</c:v>
                </c:pt>
                <c:pt idx="7">
                  <c:v>0.18768809033035252</c:v>
                </c:pt>
                <c:pt idx="8">
                  <c:v>0.1868982801256544</c:v>
                </c:pt>
                <c:pt idx="9">
                  <c:v>0.18744181682803757</c:v>
                </c:pt>
                <c:pt idx="10">
                  <c:v>0.18713842212675935</c:v>
                </c:pt>
                <c:pt idx="11">
                  <c:v>0.1880845070003901</c:v>
                </c:pt>
                <c:pt idx="12">
                  <c:v>0.18781099146000674</c:v>
                </c:pt>
                <c:pt idx="13">
                  <c:v>0.1876761266366651</c:v>
                </c:pt>
                <c:pt idx="14">
                  <c:v>0.18773327411393714</c:v>
                </c:pt>
                <c:pt idx="15">
                  <c:v>0.18800300847695667</c:v>
                </c:pt>
                <c:pt idx="16">
                  <c:v>0.1877039454255093</c:v>
                </c:pt>
                <c:pt idx="17">
                  <c:v>0.188216192219595</c:v>
                </c:pt>
                <c:pt idx="18">
                  <c:v>0.18808549803259011</c:v>
                </c:pt>
                <c:pt idx="19">
                  <c:v>0.18710541654646737</c:v>
                </c:pt>
                <c:pt idx="20">
                  <c:v>0.18754209383971832</c:v>
                </c:pt>
                <c:pt idx="21">
                  <c:v>0.18788182015336688</c:v>
                </c:pt>
                <c:pt idx="22">
                  <c:v>0.18751755644172916</c:v>
                </c:pt>
                <c:pt idx="23">
                  <c:v>0.18756801846489848</c:v>
                </c:pt>
                <c:pt idx="24">
                  <c:v>0.18774633928668738</c:v>
                </c:pt>
                <c:pt idx="25">
                  <c:v>0.18792036047548752</c:v>
                </c:pt>
                <c:pt idx="26">
                  <c:v>0.18795695917252367</c:v>
                </c:pt>
                <c:pt idx="27">
                  <c:v>0.18795788295271132</c:v>
                </c:pt>
                <c:pt idx="28">
                  <c:v>0.18741752257151165</c:v>
                </c:pt>
                <c:pt idx="29">
                  <c:v>0.1873911896299337</c:v>
                </c:pt>
                <c:pt idx="30">
                  <c:v>0.18749256720149593</c:v>
                </c:pt>
                <c:pt idx="31">
                  <c:v>0.1878786986730712</c:v>
                </c:pt>
                <c:pt idx="32">
                  <c:v>0.18736684666071152</c:v>
                </c:pt>
                <c:pt idx="33">
                  <c:v>0.18719248791601967</c:v>
                </c:pt>
                <c:pt idx="34">
                  <c:v>0.1872364927942972</c:v>
                </c:pt>
                <c:pt idx="35">
                  <c:v>0.18726665809336254</c:v>
                </c:pt>
                <c:pt idx="36">
                  <c:v>0.18701266255341992</c:v>
                </c:pt>
                <c:pt idx="37">
                  <c:v>0.1870761971322069</c:v>
                </c:pt>
                <c:pt idx="38">
                  <c:v>0.18707587745817636</c:v>
                </c:pt>
                <c:pt idx="39">
                  <c:v>0.18710230188299962</c:v>
                </c:pt>
                <c:pt idx="40">
                  <c:v>0.18703334602564586</c:v>
                </c:pt>
                <c:pt idx="41">
                  <c:v>0.1867028394100504</c:v>
                </c:pt>
                <c:pt idx="42">
                  <c:v>0.18680840365329793</c:v>
                </c:pt>
                <c:pt idx="43">
                  <c:v>0.18654600958512146</c:v>
                </c:pt>
                <c:pt idx="44">
                  <c:v>0.18679124812155062</c:v>
                </c:pt>
                <c:pt idx="45">
                  <c:v>0.18677330565689937</c:v>
                </c:pt>
                <c:pt idx="46">
                  <c:v>0.18686063210576925</c:v>
                </c:pt>
                <c:pt idx="47">
                  <c:v>0.18742534039108324</c:v>
                </c:pt>
                <c:pt idx="48">
                  <c:v>0.1875259154153706</c:v>
                </c:pt>
                <c:pt idx="49">
                  <c:v>0.18699727191501392</c:v>
                </c:pt>
                <c:pt idx="50">
                  <c:v>0.18696013176204698</c:v>
                </c:pt>
                <c:pt idx="51">
                  <c:v>0.18772802057602703</c:v>
                </c:pt>
                <c:pt idx="52">
                  <c:v>0.20423736815889693</c:v>
                </c:pt>
                <c:pt idx="53">
                  <c:v>0.23665655386773585</c:v>
                </c:pt>
                <c:pt idx="54">
                  <c:v>0.1910828355894303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57565949182714"/>
          <c:min val="0.1187518226888305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0.1602</c:v>
                </c:pt>
                <c:pt idx="1">
                  <c:v>896.6671</c:v>
                </c:pt>
                <c:pt idx="2">
                  <c:v>925.3649</c:v>
                </c:pt>
                <c:pt idx="3">
                  <c:v>939.8836</c:v>
                </c:pt>
                <c:pt idx="4">
                  <c:v>933.8344</c:v>
                </c:pt>
                <c:pt idx="5">
                  <c:v>919.7325</c:v>
                </c:pt>
                <c:pt idx="6">
                  <c:v>883.5374</c:v>
                </c:pt>
                <c:pt idx="7">
                  <c:v>889.8271</c:v>
                </c:pt>
                <c:pt idx="8">
                  <c:v>894.7587</c:v>
                </c:pt>
                <c:pt idx="9">
                  <c:v>870.9048</c:v>
                </c:pt>
                <c:pt idx="10">
                  <c:v>858.2044</c:v>
                </c:pt>
                <c:pt idx="11">
                  <c:v>900.905</c:v>
                </c:pt>
                <c:pt idx="12">
                  <c:v>915.5783</c:v>
                </c:pt>
                <c:pt idx="13">
                  <c:v>919.7056</c:v>
                </c:pt>
                <c:pt idx="14">
                  <c:v>960.2228</c:v>
                </c:pt>
                <c:pt idx="15">
                  <c:v>977.2438</c:v>
                </c:pt>
                <c:pt idx="16">
                  <c:v>994.4941</c:v>
                </c:pt>
                <c:pt idx="17">
                  <c:v>1017.189</c:v>
                </c:pt>
                <c:pt idx="18">
                  <c:v>1057.7813</c:v>
                </c:pt>
                <c:pt idx="19">
                  <c:v>1066.0149</c:v>
                </c:pt>
                <c:pt idx="20">
                  <c:v>1091.4757</c:v>
                </c:pt>
                <c:pt idx="21">
                  <c:v>1100.1601</c:v>
                </c:pt>
                <c:pt idx="22">
                  <c:v>1064.3803</c:v>
                </c:pt>
                <c:pt idx="23">
                  <c:v>1056.8376</c:v>
                </c:pt>
                <c:pt idx="24">
                  <c:v>1060.7294</c:v>
                </c:pt>
                <c:pt idx="25">
                  <c:v>1038.9553</c:v>
                </c:pt>
                <c:pt idx="26">
                  <c:v>1026.3227</c:v>
                </c:pt>
                <c:pt idx="27">
                  <c:v>1037.4307</c:v>
                </c:pt>
                <c:pt idx="28">
                  <c:v>1037.9847</c:v>
                </c:pt>
                <c:pt idx="29">
                  <c:v>1029.1964</c:v>
                </c:pt>
                <c:pt idx="30">
                  <c:v>1031.7509</c:v>
                </c:pt>
                <c:pt idx="31">
                  <c:v>1013.6425</c:v>
                </c:pt>
                <c:pt idx="32">
                  <c:v>1003.4237</c:v>
                </c:pt>
                <c:pt idx="33">
                  <c:v>971.3372</c:v>
                </c:pt>
                <c:pt idx="34">
                  <c:v>981.5778</c:v>
                </c:pt>
                <c:pt idx="35">
                  <c:v>1018.1876</c:v>
                </c:pt>
                <c:pt idx="36">
                  <c:v>1083.6092</c:v>
                </c:pt>
                <c:pt idx="37">
                  <c:v>1095.7103</c:v>
                </c:pt>
                <c:pt idx="38">
                  <c:v>1138.3225</c:v>
                </c:pt>
                <c:pt idx="39">
                  <c:v>1161.1624</c:v>
                </c:pt>
                <c:pt idx="40">
                  <c:v>1163.3908</c:v>
                </c:pt>
                <c:pt idx="41">
                  <c:v>1195.6292</c:v>
                </c:pt>
                <c:pt idx="42">
                  <c:v>1211.0972</c:v>
                </c:pt>
                <c:pt idx="43">
                  <c:v>1218.396</c:v>
                </c:pt>
                <c:pt idx="44">
                  <c:v>1156.9309</c:v>
                </c:pt>
                <c:pt idx="45">
                  <c:v>1121.7811</c:v>
                </c:pt>
                <c:pt idx="46">
                  <c:v>1111.4667</c:v>
                </c:pt>
                <c:pt idx="47">
                  <c:v>1098.4128</c:v>
                </c:pt>
                <c:pt idx="48">
                  <c:v>1094.8564</c:v>
                </c:pt>
                <c:pt idx="49">
                  <c:v>1046.4081</c:v>
                </c:pt>
                <c:pt idx="50">
                  <c:v>1047.8026</c:v>
                </c:pt>
                <c:pt idx="51">
                  <c:v>1055.6736</c:v>
                </c:pt>
                <c:pt idx="52">
                  <c:v>1053.314</c:v>
                </c:pt>
                <c:pt idx="53">
                  <c:v>1166.5389</c:v>
                </c:pt>
                <c:pt idx="54">
                  <c:v>1152.9671</c:v>
                </c:pt>
                <c:pt idx="55">
                  <c:v>1167.2546</c:v>
                </c:pt>
                <c:pt idx="56">
                  <c:v>1178.832</c:v>
                </c:pt>
                <c:pt idx="57">
                  <c:v>1152.5788</c:v>
                </c:pt>
                <c:pt idx="58">
                  <c:v>1130.1762</c:v>
                </c:pt>
                <c:pt idx="59">
                  <c:v>1114.6146</c:v>
                </c:pt>
                <c:pt idx="60">
                  <c:v>1131.0099</c:v>
                </c:pt>
                <c:pt idx="61">
                  <c:v>1145.4141</c:v>
                </c:pt>
                <c:pt idx="62">
                  <c:v>1077.2692</c:v>
                </c:pt>
                <c:pt idx="63">
                  <c:v>1097.606</c:v>
                </c:pt>
                <c:pt idx="64">
                  <c:v>1110.3883</c:v>
                </c:pt>
                <c:pt idx="65">
                  <c:v>1101.1496</c:v>
                </c:pt>
                <c:pt idx="66">
                  <c:v>1136.1167</c:v>
                </c:pt>
                <c:pt idx="67">
                  <c:v>1160.0968</c:v>
                </c:pt>
                <c:pt idx="68">
                  <c:v>1175.814</c:v>
                </c:pt>
                <c:pt idx="69">
                  <c:v>1207.8284</c:v>
                </c:pt>
                <c:pt idx="70">
                  <c:v>1189.7808</c:v>
                </c:pt>
                <c:pt idx="71">
                  <c:v>1242.0927</c:v>
                </c:pt>
                <c:pt idx="72">
                  <c:v>1307.1248</c:v>
                </c:pt>
                <c:pt idx="73">
                  <c:v>1283.356</c:v>
                </c:pt>
                <c:pt idx="74">
                  <c:v>1277.4382</c:v>
                </c:pt>
                <c:pt idx="75">
                  <c:v>1240.835</c:v>
                </c:pt>
                <c:pt idx="76">
                  <c:v>1206.9189</c:v>
                </c:pt>
                <c:pt idx="77">
                  <c:v>1204.1637</c:v>
                </c:pt>
                <c:pt idx="78">
                  <c:v>1256.4379</c:v>
                </c:pt>
                <c:pt idx="79">
                  <c:v>1241.5478</c:v>
                </c:pt>
                <c:pt idx="80">
                  <c:v>1256.622</c:v>
                </c:pt>
                <c:pt idx="81">
                  <c:v>1246.3743</c:v>
                </c:pt>
                <c:pt idx="82">
                  <c:v>1257.2699</c:v>
                </c:pt>
                <c:pt idx="83">
                  <c:v>1219.594</c:v>
                </c:pt>
                <c:pt idx="84">
                  <c:v>1240.0375</c:v>
                </c:pt>
                <c:pt idx="85">
                  <c:v>1216.7624</c:v>
                </c:pt>
                <c:pt idx="86">
                  <c:v>1220.1259</c:v>
                </c:pt>
                <c:pt idx="87">
                  <c:v>1222.8493</c:v>
                </c:pt>
                <c:pt idx="88">
                  <c:v>1269.4996</c:v>
                </c:pt>
                <c:pt idx="89">
                  <c:v>1255.1555</c:v>
                </c:pt>
                <c:pt idx="90">
                  <c:v>1314.4375</c:v>
                </c:pt>
                <c:pt idx="91">
                  <c:v>1315.6106</c:v>
                </c:pt>
                <c:pt idx="92">
                  <c:v>1266.0669</c:v>
                </c:pt>
                <c:pt idx="93">
                  <c:v>1292.6658</c:v>
                </c:pt>
                <c:pt idx="94">
                  <c:v>1281.8216</c:v>
                </c:pt>
                <c:pt idx="95">
                  <c:v>1251.4322</c:v>
                </c:pt>
                <c:pt idx="96">
                  <c:v>1200.8594</c:v>
                </c:pt>
                <c:pt idx="97">
                  <c:v>1193.5625</c:v>
                </c:pt>
                <c:pt idx="98">
                  <c:v>1172.9539</c:v>
                </c:pt>
                <c:pt idx="99">
                  <c:v>1137.7425</c:v>
                </c:pt>
                <c:pt idx="100">
                  <c:v>1118.3324</c:v>
                </c:pt>
                <c:pt idx="101">
                  <c:v>1165.05</c:v>
                </c:pt>
                <c:pt idx="102">
                  <c:v>1177.0303</c:v>
                </c:pt>
                <c:pt idx="103">
                  <c:v>1152.1832</c:v>
                </c:pt>
                <c:pt idx="104">
                  <c:v>1184.3692</c:v>
                </c:pt>
              </c:numCache>
            </c:numRef>
          </c:xVal>
          <c:yVal>
            <c:numRef>
              <c:f>Sheet1!$B$2:$B$106</c:f>
              <c:numCache>
                <c:formatCode>General</c:formatCode>
                <c:ptCount val="105"/>
                <c:pt idx="0">
                  <c:v>0.22226506555029193</c:v>
                </c:pt>
                <c:pt idx="1">
                  <c:v>0.21748878923766815</c:v>
                </c:pt>
                <c:pt idx="2">
                  <c:v>0.21873943899966206</c:v>
                </c:pt>
                <c:pt idx="3">
                  <c:v>0.21880877742946708</c:v>
                </c:pt>
                <c:pt idx="4">
                  <c:v>0.23012847663419456</c:v>
                </c:pt>
                <c:pt idx="5">
                  <c:v>0.23601854534917416</c:v>
                </c:pt>
                <c:pt idx="6">
                  <c:v>0.2631891967534285</c:v>
                </c:pt>
                <c:pt idx="7">
                  <c:v>0.264646382909856</c:v>
                </c:pt>
                <c:pt idx="8">
                  <c:v>0.2586243119458801</c:v>
                </c:pt>
                <c:pt idx="9">
                  <c:v>0.24723282141843525</c:v>
                </c:pt>
                <c:pt idx="10">
                  <c:v>0.240457548323954</c:v>
                </c:pt>
                <c:pt idx="11">
                  <c:v>0.21958603645350633</c:v>
                </c:pt>
                <c:pt idx="12">
                  <c:v>0.20595766473199045</c:v>
                </c:pt>
                <c:pt idx="13">
                  <c:v>0.19534355479841</c:v>
                </c:pt>
                <c:pt idx="14">
                  <c:v>0.1779950952193527</c:v>
                </c:pt>
                <c:pt idx="15">
                  <c:v>0.168645487930973</c:v>
                </c:pt>
                <c:pt idx="16">
                  <c:v>0.16324619268670088</c:v>
                </c:pt>
                <c:pt idx="17">
                  <c:v>0.15663621708758732</c:v>
                </c:pt>
                <c:pt idx="18">
                  <c:v>0.1496506308751822</c:v>
                </c:pt>
                <c:pt idx="19">
                  <c:v>0.1484397783610382</c:v>
                </c:pt>
                <c:pt idx="20">
                  <c:v>0.15575458594760286</c:v>
                </c:pt>
                <c:pt idx="21">
                  <c:v>0.16326167003207032</c:v>
                </c:pt>
                <c:pt idx="22">
                  <c:v>0.17795461243737107</c:v>
                </c:pt>
                <c:pt idx="23">
                  <c:v>0.1898969839890778</c:v>
                </c:pt>
                <c:pt idx="24">
                  <c:v>0.19180421172453044</c:v>
                </c:pt>
                <c:pt idx="25">
                  <c:v>0.19442463533225285</c:v>
                </c:pt>
                <c:pt idx="26">
                  <c:v>0.20790259591086607</c:v>
                </c:pt>
                <c:pt idx="27">
                  <c:v>0.2096837172979305</c:v>
                </c:pt>
                <c:pt idx="28">
                  <c:v>0.21572077185017027</c:v>
                </c:pt>
                <c:pt idx="29">
                  <c:v>0.20905013062552374</c:v>
                </c:pt>
                <c:pt idx="30">
                  <c:v>0.21441727532550015</c:v>
                </c:pt>
                <c:pt idx="31">
                  <c:v>0.21806815395930376</c:v>
                </c:pt>
                <c:pt idx="32">
                  <c:v>0.22538531278331822</c:v>
                </c:pt>
                <c:pt idx="33">
                  <c:v>0.22100081250298714</c:v>
                </c:pt>
                <c:pt idx="34">
                  <c:v>0.21928327645051193</c:v>
                </c:pt>
                <c:pt idx="35">
                  <c:v>0.23582775119617225</c:v>
                </c:pt>
                <c:pt idx="36">
                  <c:v>0.20781902445739459</c:v>
                </c:pt>
                <c:pt idx="37">
                  <c:v>0.20361056699666472</c:v>
                </c:pt>
                <c:pt idx="38">
                  <c:v>0.1926458832933653</c:v>
                </c:pt>
                <c:pt idx="39">
                  <c:v>0.18791795448159596</c:v>
                </c:pt>
                <c:pt idx="40">
                  <c:v>0.18927819961577166</c:v>
                </c:pt>
                <c:pt idx="41">
                  <c:v>0.18410232983097305</c:v>
                </c:pt>
                <c:pt idx="42">
                  <c:v>0.1844411662617147</c:v>
                </c:pt>
                <c:pt idx="43">
                  <c:v>0.17869283065512978</c:v>
                </c:pt>
                <c:pt idx="44">
                  <c:v>0.1801480101433525</c:v>
                </c:pt>
                <c:pt idx="45">
                  <c:v>0.19204877130213727</c:v>
                </c:pt>
                <c:pt idx="46">
                  <c:v>0.19389858458155834</c:v>
                </c:pt>
                <c:pt idx="47">
                  <c:v>0.19004100761570006</c:v>
                </c:pt>
                <c:pt idx="48">
                  <c:v>0.187392393842797</c:v>
                </c:pt>
                <c:pt idx="49">
                  <c:v>0.20137562094000763</c:v>
                </c:pt>
                <c:pt idx="50">
                  <c:v>0.19135440180586907</c:v>
                </c:pt>
                <c:pt idx="51">
                  <c:v>0.1846539978486913</c:v>
                </c:pt>
                <c:pt idx="52">
                  <c:v>0.18815193402253455</c:v>
                </c:pt>
                <c:pt idx="53">
                  <c:v>0.1812184824674563</c:v>
                </c:pt>
                <c:pt idx="54">
                  <c:v>0.1860592401802962</c:v>
                </c:pt>
                <c:pt idx="55">
                  <c:v>0.18362143188290617</c:v>
                </c:pt>
                <c:pt idx="56">
                  <c:v>0.18648420341273864</c:v>
                </c:pt>
                <c:pt idx="57">
                  <c:v>0.18117511188104518</c:v>
                </c:pt>
                <c:pt idx="58">
                  <c:v>0.19146386921561317</c:v>
                </c:pt>
                <c:pt idx="59">
                  <c:v>0.19048030109457548</c:v>
                </c:pt>
                <c:pt idx="60">
                  <c:v>0.19382582445748134</c:v>
                </c:pt>
                <c:pt idx="61">
                  <c:v>0.1902548569041153</c:v>
                </c:pt>
                <c:pt idx="62">
                  <c:v>0.2036891381016416</c:v>
                </c:pt>
                <c:pt idx="63">
                  <c:v>0.20864302643992913</c:v>
                </c:pt>
                <c:pt idx="64">
                  <c:v>0.19630329195898544</c:v>
                </c:pt>
                <c:pt idx="65">
                  <c:v>0.19063234142521535</c:v>
                </c:pt>
                <c:pt idx="66">
                  <c:v>0.19000101822624987</c:v>
                </c:pt>
                <c:pt idx="67">
                  <c:v>0.17937626829007797</c:v>
                </c:pt>
                <c:pt idx="68">
                  <c:v>0.16788459713390907</c:v>
                </c:pt>
                <c:pt idx="69">
                  <c:v>0.1609119170984456</c:v>
                </c:pt>
                <c:pt idx="70">
                  <c:v>0.16178092986603626</c:v>
                </c:pt>
                <c:pt idx="71">
                  <c:v>0.16205719163465643</c:v>
                </c:pt>
                <c:pt idx="72">
                  <c:v>0.16154716676097325</c:v>
                </c:pt>
                <c:pt idx="73">
                  <c:v>0.16443455564588594</c:v>
                </c:pt>
                <c:pt idx="74">
                  <c:v>0.16447449293177627</c:v>
                </c:pt>
                <c:pt idx="75">
                  <c:v>0.17549175203193382</c:v>
                </c:pt>
                <c:pt idx="76">
                  <c:v>0.17818368922047853</c:v>
                </c:pt>
                <c:pt idx="77">
                  <c:v>0.17209963663173417</c:v>
                </c:pt>
                <c:pt idx="78">
                  <c:v>0.17405100481842756</c:v>
                </c:pt>
                <c:pt idx="79">
                  <c:v>0.1605390891252711</c:v>
                </c:pt>
                <c:pt idx="80">
                  <c:v>0.15557729941291584</c:v>
                </c:pt>
                <c:pt idx="81">
                  <c:v>0.1628547688809201</c:v>
                </c:pt>
                <c:pt idx="82">
                  <c:v>0.1626240974729242</c:v>
                </c:pt>
                <c:pt idx="83">
                  <c:v>0.16220834702596124</c:v>
                </c:pt>
                <c:pt idx="84">
                  <c:v>0.16348265992145378</c:v>
                </c:pt>
                <c:pt idx="85">
                  <c:v>0.16821068577754472</c:v>
                </c:pt>
                <c:pt idx="86">
                  <c:v>0.1764033081119127</c:v>
                </c:pt>
                <c:pt idx="87">
                  <c:v>0.19161401012679416</c:v>
                </c:pt>
                <c:pt idx="88">
                  <c:v>0.18565601991630912</c:v>
                </c:pt>
                <c:pt idx="89">
                  <c:v>0.18069021237303787</c:v>
                </c:pt>
                <c:pt idx="90">
                  <c:v>0.1697967889092956</c:v>
                </c:pt>
                <c:pt idx="91">
                  <c:v>0.16111781956184235</c:v>
                </c:pt>
                <c:pt idx="92">
                  <c:v>0.1722055773219636</c:v>
                </c:pt>
                <c:pt idx="93">
                  <c:v>0.16393442622950818</c:v>
                </c:pt>
                <c:pt idx="94">
                  <c:v>0.16772088353413656</c:v>
                </c:pt>
                <c:pt idx="95">
                  <c:v>0.1712412039936632</c:v>
                </c:pt>
                <c:pt idx="96">
                  <c:v>0.17387654450536477</c:v>
                </c:pt>
                <c:pt idx="97">
                  <c:v>0.17686965320577683</c:v>
                </c:pt>
                <c:pt idx="98">
                  <c:v>0.18162422985663867</c:v>
                </c:pt>
                <c:pt idx="99">
                  <c:v>0.18420596994251678</c:v>
                </c:pt>
                <c:pt idx="100">
                  <c:v>0.1880809529200156</c:v>
                </c:pt>
                <c:pt idx="101">
                  <c:v>0.1839502684374117</c:v>
                </c:pt>
                <c:pt idx="102">
                  <c:v>0.17164885702691735</c:v>
                </c:pt>
                <c:pt idx="103">
                  <c:v>0.17687576250508336</c:v>
                </c:pt>
                <c:pt idx="104">
                  <c:v>0.1747592827066340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0.5912</c:v>
                </c:pt>
                <c:pt idx="1">
                  <c:v>1237.7126</c:v>
                </c:pt>
                <c:pt idx="2">
                  <c:v>1244.7866</c:v>
                </c:pt>
                <c:pt idx="3">
                  <c:v>1234.0677</c:v>
                </c:pt>
                <c:pt idx="4">
                  <c:v>1258.56</c:v>
                </c:pt>
                <c:pt idx="5">
                  <c:v>1250.2569</c:v>
                </c:pt>
                <c:pt idx="6">
                  <c:v>1164.5687</c:v>
                </c:pt>
                <c:pt idx="7">
                  <c:v>1194.7737</c:v>
                </c:pt>
                <c:pt idx="8">
                  <c:v>1247.4773</c:v>
                </c:pt>
                <c:pt idx="9">
                  <c:v>1175.6943</c:v>
                </c:pt>
                <c:pt idx="10">
                  <c:v>1205.7759</c:v>
                </c:pt>
                <c:pt idx="11">
                  <c:v>1110.92</c:v>
                </c:pt>
                <c:pt idx="12">
                  <c:v>1150.6327</c:v>
                </c:pt>
                <c:pt idx="13">
                  <c:v>1180.9382</c:v>
                </c:pt>
                <c:pt idx="14">
                  <c:v>1191.5638</c:v>
                </c:pt>
                <c:pt idx="15">
                  <c:v>1193.0121</c:v>
                </c:pt>
                <c:pt idx="16">
                  <c:v>1244.6981</c:v>
                </c:pt>
                <c:pt idx="17">
                  <c:v>1191.8941</c:v>
                </c:pt>
                <c:pt idx="18">
                  <c:v>1219.1898</c:v>
                </c:pt>
                <c:pt idx="19">
                  <c:v>1317.9428</c:v>
                </c:pt>
                <c:pt idx="20">
                  <c:v>1290.4524</c:v>
                </c:pt>
                <c:pt idx="21">
                  <c:v>1220.3404</c:v>
                </c:pt>
                <c:pt idx="22">
                  <c:v>1242.508</c:v>
                </c:pt>
                <c:pt idx="23">
                  <c:v>1225.5446</c:v>
                </c:pt>
                <c:pt idx="24">
                  <c:v>1221.3668</c:v>
                </c:pt>
                <c:pt idx="25">
                  <c:v>1212.181</c:v>
                </c:pt>
                <c:pt idx="26">
                  <c:v>1224.1385</c:v>
                </c:pt>
                <c:pt idx="27">
                  <c:v>1236.0506</c:v>
                </c:pt>
                <c:pt idx="28">
                  <c:v>1270.3037</c:v>
                </c:pt>
                <c:pt idx="29">
                  <c:v>1273.6984</c:v>
                </c:pt>
                <c:pt idx="30">
                  <c:v>1266.8522</c:v>
                </c:pt>
                <c:pt idx="31">
                  <c:v>1252.2354</c:v>
                </c:pt>
                <c:pt idx="32">
                  <c:v>1271.4732</c:v>
                </c:pt>
                <c:pt idx="33">
                  <c:v>1267.4386</c:v>
                </c:pt>
                <c:pt idx="34">
                  <c:v>1286.4124</c:v>
                </c:pt>
                <c:pt idx="35">
                  <c:v>1312.7891</c:v>
                </c:pt>
                <c:pt idx="36">
                  <c:v>1334.6724</c:v>
                </c:pt>
                <c:pt idx="37">
                  <c:v>1326.2307</c:v>
                </c:pt>
                <c:pt idx="38">
                  <c:v>1337.6582</c:v>
                </c:pt>
                <c:pt idx="39">
                  <c:v>1300.5035</c:v>
                </c:pt>
                <c:pt idx="40">
                  <c:v>1319.2248</c:v>
                </c:pt>
                <c:pt idx="41">
                  <c:v>1350.2781</c:v>
                </c:pt>
                <c:pt idx="42">
                  <c:v>1337.7756</c:v>
                </c:pt>
                <c:pt idx="43">
                  <c:v>1345.0308</c:v>
                </c:pt>
                <c:pt idx="44">
                  <c:v>1271.2854</c:v>
                </c:pt>
                <c:pt idx="45">
                  <c:v>1232.453</c:v>
                </c:pt>
                <c:pt idx="46">
                  <c:v>1224.3599</c:v>
                </c:pt>
                <c:pt idx="47">
                  <c:v>1197.6553</c:v>
                </c:pt>
                <c:pt idx="48">
                  <c:v>1178.8108</c:v>
                </c:pt>
                <c:pt idx="49">
                  <c:v>1186.8418</c:v>
                </c:pt>
                <c:pt idx="50">
                  <c:v>1142.2921</c:v>
                </c:pt>
                <c:pt idx="51">
                  <c:v>1126.4572</c:v>
                </c:pt>
              </c:numCache>
            </c:numRef>
          </c:xVal>
          <c:yVal>
            <c:numRef>
              <c:f>Sheet1!$B$109:$B$160</c:f>
              <c:numCache>
                <c:formatCode>General</c:formatCode>
                <c:ptCount val="52"/>
                <c:pt idx="0">
                  <c:v>0.18217210363807224</c:v>
                </c:pt>
                <c:pt idx="1">
                  <c:v>0.180339502668332</c:v>
                </c:pt>
                <c:pt idx="2">
                  <c:v>0.19413928707344918</c:v>
                </c:pt>
                <c:pt idx="3">
                  <c:v>0.20516422332328754</c:v>
                </c:pt>
                <c:pt idx="4">
                  <c:v>0.19036010493123826</c:v>
                </c:pt>
                <c:pt idx="5">
                  <c:v>0.1889782655018112</c:v>
                </c:pt>
                <c:pt idx="6">
                  <c:v>0.19689534301452177</c:v>
                </c:pt>
                <c:pt idx="7">
                  <c:v>0.19303298361105398</c:v>
                </c:pt>
                <c:pt idx="8">
                  <c:v>0.18199813258636788</c:v>
                </c:pt>
                <c:pt idx="9">
                  <c:v>0.19081744616650664</c:v>
                </c:pt>
                <c:pt idx="10">
                  <c:v>0.19138913594887505</c:v>
                </c:pt>
                <c:pt idx="11">
                  <c:v>0.19509012114645918</c:v>
                </c:pt>
                <c:pt idx="12">
                  <c:v>0.19295151718732506</c:v>
                </c:pt>
                <c:pt idx="13">
                  <c:v>0.19295169632681686</c:v>
                </c:pt>
                <c:pt idx="14">
                  <c:v>0.19092221331194867</c:v>
                </c:pt>
                <c:pt idx="15">
                  <c:v>0.1895449417074088</c:v>
                </c:pt>
                <c:pt idx="16">
                  <c:v>0.1792311335648879</c:v>
                </c:pt>
                <c:pt idx="17">
                  <c:v>0.18335527398387363</c:v>
                </c:pt>
                <c:pt idx="18">
                  <c:v>0.18697068403908795</c:v>
                </c:pt>
                <c:pt idx="19">
                  <c:v>0.18265391401244313</c:v>
                </c:pt>
                <c:pt idx="20">
                  <c:v>0.17537102654958148</c:v>
                </c:pt>
                <c:pt idx="21">
                  <c:v>0.18476560055079178</c:v>
                </c:pt>
                <c:pt idx="22">
                  <c:v>0.18236423307944766</c:v>
                </c:pt>
                <c:pt idx="23">
                  <c:v>0.1897367922741905</c:v>
                </c:pt>
                <c:pt idx="24">
                  <c:v>0.19025981591518118</c:v>
                </c:pt>
                <c:pt idx="25">
                  <c:v>0.18831606694047692</c:v>
                </c:pt>
                <c:pt idx="26">
                  <c:v>0.18173383589446215</c:v>
                </c:pt>
                <c:pt idx="27">
                  <c:v>0.18173173437582546</c:v>
                </c:pt>
                <c:pt idx="28">
                  <c:v>0.17265331366858558</c:v>
                </c:pt>
                <c:pt idx="29">
                  <c:v>0.1752766469812511</c:v>
                </c:pt>
                <c:pt idx="30">
                  <c:v>0.17988221997501636</c:v>
                </c:pt>
                <c:pt idx="31">
                  <c:v>0.17247824685787946</c:v>
                </c:pt>
                <c:pt idx="32">
                  <c:v>0.16771168728464103</c:v>
                </c:pt>
                <c:pt idx="33">
                  <c:v>0.1849237183739221</c:v>
                </c:pt>
                <c:pt idx="34">
                  <c:v>0.1982008772581964</c:v>
                </c:pt>
                <c:pt idx="35">
                  <c:v>0.19501184463415724</c:v>
                </c:pt>
                <c:pt idx="36">
                  <c:v>0.18242677824267783</c:v>
                </c:pt>
                <c:pt idx="37">
                  <c:v>0.18479685452162517</c:v>
                </c:pt>
                <c:pt idx="38">
                  <c:v>0.18242111142139067</c:v>
                </c:pt>
                <c:pt idx="39">
                  <c:v>0.18836707429863322</c:v>
                </c:pt>
                <c:pt idx="40">
                  <c:v>0.17894789180588702</c:v>
                </c:pt>
                <c:pt idx="41">
                  <c:v>0.1818480917465689</c:v>
                </c:pt>
                <c:pt idx="42">
                  <c:v>0.18211622864999208</c:v>
                </c:pt>
                <c:pt idx="43">
                  <c:v>0.1748787435522365</c:v>
                </c:pt>
                <c:pt idx="44">
                  <c:v>0.17223699202430687</c:v>
                </c:pt>
                <c:pt idx="45">
                  <c:v>0.18621399176954734</c:v>
                </c:pt>
                <c:pt idx="46">
                  <c:v>0.2003267130943169</c:v>
                </c:pt>
                <c:pt idx="47">
                  <c:v>0.20219166308551784</c:v>
                </c:pt>
                <c:pt idx="48">
                  <c:v>0.19862168047231016</c:v>
                </c:pt>
                <c:pt idx="49">
                  <c:v>0.2040362858016512</c:v>
                </c:pt>
                <c:pt idx="50">
                  <c:v>0.21092607636068236</c:v>
                </c:pt>
                <c:pt idx="51">
                  <c:v>0.20336543000094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17.5525308844246</c:v>
                </c:pt>
              </c:numCache>
            </c:numRef>
          </c:xVal>
          <c:yVal>
            <c:numRef>
              <c:f>Sheet1!$B$163:$B$164</c:f>
              <c:numCache>
                <c:formatCode>General</c:formatCode>
                <c:ptCount val="2"/>
                <c:pt idx="0">
                  <c:v>0.23665655386773585</c:v>
                </c:pt>
                <c:pt idx="1">
                  <c:v>0.2366565538677358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17.5525308844246</c:v>
                </c:pt>
                <c:pt idx="1">
                  <c:v>717.5525308844246</c:v>
                </c:pt>
              </c:numCache>
            </c:numRef>
          </c:xVal>
          <c:yVal>
            <c:numRef>
              <c:f>Sheet1!$B$167:$B$168</c:f>
              <c:numCache>
                <c:formatCode>General</c:formatCode>
                <c:ptCount val="2"/>
                <c:pt idx="0">
                  <c:v>0.236656553867735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61.8204746880806</c:v>
                </c:pt>
              </c:numCache>
            </c:numRef>
          </c:xVal>
          <c:yVal>
            <c:numRef>
              <c:f>Sheet1!$B$171:$B$172</c:f>
              <c:numCache>
                <c:formatCode>General</c:formatCode>
                <c:ptCount val="2"/>
                <c:pt idx="0">
                  <c:v>0.20423736815889693</c:v>
                </c:pt>
                <c:pt idx="1">
                  <c:v>0.2042373681588969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61.8204746880806</c:v>
                </c:pt>
                <c:pt idx="1">
                  <c:v>1061.8204746880806</c:v>
                </c:pt>
              </c:numCache>
            </c:numRef>
          </c:xVal>
          <c:yVal>
            <c:numRef>
              <c:f>Sheet1!$B$175:$B$176</c:f>
              <c:numCache>
                <c:formatCode>General</c:formatCode>
                <c:ptCount val="2"/>
                <c:pt idx="0">
                  <c:v>0.2042373681588969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1.5119499787065</c:v>
                </c:pt>
              </c:numCache>
            </c:numRef>
          </c:xVal>
          <c:yVal>
            <c:numRef>
              <c:f>Sheet1!$B$179:$B$180</c:f>
              <c:numCache>
                <c:formatCode>General</c:formatCode>
                <c:ptCount val="2"/>
                <c:pt idx="0">
                  <c:v>0.19108283558943034</c:v>
                </c:pt>
                <c:pt idx="1">
                  <c:v>0.1910828355894303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1.5119499787065</c:v>
                </c:pt>
                <c:pt idx="1">
                  <c:v>1201.5119499787065</c:v>
                </c:pt>
              </c:numCache>
            </c:numRef>
          </c:xVal>
          <c:yVal>
            <c:numRef>
              <c:f>Sheet1!$B$183:$B$184</c:f>
              <c:numCache>
                <c:formatCode>General</c:formatCode>
                <c:ptCount val="2"/>
                <c:pt idx="0">
                  <c:v>0.1910828355894303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0.5912</c:v>
                </c:pt>
                <c:pt idx="1">
                  <c:v>1237.7126</c:v>
                </c:pt>
                <c:pt idx="2">
                  <c:v>1244.7866</c:v>
                </c:pt>
                <c:pt idx="3">
                  <c:v>1234.0677</c:v>
                </c:pt>
                <c:pt idx="4">
                  <c:v>1258.56</c:v>
                </c:pt>
                <c:pt idx="5">
                  <c:v>1250.2569</c:v>
                </c:pt>
                <c:pt idx="6">
                  <c:v>1164.5687</c:v>
                </c:pt>
                <c:pt idx="7">
                  <c:v>1194.7737</c:v>
                </c:pt>
                <c:pt idx="8">
                  <c:v>1247.4773</c:v>
                </c:pt>
                <c:pt idx="9">
                  <c:v>1175.6943</c:v>
                </c:pt>
                <c:pt idx="10">
                  <c:v>1205.7759</c:v>
                </c:pt>
                <c:pt idx="11">
                  <c:v>1110.92</c:v>
                </c:pt>
                <c:pt idx="12">
                  <c:v>1150.6327</c:v>
                </c:pt>
                <c:pt idx="13">
                  <c:v>1180.9382</c:v>
                </c:pt>
                <c:pt idx="14">
                  <c:v>1191.5638</c:v>
                </c:pt>
                <c:pt idx="15">
                  <c:v>1193.0121</c:v>
                </c:pt>
                <c:pt idx="16">
                  <c:v>1244.6981</c:v>
                </c:pt>
                <c:pt idx="17">
                  <c:v>1191.8941</c:v>
                </c:pt>
                <c:pt idx="18">
                  <c:v>1219.1898</c:v>
                </c:pt>
                <c:pt idx="19">
                  <c:v>1317.9428</c:v>
                </c:pt>
                <c:pt idx="20">
                  <c:v>1290.4524</c:v>
                </c:pt>
                <c:pt idx="21">
                  <c:v>1220.3404</c:v>
                </c:pt>
                <c:pt idx="22">
                  <c:v>1242.508</c:v>
                </c:pt>
                <c:pt idx="23">
                  <c:v>1225.5446</c:v>
                </c:pt>
                <c:pt idx="24">
                  <c:v>1221.3668</c:v>
                </c:pt>
                <c:pt idx="25">
                  <c:v>1212.181</c:v>
                </c:pt>
                <c:pt idx="26">
                  <c:v>1224.1385</c:v>
                </c:pt>
                <c:pt idx="27">
                  <c:v>1236.0506</c:v>
                </c:pt>
                <c:pt idx="28">
                  <c:v>1270.3037</c:v>
                </c:pt>
                <c:pt idx="29">
                  <c:v>1273.6984</c:v>
                </c:pt>
                <c:pt idx="30">
                  <c:v>1266.8522</c:v>
                </c:pt>
                <c:pt idx="31">
                  <c:v>1252.2354</c:v>
                </c:pt>
                <c:pt idx="32">
                  <c:v>1271.4732</c:v>
                </c:pt>
                <c:pt idx="33">
                  <c:v>1267.4386</c:v>
                </c:pt>
                <c:pt idx="34">
                  <c:v>1286.4124</c:v>
                </c:pt>
                <c:pt idx="35">
                  <c:v>1312.7891</c:v>
                </c:pt>
                <c:pt idx="36">
                  <c:v>1334.6724</c:v>
                </c:pt>
                <c:pt idx="37">
                  <c:v>1326.2307</c:v>
                </c:pt>
                <c:pt idx="38">
                  <c:v>1337.6582</c:v>
                </c:pt>
                <c:pt idx="39">
                  <c:v>1300.5035</c:v>
                </c:pt>
                <c:pt idx="40">
                  <c:v>1319.2248</c:v>
                </c:pt>
                <c:pt idx="41">
                  <c:v>1350.2781</c:v>
                </c:pt>
                <c:pt idx="42">
                  <c:v>1337.7756</c:v>
                </c:pt>
                <c:pt idx="43">
                  <c:v>1345.0308</c:v>
                </c:pt>
                <c:pt idx="44">
                  <c:v>1271.2854</c:v>
                </c:pt>
                <c:pt idx="45">
                  <c:v>1232.453</c:v>
                </c:pt>
                <c:pt idx="46">
                  <c:v>1224.3599</c:v>
                </c:pt>
                <c:pt idx="47">
                  <c:v>1197.6553</c:v>
                </c:pt>
                <c:pt idx="48">
                  <c:v>1178.8108</c:v>
                </c:pt>
                <c:pt idx="49">
                  <c:v>1186.8418</c:v>
                </c:pt>
                <c:pt idx="50">
                  <c:v>1142.2921</c:v>
                </c:pt>
                <c:pt idx="51">
                  <c:v>1126.4572</c:v>
                </c:pt>
                <c:pt idx="52">
                  <c:v>1061.8204746880806</c:v>
                </c:pt>
                <c:pt idx="53">
                  <c:v>717.5525308844246</c:v>
                </c:pt>
                <c:pt idx="54">
                  <c:v>1201.5119499787065</c:v>
                </c:pt>
              </c:numCache>
            </c:numRef>
          </c:xVal>
          <c:yVal>
            <c:numRef>
              <c:f>Sheet1!$B$187:$B$241</c:f>
              <c:numCache>
                <c:formatCode>General</c:formatCode>
                <c:ptCount val="55"/>
                <c:pt idx="0">
                  <c:v>0.1883444870917505</c:v>
                </c:pt>
                <c:pt idx="1">
                  <c:v>0.18767387574595934</c:v>
                </c:pt>
                <c:pt idx="2">
                  <c:v>0.1870077279856697</c:v>
                </c:pt>
                <c:pt idx="3">
                  <c:v>0.1880171104040707</c:v>
                </c:pt>
                <c:pt idx="4">
                  <c:v>0.18571070797413824</c:v>
                </c:pt>
                <c:pt idx="5">
                  <c:v>0.1864925982015147</c:v>
                </c:pt>
                <c:pt idx="6">
                  <c:v>0.19456172493508145</c:v>
                </c:pt>
                <c:pt idx="7">
                  <c:v>0.19171736628374575</c:v>
                </c:pt>
                <c:pt idx="8">
                  <c:v>0.18675434888210574</c:v>
                </c:pt>
                <c:pt idx="9">
                  <c:v>0.19351404419972965</c:v>
                </c:pt>
                <c:pt idx="10">
                  <c:v>0.19068130593765317</c:v>
                </c:pt>
                <c:pt idx="11">
                  <c:v>0.1996137409581873</c:v>
                </c:pt>
                <c:pt idx="12">
                  <c:v>0.19587405673991554</c:v>
                </c:pt>
                <c:pt idx="13">
                  <c:v>0.19302023415729497</c:v>
                </c:pt>
                <c:pt idx="14">
                  <c:v>0.19201963765719127</c:v>
                </c:pt>
                <c:pt idx="15">
                  <c:v>0.19188325346137175</c:v>
                </c:pt>
                <c:pt idx="16">
                  <c:v>0.18701606189530862</c:v>
                </c:pt>
                <c:pt idx="17">
                  <c:v>0.19198853381138642</c:v>
                </c:pt>
                <c:pt idx="18">
                  <c:v>0.1894181394912651</c:v>
                </c:pt>
                <c:pt idx="19">
                  <c:v>0.1801187205243605</c:v>
                </c:pt>
                <c:pt idx="20">
                  <c:v>0.1827074494456874</c:v>
                </c:pt>
                <c:pt idx="21">
                  <c:v>0.18930978924911224</c:v>
                </c:pt>
                <c:pt idx="22">
                  <c:v>0.18722230026254216</c:v>
                </c:pt>
                <c:pt idx="23">
                  <c:v>0.18881971769495628</c:v>
                </c:pt>
                <c:pt idx="24">
                  <c:v>0.18921313473099505</c:v>
                </c:pt>
                <c:pt idx="25">
                  <c:v>0.1900781474672784</c:v>
                </c:pt>
                <c:pt idx="26">
                  <c:v>0.18895212798132088</c:v>
                </c:pt>
                <c:pt idx="27">
                  <c:v>0.1878303837439239</c:v>
                </c:pt>
                <c:pt idx="28">
                  <c:v>0.18460482170717282</c:v>
                </c:pt>
                <c:pt idx="29">
                  <c:v>0.1842851480003796</c:v>
                </c:pt>
                <c:pt idx="30">
                  <c:v>0.18492984418309022</c:v>
                </c:pt>
                <c:pt idx="31">
                  <c:v>0.1863062858826381</c:v>
                </c:pt>
                <c:pt idx="32">
                  <c:v>0.1844946916809276</c:v>
                </c:pt>
                <c:pt idx="33">
                  <c:v>0.1848746237919913</c:v>
                </c:pt>
                <c:pt idx="34">
                  <c:v>0.1830878900664918</c:v>
                </c:pt>
                <c:pt idx="35">
                  <c:v>0.1806040365707564</c:v>
                </c:pt>
                <c:pt idx="36">
                  <c:v>0.1785433196803484</c:v>
                </c:pt>
                <c:pt idx="37">
                  <c:v>0.1793382616577356</c:v>
                </c:pt>
                <c:pt idx="38">
                  <c:v>0.17826215146114102</c:v>
                </c:pt>
                <c:pt idx="39">
                  <c:v>0.1817609527318837</c:v>
                </c:pt>
                <c:pt idx="40">
                  <c:v>0.17999799654518445</c:v>
                </c:pt>
                <c:pt idx="41">
                  <c:v>0.1770737547803269</c:v>
                </c:pt>
                <c:pt idx="42">
                  <c:v>0.17825109608270479</c:v>
                </c:pt>
                <c:pt idx="43">
                  <c:v>0.17756788499556125</c:v>
                </c:pt>
                <c:pt idx="44">
                  <c:v>0.18451237651968677</c:v>
                </c:pt>
                <c:pt idx="45">
                  <c:v>0.18816916423338081</c:v>
                </c:pt>
                <c:pt idx="46">
                  <c:v>0.18893127908195306</c:v>
                </c:pt>
                <c:pt idx="47">
                  <c:v>0.1914460104191641</c:v>
                </c:pt>
                <c:pt idx="48">
                  <c:v>0.19322056816142846</c:v>
                </c:pt>
                <c:pt idx="49">
                  <c:v>0.192464301174874</c:v>
                </c:pt>
                <c:pt idx="50">
                  <c:v>0.1966594782849356</c:v>
                </c:pt>
                <c:pt idx="51">
                  <c:v>0.1981506265983948</c:v>
                </c:pt>
                <c:pt idx="52">
                  <c:v>0.20423736815889693</c:v>
                </c:pt>
                <c:pt idx="53">
                  <c:v>0.23665655386773585</c:v>
                </c:pt>
                <c:pt idx="54">
                  <c:v>0.191082835589430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0.0"/>
          <c:min val="57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57565949182714"/>
          <c:min val="0.1187518226888305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655576228967028</c:v>
                </c:pt>
                <c:pt idx="1">
                  <c:v>0.6954447407160115</c:v>
                </c:pt>
                <c:pt idx="2">
                  <c:v>0.6870006256557155</c:v>
                </c:pt>
                <c:pt idx="3">
                  <c:v>0.6950345504786161</c:v>
                </c:pt>
                <c:pt idx="4">
                  <c:v>0.6918560504771595</c:v>
                </c:pt>
                <c:pt idx="5">
                  <c:v>0.7004847762193033</c:v>
                </c:pt>
                <c:pt idx="6">
                  <c:v>0.6678634004412493</c:v>
                </c:pt>
                <c:pt idx="7">
                  <c:v>0.6612797381181584</c:v>
                </c:pt>
                <c:pt idx="8">
                  <c:v>0.6622904310582993</c:v>
                </c:pt>
                <c:pt idx="9">
                  <c:v>0.6948466793023856</c:v>
                </c:pt>
                <c:pt idx="10">
                  <c:v>0.7018710685146123</c:v>
                </c:pt>
                <c:pt idx="11">
                  <c:v>0.7066732853630701</c:v>
                </c:pt>
                <c:pt idx="12">
                  <c:v>0.721866336932797</c:v>
                </c:pt>
                <c:pt idx="13">
                  <c:v>0.7136443506386388</c:v>
                </c:pt>
                <c:pt idx="14">
                  <c:v>0.7358574472756035</c:v>
                </c:pt>
                <c:pt idx="15">
                  <c:v>0.7375086293384168</c:v>
                </c:pt>
                <c:pt idx="16">
                  <c:v>0.7324332394600435</c:v>
                </c:pt>
                <c:pt idx="17">
                  <c:v>0.7274121821806065</c:v>
                </c:pt>
                <c:pt idx="18">
                  <c:v>0.7430412555568309</c:v>
                </c:pt>
                <c:pt idx="19">
                  <c:v>0.7590007974030173</c:v>
                </c:pt>
                <c:pt idx="20">
                  <c:v>0.7648439626539815</c:v>
                </c:pt>
                <c:pt idx="21">
                  <c:v>0.6922613576663473</c:v>
                </c:pt>
                <c:pt idx="22">
                  <c:v>0.6590245952887497</c:v>
                </c:pt>
                <c:pt idx="23">
                  <c:v>0.6406867791564232</c:v>
                </c:pt>
                <c:pt idx="24">
                  <c:v>0.6232809520030552</c:v>
                </c:pt>
                <c:pt idx="25">
                  <c:v>0.6024406476646276</c:v>
                </c:pt>
                <c:pt idx="26">
                  <c:v>0.6099765886168247</c:v>
                </c:pt>
                <c:pt idx="27">
                  <c:v>0.6262211751055238</c:v>
                </c:pt>
                <c:pt idx="28">
                  <c:v>0.6185714217002051</c:v>
                </c:pt>
                <c:pt idx="29">
                  <c:v>0.5706893028336103</c:v>
                </c:pt>
                <c:pt idx="30">
                  <c:v>0.5865900540280112</c:v>
                </c:pt>
                <c:pt idx="31">
                  <c:v>0.5942655636681325</c:v>
                </c:pt>
                <c:pt idx="32">
                  <c:v>0.5690101168092117</c:v>
                </c:pt>
                <c:pt idx="33">
                  <c:v>0.5460139977663828</c:v>
                </c:pt>
                <c:pt idx="34">
                  <c:v>0.6217628125669699</c:v>
                </c:pt>
                <c:pt idx="35">
                  <c:v>0.6931999893651332</c:v>
                </c:pt>
                <c:pt idx="36">
                  <c:v>0.7202364697585788</c:v>
                </c:pt>
                <c:pt idx="37">
                  <c:v>0.6866472645170308</c:v>
                </c:pt>
                <c:pt idx="38">
                  <c:v>0.7234937602230931</c:v>
                </c:pt>
                <c:pt idx="39">
                  <c:v>0.7438534262856892</c:v>
                </c:pt>
                <c:pt idx="40">
                  <c:v>0.7542548526325802</c:v>
                </c:pt>
                <c:pt idx="41">
                  <c:v>0.7329663464887551</c:v>
                </c:pt>
                <c:pt idx="42">
                  <c:v>0.7656556579243925</c:v>
                </c:pt>
                <c:pt idx="43">
                  <c:v>0.7725394603982917</c:v>
                </c:pt>
                <c:pt idx="44">
                  <c:v>0.7251108075540242</c:v>
                </c:pt>
                <c:pt idx="45">
                  <c:v>0.7076886616100492</c:v>
                </c:pt>
                <c:pt idx="46">
                  <c:v>0.7079112261774051</c:v>
                </c:pt>
                <c:pt idx="47">
                  <c:v>0.7100898433943309</c:v>
                </c:pt>
                <c:pt idx="48">
                  <c:v>0.7086228928001779</c:v>
                </c:pt>
                <c:pt idx="49">
                  <c:v>0.7195590385028158</c:v>
                </c:pt>
                <c:pt idx="50">
                  <c:v>0.6843775076921297</c:v>
                </c:pt>
                <c:pt idx="51">
                  <c:v>0.6862615452676056</c:v>
                </c:pt>
                <c:pt idx="52">
                  <c:v>0.696144557566171</c:v>
                </c:pt>
                <c:pt idx="53">
                  <c:v>0.6726544608005584</c:v>
                </c:pt>
                <c:pt idx="54">
                  <c:v>0.6514463679649038</c:v>
                </c:pt>
                <c:pt idx="55">
                  <c:v>0.6602074630842416</c:v>
                </c:pt>
                <c:pt idx="56">
                  <c:v>0.6677466391526665</c:v>
                </c:pt>
                <c:pt idx="57">
                  <c:v>0.6666389253936441</c:v>
                </c:pt>
                <c:pt idx="58">
                  <c:v>0.652219567336464</c:v>
                </c:pt>
                <c:pt idx="59">
                  <c:v>0.6690819600452786</c:v>
                </c:pt>
                <c:pt idx="60">
                  <c:v>0.6744167552859419</c:v>
                </c:pt>
                <c:pt idx="61">
                  <c:v>0.6780368112138684</c:v>
                </c:pt>
                <c:pt idx="62">
                  <c:v>0.6747742505386335</c:v>
                </c:pt>
                <c:pt idx="63">
                  <c:v>0.688584935700058</c:v>
                </c:pt>
                <c:pt idx="64">
                  <c:v>0.7265290115606038</c:v>
                </c:pt>
                <c:pt idx="65">
                  <c:v>0.7352561906697804</c:v>
                </c:pt>
                <c:pt idx="66">
                  <c:v>0.7268081473985425</c:v>
                </c:pt>
                <c:pt idx="67">
                  <c:v>0.7267089958549868</c:v>
                </c:pt>
                <c:pt idx="68">
                  <c:v>0.7181107123349303</c:v>
                </c:pt>
                <c:pt idx="69">
                  <c:v>0.714401222638605</c:v>
                </c:pt>
                <c:pt idx="70">
                  <c:v>0.6881200528550482</c:v>
                </c:pt>
                <c:pt idx="71">
                  <c:v>0.6559005506013171</c:v>
                </c:pt>
                <c:pt idx="72">
                  <c:v>0.6895911062677588</c:v>
                </c:pt>
                <c:pt idx="73">
                  <c:v>0.6679523570672863</c:v>
                </c:pt>
                <c:pt idx="74">
                  <c:v>0.6319951090659726</c:v>
                </c:pt>
                <c:pt idx="75">
                  <c:v>0.6190590659136467</c:v>
                </c:pt>
                <c:pt idx="76">
                  <c:v>0.6271492982960193</c:v>
                </c:pt>
                <c:pt idx="77">
                  <c:v>0.625250428849625</c:v>
                </c:pt>
                <c:pt idx="78">
                  <c:v>0.6653172776374743</c:v>
                </c:pt>
                <c:pt idx="79">
                  <c:v>0.46006794578436555</c:v>
                </c:pt>
                <c:pt idx="80">
                  <c:v>0.4871646267346731</c:v>
                </c:pt>
                <c:pt idx="81">
                  <c:v>0.609704450343148</c:v>
                </c:pt>
                <c:pt idx="82">
                  <c:v>0.6017751341835089</c:v>
                </c:pt>
                <c:pt idx="83">
                  <c:v>0.5934690225134359</c:v>
                </c:pt>
                <c:pt idx="84">
                  <c:v>0.603850297213249</c:v>
                </c:pt>
                <c:pt idx="85">
                  <c:v>0.6200955827606851</c:v>
                </c:pt>
                <c:pt idx="86">
                  <c:v>0.6989631428414266</c:v>
                </c:pt>
                <c:pt idx="87">
                  <c:v>0.7388464845043734</c:v>
                </c:pt>
                <c:pt idx="88">
                  <c:v>0.6904108011541339</c:v>
                </c:pt>
                <c:pt idx="89">
                  <c:v>0.6466371508184434</c:v>
                </c:pt>
                <c:pt idx="90">
                  <c:v>0.659172386567321</c:v>
                </c:pt>
                <c:pt idx="91">
                  <c:v>0.6956175069323232</c:v>
                </c:pt>
                <c:pt idx="92">
                  <c:v>0.7191368279652915</c:v>
                </c:pt>
                <c:pt idx="93">
                  <c:v>0.7333035862102293</c:v>
                </c:pt>
                <c:pt idx="94">
                  <c:v>0.7433461251778001</c:v>
                </c:pt>
                <c:pt idx="95">
                  <c:v>0.7714676752199627</c:v>
                </c:pt>
                <c:pt idx="96">
                  <c:v>0.7570260654906334</c:v>
                </c:pt>
                <c:pt idx="97">
                  <c:v>0.8144568368546318</c:v>
                </c:pt>
                <c:pt idx="98">
                  <c:v>0.8217730516160133</c:v>
                </c:pt>
                <c:pt idx="99">
                  <c:v>0.8077834451896673</c:v>
                </c:pt>
                <c:pt idx="100">
                  <c:v>0.803420941521344</c:v>
                </c:pt>
                <c:pt idx="101">
                  <c:v>0.7675654067243941</c:v>
                </c:pt>
                <c:pt idx="102">
                  <c:v>0.7638815482606942</c:v>
                </c:pt>
                <c:pt idx="103">
                  <c:v>0.7046850237378072</c:v>
                </c:pt>
                <c:pt idx="104">
                  <c:v>0.7180187785252309</c:v>
                </c:pt>
              </c:numCache>
            </c:numRef>
          </c:xVal>
          <c:yVal>
            <c:numRef>
              <c:f>Sheet1!$B$2:$B$106</c:f>
              <c:numCache>
                <c:formatCode>General</c:formatCode>
                <c:ptCount val="105"/>
                <c:pt idx="0">
                  <c:v>0.2142778451030076</c:v>
                </c:pt>
                <c:pt idx="1">
                  <c:v>0.2205680119581465</c:v>
                </c:pt>
                <c:pt idx="2">
                  <c:v>0.20282753182381436</c:v>
                </c:pt>
                <c:pt idx="3">
                  <c:v>0.20211971936109868</c:v>
                </c:pt>
                <c:pt idx="4">
                  <c:v>0.19169137371170408</c:v>
                </c:pt>
                <c:pt idx="5">
                  <c:v>0.1788611996522747</c:v>
                </c:pt>
                <c:pt idx="6">
                  <c:v>0.1940596137699412</c:v>
                </c:pt>
                <c:pt idx="7">
                  <c:v>0.18765172357986729</c:v>
                </c:pt>
                <c:pt idx="8">
                  <c:v>0.2003025337199042</c:v>
                </c:pt>
                <c:pt idx="9">
                  <c:v>0.19964681025511652</c:v>
                </c:pt>
                <c:pt idx="10">
                  <c:v>0.21146317592366037</c:v>
                </c:pt>
                <c:pt idx="11">
                  <c:v>0.20691998764287922</c:v>
                </c:pt>
                <c:pt idx="12">
                  <c:v>0.2121600091043587</c:v>
                </c:pt>
                <c:pt idx="13">
                  <c:v>0.21832690755850445</c:v>
                </c:pt>
                <c:pt idx="14">
                  <c:v>0.21323685246298707</c:v>
                </c:pt>
                <c:pt idx="15">
                  <c:v>0.21025421613719827</c:v>
                </c:pt>
                <c:pt idx="16">
                  <c:v>0.19590357520970764</c:v>
                </c:pt>
                <c:pt idx="17">
                  <c:v>0.19084721475909008</c:v>
                </c:pt>
                <c:pt idx="18">
                  <c:v>0.17428241089830593</c:v>
                </c:pt>
                <c:pt idx="19">
                  <c:v>0.15911344415281423</c:v>
                </c:pt>
                <c:pt idx="20">
                  <c:v>0.17342784616121462</c:v>
                </c:pt>
                <c:pt idx="21">
                  <c:v>0.1697351229362157</c:v>
                </c:pt>
                <c:pt idx="22">
                  <c:v>0.16864132036545829</c:v>
                </c:pt>
                <c:pt idx="23">
                  <c:v>0.16985230234578627</c:v>
                </c:pt>
                <c:pt idx="24">
                  <c:v>0.17376209447922594</c:v>
                </c:pt>
                <c:pt idx="25">
                  <c:v>0.17251215559157212</c:v>
                </c:pt>
                <c:pt idx="26">
                  <c:v>0.17551114174132781</c:v>
                </c:pt>
                <c:pt idx="27">
                  <c:v>0.16991130696714454</c:v>
                </c:pt>
                <c:pt idx="28">
                  <c:v>0.16685584562996594</c:v>
                </c:pt>
                <c:pt idx="29">
                  <c:v>0.18139695371420123</c:v>
                </c:pt>
                <c:pt idx="30">
                  <c:v>0.16671959352175295</c:v>
                </c:pt>
                <c:pt idx="31">
                  <c:v>0.1619269428781564</c:v>
                </c:pt>
                <c:pt idx="32">
                  <c:v>0.17044424297370808</c:v>
                </c:pt>
                <c:pt idx="33">
                  <c:v>0.1885484873106151</c:v>
                </c:pt>
                <c:pt idx="34">
                  <c:v>0.18400170648464165</c:v>
                </c:pt>
                <c:pt idx="35">
                  <c:v>0.1867177033492823</c:v>
                </c:pt>
                <c:pt idx="36">
                  <c:v>0.15092002018996925</c:v>
                </c:pt>
                <c:pt idx="37">
                  <c:v>0.13891682990100057</c:v>
                </c:pt>
                <c:pt idx="38">
                  <c:v>0.13205435651478817</c:v>
                </c:pt>
                <c:pt idx="39">
                  <c:v>0.13110424276482158</c:v>
                </c:pt>
                <c:pt idx="40">
                  <c:v>0.13415972921050223</c:v>
                </c:pt>
                <c:pt idx="41">
                  <c:v>0.12268412770925334</c:v>
                </c:pt>
                <c:pt idx="42">
                  <c:v>0.12946893439777854</c:v>
                </c:pt>
                <c:pt idx="43">
                  <c:v>0.13465698393077874</c:v>
                </c:pt>
                <c:pt idx="44">
                  <c:v>0.1520209077265435</c:v>
                </c:pt>
                <c:pt idx="45">
                  <c:v>0.17098201675925054</c:v>
                </c:pt>
                <c:pt idx="46">
                  <c:v>0.1779121432824882</c:v>
                </c:pt>
                <c:pt idx="47">
                  <c:v>0.17797305213825423</c:v>
                </c:pt>
                <c:pt idx="48">
                  <c:v>0.19519969998124884</c:v>
                </c:pt>
                <c:pt idx="49">
                  <c:v>0.22485192969048529</c:v>
                </c:pt>
                <c:pt idx="50">
                  <c:v>0.18717832957110608</c:v>
                </c:pt>
                <c:pt idx="51">
                  <c:v>0.17017403535868936</c:v>
                </c:pt>
                <c:pt idx="52">
                  <c:v>0.18587524683470785</c:v>
                </c:pt>
                <c:pt idx="53">
                  <c:v>0.17409405418083734</c:v>
                </c:pt>
                <c:pt idx="54">
                  <c:v>0.16918866709594332</c:v>
                </c:pt>
                <c:pt idx="55">
                  <c:v>0.16388502549837738</c:v>
                </c:pt>
                <c:pt idx="56">
                  <c:v>0.17452272343301234</c:v>
                </c:pt>
                <c:pt idx="57">
                  <c:v>0.16809585679226216</c:v>
                </c:pt>
                <c:pt idx="58">
                  <c:v>0.18187869428617073</c:v>
                </c:pt>
                <c:pt idx="59">
                  <c:v>0.18989330478919927</c:v>
                </c:pt>
                <c:pt idx="60">
                  <c:v>0.19817356799756983</c:v>
                </c:pt>
                <c:pt idx="61">
                  <c:v>0.19613014414038019</c:v>
                </c:pt>
                <c:pt idx="62">
                  <c:v>0.2017100956537183</c:v>
                </c:pt>
                <c:pt idx="63">
                  <c:v>0.21835377499597303</c:v>
                </c:pt>
                <c:pt idx="64">
                  <c:v>0.2085806799784134</c:v>
                </c:pt>
                <c:pt idx="65">
                  <c:v>0.1998825371965544</c:v>
                </c:pt>
                <c:pt idx="66">
                  <c:v>0.1973831585378271</c:v>
                </c:pt>
                <c:pt idx="67">
                  <c:v>0.19430203994446224</c:v>
                </c:pt>
                <c:pt idx="68">
                  <c:v>0.17686881148967132</c:v>
                </c:pt>
                <c:pt idx="69">
                  <c:v>0.16319170984455958</c:v>
                </c:pt>
                <c:pt idx="70">
                  <c:v>0.1533490937746257</c:v>
                </c:pt>
                <c:pt idx="71">
                  <c:v>0.16064874093043108</c:v>
                </c:pt>
                <c:pt idx="72">
                  <c:v>0.1608600759841565</c:v>
                </c:pt>
                <c:pt idx="73">
                  <c:v>0.16387831072696932</c:v>
                </c:pt>
                <c:pt idx="74">
                  <c:v>0.16418766646179062</c:v>
                </c:pt>
                <c:pt idx="75">
                  <c:v>0.16404559226662818</c:v>
                </c:pt>
                <c:pt idx="76">
                  <c:v>0.1593002315410342</c:v>
                </c:pt>
                <c:pt idx="77">
                  <c:v>0.15677497498551793</c:v>
                </c:pt>
                <c:pt idx="78">
                  <c:v>0.1476671759313668</c:v>
                </c:pt>
                <c:pt idx="79">
                  <c:v>0.1968398223691005</c:v>
                </c:pt>
                <c:pt idx="80">
                  <c:v>0.18245957359151302</c:v>
                </c:pt>
                <c:pt idx="81">
                  <c:v>0.1518782525036078</c:v>
                </c:pt>
                <c:pt idx="82">
                  <c:v>0.1534860108303249</c:v>
                </c:pt>
                <c:pt idx="83">
                  <c:v>0.1381531383503122</c:v>
                </c:pt>
                <c:pt idx="84">
                  <c:v>0.13925314517739465</c:v>
                </c:pt>
                <c:pt idx="85">
                  <c:v>0.14105925537493444</c:v>
                </c:pt>
                <c:pt idx="86">
                  <c:v>0.13826324124582087</c:v>
                </c:pt>
                <c:pt idx="87">
                  <c:v>0.1598108549190275</c:v>
                </c:pt>
                <c:pt idx="88">
                  <c:v>0.1421685470628741</c:v>
                </c:pt>
                <c:pt idx="89">
                  <c:v>0.13221375807940905</c:v>
                </c:pt>
                <c:pt idx="90">
                  <c:v>0.1263700456188163</c:v>
                </c:pt>
                <c:pt idx="91">
                  <c:v>0.1283997469955724</c:v>
                </c:pt>
                <c:pt idx="92">
                  <c:v>0.13316432357686103</c:v>
                </c:pt>
                <c:pt idx="93">
                  <c:v>0.12460783880517874</c:v>
                </c:pt>
                <c:pt idx="94">
                  <c:v>0.1268574297188755</c:v>
                </c:pt>
                <c:pt idx="95">
                  <c:v>0.1355782337987695</c:v>
                </c:pt>
                <c:pt idx="96">
                  <c:v>0.13646737847267768</c:v>
                </c:pt>
                <c:pt idx="97">
                  <c:v>0.14375402446877011</c:v>
                </c:pt>
                <c:pt idx="98">
                  <c:v>0.1603094530735948</c:v>
                </c:pt>
                <c:pt idx="99">
                  <c:v>0.1650910727889743</c:v>
                </c:pt>
                <c:pt idx="100">
                  <c:v>0.187766499377382</c:v>
                </c:pt>
                <c:pt idx="101">
                  <c:v>0.16697459082313562</c:v>
                </c:pt>
                <c:pt idx="102">
                  <c:v>0.13658866495333424</c:v>
                </c:pt>
                <c:pt idx="103">
                  <c:v>0.1561864579097194</c:v>
                </c:pt>
                <c:pt idx="104">
                  <c:v>0.1626277200318011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405313328329555</c:v>
                </c:pt>
                <c:pt idx="1">
                  <c:v>0.6931682963422836</c:v>
                </c:pt>
                <c:pt idx="2">
                  <c:v>0.6971536774251509</c:v>
                </c:pt>
                <c:pt idx="3">
                  <c:v>0.6948850525015106</c:v>
                </c:pt>
                <c:pt idx="4">
                  <c:v>0.687245736302952</c:v>
                </c:pt>
                <c:pt idx="5">
                  <c:v>0.707363590661429</c:v>
                </c:pt>
                <c:pt idx="6">
                  <c:v>0.7133628149841326</c:v>
                </c:pt>
                <c:pt idx="7">
                  <c:v>0.7166308313449257</c:v>
                </c:pt>
                <c:pt idx="8">
                  <c:v>0.7560914335907295</c:v>
                </c:pt>
                <c:pt idx="9">
                  <c:v>0.7331659916637121</c:v>
                </c:pt>
                <c:pt idx="10">
                  <c:v>0.7422231323716504</c:v>
                </c:pt>
                <c:pt idx="11">
                  <c:v>0.7407337618148393</c:v>
                </c:pt>
                <c:pt idx="12">
                  <c:v>0.7373232798498796</c:v>
                </c:pt>
                <c:pt idx="13">
                  <c:v>0.7056300398950581</c:v>
                </c:pt>
                <c:pt idx="14">
                  <c:v>0.7143006910974656</c:v>
                </c:pt>
                <c:pt idx="15">
                  <c:v>0.7123314154549608</c:v>
                </c:pt>
                <c:pt idx="16">
                  <c:v>0.7366418605106573</c:v>
                </c:pt>
                <c:pt idx="17">
                  <c:v>0.7178208418509344</c:v>
                </c:pt>
                <c:pt idx="18">
                  <c:v>0.7102557869543852</c:v>
                </c:pt>
                <c:pt idx="19">
                  <c:v>0.7121486819839338</c:v>
                </c:pt>
                <c:pt idx="20">
                  <c:v>0.6829733779166438</c:v>
                </c:pt>
                <c:pt idx="21">
                  <c:v>0.6568006262426782</c:v>
                </c:pt>
                <c:pt idx="22">
                  <c:v>0.6357053822761507</c:v>
                </c:pt>
                <c:pt idx="23">
                  <c:v>0.6105762248324772</c:v>
                </c:pt>
                <c:pt idx="24">
                  <c:v>0.6073522751797931</c:v>
                </c:pt>
                <c:pt idx="25">
                  <c:v>0.6268579408142659</c:v>
                </c:pt>
                <c:pt idx="26">
                  <c:v>0.6540068595389412</c:v>
                </c:pt>
                <c:pt idx="27">
                  <c:v>0.7125862328294776</c:v>
                </c:pt>
                <c:pt idx="28">
                  <c:v>0.7100485118130941</c:v>
                </c:pt>
                <c:pt idx="29">
                  <c:v>0.6732583724666131</c:v>
                </c:pt>
                <c:pt idx="30">
                  <c:v>0.6572630815511216</c:v>
                </c:pt>
                <c:pt idx="31">
                  <c:v>0.6226154494803189</c:v>
                </c:pt>
                <c:pt idx="32">
                  <c:v>0.6317566802827481</c:v>
                </c:pt>
                <c:pt idx="33">
                  <c:v>0.6791721814706639</c:v>
                </c:pt>
                <c:pt idx="34">
                  <c:v>0.7230428769591188</c:v>
                </c:pt>
                <c:pt idx="35">
                  <c:v>0.6831665289097894</c:v>
                </c:pt>
                <c:pt idx="36">
                  <c:v>0.6099528189330274</c:v>
                </c:pt>
                <c:pt idx="37">
                  <c:v>0.6449880647527085</c:v>
                </c:pt>
                <c:pt idx="38">
                  <c:v>0.6304049279571127</c:v>
                </c:pt>
                <c:pt idx="39">
                  <c:v>0.6860948780654553</c:v>
                </c:pt>
                <c:pt idx="40">
                  <c:v>0.6894300889127107</c:v>
                </c:pt>
                <c:pt idx="41">
                  <c:v>0.7189273685120494</c:v>
                </c:pt>
                <c:pt idx="42">
                  <c:v>0.6910437916697335</c:v>
                </c:pt>
                <c:pt idx="43">
                  <c:v>0.736450703892647</c:v>
                </c:pt>
                <c:pt idx="44">
                  <c:v>0.7905129370909182</c:v>
                </c:pt>
                <c:pt idx="45">
                  <c:v>0.7967269663280154</c:v>
                </c:pt>
                <c:pt idx="46">
                  <c:v>0.7618574662500689</c:v>
                </c:pt>
                <c:pt idx="47">
                  <c:v>0.7758373277944233</c:v>
                </c:pt>
                <c:pt idx="48">
                  <c:v>0.809361226320648</c:v>
                </c:pt>
                <c:pt idx="49">
                  <c:v>0.8195653453483743</c:v>
                </c:pt>
                <c:pt idx="50">
                  <c:v>0.7618105231000768</c:v>
                </c:pt>
                <c:pt idx="51">
                  <c:v>0.7380057392211735</c:v>
                </c:pt>
              </c:numCache>
            </c:numRef>
          </c:xVal>
          <c:yVal>
            <c:numRef>
              <c:f>Sheet1!$B$109:$B$160</c:f>
              <c:numCache>
                <c:formatCode>General</c:formatCode>
                <c:ptCount val="52"/>
                <c:pt idx="0">
                  <c:v>0.16042421801584106</c:v>
                </c:pt>
                <c:pt idx="1">
                  <c:v>0.1612637674577041</c:v>
                </c:pt>
                <c:pt idx="2">
                  <c:v>0.16775339337815554</c:v>
                </c:pt>
                <c:pt idx="3">
                  <c:v>0.1756908617254942</c:v>
                </c:pt>
                <c:pt idx="4">
                  <c:v>0.16415379315827128</c:v>
                </c:pt>
                <c:pt idx="5">
                  <c:v>0.15967930961005752</c:v>
                </c:pt>
                <c:pt idx="6">
                  <c:v>0.16484727090635953</c:v>
                </c:pt>
                <c:pt idx="7">
                  <c:v>0.16083796201056025</c:v>
                </c:pt>
                <c:pt idx="8">
                  <c:v>0.15839402427637722</c:v>
                </c:pt>
                <c:pt idx="9">
                  <c:v>0.17182142367302153</c:v>
                </c:pt>
                <c:pt idx="10">
                  <c:v>0.17353493428204367</c:v>
                </c:pt>
                <c:pt idx="11">
                  <c:v>0.1859548901802423</c:v>
                </c:pt>
                <c:pt idx="12">
                  <c:v>0.1843858470496025</c:v>
                </c:pt>
                <c:pt idx="13">
                  <c:v>0.17723035562958417</c:v>
                </c:pt>
                <c:pt idx="14">
                  <c:v>0.1776102646351243</c:v>
                </c:pt>
                <c:pt idx="15">
                  <c:v>0.16769804095866525</c:v>
                </c:pt>
                <c:pt idx="16">
                  <c:v>0.15306283549100094</c:v>
                </c:pt>
                <c:pt idx="17">
                  <c:v>0.14180516702320223</c:v>
                </c:pt>
                <c:pt idx="18">
                  <c:v>0.13951390628915059</c:v>
                </c:pt>
                <c:pt idx="19">
                  <c:v>0.14639242269477204</c:v>
                </c:pt>
                <c:pt idx="20">
                  <c:v>0.13639398141015766</c:v>
                </c:pt>
                <c:pt idx="21">
                  <c:v>0.14214182887901358</c:v>
                </c:pt>
                <c:pt idx="22">
                  <c:v>0.14651061985262245</c:v>
                </c:pt>
                <c:pt idx="23">
                  <c:v>0.1576090386921669</c:v>
                </c:pt>
                <c:pt idx="24">
                  <c:v>0.1565886053827333</c:v>
                </c:pt>
                <c:pt idx="25">
                  <c:v>0.16612517623980874</c:v>
                </c:pt>
                <c:pt idx="26">
                  <c:v>0.14653522760220353</c:v>
                </c:pt>
                <c:pt idx="27">
                  <c:v>0.13360452216176238</c:v>
                </c:pt>
                <c:pt idx="28">
                  <c:v>0.1337837194918883</c:v>
                </c:pt>
                <c:pt idx="29">
                  <c:v>0.13376526575311048</c:v>
                </c:pt>
                <c:pt idx="30">
                  <c:v>0.14407233359110105</c:v>
                </c:pt>
                <c:pt idx="31">
                  <c:v>0.1396712858524009</c:v>
                </c:pt>
                <c:pt idx="32">
                  <c:v>0.1396373496017624</c:v>
                </c:pt>
                <c:pt idx="33">
                  <c:v>0.16308158817397897</c:v>
                </c:pt>
                <c:pt idx="34">
                  <c:v>0.18258865511857855</c:v>
                </c:pt>
                <c:pt idx="35">
                  <c:v>0.17914450453671837</c:v>
                </c:pt>
                <c:pt idx="36">
                  <c:v>0.14748953974895398</c:v>
                </c:pt>
                <c:pt idx="37">
                  <c:v>0.13699057604693254</c:v>
                </c:pt>
                <c:pt idx="38">
                  <c:v>0.13885786093270036</c:v>
                </c:pt>
                <c:pt idx="39">
                  <c:v>0.15527694995375604</c:v>
                </c:pt>
                <c:pt idx="40">
                  <c:v>0.13792760540970564</c:v>
                </c:pt>
                <c:pt idx="41">
                  <c:v>0.1385128783605941</c:v>
                </c:pt>
                <c:pt idx="42">
                  <c:v>0.13558246523187562</c:v>
                </c:pt>
                <c:pt idx="43">
                  <c:v>0.13361305720224806</c:v>
                </c:pt>
                <c:pt idx="44">
                  <c:v>0.12871882516774275</c:v>
                </c:pt>
                <c:pt idx="45">
                  <c:v>0.14652119820078477</c:v>
                </c:pt>
                <c:pt idx="46">
                  <c:v>0.1401140629925773</c:v>
                </c:pt>
                <c:pt idx="47">
                  <c:v>0.14296841426729695</c:v>
                </c:pt>
                <c:pt idx="48">
                  <c:v>0.13464430825869306</c:v>
                </c:pt>
                <c:pt idx="49">
                  <c:v>0.14968912445214555</c:v>
                </c:pt>
                <c:pt idx="50">
                  <c:v>0.186339019767127</c:v>
                </c:pt>
                <c:pt idx="51">
                  <c:v>0.166713867648447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121514033788109</c:v>
                </c:pt>
              </c:numCache>
            </c:numRef>
          </c:xVal>
          <c:yVal>
            <c:numRef>
              <c:f>Sheet1!$B$163:$B$164</c:f>
              <c:numCache>
                <c:formatCode>General</c:formatCode>
                <c:ptCount val="2"/>
                <c:pt idx="0">
                  <c:v>0.19915106140886207</c:v>
                </c:pt>
                <c:pt idx="1">
                  <c:v>0.1991510614088620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121514033788109</c:v>
                </c:pt>
                <c:pt idx="1">
                  <c:v>2.121514033788109</c:v>
                </c:pt>
              </c:numCache>
            </c:numRef>
          </c:xVal>
          <c:yVal>
            <c:numRef>
              <c:f>Sheet1!$B$167:$B$168</c:f>
              <c:numCache>
                <c:formatCode>General</c:formatCode>
                <c:ptCount val="2"/>
                <c:pt idx="0">
                  <c:v>0.1991510614088620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004970718389178</c:v>
                </c:pt>
              </c:numCache>
            </c:numRef>
          </c:xVal>
          <c:yVal>
            <c:numRef>
              <c:f>Sheet1!$B$171:$B$172</c:f>
              <c:numCache>
                <c:formatCode>General</c:formatCode>
                <c:ptCount val="2"/>
                <c:pt idx="0">
                  <c:v>0.1636716222820912</c:v>
                </c:pt>
                <c:pt idx="1">
                  <c:v>0.163671622282091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004970718389178</c:v>
                </c:pt>
                <c:pt idx="1">
                  <c:v>1.004970718389178</c:v>
                </c:pt>
              </c:numCache>
            </c:numRef>
          </c:xVal>
          <c:yVal>
            <c:numRef>
              <c:f>Sheet1!$B$175:$B$176</c:f>
              <c:numCache>
                <c:formatCode>General</c:formatCode>
                <c:ptCount val="2"/>
                <c:pt idx="0">
                  <c:v>0.163671622282091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455057163546992</c:v>
                </c:pt>
              </c:numCache>
            </c:numRef>
          </c:xVal>
          <c:yVal>
            <c:numRef>
              <c:f>Sheet1!$B$179:$B$180</c:f>
              <c:numCache>
                <c:formatCode>General</c:formatCode>
                <c:ptCount val="2"/>
                <c:pt idx="0">
                  <c:v>0.1458939828394611</c:v>
                </c:pt>
                <c:pt idx="1">
                  <c:v>0.145893982839461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455057163546992</c:v>
                </c:pt>
                <c:pt idx="1">
                  <c:v>0.4455057163546992</c:v>
                </c:pt>
              </c:numCache>
            </c:numRef>
          </c:xVal>
          <c:yVal>
            <c:numRef>
              <c:f>Sheet1!$B$183:$B$184</c:f>
              <c:numCache>
                <c:formatCode>General</c:formatCode>
                <c:ptCount val="2"/>
                <c:pt idx="0">
                  <c:v>0.145893982839461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405313328329555</c:v>
                </c:pt>
                <c:pt idx="1">
                  <c:v>0.6931682963422836</c:v>
                </c:pt>
                <c:pt idx="2">
                  <c:v>0.6971536774251509</c:v>
                </c:pt>
                <c:pt idx="3">
                  <c:v>0.6948850525015106</c:v>
                </c:pt>
                <c:pt idx="4">
                  <c:v>0.687245736302952</c:v>
                </c:pt>
                <c:pt idx="5">
                  <c:v>0.707363590661429</c:v>
                </c:pt>
                <c:pt idx="6">
                  <c:v>0.7133628149841326</c:v>
                </c:pt>
                <c:pt idx="7">
                  <c:v>0.7166308313449257</c:v>
                </c:pt>
                <c:pt idx="8">
                  <c:v>0.7560914335907295</c:v>
                </c:pt>
                <c:pt idx="9">
                  <c:v>0.7331659916637121</c:v>
                </c:pt>
                <c:pt idx="10">
                  <c:v>0.7422231323716504</c:v>
                </c:pt>
                <c:pt idx="11">
                  <c:v>0.7407337618148393</c:v>
                </c:pt>
                <c:pt idx="12">
                  <c:v>0.7373232798498796</c:v>
                </c:pt>
                <c:pt idx="13">
                  <c:v>0.7056300398950581</c:v>
                </c:pt>
                <c:pt idx="14">
                  <c:v>0.7143006910974656</c:v>
                </c:pt>
                <c:pt idx="15">
                  <c:v>0.7123314154549608</c:v>
                </c:pt>
                <c:pt idx="16">
                  <c:v>0.7366418605106573</c:v>
                </c:pt>
                <c:pt idx="17">
                  <c:v>0.7178208418509344</c:v>
                </c:pt>
                <c:pt idx="18">
                  <c:v>0.7102557869543852</c:v>
                </c:pt>
                <c:pt idx="19">
                  <c:v>0.7121486819839338</c:v>
                </c:pt>
                <c:pt idx="20">
                  <c:v>0.6829733779166438</c:v>
                </c:pt>
                <c:pt idx="21">
                  <c:v>0.6568006262426782</c:v>
                </c:pt>
                <c:pt idx="22">
                  <c:v>0.6357053822761507</c:v>
                </c:pt>
                <c:pt idx="23">
                  <c:v>0.6105762248324772</c:v>
                </c:pt>
                <c:pt idx="24">
                  <c:v>0.6073522751797931</c:v>
                </c:pt>
                <c:pt idx="25">
                  <c:v>0.6268579408142659</c:v>
                </c:pt>
                <c:pt idx="26">
                  <c:v>0.6540068595389412</c:v>
                </c:pt>
                <c:pt idx="27">
                  <c:v>0.7125862328294776</c:v>
                </c:pt>
                <c:pt idx="28">
                  <c:v>0.7100485118130941</c:v>
                </c:pt>
                <c:pt idx="29">
                  <c:v>0.6732583724666131</c:v>
                </c:pt>
                <c:pt idx="30">
                  <c:v>0.6572630815511216</c:v>
                </c:pt>
                <c:pt idx="31">
                  <c:v>0.6226154494803189</c:v>
                </c:pt>
                <c:pt idx="32">
                  <c:v>0.6317566802827481</c:v>
                </c:pt>
                <c:pt idx="33">
                  <c:v>0.6791721814706639</c:v>
                </c:pt>
                <c:pt idx="34">
                  <c:v>0.7230428769591188</c:v>
                </c:pt>
                <c:pt idx="35">
                  <c:v>0.6831665289097894</c:v>
                </c:pt>
                <c:pt idx="36">
                  <c:v>0.6099528189330274</c:v>
                </c:pt>
                <c:pt idx="37">
                  <c:v>0.6449880647527085</c:v>
                </c:pt>
                <c:pt idx="38">
                  <c:v>0.6304049279571127</c:v>
                </c:pt>
                <c:pt idx="39">
                  <c:v>0.6860948780654553</c:v>
                </c:pt>
                <c:pt idx="40">
                  <c:v>0.6894300889127107</c:v>
                </c:pt>
                <c:pt idx="41">
                  <c:v>0.7189273685120494</c:v>
                </c:pt>
                <c:pt idx="42">
                  <c:v>0.6910437916697335</c:v>
                </c:pt>
                <c:pt idx="43">
                  <c:v>0.736450703892647</c:v>
                </c:pt>
                <c:pt idx="44">
                  <c:v>0.7905129370909182</c:v>
                </c:pt>
                <c:pt idx="45">
                  <c:v>0.7967269663280154</c:v>
                </c:pt>
                <c:pt idx="46">
                  <c:v>0.7618574662500689</c:v>
                </c:pt>
                <c:pt idx="47">
                  <c:v>0.7758373277944233</c:v>
                </c:pt>
                <c:pt idx="48">
                  <c:v>0.809361226320648</c:v>
                </c:pt>
                <c:pt idx="49">
                  <c:v>0.8195653453483743</c:v>
                </c:pt>
                <c:pt idx="50">
                  <c:v>0.7618105231000768</c:v>
                </c:pt>
                <c:pt idx="51">
                  <c:v>0.7380057392211735</c:v>
                </c:pt>
                <c:pt idx="52">
                  <c:v>1.004970718389178</c:v>
                </c:pt>
                <c:pt idx="53">
                  <c:v>2.121514033788109</c:v>
                </c:pt>
                <c:pt idx="54">
                  <c:v>0.4455057163546992</c:v>
                </c:pt>
              </c:numCache>
            </c:numRef>
          </c:xVal>
          <c:yVal>
            <c:numRef>
              <c:f>Sheet1!$B$187:$B$241</c:f>
              <c:numCache>
                <c:formatCode>General</c:formatCode>
                <c:ptCount val="55"/>
                <c:pt idx="0">
                  <c:v>0.15526875877185603</c:v>
                </c:pt>
                <c:pt idx="1">
                  <c:v>0.15376374419082348</c:v>
                </c:pt>
                <c:pt idx="2">
                  <c:v>0.15389038422670603</c:v>
                </c:pt>
                <c:pt idx="3">
                  <c:v>0.15381829607860673</c:v>
                </c:pt>
                <c:pt idx="4">
                  <c:v>0.15357554808101556</c:v>
                </c:pt>
                <c:pt idx="5">
                  <c:v>0.15421481588122427</c:v>
                </c:pt>
                <c:pt idx="6">
                  <c:v>0.15440544808619983</c:v>
                </c:pt>
                <c:pt idx="7">
                  <c:v>0.15450929303868752</c:v>
                </c:pt>
                <c:pt idx="8">
                  <c:v>0.1557631987456824</c:v>
                </c:pt>
                <c:pt idx="9">
                  <c:v>0.15503471664374682</c:v>
                </c:pt>
                <c:pt idx="10">
                  <c:v>0.15532251763451724</c:v>
                </c:pt>
                <c:pt idx="11">
                  <c:v>0.15527519118396327</c:v>
                </c:pt>
                <c:pt idx="12">
                  <c:v>0.15516681922418354</c:v>
                </c:pt>
                <c:pt idx="13">
                  <c:v>0.15415973032561675</c:v>
                </c:pt>
                <c:pt idx="14">
                  <c:v>0.154435250170913</c:v>
                </c:pt>
                <c:pt idx="15">
                  <c:v>0.15437267418812892</c:v>
                </c:pt>
                <c:pt idx="16">
                  <c:v>0.15514516634638442</c:v>
                </c:pt>
                <c:pt idx="17">
                  <c:v>0.1545471069817078</c:v>
                </c:pt>
                <c:pt idx="18">
                  <c:v>0.15430671872180682</c:v>
                </c:pt>
                <c:pt idx="19">
                  <c:v>0.15436686762337473</c:v>
                </c:pt>
                <c:pt idx="20">
                  <c:v>0.15343978901353986</c:v>
                </c:pt>
                <c:pt idx="21">
                  <c:v>0.15260811993542195</c:v>
                </c:pt>
                <c:pt idx="22">
                  <c:v>0.15193779446407435</c:v>
                </c:pt>
                <c:pt idx="23">
                  <c:v>0.15113928678458383</c:v>
                </c:pt>
                <c:pt idx="24">
                  <c:v>0.15103684210207788</c:v>
                </c:pt>
                <c:pt idx="25">
                  <c:v>0.15165665690635904</c:v>
                </c:pt>
                <c:pt idx="26">
                  <c:v>0.15251934480745996</c:v>
                </c:pt>
                <c:pt idx="27">
                  <c:v>0.15438077130124842</c:v>
                </c:pt>
                <c:pt idx="28">
                  <c:v>0.15430013231744927</c:v>
                </c:pt>
                <c:pt idx="29">
                  <c:v>0.15313108361919744</c:v>
                </c:pt>
                <c:pt idx="30">
                  <c:v>0.15262281498104935</c:v>
                </c:pt>
                <c:pt idx="31">
                  <c:v>0.15152184689858533</c:v>
                </c:pt>
                <c:pt idx="32">
                  <c:v>0.1518123199481532</c:v>
                </c:pt>
                <c:pt idx="33">
                  <c:v>0.15331900165486417</c:v>
                </c:pt>
                <c:pt idx="34">
                  <c:v>0.15471304311171138</c:v>
                </c:pt>
                <c:pt idx="35">
                  <c:v>0.15344592660695794</c:v>
                </c:pt>
                <c:pt idx="36">
                  <c:v>0.1511194773500946</c:v>
                </c:pt>
                <c:pt idx="37">
                  <c:v>0.15223276230214922</c:v>
                </c:pt>
                <c:pt idx="38">
                  <c:v>0.15176936647407796</c:v>
                </c:pt>
                <c:pt idx="39">
                  <c:v>0.15353897824604573</c:v>
                </c:pt>
                <c:pt idx="40">
                  <c:v>0.15364495838008813</c:v>
                </c:pt>
                <c:pt idx="41">
                  <c:v>0.15458226813020398</c:v>
                </c:pt>
                <c:pt idx="42">
                  <c:v>0.15369623562831208</c:v>
                </c:pt>
                <c:pt idx="43">
                  <c:v>0.1551390921265142</c:v>
                </c:pt>
                <c:pt idx="44">
                  <c:v>0.15685698133453838</c:v>
                </c:pt>
                <c:pt idx="45">
                  <c:v>0.15705443921101206</c:v>
                </c:pt>
                <c:pt idx="46">
                  <c:v>0.1559464210192105</c:v>
                </c:pt>
                <c:pt idx="47">
                  <c:v>0.1563906470871319</c:v>
                </c:pt>
                <c:pt idx="48">
                  <c:v>0.15745590725272457</c:v>
                </c:pt>
                <c:pt idx="49">
                  <c:v>0.1577801547896481</c:v>
                </c:pt>
                <c:pt idx="50">
                  <c:v>0.15594492934700255</c:v>
                </c:pt>
                <c:pt idx="51">
                  <c:v>0.15518850515018962</c:v>
                </c:pt>
                <c:pt idx="52">
                  <c:v>0.1636716222820912</c:v>
                </c:pt>
                <c:pt idx="53">
                  <c:v>0.19915106140886207</c:v>
                </c:pt>
                <c:pt idx="54">
                  <c:v>0.145893982839461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82231562858233"/>
          <c:min val="0.0981473021674026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83.6837</c:v>
                </c:pt>
                <c:pt idx="1">
                  <c:v>966.575</c:v>
                </c:pt>
                <c:pt idx="2">
                  <c:v>1004.1658</c:v>
                </c:pt>
                <c:pt idx="3">
                  <c:v>1025.9111</c:v>
                </c:pt>
                <c:pt idx="4">
                  <c:v>1038.8074</c:v>
                </c:pt>
                <c:pt idx="5">
                  <c:v>1044.8688</c:v>
                </c:pt>
                <c:pt idx="6">
                  <c:v>1014.7606</c:v>
                </c:pt>
                <c:pt idx="7">
                  <c:v>1035.9</c:v>
                </c:pt>
                <c:pt idx="8">
                  <c:v>1020.9862</c:v>
                </c:pt>
                <c:pt idx="9">
                  <c:v>983.7098</c:v>
                </c:pt>
                <c:pt idx="10">
                  <c:v>966.7723</c:v>
                </c:pt>
                <c:pt idx="11">
                  <c:v>986.2632</c:v>
                </c:pt>
                <c:pt idx="12">
                  <c:v>979.6116</c:v>
                </c:pt>
                <c:pt idx="13">
                  <c:v>969.0491</c:v>
                </c:pt>
                <c:pt idx="14">
                  <c:v>1017.9757</c:v>
                </c:pt>
                <c:pt idx="15">
                  <c:v>1022.9123</c:v>
                </c:pt>
                <c:pt idx="16">
                  <c:v>1027.0247</c:v>
                </c:pt>
                <c:pt idx="17">
                  <c:v>1046.7785</c:v>
                </c:pt>
                <c:pt idx="18">
                  <c:v>1082.9885</c:v>
                </c:pt>
                <c:pt idx="19">
                  <c:v>1112.702</c:v>
                </c:pt>
                <c:pt idx="20">
                  <c:v>1113.5595</c:v>
                </c:pt>
                <c:pt idx="21">
                  <c:v>1123.0637</c:v>
                </c:pt>
                <c:pt idx="22">
                  <c:v>1109.7099</c:v>
                </c:pt>
                <c:pt idx="23">
                  <c:v>1096.2532</c:v>
                </c:pt>
                <c:pt idx="24">
                  <c:v>1087.7789</c:v>
                </c:pt>
                <c:pt idx="25">
                  <c:v>1074.5479</c:v>
                </c:pt>
                <c:pt idx="26">
                  <c:v>1076.6063</c:v>
                </c:pt>
                <c:pt idx="27">
                  <c:v>1096.6786</c:v>
                </c:pt>
                <c:pt idx="28">
                  <c:v>1093.1422</c:v>
                </c:pt>
                <c:pt idx="29">
                  <c:v>999.1981</c:v>
                </c:pt>
                <c:pt idx="30">
                  <c:v>1041.2221</c:v>
                </c:pt>
                <c:pt idx="31">
                  <c:v>1043.179</c:v>
                </c:pt>
                <c:pt idx="32">
                  <c:v>1025.8911</c:v>
                </c:pt>
                <c:pt idx="33">
                  <c:v>959.0862</c:v>
                </c:pt>
                <c:pt idx="34">
                  <c:v>1036.0601</c:v>
                </c:pt>
                <c:pt idx="35">
                  <c:v>1102.8764</c:v>
                </c:pt>
                <c:pt idx="36">
                  <c:v>1176.0392</c:v>
                </c:pt>
                <c:pt idx="37">
                  <c:v>1175.9714</c:v>
                </c:pt>
                <c:pt idx="38">
                  <c:v>1225.3918</c:v>
                </c:pt>
                <c:pt idx="39">
                  <c:v>1244.9366</c:v>
                </c:pt>
                <c:pt idx="40">
                  <c:v>1278.2891</c:v>
                </c:pt>
                <c:pt idx="41">
                  <c:v>1300.506</c:v>
                </c:pt>
                <c:pt idx="42">
                  <c:v>1332.0198</c:v>
                </c:pt>
                <c:pt idx="43">
                  <c:v>1333.9435</c:v>
                </c:pt>
                <c:pt idx="44">
                  <c:v>1180.0243</c:v>
                </c:pt>
                <c:pt idx="45">
                  <c:v>1118.8867</c:v>
                </c:pt>
                <c:pt idx="46">
                  <c:v>1103.3498</c:v>
                </c:pt>
                <c:pt idx="47">
                  <c:v>1088.7106</c:v>
                </c:pt>
                <c:pt idx="48">
                  <c:v>1073.229</c:v>
                </c:pt>
                <c:pt idx="49">
                  <c:v>1047.2799</c:v>
                </c:pt>
                <c:pt idx="50">
                  <c:v>1065.2069</c:v>
                </c:pt>
                <c:pt idx="51">
                  <c:v>1086.4912</c:v>
                </c:pt>
                <c:pt idx="52">
                  <c:v>1088.2768</c:v>
                </c:pt>
                <c:pt idx="53">
                  <c:v>1179.5224</c:v>
                </c:pt>
                <c:pt idx="54">
                  <c:v>1186.0514</c:v>
                </c:pt>
                <c:pt idx="55">
                  <c:v>1197.8008</c:v>
                </c:pt>
                <c:pt idx="56">
                  <c:v>1224.728</c:v>
                </c:pt>
                <c:pt idx="57">
                  <c:v>1202.3301</c:v>
                </c:pt>
                <c:pt idx="58">
                  <c:v>1182.6987</c:v>
                </c:pt>
                <c:pt idx="59">
                  <c:v>1163.5995</c:v>
                </c:pt>
                <c:pt idx="60">
                  <c:v>1185.6169</c:v>
                </c:pt>
                <c:pt idx="61">
                  <c:v>1178.3637</c:v>
                </c:pt>
                <c:pt idx="62">
                  <c:v>1141.1633</c:v>
                </c:pt>
                <c:pt idx="63">
                  <c:v>1159.5331</c:v>
                </c:pt>
                <c:pt idx="64">
                  <c:v>1153.9833</c:v>
                </c:pt>
                <c:pt idx="65">
                  <c:v>1143.3808</c:v>
                </c:pt>
                <c:pt idx="66">
                  <c:v>1144.6878</c:v>
                </c:pt>
                <c:pt idx="67">
                  <c:v>1138.0805</c:v>
                </c:pt>
                <c:pt idx="68">
                  <c:v>1123.0104</c:v>
                </c:pt>
                <c:pt idx="69">
                  <c:v>1134.919</c:v>
                </c:pt>
                <c:pt idx="70">
                  <c:v>1121.3528</c:v>
                </c:pt>
                <c:pt idx="71">
                  <c:v>1158.9137</c:v>
                </c:pt>
                <c:pt idx="72">
                  <c:v>1204.4621</c:v>
                </c:pt>
                <c:pt idx="73">
                  <c:v>1202.6384</c:v>
                </c:pt>
                <c:pt idx="74">
                  <c:v>1150.7609</c:v>
                </c:pt>
                <c:pt idx="75">
                  <c:v>1145.2316</c:v>
                </c:pt>
                <c:pt idx="76">
                  <c:v>1153.8427</c:v>
                </c:pt>
                <c:pt idx="77">
                  <c:v>1128.7978</c:v>
                </c:pt>
                <c:pt idx="78">
                  <c:v>1203.9642</c:v>
                </c:pt>
                <c:pt idx="79">
                  <c:v>844.4785</c:v>
                </c:pt>
                <c:pt idx="80">
                  <c:v>854.282</c:v>
                </c:pt>
                <c:pt idx="81">
                  <c:v>1057.283</c:v>
                </c:pt>
                <c:pt idx="82">
                  <c:v>1067.2955</c:v>
                </c:pt>
                <c:pt idx="83">
                  <c:v>1074.5343</c:v>
                </c:pt>
                <c:pt idx="84">
                  <c:v>1080.6549</c:v>
                </c:pt>
                <c:pt idx="85">
                  <c:v>1106.9405</c:v>
                </c:pt>
                <c:pt idx="86">
                  <c:v>1214.7725</c:v>
                </c:pt>
                <c:pt idx="87">
                  <c:v>1247.265</c:v>
                </c:pt>
                <c:pt idx="88">
                  <c:v>1251.8316</c:v>
                </c:pt>
                <c:pt idx="89">
                  <c:v>1205.0642</c:v>
                </c:pt>
                <c:pt idx="90">
                  <c:v>1248.6367</c:v>
                </c:pt>
                <c:pt idx="91">
                  <c:v>1282.5477</c:v>
                </c:pt>
                <c:pt idx="92">
                  <c:v>1271.3538</c:v>
                </c:pt>
                <c:pt idx="93">
                  <c:v>1307.995</c:v>
                </c:pt>
                <c:pt idx="94">
                  <c:v>1301.7432</c:v>
                </c:pt>
                <c:pt idx="95">
                  <c:v>1299.1079</c:v>
                </c:pt>
                <c:pt idx="96">
                  <c:v>1213.9025</c:v>
                </c:pt>
                <c:pt idx="97">
                  <c:v>1238.7399</c:v>
                </c:pt>
                <c:pt idx="98">
                  <c:v>1218.5024</c:v>
                </c:pt>
                <c:pt idx="99">
                  <c:v>1181.5526</c:v>
                </c:pt>
                <c:pt idx="100">
                  <c:v>1169.6844</c:v>
                </c:pt>
                <c:pt idx="101">
                  <c:v>1229.0463</c:v>
                </c:pt>
                <c:pt idx="102">
                  <c:v>1274.6168</c:v>
                </c:pt>
                <c:pt idx="103">
                  <c:v>1129.6337</c:v>
                </c:pt>
                <c:pt idx="104">
                  <c:v>1199.132</c:v>
                </c:pt>
              </c:numCache>
            </c:numRef>
          </c:xVal>
          <c:yVal>
            <c:numRef>
              <c:f>Sheet1!$B$2:$B$106</c:f>
              <c:numCache>
                <c:formatCode>General</c:formatCode>
                <c:ptCount val="105"/>
                <c:pt idx="0">
                  <c:v>0.2142778451030076</c:v>
                </c:pt>
                <c:pt idx="1">
                  <c:v>0.2205680119581465</c:v>
                </c:pt>
                <c:pt idx="2">
                  <c:v>0.20282753182381436</c:v>
                </c:pt>
                <c:pt idx="3">
                  <c:v>0.20211971936109868</c:v>
                </c:pt>
                <c:pt idx="4">
                  <c:v>0.19169137371170408</c:v>
                </c:pt>
                <c:pt idx="5">
                  <c:v>0.1788611996522747</c:v>
                </c:pt>
                <c:pt idx="6">
                  <c:v>0.1940596137699412</c:v>
                </c:pt>
                <c:pt idx="7">
                  <c:v>0.18765172357986729</c:v>
                </c:pt>
                <c:pt idx="8">
                  <c:v>0.2003025337199042</c:v>
                </c:pt>
                <c:pt idx="9">
                  <c:v>0.19964681025511652</c:v>
                </c:pt>
                <c:pt idx="10">
                  <c:v>0.21146317592366037</c:v>
                </c:pt>
                <c:pt idx="11">
                  <c:v>0.20691998764287922</c:v>
                </c:pt>
                <c:pt idx="12">
                  <c:v>0.2121600091043587</c:v>
                </c:pt>
                <c:pt idx="13">
                  <c:v>0.21832690755850445</c:v>
                </c:pt>
                <c:pt idx="14">
                  <c:v>0.21323685246298707</c:v>
                </c:pt>
                <c:pt idx="15">
                  <c:v>0.21025421613719827</c:v>
                </c:pt>
                <c:pt idx="16">
                  <c:v>0.19590357520970764</c:v>
                </c:pt>
                <c:pt idx="17">
                  <c:v>0.19084721475909008</c:v>
                </c:pt>
                <c:pt idx="18">
                  <c:v>0.17428241089830593</c:v>
                </c:pt>
                <c:pt idx="19">
                  <c:v>0.15911344415281423</c:v>
                </c:pt>
                <c:pt idx="20">
                  <c:v>0.17342784616121462</c:v>
                </c:pt>
                <c:pt idx="21">
                  <c:v>0.1697351229362157</c:v>
                </c:pt>
                <c:pt idx="22">
                  <c:v>0.16864132036545829</c:v>
                </c:pt>
                <c:pt idx="23">
                  <c:v>0.16985230234578627</c:v>
                </c:pt>
                <c:pt idx="24">
                  <c:v>0.17376209447922594</c:v>
                </c:pt>
                <c:pt idx="25">
                  <c:v>0.17251215559157212</c:v>
                </c:pt>
                <c:pt idx="26">
                  <c:v>0.17551114174132781</c:v>
                </c:pt>
                <c:pt idx="27">
                  <c:v>0.16991130696714454</c:v>
                </c:pt>
                <c:pt idx="28">
                  <c:v>0.16685584562996594</c:v>
                </c:pt>
                <c:pt idx="29">
                  <c:v>0.18139695371420123</c:v>
                </c:pt>
                <c:pt idx="30">
                  <c:v>0.16671959352175295</c:v>
                </c:pt>
                <c:pt idx="31">
                  <c:v>0.1619269428781564</c:v>
                </c:pt>
                <c:pt idx="32">
                  <c:v>0.17044424297370808</c:v>
                </c:pt>
                <c:pt idx="33">
                  <c:v>0.1885484873106151</c:v>
                </c:pt>
                <c:pt idx="34">
                  <c:v>0.18400170648464165</c:v>
                </c:pt>
                <c:pt idx="35">
                  <c:v>0.1867177033492823</c:v>
                </c:pt>
                <c:pt idx="36">
                  <c:v>0.15092002018996925</c:v>
                </c:pt>
                <c:pt idx="37">
                  <c:v>0.13891682990100057</c:v>
                </c:pt>
                <c:pt idx="38">
                  <c:v>0.13205435651478817</c:v>
                </c:pt>
                <c:pt idx="39">
                  <c:v>0.13110424276482158</c:v>
                </c:pt>
                <c:pt idx="40">
                  <c:v>0.13415972921050223</c:v>
                </c:pt>
                <c:pt idx="41">
                  <c:v>0.12268412770925334</c:v>
                </c:pt>
                <c:pt idx="42">
                  <c:v>0.12946893439777854</c:v>
                </c:pt>
                <c:pt idx="43">
                  <c:v>0.13465698393077874</c:v>
                </c:pt>
                <c:pt idx="44">
                  <c:v>0.1520209077265435</c:v>
                </c:pt>
                <c:pt idx="45">
                  <c:v>0.17098201675925054</c:v>
                </c:pt>
                <c:pt idx="46">
                  <c:v>0.1779121432824882</c:v>
                </c:pt>
                <c:pt idx="47">
                  <c:v>0.17797305213825423</c:v>
                </c:pt>
                <c:pt idx="48">
                  <c:v>0.19519969998124884</c:v>
                </c:pt>
                <c:pt idx="49">
                  <c:v>0.22485192969048529</c:v>
                </c:pt>
                <c:pt idx="50">
                  <c:v>0.18717832957110608</c:v>
                </c:pt>
                <c:pt idx="51">
                  <c:v>0.17017403535868936</c:v>
                </c:pt>
                <c:pt idx="52">
                  <c:v>0.18587524683470785</c:v>
                </c:pt>
                <c:pt idx="53">
                  <c:v>0.17409405418083734</c:v>
                </c:pt>
                <c:pt idx="54">
                  <c:v>0.16918866709594332</c:v>
                </c:pt>
                <c:pt idx="55">
                  <c:v>0.16388502549837738</c:v>
                </c:pt>
                <c:pt idx="56">
                  <c:v>0.17452272343301234</c:v>
                </c:pt>
                <c:pt idx="57">
                  <c:v>0.16809585679226216</c:v>
                </c:pt>
                <c:pt idx="58">
                  <c:v>0.18187869428617073</c:v>
                </c:pt>
                <c:pt idx="59">
                  <c:v>0.18989330478919927</c:v>
                </c:pt>
                <c:pt idx="60">
                  <c:v>0.19817356799756983</c:v>
                </c:pt>
                <c:pt idx="61">
                  <c:v>0.19613014414038019</c:v>
                </c:pt>
                <c:pt idx="62">
                  <c:v>0.2017100956537183</c:v>
                </c:pt>
                <c:pt idx="63">
                  <c:v>0.21835377499597303</c:v>
                </c:pt>
                <c:pt idx="64">
                  <c:v>0.2085806799784134</c:v>
                </c:pt>
                <c:pt idx="65">
                  <c:v>0.1998825371965544</c:v>
                </c:pt>
                <c:pt idx="66">
                  <c:v>0.1973831585378271</c:v>
                </c:pt>
                <c:pt idx="67">
                  <c:v>0.19430203994446224</c:v>
                </c:pt>
                <c:pt idx="68">
                  <c:v>0.17686881148967132</c:v>
                </c:pt>
                <c:pt idx="69">
                  <c:v>0.16319170984455958</c:v>
                </c:pt>
                <c:pt idx="70">
                  <c:v>0.1533490937746257</c:v>
                </c:pt>
                <c:pt idx="71">
                  <c:v>0.16064874093043108</c:v>
                </c:pt>
                <c:pt idx="72">
                  <c:v>0.1608600759841565</c:v>
                </c:pt>
                <c:pt idx="73">
                  <c:v>0.16387831072696932</c:v>
                </c:pt>
                <c:pt idx="74">
                  <c:v>0.16418766646179062</c:v>
                </c:pt>
                <c:pt idx="75">
                  <c:v>0.16404559226662818</c:v>
                </c:pt>
                <c:pt idx="76">
                  <c:v>0.1593002315410342</c:v>
                </c:pt>
                <c:pt idx="77">
                  <c:v>0.15677497498551793</c:v>
                </c:pt>
                <c:pt idx="78">
                  <c:v>0.1476671759313668</c:v>
                </c:pt>
                <c:pt idx="79">
                  <c:v>0.1968398223691005</c:v>
                </c:pt>
                <c:pt idx="80">
                  <c:v>0.18245957359151302</c:v>
                </c:pt>
                <c:pt idx="81">
                  <c:v>0.1518782525036078</c:v>
                </c:pt>
                <c:pt idx="82">
                  <c:v>0.1534860108303249</c:v>
                </c:pt>
                <c:pt idx="83">
                  <c:v>0.1381531383503122</c:v>
                </c:pt>
                <c:pt idx="84">
                  <c:v>0.13925314517739465</c:v>
                </c:pt>
                <c:pt idx="85">
                  <c:v>0.14105925537493444</c:v>
                </c:pt>
                <c:pt idx="86">
                  <c:v>0.13826324124582087</c:v>
                </c:pt>
                <c:pt idx="87">
                  <c:v>0.1598108549190275</c:v>
                </c:pt>
                <c:pt idx="88">
                  <c:v>0.1421685470628741</c:v>
                </c:pt>
                <c:pt idx="89">
                  <c:v>0.13221375807940905</c:v>
                </c:pt>
                <c:pt idx="90">
                  <c:v>0.1263700456188163</c:v>
                </c:pt>
                <c:pt idx="91">
                  <c:v>0.1283997469955724</c:v>
                </c:pt>
                <c:pt idx="92">
                  <c:v>0.13316432357686103</c:v>
                </c:pt>
                <c:pt idx="93">
                  <c:v>0.12460783880517874</c:v>
                </c:pt>
                <c:pt idx="94">
                  <c:v>0.1268574297188755</c:v>
                </c:pt>
                <c:pt idx="95">
                  <c:v>0.1355782337987695</c:v>
                </c:pt>
                <c:pt idx="96">
                  <c:v>0.13646737847267768</c:v>
                </c:pt>
                <c:pt idx="97">
                  <c:v>0.14375402446877011</c:v>
                </c:pt>
                <c:pt idx="98">
                  <c:v>0.1603094530735948</c:v>
                </c:pt>
                <c:pt idx="99">
                  <c:v>0.1650910727889743</c:v>
                </c:pt>
                <c:pt idx="100">
                  <c:v>0.187766499377382</c:v>
                </c:pt>
                <c:pt idx="101">
                  <c:v>0.16697459082313562</c:v>
                </c:pt>
                <c:pt idx="102">
                  <c:v>0.13658866495333424</c:v>
                </c:pt>
                <c:pt idx="103">
                  <c:v>0.1561864579097194</c:v>
                </c:pt>
                <c:pt idx="104">
                  <c:v>0.1626277200318011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88.9327</c:v>
                </c:pt>
                <c:pt idx="1">
                  <c:v>1264.7948</c:v>
                </c:pt>
                <c:pt idx="2">
                  <c:v>1254.0339</c:v>
                </c:pt>
                <c:pt idx="3">
                  <c:v>1277.6914</c:v>
                </c:pt>
                <c:pt idx="4">
                  <c:v>1272.6031</c:v>
                </c:pt>
                <c:pt idx="5">
                  <c:v>1286.0535</c:v>
                </c:pt>
                <c:pt idx="6">
                  <c:v>1207.6482</c:v>
                </c:pt>
                <c:pt idx="7">
                  <c:v>1251.8346</c:v>
                </c:pt>
                <c:pt idx="8">
                  <c:v>1341.0979</c:v>
                </c:pt>
                <c:pt idx="9">
                  <c:v>1276.0834</c:v>
                </c:pt>
                <c:pt idx="10">
                  <c:v>1292.4704</c:v>
                </c:pt>
                <c:pt idx="11">
                  <c:v>1184.8218</c:v>
                </c:pt>
                <c:pt idx="12">
                  <c:v>1209.065</c:v>
                </c:pt>
                <c:pt idx="13">
                  <c:v>1246.2015</c:v>
                </c:pt>
                <c:pt idx="14">
                  <c:v>1263.2037</c:v>
                </c:pt>
                <c:pt idx="15">
                  <c:v>1276.3352</c:v>
                </c:pt>
                <c:pt idx="16">
                  <c:v>1324.1217</c:v>
                </c:pt>
                <c:pt idx="17">
                  <c:v>1293.1999</c:v>
                </c:pt>
                <c:pt idx="18">
                  <c:v>1275.0769</c:v>
                </c:pt>
                <c:pt idx="19">
                  <c:v>1350.0105</c:v>
                </c:pt>
                <c:pt idx="20">
                  <c:v>1345.6242</c:v>
                </c:pt>
                <c:pt idx="21">
                  <c:v>1296.731</c:v>
                </c:pt>
                <c:pt idx="22">
                  <c:v>1264.2388</c:v>
                </c:pt>
                <c:pt idx="23">
                  <c:v>1202.3616</c:v>
                </c:pt>
                <c:pt idx="24">
                  <c:v>1204.1696</c:v>
                </c:pt>
                <c:pt idx="25">
                  <c:v>1168.3572</c:v>
                </c:pt>
                <c:pt idx="26">
                  <c:v>1228.5477</c:v>
                </c:pt>
                <c:pt idx="27">
                  <c:v>1296.6797</c:v>
                </c:pt>
                <c:pt idx="28">
                  <c:v>1305.0441</c:v>
                </c:pt>
                <c:pt idx="29">
                  <c:v>1311.4076</c:v>
                </c:pt>
                <c:pt idx="30">
                  <c:v>1283.5974</c:v>
                </c:pt>
                <c:pt idx="31">
                  <c:v>1201.7503</c:v>
                </c:pt>
                <c:pt idx="32">
                  <c:v>1227.996</c:v>
                </c:pt>
                <c:pt idx="33">
                  <c:v>1273.3135</c:v>
                </c:pt>
                <c:pt idx="34">
                  <c:v>1325.9503</c:v>
                </c:pt>
                <c:pt idx="35">
                  <c:v>1314.2757</c:v>
                </c:pt>
                <c:pt idx="36">
                  <c:v>1293.1664</c:v>
                </c:pt>
                <c:pt idx="37">
                  <c:v>1355.1494</c:v>
                </c:pt>
                <c:pt idx="38">
                  <c:v>1326.0724</c:v>
                </c:pt>
                <c:pt idx="39">
                  <c:v>1325.687</c:v>
                </c:pt>
                <c:pt idx="40">
                  <c:v>1352.6406</c:v>
                </c:pt>
                <c:pt idx="41">
                  <c:v>1411.2949</c:v>
                </c:pt>
                <c:pt idx="42">
                  <c:v>1407.3764</c:v>
                </c:pt>
                <c:pt idx="43">
                  <c:v>1396.7024</c:v>
                </c:pt>
                <c:pt idx="44">
                  <c:v>1345.4146</c:v>
                </c:pt>
                <c:pt idx="45">
                  <c:v>1299.8614</c:v>
                </c:pt>
                <c:pt idx="46">
                  <c:v>1285.9108</c:v>
                </c:pt>
                <c:pt idx="47">
                  <c:v>1269.8969</c:v>
                </c:pt>
                <c:pt idx="48">
                  <c:v>1245.008</c:v>
                </c:pt>
                <c:pt idx="49">
                  <c:v>1244.7983</c:v>
                </c:pt>
                <c:pt idx="50">
                  <c:v>1139.1272</c:v>
                </c:pt>
                <c:pt idx="51">
                  <c:v>1132.7225</c:v>
                </c:pt>
              </c:numCache>
            </c:numRef>
          </c:xVal>
          <c:yVal>
            <c:numRef>
              <c:f>Sheet1!$B$109:$B$160</c:f>
              <c:numCache>
                <c:formatCode>General</c:formatCode>
                <c:ptCount val="52"/>
                <c:pt idx="0">
                  <c:v>0.16042421801584106</c:v>
                </c:pt>
                <c:pt idx="1">
                  <c:v>0.1612637674577041</c:v>
                </c:pt>
                <c:pt idx="2">
                  <c:v>0.16775339337815554</c:v>
                </c:pt>
                <c:pt idx="3">
                  <c:v>0.1756908617254942</c:v>
                </c:pt>
                <c:pt idx="4">
                  <c:v>0.16415379315827128</c:v>
                </c:pt>
                <c:pt idx="5">
                  <c:v>0.15967930961005752</c:v>
                </c:pt>
                <c:pt idx="6">
                  <c:v>0.16484727090635953</c:v>
                </c:pt>
                <c:pt idx="7">
                  <c:v>0.16083796201056025</c:v>
                </c:pt>
                <c:pt idx="8">
                  <c:v>0.15839402427637722</c:v>
                </c:pt>
                <c:pt idx="9">
                  <c:v>0.17182142367302153</c:v>
                </c:pt>
                <c:pt idx="10">
                  <c:v>0.17353493428204367</c:v>
                </c:pt>
                <c:pt idx="11">
                  <c:v>0.1859548901802423</c:v>
                </c:pt>
                <c:pt idx="12">
                  <c:v>0.1843858470496025</c:v>
                </c:pt>
                <c:pt idx="13">
                  <c:v>0.17723035562958417</c:v>
                </c:pt>
                <c:pt idx="14">
                  <c:v>0.1776102646351243</c:v>
                </c:pt>
                <c:pt idx="15">
                  <c:v>0.16769804095866525</c:v>
                </c:pt>
                <c:pt idx="16">
                  <c:v>0.15306283549100094</c:v>
                </c:pt>
                <c:pt idx="17">
                  <c:v>0.14180516702320223</c:v>
                </c:pt>
                <c:pt idx="18">
                  <c:v>0.13951390628915059</c:v>
                </c:pt>
                <c:pt idx="19">
                  <c:v>0.14639242269477204</c:v>
                </c:pt>
                <c:pt idx="20">
                  <c:v>0.13639398141015766</c:v>
                </c:pt>
                <c:pt idx="21">
                  <c:v>0.14214182887901358</c:v>
                </c:pt>
                <c:pt idx="22">
                  <c:v>0.14651061985262245</c:v>
                </c:pt>
                <c:pt idx="23">
                  <c:v>0.1576090386921669</c:v>
                </c:pt>
                <c:pt idx="24">
                  <c:v>0.1565886053827333</c:v>
                </c:pt>
                <c:pt idx="25">
                  <c:v>0.16612517623980874</c:v>
                </c:pt>
                <c:pt idx="26">
                  <c:v>0.14653522760220353</c:v>
                </c:pt>
                <c:pt idx="27">
                  <c:v>0.13360452216176238</c:v>
                </c:pt>
                <c:pt idx="28">
                  <c:v>0.1337837194918883</c:v>
                </c:pt>
                <c:pt idx="29">
                  <c:v>0.13376526575311048</c:v>
                </c:pt>
                <c:pt idx="30">
                  <c:v>0.14407233359110105</c:v>
                </c:pt>
                <c:pt idx="31">
                  <c:v>0.1396712858524009</c:v>
                </c:pt>
                <c:pt idx="32">
                  <c:v>0.1396373496017624</c:v>
                </c:pt>
                <c:pt idx="33">
                  <c:v>0.16308158817397897</c:v>
                </c:pt>
                <c:pt idx="34">
                  <c:v>0.18258865511857855</c:v>
                </c:pt>
                <c:pt idx="35">
                  <c:v>0.17914450453671837</c:v>
                </c:pt>
                <c:pt idx="36">
                  <c:v>0.14748953974895398</c:v>
                </c:pt>
                <c:pt idx="37">
                  <c:v>0.13699057604693254</c:v>
                </c:pt>
                <c:pt idx="38">
                  <c:v>0.13885786093270036</c:v>
                </c:pt>
                <c:pt idx="39">
                  <c:v>0.15527694995375604</c:v>
                </c:pt>
                <c:pt idx="40">
                  <c:v>0.13792760540970564</c:v>
                </c:pt>
                <c:pt idx="41">
                  <c:v>0.1385128783605941</c:v>
                </c:pt>
                <c:pt idx="42">
                  <c:v>0.13558246523187562</c:v>
                </c:pt>
                <c:pt idx="43">
                  <c:v>0.13361305720224806</c:v>
                </c:pt>
                <c:pt idx="44">
                  <c:v>0.12871882516774275</c:v>
                </c:pt>
                <c:pt idx="45">
                  <c:v>0.14652119820078477</c:v>
                </c:pt>
                <c:pt idx="46">
                  <c:v>0.1401140629925773</c:v>
                </c:pt>
                <c:pt idx="47">
                  <c:v>0.14296841426729695</c:v>
                </c:pt>
                <c:pt idx="48">
                  <c:v>0.13464430825869306</c:v>
                </c:pt>
                <c:pt idx="49">
                  <c:v>0.14968912445214555</c:v>
                </c:pt>
                <c:pt idx="50">
                  <c:v>0.186339019767127</c:v>
                </c:pt>
                <c:pt idx="51">
                  <c:v>0.166713867648447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44.4036826786462</c:v>
                </c:pt>
              </c:numCache>
            </c:numRef>
          </c:xVal>
          <c:yVal>
            <c:numRef>
              <c:f>Sheet1!$B$163:$B$164</c:f>
              <c:numCache>
                <c:formatCode>General</c:formatCode>
                <c:ptCount val="2"/>
                <c:pt idx="0">
                  <c:v>0.19915106140886207</c:v>
                </c:pt>
                <c:pt idx="1">
                  <c:v>0.1991510614088620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44.4036826786462</c:v>
                </c:pt>
                <c:pt idx="1">
                  <c:v>944.4036826786462</c:v>
                </c:pt>
              </c:numCache>
            </c:numRef>
          </c:xVal>
          <c:yVal>
            <c:numRef>
              <c:f>Sheet1!$B$167:$B$168</c:f>
              <c:numCache>
                <c:formatCode>General</c:formatCode>
                <c:ptCount val="2"/>
                <c:pt idx="0">
                  <c:v>0.1991510614088620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08.0422794262727</c:v>
                </c:pt>
              </c:numCache>
            </c:numRef>
          </c:xVal>
          <c:yVal>
            <c:numRef>
              <c:f>Sheet1!$B$171:$B$172</c:f>
              <c:numCache>
                <c:formatCode>General</c:formatCode>
                <c:ptCount val="2"/>
                <c:pt idx="0">
                  <c:v>0.1636716222820912</c:v>
                </c:pt>
                <c:pt idx="1">
                  <c:v>0.163671622282091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08.0422794262727</c:v>
                </c:pt>
                <c:pt idx="1">
                  <c:v>1208.0422794262727</c:v>
                </c:pt>
              </c:numCache>
            </c:numRef>
          </c:xVal>
          <c:yVal>
            <c:numRef>
              <c:f>Sheet1!$B$175:$B$176</c:f>
              <c:numCache>
                <c:formatCode>General</c:formatCode>
                <c:ptCount val="2"/>
                <c:pt idx="0">
                  <c:v>0.163671622282091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40.14335068035</c:v>
                </c:pt>
              </c:numCache>
            </c:numRef>
          </c:xVal>
          <c:yVal>
            <c:numRef>
              <c:f>Sheet1!$B$179:$B$180</c:f>
              <c:numCache>
                <c:formatCode>General</c:formatCode>
                <c:ptCount val="2"/>
                <c:pt idx="0">
                  <c:v>0.1458939828394611</c:v>
                </c:pt>
                <c:pt idx="1">
                  <c:v>0.145893982839461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40.14335068035</c:v>
                </c:pt>
                <c:pt idx="1">
                  <c:v>1340.14335068035</c:v>
                </c:pt>
              </c:numCache>
            </c:numRef>
          </c:xVal>
          <c:yVal>
            <c:numRef>
              <c:f>Sheet1!$B$183:$B$184</c:f>
              <c:numCache>
                <c:formatCode>General</c:formatCode>
                <c:ptCount val="2"/>
                <c:pt idx="0">
                  <c:v>0.145893982839461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88.9327</c:v>
                </c:pt>
                <c:pt idx="1">
                  <c:v>1264.7948</c:v>
                </c:pt>
                <c:pt idx="2">
                  <c:v>1254.0339</c:v>
                </c:pt>
                <c:pt idx="3">
                  <c:v>1277.6914</c:v>
                </c:pt>
                <c:pt idx="4">
                  <c:v>1272.6031</c:v>
                </c:pt>
                <c:pt idx="5">
                  <c:v>1286.0535</c:v>
                </c:pt>
                <c:pt idx="6">
                  <c:v>1207.6482</c:v>
                </c:pt>
                <c:pt idx="7">
                  <c:v>1251.8346</c:v>
                </c:pt>
                <c:pt idx="8">
                  <c:v>1341.0979</c:v>
                </c:pt>
                <c:pt idx="9">
                  <c:v>1276.0834</c:v>
                </c:pt>
                <c:pt idx="10">
                  <c:v>1292.4704</c:v>
                </c:pt>
                <c:pt idx="11">
                  <c:v>1184.8218</c:v>
                </c:pt>
                <c:pt idx="12">
                  <c:v>1209.065</c:v>
                </c:pt>
                <c:pt idx="13">
                  <c:v>1246.2015</c:v>
                </c:pt>
                <c:pt idx="14">
                  <c:v>1263.2037</c:v>
                </c:pt>
                <c:pt idx="15">
                  <c:v>1276.3352</c:v>
                </c:pt>
                <c:pt idx="16">
                  <c:v>1324.1217</c:v>
                </c:pt>
                <c:pt idx="17">
                  <c:v>1293.1999</c:v>
                </c:pt>
                <c:pt idx="18">
                  <c:v>1275.0769</c:v>
                </c:pt>
                <c:pt idx="19">
                  <c:v>1350.0105</c:v>
                </c:pt>
                <c:pt idx="20">
                  <c:v>1345.6242</c:v>
                </c:pt>
                <c:pt idx="21">
                  <c:v>1296.731</c:v>
                </c:pt>
                <c:pt idx="22">
                  <c:v>1264.2388</c:v>
                </c:pt>
                <c:pt idx="23">
                  <c:v>1202.3616</c:v>
                </c:pt>
                <c:pt idx="24">
                  <c:v>1204.1696</c:v>
                </c:pt>
                <c:pt idx="25">
                  <c:v>1168.3572</c:v>
                </c:pt>
                <c:pt idx="26">
                  <c:v>1228.5477</c:v>
                </c:pt>
                <c:pt idx="27">
                  <c:v>1296.6797</c:v>
                </c:pt>
                <c:pt idx="28">
                  <c:v>1305.0441</c:v>
                </c:pt>
                <c:pt idx="29">
                  <c:v>1311.4076</c:v>
                </c:pt>
                <c:pt idx="30">
                  <c:v>1283.5974</c:v>
                </c:pt>
                <c:pt idx="31">
                  <c:v>1201.7503</c:v>
                </c:pt>
                <c:pt idx="32">
                  <c:v>1227.996</c:v>
                </c:pt>
                <c:pt idx="33">
                  <c:v>1273.3135</c:v>
                </c:pt>
                <c:pt idx="34">
                  <c:v>1325.9503</c:v>
                </c:pt>
                <c:pt idx="35">
                  <c:v>1314.2757</c:v>
                </c:pt>
                <c:pt idx="36">
                  <c:v>1293.1664</c:v>
                </c:pt>
                <c:pt idx="37">
                  <c:v>1355.1494</c:v>
                </c:pt>
                <c:pt idx="38">
                  <c:v>1326.0724</c:v>
                </c:pt>
                <c:pt idx="39">
                  <c:v>1325.687</c:v>
                </c:pt>
                <c:pt idx="40">
                  <c:v>1352.6406</c:v>
                </c:pt>
                <c:pt idx="41">
                  <c:v>1411.2949</c:v>
                </c:pt>
                <c:pt idx="42">
                  <c:v>1407.3764</c:v>
                </c:pt>
                <c:pt idx="43">
                  <c:v>1396.7024</c:v>
                </c:pt>
                <c:pt idx="44">
                  <c:v>1345.4146</c:v>
                </c:pt>
                <c:pt idx="45">
                  <c:v>1299.8614</c:v>
                </c:pt>
                <c:pt idx="46">
                  <c:v>1285.9108</c:v>
                </c:pt>
                <c:pt idx="47">
                  <c:v>1269.8969</c:v>
                </c:pt>
                <c:pt idx="48">
                  <c:v>1245.008</c:v>
                </c:pt>
                <c:pt idx="49">
                  <c:v>1244.7983</c:v>
                </c:pt>
                <c:pt idx="50">
                  <c:v>1139.1272</c:v>
                </c:pt>
                <c:pt idx="51">
                  <c:v>1132.7225</c:v>
                </c:pt>
                <c:pt idx="52">
                  <c:v>1208.0422794262727</c:v>
                </c:pt>
                <c:pt idx="53">
                  <c:v>944.4036826786462</c:v>
                </c:pt>
                <c:pt idx="54">
                  <c:v>1340.14335068035</c:v>
                </c:pt>
              </c:numCache>
            </c:numRef>
          </c:xVal>
          <c:yVal>
            <c:numRef>
              <c:f>Sheet1!$B$187:$B$241</c:f>
              <c:numCache>
                <c:formatCode>General</c:formatCode>
                <c:ptCount val="55"/>
                <c:pt idx="0">
                  <c:v>0.1527857095663906</c:v>
                </c:pt>
                <c:pt idx="1">
                  <c:v>0.15603409263420784</c:v>
                </c:pt>
                <c:pt idx="2">
                  <c:v>0.15748225197509808</c:v>
                </c:pt>
                <c:pt idx="3">
                  <c:v>0.15429851923832785</c:v>
                </c:pt>
                <c:pt idx="4">
                  <c:v>0.1549832825178167</c:v>
                </c:pt>
                <c:pt idx="5">
                  <c:v>0.15317318090933507</c:v>
                </c:pt>
                <c:pt idx="6">
                  <c:v>0.16372465593189833</c:v>
                </c:pt>
                <c:pt idx="7">
                  <c:v>0.15777822506642128</c:v>
                </c:pt>
                <c:pt idx="8">
                  <c:v>0.14576552336919454</c:v>
                </c:pt>
                <c:pt idx="9">
                  <c:v>0.1545149175154377</c:v>
                </c:pt>
                <c:pt idx="10">
                  <c:v>0.15230961989914463</c:v>
                </c:pt>
                <c:pt idx="11">
                  <c:v>0.16679654251934892</c:v>
                </c:pt>
                <c:pt idx="12">
                  <c:v>0.163533988594206</c:v>
                </c:pt>
                <c:pt idx="13">
                  <c:v>0.15853630537412497</c:v>
                </c:pt>
                <c:pt idx="14">
                  <c:v>0.15624821657619134</c:v>
                </c:pt>
                <c:pt idx="15">
                  <c:v>0.15448103126781565</c:v>
                </c:pt>
                <c:pt idx="16">
                  <c:v>0.1480501131900107</c:v>
                </c:pt>
                <c:pt idx="17">
                  <c:v>0.1522114466757916</c:v>
                </c:pt>
                <c:pt idx="18">
                  <c:v>0.15465036830269582</c:v>
                </c:pt>
                <c:pt idx="19">
                  <c:v>0.14456610092854194</c:v>
                </c:pt>
                <c:pt idx="20">
                  <c:v>0.14515639182585974</c:v>
                </c:pt>
                <c:pt idx="21">
                  <c:v>0.15173624521042928</c:v>
                </c:pt>
                <c:pt idx="22">
                  <c:v>0.156108916914104</c:v>
                </c:pt>
                <c:pt idx="23">
                  <c:v>0.1644361056407099</c:v>
                </c:pt>
                <c:pt idx="24">
                  <c:v>0.1641927921550043</c:v>
                </c:pt>
                <c:pt idx="25">
                  <c:v>0.16901228323657716</c:v>
                </c:pt>
                <c:pt idx="26">
                  <c:v>0.16091208392166353</c:v>
                </c:pt>
                <c:pt idx="27">
                  <c:v>0.1517431489614341</c:v>
                </c:pt>
                <c:pt idx="28">
                  <c:v>0.15061750110754246</c:v>
                </c:pt>
                <c:pt idx="29">
                  <c:v>0.14976112645804707</c:v>
                </c:pt>
                <c:pt idx="30">
                  <c:v>0.15350371312849523</c:v>
                </c:pt>
                <c:pt idx="31">
                  <c:v>0.1645183719757828</c:v>
                </c:pt>
                <c:pt idx="32">
                  <c:v>0.16098632952457492</c:v>
                </c:pt>
                <c:pt idx="33">
                  <c:v>0.1548876796968846</c:v>
                </c:pt>
                <c:pt idx="34">
                  <c:v>0.14780402743781973</c:v>
                </c:pt>
                <c:pt idx="35">
                  <c:v>0.1493751489091797</c:v>
                </c:pt>
                <c:pt idx="36">
                  <c:v>0.15221595497323137</c:v>
                </c:pt>
                <c:pt idx="37">
                  <c:v>0.14387452810127838</c:v>
                </c:pt>
                <c:pt idx="38">
                  <c:v>0.14778759570297204</c:v>
                </c:pt>
                <c:pt idx="39">
                  <c:v>0.14783946130993605</c:v>
                </c:pt>
                <c:pt idx="40">
                  <c:v>0.1442121524779035</c:v>
                </c:pt>
                <c:pt idx="41">
                  <c:v>0.1363186888802139</c:v>
                </c:pt>
                <c:pt idx="42">
                  <c:v>0.1368460251046262</c:v>
                </c:pt>
                <c:pt idx="43">
                  <c:v>0.1382824897873816</c:v>
                </c:pt>
                <c:pt idx="44">
                  <c:v>0.1451845989644681</c:v>
                </c:pt>
                <c:pt idx="45">
                  <c:v>0.15131496836548852</c:v>
                </c:pt>
                <c:pt idx="46">
                  <c:v>0.15319238491066814</c:v>
                </c:pt>
                <c:pt idx="47">
                  <c:v>0.15534747220532585</c:v>
                </c:pt>
                <c:pt idx="48">
                  <c:v>0.15869692188142012</c:v>
                </c:pt>
                <c:pt idx="49">
                  <c:v>0.15872514247763278</c:v>
                </c:pt>
                <c:pt idx="50">
                  <c:v>0.17294594097284655</c:v>
                </c:pt>
                <c:pt idx="51">
                  <c:v>0.17380786015531266</c:v>
                </c:pt>
                <c:pt idx="52">
                  <c:v>0.1636716222820912</c:v>
                </c:pt>
                <c:pt idx="53">
                  <c:v>0.19915106140886207</c:v>
                </c:pt>
                <c:pt idx="54">
                  <c:v>0.1458939828394611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94.0"/>
          <c:min val="67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82231562858233"/>
          <c:min val="0.0981473021674026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685633814487627</c:v>
                </c:pt>
                <c:pt idx="1">
                  <c:v>0.18833908880727535</c:v>
                </c:pt>
                <c:pt idx="2">
                  <c:v>0.1919998240929554</c:v>
                </c:pt>
                <c:pt idx="3">
                  <c:v>0.1954611921612889</c:v>
                </c:pt>
                <c:pt idx="4">
                  <c:v>0.19166380916560877</c:v>
                </c:pt>
                <c:pt idx="5">
                  <c:v>0.19119388363317213</c:v>
                </c:pt>
                <c:pt idx="6">
                  <c:v>0.19358605866812467</c:v>
                </c:pt>
                <c:pt idx="7">
                  <c:v>0.19072534973356542</c:v>
                </c:pt>
                <c:pt idx="8">
                  <c:v>0.187625185454658</c:v>
                </c:pt>
                <c:pt idx="9">
                  <c:v>0.1845432766368832</c:v>
                </c:pt>
                <c:pt idx="10">
                  <c:v>0.18877801648644793</c:v>
                </c:pt>
                <c:pt idx="11">
                  <c:v>0.1978350069098405</c:v>
                </c:pt>
                <c:pt idx="12">
                  <c:v>0.20005643419802938</c:v>
                </c:pt>
                <c:pt idx="13">
                  <c:v>0.1932755908049678</c:v>
                </c:pt>
                <c:pt idx="14">
                  <c:v>0.20024407148325346</c:v>
                </c:pt>
                <c:pt idx="15">
                  <c:v>0.19918022618415637</c:v>
                </c:pt>
                <c:pt idx="16">
                  <c:v>0.18820736412231578</c:v>
                </c:pt>
                <c:pt idx="17">
                  <c:v>0.18743815873072034</c:v>
                </c:pt>
                <c:pt idx="18">
                  <c:v>0.17898259001498576</c:v>
                </c:pt>
                <c:pt idx="19">
                  <c:v>0.1825379554653795</c:v>
                </c:pt>
                <c:pt idx="20">
                  <c:v>0.18961874212404828</c:v>
                </c:pt>
                <c:pt idx="21">
                  <c:v>0.18094896856640327</c:v>
                </c:pt>
                <c:pt idx="22">
                  <c:v>0.17099268496214035</c:v>
                </c:pt>
                <c:pt idx="23">
                  <c:v>0.16660814944533367</c:v>
                </c:pt>
                <c:pt idx="24">
                  <c:v>0.16914565172331164</c:v>
                </c:pt>
                <c:pt idx="25">
                  <c:v>0.1593237578067756</c:v>
                </c:pt>
                <c:pt idx="26">
                  <c:v>0.16462988456539945</c:v>
                </c:pt>
                <c:pt idx="27">
                  <c:v>0.16473377963985342</c:v>
                </c:pt>
                <c:pt idx="28">
                  <c:v>0.16129296991057182</c:v>
                </c:pt>
                <c:pt idx="29">
                  <c:v>0.15220951759149</c:v>
                </c:pt>
                <c:pt idx="30">
                  <c:v>0.1491635058914466</c:v>
                </c:pt>
                <c:pt idx="31">
                  <c:v>0.1421724471746562</c:v>
                </c:pt>
                <c:pt idx="32">
                  <c:v>0.14290080963852106</c:v>
                </c:pt>
                <c:pt idx="33">
                  <c:v>0.13925192285410876</c:v>
                </c:pt>
                <c:pt idx="34">
                  <c:v>0.15977541998989772</c:v>
                </c:pt>
                <c:pt idx="35">
                  <c:v>0.17481573379075624</c:v>
                </c:pt>
                <c:pt idx="36">
                  <c:v>0.1679433577924113</c:v>
                </c:pt>
                <c:pt idx="37">
                  <c:v>0.15479214437087835</c:v>
                </c:pt>
                <c:pt idx="38">
                  <c:v>0.1658424069749014</c:v>
                </c:pt>
                <c:pt idx="39">
                  <c:v>0.1674640603824638</c:v>
                </c:pt>
                <c:pt idx="40">
                  <c:v>0.18698293103209696</c:v>
                </c:pt>
                <c:pt idx="41">
                  <c:v>0.18157917697303505</c:v>
                </c:pt>
                <c:pt idx="42">
                  <c:v>0.18341577304557735</c:v>
                </c:pt>
                <c:pt idx="43">
                  <c:v>0.1936763756312916</c:v>
                </c:pt>
                <c:pt idx="44">
                  <c:v>0.18726540234547626</c:v>
                </c:pt>
                <c:pt idx="45">
                  <c:v>0.1875054998384759</c:v>
                </c:pt>
                <c:pt idx="46">
                  <c:v>0.18571643348436845</c:v>
                </c:pt>
                <c:pt idx="47">
                  <c:v>0.17921948050528508</c:v>
                </c:pt>
                <c:pt idx="48">
                  <c:v>0.20195257193349836</c:v>
                </c:pt>
                <c:pt idx="49">
                  <c:v>0.21518056632141097</c:v>
                </c:pt>
                <c:pt idx="50">
                  <c:v>0.18908434775872596</c:v>
                </c:pt>
                <c:pt idx="51">
                  <c:v>0.18003679806310982</c:v>
                </c:pt>
                <c:pt idx="52">
                  <c:v>0.196428711634645</c:v>
                </c:pt>
                <c:pt idx="53">
                  <c:v>0.19623831193868924</c:v>
                </c:pt>
                <c:pt idx="54">
                  <c:v>0.191570476127622</c:v>
                </c:pt>
                <c:pt idx="55">
                  <c:v>0.1888611925244003</c:v>
                </c:pt>
                <c:pt idx="56">
                  <c:v>0.19593995520793758</c:v>
                </c:pt>
                <c:pt idx="57">
                  <c:v>0.1911420447283126</c:v>
                </c:pt>
                <c:pt idx="58">
                  <c:v>0.20224428992707585</c:v>
                </c:pt>
                <c:pt idx="59">
                  <c:v>0.22486193334154891</c:v>
                </c:pt>
                <c:pt idx="60">
                  <c:v>0.22754435866636571</c:v>
                </c:pt>
                <c:pt idx="61">
                  <c:v>0.21331897235813996</c:v>
                </c:pt>
                <c:pt idx="62">
                  <c:v>0.21457483849348952</c:v>
                </c:pt>
                <c:pt idx="63">
                  <c:v>0.21815532558202586</c:v>
                </c:pt>
                <c:pt idx="64">
                  <c:v>0.22323691164712303</c:v>
                </c:pt>
                <c:pt idx="65">
                  <c:v>0.21196790439845978</c:v>
                </c:pt>
                <c:pt idx="66">
                  <c:v>0.20800141850229678</c:v>
                </c:pt>
                <c:pt idx="67">
                  <c:v>0.2099516383490903</c:v>
                </c:pt>
                <c:pt idx="68">
                  <c:v>0.19240629253555305</c:v>
                </c:pt>
                <c:pt idx="69">
                  <c:v>0.181485437192842</c:v>
                </c:pt>
                <c:pt idx="70">
                  <c:v>0.17528718396820397</c:v>
                </c:pt>
                <c:pt idx="71">
                  <c:v>0.18035366579393272</c:v>
                </c:pt>
                <c:pt idx="72">
                  <c:v>0.1959403907963325</c:v>
                </c:pt>
                <c:pt idx="73">
                  <c:v>0.19313685853321366</c:v>
                </c:pt>
                <c:pt idx="74">
                  <c:v>0.18385689006016517</c:v>
                </c:pt>
                <c:pt idx="75">
                  <c:v>0.17780459367197687</c:v>
                </c:pt>
                <c:pt idx="76">
                  <c:v>0.17414102398648745</c:v>
                </c:pt>
                <c:pt idx="77">
                  <c:v>0.1731510570280591</c:v>
                </c:pt>
                <c:pt idx="78">
                  <c:v>0.17652731273234504</c:v>
                </c:pt>
                <c:pt idx="79">
                  <c:v>0.11754621942455563</c:v>
                </c:pt>
                <c:pt idx="80">
                  <c:v>0.11741659305010246</c:v>
                </c:pt>
                <c:pt idx="81">
                  <c:v>0.15381954115706364</c:v>
                </c:pt>
                <c:pt idx="82">
                  <c:v>0.1485452710845717</c:v>
                </c:pt>
                <c:pt idx="83">
                  <c:v>0.14102445530107788</c:v>
                </c:pt>
                <c:pt idx="84">
                  <c:v>0.13721213927744147</c:v>
                </c:pt>
                <c:pt idx="85">
                  <c:v>0.14501337312633827</c:v>
                </c:pt>
                <c:pt idx="86">
                  <c:v>0.16738921615896438</c:v>
                </c:pt>
                <c:pt idx="87">
                  <c:v>0.1881867858088064</c:v>
                </c:pt>
                <c:pt idx="88">
                  <c:v>0.16712797031995388</c:v>
                </c:pt>
                <c:pt idx="89">
                  <c:v>0.15404763525508708</c:v>
                </c:pt>
                <c:pt idx="90">
                  <c:v>0.16214935048601237</c:v>
                </c:pt>
                <c:pt idx="91">
                  <c:v>0.17309402861577178</c:v>
                </c:pt>
                <c:pt idx="92">
                  <c:v>0.18073424869160154</c:v>
                </c:pt>
                <c:pt idx="93">
                  <c:v>0.18166634817063718</c:v>
                </c:pt>
                <c:pt idx="94">
                  <c:v>0.17713292423431093</c:v>
                </c:pt>
                <c:pt idx="95">
                  <c:v>0.18989037730700567</c:v>
                </c:pt>
                <c:pt idx="96">
                  <c:v>0.19067818541279857</c:v>
                </c:pt>
                <c:pt idx="97">
                  <c:v>0.205329514164943</c:v>
                </c:pt>
                <c:pt idx="98">
                  <c:v>0.2152937791351674</c:v>
                </c:pt>
                <c:pt idx="99">
                  <c:v>0.21894049893901504</c:v>
                </c:pt>
                <c:pt idx="100">
                  <c:v>0.23576717357587385</c:v>
                </c:pt>
                <c:pt idx="101">
                  <c:v>0.2232530651636434</c:v>
                </c:pt>
                <c:pt idx="102">
                  <c:v>0.22838736545351024</c:v>
                </c:pt>
                <c:pt idx="103">
                  <c:v>0.19771152239613896</c:v>
                </c:pt>
                <c:pt idx="104">
                  <c:v>0.2094814822682527</c:v>
                </c:pt>
              </c:numCache>
            </c:numRef>
          </c:xVal>
          <c:yVal>
            <c:numRef>
              <c:f>Sheet1!$B$2:$B$106</c:f>
              <c:numCache>
                <c:formatCode>General</c:formatCode>
                <c:ptCount val="105"/>
                <c:pt idx="0">
                  <c:v>0.2142778451030076</c:v>
                </c:pt>
                <c:pt idx="1">
                  <c:v>0.2205680119581465</c:v>
                </c:pt>
                <c:pt idx="2">
                  <c:v>0.20282753182381436</c:v>
                </c:pt>
                <c:pt idx="3">
                  <c:v>0.20211971936109868</c:v>
                </c:pt>
                <c:pt idx="4">
                  <c:v>0.19169137371170408</c:v>
                </c:pt>
                <c:pt idx="5">
                  <c:v>0.1788611996522747</c:v>
                </c:pt>
                <c:pt idx="6">
                  <c:v>0.1940596137699412</c:v>
                </c:pt>
                <c:pt idx="7">
                  <c:v>0.18765172357986729</c:v>
                </c:pt>
                <c:pt idx="8">
                  <c:v>0.2003025337199042</c:v>
                </c:pt>
                <c:pt idx="9">
                  <c:v>0.19964681025511652</c:v>
                </c:pt>
                <c:pt idx="10">
                  <c:v>0.21146317592366037</c:v>
                </c:pt>
                <c:pt idx="11">
                  <c:v>0.20691998764287922</c:v>
                </c:pt>
                <c:pt idx="12">
                  <c:v>0.2121600091043587</c:v>
                </c:pt>
                <c:pt idx="13">
                  <c:v>0.21832690755850445</c:v>
                </c:pt>
                <c:pt idx="14">
                  <c:v>0.21323685246298707</c:v>
                </c:pt>
                <c:pt idx="15">
                  <c:v>0.21025421613719827</c:v>
                </c:pt>
                <c:pt idx="16">
                  <c:v>0.19590357520970764</c:v>
                </c:pt>
                <c:pt idx="17">
                  <c:v>0.19084721475909008</c:v>
                </c:pt>
                <c:pt idx="18">
                  <c:v>0.17428241089830593</c:v>
                </c:pt>
                <c:pt idx="19">
                  <c:v>0.15911344415281423</c:v>
                </c:pt>
                <c:pt idx="20">
                  <c:v>0.17342784616121462</c:v>
                </c:pt>
                <c:pt idx="21">
                  <c:v>0.1697351229362157</c:v>
                </c:pt>
                <c:pt idx="22">
                  <c:v>0.16864132036545829</c:v>
                </c:pt>
                <c:pt idx="23">
                  <c:v>0.16985230234578627</c:v>
                </c:pt>
                <c:pt idx="24">
                  <c:v>0.17376209447922594</c:v>
                </c:pt>
                <c:pt idx="25">
                  <c:v>0.17251215559157212</c:v>
                </c:pt>
                <c:pt idx="26">
                  <c:v>0.17551114174132781</c:v>
                </c:pt>
                <c:pt idx="27">
                  <c:v>0.16991130696714454</c:v>
                </c:pt>
                <c:pt idx="28">
                  <c:v>0.16685584562996594</c:v>
                </c:pt>
                <c:pt idx="29">
                  <c:v>0.18139695371420123</c:v>
                </c:pt>
                <c:pt idx="30">
                  <c:v>0.16671959352175295</c:v>
                </c:pt>
                <c:pt idx="31">
                  <c:v>0.1619269428781564</c:v>
                </c:pt>
                <c:pt idx="32">
                  <c:v>0.17044424297370808</c:v>
                </c:pt>
                <c:pt idx="33">
                  <c:v>0.1885484873106151</c:v>
                </c:pt>
                <c:pt idx="34">
                  <c:v>0.18400170648464165</c:v>
                </c:pt>
                <c:pt idx="35">
                  <c:v>0.1867177033492823</c:v>
                </c:pt>
                <c:pt idx="36">
                  <c:v>0.15092002018996925</c:v>
                </c:pt>
                <c:pt idx="37">
                  <c:v>0.13891682990100057</c:v>
                </c:pt>
                <c:pt idx="38">
                  <c:v>0.13205435651478817</c:v>
                </c:pt>
                <c:pt idx="39">
                  <c:v>0.13110424276482158</c:v>
                </c:pt>
                <c:pt idx="40">
                  <c:v>0.13415972921050223</c:v>
                </c:pt>
                <c:pt idx="41">
                  <c:v>0.12268412770925334</c:v>
                </c:pt>
                <c:pt idx="42">
                  <c:v>0.12946893439777854</c:v>
                </c:pt>
                <c:pt idx="43">
                  <c:v>0.13465698393077874</c:v>
                </c:pt>
                <c:pt idx="44">
                  <c:v>0.1520209077265435</c:v>
                </c:pt>
                <c:pt idx="45">
                  <c:v>0.17098201675925054</c:v>
                </c:pt>
                <c:pt idx="46">
                  <c:v>0.1779121432824882</c:v>
                </c:pt>
                <c:pt idx="47">
                  <c:v>0.17797305213825423</c:v>
                </c:pt>
                <c:pt idx="48">
                  <c:v>0.19519969998124884</c:v>
                </c:pt>
                <c:pt idx="49">
                  <c:v>0.22485192969048529</c:v>
                </c:pt>
                <c:pt idx="50">
                  <c:v>0.18717832957110608</c:v>
                </c:pt>
                <c:pt idx="51">
                  <c:v>0.17017403535868936</c:v>
                </c:pt>
                <c:pt idx="52">
                  <c:v>0.18587524683470785</c:v>
                </c:pt>
                <c:pt idx="53">
                  <c:v>0.17409405418083734</c:v>
                </c:pt>
                <c:pt idx="54">
                  <c:v>0.16918866709594332</c:v>
                </c:pt>
                <c:pt idx="55">
                  <c:v>0.16388502549837738</c:v>
                </c:pt>
                <c:pt idx="56">
                  <c:v>0.17452272343301234</c:v>
                </c:pt>
                <c:pt idx="57">
                  <c:v>0.16809585679226216</c:v>
                </c:pt>
                <c:pt idx="58">
                  <c:v>0.18187869428617073</c:v>
                </c:pt>
                <c:pt idx="59">
                  <c:v>0.18989330478919927</c:v>
                </c:pt>
                <c:pt idx="60">
                  <c:v>0.19817356799756983</c:v>
                </c:pt>
                <c:pt idx="61">
                  <c:v>0.19613014414038019</c:v>
                </c:pt>
                <c:pt idx="62">
                  <c:v>0.2017100956537183</c:v>
                </c:pt>
                <c:pt idx="63">
                  <c:v>0.21835377499597303</c:v>
                </c:pt>
                <c:pt idx="64">
                  <c:v>0.2085806799784134</c:v>
                </c:pt>
                <c:pt idx="65">
                  <c:v>0.1998825371965544</c:v>
                </c:pt>
                <c:pt idx="66">
                  <c:v>0.1973831585378271</c:v>
                </c:pt>
                <c:pt idx="67">
                  <c:v>0.19430203994446224</c:v>
                </c:pt>
                <c:pt idx="68">
                  <c:v>0.17686881148967132</c:v>
                </c:pt>
                <c:pt idx="69">
                  <c:v>0.16319170984455958</c:v>
                </c:pt>
                <c:pt idx="70">
                  <c:v>0.1533490937746257</c:v>
                </c:pt>
                <c:pt idx="71">
                  <c:v>0.16064874093043108</c:v>
                </c:pt>
                <c:pt idx="72">
                  <c:v>0.1608600759841565</c:v>
                </c:pt>
                <c:pt idx="73">
                  <c:v>0.16387831072696932</c:v>
                </c:pt>
                <c:pt idx="74">
                  <c:v>0.16418766646179062</c:v>
                </c:pt>
                <c:pt idx="75">
                  <c:v>0.16404559226662818</c:v>
                </c:pt>
                <c:pt idx="76">
                  <c:v>0.1593002315410342</c:v>
                </c:pt>
                <c:pt idx="77">
                  <c:v>0.15677497498551793</c:v>
                </c:pt>
                <c:pt idx="78">
                  <c:v>0.1476671759313668</c:v>
                </c:pt>
                <c:pt idx="79">
                  <c:v>0.1968398223691005</c:v>
                </c:pt>
                <c:pt idx="80">
                  <c:v>0.18245957359151302</c:v>
                </c:pt>
                <c:pt idx="81">
                  <c:v>0.1518782525036078</c:v>
                </c:pt>
                <c:pt idx="82">
                  <c:v>0.1534860108303249</c:v>
                </c:pt>
                <c:pt idx="83">
                  <c:v>0.1381531383503122</c:v>
                </c:pt>
                <c:pt idx="84">
                  <c:v>0.13925314517739465</c:v>
                </c:pt>
                <c:pt idx="85">
                  <c:v>0.14105925537493444</c:v>
                </c:pt>
                <c:pt idx="86">
                  <c:v>0.13826324124582087</c:v>
                </c:pt>
                <c:pt idx="87">
                  <c:v>0.1598108549190275</c:v>
                </c:pt>
                <c:pt idx="88">
                  <c:v>0.1421685470628741</c:v>
                </c:pt>
                <c:pt idx="89">
                  <c:v>0.13221375807940905</c:v>
                </c:pt>
                <c:pt idx="90">
                  <c:v>0.1263700456188163</c:v>
                </c:pt>
                <c:pt idx="91">
                  <c:v>0.1283997469955724</c:v>
                </c:pt>
                <c:pt idx="92">
                  <c:v>0.13316432357686103</c:v>
                </c:pt>
                <c:pt idx="93">
                  <c:v>0.12460783880517874</c:v>
                </c:pt>
                <c:pt idx="94">
                  <c:v>0.1268574297188755</c:v>
                </c:pt>
                <c:pt idx="95">
                  <c:v>0.1355782337987695</c:v>
                </c:pt>
                <c:pt idx="96">
                  <c:v>0.13646737847267768</c:v>
                </c:pt>
                <c:pt idx="97">
                  <c:v>0.14375402446877011</c:v>
                </c:pt>
                <c:pt idx="98">
                  <c:v>0.1603094530735948</c:v>
                </c:pt>
                <c:pt idx="99">
                  <c:v>0.1650910727889743</c:v>
                </c:pt>
                <c:pt idx="100">
                  <c:v>0.187766499377382</c:v>
                </c:pt>
                <c:pt idx="101">
                  <c:v>0.16697459082313562</c:v>
                </c:pt>
                <c:pt idx="102">
                  <c:v>0.13658866495333424</c:v>
                </c:pt>
                <c:pt idx="103">
                  <c:v>0.1561864579097194</c:v>
                </c:pt>
                <c:pt idx="104">
                  <c:v>0.1626277200318011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97249197199591</c:v>
                </c:pt>
                <c:pt idx="1">
                  <c:v>0.22405134070425356</c:v>
                </c:pt>
                <c:pt idx="2">
                  <c:v>0.21999598193639716</c:v>
                </c:pt>
                <c:pt idx="3">
                  <c:v>0.2264186378543924</c:v>
                </c:pt>
                <c:pt idx="4">
                  <c:v>0.21605805200524678</c:v>
                </c:pt>
                <c:pt idx="5">
                  <c:v>0.22320875655609393</c:v>
                </c:pt>
                <c:pt idx="6">
                  <c:v>0.2082819468962598</c:v>
                </c:pt>
                <c:pt idx="7">
                  <c:v>0.20347747336791128</c:v>
                </c:pt>
                <c:pt idx="8">
                  <c:v>0.2249136300791383</c:v>
                </c:pt>
                <c:pt idx="9">
                  <c:v>0.21764418906163144</c:v>
                </c:pt>
                <c:pt idx="10">
                  <c:v>0.2249588128836941</c:v>
                </c:pt>
                <c:pt idx="11">
                  <c:v>0.21141583460833874</c:v>
                </c:pt>
                <c:pt idx="12">
                  <c:v>0.21528523858509616</c:v>
                </c:pt>
                <c:pt idx="13">
                  <c:v>0.21065128847624737</c:v>
                </c:pt>
                <c:pt idx="14">
                  <c:v>0.21261304334112271</c:v>
                </c:pt>
                <c:pt idx="15">
                  <c:v>0.20471391021607474</c:v>
                </c:pt>
                <c:pt idx="16">
                  <c:v>0.2043343858210402</c:v>
                </c:pt>
                <c:pt idx="17">
                  <c:v>0.19802553276980578</c:v>
                </c:pt>
                <c:pt idx="18">
                  <c:v>0.17777241069151656</c:v>
                </c:pt>
                <c:pt idx="19">
                  <c:v>0.20565003069874083</c:v>
                </c:pt>
                <c:pt idx="20">
                  <c:v>0.19128501743973106</c:v>
                </c:pt>
                <c:pt idx="21">
                  <c:v>0.1780017547997485</c:v>
                </c:pt>
                <c:pt idx="22">
                  <c:v>0.17693591721075147</c:v>
                </c:pt>
                <c:pt idx="23">
                  <c:v>0.15865393826644608</c:v>
                </c:pt>
                <c:pt idx="24">
                  <c:v>0.15770209800946955</c:v>
                </c:pt>
                <c:pt idx="25">
                  <c:v>0.15151085483288962</c:v>
                </c:pt>
                <c:pt idx="26">
                  <c:v>0.16258678783316807</c:v>
                </c:pt>
                <c:pt idx="27">
                  <c:v>0.17038958696888604</c:v>
                </c:pt>
                <c:pt idx="28">
                  <c:v>0.17663027858498997</c:v>
                </c:pt>
                <c:pt idx="29">
                  <c:v>0.1681442758251744</c:v>
                </c:pt>
                <c:pt idx="30">
                  <c:v>0.15999468012871645</c:v>
                </c:pt>
                <c:pt idx="31">
                  <c:v>0.15172951657087919</c:v>
                </c:pt>
                <c:pt idx="32">
                  <c:v>0.150907293734557</c:v>
                </c:pt>
                <c:pt idx="33">
                  <c:v>0.16811019240247158</c:v>
                </c:pt>
                <c:pt idx="34">
                  <c:v>0.18944999718529046</c:v>
                </c:pt>
                <c:pt idx="35">
                  <c:v>0.177570517220477</c:v>
                </c:pt>
                <c:pt idx="36">
                  <c:v>0.15747312630940535</c:v>
                </c:pt>
                <c:pt idx="37">
                  <c:v>0.16599517282908377</c:v>
                </c:pt>
                <c:pt idx="38">
                  <c:v>0.16419258907559062</c:v>
                </c:pt>
                <c:pt idx="39">
                  <c:v>0.17722508462858172</c:v>
                </c:pt>
                <c:pt idx="40">
                  <c:v>0.17937935835757202</c:v>
                </c:pt>
                <c:pt idx="41">
                  <c:v>0.19034699210001157</c:v>
                </c:pt>
                <c:pt idx="42">
                  <c:v>0.1866665212993667</c:v>
                </c:pt>
                <c:pt idx="43">
                  <c:v>0.19361716004856014</c:v>
                </c:pt>
                <c:pt idx="44">
                  <c:v>0.19666601945235906</c:v>
                </c:pt>
                <c:pt idx="45">
                  <c:v>0.20205152664339657</c:v>
                </c:pt>
                <c:pt idx="46">
                  <c:v>0.18678291664296617</c:v>
                </c:pt>
                <c:pt idx="47">
                  <c:v>0.18658067762905878</c:v>
                </c:pt>
                <c:pt idx="48">
                  <c:v>0.1893785797075022</c:v>
                </c:pt>
                <c:pt idx="49">
                  <c:v>0.20953918335055396</c:v>
                </c:pt>
                <c:pt idx="50">
                  <c:v>0.21125846654977964</c:v>
                </c:pt>
                <c:pt idx="51">
                  <c:v>0.1872318110892189</c:v>
                </c:pt>
              </c:numCache>
            </c:numRef>
          </c:xVal>
          <c:yVal>
            <c:numRef>
              <c:f>Sheet1!$B$109:$B$160</c:f>
              <c:numCache>
                <c:formatCode>General</c:formatCode>
                <c:ptCount val="52"/>
                <c:pt idx="0">
                  <c:v>0.16042421801584106</c:v>
                </c:pt>
                <c:pt idx="1">
                  <c:v>0.1612637674577041</c:v>
                </c:pt>
                <c:pt idx="2">
                  <c:v>0.16775339337815554</c:v>
                </c:pt>
                <c:pt idx="3">
                  <c:v>0.1756908617254942</c:v>
                </c:pt>
                <c:pt idx="4">
                  <c:v>0.16415379315827128</c:v>
                </c:pt>
                <c:pt idx="5">
                  <c:v>0.15967930961005752</c:v>
                </c:pt>
                <c:pt idx="6">
                  <c:v>0.16484727090635953</c:v>
                </c:pt>
                <c:pt idx="7">
                  <c:v>0.16083796201056025</c:v>
                </c:pt>
                <c:pt idx="8">
                  <c:v>0.15839402427637722</c:v>
                </c:pt>
                <c:pt idx="9">
                  <c:v>0.17182142367302153</c:v>
                </c:pt>
                <c:pt idx="10">
                  <c:v>0.17353493428204367</c:v>
                </c:pt>
                <c:pt idx="11">
                  <c:v>0.1859548901802423</c:v>
                </c:pt>
                <c:pt idx="12">
                  <c:v>0.1843858470496025</c:v>
                </c:pt>
                <c:pt idx="13">
                  <c:v>0.17723035562958417</c:v>
                </c:pt>
                <c:pt idx="14">
                  <c:v>0.1776102646351243</c:v>
                </c:pt>
                <c:pt idx="15">
                  <c:v>0.16769804095866525</c:v>
                </c:pt>
                <c:pt idx="16">
                  <c:v>0.15306283549100094</c:v>
                </c:pt>
                <c:pt idx="17">
                  <c:v>0.14180516702320223</c:v>
                </c:pt>
                <c:pt idx="18">
                  <c:v>0.13951390628915059</c:v>
                </c:pt>
                <c:pt idx="19">
                  <c:v>0.14639242269477204</c:v>
                </c:pt>
                <c:pt idx="20">
                  <c:v>0.13639398141015766</c:v>
                </c:pt>
                <c:pt idx="21">
                  <c:v>0.14214182887901358</c:v>
                </c:pt>
                <c:pt idx="22">
                  <c:v>0.14651061985262245</c:v>
                </c:pt>
                <c:pt idx="23">
                  <c:v>0.1576090386921669</c:v>
                </c:pt>
                <c:pt idx="24">
                  <c:v>0.1565886053827333</c:v>
                </c:pt>
                <c:pt idx="25">
                  <c:v>0.16612517623980874</c:v>
                </c:pt>
                <c:pt idx="26">
                  <c:v>0.14653522760220353</c:v>
                </c:pt>
                <c:pt idx="27">
                  <c:v>0.13360452216176238</c:v>
                </c:pt>
                <c:pt idx="28">
                  <c:v>0.1337837194918883</c:v>
                </c:pt>
                <c:pt idx="29">
                  <c:v>0.13376526575311048</c:v>
                </c:pt>
                <c:pt idx="30">
                  <c:v>0.14407233359110105</c:v>
                </c:pt>
                <c:pt idx="31">
                  <c:v>0.1396712858524009</c:v>
                </c:pt>
                <c:pt idx="32">
                  <c:v>0.1396373496017624</c:v>
                </c:pt>
                <c:pt idx="33">
                  <c:v>0.16308158817397897</c:v>
                </c:pt>
                <c:pt idx="34">
                  <c:v>0.18258865511857855</c:v>
                </c:pt>
                <c:pt idx="35">
                  <c:v>0.17914450453671837</c:v>
                </c:pt>
                <c:pt idx="36">
                  <c:v>0.14748953974895398</c:v>
                </c:pt>
                <c:pt idx="37">
                  <c:v>0.13699057604693254</c:v>
                </c:pt>
                <c:pt idx="38">
                  <c:v>0.13885786093270036</c:v>
                </c:pt>
                <c:pt idx="39">
                  <c:v>0.15527694995375604</c:v>
                </c:pt>
                <c:pt idx="40">
                  <c:v>0.13792760540970564</c:v>
                </c:pt>
                <c:pt idx="41">
                  <c:v>0.1385128783605941</c:v>
                </c:pt>
                <c:pt idx="42">
                  <c:v>0.13558246523187562</c:v>
                </c:pt>
                <c:pt idx="43">
                  <c:v>0.13361305720224806</c:v>
                </c:pt>
                <c:pt idx="44">
                  <c:v>0.12871882516774275</c:v>
                </c:pt>
                <c:pt idx="45">
                  <c:v>0.14652119820078477</c:v>
                </c:pt>
                <c:pt idx="46">
                  <c:v>0.1401140629925773</c:v>
                </c:pt>
                <c:pt idx="47">
                  <c:v>0.14296841426729695</c:v>
                </c:pt>
                <c:pt idx="48">
                  <c:v>0.13464430825869306</c:v>
                </c:pt>
                <c:pt idx="49">
                  <c:v>0.14968912445214555</c:v>
                </c:pt>
                <c:pt idx="50">
                  <c:v>0.186339019767127</c:v>
                </c:pt>
                <c:pt idx="51">
                  <c:v>0.166713867648447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171324006441999</c:v>
                </c:pt>
              </c:numCache>
            </c:numRef>
          </c:xVal>
          <c:yVal>
            <c:numRef>
              <c:f>Sheet1!$B$163:$B$164</c:f>
              <c:numCache>
                <c:formatCode>General</c:formatCode>
                <c:ptCount val="2"/>
                <c:pt idx="0">
                  <c:v>0.19915106140886207</c:v>
                </c:pt>
                <c:pt idx="1">
                  <c:v>0.1991510614088620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171324006441999</c:v>
                </c:pt>
                <c:pt idx="1">
                  <c:v>0.3171324006441999</c:v>
                </c:pt>
              </c:numCache>
            </c:numRef>
          </c:xVal>
          <c:yVal>
            <c:numRef>
              <c:f>Sheet1!$B$167:$B$168</c:f>
              <c:numCache>
                <c:formatCode>General</c:formatCode>
                <c:ptCount val="2"/>
                <c:pt idx="0">
                  <c:v>0.1991510614088620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1781332852442872</c:v>
                </c:pt>
              </c:numCache>
            </c:numRef>
          </c:xVal>
          <c:yVal>
            <c:numRef>
              <c:f>Sheet1!$B$171:$B$172</c:f>
              <c:numCache>
                <c:formatCode>General</c:formatCode>
                <c:ptCount val="2"/>
                <c:pt idx="0">
                  <c:v>0.1636716222820912</c:v>
                </c:pt>
                <c:pt idx="1">
                  <c:v>0.163671622282091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1781332852442872</c:v>
                </c:pt>
                <c:pt idx="1">
                  <c:v>0.21781332852442872</c:v>
                </c:pt>
              </c:numCache>
            </c:numRef>
          </c:xVal>
          <c:yVal>
            <c:numRef>
              <c:f>Sheet1!$B$175:$B$176</c:f>
              <c:numCache>
                <c:formatCode>General</c:formatCode>
                <c:ptCount val="2"/>
                <c:pt idx="0">
                  <c:v>0.163671622282091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680476417667258</c:v>
                </c:pt>
              </c:numCache>
            </c:numRef>
          </c:xVal>
          <c:yVal>
            <c:numRef>
              <c:f>Sheet1!$B$179:$B$180</c:f>
              <c:numCache>
                <c:formatCode>General</c:formatCode>
                <c:ptCount val="2"/>
                <c:pt idx="0">
                  <c:v>0.1458939828394611</c:v>
                </c:pt>
                <c:pt idx="1">
                  <c:v>0.145893982839461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680476417667258</c:v>
                </c:pt>
                <c:pt idx="1">
                  <c:v>0.1680476417667258</c:v>
                </c:pt>
              </c:numCache>
            </c:numRef>
          </c:xVal>
          <c:yVal>
            <c:numRef>
              <c:f>Sheet1!$B$183:$B$184</c:f>
              <c:numCache>
                <c:formatCode>General</c:formatCode>
                <c:ptCount val="2"/>
                <c:pt idx="0">
                  <c:v>0.145893982839461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97249197199591</c:v>
                </c:pt>
                <c:pt idx="1">
                  <c:v>0.22405134070425356</c:v>
                </c:pt>
                <c:pt idx="2">
                  <c:v>0.21999598193639716</c:v>
                </c:pt>
                <c:pt idx="3">
                  <c:v>0.2264186378543924</c:v>
                </c:pt>
                <c:pt idx="4">
                  <c:v>0.21605805200524678</c:v>
                </c:pt>
                <c:pt idx="5">
                  <c:v>0.22320875655609393</c:v>
                </c:pt>
                <c:pt idx="6">
                  <c:v>0.2082819468962598</c:v>
                </c:pt>
                <c:pt idx="7">
                  <c:v>0.20347747336791128</c:v>
                </c:pt>
                <c:pt idx="8">
                  <c:v>0.2249136300791383</c:v>
                </c:pt>
                <c:pt idx="9">
                  <c:v>0.21764418906163144</c:v>
                </c:pt>
                <c:pt idx="10">
                  <c:v>0.2249588128836941</c:v>
                </c:pt>
                <c:pt idx="11">
                  <c:v>0.21141583460833874</c:v>
                </c:pt>
                <c:pt idx="12">
                  <c:v>0.21528523858509616</c:v>
                </c:pt>
                <c:pt idx="13">
                  <c:v>0.21065128847624737</c:v>
                </c:pt>
                <c:pt idx="14">
                  <c:v>0.21261304334112271</c:v>
                </c:pt>
                <c:pt idx="15">
                  <c:v>0.20471391021607474</c:v>
                </c:pt>
                <c:pt idx="16">
                  <c:v>0.2043343858210402</c:v>
                </c:pt>
                <c:pt idx="17">
                  <c:v>0.19802553276980578</c:v>
                </c:pt>
                <c:pt idx="18">
                  <c:v>0.17777241069151656</c:v>
                </c:pt>
                <c:pt idx="19">
                  <c:v>0.20565003069874083</c:v>
                </c:pt>
                <c:pt idx="20">
                  <c:v>0.19128501743973106</c:v>
                </c:pt>
                <c:pt idx="21">
                  <c:v>0.1780017547997485</c:v>
                </c:pt>
                <c:pt idx="22">
                  <c:v>0.17693591721075147</c:v>
                </c:pt>
                <c:pt idx="23">
                  <c:v>0.15865393826644608</c:v>
                </c:pt>
                <c:pt idx="24">
                  <c:v>0.15770209800946955</c:v>
                </c:pt>
                <c:pt idx="25">
                  <c:v>0.15151085483288962</c:v>
                </c:pt>
                <c:pt idx="26">
                  <c:v>0.16258678783316807</c:v>
                </c:pt>
                <c:pt idx="27">
                  <c:v>0.17038958696888604</c:v>
                </c:pt>
                <c:pt idx="28">
                  <c:v>0.17663027858498997</c:v>
                </c:pt>
                <c:pt idx="29">
                  <c:v>0.1681442758251744</c:v>
                </c:pt>
                <c:pt idx="30">
                  <c:v>0.15999468012871645</c:v>
                </c:pt>
                <c:pt idx="31">
                  <c:v>0.15172951657087919</c:v>
                </c:pt>
                <c:pt idx="32">
                  <c:v>0.150907293734557</c:v>
                </c:pt>
                <c:pt idx="33">
                  <c:v>0.16811019240247158</c:v>
                </c:pt>
                <c:pt idx="34">
                  <c:v>0.18944999718529046</c:v>
                </c:pt>
                <c:pt idx="35">
                  <c:v>0.177570517220477</c:v>
                </c:pt>
                <c:pt idx="36">
                  <c:v>0.15747312630940535</c:v>
                </c:pt>
                <c:pt idx="37">
                  <c:v>0.16599517282908377</c:v>
                </c:pt>
                <c:pt idx="38">
                  <c:v>0.16419258907559062</c:v>
                </c:pt>
                <c:pt idx="39">
                  <c:v>0.17722508462858172</c:v>
                </c:pt>
                <c:pt idx="40">
                  <c:v>0.17937935835757202</c:v>
                </c:pt>
                <c:pt idx="41">
                  <c:v>0.19034699210001157</c:v>
                </c:pt>
                <c:pt idx="42">
                  <c:v>0.1866665212993667</c:v>
                </c:pt>
                <c:pt idx="43">
                  <c:v>0.19361716004856014</c:v>
                </c:pt>
                <c:pt idx="44">
                  <c:v>0.19666601945235906</c:v>
                </c:pt>
                <c:pt idx="45">
                  <c:v>0.20205152664339657</c:v>
                </c:pt>
                <c:pt idx="46">
                  <c:v>0.18678291664296617</c:v>
                </c:pt>
                <c:pt idx="47">
                  <c:v>0.18658067762905878</c:v>
                </c:pt>
                <c:pt idx="48">
                  <c:v>0.1893785797075022</c:v>
                </c:pt>
                <c:pt idx="49">
                  <c:v>0.20953918335055396</c:v>
                </c:pt>
                <c:pt idx="50">
                  <c:v>0.21125846654977964</c:v>
                </c:pt>
                <c:pt idx="51">
                  <c:v>0.1872318110892189</c:v>
                </c:pt>
                <c:pt idx="52">
                  <c:v>0.21781332852442872</c:v>
                </c:pt>
                <c:pt idx="53">
                  <c:v>0.3171324006441999</c:v>
                </c:pt>
                <c:pt idx="54">
                  <c:v>0.1680476417667258</c:v>
                </c:pt>
              </c:numCache>
            </c:numRef>
          </c:xVal>
          <c:yVal>
            <c:numRef>
              <c:f>Sheet1!$B$187:$B$241</c:f>
              <c:numCache>
                <c:formatCode>General</c:formatCode>
                <c:ptCount val="55"/>
                <c:pt idx="0">
                  <c:v>0.16792676246518873</c:v>
                </c:pt>
                <c:pt idx="1">
                  <c:v>0.16590000771383642</c:v>
                </c:pt>
                <c:pt idx="2">
                  <c:v>0.1644513246817611</c:v>
                </c:pt>
                <c:pt idx="3">
                  <c:v>0.16674566981418348</c:v>
                </c:pt>
                <c:pt idx="4">
                  <c:v>0.1630445903829423</c:v>
                </c:pt>
                <c:pt idx="5">
                  <c:v>0.16559901403401467</c:v>
                </c:pt>
                <c:pt idx="6">
                  <c:v>0.16026675686145136</c:v>
                </c:pt>
                <c:pt idx="7">
                  <c:v>0.15855046992433963</c:v>
                </c:pt>
                <c:pt idx="8">
                  <c:v>0.16620804062969965</c:v>
                </c:pt>
                <c:pt idx="9">
                  <c:v>0.16361120112484345</c:v>
                </c:pt>
                <c:pt idx="10">
                  <c:v>0.16622418114057635</c:v>
                </c:pt>
                <c:pt idx="11">
                  <c:v>0.16138626569231074</c:v>
                </c:pt>
                <c:pt idx="12">
                  <c:v>0.16276852068040298</c:v>
                </c:pt>
                <c:pt idx="13">
                  <c:v>0.16111314928703024</c:v>
                </c:pt>
                <c:pt idx="14">
                  <c:v>0.16181394079488945</c:v>
                </c:pt>
                <c:pt idx="15">
                  <c:v>0.15899215836294697</c:v>
                </c:pt>
                <c:pt idx="16">
                  <c:v>0.15885658205938952</c:v>
                </c:pt>
                <c:pt idx="17">
                  <c:v>0.15660289036640748</c:v>
                </c:pt>
                <c:pt idx="18">
                  <c:v>0.14936793139460816</c:v>
                </c:pt>
                <c:pt idx="19">
                  <c:v>0.15932656573276233</c:v>
                </c:pt>
                <c:pt idx="20">
                  <c:v>0.15419499731794992</c:v>
                </c:pt>
                <c:pt idx="21">
                  <c:v>0.14944985926760807</c:v>
                </c:pt>
                <c:pt idx="22">
                  <c:v>0.14906911346470486</c:v>
                </c:pt>
                <c:pt idx="23">
                  <c:v>0.142538299742551</c:v>
                </c:pt>
                <c:pt idx="24">
                  <c:v>0.14219827684730002</c:v>
                </c:pt>
                <c:pt idx="25">
                  <c:v>0.13998659855919027</c:v>
                </c:pt>
                <c:pt idx="26">
                  <c:v>0.14394321919879594</c:v>
                </c:pt>
                <c:pt idx="27">
                  <c:v>0.1467305885433291</c:v>
                </c:pt>
                <c:pt idx="28">
                  <c:v>0.14895993114165196</c:v>
                </c:pt>
                <c:pt idx="29">
                  <c:v>0.145928503119616</c:v>
                </c:pt>
                <c:pt idx="30">
                  <c:v>0.1430172487326279</c:v>
                </c:pt>
                <c:pt idx="31">
                  <c:v>0.14006471040273427</c:v>
                </c:pt>
                <c:pt idx="32">
                  <c:v>0.139770990330171</c:v>
                </c:pt>
                <c:pt idx="33">
                  <c:v>0.14591632760593864</c:v>
                </c:pt>
                <c:pt idx="34">
                  <c:v>0.15353947881556898</c:v>
                </c:pt>
                <c:pt idx="35">
                  <c:v>0.1492958096262211</c:v>
                </c:pt>
                <c:pt idx="36">
                  <c:v>0.1421164820084962</c:v>
                </c:pt>
                <c:pt idx="37">
                  <c:v>0.14516078582927516</c:v>
                </c:pt>
                <c:pt idx="38">
                  <c:v>0.1445168545159032</c:v>
                </c:pt>
                <c:pt idx="39">
                  <c:v>0.14917241183005792</c:v>
                </c:pt>
                <c:pt idx="40">
                  <c:v>0.14994197624501682</c:v>
                </c:pt>
                <c:pt idx="41">
                  <c:v>0.15385990948205258</c:v>
                </c:pt>
                <c:pt idx="42">
                  <c:v>0.1525451464970353</c:v>
                </c:pt>
                <c:pt idx="43">
                  <c:v>0.15502810127229533</c:v>
                </c:pt>
                <c:pt idx="44">
                  <c:v>0.15611723570855668</c:v>
                </c:pt>
                <c:pt idx="45">
                  <c:v>0.15804108346984852</c:v>
                </c:pt>
                <c:pt idx="46">
                  <c:v>0.15258672603880646</c:v>
                </c:pt>
                <c:pt idx="47">
                  <c:v>0.15251448083322972</c:v>
                </c:pt>
                <c:pt idx="48">
                  <c:v>0.15351396657505267</c:v>
                </c:pt>
                <c:pt idx="49">
                  <c:v>0.1607158754778063</c:v>
                </c:pt>
                <c:pt idx="50">
                  <c:v>0.16133004959670108</c:v>
                </c:pt>
                <c:pt idx="51">
                  <c:v>0.1527470831871391</c:v>
                </c:pt>
                <c:pt idx="52">
                  <c:v>0.1636716222820912</c:v>
                </c:pt>
                <c:pt idx="53">
                  <c:v>0.19915106140886207</c:v>
                </c:pt>
                <c:pt idx="54">
                  <c:v>0.145893982839461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82231562858233"/>
          <c:min val="0.0981473021674026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83.6837</c:v>
                </c:pt>
                <c:pt idx="1">
                  <c:v>966.575</c:v>
                </c:pt>
                <c:pt idx="2">
                  <c:v>1004.1658</c:v>
                </c:pt>
                <c:pt idx="3">
                  <c:v>1025.9111</c:v>
                </c:pt>
                <c:pt idx="4">
                  <c:v>1038.8074</c:v>
                </c:pt>
                <c:pt idx="5">
                  <c:v>1044.8688</c:v>
                </c:pt>
                <c:pt idx="6">
                  <c:v>1014.7606</c:v>
                </c:pt>
                <c:pt idx="7">
                  <c:v>1035.9</c:v>
                </c:pt>
                <c:pt idx="8">
                  <c:v>1020.9862</c:v>
                </c:pt>
                <c:pt idx="9">
                  <c:v>983.7098</c:v>
                </c:pt>
                <c:pt idx="10">
                  <c:v>966.7723</c:v>
                </c:pt>
                <c:pt idx="11">
                  <c:v>986.2632</c:v>
                </c:pt>
                <c:pt idx="12">
                  <c:v>979.6116</c:v>
                </c:pt>
                <c:pt idx="13">
                  <c:v>969.0491</c:v>
                </c:pt>
                <c:pt idx="14">
                  <c:v>1017.9757</c:v>
                </c:pt>
                <c:pt idx="15">
                  <c:v>1022.9123</c:v>
                </c:pt>
                <c:pt idx="16">
                  <c:v>1027.0247</c:v>
                </c:pt>
                <c:pt idx="17">
                  <c:v>1046.7785</c:v>
                </c:pt>
                <c:pt idx="18">
                  <c:v>1082.9885</c:v>
                </c:pt>
                <c:pt idx="19">
                  <c:v>1112.702</c:v>
                </c:pt>
                <c:pt idx="20">
                  <c:v>1113.5595</c:v>
                </c:pt>
                <c:pt idx="21">
                  <c:v>1123.0637</c:v>
                </c:pt>
                <c:pt idx="22">
                  <c:v>1109.7099</c:v>
                </c:pt>
                <c:pt idx="23">
                  <c:v>1096.2532</c:v>
                </c:pt>
                <c:pt idx="24">
                  <c:v>1087.7789</c:v>
                </c:pt>
                <c:pt idx="25">
                  <c:v>1074.5479</c:v>
                </c:pt>
                <c:pt idx="26">
                  <c:v>1076.6063</c:v>
                </c:pt>
                <c:pt idx="27">
                  <c:v>1096.6786</c:v>
                </c:pt>
                <c:pt idx="28">
                  <c:v>1093.1422</c:v>
                </c:pt>
                <c:pt idx="29">
                  <c:v>999.1981</c:v>
                </c:pt>
                <c:pt idx="30">
                  <c:v>1041.2221</c:v>
                </c:pt>
                <c:pt idx="31">
                  <c:v>1043.179</c:v>
                </c:pt>
                <c:pt idx="32">
                  <c:v>1025.8911</c:v>
                </c:pt>
                <c:pt idx="33">
                  <c:v>959.0862</c:v>
                </c:pt>
                <c:pt idx="34">
                  <c:v>1036.0601</c:v>
                </c:pt>
                <c:pt idx="35">
                  <c:v>1102.8764</c:v>
                </c:pt>
                <c:pt idx="36">
                  <c:v>1176.0392</c:v>
                </c:pt>
                <c:pt idx="37">
                  <c:v>1175.9714</c:v>
                </c:pt>
                <c:pt idx="38">
                  <c:v>1225.3918</c:v>
                </c:pt>
                <c:pt idx="39">
                  <c:v>1244.9366</c:v>
                </c:pt>
                <c:pt idx="40">
                  <c:v>1278.2891</c:v>
                </c:pt>
                <c:pt idx="41">
                  <c:v>1300.506</c:v>
                </c:pt>
                <c:pt idx="42">
                  <c:v>1332.0198</c:v>
                </c:pt>
                <c:pt idx="43">
                  <c:v>1333.9435</c:v>
                </c:pt>
                <c:pt idx="44">
                  <c:v>1180.0243</c:v>
                </c:pt>
                <c:pt idx="45">
                  <c:v>1118.8867</c:v>
                </c:pt>
                <c:pt idx="46">
                  <c:v>1103.3498</c:v>
                </c:pt>
                <c:pt idx="47">
                  <c:v>1088.7106</c:v>
                </c:pt>
                <c:pt idx="48">
                  <c:v>1073.229</c:v>
                </c:pt>
                <c:pt idx="49">
                  <c:v>1047.2799</c:v>
                </c:pt>
                <c:pt idx="50">
                  <c:v>1065.2069</c:v>
                </c:pt>
                <c:pt idx="51">
                  <c:v>1086.4912</c:v>
                </c:pt>
                <c:pt idx="52">
                  <c:v>1088.2768</c:v>
                </c:pt>
                <c:pt idx="53">
                  <c:v>1179.5224</c:v>
                </c:pt>
                <c:pt idx="54">
                  <c:v>1186.0514</c:v>
                </c:pt>
                <c:pt idx="55">
                  <c:v>1197.8008</c:v>
                </c:pt>
                <c:pt idx="56">
                  <c:v>1224.728</c:v>
                </c:pt>
                <c:pt idx="57">
                  <c:v>1202.3301</c:v>
                </c:pt>
                <c:pt idx="58">
                  <c:v>1182.6987</c:v>
                </c:pt>
                <c:pt idx="59">
                  <c:v>1163.5995</c:v>
                </c:pt>
                <c:pt idx="60">
                  <c:v>1185.6169</c:v>
                </c:pt>
                <c:pt idx="61">
                  <c:v>1178.3637</c:v>
                </c:pt>
                <c:pt idx="62">
                  <c:v>1141.1633</c:v>
                </c:pt>
                <c:pt idx="63">
                  <c:v>1159.5331</c:v>
                </c:pt>
                <c:pt idx="64">
                  <c:v>1153.9833</c:v>
                </c:pt>
                <c:pt idx="65">
                  <c:v>1143.3808</c:v>
                </c:pt>
                <c:pt idx="66">
                  <c:v>1144.6878</c:v>
                </c:pt>
                <c:pt idx="67">
                  <c:v>1138.0805</c:v>
                </c:pt>
                <c:pt idx="68">
                  <c:v>1123.0104</c:v>
                </c:pt>
                <c:pt idx="69">
                  <c:v>1134.919</c:v>
                </c:pt>
                <c:pt idx="70">
                  <c:v>1121.3528</c:v>
                </c:pt>
                <c:pt idx="71">
                  <c:v>1158.9137</c:v>
                </c:pt>
                <c:pt idx="72">
                  <c:v>1204.4621</c:v>
                </c:pt>
                <c:pt idx="73">
                  <c:v>1202.6384</c:v>
                </c:pt>
                <c:pt idx="74">
                  <c:v>1150.7609</c:v>
                </c:pt>
                <c:pt idx="75">
                  <c:v>1145.2316</c:v>
                </c:pt>
                <c:pt idx="76">
                  <c:v>1153.8427</c:v>
                </c:pt>
                <c:pt idx="77">
                  <c:v>1128.7978</c:v>
                </c:pt>
                <c:pt idx="78">
                  <c:v>1203.9642</c:v>
                </c:pt>
                <c:pt idx="79">
                  <c:v>844.4785</c:v>
                </c:pt>
                <c:pt idx="80">
                  <c:v>854.282</c:v>
                </c:pt>
                <c:pt idx="81">
                  <c:v>1057.283</c:v>
                </c:pt>
                <c:pt idx="82">
                  <c:v>1067.2955</c:v>
                </c:pt>
                <c:pt idx="83">
                  <c:v>1074.5343</c:v>
                </c:pt>
                <c:pt idx="84">
                  <c:v>1080.6549</c:v>
                </c:pt>
                <c:pt idx="85">
                  <c:v>1106.9405</c:v>
                </c:pt>
                <c:pt idx="86">
                  <c:v>1214.7725</c:v>
                </c:pt>
                <c:pt idx="87">
                  <c:v>1247.265</c:v>
                </c:pt>
                <c:pt idx="88">
                  <c:v>1251.8316</c:v>
                </c:pt>
                <c:pt idx="89">
                  <c:v>1205.0642</c:v>
                </c:pt>
                <c:pt idx="90">
                  <c:v>1248.6367</c:v>
                </c:pt>
                <c:pt idx="91">
                  <c:v>1282.5477</c:v>
                </c:pt>
                <c:pt idx="92">
                  <c:v>1271.3538</c:v>
                </c:pt>
                <c:pt idx="93">
                  <c:v>1307.995</c:v>
                </c:pt>
                <c:pt idx="94">
                  <c:v>1301.7432</c:v>
                </c:pt>
                <c:pt idx="95">
                  <c:v>1299.1079</c:v>
                </c:pt>
                <c:pt idx="96">
                  <c:v>1213.9025</c:v>
                </c:pt>
                <c:pt idx="97">
                  <c:v>1238.7399</c:v>
                </c:pt>
                <c:pt idx="98">
                  <c:v>1218.5024</c:v>
                </c:pt>
                <c:pt idx="99">
                  <c:v>1181.5526</c:v>
                </c:pt>
                <c:pt idx="100">
                  <c:v>1169.6844</c:v>
                </c:pt>
                <c:pt idx="101">
                  <c:v>1229.0463</c:v>
                </c:pt>
                <c:pt idx="102">
                  <c:v>1274.6168</c:v>
                </c:pt>
                <c:pt idx="103">
                  <c:v>1129.6337</c:v>
                </c:pt>
                <c:pt idx="104">
                  <c:v>1199.132</c:v>
                </c:pt>
              </c:numCache>
            </c:numRef>
          </c:xVal>
          <c:yVal>
            <c:numRef>
              <c:f>Sheet1!$B$2:$B$106</c:f>
              <c:numCache>
                <c:formatCode>General</c:formatCode>
                <c:ptCount val="105"/>
                <c:pt idx="0">
                  <c:v>0.2142778451030076</c:v>
                </c:pt>
                <c:pt idx="1">
                  <c:v>0.2205680119581465</c:v>
                </c:pt>
                <c:pt idx="2">
                  <c:v>0.20282753182381436</c:v>
                </c:pt>
                <c:pt idx="3">
                  <c:v>0.20211971936109868</c:v>
                </c:pt>
                <c:pt idx="4">
                  <c:v>0.19169137371170408</c:v>
                </c:pt>
                <c:pt idx="5">
                  <c:v>0.1788611996522747</c:v>
                </c:pt>
                <c:pt idx="6">
                  <c:v>0.1940596137699412</c:v>
                </c:pt>
                <c:pt idx="7">
                  <c:v>0.18765172357986729</c:v>
                </c:pt>
                <c:pt idx="8">
                  <c:v>0.2003025337199042</c:v>
                </c:pt>
                <c:pt idx="9">
                  <c:v>0.19964681025511652</c:v>
                </c:pt>
                <c:pt idx="10">
                  <c:v>0.21146317592366037</c:v>
                </c:pt>
                <c:pt idx="11">
                  <c:v>0.20691998764287922</c:v>
                </c:pt>
                <c:pt idx="12">
                  <c:v>0.2121600091043587</c:v>
                </c:pt>
                <c:pt idx="13">
                  <c:v>0.21832690755850445</c:v>
                </c:pt>
                <c:pt idx="14">
                  <c:v>0.21323685246298707</c:v>
                </c:pt>
                <c:pt idx="15">
                  <c:v>0.21025421613719827</c:v>
                </c:pt>
                <c:pt idx="16">
                  <c:v>0.19590357520970764</c:v>
                </c:pt>
                <c:pt idx="17">
                  <c:v>0.19084721475909008</c:v>
                </c:pt>
                <c:pt idx="18">
                  <c:v>0.17428241089830593</c:v>
                </c:pt>
                <c:pt idx="19">
                  <c:v>0.15911344415281423</c:v>
                </c:pt>
                <c:pt idx="20">
                  <c:v>0.17342784616121462</c:v>
                </c:pt>
                <c:pt idx="21">
                  <c:v>0.1697351229362157</c:v>
                </c:pt>
                <c:pt idx="22">
                  <c:v>0.16864132036545829</c:v>
                </c:pt>
                <c:pt idx="23">
                  <c:v>0.16985230234578627</c:v>
                </c:pt>
                <c:pt idx="24">
                  <c:v>0.17376209447922594</c:v>
                </c:pt>
                <c:pt idx="25">
                  <c:v>0.17251215559157212</c:v>
                </c:pt>
                <c:pt idx="26">
                  <c:v>0.17551114174132781</c:v>
                </c:pt>
                <c:pt idx="27">
                  <c:v>0.16991130696714454</c:v>
                </c:pt>
                <c:pt idx="28">
                  <c:v>0.16685584562996594</c:v>
                </c:pt>
                <c:pt idx="29">
                  <c:v>0.18139695371420123</c:v>
                </c:pt>
                <c:pt idx="30">
                  <c:v>0.16671959352175295</c:v>
                </c:pt>
                <c:pt idx="31">
                  <c:v>0.1619269428781564</c:v>
                </c:pt>
                <c:pt idx="32">
                  <c:v>0.17044424297370808</c:v>
                </c:pt>
                <c:pt idx="33">
                  <c:v>0.1885484873106151</c:v>
                </c:pt>
                <c:pt idx="34">
                  <c:v>0.18400170648464165</c:v>
                </c:pt>
                <c:pt idx="35">
                  <c:v>0.1867177033492823</c:v>
                </c:pt>
                <c:pt idx="36">
                  <c:v>0.15092002018996925</c:v>
                </c:pt>
                <c:pt idx="37">
                  <c:v>0.13891682990100057</c:v>
                </c:pt>
                <c:pt idx="38">
                  <c:v>0.13205435651478817</c:v>
                </c:pt>
                <c:pt idx="39">
                  <c:v>0.13110424276482158</c:v>
                </c:pt>
                <c:pt idx="40">
                  <c:v>0.13415972921050223</c:v>
                </c:pt>
                <c:pt idx="41">
                  <c:v>0.12268412770925334</c:v>
                </c:pt>
                <c:pt idx="42">
                  <c:v>0.12946893439777854</c:v>
                </c:pt>
                <c:pt idx="43">
                  <c:v>0.13465698393077874</c:v>
                </c:pt>
                <c:pt idx="44">
                  <c:v>0.1520209077265435</c:v>
                </c:pt>
                <c:pt idx="45">
                  <c:v>0.17098201675925054</c:v>
                </c:pt>
                <c:pt idx="46">
                  <c:v>0.1779121432824882</c:v>
                </c:pt>
                <c:pt idx="47">
                  <c:v>0.17797305213825423</c:v>
                </c:pt>
                <c:pt idx="48">
                  <c:v>0.19519969998124884</c:v>
                </c:pt>
                <c:pt idx="49">
                  <c:v>0.22485192969048529</c:v>
                </c:pt>
                <c:pt idx="50">
                  <c:v>0.18717832957110608</c:v>
                </c:pt>
                <c:pt idx="51">
                  <c:v>0.17017403535868936</c:v>
                </c:pt>
                <c:pt idx="52">
                  <c:v>0.18587524683470785</c:v>
                </c:pt>
                <c:pt idx="53">
                  <c:v>0.17409405418083734</c:v>
                </c:pt>
                <c:pt idx="54">
                  <c:v>0.16918866709594332</c:v>
                </c:pt>
                <c:pt idx="55">
                  <c:v>0.16388502549837738</c:v>
                </c:pt>
                <c:pt idx="56">
                  <c:v>0.17452272343301234</c:v>
                </c:pt>
                <c:pt idx="57">
                  <c:v>0.16809585679226216</c:v>
                </c:pt>
                <c:pt idx="58">
                  <c:v>0.18187869428617073</c:v>
                </c:pt>
                <c:pt idx="59">
                  <c:v>0.18989330478919927</c:v>
                </c:pt>
                <c:pt idx="60">
                  <c:v>0.19817356799756983</c:v>
                </c:pt>
                <c:pt idx="61">
                  <c:v>0.19613014414038019</c:v>
                </c:pt>
                <c:pt idx="62">
                  <c:v>0.2017100956537183</c:v>
                </c:pt>
                <c:pt idx="63">
                  <c:v>0.21835377499597303</c:v>
                </c:pt>
                <c:pt idx="64">
                  <c:v>0.2085806799784134</c:v>
                </c:pt>
                <c:pt idx="65">
                  <c:v>0.1998825371965544</c:v>
                </c:pt>
                <c:pt idx="66">
                  <c:v>0.1973831585378271</c:v>
                </c:pt>
                <c:pt idx="67">
                  <c:v>0.19430203994446224</c:v>
                </c:pt>
                <c:pt idx="68">
                  <c:v>0.17686881148967132</c:v>
                </c:pt>
                <c:pt idx="69">
                  <c:v>0.16319170984455958</c:v>
                </c:pt>
                <c:pt idx="70">
                  <c:v>0.1533490937746257</c:v>
                </c:pt>
                <c:pt idx="71">
                  <c:v>0.16064874093043108</c:v>
                </c:pt>
                <c:pt idx="72">
                  <c:v>0.1608600759841565</c:v>
                </c:pt>
                <c:pt idx="73">
                  <c:v>0.16387831072696932</c:v>
                </c:pt>
                <c:pt idx="74">
                  <c:v>0.16418766646179062</c:v>
                </c:pt>
                <c:pt idx="75">
                  <c:v>0.16404559226662818</c:v>
                </c:pt>
                <c:pt idx="76">
                  <c:v>0.1593002315410342</c:v>
                </c:pt>
                <c:pt idx="77">
                  <c:v>0.15677497498551793</c:v>
                </c:pt>
                <c:pt idx="78">
                  <c:v>0.1476671759313668</c:v>
                </c:pt>
                <c:pt idx="79">
                  <c:v>0.1968398223691005</c:v>
                </c:pt>
                <c:pt idx="80">
                  <c:v>0.18245957359151302</c:v>
                </c:pt>
                <c:pt idx="81">
                  <c:v>0.1518782525036078</c:v>
                </c:pt>
                <c:pt idx="82">
                  <c:v>0.1534860108303249</c:v>
                </c:pt>
                <c:pt idx="83">
                  <c:v>0.1381531383503122</c:v>
                </c:pt>
                <c:pt idx="84">
                  <c:v>0.13925314517739465</c:v>
                </c:pt>
                <c:pt idx="85">
                  <c:v>0.14105925537493444</c:v>
                </c:pt>
                <c:pt idx="86">
                  <c:v>0.13826324124582087</c:v>
                </c:pt>
                <c:pt idx="87">
                  <c:v>0.1598108549190275</c:v>
                </c:pt>
                <c:pt idx="88">
                  <c:v>0.1421685470628741</c:v>
                </c:pt>
                <c:pt idx="89">
                  <c:v>0.13221375807940905</c:v>
                </c:pt>
                <c:pt idx="90">
                  <c:v>0.1263700456188163</c:v>
                </c:pt>
                <c:pt idx="91">
                  <c:v>0.1283997469955724</c:v>
                </c:pt>
                <c:pt idx="92">
                  <c:v>0.13316432357686103</c:v>
                </c:pt>
                <c:pt idx="93">
                  <c:v>0.12460783880517874</c:v>
                </c:pt>
                <c:pt idx="94">
                  <c:v>0.1268574297188755</c:v>
                </c:pt>
                <c:pt idx="95">
                  <c:v>0.1355782337987695</c:v>
                </c:pt>
                <c:pt idx="96">
                  <c:v>0.13646737847267768</c:v>
                </c:pt>
                <c:pt idx="97">
                  <c:v>0.14375402446877011</c:v>
                </c:pt>
                <c:pt idx="98">
                  <c:v>0.1603094530735948</c:v>
                </c:pt>
                <c:pt idx="99">
                  <c:v>0.1650910727889743</c:v>
                </c:pt>
                <c:pt idx="100">
                  <c:v>0.187766499377382</c:v>
                </c:pt>
                <c:pt idx="101">
                  <c:v>0.16697459082313562</c:v>
                </c:pt>
                <c:pt idx="102">
                  <c:v>0.13658866495333424</c:v>
                </c:pt>
                <c:pt idx="103">
                  <c:v>0.1561864579097194</c:v>
                </c:pt>
                <c:pt idx="104">
                  <c:v>0.1626277200318011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88.9327</c:v>
                </c:pt>
                <c:pt idx="1">
                  <c:v>1264.7948</c:v>
                </c:pt>
                <c:pt idx="2">
                  <c:v>1254.0339</c:v>
                </c:pt>
                <c:pt idx="3">
                  <c:v>1277.6914</c:v>
                </c:pt>
                <c:pt idx="4">
                  <c:v>1272.6031</c:v>
                </c:pt>
                <c:pt idx="5">
                  <c:v>1286.0535</c:v>
                </c:pt>
                <c:pt idx="6">
                  <c:v>1207.6482</c:v>
                </c:pt>
                <c:pt idx="7">
                  <c:v>1251.8346</c:v>
                </c:pt>
                <c:pt idx="8">
                  <c:v>1341.0979</c:v>
                </c:pt>
                <c:pt idx="9">
                  <c:v>1276.0834</c:v>
                </c:pt>
                <c:pt idx="10">
                  <c:v>1292.4704</c:v>
                </c:pt>
                <c:pt idx="11">
                  <c:v>1184.8218</c:v>
                </c:pt>
                <c:pt idx="12">
                  <c:v>1209.065</c:v>
                </c:pt>
                <c:pt idx="13">
                  <c:v>1246.2015</c:v>
                </c:pt>
                <c:pt idx="14">
                  <c:v>1263.2037</c:v>
                </c:pt>
                <c:pt idx="15">
                  <c:v>1276.3352</c:v>
                </c:pt>
                <c:pt idx="16">
                  <c:v>1324.1217</c:v>
                </c:pt>
                <c:pt idx="17">
                  <c:v>1293.1999</c:v>
                </c:pt>
                <c:pt idx="18">
                  <c:v>1275.0769</c:v>
                </c:pt>
                <c:pt idx="19">
                  <c:v>1350.0105</c:v>
                </c:pt>
                <c:pt idx="20">
                  <c:v>1345.6242</c:v>
                </c:pt>
                <c:pt idx="21">
                  <c:v>1296.731</c:v>
                </c:pt>
                <c:pt idx="22">
                  <c:v>1264.2388</c:v>
                </c:pt>
                <c:pt idx="23">
                  <c:v>1202.3616</c:v>
                </c:pt>
                <c:pt idx="24">
                  <c:v>1204.1696</c:v>
                </c:pt>
                <c:pt idx="25">
                  <c:v>1168.3572</c:v>
                </c:pt>
                <c:pt idx="26">
                  <c:v>1228.5477</c:v>
                </c:pt>
                <c:pt idx="27">
                  <c:v>1296.6797</c:v>
                </c:pt>
                <c:pt idx="28">
                  <c:v>1305.0441</c:v>
                </c:pt>
                <c:pt idx="29">
                  <c:v>1311.4076</c:v>
                </c:pt>
                <c:pt idx="30">
                  <c:v>1283.5974</c:v>
                </c:pt>
                <c:pt idx="31">
                  <c:v>1201.7503</c:v>
                </c:pt>
                <c:pt idx="32">
                  <c:v>1227.996</c:v>
                </c:pt>
                <c:pt idx="33">
                  <c:v>1273.3135</c:v>
                </c:pt>
                <c:pt idx="34">
                  <c:v>1325.9503</c:v>
                </c:pt>
                <c:pt idx="35">
                  <c:v>1314.2757</c:v>
                </c:pt>
                <c:pt idx="36">
                  <c:v>1293.1664</c:v>
                </c:pt>
                <c:pt idx="37">
                  <c:v>1355.1494</c:v>
                </c:pt>
                <c:pt idx="38">
                  <c:v>1326.0724</c:v>
                </c:pt>
                <c:pt idx="39">
                  <c:v>1325.687</c:v>
                </c:pt>
                <c:pt idx="40">
                  <c:v>1352.6406</c:v>
                </c:pt>
                <c:pt idx="41">
                  <c:v>1411.2949</c:v>
                </c:pt>
                <c:pt idx="42">
                  <c:v>1407.3764</c:v>
                </c:pt>
                <c:pt idx="43">
                  <c:v>1396.7024</c:v>
                </c:pt>
                <c:pt idx="44">
                  <c:v>1345.4146</c:v>
                </c:pt>
                <c:pt idx="45">
                  <c:v>1299.8614</c:v>
                </c:pt>
                <c:pt idx="46">
                  <c:v>1285.9108</c:v>
                </c:pt>
                <c:pt idx="47">
                  <c:v>1269.8969</c:v>
                </c:pt>
                <c:pt idx="48">
                  <c:v>1245.008</c:v>
                </c:pt>
                <c:pt idx="49">
                  <c:v>1244.7983</c:v>
                </c:pt>
                <c:pt idx="50">
                  <c:v>1139.1272</c:v>
                </c:pt>
                <c:pt idx="51">
                  <c:v>1132.7225</c:v>
                </c:pt>
              </c:numCache>
            </c:numRef>
          </c:xVal>
          <c:yVal>
            <c:numRef>
              <c:f>Sheet1!$B$109:$B$160</c:f>
              <c:numCache>
                <c:formatCode>General</c:formatCode>
                <c:ptCount val="52"/>
                <c:pt idx="0">
                  <c:v>0.16042421801584106</c:v>
                </c:pt>
                <c:pt idx="1">
                  <c:v>0.1612637674577041</c:v>
                </c:pt>
                <c:pt idx="2">
                  <c:v>0.16775339337815554</c:v>
                </c:pt>
                <c:pt idx="3">
                  <c:v>0.1756908617254942</c:v>
                </c:pt>
                <c:pt idx="4">
                  <c:v>0.16415379315827128</c:v>
                </c:pt>
                <c:pt idx="5">
                  <c:v>0.15967930961005752</c:v>
                </c:pt>
                <c:pt idx="6">
                  <c:v>0.16484727090635953</c:v>
                </c:pt>
                <c:pt idx="7">
                  <c:v>0.16083796201056025</c:v>
                </c:pt>
                <c:pt idx="8">
                  <c:v>0.15839402427637722</c:v>
                </c:pt>
                <c:pt idx="9">
                  <c:v>0.17182142367302153</c:v>
                </c:pt>
                <c:pt idx="10">
                  <c:v>0.17353493428204367</c:v>
                </c:pt>
                <c:pt idx="11">
                  <c:v>0.1859548901802423</c:v>
                </c:pt>
                <c:pt idx="12">
                  <c:v>0.1843858470496025</c:v>
                </c:pt>
                <c:pt idx="13">
                  <c:v>0.17723035562958417</c:v>
                </c:pt>
                <c:pt idx="14">
                  <c:v>0.1776102646351243</c:v>
                </c:pt>
                <c:pt idx="15">
                  <c:v>0.16769804095866525</c:v>
                </c:pt>
                <c:pt idx="16">
                  <c:v>0.15306283549100094</c:v>
                </c:pt>
                <c:pt idx="17">
                  <c:v>0.14180516702320223</c:v>
                </c:pt>
                <c:pt idx="18">
                  <c:v>0.13951390628915059</c:v>
                </c:pt>
                <c:pt idx="19">
                  <c:v>0.14639242269477204</c:v>
                </c:pt>
                <c:pt idx="20">
                  <c:v>0.13639398141015766</c:v>
                </c:pt>
                <c:pt idx="21">
                  <c:v>0.14214182887901358</c:v>
                </c:pt>
                <c:pt idx="22">
                  <c:v>0.14651061985262245</c:v>
                </c:pt>
                <c:pt idx="23">
                  <c:v>0.1576090386921669</c:v>
                </c:pt>
                <c:pt idx="24">
                  <c:v>0.1565886053827333</c:v>
                </c:pt>
                <c:pt idx="25">
                  <c:v>0.16612517623980874</c:v>
                </c:pt>
                <c:pt idx="26">
                  <c:v>0.14653522760220353</c:v>
                </c:pt>
                <c:pt idx="27">
                  <c:v>0.13360452216176238</c:v>
                </c:pt>
                <c:pt idx="28">
                  <c:v>0.1337837194918883</c:v>
                </c:pt>
                <c:pt idx="29">
                  <c:v>0.13376526575311048</c:v>
                </c:pt>
                <c:pt idx="30">
                  <c:v>0.14407233359110105</c:v>
                </c:pt>
                <c:pt idx="31">
                  <c:v>0.1396712858524009</c:v>
                </c:pt>
                <c:pt idx="32">
                  <c:v>0.1396373496017624</c:v>
                </c:pt>
                <c:pt idx="33">
                  <c:v>0.16308158817397897</c:v>
                </c:pt>
                <c:pt idx="34">
                  <c:v>0.18258865511857855</c:v>
                </c:pt>
                <c:pt idx="35">
                  <c:v>0.17914450453671837</c:v>
                </c:pt>
                <c:pt idx="36">
                  <c:v>0.14748953974895398</c:v>
                </c:pt>
                <c:pt idx="37">
                  <c:v>0.13699057604693254</c:v>
                </c:pt>
                <c:pt idx="38">
                  <c:v>0.13885786093270036</c:v>
                </c:pt>
                <c:pt idx="39">
                  <c:v>0.15527694995375604</c:v>
                </c:pt>
                <c:pt idx="40">
                  <c:v>0.13792760540970564</c:v>
                </c:pt>
                <c:pt idx="41">
                  <c:v>0.1385128783605941</c:v>
                </c:pt>
                <c:pt idx="42">
                  <c:v>0.13558246523187562</c:v>
                </c:pt>
                <c:pt idx="43">
                  <c:v>0.13361305720224806</c:v>
                </c:pt>
                <c:pt idx="44">
                  <c:v>0.12871882516774275</c:v>
                </c:pt>
                <c:pt idx="45">
                  <c:v>0.14652119820078477</c:v>
                </c:pt>
                <c:pt idx="46">
                  <c:v>0.1401140629925773</c:v>
                </c:pt>
                <c:pt idx="47">
                  <c:v>0.14296841426729695</c:v>
                </c:pt>
                <c:pt idx="48">
                  <c:v>0.13464430825869306</c:v>
                </c:pt>
                <c:pt idx="49">
                  <c:v>0.14968912445214555</c:v>
                </c:pt>
                <c:pt idx="50">
                  <c:v>0.186339019767127</c:v>
                </c:pt>
                <c:pt idx="51">
                  <c:v>0.166713867648447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44.4036826786462</c:v>
                </c:pt>
              </c:numCache>
            </c:numRef>
          </c:xVal>
          <c:yVal>
            <c:numRef>
              <c:f>Sheet1!$B$163:$B$164</c:f>
              <c:numCache>
                <c:formatCode>General</c:formatCode>
                <c:ptCount val="2"/>
                <c:pt idx="0">
                  <c:v>0.19915106140886207</c:v>
                </c:pt>
                <c:pt idx="1">
                  <c:v>0.1991510614088620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44.4036826786462</c:v>
                </c:pt>
                <c:pt idx="1">
                  <c:v>944.4036826786462</c:v>
                </c:pt>
              </c:numCache>
            </c:numRef>
          </c:xVal>
          <c:yVal>
            <c:numRef>
              <c:f>Sheet1!$B$167:$B$168</c:f>
              <c:numCache>
                <c:formatCode>General</c:formatCode>
                <c:ptCount val="2"/>
                <c:pt idx="0">
                  <c:v>0.1991510614088620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08.0422794262727</c:v>
                </c:pt>
              </c:numCache>
            </c:numRef>
          </c:xVal>
          <c:yVal>
            <c:numRef>
              <c:f>Sheet1!$B$171:$B$172</c:f>
              <c:numCache>
                <c:formatCode>General</c:formatCode>
                <c:ptCount val="2"/>
                <c:pt idx="0">
                  <c:v>0.1636716222820912</c:v>
                </c:pt>
                <c:pt idx="1">
                  <c:v>0.163671622282091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08.0422794262727</c:v>
                </c:pt>
                <c:pt idx="1">
                  <c:v>1208.0422794262727</c:v>
                </c:pt>
              </c:numCache>
            </c:numRef>
          </c:xVal>
          <c:yVal>
            <c:numRef>
              <c:f>Sheet1!$B$175:$B$176</c:f>
              <c:numCache>
                <c:formatCode>General</c:formatCode>
                <c:ptCount val="2"/>
                <c:pt idx="0">
                  <c:v>0.163671622282091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40.14335068035</c:v>
                </c:pt>
              </c:numCache>
            </c:numRef>
          </c:xVal>
          <c:yVal>
            <c:numRef>
              <c:f>Sheet1!$B$179:$B$180</c:f>
              <c:numCache>
                <c:formatCode>General</c:formatCode>
                <c:ptCount val="2"/>
                <c:pt idx="0">
                  <c:v>0.1458939828394611</c:v>
                </c:pt>
                <c:pt idx="1">
                  <c:v>0.145893982839461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40.14335068035</c:v>
                </c:pt>
                <c:pt idx="1">
                  <c:v>1340.14335068035</c:v>
                </c:pt>
              </c:numCache>
            </c:numRef>
          </c:xVal>
          <c:yVal>
            <c:numRef>
              <c:f>Sheet1!$B$183:$B$184</c:f>
              <c:numCache>
                <c:formatCode>General</c:formatCode>
                <c:ptCount val="2"/>
                <c:pt idx="0">
                  <c:v>0.145893982839461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88.9327</c:v>
                </c:pt>
                <c:pt idx="1">
                  <c:v>1264.7948</c:v>
                </c:pt>
                <c:pt idx="2">
                  <c:v>1254.0339</c:v>
                </c:pt>
                <c:pt idx="3">
                  <c:v>1277.6914</c:v>
                </c:pt>
                <c:pt idx="4">
                  <c:v>1272.6031</c:v>
                </c:pt>
                <c:pt idx="5">
                  <c:v>1286.0535</c:v>
                </c:pt>
                <c:pt idx="6">
                  <c:v>1207.6482</c:v>
                </c:pt>
                <c:pt idx="7">
                  <c:v>1251.8346</c:v>
                </c:pt>
                <c:pt idx="8">
                  <c:v>1341.0979</c:v>
                </c:pt>
                <c:pt idx="9">
                  <c:v>1276.0834</c:v>
                </c:pt>
                <c:pt idx="10">
                  <c:v>1292.4704</c:v>
                </c:pt>
                <c:pt idx="11">
                  <c:v>1184.8218</c:v>
                </c:pt>
                <c:pt idx="12">
                  <c:v>1209.065</c:v>
                </c:pt>
                <c:pt idx="13">
                  <c:v>1246.2015</c:v>
                </c:pt>
                <c:pt idx="14">
                  <c:v>1263.2037</c:v>
                </c:pt>
                <c:pt idx="15">
                  <c:v>1276.3352</c:v>
                </c:pt>
                <c:pt idx="16">
                  <c:v>1324.1217</c:v>
                </c:pt>
                <c:pt idx="17">
                  <c:v>1293.1999</c:v>
                </c:pt>
                <c:pt idx="18">
                  <c:v>1275.0769</c:v>
                </c:pt>
                <c:pt idx="19">
                  <c:v>1350.0105</c:v>
                </c:pt>
                <c:pt idx="20">
                  <c:v>1345.6242</c:v>
                </c:pt>
                <c:pt idx="21">
                  <c:v>1296.731</c:v>
                </c:pt>
                <c:pt idx="22">
                  <c:v>1264.2388</c:v>
                </c:pt>
                <c:pt idx="23">
                  <c:v>1202.3616</c:v>
                </c:pt>
                <c:pt idx="24">
                  <c:v>1204.1696</c:v>
                </c:pt>
                <c:pt idx="25">
                  <c:v>1168.3572</c:v>
                </c:pt>
                <c:pt idx="26">
                  <c:v>1228.5477</c:v>
                </c:pt>
                <c:pt idx="27">
                  <c:v>1296.6797</c:v>
                </c:pt>
                <c:pt idx="28">
                  <c:v>1305.0441</c:v>
                </c:pt>
                <c:pt idx="29">
                  <c:v>1311.4076</c:v>
                </c:pt>
                <c:pt idx="30">
                  <c:v>1283.5974</c:v>
                </c:pt>
                <c:pt idx="31">
                  <c:v>1201.7503</c:v>
                </c:pt>
                <c:pt idx="32">
                  <c:v>1227.996</c:v>
                </c:pt>
                <c:pt idx="33">
                  <c:v>1273.3135</c:v>
                </c:pt>
                <c:pt idx="34">
                  <c:v>1325.9503</c:v>
                </c:pt>
                <c:pt idx="35">
                  <c:v>1314.2757</c:v>
                </c:pt>
                <c:pt idx="36">
                  <c:v>1293.1664</c:v>
                </c:pt>
                <c:pt idx="37">
                  <c:v>1355.1494</c:v>
                </c:pt>
                <c:pt idx="38">
                  <c:v>1326.0724</c:v>
                </c:pt>
                <c:pt idx="39">
                  <c:v>1325.687</c:v>
                </c:pt>
                <c:pt idx="40">
                  <c:v>1352.6406</c:v>
                </c:pt>
                <c:pt idx="41">
                  <c:v>1411.2949</c:v>
                </c:pt>
                <c:pt idx="42">
                  <c:v>1407.3764</c:v>
                </c:pt>
                <c:pt idx="43">
                  <c:v>1396.7024</c:v>
                </c:pt>
                <c:pt idx="44">
                  <c:v>1345.4146</c:v>
                </c:pt>
                <c:pt idx="45">
                  <c:v>1299.8614</c:v>
                </c:pt>
                <c:pt idx="46">
                  <c:v>1285.9108</c:v>
                </c:pt>
                <c:pt idx="47">
                  <c:v>1269.8969</c:v>
                </c:pt>
                <c:pt idx="48">
                  <c:v>1245.008</c:v>
                </c:pt>
                <c:pt idx="49">
                  <c:v>1244.7983</c:v>
                </c:pt>
                <c:pt idx="50">
                  <c:v>1139.1272</c:v>
                </c:pt>
                <c:pt idx="51">
                  <c:v>1132.7225</c:v>
                </c:pt>
                <c:pt idx="52">
                  <c:v>1208.0422794262727</c:v>
                </c:pt>
                <c:pt idx="53">
                  <c:v>944.4036826786462</c:v>
                </c:pt>
                <c:pt idx="54">
                  <c:v>1340.14335068035</c:v>
                </c:pt>
              </c:numCache>
            </c:numRef>
          </c:xVal>
          <c:yVal>
            <c:numRef>
              <c:f>Sheet1!$B$187:$B$241</c:f>
              <c:numCache>
                <c:formatCode>General</c:formatCode>
                <c:ptCount val="55"/>
                <c:pt idx="0">
                  <c:v>0.1527857095663906</c:v>
                </c:pt>
                <c:pt idx="1">
                  <c:v>0.15603409263420784</c:v>
                </c:pt>
                <c:pt idx="2">
                  <c:v>0.15748225197509808</c:v>
                </c:pt>
                <c:pt idx="3">
                  <c:v>0.15429851923832785</c:v>
                </c:pt>
                <c:pt idx="4">
                  <c:v>0.1549832825178167</c:v>
                </c:pt>
                <c:pt idx="5">
                  <c:v>0.15317318090933507</c:v>
                </c:pt>
                <c:pt idx="6">
                  <c:v>0.16372465593189833</c:v>
                </c:pt>
                <c:pt idx="7">
                  <c:v>0.15777822506642128</c:v>
                </c:pt>
                <c:pt idx="8">
                  <c:v>0.14576552336919454</c:v>
                </c:pt>
                <c:pt idx="9">
                  <c:v>0.1545149175154377</c:v>
                </c:pt>
                <c:pt idx="10">
                  <c:v>0.15230961989914463</c:v>
                </c:pt>
                <c:pt idx="11">
                  <c:v>0.16679654251934892</c:v>
                </c:pt>
                <c:pt idx="12">
                  <c:v>0.163533988594206</c:v>
                </c:pt>
                <c:pt idx="13">
                  <c:v>0.15853630537412497</c:v>
                </c:pt>
                <c:pt idx="14">
                  <c:v>0.15624821657619134</c:v>
                </c:pt>
                <c:pt idx="15">
                  <c:v>0.15448103126781565</c:v>
                </c:pt>
                <c:pt idx="16">
                  <c:v>0.1480501131900107</c:v>
                </c:pt>
                <c:pt idx="17">
                  <c:v>0.1522114466757916</c:v>
                </c:pt>
                <c:pt idx="18">
                  <c:v>0.15465036830269582</c:v>
                </c:pt>
                <c:pt idx="19">
                  <c:v>0.14456610092854194</c:v>
                </c:pt>
                <c:pt idx="20">
                  <c:v>0.14515639182585974</c:v>
                </c:pt>
                <c:pt idx="21">
                  <c:v>0.15173624521042928</c:v>
                </c:pt>
                <c:pt idx="22">
                  <c:v>0.156108916914104</c:v>
                </c:pt>
                <c:pt idx="23">
                  <c:v>0.1644361056407099</c:v>
                </c:pt>
                <c:pt idx="24">
                  <c:v>0.1641927921550043</c:v>
                </c:pt>
                <c:pt idx="25">
                  <c:v>0.16901228323657716</c:v>
                </c:pt>
                <c:pt idx="26">
                  <c:v>0.16091208392166353</c:v>
                </c:pt>
                <c:pt idx="27">
                  <c:v>0.1517431489614341</c:v>
                </c:pt>
                <c:pt idx="28">
                  <c:v>0.15061750110754246</c:v>
                </c:pt>
                <c:pt idx="29">
                  <c:v>0.14976112645804707</c:v>
                </c:pt>
                <c:pt idx="30">
                  <c:v>0.15350371312849523</c:v>
                </c:pt>
                <c:pt idx="31">
                  <c:v>0.1645183719757828</c:v>
                </c:pt>
                <c:pt idx="32">
                  <c:v>0.16098632952457492</c:v>
                </c:pt>
                <c:pt idx="33">
                  <c:v>0.1548876796968846</c:v>
                </c:pt>
                <c:pt idx="34">
                  <c:v>0.14780402743781973</c:v>
                </c:pt>
                <c:pt idx="35">
                  <c:v>0.1493751489091797</c:v>
                </c:pt>
                <c:pt idx="36">
                  <c:v>0.15221595497323137</c:v>
                </c:pt>
                <c:pt idx="37">
                  <c:v>0.14387452810127838</c:v>
                </c:pt>
                <c:pt idx="38">
                  <c:v>0.14778759570297204</c:v>
                </c:pt>
                <c:pt idx="39">
                  <c:v>0.14783946130993605</c:v>
                </c:pt>
                <c:pt idx="40">
                  <c:v>0.1442121524779035</c:v>
                </c:pt>
                <c:pt idx="41">
                  <c:v>0.1363186888802139</c:v>
                </c:pt>
                <c:pt idx="42">
                  <c:v>0.1368460251046262</c:v>
                </c:pt>
                <c:pt idx="43">
                  <c:v>0.1382824897873816</c:v>
                </c:pt>
                <c:pt idx="44">
                  <c:v>0.1451845989644681</c:v>
                </c:pt>
                <c:pt idx="45">
                  <c:v>0.15131496836548852</c:v>
                </c:pt>
                <c:pt idx="46">
                  <c:v>0.15319238491066814</c:v>
                </c:pt>
                <c:pt idx="47">
                  <c:v>0.15534747220532585</c:v>
                </c:pt>
                <c:pt idx="48">
                  <c:v>0.15869692188142012</c:v>
                </c:pt>
                <c:pt idx="49">
                  <c:v>0.15872514247763278</c:v>
                </c:pt>
                <c:pt idx="50">
                  <c:v>0.17294594097284655</c:v>
                </c:pt>
                <c:pt idx="51">
                  <c:v>0.17380786015531266</c:v>
                </c:pt>
                <c:pt idx="52">
                  <c:v>0.1636716222820912</c:v>
                </c:pt>
                <c:pt idx="53">
                  <c:v>0.19915106140886207</c:v>
                </c:pt>
                <c:pt idx="54">
                  <c:v>0.1458939828394611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94.0"/>
          <c:min val="67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82231562858233"/>
          <c:min val="0.0981473021674026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0325156835271826</c:v>
                </c:pt>
                <c:pt idx="1">
                  <c:v>0.11817917301440711</c:v>
                </c:pt>
                <c:pt idx="2">
                  <c:v>0.12252604898932029</c:v>
                </c:pt>
                <c:pt idx="3">
                  <c:v>0.11835822728682431</c:v>
                </c:pt>
                <c:pt idx="4">
                  <c:v>0.11616564364729474</c:v>
                </c:pt>
                <c:pt idx="5">
                  <c:v>0.11736696684968813</c:v>
                </c:pt>
                <c:pt idx="6">
                  <c:v>0.12105525919512305</c:v>
                </c:pt>
                <c:pt idx="7">
                  <c:v>0.12467638780622323</c:v>
                </c:pt>
                <c:pt idx="8">
                  <c:v>0.1171146989605695</c:v>
                </c:pt>
                <c:pt idx="9">
                  <c:v>0.11630142546388963</c:v>
                </c:pt>
                <c:pt idx="10">
                  <c:v>0.11469445183384872</c:v>
                </c:pt>
                <c:pt idx="11">
                  <c:v>0.11532844083016282</c:v>
                </c:pt>
                <c:pt idx="12">
                  <c:v>0.11235450201200033</c:v>
                </c:pt>
                <c:pt idx="13">
                  <c:v>0.1078085779350608</c:v>
                </c:pt>
                <c:pt idx="14">
                  <c:v>0.11016289758798313</c:v>
                </c:pt>
                <c:pt idx="15">
                  <c:v>0.10804007935616872</c:v>
                </c:pt>
                <c:pt idx="16">
                  <c:v>0.10319703974905656</c:v>
                </c:pt>
                <c:pt idx="17">
                  <c:v>0.09687614474777896</c:v>
                </c:pt>
                <c:pt idx="18">
                  <c:v>0.10403957388473292</c:v>
                </c:pt>
                <c:pt idx="19">
                  <c:v>0.10452466224771846</c:v>
                </c:pt>
                <c:pt idx="20">
                  <c:v>0.10517828154595898</c:v>
                </c:pt>
                <c:pt idx="21">
                  <c:v>0.10526146735441713</c:v>
                </c:pt>
                <c:pt idx="22">
                  <c:v>0.10033318874645437</c:v>
                </c:pt>
                <c:pt idx="23">
                  <c:v>0.10032274315668195</c:v>
                </c:pt>
                <c:pt idx="24">
                  <c:v>0.09615525334943319</c:v>
                </c:pt>
                <c:pt idx="25">
                  <c:v>0.1002400925387969</c:v>
                </c:pt>
                <c:pt idx="26">
                  <c:v>0.10496292537351266</c:v>
                </c:pt>
                <c:pt idx="27">
                  <c:v>0.10512217127462933</c:v>
                </c:pt>
                <c:pt idx="28">
                  <c:v>0.10579574754870814</c:v>
                </c:pt>
                <c:pt idx="29">
                  <c:v>0.09922145368921201</c:v>
                </c:pt>
                <c:pt idx="30">
                  <c:v>0.10103394775328343</c:v>
                </c:pt>
                <c:pt idx="31">
                  <c:v>0.10011762618287562</c:v>
                </c:pt>
                <c:pt idx="32">
                  <c:v>0.09688442704797172</c:v>
                </c:pt>
                <c:pt idx="33">
                  <c:v>0.09404092122443139</c:v>
                </c:pt>
                <c:pt idx="34">
                  <c:v>0.10244838626354416</c:v>
                </c:pt>
                <c:pt idx="35">
                  <c:v>0.11134919197566771</c:v>
                </c:pt>
                <c:pt idx="36">
                  <c:v>0.11288983142356694</c:v>
                </c:pt>
                <c:pt idx="37">
                  <c:v>0.11266543695483056</c:v>
                </c:pt>
                <c:pt idx="38">
                  <c:v>0.11864456880809929</c:v>
                </c:pt>
                <c:pt idx="39">
                  <c:v>0.12431760886138703</c:v>
                </c:pt>
                <c:pt idx="40">
                  <c:v>0.13022019155907008</c:v>
                </c:pt>
                <c:pt idx="41">
                  <c:v>0.13008021926592686</c:v>
                </c:pt>
                <c:pt idx="42">
                  <c:v>0.1307915274625771</c:v>
                </c:pt>
                <c:pt idx="43">
                  <c:v>0.13044051412245586</c:v>
                </c:pt>
                <c:pt idx="44">
                  <c:v>0.12382230102848044</c:v>
                </c:pt>
                <c:pt idx="45">
                  <c:v>0.1202787386747955</c:v>
                </c:pt>
                <c:pt idx="46">
                  <c:v>0.11697712480024376</c:v>
                </c:pt>
                <c:pt idx="47">
                  <c:v>0.1126378639061475</c:v>
                </c:pt>
                <c:pt idx="48">
                  <c:v>0.11804263628367388</c:v>
                </c:pt>
                <c:pt idx="49">
                  <c:v>0.12761830619510603</c:v>
                </c:pt>
                <c:pt idx="50">
                  <c:v>0.11454265137142915</c:v>
                </c:pt>
                <c:pt idx="51">
                  <c:v>0.114526805139427</c:v>
                </c:pt>
                <c:pt idx="52">
                  <c:v>0.11697304537695376</c:v>
                </c:pt>
                <c:pt idx="53">
                  <c:v>0.1294835787971159</c:v>
                </c:pt>
                <c:pt idx="54">
                  <c:v>0.12554241552488882</c:v>
                </c:pt>
                <c:pt idx="55">
                  <c:v>0.1223388971279375</c:v>
                </c:pt>
                <c:pt idx="56">
                  <c:v>0.1248798134474671</c:v>
                </c:pt>
                <c:pt idx="57">
                  <c:v>0.12241548093616755</c:v>
                </c:pt>
                <c:pt idx="58">
                  <c:v>0.12237496132902478</c:v>
                </c:pt>
                <c:pt idx="59">
                  <c:v>0.12334735175104289</c:v>
                </c:pt>
                <c:pt idx="60">
                  <c:v>0.12327323495279574</c:v>
                </c:pt>
                <c:pt idx="61">
                  <c:v>0.1233145820814479</c:v>
                </c:pt>
                <c:pt idx="62">
                  <c:v>0.11519557429646875</c:v>
                </c:pt>
                <c:pt idx="63">
                  <c:v>0.11952596499901352</c:v>
                </c:pt>
                <c:pt idx="64">
                  <c:v>0.12375796653838587</c:v>
                </c:pt>
                <c:pt idx="65">
                  <c:v>0.1182001456489257</c:v>
                </c:pt>
                <c:pt idx="66">
                  <c:v>0.11855598698113583</c:v>
                </c:pt>
                <c:pt idx="67">
                  <c:v>0.11685232774061316</c:v>
                </c:pt>
                <c:pt idx="68">
                  <c:v>0.11385880146948071</c:v>
                </c:pt>
                <c:pt idx="69">
                  <c:v>0.10893762635806803</c:v>
                </c:pt>
                <c:pt idx="70">
                  <c:v>0.10557774987924753</c:v>
                </c:pt>
                <c:pt idx="71">
                  <c:v>0.10862618158281126</c:v>
                </c:pt>
                <c:pt idx="72">
                  <c:v>0.11367337202741268</c:v>
                </c:pt>
                <c:pt idx="73">
                  <c:v>0.11312471886098616</c:v>
                </c:pt>
                <c:pt idx="74">
                  <c:v>0.10676605450749999</c:v>
                </c:pt>
                <c:pt idx="75">
                  <c:v>0.10353907066321275</c:v>
                </c:pt>
                <c:pt idx="76">
                  <c:v>0.1056722891866392</c:v>
                </c:pt>
                <c:pt idx="77">
                  <c:v>0.10287419748878747</c:v>
                </c:pt>
                <c:pt idx="78">
                  <c:v>0.10913267508782631</c:v>
                </c:pt>
                <c:pt idx="79">
                  <c:v>0.07486457367471527</c:v>
                </c:pt>
                <c:pt idx="80">
                  <c:v>0.0751548598383796</c:v>
                </c:pt>
                <c:pt idx="81">
                  <c:v>0.0970716314865479</c:v>
                </c:pt>
                <c:pt idx="82">
                  <c:v>0.09772974484581701</c:v>
                </c:pt>
                <c:pt idx="83">
                  <c:v>0.09446399412103704</c:v>
                </c:pt>
                <c:pt idx="84">
                  <c:v>0.09530842996308118</c:v>
                </c:pt>
                <c:pt idx="85">
                  <c:v>0.09551773147293678</c:v>
                </c:pt>
                <c:pt idx="86">
                  <c:v>0.10926312809158444</c:v>
                </c:pt>
                <c:pt idx="87">
                  <c:v>0.10906745149398751</c:v>
                </c:pt>
                <c:pt idx="88">
                  <c:v>0.10949842110813855</c:v>
                </c:pt>
                <c:pt idx="89">
                  <c:v>0.10363944983989719</c:v>
                </c:pt>
                <c:pt idx="90">
                  <c:v>0.10801064113157707</c:v>
                </c:pt>
                <c:pt idx="91">
                  <c:v>0.11574030548781403</c:v>
                </c:pt>
                <c:pt idx="92">
                  <c:v>0.11353348798345812</c:v>
                </c:pt>
                <c:pt idx="93">
                  <c:v>0.11684015143184669</c:v>
                </c:pt>
                <c:pt idx="94">
                  <c:v>0.11447109001801163</c:v>
                </c:pt>
                <c:pt idx="95">
                  <c:v>0.11426031574794417</c:v>
                </c:pt>
                <c:pt idx="96">
                  <c:v>0.11217627061381427</c:v>
                </c:pt>
                <c:pt idx="97">
                  <c:v>0.11415556383595238</c:v>
                </c:pt>
                <c:pt idx="98">
                  <c:v>0.11645107332365379</c:v>
                </c:pt>
                <c:pt idx="99">
                  <c:v>0.11385152327472009</c:v>
                </c:pt>
                <c:pt idx="100">
                  <c:v>0.11749336746770282</c:v>
                </c:pt>
                <c:pt idx="101">
                  <c:v>0.120275301261154</c:v>
                </c:pt>
                <c:pt idx="102">
                  <c:v>0.12103348279844031</c:v>
                </c:pt>
                <c:pt idx="103">
                  <c:v>0.10780241559530715</c:v>
                </c:pt>
                <c:pt idx="104">
                  <c:v>0.11309971466262783</c:v>
                </c:pt>
              </c:numCache>
            </c:numRef>
          </c:xVal>
          <c:yVal>
            <c:numRef>
              <c:f>Sheet1!$B$2:$B$106</c:f>
              <c:numCache>
                <c:formatCode>General</c:formatCode>
                <c:ptCount val="105"/>
                <c:pt idx="0">
                  <c:v>0.2142778451030076</c:v>
                </c:pt>
                <c:pt idx="1">
                  <c:v>0.2205680119581465</c:v>
                </c:pt>
                <c:pt idx="2">
                  <c:v>0.20282753182381436</c:v>
                </c:pt>
                <c:pt idx="3">
                  <c:v>0.20211971936109868</c:v>
                </c:pt>
                <c:pt idx="4">
                  <c:v>0.19169137371170408</c:v>
                </c:pt>
                <c:pt idx="5">
                  <c:v>0.1788611996522747</c:v>
                </c:pt>
                <c:pt idx="6">
                  <c:v>0.1940596137699412</c:v>
                </c:pt>
                <c:pt idx="7">
                  <c:v>0.18765172357986729</c:v>
                </c:pt>
                <c:pt idx="8">
                  <c:v>0.2003025337199042</c:v>
                </c:pt>
                <c:pt idx="9">
                  <c:v>0.19964681025511652</c:v>
                </c:pt>
                <c:pt idx="10">
                  <c:v>0.21146317592366037</c:v>
                </c:pt>
                <c:pt idx="11">
                  <c:v>0.20691998764287922</c:v>
                </c:pt>
                <c:pt idx="12">
                  <c:v>0.2121600091043587</c:v>
                </c:pt>
                <c:pt idx="13">
                  <c:v>0.21832690755850445</c:v>
                </c:pt>
                <c:pt idx="14">
                  <c:v>0.21323685246298707</c:v>
                </c:pt>
                <c:pt idx="15">
                  <c:v>0.21025421613719827</c:v>
                </c:pt>
                <c:pt idx="16">
                  <c:v>0.19590357520970764</c:v>
                </c:pt>
                <c:pt idx="17">
                  <c:v>0.19084721475909008</c:v>
                </c:pt>
                <c:pt idx="18">
                  <c:v>0.17428241089830593</c:v>
                </c:pt>
                <c:pt idx="19">
                  <c:v>0.15911344415281423</c:v>
                </c:pt>
                <c:pt idx="20">
                  <c:v>0.17342784616121462</c:v>
                </c:pt>
                <c:pt idx="21">
                  <c:v>0.1697351229362157</c:v>
                </c:pt>
                <c:pt idx="22">
                  <c:v>0.16864132036545829</c:v>
                </c:pt>
                <c:pt idx="23">
                  <c:v>0.16985230234578627</c:v>
                </c:pt>
                <c:pt idx="24">
                  <c:v>0.17376209447922594</c:v>
                </c:pt>
                <c:pt idx="25">
                  <c:v>0.17251215559157212</c:v>
                </c:pt>
                <c:pt idx="26">
                  <c:v>0.17551114174132781</c:v>
                </c:pt>
                <c:pt idx="27">
                  <c:v>0.16991130696714454</c:v>
                </c:pt>
                <c:pt idx="28">
                  <c:v>0.16685584562996594</c:v>
                </c:pt>
                <c:pt idx="29">
                  <c:v>0.18139695371420123</c:v>
                </c:pt>
                <c:pt idx="30">
                  <c:v>0.16671959352175295</c:v>
                </c:pt>
                <c:pt idx="31">
                  <c:v>0.1619269428781564</c:v>
                </c:pt>
                <c:pt idx="32">
                  <c:v>0.17044424297370808</c:v>
                </c:pt>
                <c:pt idx="33">
                  <c:v>0.1885484873106151</c:v>
                </c:pt>
                <c:pt idx="34">
                  <c:v>0.18400170648464165</c:v>
                </c:pt>
                <c:pt idx="35">
                  <c:v>0.1867177033492823</c:v>
                </c:pt>
                <c:pt idx="36">
                  <c:v>0.15092002018996925</c:v>
                </c:pt>
                <c:pt idx="37">
                  <c:v>0.13891682990100057</c:v>
                </c:pt>
                <c:pt idx="38">
                  <c:v>0.13205435651478817</c:v>
                </c:pt>
                <c:pt idx="39">
                  <c:v>0.13110424276482158</c:v>
                </c:pt>
                <c:pt idx="40">
                  <c:v>0.13415972921050223</c:v>
                </c:pt>
                <c:pt idx="41">
                  <c:v>0.12268412770925334</c:v>
                </c:pt>
                <c:pt idx="42">
                  <c:v>0.12946893439777854</c:v>
                </c:pt>
                <c:pt idx="43">
                  <c:v>0.13465698393077874</c:v>
                </c:pt>
                <c:pt idx="44">
                  <c:v>0.1520209077265435</c:v>
                </c:pt>
                <c:pt idx="45">
                  <c:v>0.17098201675925054</c:v>
                </c:pt>
                <c:pt idx="46">
                  <c:v>0.1779121432824882</c:v>
                </c:pt>
                <c:pt idx="47">
                  <c:v>0.17797305213825423</c:v>
                </c:pt>
                <c:pt idx="48">
                  <c:v>0.19519969998124884</c:v>
                </c:pt>
                <c:pt idx="49">
                  <c:v>0.22485192969048529</c:v>
                </c:pt>
                <c:pt idx="50">
                  <c:v>0.18717832957110608</c:v>
                </c:pt>
                <c:pt idx="51">
                  <c:v>0.17017403535868936</c:v>
                </c:pt>
                <c:pt idx="52">
                  <c:v>0.18587524683470785</c:v>
                </c:pt>
                <c:pt idx="53">
                  <c:v>0.17409405418083734</c:v>
                </c:pt>
                <c:pt idx="54">
                  <c:v>0.16918866709594332</c:v>
                </c:pt>
                <c:pt idx="55">
                  <c:v>0.16388502549837738</c:v>
                </c:pt>
                <c:pt idx="56">
                  <c:v>0.17452272343301234</c:v>
                </c:pt>
                <c:pt idx="57">
                  <c:v>0.16809585679226216</c:v>
                </c:pt>
                <c:pt idx="58">
                  <c:v>0.18187869428617073</c:v>
                </c:pt>
                <c:pt idx="59">
                  <c:v>0.18989330478919927</c:v>
                </c:pt>
                <c:pt idx="60">
                  <c:v>0.19817356799756983</c:v>
                </c:pt>
                <c:pt idx="61">
                  <c:v>0.19613014414038019</c:v>
                </c:pt>
                <c:pt idx="62">
                  <c:v>0.2017100956537183</c:v>
                </c:pt>
                <c:pt idx="63">
                  <c:v>0.21835377499597303</c:v>
                </c:pt>
                <c:pt idx="64">
                  <c:v>0.2085806799784134</c:v>
                </c:pt>
                <c:pt idx="65">
                  <c:v>0.1998825371965544</c:v>
                </c:pt>
                <c:pt idx="66">
                  <c:v>0.1973831585378271</c:v>
                </c:pt>
                <c:pt idx="67">
                  <c:v>0.19430203994446224</c:v>
                </c:pt>
                <c:pt idx="68">
                  <c:v>0.17686881148967132</c:v>
                </c:pt>
                <c:pt idx="69">
                  <c:v>0.16319170984455958</c:v>
                </c:pt>
                <c:pt idx="70">
                  <c:v>0.1533490937746257</c:v>
                </c:pt>
                <c:pt idx="71">
                  <c:v>0.16064874093043108</c:v>
                </c:pt>
                <c:pt idx="72">
                  <c:v>0.1608600759841565</c:v>
                </c:pt>
                <c:pt idx="73">
                  <c:v>0.16387831072696932</c:v>
                </c:pt>
                <c:pt idx="74">
                  <c:v>0.16418766646179062</c:v>
                </c:pt>
                <c:pt idx="75">
                  <c:v>0.16404559226662818</c:v>
                </c:pt>
                <c:pt idx="76">
                  <c:v>0.1593002315410342</c:v>
                </c:pt>
                <c:pt idx="77">
                  <c:v>0.15677497498551793</c:v>
                </c:pt>
                <c:pt idx="78">
                  <c:v>0.1476671759313668</c:v>
                </c:pt>
                <c:pt idx="79">
                  <c:v>0.1968398223691005</c:v>
                </c:pt>
                <c:pt idx="80">
                  <c:v>0.18245957359151302</c:v>
                </c:pt>
                <c:pt idx="81">
                  <c:v>0.1518782525036078</c:v>
                </c:pt>
                <c:pt idx="82">
                  <c:v>0.1534860108303249</c:v>
                </c:pt>
                <c:pt idx="83">
                  <c:v>0.1381531383503122</c:v>
                </c:pt>
                <c:pt idx="84">
                  <c:v>0.13925314517739465</c:v>
                </c:pt>
                <c:pt idx="85">
                  <c:v>0.14105925537493444</c:v>
                </c:pt>
                <c:pt idx="86">
                  <c:v>0.13826324124582087</c:v>
                </c:pt>
                <c:pt idx="87">
                  <c:v>0.1598108549190275</c:v>
                </c:pt>
                <c:pt idx="88">
                  <c:v>0.1421685470628741</c:v>
                </c:pt>
                <c:pt idx="89">
                  <c:v>0.13221375807940905</c:v>
                </c:pt>
                <c:pt idx="90">
                  <c:v>0.1263700456188163</c:v>
                </c:pt>
                <c:pt idx="91">
                  <c:v>0.1283997469955724</c:v>
                </c:pt>
                <c:pt idx="92">
                  <c:v>0.13316432357686103</c:v>
                </c:pt>
                <c:pt idx="93">
                  <c:v>0.12460783880517874</c:v>
                </c:pt>
                <c:pt idx="94">
                  <c:v>0.1268574297188755</c:v>
                </c:pt>
                <c:pt idx="95">
                  <c:v>0.1355782337987695</c:v>
                </c:pt>
                <c:pt idx="96">
                  <c:v>0.13646737847267768</c:v>
                </c:pt>
                <c:pt idx="97">
                  <c:v>0.14375402446877011</c:v>
                </c:pt>
                <c:pt idx="98">
                  <c:v>0.1603094530735948</c:v>
                </c:pt>
                <c:pt idx="99">
                  <c:v>0.1650910727889743</c:v>
                </c:pt>
                <c:pt idx="100">
                  <c:v>0.187766499377382</c:v>
                </c:pt>
                <c:pt idx="101">
                  <c:v>0.16697459082313562</c:v>
                </c:pt>
                <c:pt idx="102">
                  <c:v>0.13658866495333424</c:v>
                </c:pt>
                <c:pt idx="103">
                  <c:v>0.1561864579097194</c:v>
                </c:pt>
                <c:pt idx="104">
                  <c:v>0.1626277200318011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2364427738794437</c:v>
                </c:pt>
                <c:pt idx="1">
                  <c:v>0.12553747814834434</c:v>
                </c:pt>
                <c:pt idx="2">
                  <c:v>0.12188005575346707</c:v>
                </c:pt>
                <c:pt idx="3">
                  <c:v>0.12302819558115603</c:v>
                </c:pt>
                <c:pt idx="4">
                  <c:v>0.12229062682009686</c:v>
                </c:pt>
                <c:pt idx="5">
                  <c:v>0.12276852665148015</c:v>
                </c:pt>
                <c:pt idx="6">
                  <c:v>0.11607080855613784</c:v>
                </c:pt>
                <c:pt idx="7">
                  <c:v>0.11795097513306382</c:v>
                </c:pt>
                <c:pt idx="8">
                  <c:v>0.1304194731914432</c:v>
                </c:pt>
                <c:pt idx="9">
                  <c:v>0.125145079367981</c:v>
                </c:pt>
                <c:pt idx="10">
                  <c:v>0.12718888222669583</c:v>
                </c:pt>
                <c:pt idx="11">
                  <c:v>0.11538455920062642</c:v>
                </c:pt>
                <c:pt idx="12">
                  <c:v>0.11686224027059858</c:v>
                </c:pt>
                <c:pt idx="13">
                  <c:v>0.11893558222032574</c:v>
                </c:pt>
                <c:pt idx="14">
                  <c:v>0.11881273691758922</c:v>
                </c:pt>
                <c:pt idx="15">
                  <c:v>0.11670859422116091</c:v>
                </c:pt>
                <c:pt idx="16">
                  <c:v>0.11957122700896822</c:v>
                </c:pt>
                <c:pt idx="17">
                  <c:v>0.1158018972170506</c:v>
                </c:pt>
                <c:pt idx="18">
                  <c:v>0.11313538880690889</c:v>
                </c:pt>
                <c:pt idx="19">
                  <c:v>0.12191876206060685</c:v>
                </c:pt>
                <c:pt idx="20">
                  <c:v>0.11907230397578954</c:v>
                </c:pt>
                <c:pt idx="21">
                  <c:v>0.11734334644111125</c:v>
                </c:pt>
                <c:pt idx="22">
                  <c:v>0.11646365224036875</c:v>
                </c:pt>
                <c:pt idx="23">
                  <c:v>0.11174868531475096</c:v>
                </c:pt>
                <c:pt idx="24">
                  <c:v>0.11035393375838357</c:v>
                </c:pt>
                <c:pt idx="25">
                  <c:v>0.1060271626059244</c:v>
                </c:pt>
                <c:pt idx="26">
                  <c:v>0.10999386690490674</c:v>
                </c:pt>
                <c:pt idx="27">
                  <c:v>0.11496428816574891</c:v>
                </c:pt>
                <c:pt idx="28">
                  <c:v>0.11872939494824679</c:v>
                </c:pt>
                <c:pt idx="29">
                  <c:v>0.11929038731446774</c:v>
                </c:pt>
                <c:pt idx="30">
                  <c:v>0.1162549281194215</c:v>
                </c:pt>
                <c:pt idx="31">
                  <c:v>0.10601166578808079</c:v>
                </c:pt>
                <c:pt idx="32">
                  <c:v>0.1121586378402319</c:v>
                </c:pt>
                <c:pt idx="33">
                  <c:v>0.11860639881118022</c:v>
                </c:pt>
                <c:pt idx="34">
                  <c:v>0.12118576471600143</c:v>
                </c:pt>
                <c:pt idx="35">
                  <c:v>0.1173711169997698</c:v>
                </c:pt>
                <c:pt idx="36">
                  <c:v>0.11631588866582039</c:v>
                </c:pt>
                <c:pt idx="37">
                  <c:v>0.12194846585045492</c:v>
                </c:pt>
                <c:pt idx="38">
                  <c:v>0.11831592243635193</c:v>
                </c:pt>
                <c:pt idx="39">
                  <c:v>0.12136268720002732</c:v>
                </c:pt>
                <c:pt idx="40">
                  <c:v>0.1228553502053492</c:v>
                </c:pt>
                <c:pt idx="41">
                  <c:v>0.12905764325187263</c:v>
                </c:pt>
                <c:pt idx="42">
                  <c:v>0.1286730890432159</c:v>
                </c:pt>
                <c:pt idx="43">
                  <c:v>0.13002373368928513</c:v>
                </c:pt>
                <c:pt idx="44">
                  <c:v>0.1296425044112325</c:v>
                </c:pt>
                <c:pt idx="45">
                  <c:v>0.12940897596718634</c:v>
                </c:pt>
                <c:pt idx="46">
                  <c:v>0.12785134617468139</c:v>
                </c:pt>
                <c:pt idx="47">
                  <c:v>0.12244808914898331</c:v>
                </c:pt>
                <c:pt idx="48">
                  <c:v>0.12079178320775452</c:v>
                </c:pt>
                <c:pt idx="49">
                  <c:v>0.12609015766517984</c:v>
                </c:pt>
                <c:pt idx="50">
                  <c:v>0.12029632000790086</c:v>
                </c:pt>
                <c:pt idx="51">
                  <c:v>0.11275634125353833</c:v>
                </c:pt>
              </c:numCache>
            </c:numRef>
          </c:xVal>
          <c:yVal>
            <c:numRef>
              <c:f>Sheet1!$B$109:$B$160</c:f>
              <c:numCache>
                <c:formatCode>General</c:formatCode>
                <c:ptCount val="52"/>
                <c:pt idx="0">
                  <c:v>0.16042421801584106</c:v>
                </c:pt>
                <c:pt idx="1">
                  <c:v>0.1612637674577041</c:v>
                </c:pt>
                <c:pt idx="2">
                  <c:v>0.16775339337815554</c:v>
                </c:pt>
                <c:pt idx="3">
                  <c:v>0.1756908617254942</c:v>
                </c:pt>
                <c:pt idx="4">
                  <c:v>0.16415379315827128</c:v>
                </c:pt>
                <c:pt idx="5">
                  <c:v>0.15967930961005752</c:v>
                </c:pt>
                <c:pt idx="6">
                  <c:v>0.16484727090635953</c:v>
                </c:pt>
                <c:pt idx="7">
                  <c:v>0.16083796201056025</c:v>
                </c:pt>
                <c:pt idx="8">
                  <c:v>0.15839402427637722</c:v>
                </c:pt>
                <c:pt idx="9">
                  <c:v>0.17182142367302153</c:v>
                </c:pt>
                <c:pt idx="10">
                  <c:v>0.17353493428204367</c:v>
                </c:pt>
                <c:pt idx="11">
                  <c:v>0.1859548901802423</c:v>
                </c:pt>
                <c:pt idx="12">
                  <c:v>0.1843858470496025</c:v>
                </c:pt>
                <c:pt idx="13">
                  <c:v>0.17723035562958417</c:v>
                </c:pt>
                <c:pt idx="14">
                  <c:v>0.1776102646351243</c:v>
                </c:pt>
                <c:pt idx="15">
                  <c:v>0.16769804095866525</c:v>
                </c:pt>
                <c:pt idx="16">
                  <c:v>0.15306283549100094</c:v>
                </c:pt>
                <c:pt idx="17">
                  <c:v>0.14180516702320223</c:v>
                </c:pt>
                <c:pt idx="18">
                  <c:v>0.13951390628915059</c:v>
                </c:pt>
                <c:pt idx="19">
                  <c:v>0.14639242269477204</c:v>
                </c:pt>
                <c:pt idx="20">
                  <c:v>0.13639398141015766</c:v>
                </c:pt>
                <c:pt idx="21">
                  <c:v>0.14214182887901358</c:v>
                </c:pt>
                <c:pt idx="22">
                  <c:v>0.14651061985262245</c:v>
                </c:pt>
                <c:pt idx="23">
                  <c:v>0.1576090386921669</c:v>
                </c:pt>
                <c:pt idx="24">
                  <c:v>0.1565886053827333</c:v>
                </c:pt>
                <c:pt idx="25">
                  <c:v>0.16612517623980874</c:v>
                </c:pt>
                <c:pt idx="26">
                  <c:v>0.14653522760220353</c:v>
                </c:pt>
                <c:pt idx="27">
                  <c:v>0.13360452216176238</c:v>
                </c:pt>
                <c:pt idx="28">
                  <c:v>0.1337837194918883</c:v>
                </c:pt>
                <c:pt idx="29">
                  <c:v>0.13376526575311048</c:v>
                </c:pt>
                <c:pt idx="30">
                  <c:v>0.14407233359110105</c:v>
                </c:pt>
                <c:pt idx="31">
                  <c:v>0.1396712858524009</c:v>
                </c:pt>
                <c:pt idx="32">
                  <c:v>0.1396373496017624</c:v>
                </c:pt>
                <c:pt idx="33">
                  <c:v>0.16308158817397897</c:v>
                </c:pt>
                <c:pt idx="34">
                  <c:v>0.18258865511857855</c:v>
                </c:pt>
                <c:pt idx="35">
                  <c:v>0.17914450453671837</c:v>
                </c:pt>
                <c:pt idx="36">
                  <c:v>0.14748953974895398</c:v>
                </c:pt>
                <c:pt idx="37">
                  <c:v>0.13699057604693254</c:v>
                </c:pt>
                <c:pt idx="38">
                  <c:v>0.13885786093270036</c:v>
                </c:pt>
                <c:pt idx="39">
                  <c:v>0.15527694995375604</c:v>
                </c:pt>
                <c:pt idx="40">
                  <c:v>0.13792760540970564</c:v>
                </c:pt>
                <c:pt idx="41">
                  <c:v>0.1385128783605941</c:v>
                </c:pt>
                <c:pt idx="42">
                  <c:v>0.13558246523187562</c:v>
                </c:pt>
                <c:pt idx="43">
                  <c:v>0.13361305720224806</c:v>
                </c:pt>
                <c:pt idx="44">
                  <c:v>0.12871882516774275</c:v>
                </c:pt>
                <c:pt idx="45">
                  <c:v>0.14652119820078477</c:v>
                </c:pt>
                <c:pt idx="46">
                  <c:v>0.1401140629925773</c:v>
                </c:pt>
                <c:pt idx="47">
                  <c:v>0.14296841426729695</c:v>
                </c:pt>
                <c:pt idx="48">
                  <c:v>0.13464430825869306</c:v>
                </c:pt>
                <c:pt idx="49">
                  <c:v>0.14968912445214555</c:v>
                </c:pt>
                <c:pt idx="50">
                  <c:v>0.186339019767127</c:v>
                </c:pt>
                <c:pt idx="51">
                  <c:v>0.166713867648447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3582597851342866</c:v>
                </c:pt>
              </c:numCache>
            </c:numRef>
          </c:xVal>
          <c:yVal>
            <c:numRef>
              <c:f>Sheet1!$B$163:$B$164</c:f>
              <c:numCache>
                <c:formatCode>General</c:formatCode>
                <c:ptCount val="2"/>
                <c:pt idx="0">
                  <c:v>0.19915106140886207</c:v>
                </c:pt>
                <c:pt idx="1">
                  <c:v>0.1991510614088620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3582597851342866</c:v>
                </c:pt>
                <c:pt idx="1">
                  <c:v>-0.03582597851342866</c:v>
                </c:pt>
              </c:numCache>
            </c:numRef>
          </c:xVal>
          <c:yVal>
            <c:numRef>
              <c:f>Sheet1!$B$167:$B$168</c:f>
              <c:numCache>
                <c:formatCode>General</c:formatCode>
                <c:ptCount val="2"/>
                <c:pt idx="0">
                  <c:v>0.1991510614088620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66915977267167</c:v>
                </c:pt>
              </c:numCache>
            </c:numRef>
          </c:xVal>
          <c:yVal>
            <c:numRef>
              <c:f>Sheet1!$B$171:$B$172</c:f>
              <c:numCache>
                <c:formatCode>General</c:formatCode>
                <c:ptCount val="2"/>
                <c:pt idx="0">
                  <c:v>0.1636716222820912</c:v>
                </c:pt>
                <c:pt idx="1">
                  <c:v>0.163671622282091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66915977267167</c:v>
                </c:pt>
                <c:pt idx="1">
                  <c:v>0.0866915977267167</c:v>
                </c:pt>
              </c:numCache>
            </c:numRef>
          </c:xVal>
          <c:yVal>
            <c:numRef>
              <c:f>Sheet1!$B$175:$B$176</c:f>
              <c:numCache>
                <c:formatCode>General</c:formatCode>
                <c:ptCount val="2"/>
                <c:pt idx="0">
                  <c:v>0.163671622282091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4808133074926588</c:v>
                </c:pt>
              </c:numCache>
            </c:numRef>
          </c:xVal>
          <c:yVal>
            <c:numRef>
              <c:f>Sheet1!$B$179:$B$180</c:f>
              <c:numCache>
                <c:formatCode>General</c:formatCode>
                <c:ptCount val="2"/>
                <c:pt idx="0">
                  <c:v>0.1458939828394611</c:v>
                </c:pt>
                <c:pt idx="1">
                  <c:v>0.145893982839461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4808133074926588</c:v>
                </c:pt>
                <c:pt idx="1">
                  <c:v>0.14808133074926588</c:v>
                </c:pt>
              </c:numCache>
            </c:numRef>
          </c:xVal>
          <c:yVal>
            <c:numRef>
              <c:f>Sheet1!$B$183:$B$184</c:f>
              <c:numCache>
                <c:formatCode>General</c:formatCode>
                <c:ptCount val="2"/>
                <c:pt idx="0">
                  <c:v>0.145893982839461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2364427738794437</c:v>
                </c:pt>
                <c:pt idx="1">
                  <c:v>0.12553747814834434</c:v>
                </c:pt>
                <c:pt idx="2">
                  <c:v>0.12188005575346707</c:v>
                </c:pt>
                <c:pt idx="3">
                  <c:v>0.12302819558115603</c:v>
                </c:pt>
                <c:pt idx="4">
                  <c:v>0.12229062682009686</c:v>
                </c:pt>
                <c:pt idx="5">
                  <c:v>0.12276852665148015</c:v>
                </c:pt>
                <c:pt idx="6">
                  <c:v>0.11607080855613784</c:v>
                </c:pt>
                <c:pt idx="7">
                  <c:v>0.11795097513306382</c:v>
                </c:pt>
                <c:pt idx="8">
                  <c:v>0.1304194731914432</c:v>
                </c:pt>
                <c:pt idx="9">
                  <c:v>0.125145079367981</c:v>
                </c:pt>
                <c:pt idx="10">
                  <c:v>0.12718888222669583</c:v>
                </c:pt>
                <c:pt idx="11">
                  <c:v>0.11538455920062642</c:v>
                </c:pt>
                <c:pt idx="12">
                  <c:v>0.11686224027059858</c:v>
                </c:pt>
                <c:pt idx="13">
                  <c:v>0.11893558222032574</c:v>
                </c:pt>
                <c:pt idx="14">
                  <c:v>0.11881273691758922</c:v>
                </c:pt>
                <c:pt idx="15">
                  <c:v>0.11670859422116091</c:v>
                </c:pt>
                <c:pt idx="16">
                  <c:v>0.11957122700896822</c:v>
                </c:pt>
                <c:pt idx="17">
                  <c:v>0.1158018972170506</c:v>
                </c:pt>
                <c:pt idx="18">
                  <c:v>0.11313538880690889</c:v>
                </c:pt>
                <c:pt idx="19">
                  <c:v>0.12191876206060685</c:v>
                </c:pt>
                <c:pt idx="20">
                  <c:v>0.11907230397578954</c:v>
                </c:pt>
                <c:pt idx="21">
                  <c:v>0.11734334644111125</c:v>
                </c:pt>
                <c:pt idx="22">
                  <c:v>0.11646365224036875</c:v>
                </c:pt>
                <c:pt idx="23">
                  <c:v>0.11174868531475096</c:v>
                </c:pt>
                <c:pt idx="24">
                  <c:v>0.11035393375838357</c:v>
                </c:pt>
                <c:pt idx="25">
                  <c:v>0.1060271626059244</c:v>
                </c:pt>
                <c:pt idx="26">
                  <c:v>0.10999386690490674</c:v>
                </c:pt>
                <c:pt idx="27">
                  <c:v>0.11496428816574891</c:v>
                </c:pt>
                <c:pt idx="28">
                  <c:v>0.11872939494824679</c:v>
                </c:pt>
                <c:pt idx="29">
                  <c:v>0.11929038731446774</c:v>
                </c:pt>
                <c:pt idx="30">
                  <c:v>0.1162549281194215</c:v>
                </c:pt>
                <c:pt idx="31">
                  <c:v>0.10601166578808079</c:v>
                </c:pt>
                <c:pt idx="32">
                  <c:v>0.1121586378402319</c:v>
                </c:pt>
                <c:pt idx="33">
                  <c:v>0.11860639881118022</c:v>
                </c:pt>
                <c:pt idx="34">
                  <c:v>0.12118576471600143</c:v>
                </c:pt>
                <c:pt idx="35">
                  <c:v>0.1173711169997698</c:v>
                </c:pt>
                <c:pt idx="36">
                  <c:v>0.11631588866582039</c:v>
                </c:pt>
                <c:pt idx="37">
                  <c:v>0.12194846585045492</c:v>
                </c:pt>
                <c:pt idx="38">
                  <c:v>0.11831592243635193</c:v>
                </c:pt>
                <c:pt idx="39">
                  <c:v>0.12136268720002732</c:v>
                </c:pt>
                <c:pt idx="40">
                  <c:v>0.1228553502053492</c:v>
                </c:pt>
                <c:pt idx="41">
                  <c:v>0.12905764325187263</c:v>
                </c:pt>
                <c:pt idx="42">
                  <c:v>0.1286730890432159</c:v>
                </c:pt>
                <c:pt idx="43">
                  <c:v>0.13002373368928513</c:v>
                </c:pt>
                <c:pt idx="44">
                  <c:v>0.1296425044112325</c:v>
                </c:pt>
                <c:pt idx="45">
                  <c:v>0.12940897596718634</c:v>
                </c:pt>
                <c:pt idx="46">
                  <c:v>0.12785134617468139</c:v>
                </c:pt>
                <c:pt idx="47">
                  <c:v>0.12244808914898331</c:v>
                </c:pt>
                <c:pt idx="48">
                  <c:v>0.12079178320775452</c:v>
                </c:pt>
                <c:pt idx="49">
                  <c:v>0.12609015766517984</c:v>
                </c:pt>
                <c:pt idx="50">
                  <c:v>0.12029632000790086</c:v>
                </c:pt>
                <c:pt idx="51">
                  <c:v>0.11275634125353833</c:v>
                </c:pt>
                <c:pt idx="52">
                  <c:v>0.0866915977267167</c:v>
                </c:pt>
                <c:pt idx="53">
                  <c:v>-0.03582597851342866</c:v>
                </c:pt>
                <c:pt idx="54">
                  <c:v>0.14808133074926588</c:v>
                </c:pt>
              </c:numCache>
            </c:numRef>
          </c:xVal>
          <c:yVal>
            <c:numRef>
              <c:f>Sheet1!$B$187:$B$241</c:f>
              <c:numCache>
                <c:formatCode>General</c:formatCode>
                <c:ptCount val="55"/>
                <c:pt idx="0">
                  <c:v>0.15297062419801388</c:v>
                </c:pt>
                <c:pt idx="1">
                  <c:v>0.15242237876911552</c:v>
                </c:pt>
                <c:pt idx="2">
                  <c:v>0.1534815190100683</c:v>
                </c:pt>
                <c:pt idx="3">
                  <c:v>0.15314903318741646</c:v>
                </c:pt>
                <c:pt idx="4">
                  <c:v>0.15336262316171137</c:v>
                </c:pt>
                <c:pt idx="5">
                  <c:v>0.15322422981035236</c:v>
                </c:pt>
                <c:pt idx="6">
                  <c:v>0.15516379871747954</c:v>
                </c:pt>
                <c:pt idx="7">
                  <c:v>0.15461932781247661</c:v>
                </c:pt>
                <c:pt idx="8">
                  <c:v>0.15100861879063443</c:v>
                </c:pt>
                <c:pt idx="9">
                  <c:v>0.1525360121682454</c:v>
                </c:pt>
                <c:pt idx="10">
                  <c:v>0.15194415440107278</c:v>
                </c:pt>
                <c:pt idx="11">
                  <c:v>0.15536252728346855</c:v>
                </c:pt>
                <c:pt idx="12">
                  <c:v>0.15493461075769516</c:v>
                </c:pt>
                <c:pt idx="13">
                  <c:v>0.15433419886781138</c:v>
                </c:pt>
                <c:pt idx="14">
                  <c:v>0.1543697732121153</c:v>
                </c:pt>
                <c:pt idx="15">
                  <c:v>0.15497910458319664</c:v>
                </c:pt>
                <c:pt idx="16">
                  <c:v>0.15415012470247952</c:v>
                </c:pt>
                <c:pt idx="17">
                  <c:v>0.15524167181763737</c:v>
                </c:pt>
                <c:pt idx="18">
                  <c:v>0.15601385672140342</c:v>
                </c:pt>
                <c:pt idx="19">
                  <c:v>0.15347031018509696</c:v>
                </c:pt>
                <c:pt idx="20">
                  <c:v>0.154294606089786</c:v>
                </c:pt>
                <c:pt idx="21">
                  <c:v>0.15479528889373043</c:v>
                </c:pt>
                <c:pt idx="22">
                  <c:v>0.1550500364801848</c:v>
                </c:pt>
                <c:pt idx="23">
                  <c:v>0.15641542736658548</c:v>
                </c:pt>
                <c:pt idx="24">
                  <c:v>0.15681932862271308</c:v>
                </c:pt>
                <c:pt idx="25">
                  <c:v>0.1580723032442339</c:v>
                </c:pt>
                <c:pt idx="26">
                  <c:v>0.15692359913149673</c:v>
                </c:pt>
                <c:pt idx="27">
                  <c:v>0.1554842321119207</c:v>
                </c:pt>
                <c:pt idx="28">
                  <c:v>0.15439390792338478</c:v>
                </c:pt>
                <c:pt idx="29">
                  <c:v>0.1542314520936277</c:v>
                </c:pt>
                <c:pt idx="30">
                  <c:v>0.15511048017300583</c:v>
                </c:pt>
                <c:pt idx="31">
                  <c:v>0.15807679091385826</c:v>
                </c:pt>
                <c:pt idx="32">
                  <c:v>0.15629671063941028</c:v>
                </c:pt>
                <c:pt idx="33">
                  <c:v>0.15442952594727816</c:v>
                </c:pt>
                <c:pt idx="34">
                  <c:v>0.15368257633878774</c:v>
                </c:pt>
                <c:pt idx="35">
                  <c:v>0.15478724691415754</c:v>
                </c:pt>
                <c:pt idx="36">
                  <c:v>0.15509282682022602</c:v>
                </c:pt>
                <c:pt idx="37">
                  <c:v>0.1534617083678223</c:v>
                </c:pt>
                <c:pt idx="38">
                  <c:v>0.15451364399119283</c:v>
                </c:pt>
                <c:pt idx="39">
                  <c:v>0.15363134197148479</c:v>
                </c:pt>
                <c:pt idx="40">
                  <c:v>0.15319908687911915</c:v>
                </c:pt>
                <c:pt idx="41">
                  <c:v>0.151402986390164</c:v>
                </c:pt>
                <c:pt idx="42">
                  <c:v>0.15151434810703504</c:v>
                </c:pt>
                <c:pt idx="43">
                  <c:v>0.15112321961777905</c:v>
                </c:pt>
                <c:pt idx="44">
                  <c:v>0.15123361847955136</c:v>
                </c:pt>
                <c:pt idx="45">
                  <c:v>0.1513012451700979</c:v>
                </c:pt>
                <c:pt idx="46">
                  <c:v>0.15175231376858944</c:v>
                </c:pt>
                <c:pt idx="47">
                  <c:v>0.15331702419310678</c:v>
                </c:pt>
                <c:pt idx="48">
                  <c:v>0.15379666807458506</c:v>
                </c:pt>
                <c:pt idx="49">
                  <c:v>0.15226233022852292</c:v>
                </c:pt>
                <c:pt idx="50">
                  <c:v>0.1539401475407827</c:v>
                </c:pt>
                <c:pt idx="51">
                  <c:v>0.15612362378510702</c:v>
                </c:pt>
                <c:pt idx="52">
                  <c:v>0.1636716222820912</c:v>
                </c:pt>
                <c:pt idx="53">
                  <c:v>0.19915106140886207</c:v>
                </c:pt>
                <c:pt idx="54">
                  <c:v>0.145893982839461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82231562858233"/>
          <c:min val="0.0981473021674026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5.339</c:v>
                </c:pt>
                <c:pt idx="1">
                  <c:v>908.2997</c:v>
                </c:pt>
                <c:pt idx="2">
                  <c:v>940.9637</c:v>
                </c:pt>
                <c:pt idx="3">
                  <c:v>955.9334</c:v>
                </c:pt>
                <c:pt idx="4">
                  <c:v>942.4441</c:v>
                </c:pt>
                <c:pt idx="5">
                  <c:v>940.2147</c:v>
                </c:pt>
                <c:pt idx="6">
                  <c:v>909.8198</c:v>
                </c:pt>
                <c:pt idx="7">
                  <c:v>924.4938</c:v>
                </c:pt>
                <c:pt idx="8">
                  <c:v>923.6388</c:v>
                </c:pt>
                <c:pt idx="9">
                  <c:v>897.1056</c:v>
                </c:pt>
                <c:pt idx="10">
                  <c:v>879.3296</c:v>
                </c:pt>
                <c:pt idx="11">
                  <c:v>894.5324</c:v>
                </c:pt>
                <c:pt idx="12">
                  <c:v>888.5455</c:v>
                </c:pt>
                <c:pt idx="13">
                  <c:v>871.4541</c:v>
                </c:pt>
                <c:pt idx="14">
                  <c:v>924.2327</c:v>
                </c:pt>
                <c:pt idx="15">
                  <c:v>926.4744</c:v>
                </c:pt>
                <c:pt idx="16">
                  <c:v>967.2882</c:v>
                </c:pt>
                <c:pt idx="17">
                  <c:v>949.7834</c:v>
                </c:pt>
                <c:pt idx="18">
                  <c:v>1007.0661</c:v>
                </c:pt>
                <c:pt idx="19">
                  <c:v>1009.8445</c:v>
                </c:pt>
                <c:pt idx="20">
                  <c:v>1021.2071</c:v>
                </c:pt>
                <c:pt idx="21">
                  <c:v>1026.5957</c:v>
                </c:pt>
                <c:pt idx="22">
                  <c:v>1010.5776</c:v>
                </c:pt>
                <c:pt idx="23">
                  <c:v>995.7251</c:v>
                </c:pt>
                <c:pt idx="24">
                  <c:v>1003.6206</c:v>
                </c:pt>
                <c:pt idx="25">
                  <c:v>975.6425</c:v>
                </c:pt>
                <c:pt idx="26">
                  <c:v>996.5869</c:v>
                </c:pt>
                <c:pt idx="27">
                  <c:v>1051.6926</c:v>
                </c:pt>
                <c:pt idx="28">
                  <c:v>1017.9765</c:v>
                </c:pt>
                <c:pt idx="29">
                  <c:v>955.151</c:v>
                </c:pt>
                <c:pt idx="30">
                  <c:v>975.1197</c:v>
                </c:pt>
                <c:pt idx="31">
                  <c:v>979.0429</c:v>
                </c:pt>
                <c:pt idx="32">
                  <c:v>964.5436</c:v>
                </c:pt>
                <c:pt idx="33">
                  <c:v>917.2174</c:v>
                </c:pt>
                <c:pt idx="34">
                  <c:v>975.4718</c:v>
                </c:pt>
                <c:pt idx="35">
                  <c:v>1007.2858</c:v>
                </c:pt>
                <c:pt idx="36">
                  <c:v>1086.5904</c:v>
                </c:pt>
                <c:pt idx="37">
                  <c:v>1090.6655</c:v>
                </c:pt>
                <c:pt idx="38">
                  <c:v>1115.782</c:v>
                </c:pt>
                <c:pt idx="39">
                  <c:v>1139.0051</c:v>
                </c:pt>
                <c:pt idx="40">
                  <c:v>1161.8093</c:v>
                </c:pt>
                <c:pt idx="41">
                  <c:v>1164.516</c:v>
                </c:pt>
                <c:pt idx="42">
                  <c:v>1188.0815</c:v>
                </c:pt>
                <c:pt idx="43">
                  <c:v>1207.3765</c:v>
                </c:pt>
                <c:pt idx="44">
                  <c:v>1068.4104</c:v>
                </c:pt>
                <c:pt idx="45">
                  <c:v>1044.4211</c:v>
                </c:pt>
                <c:pt idx="46">
                  <c:v>1022.3771</c:v>
                </c:pt>
                <c:pt idx="47">
                  <c:v>998.029</c:v>
                </c:pt>
                <c:pt idx="48">
                  <c:v>992.409</c:v>
                </c:pt>
                <c:pt idx="49">
                  <c:v>950.193</c:v>
                </c:pt>
                <c:pt idx="50">
                  <c:v>957.3793</c:v>
                </c:pt>
                <c:pt idx="51">
                  <c:v>985.9719</c:v>
                </c:pt>
                <c:pt idx="52">
                  <c:v>989.7834</c:v>
                </c:pt>
                <c:pt idx="53">
                  <c:v>1077.0405</c:v>
                </c:pt>
                <c:pt idx="54">
                  <c:v>1079.7286</c:v>
                </c:pt>
                <c:pt idx="55">
                  <c:v>1113.3342</c:v>
                </c:pt>
                <c:pt idx="56">
                  <c:v>1089.9423</c:v>
                </c:pt>
                <c:pt idx="57">
                  <c:v>1092.6085</c:v>
                </c:pt>
                <c:pt idx="58">
                  <c:v>1065.2985</c:v>
                </c:pt>
                <c:pt idx="59">
                  <c:v>1076.2585</c:v>
                </c:pt>
                <c:pt idx="60">
                  <c:v>1099.4991</c:v>
                </c:pt>
                <c:pt idx="61">
                  <c:v>1074.6468</c:v>
                </c:pt>
                <c:pt idx="62">
                  <c:v>1024.3388</c:v>
                </c:pt>
                <c:pt idx="63">
                  <c:v>1051.3767</c:v>
                </c:pt>
                <c:pt idx="64">
                  <c:v>1058.04</c:v>
                </c:pt>
                <c:pt idx="65">
                  <c:v>1027.6052</c:v>
                </c:pt>
                <c:pt idx="66">
                  <c:v>1040.2006</c:v>
                </c:pt>
                <c:pt idx="67">
                  <c:v>1026.6074</c:v>
                </c:pt>
                <c:pt idx="68">
                  <c:v>1024.3861</c:v>
                </c:pt>
                <c:pt idx="69">
                  <c:v>1042.0443</c:v>
                </c:pt>
                <c:pt idx="70">
                  <c:v>1039.7038</c:v>
                </c:pt>
                <c:pt idx="71">
                  <c:v>1056.9024</c:v>
                </c:pt>
                <c:pt idx="72">
                  <c:v>1076.037</c:v>
                </c:pt>
                <c:pt idx="73">
                  <c:v>1112.2362</c:v>
                </c:pt>
                <c:pt idx="74">
                  <c:v>1082.1863</c:v>
                </c:pt>
                <c:pt idx="75">
                  <c:v>1094.3358</c:v>
                </c:pt>
                <c:pt idx="76">
                  <c:v>1069.793</c:v>
                </c:pt>
                <c:pt idx="77">
                  <c:v>1033.0136</c:v>
                </c:pt>
                <c:pt idx="78">
                  <c:v>1099.6623</c:v>
                </c:pt>
                <c:pt idx="79">
                  <c:v>835.6999</c:v>
                </c:pt>
                <c:pt idx="80">
                  <c:v>829.1711</c:v>
                </c:pt>
                <c:pt idx="81">
                  <c:v>1000.7921</c:v>
                </c:pt>
                <c:pt idx="82">
                  <c:v>1004.7331</c:v>
                </c:pt>
                <c:pt idx="83">
                  <c:v>1035.0474</c:v>
                </c:pt>
                <c:pt idx="84">
                  <c:v>1034.8995</c:v>
                </c:pt>
                <c:pt idx="85">
                  <c:v>1059.6931</c:v>
                </c:pt>
                <c:pt idx="86">
                  <c:v>1143.2755</c:v>
                </c:pt>
                <c:pt idx="87">
                  <c:v>1164.9097</c:v>
                </c:pt>
                <c:pt idx="88">
                  <c:v>1166.1309</c:v>
                </c:pt>
                <c:pt idx="89">
                  <c:v>1119.1226</c:v>
                </c:pt>
                <c:pt idx="90">
                  <c:v>1152.0588</c:v>
                </c:pt>
                <c:pt idx="91">
                  <c:v>1172.9296</c:v>
                </c:pt>
                <c:pt idx="92">
                  <c:v>1168.2515</c:v>
                </c:pt>
                <c:pt idx="93">
                  <c:v>1196.6421</c:v>
                </c:pt>
                <c:pt idx="94">
                  <c:v>1182.9458</c:v>
                </c:pt>
                <c:pt idx="95">
                  <c:v>1191.1058</c:v>
                </c:pt>
                <c:pt idx="96">
                  <c:v>1134.5103</c:v>
                </c:pt>
                <c:pt idx="97">
                  <c:v>1151.7349</c:v>
                </c:pt>
                <c:pt idx="98">
                  <c:v>1135.9488</c:v>
                </c:pt>
                <c:pt idx="99">
                  <c:v>1087.9181</c:v>
                </c:pt>
                <c:pt idx="100">
                  <c:v>1075.9064</c:v>
                </c:pt>
                <c:pt idx="101">
                  <c:v>1118.8907</c:v>
                </c:pt>
                <c:pt idx="102">
                  <c:v>1146.2543</c:v>
                </c:pt>
                <c:pt idx="103">
                  <c:v>1027.8397</c:v>
                </c:pt>
                <c:pt idx="104">
                  <c:v>1112.0425</c:v>
                </c:pt>
              </c:numCache>
            </c:numRef>
          </c:xVal>
          <c:yVal>
            <c:numRef>
              <c:f>Sheet1!$B$2:$B$106</c:f>
              <c:numCache>
                <c:formatCode>General</c:formatCode>
                <c:ptCount val="105"/>
                <c:pt idx="0">
                  <c:v>0.22194230725584985</c:v>
                </c:pt>
                <c:pt idx="1">
                  <c:v>0.22026857992494867</c:v>
                </c:pt>
                <c:pt idx="2">
                  <c:v>0.20593717638936831</c:v>
                </c:pt>
                <c:pt idx="3">
                  <c:v>0.2040204890306369</c:v>
                </c:pt>
                <c:pt idx="4">
                  <c:v>0.19666111126804328</c:v>
                </c:pt>
                <c:pt idx="5">
                  <c:v>0.18609471714409098</c:v>
                </c:pt>
                <c:pt idx="6">
                  <c:v>0.2048780487804878</c:v>
                </c:pt>
                <c:pt idx="7">
                  <c:v>0.1934277403062366</c:v>
                </c:pt>
                <c:pt idx="8">
                  <c:v>0.20359481491380463</c:v>
                </c:pt>
                <c:pt idx="9">
                  <c:v>0.20617391075701402</c:v>
                </c:pt>
                <c:pt idx="10">
                  <c:v>0.21707292607081954</c:v>
                </c:pt>
                <c:pt idx="11">
                  <c:v>0.2116915611494427</c:v>
                </c:pt>
                <c:pt idx="12">
                  <c:v>0.22563269096819133</c:v>
                </c:pt>
                <c:pt idx="13">
                  <c:v>0.23082949760062677</c:v>
                </c:pt>
                <c:pt idx="14">
                  <c:v>0.22157152191273624</c:v>
                </c:pt>
                <c:pt idx="15">
                  <c:v>0.21490062398890686</c:v>
                </c:pt>
                <c:pt idx="16">
                  <c:v>0.20514754098360655</c:v>
                </c:pt>
                <c:pt idx="17">
                  <c:v>0.19200371920037193</c:v>
                </c:pt>
                <c:pt idx="18">
                  <c:v>0.18350906290723848</c:v>
                </c:pt>
                <c:pt idx="19">
                  <c:v>0.15793871866295264</c:v>
                </c:pt>
                <c:pt idx="20">
                  <c:v>0.17411278281842196</c:v>
                </c:pt>
                <c:pt idx="21">
                  <c:v>0.16994172652120884</c:v>
                </c:pt>
                <c:pt idx="22">
                  <c:v>0.1656244166511107</c:v>
                </c:pt>
                <c:pt idx="23">
                  <c:v>0.16955068331530823</c:v>
                </c:pt>
                <c:pt idx="24">
                  <c:v>0.1800869002496071</c:v>
                </c:pt>
                <c:pt idx="25">
                  <c:v>0.17639368266917688</c:v>
                </c:pt>
                <c:pt idx="26">
                  <c:v>0.17197333457647662</c:v>
                </c:pt>
                <c:pt idx="27">
                  <c:v>0.17267888823181549</c:v>
                </c:pt>
                <c:pt idx="28">
                  <c:v>0.16393898650841485</c:v>
                </c:pt>
                <c:pt idx="29">
                  <c:v>0.17797471441928533</c:v>
                </c:pt>
                <c:pt idx="30">
                  <c:v>0.16221154850161845</c:v>
                </c:pt>
                <c:pt idx="31">
                  <c:v>0.15748870730345632</c:v>
                </c:pt>
                <c:pt idx="32">
                  <c:v>0.16348269653930786</c:v>
                </c:pt>
                <c:pt idx="33">
                  <c:v>0.18088082487411078</c:v>
                </c:pt>
                <c:pt idx="34">
                  <c:v>0.18054500054282924</c:v>
                </c:pt>
                <c:pt idx="35">
                  <c:v>0.19449394155381325</c:v>
                </c:pt>
                <c:pt idx="36">
                  <c:v>0.16721767225185966</c:v>
                </c:pt>
                <c:pt idx="37">
                  <c:v>0.13747257569109259</c:v>
                </c:pt>
                <c:pt idx="38">
                  <c:v>0.13328411361070094</c:v>
                </c:pt>
                <c:pt idx="39">
                  <c:v>0.13529929985626188</c:v>
                </c:pt>
                <c:pt idx="40">
                  <c:v>0.14140245313584818</c:v>
                </c:pt>
                <c:pt idx="41">
                  <c:v>0.1320315745741587</c:v>
                </c:pt>
                <c:pt idx="42">
                  <c:v>0.13478445830969937</c:v>
                </c:pt>
                <c:pt idx="43">
                  <c:v>0.14850637407242975</c:v>
                </c:pt>
                <c:pt idx="44">
                  <c:v>0.160577483329377</c:v>
                </c:pt>
                <c:pt idx="45">
                  <c:v>0.17985482748334494</c:v>
                </c:pt>
                <c:pt idx="46">
                  <c:v>0.1890920904278698</c:v>
                </c:pt>
                <c:pt idx="47">
                  <c:v>0.1872183925751916</c:v>
                </c:pt>
                <c:pt idx="48">
                  <c:v>0.20402986156410813</c:v>
                </c:pt>
                <c:pt idx="49">
                  <c:v>0.2373207055109464</c:v>
                </c:pt>
                <c:pt idx="50">
                  <c:v>0.19963127804987058</c:v>
                </c:pt>
                <c:pt idx="51">
                  <c:v>0.18215747110931246</c:v>
                </c:pt>
                <c:pt idx="52">
                  <c:v>0.19546332988463117</c:v>
                </c:pt>
                <c:pt idx="53">
                  <c:v>0.18087203153542927</c:v>
                </c:pt>
                <c:pt idx="54">
                  <c:v>0.1730390224674813</c:v>
                </c:pt>
                <c:pt idx="55">
                  <c:v>0.1718077183480027</c:v>
                </c:pt>
                <c:pt idx="56">
                  <c:v>0.18865047380459646</c:v>
                </c:pt>
                <c:pt idx="57">
                  <c:v>0.1838357464989319</c:v>
                </c:pt>
                <c:pt idx="58">
                  <c:v>0.19846960029818675</c:v>
                </c:pt>
                <c:pt idx="59">
                  <c:v>0.20095489936829733</c:v>
                </c:pt>
                <c:pt idx="60">
                  <c:v>0.20754898811435915</c:v>
                </c:pt>
                <c:pt idx="61">
                  <c:v>0.20793681621026736</c:v>
                </c:pt>
                <c:pt idx="62">
                  <c:v>0.215126935636785</c:v>
                </c:pt>
                <c:pt idx="63">
                  <c:v>0.22940080302768331</c:v>
                </c:pt>
                <c:pt idx="64">
                  <c:v>0.21880271394834502</c:v>
                </c:pt>
                <c:pt idx="65">
                  <c:v>0.21689451132421955</c:v>
                </c:pt>
                <c:pt idx="66">
                  <c:v>0.2178862817026121</c:v>
                </c:pt>
                <c:pt idx="67">
                  <c:v>0.21287441455179174</c:v>
                </c:pt>
                <c:pt idx="68">
                  <c:v>0.19509166798753105</c:v>
                </c:pt>
                <c:pt idx="69">
                  <c:v>0.1761484219894571</c:v>
                </c:pt>
                <c:pt idx="70">
                  <c:v>0.1632560695697152</c:v>
                </c:pt>
                <c:pt idx="71">
                  <c:v>0.1733943061477101</c:v>
                </c:pt>
                <c:pt idx="72">
                  <c:v>0.1759865159627206</c:v>
                </c:pt>
                <c:pt idx="73">
                  <c:v>0.17940107322139517</c:v>
                </c:pt>
                <c:pt idx="74">
                  <c:v>0.1715601227812625</c:v>
                </c:pt>
                <c:pt idx="75">
                  <c:v>0.16595561470116246</c:v>
                </c:pt>
                <c:pt idx="76">
                  <c:v>0.1590899603423085</c:v>
                </c:pt>
                <c:pt idx="77">
                  <c:v>0.16565724071676205</c:v>
                </c:pt>
                <c:pt idx="78">
                  <c:v>0.15544116232079283</c:v>
                </c:pt>
                <c:pt idx="79">
                  <c:v>0.18983507236620667</c:v>
                </c:pt>
                <c:pt idx="80">
                  <c:v>0.18471825886962817</c:v>
                </c:pt>
                <c:pt idx="81">
                  <c:v>0.16555171917709682</c:v>
                </c:pt>
                <c:pt idx="82">
                  <c:v>0.15227773695811903</c:v>
                </c:pt>
                <c:pt idx="83">
                  <c:v>0.14037588427832332</c:v>
                </c:pt>
                <c:pt idx="84">
                  <c:v>0.13738054466110589</c:v>
                </c:pt>
                <c:pt idx="85">
                  <c:v>0.1408924507766894</c:v>
                </c:pt>
                <c:pt idx="86">
                  <c:v>0.14388276219376805</c:v>
                </c:pt>
                <c:pt idx="87">
                  <c:v>0.16424116424116425</c:v>
                </c:pt>
                <c:pt idx="88">
                  <c:v>0.15143294683876612</c:v>
                </c:pt>
                <c:pt idx="89">
                  <c:v>0.13790962071271615</c:v>
                </c:pt>
                <c:pt idx="90">
                  <c:v>0.13506044905008635</c:v>
                </c:pt>
                <c:pt idx="91">
                  <c:v>0.13018990876931671</c:v>
                </c:pt>
                <c:pt idx="92">
                  <c:v>0.14122937388056858</c:v>
                </c:pt>
                <c:pt idx="93">
                  <c:v>0.13123975562509313</c:v>
                </c:pt>
                <c:pt idx="94">
                  <c:v>0.13373245077785742</c:v>
                </c:pt>
                <c:pt idx="95">
                  <c:v>0.14385922108024032</c:v>
                </c:pt>
                <c:pt idx="96">
                  <c:v>0.13698139399502945</c:v>
                </c:pt>
                <c:pt idx="97">
                  <c:v>0.14533199314137055</c:v>
                </c:pt>
                <c:pt idx="98">
                  <c:v>0.16315129011740842</c:v>
                </c:pt>
                <c:pt idx="99">
                  <c:v>0.17124577715327813</c:v>
                </c:pt>
                <c:pt idx="100">
                  <c:v>0.19575939007580978</c:v>
                </c:pt>
                <c:pt idx="101">
                  <c:v>0.17001159575417002</c:v>
                </c:pt>
                <c:pt idx="102">
                  <c:v>0.14514833816640643</c:v>
                </c:pt>
                <c:pt idx="103">
                  <c:v>0.16519679377366073</c:v>
                </c:pt>
                <c:pt idx="104">
                  <c:v>0.1671687835916222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63.5546</c:v>
                </c:pt>
                <c:pt idx="1">
                  <c:v>1155.5966</c:v>
                </c:pt>
                <c:pt idx="2">
                  <c:v>1143.6186</c:v>
                </c:pt>
                <c:pt idx="3">
                  <c:v>1162.3873</c:v>
                </c:pt>
                <c:pt idx="4">
                  <c:v>1154.7918</c:v>
                </c:pt>
                <c:pt idx="5">
                  <c:v>1172.1345</c:v>
                </c:pt>
                <c:pt idx="6">
                  <c:v>1112.6925</c:v>
                </c:pt>
                <c:pt idx="7">
                  <c:v>1130.1033</c:v>
                </c:pt>
                <c:pt idx="8">
                  <c:v>1197.7869</c:v>
                </c:pt>
                <c:pt idx="9">
                  <c:v>1137.9749</c:v>
                </c:pt>
                <c:pt idx="10">
                  <c:v>1156.724</c:v>
                </c:pt>
                <c:pt idx="11">
                  <c:v>1086.2682</c:v>
                </c:pt>
                <c:pt idx="12">
                  <c:v>1102.1906</c:v>
                </c:pt>
                <c:pt idx="13">
                  <c:v>1121.3606</c:v>
                </c:pt>
                <c:pt idx="14">
                  <c:v>1145.0526</c:v>
                </c:pt>
                <c:pt idx="15">
                  <c:v>1154.4245</c:v>
                </c:pt>
                <c:pt idx="16">
                  <c:v>1167.8843</c:v>
                </c:pt>
                <c:pt idx="17">
                  <c:v>1148.4451</c:v>
                </c:pt>
                <c:pt idx="18">
                  <c:v>1120.5366</c:v>
                </c:pt>
                <c:pt idx="19">
                  <c:v>1186.8136</c:v>
                </c:pt>
                <c:pt idx="20">
                  <c:v>1152.9145</c:v>
                </c:pt>
                <c:pt idx="21">
                  <c:v>1180.6063</c:v>
                </c:pt>
                <c:pt idx="22">
                  <c:v>1165.3685</c:v>
                </c:pt>
                <c:pt idx="23">
                  <c:v>1120.998</c:v>
                </c:pt>
                <c:pt idx="24">
                  <c:v>1127.2032</c:v>
                </c:pt>
                <c:pt idx="25">
                  <c:v>1097.0884</c:v>
                </c:pt>
                <c:pt idx="26">
                  <c:v>1156.8356</c:v>
                </c:pt>
                <c:pt idx="27">
                  <c:v>1200.9329</c:v>
                </c:pt>
                <c:pt idx="28">
                  <c:v>1216.4221</c:v>
                </c:pt>
                <c:pt idx="29">
                  <c:v>1215.7485</c:v>
                </c:pt>
                <c:pt idx="30">
                  <c:v>1217.9024</c:v>
                </c:pt>
                <c:pt idx="31">
                  <c:v>1128.4813</c:v>
                </c:pt>
                <c:pt idx="32">
                  <c:v>1150.3066</c:v>
                </c:pt>
                <c:pt idx="33">
                  <c:v>1196.1109</c:v>
                </c:pt>
                <c:pt idx="34">
                  <c:v>1251.2024</c:v>
                </c:pt>
                <c:pt idx="35">
                  <c:v>1234.7583</c:v>
                </c:pt>
                <c:pt idx="36">
                  <c:v>1196.4672</c:v>
                </c:pt>
                <c:pt idx="37">
                  <c:v>1243.4517</c:v>
                </c:pt>
                <c:pt idx="38">
                  <c:v>1207.2</c:v>
                </c:pt>
                <c:pt idx="39">
                  <c:v>1224.0096</c:v>
                </c:pt>
                <c:pt idx="40">
                  <c:v>1240.0289</c:v>
                </c:pt>
                <c:pt idx="41">
                  <c:v>1269.3422</c:v>
                </c:pt>
                <c:pt idx="42">
                  <c:v>1261.3194</c:v>
                </c:pt>
                <c:pt idx="43">
                  <c:v>1269.6004</c:v>
                </c:pt>
                <c:pt idx="44">
                  <c:v>1196.4278</c:v>
                </c:pt>
                <c:pt idx="45">
                  <c:v>1170.8185</c:v>
                </c:pt>
                <c:pt idx="46">
                  <c:v>1156.6739</c:v>
                </c:pt>
                <c:pt idx="47">
                  <c:v>1141.2065</c:v>
                </c:pt>
                <c:pt idx="48">
                  <c:v>1110.0836</c:v>
                </c:pt>
                <c:pt idx="49">
                  <c:v>1123.5574</c:v>
                </c:pt>
                <c:pt idx="50">
                  <c:v>1041.2598</c:v>
                </c:pt>
                <c:pt idx="51">
                  <c:v>1015.0635</c:v>
                </c:pt>
              </c:numCache>
            </c:numRef>
          </c:xVal>
          <c:yVal>
            <c:numRef>
              <c:f>Sheet1!$B$109:$B$160</c:f>
              <c:numCache>
                <c:formatCode>General</c:formatCode>
                <c:ptCount val="52"/>
                <c:pt idx="0">
                  <c:v>0.16764404525735213</c:v>
                </c:pt>
                <c:pt idx="1">
                  <c:v>0.1625792614696009</c:v>
                </c:pt>
                <c:pt idx="2">
                  <c:v>0.17124495967741934</c:v>
                </c:pt>
                <c:pt idx="3">
                  <c:v>0.17870228847804695</c:v>
                </c:pt>
                <c:pt idx="4">
                  <c:v>0.16702852924573364</c:v>
                </c:pt>
                <c:pt idx="5">
                  <c:v>0.16200530015988085</c:v>
                </c:pt>
                <c:pt idx="6">
                  <c:v>0.16994058317298544</c:v>
                </c:pt>
                <c:pt idx="7">
                  <c:v>0.16670934699103712</c:v>
                </c:pt>
                <c:pt idx="8">
                  <c:v>0.16762843507283445</c:v>
                </c:pt>
                <c:pt idx="9">
                  <c:v>0.18330661781543395</c:v>
                </c:pt>
                <c:pt idx="10">
                  <c:v>0.18040881630851563</c:v>
                </c:pt>
                <c:pt idx="11">
                  <c:v>0.2011106951204293</c:v>
                </c:pt>
                <c:pt idx="12">
                  <c:v>0.1919274930146282</c:v>
                </c:pt>
                <c:pt idx="13">
                  <c:v>0.18640781405269152</c:v>
                </c:pt>
                <c:pt idx="14">
                  <c:v>0.18856824866841562</c:v>
                </c:pt>
                <c:pt idx="15">
                  <c:v>0.1724264809940279</c:v>
                </c:pt>
                <c:pt idx="16">
                  <c:v>0.17109078741913897</c:v>
                </c:pt>
                <c:pt idx="17">
                  <c:v>0.15125794670634385</c:v>
                </c:pt>
                <c:pt idx="18">
                  <c:v>0.14926702842795822</c:v>
                </c:pt>
                <c:pt idx="19">
                  <c:v>0.159806384865504</c:v>
                </c:pt>
                <c:pt idx="20">
                  <c:v>0.1573928152907423</c:v>
                </c:pt>
                <c:pt idx="21">
                  <c:v>0.15343151410145345</c:v>
                </c:pt>
                <c:pt idx="22">
                  <c:v>0.15176059753613347</c:v>
                </c:pt>
                <c:pt idx="23">
                  <c:v>0.15393190109444668</c:v>
                </c:pt>
                <c:pt idx="24">
                  <c:v>0.15267321071190318</c:v>
                </c:pt>
                <c:pt idx="25">
                  <c:v>0.15868338244842914</c:v>
                </c:pt>
                <c:pt idx="26">
                  <c:v>0.14334487401423351</c:v>
                </c:pt>
                <c:pt idx="27">
                  <c:v>0.13084430805949793</c:v>
                </c:pt>
                <c:pt idx="28">
                  <c:v>0.14007169023515972</c:v>
                </c:pt>
                <c:pt idx="29">
                  <c:v>0.12953151143335193</c:v>
                </c:pt>
                <c:pt idx="30">
                  <c:v>0.14574663698828993</c:v>
                </c:pt>
                <c:pt idx="31">
                  <c:v>0.13473718399826773</c:v>
                </c:pt>
                <c:pt idx="32">
                  <c:v>0.1377187920753991</c:v>
                </c:pt>
                <c:pt idx="33">
                  <c:v>0.15714342836578832</c:v>
                </c:pt>
                <c:pt idx="34">
                  <c:v>0.17673413121122877</c:v>
                </c:pt>
                <c:pt idx="35">
                  <c:v>0.17000804858418087</c:v>
                </c:pt>
                <c:pt idx="36">
                  <c:v>0.1492232435628662</c:v>
                </c:pt>
                <c:pt idx="37">
                  <c:v>0.13839568030354624</c:v>
                </c:pt>
                <c:pt idx="38">
                  <c:v>0.1364245510586974</c:v>
                </c:pt>
                <c:pt idx="39">
                  <c:v>0.1550192172583378</c:v>
                </c:pt>
                <c:pt idx="40">
                  <c:v>0.13829830646806773</c:v>
                </c:pt>
                <c:pt idx="41">
                  <c:v>0.1422884048539601</c:v>
                </c:pt>
                <c:pt idx="42">
                  <c:v>0.13852556480380498</c:v>
                </c:pt>
                <c:pt idx="43">
                  <c:v>0.13625405805020732</c:v>
                </c:pt>
                <c:pt idx="44">
                  <c:v>0.14037665286496595</c:v>
                </c:pt>
                <c:pt idx="45">
                  <c:v>0.15610974594342114</c:v>
                </c:pt>
                <c:pt idx="46">
                  <c:v>0.15033521181500195</c:v>
                </c:pt>
                <c:pt idx="47">
                  <c:v>0.15482262528304477</c:v>
                </c:pt>
                <c:pt idx="48">
                  <c:v>0.1476510067114094</c:v>
                </c:pt>
                <c:pt idx="49">
                  <c:v>0.15917829865683433</c:v>
                </c:pt>
                <c:pt idx="50">
                  <c:v>0.198731798966651</c:v>
                </c:pt>
                <c:pt idx="51">
                  <c:v>0.182217300162164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4.6675474147884</c:v>
                </c:pt>
              </c:numCache>
            </c:numRef>
          </c:xVal>
          <c:yVal>
            <c:numRef>
              <c:f>Sheet1!$B$163:$B$164</c:f>
              <c:numCache>
                <c:formatCode>General</c:formatCode>
                <c:ptCount val="2"/>
                <c:pt idx="0">
                  <c:v>0.20409166500149634</c:v>
                </c:pt>
                <c:pt idx="1">
                  <c:v>0.2040916650014963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4.6675474147884</c:v>
                </c:pt>
                <c:pt idx="1">
                  <c:v>924.6675474147884</c:v>
                </c:pt>
              </c:numCache>
            </c:numRef>
          </c:xVal>
          <c:yVal>
            <c:numRef>
              <c:f>Sheet1!$B$167:$B$168</c:f>
              <c:numCache>
                <c:formatCode>General</c:formatCode>
                <c:ptCount val="2"/>
                <c:pt idx="0">
                  <c:v>0.204091665001496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1.6151830890688</c:v>
                </c:pt>
              </c:numCache>
            </c:numRef>
          </c:xVal>
          <c:yVal>
            <c:numRef>
              <c:f>Sheet1!$B$171:$B$172</c:f>
              <c:numCache>
                <c:formatCode>General</c:formatCode>
                <c:ptCount val="2"/>
                <c:pt idx="0">
                  <c:v>0.17280020329117562</c:v>
                </c:pt>
                <c:pt idx="1">
                  <c:v>0.1728002032911756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1.6151830890688</c:v>
                </c:pt>
                <c:pt idx="1">
                  <c:v>1091.6151830890688</c:v>
                </c:pt>
              </c:numCache>
            </c:numRef>
          </c:xVal>
          <c:yVal>
            <c:numRef>
              <c:f>Sheet1!$B$175:$B$176</c:f>
              <c:numCache>
                <c:formatCode>General</c:formatCode>
                <c:ptCount val="2"/>
                <c:pt idx="0">
                  <c:v>0.172800203291175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92.8184121094273</c:v>
                </c:pt>
              </c:numCache>
            </c:numRef>
          </c:xVal>
          <c:yVal>
            <c:numRef>
              <c:f>Sheet1!$B$179:$B$180</c:f>
              <c:numCache>
                <c:formatCode>General</c:formatCode>
                <c:ptCount val="2"/>
                <c:pt idx="0">
                  <c:v>0.1538313993721439</c:v>
                </c:pt>
                <c:pt idx="1">
                  <c:v>0.153831399372143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92.8184121094273</c:v>
                </c:pt>
                <c:pt idx="1">
                  <c:v>1192.8184121094273</c:v>
                </c:pt>
              </c:numCache>
            </c:numRef>
          </c:xVal>
          <c:yVal>
            <c:numRef>
              <c:f>Sheet1!$B$183:$B$184</c:f>
              <c:numCache>
                <c:formatCode>General</c:formatCode>
                <c:ptCount val="2"/>
                <c:pt idx="0">
                  <c:v>0.153831399372143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63.5546</c:v>
                </c:pt>
                <c:pt idx="1">
                  <c:v>1155.5966</c:v>
                </c:pt>
                <c:pt idx="2">
                  <c:v>1143.6186</c:v>
                </c:pt>
                <c:pt idx="3">
                  <c:v>1162.3873</c:v>
                </c:pt>
                <c:pt idx="4">
                  <c:v>1154.7918</c:v>
                </c:pt>
                <c:pt idx="5">
                  <c:v>1172.1345</c:v>
                </c:pt>
                <c:pt idx="6">
                  <c:v>1112.6925</c:v>
                </c:pt>
                <c:pt idx="7">
                  <c:v>1130.1033</c:v>
                </c:pt>
                <c:pt idx="8">
                  <c:v>1197.7869</c:v>
                </c:pt>
                <c:pt idx="9">
                  <c:v>1137.9749</c:v>
                </c:pt>
                <c:pt idx="10">
                  <c:v>1156.724</c:v>
                </c:pt>
                <c:pt idx="11">
                  <c:v>1086.2682</c:v>
                </c:pt>
                <c:pt idx="12">
                  <c:v>1102.1906</c:v>
                </c:pt>
                <c:pt idx="13">
                  <c:v>1121.3606</c:v>
                </c:pt>
                <c:pt idx="14">
                  <c:v>1145.0526</c:v>
                </c:pt>
                <c:pt idx="15">
                  <c:v>1154.4245</c:v>
                </c:pt>
                <c:pt idx="16">
                  <c:v>1167.8843</c:v>
                </c:pt>
                <c:pt idx="17">
                  <c:v>1148.4451</c:v>
                </c:pt>
                <c:pt idx="18">
                  <c:v>1120.5366</c:v>
                </c:pt>
                <c:pt idx="19">
                  <c:v>1186.8136</c:v>
                </c:pt>
                <c:pt idx="20">
                  <c:v>1152.9145</c:v>
                </c:pt>
                <c:pt idx="21">
                  <c:v>1180.6063</c:v>
                </c:pt>
                <c:pt idx="22">
                  <c:v>1165.3685</c:v>
                </c:pt>
                <c:pt idx="23">
                  <c:v>1120.998</c:v>
                </c:pt>
                <c:pt idx="24">
                  <c:v>1127.2032</c:v>
                </c:pt>
                <c:pt idx="25">
                  <c:v>1097.0884</c:v>
                </c:pt>
                <c:pt idx="26">
                  <c:v>1156.8356</c:v>
                </c:pt>
                <c:pt idx="27">
                  <c:v>1200.9329</c:v>
                </c:pt>
                <c:pt idx="28">
                  <c:v>1216.4221</c:v>
                </c:pt>
                <c:pt idx="29">
                  <c:v>1215.7485</c:v>
                </c:pt>
                <c:pt idx="30">
                  <c:v>1217.9024</c:v>
                </c:pt>
                <c:pt idx="31">
                  <c:v>1128.4813</c:v>
                </c:pt>
                <c:pt idx="32">
                  <c:v>1150.3066</c:v>
                </c:pt>
                <c:pt idx="33">
                  <c:v>1196.1109</c:v>
                </c:pt>
                <c:pt idx="34">
                  <c:v>1251.2024</c:v>
                </c:pt>
                <c:pt idx="35">
                  <c:v>1234.7583</c:v>
                </c:pt>
                <c:pt idx="36">
                  <c:v>1196.4672</c:v>
                </c:pt>
                <c:pt idx="37">
                  <c:v>1243.4517</c:v>
                </c:pt>
                <c:pt idx="38">
                  <c:v>1207.2</c:v>
                </c:pt>
                <c:pt idx="39">
                  <c:v>1224.0096</c:v>
                </c:pt>
                <c:pt idx="40">
                  <c:v>1240.0289</c:v>
                </c:pt>
                <c:pt idx="41">
                  <c:v>1269.3422</c:v>
                </c:pt>
                <c:pt idx="42">
                  <c:v>1261.3194</c:v>
                </c:pt>
                <c:pt idx="43">
                  <c:v>1269.6004</c:v>
                </c:pt>
                <c:pt idx="44">
                  <c:v>1196.4278</c:v>
                </c:pt>
                <c:pt idx="45">
                  <c:v>1170.8185</c:v>
                </c:pt>
                <c:pt idx="46">
                  <c:v>1156.6739</c:v>
                </c:pt>
                <c:pt idx="47">
                  <c:v>1141.2065</c:v>
                </c:pt>
                <c:pt idx="48">
                  <c:v>1110.0836</c:v>
                </c:pt>
                <c:pt idx="49">
                  <c:v>1123.5574</c:v>
                </c:pt>
                <c:pt idx="50">
                  <c:v>1041.2598</c:v>
                </c:pt>
                <c:pt idx="51">
                  <c:v>1015.0635</c:v>
                </c:pt>
                <c:pt idx="52">
                  <c:v>1091.6151830890688</c:v>
                </c:pt>
                <c:pt idx="53">
                  <c:v>924.6675474147884</c:v>
                </c:pt>
                <c:pt idx="54">
                  <c:v>1192.8184121094273</c:v>
                </c:pt>
              </c:numCache>
            </c:numRef>
          </c:xVal>
          <c:yVal>
            <c:numRef>
              <c:f>Sheet1!$B$187:$B$241</c:f>
              <c:numCache>
                <c:formatCode>General</c:formatCode>
                <c:ptCount val="55"/>
                <c:pt idx="0">
                  <c:v>0.15931639742211173</c:v>
                </c:pt>
                <c:pt idx="1">
                  <c:v>0.16080798759219697</c:v>
                </c:pt>
                <c:pt idx="2">
                  <c:v>0.16305305759185534</c:v>
                </c:pt>
                <c:pt idx="3">
                  <c:v>0.15953518772187802</c:v>
                </c:pt>
                <c:pt idx="4">
                  <c:v>0.16095883350434634</c:v>
                </c:pt>
                <c:pt idx="5">
                  <c:v>0.15770824279779475</c:v>
                </c:pt>
                <c:pt idx="6">
                  <c:v>0.16884962290463162</c:v>
                </c:pt>
                <c:pt idx="7">
                  <c:v>0.16558626802484772</c:v>
                </c:pt>
                <c:pt idx="8">
                  <c:v>0.1529001418077099</c:v>
                </c:pt>
                <c:pt idx="9">
                  <c:v>0.16411087204811448</c:v>
                </c:pt>
                <c:pt idx="10">
                  <c:v>0.16059667586088835</c:v>
                </c:pt>
                <c:pt idx="11">
                  <c:v>0.17380240326796215</c:v>
                </c:pt>
                <c:pt idx="12">
                  <c:v>0.17081802335791368</c:v>
                </c:pt>
                <c:pt idx="13">
                  <c:v>0.16722493670793448</c:v>
                </c:pt>
                <c:pt idx="14">
                  <c:v>0.16278427896608225</c:v>
                </c:pt>
                <c:pt idx="15">
                  <c:v>0.16102767756937175</c:v>
                </c:pt>
                <c:pt idx="16">
                  <c:v>0.15850486965641455</c:v>
                </c:pt>
                <c:pt idx="17">
                  <c:v>0.16214841321438406</c:v>
                </c:pt>
                <c:pt idx="18">
                  <c:v>0.16737938132971764</c:v>
                </c:pt>
                <c:pt idx="19">
                  <c:v>0.15495689807981303</c:v>
                </c:pt>
                <c:pt idx="20">
                  <c:v>0.16131070108744522</c:v>
                </c:pt>
                <c:pt idx="21">
                  <c:v>0.15612034965844712</c:v>
                </c:pt>
                <c:pt idx="22">
                  <c:v>0.15897641307811602</c:v>
                </c:pt>
                <c:pt idx="23">
                  <c:v>0.16729289983883078</c:v>
                </c:pt>
                <c:pt idx="24">
                  <c:v>0.1661298418690629</c:v>
                </c:pt>
                <c:pt idx="25">
                  <c:v>0.17177434295653254</c:v>
                </c:pt>
                <c:pt idx="26">
                  <c:v>0.16057575836114196</c:v>
                </c:pt>
                <c:pt idx="27">
                  <c:v>0.15231047823959123</c:v>
                </c:pt>
                <c:pt idx="28">
                  <c:v>0.149407294215655</c:v>
                </c:pt>
                <c:pt idx="29">
                  <c:v>0.14953354894530685</c:v>
                </c:pt>
                <c:pt idx="30">
                  <c:v>0.1491298374515463</c:v>
                </c:pt>
                <c:pt idx="31">
                  <c:v>0.16589028401578493</c:v>
                </c:pt>
                <c:pt idx="32">
                  <c:v>0.1617995070694213</c:v>
                </c:pt>
                <c:pt idx="33">
                  <c:v>0.15321427916949212</c:v>
                </c:pt>
                <c:pt idx="34">
                  <c:v>0.14288832543045565</c:v>
                </c:pt>
                <c:pt idx="35">
                  <c:v>0.14597048902883453</c:v>
                </c:pt>
                <c:pt idx="36">
                  <c:v>0.15314749686519435</c:v>
                </c:pt>
                <c:pt idx="37">
                  <c:v>0.14434106078246364</c:v>
                </c:pt>
                <c:pt idx="38">
                  <c:v>0.15113581817991023</c:v>
                </c:pt>
                <c:pt idx="39">
                  <c:v>0.1479851478955341</c:v>
                </c:pt>
                <c:pt idx="40">
                  <c:v>0.14498260574780267</c:v>
                </c:pt>
                <c:pt idx="41">
                  <c:v>0.13948833204426406</c:v>
                </c:pt>
                <c:pt idx="42">
                  <c:v>0.1409920678593633</c:v>
                </c:pt>
                <c:pt idx="43">
                  <c:v>0.1394399368970014</c:v>
                </c:pt>
                <c:pt idx="44">
                  <c:v>0.1531548817172554</c:v>
                </c:pt>
                <c:pt idx="45">
                  <c:v>0.15795490435394352</c:v>
                </c:pt>
                <c:pt idx="46">
                  <c:v>0.160606066243839</c:v>
                </c:pt>
                <c:pt idx="47">
                  <c:v>0.16350516423287853</c:v>
                </c:pt>
                <c:pt idx="48">
                  <c:v>0.16933861631940111</c:v>
                </c:pt>
                <c:pt idx="49">
                  <c:v>0.16681318434733594</c:v>
                </c:pt>
                <c:pt idx="50">
                  <c:v>0.18223845340760342</c:v>
                </c:pt>
                <c:pt idx="51">
                  <c:v>0.18714849909403275</c:v>
                </c:pt>
                <c:pt idx="52">
                  <c:v>0.17280020329117562</c:v>
                </c:pt>
                <c:pt idx="53">
                  <c:v>0.20409166500149634</c:v>
                </c:pt>
                <c:pt idx="54">
                  <c:v>0.153831399372143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24.0"/>
          <c:min val="65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478484661313563"/>
          <c:min val="0.1036252091466815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83.6837</c:v>
                </c:pt>
                <c:pt idx="1">
                  <c:v>966.575</c:v>
                </c:pt>
                <c:pt idx="2">
                  <c:v>1004.1658</c:v>
                </c:pt>
                <c:pt idx="3">
                  <c:v>1025.9111</c:v>
                </c:pt>
                <c:pt idx="4">
                  <c:v>1038.8074</c:v>
                </c:pt>
                <c:pt idx="5">
                  <c:v>1044.8688</c:v>
                </c:pt>
                <c:pt idx="6">
                  <c:v>1014.7606</c:v>
                </c:pt>
                <c:pt idx="7">
                  <c:v>1035.9</c:v>
                </c:pt>
                <c:pt idx="8">
                  <c:v>1020.9862</c:v>
                </c:pt>
                <c:pt idx="9">
                  <c:v>983.7098</c:v>
                </c:pt>
                <c:pt idx="10">
                  <c:v>966.7723</c:v>
                </c:pt>
                <c:pt idx="11">
                  <c:v>986.2632</c:v>
                </c:pt>
                <c:pt idx="12">
                  <c:v>979.6116</c:v>
                </c:pt>
                <c:pt idx="13">
                  <c:v>969.0491</c:v>
                </c:pt>
                <c:pt idx="14">
                  <c:v>1017.9757</c:v>
                </c:pt>
                <c:pt idx="15">
                  <c:v>1022.9123</c:v>
                </c:pt>
                <c:pt idx="16">
                  <c:v>1027.0247</c:v>
                </c:pt>
                <c:pt idx="17">
                  <c:v>1046.7785</c:v>
                </c:pt>
                <c:pt idx="18">
                  <c:v>1082.9885</c:v>
                </c:pt>
                <c:pt idx="19">
                  <c:v>1112.702</c:v>
                </c:pt>
                <c:pt idx="20">
                  <c:v>1113.5595</c:v>
                </c:pt>
                <c:pt idx="21">
                  <c:v>1123.0637</c:v>
                </c:pt>
                <c:pt idx="22">
                  <c:v>1109.7099</c:v>
                </c:pt>
                <c:pt idx="23">
                  <c:v>1096.2532</c:v>
                </c:pt>
                <c:pt idx="24">
                  <c:v>1087.7789</c:v>
                </c:pt>
                <c:pt idx="25">
                  <c:v>1074.5479</c:v>
                </c:pt>
                <c:pt idx="26">
                  <c:v>1076.6063</c:v>
                </c:pt>
                <c:pt idx="27">
                  <c:v>1096.6786</c:v>
                </c:pt>
                <c:pt idx="28">
                  <c:v>1093.1422</c:v>
                </c:pt>
                <c:pt idx="29">
                  <c:v>999.1981</c:v>
                </c:pt>
                <c:pt idx="30">
                  <c:v>1041.2221</c:v>
                </c:pt>
                <c:pt idx="31">
                  <c:v>1043.179</c:v>
                </c:pt>
                <c:pt idx="32">
                  <c:v>1025.8911</c:v>
                </c:pt>
                <c:pt idx="33">
                  <c:v>959.0862</c:v>
                </c:pt>
                <c:pt idx="34">
                  <c:v>1036.0601</c:v>
                </c:pt>
                <c:pt idx="35">
                  <c:v>1102.8764</c:v>
                </c:pt>
                <c:pt idx="36">
                  <c:v>1176.0392</c:v>
                </c:pt>
                <c:pt idx="37">
                  <c:v>1175.9714</c:v>
                </c:pt>
                <c:pt idx="38">
                  <c:v>1225.3918</c:v>
                </c:pt>
                <c:pt idx="39">
                  <c:v>1244.9366</c:v>
                </c:pt>
                <c:pt idx="40">
                  <c:v>1278.2891</c:v>
                </c:pt>
                <c:pt idx="41">
                  <c:v>1300.506</c:v>
                </c:pt>
                <c:pt idx="42">
                  <c:v>1332.0198</c:v>
                </c:pt>
                <c:pt idx="43">
                  <c:v>1333.9435</c:v>
                </c:pt>
                <c:pt idx="44">
                  <c:v>1180.0243</c:v>
                </c:pt>
                <c:pt idx="45">
                  <c:v>1118.8867</c:v>
                </c:pt>
                <c:pt idx="46">
                  <c:v>1103.3498</c:v>
                </c:pt>
                <c:pt idx="47">
                  <c:v>1088.7106</c:v>
                </c:pt>
                <c:pt idx="48">
                  <c:v>1073.229</c:v>
                </c:pt>
                <c:pt idx="49">
                  <c:v>1047.2799</c:v>
                </c:pt>
                <c:pt idx="50">
                  <c:v>1065.2069</c:v>
                </c:pt>
                <c:pt idx="51">
                  <c:v>1086.4912</c:v>
                </c:pt>
                <c:pt idx="52">
                  <c:v>1088.2768</c:v>
                </c:pt>
                <c:pt idx="53">
                  <c:v>1179.5224</c:v>
                </c:pt>
                <c:pt idx="54">
                  <c:v>1186.0514</c:v>
                </c:pt>
                <c:pt idx="55">
                  <c:v>1197.8008</c:v>
                </c:pt>
                <c:pt idx="56">
                  <c:v>1224.728</c:v>
                </c:pt>
                <c:pt idx="57">
                  <c:v>1202.3301</c:v>
                </c:pt>
                <c:pt idx="58">
                  <c:v>1182.6987</c:v>
                </c:pt>
                <c:pt idx="59">
                  <c:v>1163.5995</c:v>
                </c:pt>
                <c:pt idx="60">
                  <c:v>1185.6169</c:v>
                </c:pt>
                <c:pt idx="61">
                  <c:v>1178.3637</c:v>
                </c:pt>
                <c:pt idx="62">
                  <c:v>1141.1633</c:v>
                </c:pt>
                <c:pt idx="63">
                  <c:v>1159.5331</c:v>
                </c:pt>
                <c:pt idx="64">
                  <c:v>1153.9833</c:v>
                </c:pt>
                <c:pt idx="65">
                  <c:v>1143.3808</c:v>
                </c:pt>
                <c:pt idx="66">
                  <c:v>1144.6878</c:v>
                </c:pt>
                <c:pt idx="67">
                  <c:v>1138.0805</c:v>
                </c:pt>
                <c:pt idx="68">
                  <c:v>1123.0104</c:v>
                </c:pt>
                <c:pt idx="69">
                  <c:v>1134.919</c:v>
                </c:pt>
                <c:pt idx="70">
                  <c:v>1121.3528</c:v>
                </c:pt>
                <c:pt idx="71">
                  <c:v>1158.9137</c:v>
                </c:pt>
                <c:pt idx="72">
                  <c:v>1204.4621</c:v>
                </c:pt>
                <c:pt idx="73">
                  <c:v>1202.6384</c:v>
                </c:pt>
                <c:pt idx="74">
                  <c:v>1150.7609</c:v>
                </c:pt>
                <c:pt idx="75">
                  <c:v>1145.2316</c:v>
                </c:pt>
                <c:pt idx="76">
                  <c:v>1153.8427</c:v>
                </c:pt>
                <c:pt idx="77">
                  <c:v>1128.7978</c:v>
                </c:pt>
                <c:pt idx="78">
                  <c:v>1203.9642</c:v>
                </c:pt>
                <c:pt idx="79">
                  <c:v>844.4785</c:v>
                </c:pt>
                <c:pt idx="80">
                  <c:v>854.282</c:v>
                </c:pt>
                <c:pt idx="81">
                  <c:v>1057.283</c:v>
                </c:pt>
                <c:pt idx="82">
                  <c:v>1067.2955</c:v>
                </c:pt>
                <c:pt idx="83">
                  <c:v>1074.5343</c:v>
                </c:pt>
                <c:pt idx="84">
                  <c:v>1080.6549</c:v>
                </c:pt>
                <c:pt idx="85">
                  <c:v>1106.9405</c:v>
                </c:pt>
                <c:pt idx="86">
                  <c:v>1214.7725</c:v>
                </c:pt>
                <c:pt idx="87">
                  <c:v>1247.265</c:v>
                </c:pt>
                <c:pt idx="88">
                  <c:v>1251.8316</c:v>
                </c:pt>
                <c:pt idx="89">
                  <c:v>1205.0642</c:v>
                </c:pt>
                <c:pt idx="90">
                  <c:v>1248.6367</c:v>
                </c:pt>
                <c:pt idx="91">
                  <c:v>1282.5477</c:v>
                </c:pt>
                <c:pt idx="92">
                  <c:v>1271.3538</c:v>
                </c:pt>
                <c:pt idx="93">
                  <c:v>1307.995</c:v>
                </c:pt>
                <c:pt idx="94">
                  <c:v>1301.7432</c:v>
                </c:pt>
                <c:pt idx="95">
                  <c:v>1299.1079</c:v>
                </c:pt>
                <c:pt idx="96">
                  <c:v>1213.9025</c:v>
                </c:pt>
                <c:pt idx="97">
                  <c:v>1238.7399</c:v>
                </c:pt>
                <c:pt idx="98">
                  <c:v>1218.5024</c:v>
                </c:pt>
                <c:pt idx="99">
                  <c:v>1181.5526</c:v>
                </c:pt>
                <c:pt idx="100">
                  <c:v>1169.6844</c:v>
                </c:pt>
                <c:pt idx="101">
                  <c:v>1229.0463</c:v>
                </c:pt>
                <c:pt idx="102">
                  <c:v>1274.6168</c:v>
                </c:pt>
                <c:pt idx="103">
                  <c:v>1129.6337</c:v>
                </c:pt>
                <c:pt idx="104">
                  <c:v>1199.132</c:v>
                </c:pt>
              </c:numCache>
            </c:numRef>
          </c:xVal>
          <c:yVal>
            <c:numRef>
              <c:f>Sheet1!$B$2:$B$106</c:f>
              <c:numCache>
                <c:formatCode>General</c:formatCode>
                <c:ptCount val="105"/>
                <c:pt idx="0">
                  <c:v>0.2142778451030076</c:v>
                </c:pt>
                <c:pt idx="1">
                  <c:v>0.2205680119581465</c:v>
                </c:pt>
                <c:pt idx="2">
                  <c:v>0.20282753182381436</c:v>
                </c:pt>
                <c:pt idx="3">
                  <c:v>0.20211971936109868</c:v>
                </c:pt>
                <c:pt idx="4">
                  <c:v>0.19169137371170408</c:v>
                </c:pt>
                <c:pt idx="5">
                  <c:v>0.1788611996522747</c:v>
                </c:pt>
                <c:pt idx="6">
                  <c:v>0.1940596137699412</c:v>
                </c:pt>
                <c:pt idx="7">
                  <c:v>0.18765172357986729</c:v>
                </c:pt>
                <c:pt idx="8">
                  <c:v>0.2003025337199042</c:v>
                </c:pt>
                <c:pt idx="9">
                  <c:v>0.19964681025511652</c:v>
                </c:pt>
                <c:pt idx="10">
                  <c:v>0.21146317592366037</c:v>
                </c:pt>
                <c:pt idx="11">
                  <c:v>0.20691998764287922</c:v>
                </c:pt>
                <c:pt idx="12">
                  <c:v>0.2121600091043587</c:v>
                </c:pt>
                <c:pt idx="13">
                  <c:v>0.21832690755850445</c:v>
                </c:pt>
                <c:pt idx="14">
                  <c:v>0.21323685246298707</c:v>
                </c:pt>
                <c:pt idx="15">
                  <c:v>0.21025421613719827</c:v>
                </c:pt>
                <c:pt idx="16">
                  <c:v>0.19590357520970764</c:v>
                </c:pt>
                <c:pt idx="17">
                  <c:v>0.19084721475909008</c:v>
                </c:pt>
                <c:pt idx="18">
                  <c:v>0.17428241089830593</c:v>
                </c:pt>
                <c:pt idx="19">
                  <c:v>0.15911344415281423</c:v>
                </c:pt>
                <c:pt idx="20">
                  <c:v>0.17342784616121462</c:v>
                </c:pt>
                <c:pt idx="21">
                  <c:v>0.1697351229362157</c:v>
                </c:pt>
                <c:pt idx="22">
                  <c:v>0.16864132036545829</c:v>
                </c:pt>
                <c:pt idx="23">
                  <c:v>0.16985230234578627</c:v>
                </c:pt>
                <c:pt idx="24">
                  <c:v>0.17376209447922594</c:v>
                </c:pt>
                <c:pt idx="25">
                  <c:v>0.17251215559157212</c:v>
                </c:pt>
                <c:pt idx="26">
                  <c:v>0.17551114174132781</c:v>
                </c:pt>
                <c:pt idx="27">
                  <c:v>0.16991130696714454</c:v>
                </c:pt>
                <c:pt idx="28">
                  <c:v>0.16685584562996594</c:v>
                </c:pt>
                <c:pt idx="29">
                  <c:v>0.18139695371420123</c:v>
                </c:pt>
                <c:pt idx="30">
                  <c:v>0.16671959352175295</c:v>
                </c:pt>
                <c:pt idx="31">
                  <c:v>0.1619269428781564</c:v>
                </c:pt>
                <c:pt idx="32">
                  <c:v>0.17044424297370808</c:v>
                </c:pt>
                <c:pt idx="33">
                  <c:v>0.1885484873106151</c:v>
                </c:pt>
                <c:pt idx="34">
                  <c:v>0.18400170648464165</c:v>
                </c:pt>
                <c:pt idx="35">
                  <c:v>0.1867177033492823</c:v>
                </c:pt>
                <c:pt idx="36">
                  <c:v>0.15092002018996925</c:v>
                </c:pt>
                <c:pt idx="37">
                  <c:v>0.13891682990100057</c:v>
                </c:pt>
                <c:pt idx="38">
                  <c:v>0.13205435651478817</c:v>
                </c:pt>
                <c:pt idx="39">
                  <c:v>0.13110424276482158</c:v>
                </c:pt>
                <c:pt idx="40">
                  <c:v>0.13415972921050223</c:v>
                </c:pt>
                <c:pt idx="41">
                  <c:v>0.12268412770925334</c:v>
                </c:pt>
                <c:pt idx="42">
                  <c:v>0.12946893439777854</c:v>
                </c:pt>
                <c:pt idx="43">
                  <c:v>0.13465698393077874</c:v>
                </c:pt>
                <c:pt idx="44">
                  <c:v>0.1520209077265435</c:v>
                </c:pt>
                <c:pt idx="45">
                  <c:v>0.17098201675925054</c:v>
                </c:pt>
                <c:pt idx="46">
                  <c:v>0.1779121432824882</c:v>
                </c:pt>
                <c:pt idx="47">
                  <c:v>0.17797305213825423</c:v>
                </c:pt>
                <c:pt idx="48">
                  <c:v>0.19519969998124884</c:v>
                </c:pt>
                <c:pt idx="49">
                  <c:v>0.22485192969048529</c:v>
                </c:pt>
                <c:pt idx="50">
                  <c:v>0.18717832957110608</c:v>
                </c:pt>
                <c:pt idx="51">
                  <c:v>0.17017403535868936</c:v>
                </c:pt>
                <c:pt idx="52">
                  <c:v>0.18587524683470785</c:v>
                </c:pt>
                <c:pt idx="53">
                  <c:v>0.17409405418083734</c:v>
                </c:pt>
                <c:pt idx="54">
                  <c:v>0.16918866709594332</c:v>
                </c:pt>
                <c:pt idx="55">
                  <c:v>0.16388502549837738</c:v>
                </c:pt>
                <c:pt idx="56">
                  <c:v>0.17452272343301234</c:v>
                </c:pt>
                <c:pt idx="57">
                  <c:v>0.16809585679226216</c:v>
                </c:pt>
                <c:pt idx="58">
                  <c:v>0.18187869428617073</c:v>
                </c:pt>
                <c:pt idx="59">
                  <c:v>0.18989330478919927</c:v>
                </c:pt>
                <c:pt idx="60">
                  <c:v>0.19817356799756983</c:v>
                </c:pt>
                <c:pt idx="61">
                  <c:v>0.19613014414038019</c:v>
                </c:pt>
                <c:pt idx="62">
                  <c:v>0.2017100956537183</c:v>
                </c:pt>
                <c:pt idx="63">
                  <c:v>0.21835377499597303</c:v>
                </c:pt>
                <c:pt idx="64">
                  <c:v>0.2085806799784134</c:v>
                </c:pt>
                <c:pt idx="65">
                  <c:v>0.1998825371965544</c:v>
                </c:pt>
                <c:pt idx="66">
                  <c:v>0.1973831585378271</c:v>
                </c:pt>
                <c:pt idx="67">
                  <c:v>0.19430203994446224</c:v>
                </c:pt>
                <c:pt idx="68">
                  <c:v>0.17686881148967132</c:v>
                </c:pt>
                <c:pt idx="69">
                  <c:v>0.16319170984455958</c:v>
                </c:pt>
                <c:pt idx="70">
                  <c:v>0.1533490937746257</c:v>
                </c:pt>
                <c:pt idx="71">
                  <c:v>0.16064874093043108</c:v>
                </c:pt>
                <c:pt idx="72">
                  <c:v>0.1608600759841565</c:v>
                </c:pt>
                <c:pt idx="73">
                  <c:v>0.16387831072696932</c:v>
                </c:pt>
                <c:pt idx="74">
                  <c:v>0.16418766646179062</c:v>
                </c:pt>
                <c:pt idx="75">
                  <c:v>0.16404559226662818</c:v>
                </c:pt>
                <c:pt idx="76">
                  <c:v>0.1593002315410342</c:v>
                </c:pt>
                <c:pt idx="77">
                  <c:v>0.15677497498551793</c:v>
                </c:pt>
                <c:pt idx="78">
                  <c:v>0.1476671759313668</c:v>
                </c:pt>
                <c:pt idx="79">
                  <c:v>0.1968398223691005</c:v>
                </c:pt>
                <c:pt idx="80">
                  <c:v>0.18245957359151302</c:v>
                </c:pt>
                <c:pt idx="81">
                  <c:v>0.1518782525036078</c:v>
                </c:pt>
                <c:pt idx="82">
                  <c:v>0.1534860108303249</c:v>
                </c:pt>
                <c:pt idx="83">
                  <c:v>0.1381531383503122</c:v>
                </c:pt>
                <c:pt idx="84">
                  <c:v>0.13925314517739465</c:v>
                </c:pt>
                <c:pt idx="85">
                  <c:v>0.14105925537493444</c:v>
                </c:pt>
                <c:pt idx="86">
                  <c:v>0.13826324124582087</c:v>
                </c:pt>
                <c:pt idx="87">
                  <c:v>0.1598108549190275</c:v>
                </c:pt>
                <c:pt idx="88">
                  <c:v>0.1421685470628741</c:v>
                </c:pt>
                <c:pt idx="89">
                  <c:v>0.13221375807940905</c:v>
                </c:pt>
                <c:pt idx="90">
                  <c:v>0.1263700456188163</c:v>
                </c:pt>
                <c:pt idx="91">
                  <c:v>0.1283997469955724</c:v>
                </c:pt>
                <c:pt idx="92">
                  <c:v>0.13316432357686103</c:v>
                </c:pt>
                <c:pt idx="93">
                  <c:v>0.12460783880517874</c:v>
                </c:pt>
                <c:pt idx="94">
                  <c:v>0.1268574297188755</c:v>
                </c:pt>
                <c:pt idx="95">
                  <c:v>0.1355782337987695</c:v>
                </c:pt>
                <c:pt idx="96">
                  <c:v>0.13646737847267768</c:v>
                </c:pt>
                <c:pt idx="97">
                  <c:v>0.14375402446877011</c:v>
                </c:pt>
                <c:pt idx="98">
                  <c:v>0.1603094530735948</c:v>
                </c:pt>
                <c:pt idx="99">
                  <c:v>0.1650910727889743</c:v>
                </c:pt>
                <c:pt idx="100">
                  <c:v>0.187766499377382</c:v>
                </c:pt>
                <c:pt idx="101">
                  <c:v>0.16697459082313562</c:v>
                </c:pt>
                <c:pt idx="102">
                  <c:v>0.13658866495333424</c:v>
                </c:pt>
                <c:pt idx="103">
                  <c:v>0.1561864579097194</c:v>
                </c:pt>
                <c:pt idx="104">
                  <c:v>0.1626277200318011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88.9327</c:v>
                </c:pt>
                <c:pt idx="1">
                  <c:v>1264.7948</c:v>
                </c:pt>
                <c:pt idx="2">
                  <c:v>1254.0339</c:v>
                </c:pt>
                <c:pt idx="3">
                  <c:v>1277.6914</c:v>
                </c:pt>
                <c:pt idx="4">
                  <c:v>1272.6031</c:v>
                </c:pt>
                <c:pt idx="5">
                  <c:v>1286.0535</c:v>
                </c:pt>
                <c:pt idx="6">
                  <c:v>1207.6482</c:v>
                </c:pt>
                <c:pt idx="7">
                  <c:v>1251.8346</c:v>
                </c:pt>
                <c:pt idx="8">
                  <c:v>1341.0979</c:v>
                </c:pt>
                <c:pt idx="9">
                  <c:v>1276.0834</c:v>
                </c:pt>
                <c:pt idx="10">
                  <c:v>1292.4704</c:v>
                </c:pt>
                <c:pt idx="11">
                  <c:v>1184.8218</c:v>
                </c:pt>
                <c:pt idx="12">
                  <c:v>1209.065</c:v>
                </c:pt>
                <c:pt idx="13">
                  <c:v>1246.2015</c:v>
                </c:pt>
                <c:pt idx="14">
                  <c:v>1263.2037</c:v>
                </c:pt>
                <c:pt idx="15">
                  <c:v>1276.3352</c:v>
                </c:pt>
                <c:pt idx="16">
                  <c:v>1324.1217</c:v>
                </c:pt>
                <c:pt idx="17">
                  <c:v>1293.1999</c:v>
                </c:pt>
                <c:pt idx="18">
                  <c:v>1275.0769</c:v>
                </c:pt>
                <c:pt idx="19">
                  <c:v>1350.0105</c:v>
                </c:pt>
                <c:pt idx="20">
                  <c:v>1345.6242</c:v>
                </c:pt>
                <c:pt idx="21">
                  <c:v>1296.731</c:v>
                </c:pt>
                <c:pt idx="22">
                  <c:v>1264.2388</c:v>
                </c:pt>
                <c:pt idx="23">
                  <c:v>1202.3616</c:v>
                </c:pt>
                <c:pt idx="24">
                  <c:v>1204.1696</c:v>
                </c:pt>
                <c:pt idx="25">
                  <c:v>1168.3572</c:v>
                </c:pt>
                <c:pt idx="26">
                  <c:v>1228.5477</c:v>
                </c:pt>
                <c:pt idx="27">
                  <c:v>1296.6797</c:v>
                </c:pt>
                <c:pt idx="28">
                  <c:v>1305.0441</c:v>
                </c:pt>
                <c:pt idx="29">
                  <c:v>1311.4076</c:v>
                </c:pt>
                <c:pt idx="30">
                  <c:v>1283.5974</c:v>
                </c:pt>
                <c:pt idx="31">
                  <c:v>1201.7503</c:v>
                </c:pt>
                <c:pt idx="32">
                  <c:v>1227.996</c:v>
                </c:pt>
                <c:pt idx="33">
                  <c:v>1273.3135</c:v>
                </c:pt>
                <c:pt idx="34">
                  <c:v>1325.9503</c:v>
                </c:pt>
                <c:pt idx="35">
                  <c:v>1314.2757</c:v>
                </c:pt>
                <c:pt idx="36">
                  <c:v>1293.1664</c:v>
                </c:pt>
                <c:pt idx="37">
                  <c:v>1355.1494</c:v>
                </c:pt>
                <c:pt idx="38">
                  <c:v>1326.0724</c:v>
                </c:pt>
                <c:pt idx="39">
                  <c:v>1325.687</c:v>
                </c:pt>
                <c:pt idx="40">
                  <c:v>1352.6406</c:v>
                </c:pt>
                <c:pt idx="41">
                  <c:v>1411.2949</c:v>
                </c:pt>
                <c:pt idx="42">
                  <c:v>1407.3764</c:v>
                </c:pt>
                <c:pt idx="43">
                  <c:v>1396.7024</c:v>
                </c:pt>
                <c:pt idx="44">
                  <c:v>1345.4146</c:v>
                </c:pt>
                <c:pt idx="45">
                  <c:v>1299.8614</c:v>
                </c:pt>
                <c:pt idx="46">
                  <c:v>1285.9108</c:v>
                </c:pt>
                <c:pt idx="47">
                  <c:v>1269.8969</c:v>
                </c:pt>
                <c:pt idx="48">
                  <c:v>1245.008</c:v>
                </c:pt>
                <c:pt idx="49">
                  <c:v>1244.7983</c:v>
                </c:pt>
                <c:pt idx="50">
                  <c:v>1139.1272</c:v>
                </c:pt>
                <c:pt idx="51">
                  <c:v>1132.7225</c:v>
                </c:pt>
              </c:numCache>
            </c:numRef>
          </c:xVal>
          <c:yVal>
            <c:numRef>
              <c:f>Sheet1!$B$109:$B$160</c:f>
              <c:numCache>
                <c:formatCode>General</c:formatCode>
                <c:ptCount val="52"/>
                <c:pt idx="0">
                  <c:v>0.16042421801584106</c:v>
                </c:pt>
                <c:pt idx="1">
                  <c:v>0.1612637674577041</c:v>
                </c:pt>
                <c:pt idx="2">
                  <c:v>0.16775339337815554</c:v>
                </c:pt>
                <c:pt idx="3">
                  <c:v>0.1756908617254942</c:v>
                </c:pt>
                <c:pt idx="4">
                  <c:v>0.16415379315827128</c:v>
                </c:pt>
                <c:pt idx="5">
                  <c:v>0.15967930961005752</c:v>
                </c:pt>
                <c:pt idx="6">
                  <c:v>0.16484727090635953</c:v>
                </c:pt>
                <c:pt idx="7">
                  <c:v>0.16083796201056025</c:v>
                </c:pt>
                <c:pt idx="8">
                  <c:v>0.15839402427637722</c:v>
                </c:pt>
                <c:pt idx="9">
                  <c:v>0.17182142367302153</c:v>
                </c:pt>
                <c:pt idx="10">
                  <c:v>0.17353493428204367</c:v>
                </c:pt>
                <c:pt idx="11">
                  <c:v>0.1859548901802423</c:v>
                </c:pt>
                <c:pt idx="12">
                  <c:v>0.1843858470496025</c:v>
                </c:pt>
                <c:pt idx="13">
                  <c:v>0.17723035562958417</c:v>
                </c:pt>
                <c:pt idx="14">
                  <c:v>0.1776102646351243</c:v>
                </c:pt>
                <c:pt idx="15">
                  <c:v>0.16769804095866525</c:v>
                </c:pt>
                <c:pt idx="16">
                  <c:v>0.15306283549100094</c:v>
                </c:pt>
                <c:pt idx="17">
                  <c:v>0.14180516702320223</c:v>
                </c:pt>
                <c:pt idx="18">
                  <c:v>0.13951390628915059</c:v>
                </c:pt>
                <c:pt idx="19">
                  <c:v>0.14639242269477204</c:v>
                </c:pt>
                <c:pt idx="20">
                  <c:v>0.13639398141015766</c:v>
                </c:pt>
                <c:pt idx="21">
                  <c:v>0.14214182887901358</c:v>
                </c:pt>
                <c:pt idx="22">
                  <c:v>0.14651061985262245</c:v>
                </c:pt>
                <c:pt idx="23">
                  <c:v>0.1576090386921669</c:v>
                </c:pt>
                <c:pt idx="24">
                  <c:v>0.1565886053827333</c:v>
                </c:pt>
                <c:pt idx="25">
                  <c:v>0.16612517623980874</c:v>
                </c:pt>
                <c:pt idx="26">
                  <c:v>0.14653522760220353</c:v>
                </c:pt>
                <c:pt idx="27">
                  <c:v>0.13360452216176238</c:v>
                </c:pt>
                <c:pt idx="28">
                  <c:v>0.1337837194918883</c:v>
                </c:pt>
                <c:pt idx="29">
                  <c:v>0.13376526575311048</c:v>
                </c:pt>
                <c:pt idx="30">
                  <c:v>0.14407233359110105</c:v>
                </c:pt>
                <c:pt idx="31">
                  <c:v>0.1396712858524009</c:v>
                </c:pt>
                <c:pt idx="32">
                  <c:v>0.1396373496017624</c:v>
                </c:pt>
                <c:pt idx="33">
                  <c:v>0.16308158817397897</c:v>
                </c:pt>
                <c:pt idx="34">
                  <c:v>0.18258865511857855</c:v>
                </c:pt>
                <c:pt idx="35">
                  <c:v>0.17914450453671837</c:v>
                </c:pt>
                <c:pt idx="36">
                  <c:v>0.14748953974895398</c:v>
                </c:pt>
                <c:pt idx="37">
                  <c:v>0.13699057604693254</c:v>
                </c:pt>
                <c:pt idx="38">
                  <c:v>0.13885786093270036</c:v>
                </c:pt>
                <c:pt idx="39">
                  <c:v>0.15527694995375604</c:v>
                </c:pt>
                <c:pt idx="40">
                  <c:v>0.13792760540970564</c:v>
                </c:pt>
                <c:pt idx="41">
                  <c:v>0.1385128783605941</c:v>
                </c:pt>
                <c:pt idx="42">
                  <c:v>0.13558246523187562</c:v>
                </c:pt>
                <c:pt idx="43">
                  <c:v>0.13361305720224806</c:v>
                </c:pt>
                <c:pt idx="44">
                  <c:v>0.12871882516774275</c:v>
                </c:pt>
                <c:pt idx="45">
                  <c:v>0.14652119820078477</c:v>
                </c:pt>
                <c:pt idx="46">
                  <c:v>0.1401140629925773</c:v>
                </c:pt>
                <c:pt idx="47">
                  <c:v>0.14296841426729695</c:v>
                </c:pt>
                <c:pt idx="48">
                  <c:v>0.13464430825869306</c:v>
                </c:pt>
                <c:pt idx="49">
                  <c:v>0.14968912445214555</c:v>
                </c:pt>
                <c:pt idx="50">
                  <c:v>0.186339019767127</c:v>
                </c:pt>
                <c:pt idx="51">
                  <c:v>0.166713867648447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44.4036826786462</c:v>
                </c:pt>
              </c:numCache>
            </c:numRef>
          </c:xVal>
          <c:yVal>
            <c:numRef>
              <c:f>Sheet1!$B$163:$B$164</c:f>
              <c:numCache>
                <c:formatCode>General</c:formatCode>
                <c:ptCount val="2"/>
                <c:pt idx="0">
                  <c:v>0.19915106140886207</c:v>
                </c:pt>
                <c:pt idx="1">
                  <c:v>0.1991510614088620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44.4036826786462</c:v>
                </c:pt>
                <c:pt idx="1">
                  <c:v>944.4036826786462</c:v>
                </c:pt>
              </c:numCache>
            </c:numRef>
          </c:xVal>
          <c:yVal>
            <c:numRef>
              <c:f>Sheet1!$B$167:$B$168</c:f>
              <c:numCache>
                <c:formatCode>General</c:formatCode>
                <c:ptCount val="2"/>
                <c:pt idx="0">
                  <c:v>0.1991510614088620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08.0422794262727</c:v>
                </c:pt>
              </c:numCache>
            </c:numRef>
          </c:xVal>
          <c:yVal>
            <c:numRef>
              <c:f>Sheet1!$B$171:$B$172</c:f>
              <c:numCache>
                <c:formatCode>General</c:formatCode>
                <c:ptCount val="2"/>
                <c:pt idx="0">
                  <c:v>0.1636716222820912</c:v>
                </c:pt>
                <c:pt idx="1">
                  <c:v>0.163671622282091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08.0422794262727</c:v>
                </c:pt>
                <c:pt idx="1">
                  <c:v>1208.0422794262727</c:v>
                </c:pt>
              </c:numCache>
            </c:numRef>
          </c:xVal>
          <c:yVal>
            <c:numRef>
              <c:f>Sheet1!$B$175:$B$176</c:f>
              <c:numCache>
                <c:formatCode>General</c:formatCode>
                <c:ptCount val="2"/>
                <c:pt idx="0">
                  <c:v>0.163671622282091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40.14335068035</c:v>
                </c:pt>
              </c:numCache>
            </c:numRef>
          </c:xVal>
          <c:yVal>
            <c:numRef>
              <c:f>Sheet1!$B$179:$B$180</c:f>
              <c:numCache>
                <c:formatCode>General</c:formatCode>
                <c:ptCount val="2"/>
                <c:pt idx="0">
                  <c:v>0.1458939828394611</c:v>
                </c:pt>
                <c:pt idx="1">
                  <c:v>0.145893982839461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40.14335068035</c:v>
                </c:pt>
                <c:pt idx="1">
                  <c:v>1340.14335068035</c:v>
                </c:pt>
              </c:numCache>
            </c:numRef>
          </c:xVal>
          <c:yVal>
            <c:numRef>
              <c:f>Sheet1!$B$183:$B$184</c:f>
              <c:numCache>
                <c:formatCode>General</c:formatCode>
                <c:ptCount val="2"/>
                <c:pt idx="0">
                  <c:v>0.145893982839461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88.9327</c:v>
                </c:pt>
                <c:pt idx="1">
                  <c:v>1264.7948</c:v>
                </c:pt>
                <c:pt idx="2">
                  <c:v>1254.0339</c:v>
                </c:pt>
                <c:pt idx="3">
                  <c:v>1277.6914</c:v>
                </c:pt>
                <c:pt idx="4">
                  <c:v>1272.6031</c:v>
                </c:pt>
                <c:pt idx="5">
                  <c:v>1286.0535</c:v>
                </c:pt>
                <c:pt idx="6">
                  <c:v>1207.6482</c:v>
                </c:pt>
                <c:pt idx="7">
                  <c:v>1251.8346</c:v>
                </c:pt>
                <c:pt idx="8">
                  <c:v>1341.0979</c:v>
                </c:pt>
                <c:pt idx="9">
                  <c:v>1276.0834</c:v>
                </c:pt>
                <c:pt idx="10">
                  <c:v>1292.4704</c:v>
                </c:pt>
                <c:pt idx="11">
                  <c:v>1184.8218</c:v>
                </c:pt>
                <c:pt idx="12">
                  <c:v>1209.065</c:v>
                </c:pt>
                <c:pt idx="13">
                  <c:v>1246.2015</c:v>
                </c:pt>
                <c:pt idx="14">
                  <c:v>1263.2037</c:v>
                </c:pt>
                <c:pt idx="15">
                  <c:v>1276.3352</c:v>
                </c:pt>
                <c:pt idx="16">
                  <c:v>1324.1217</c:v>
                </c:pt>
                <c:pt idx="17">
                  <c:v>1293.1999</c:v>
                </c:pt>
                <c:pt idx="18">
                  <c:v>1275.0769</c:v>
                </c:pt>
                <c:pt idx="19">
                  <c:v>1350.0105</c:v>
                </c:pt>
                <c:pt idx="20">
                  <c:v>1345.6242</c:v>
                </c:pt>
                <c:pt idx="21">
                  <c:v>1296.731</c:v>
                </c:pt>
                <c:pt idx="22">
                  <c:v>1264.2388</c:v>
                </c:pt>
                <c:pt idx="23">
                  <c:v>1202.3616</c:v>
                </c:pt>
                <c:pt idx="24">
                  <c:v>1204.1696</c:v>
                </c:pt>
                <c:pt idx="25">
                  <c:v>1168.3572</c:v>
                </c:pt>
                <c:pt idx="26">
                  <c:v>1228.5477</c:v>
                </c:pt>
                <c:pt idx="27">
                  <c:v>1296.6797</c:v>
                </c:pt>
                <c:pt idx="28">
                  <c:v>1305.0441</c:v>
                </c:pt>
                <c:pt idx="29">
                  <c:v>1311.4076</c:v>
                </c:pt>
                <c:pt idx="30">
                  <c:v>1283.5974</c:v>
                </c:pt>
                <c:pt idx="31">
                  <c:v>1201.7503</c:v>
                </c:pt>
                <c:pt idx="32">
                  <c:v>1227.996</c:v>
                </c:pt>
                <c:pt idx="33">
                  <c:v>1273.3135</c:v>
                </c:pt>
                <c:pt idx="34">
                  <c:v>1325.9503</c:v>
                </c:pt>
                <c:pt idx="35">
                  <c:v>1314.2757</c:v>
                </c:pt>
                <c:pt idx="36">
                  <c:v>1293.1664</c:v>
                </c:pt>
                <c:pt idx="37">
                  <c:v>1355.1494</c:v>
                </c:pt>
                <c:pt idx="38">
                  <c:v>1326.0724</c:v>
                </c:pt>
                <c:pt idx="39">
                  <c:v>1325.687</c:v>
                </c:pt>
                <c:pt idx="40">
                  <c:v>1352.6406</c:v>
                </c:pt>
                <c:pt idx="41">
                  <c:v>1411.2949</c:v>
                </c:pt>
                <c:pt idx="42">
                  <c:v>1407.3764</c:v>
                </c:pt>
                <c:pt idx="43">
                  <c:v>1396.7024</c:v>
                </c:pt>
                <c:pt idx="44">
                  <c:v>1345.4146</c:v>
                </c:pt>
                <c:pt idx="45">
                  <c:v>1299.8614</c:v>
                </c:pt>
                <c:pt idx="46">
                  <c:v>1285.9108</c:v>
                </c:pt>
                <c:pt idx="47">
                  <c:v>1269.8969</c:v>
                </c:pt>
                <c:pt idx="48">
                  <c:v>1245.008</c:v>
                </c:pt>
                <c:pt idx="49">
                  <c:v>1244.7983</c:v>
                </c:pt>
                <c:pt idx="50">
                  <c:v>1139.1272</c:v>
                </c:pt>
                <c:pt idx="51">
                  <c:v>1132.7225</c:v>
                </c:pt>
                <c:pt idx="52">
                  <c:v>1208.0422794262727</c:v>
                </c:pt>
                <c:pt idx="53">
                  <c:v>944.4036826786462</c:v>
                </c:pt>
                <c:pt idx="54">
                  <c:v>1340.14335068035</c:v>
                </c:pt>
              </c:numCache>
            </c:numRef>
          </c:xVal>
          <c:yVal>
            <c:numRef>
              <c:f>Sheet1!$B$187:$B$241</c:f>
              <c:numCache>
                <c:formatCode>General</c:formatCode>
                <c:ptCount val="55"/>
                <c:pt idx="0">
                  <c:v>0.1527857095663906</c:v>
                </c:pt>
                <c:pt idx="1">
                  <c:v>0.15603409263420784</c:v>
                </c:pt>
                <c:pt idx="2">
                  <c:v>0.15748225197509808</c:v>
                </c:pt>
                <c:pt idx="3">
                  <c:v>0.15429851923832785</c:v>
                </c:pt>
                <c:pt idx="4">
                  <c:v>0.1549832825178167</c:v>
                </c:pt>
                <c:pt idx="5">
                  <c:v>0.15317318090933507</c:v>
                </c:pt>
                <c:pt idx="6">
                  <c:v>0.16372465593189833</c:v>
                </c:pt>
                <c:pt idx="7">
                  <c:v>0.15777822506642128</c:v>
                </c:pt>
                <c:pt idx="8">
                  <c:v>0.14576552336919454</c:v>
                </c:pt>
                <c:pt idx="9">
                  <c:v>0.1545149175154377</c:v>
                </c:pt>
                <c:pt idx="10">
                  <c:v>0.15230961989914463</c:v>
                </c:pt>
                <c:pt idx="11">
                  <c:v>0.16679654251934892</c:v>
                </c:pt>
                <c:pt idx="12">
                  <c:v>0.163533988594206</c:v>
                </c:pt>
                <c:pt idx="13">
                  <c:v>0.15853630537412497</c:v>
                </c:pt>
                <c:pt idx="14">
                  <c:v>0.15624821657619134</c:v>
                </c:pt>
                <c:pt idx="15">
                  <c:v>0.15448103126781565</c:v>
                </c:pt>
                <c:pt idx="16">
                  <c:v>0.1480501131900107</c:v>
                </c:pt>
                <c:pt idx="17">
                  <c:v>0.1522114466757916</c:v>
                </c:pt>
                <c:pt idx="18">
                  <c:v>0.15465036830269582</c:v>
                </c:pt>
                <c:pt idx="19">
                  <c:v>0.14456610092854194</c:v>
                </c:pt>
                <c:pt idx="20">
                  <c:v>0.14515639182585974</c:v>
                </c:pt>
                <c:pt idx="21">
                  <c:v>0.15173624521042928</c:v>
                </c:pt>
                <c:pt idx="22">
                  <c:v>0.156108916914104</c:v>
                </c:pt>
                <c:pt idx="23">
                  <c:v>0.1644361056407099</c:v>
                </c:pt>
                <c:pt idx="24">
                  <c:v>0.1641927921550043</c:v>
                </c:pt>
                <c:pt idx="25">
                  <c:v>0.16901228323657716</c:v>
                </c:pt>
                <c:pt idx="26">
                  <c:v>0.16091208392166353</c:v>
                </c:pt>
                <c:pt idx="27">
                  <c:v>0.1517431489614341</c:v>
                </c:pt>
                <c:pt idx="28">
                  <c:v>0.15061750110754246</c:v>
                </c:pt>
                <c:pt idx="29">
                  <c:v>0.14976112645804707</c:v>
                </c:pt>
                <c:pt idx="30">
                  <c:v>0.15350371312849523</c:v>
                </c:pt>
                <c:pt idx="31">
                  <c:v>0.1645183719757828</c:v>
                </c:pt>
                <c:pt idx="32">
                  <c:v>0.16098632952457492</c:v>
                </c:pt>
                <c:pt idx="33">
                  <c:v>0.1548876796968846</c:v>
                </c:pt>
                <c:pt idx="34">
                  <c:v>0.14780402743781973</c:v>
                </c:pt>
                <c:pt idx="35">
                  <c:v>0.1493751489091797</c:v>
                </c:pt>
                <c:pt idx="36">
                  <c:v>0.15221595497323137</c:v>
                </c:pt>
                <c:pt idx="37">
                  <c:v>0.14387452810127838</c:v>
                </c:pt>
                <c:pt idx="38">
                  <c:v>0.14778759570297204</c:v>
                </c:pt>
                <c:pt idx="39">
                  <c:v>0.14783946130993605</c:v>
                </c:pt>
                <c:pt idx="40">
                  <c:v>0.1442121524779035</c:v>
                </c:pt>
                <c:pt idx="41">
                  <c:v>0.1363186888802139</c:v>
                </c:pt>
                <c:pt idx="42">
                  <c:v>0.1368460251046262</c:v>
                </c:pt>
                <c:pt idx="43">
                  <c:v>0.1382824897873816</c:v>
                </c:pt>
                <c:pt idx="44">
                  <c:v>0.1451845989644681</c:v>
                </c:pt>
                <c:pt idx="45">
                  <c:v>0.15131496836548852</c:v>
                </c:pt>
                <c:pt idx="46">
                  <c:v>0.15319238491066814</c:v>
                </c:pt>
                <c:pt idx="47">
                  <c:v>0.15534747220532585</c:v>
                </c:pt>
                <c:pt idx="48">
                  <c:v>0.15869692188142012</c:v>
                </c:pt>
                <c:pt idx="49">
                  <c:v>0.15872514247763278</c:v>
                </c:pt>
                <c:pt idx="50">
                  <c:v>0.17294594097284655</c:v>
                </c:pt>
                <c:pt idx="51">
                  <c:v>0.17380786015531266</c:v>
                </c:pt>
                <c:pt idx="52">
                  <c:v>0.1636716222820912</c:v>
                </c:pt>
                <c:pt idx="53">
                  <c:v>0.19915106140886207</c:v>
                </c:pt>
                <c:pt idx="54">
                  <c:v>0.1458939828394611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94.0"/>
          <c:min val="67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82231562858233"/>
          <c:min val="0.0981473021674026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3408172584492064</c:v>
                </c:pt>
                <c:pt idx="1">
                  <c:v>4.482446509231825</c:v>
                </c:pt>
                <c:pt idx="2">
                  <c:v>4.34390013043331</c:v>
                </c:pt>
                <c:pt idx="3">
                  <c:v>3.4167589112539436</c:v>
                </c:pt>
                <c:pt idx="4">
                  <c:v>3.9770783356225206</c:v>
                </c:pt>
                <c:pt idx="5">
                  <c:v>5.1580924497231795</c:v>
                </c:pt>
                <c:pt idx="6">
                  <c:v>3.879786765076575</c:v>
                </c:pt>
                <c:pt idx="7">
                  <c:v>2.7302765131106894</c:v>
                </c:pt>
                <c:pt idx="8">
                  <c:v>4.573606467934039</c:v>
                </c:pt>
                <c:pt idx="9">
                  <c:v>4.109281051697929</c:v>
                </c:pt>
                <c:pt idx="10">
                  <c:v>3.8406907399078642</c:v>
                </c:pt>
                <c:pt idx="11">
                  <c:v>3.2023143607560223</c:v>
                </c:pt>
                <c:pt idx="12">
                  <c:v>5.199350946977791</c:v>
                </c:pt>
                <c:pt idx="13">
                  <c:v>3.8682621099825614</c:v>
                </c:pt>
                <c:pt idx="14">
                  <c:v>0.0</c:v>
                </c:pt>
                <c:pt idx="15">
                  <c:v>2.7058721318602563</c:v>
                </c:pt>
                <c:pt idx="16">
                  <c:v>1.5477361332577098</c:v>
                </c:pt>
                <c:pt idx="17">
                  <c:v>4.572478474432167</c:v>
                </c:pt>
                <c:pt idx="18">
                  <c:v>0.0</c:v>
                </c:pt>
                <c:pt idx="19">
                  <c:v>2.5968462676559283</c:v>
                </c:pt>
                <c:pt idx="20">
                  <c:v>3.4839121762903074</c:v>
                </c:pt>
                <c:pt idx="21">
                  <c:v>4.141004469116508</c:v>
                </c:pt>
                <c:pt idx="22">
                  <c:v>3.243872200848143</c:v>
                </c:pt>
                <c:pt idx="23">
                  <c:v>3.82141398355814</c:v>
                </c:pt>
                <c:pt idx="24">
                  <c:v>3.6192595143436757</c:v>
                </c:pt>
                <c:pt idx="25">
                  <c:v>2.582334043129464</c:v>
                </c:pt>
                <c:pt idx="26">
                  <c:v>3.6272034822059944</c:v>
                </c:pt>
                <c:pt idx="27">
                  <c:v>8.864454474025619</c:v>
                </c:pt>
                <c:pt idx="28">
                  <c:v>1.893046333913251</c:v>
                </c:pt>
                <c:pt idx="29">
                  <c:v>4.007740645206835</c:v>
                </c:pt>
                <c:pt idx="30">
                  <c:v>2.182060798329189</c:v>
                </c:pt>
                <c:pt idx="31">
                  <c:v>2.8548905531292768</c:v>
                </c:pt>
                <c:pt idx="32">
                  <c:v>4.800769853683428</c:v>
                </c:pt>
                <c:pt idx="33">
                  <c:v>2.1894262591821305</c:v>
                </c:pt>
                <c:pt idx="34">
                  <c:v>2.1036788759756564</c:v>
                </c:pt>
                <c:pt idx="35">
                  <c:v>2.3303055179811905</c:v>
                </c:pt>
                <c:pt idx="36">
                  <c:v>3.9700487153914485</c:v>
                </c:pt>
                <c:pt idx="37">
                  <c:v>2.6707491252771107</c:v>
                </c:pt>
                <c:pt idx="38">
                  <c:v>4.524375538166293</c:v>
                </c:pt>
                <c:pt idx="39">
                  <c:v>3.346465255555643</c:v>
                </c:pt>
                <c:pt idx="40">
                  <c:v>5.039914541836572</c:v>
                </c:pt>
                <c:pt idx="41">
                  <c:v>3.0071865313814103</c:v>
                </c:pt>
                <c:pt idx="42">
                  <c:v>6.118831325634317</c:v>
                </c:pt>
                <c:pt idx="43">
                  <c:v>4.192970461855118</c:v>
                </c:pt>
                <c:pt idx="44">
                  <c:v>2.768268575512283</c:v>
                </c:pt>
                <c:pt idx="45">
                  <c:v>2.778038329996824</c:v>
                </c:pt>
                <c:pt idx="46">
                  <c:v>2.6204184257516894</c:v>
                </c:pt>
                <c:pt idx="47">
                  <c:v>2.2302543201766345</c:v>
                </c:pt>
                <c:pt idx="48">
                  <c:v>2.9064506380437938</c:v>
                </c:pt>
                <c:pt idx="49">
                  <c:v>2.337598323758725</c:v>
                </c:pt>
                <c:pt idx="50">
                  <c:v>2.78683500582411</c:v>
                </c:pt>
                <c:pt idx="51">
                  <c:v>2.5948665578408527</c:v>
                </c:pt>
                <c:pt idx="52">
                  <c:v>3.0715642649860415</c:v>
                </c:pt>
                <c:pt idx="53">
                  <c:v>2.280765715450383</c:v>
                </c:pt>
                <c:pt idx="54">
                  <c:v>2.307670388135358</c:v>
                </c:pt>
                <c:pt idx="55">
                  <c:v>2.7472064115372747</c:v>
                </c:pt>
                <c:pt idx="56">
                  <c:v>5.667565625993665</c:v>
                </c:pt>
                <c:pt idx="57">
                  <c:v>2.241526279376317</c:v>
                </c:pt>
                <c:pt idx="58">
                  <c:v>2.36524291800278</c:v>
                </c:pt>
                <c:pt idx="59">
                  <c:v>1.974011134273813</c:v>
                </c:pt>
                <c:pt idx="60">
                  <c:v>1.7106807581505796</c:v>
                </c:pt>
                <c:pt idx="61">
                  <c:v>1.7204209987978634</c:v>
                </c:pt>
                <c:pt idx="62">
                  <c:v>1.797612953669747</c:v>
                </c:pt>
                <c:pt idx="63">
                  <c:v>1.4673622432963906</c:v>
                </c:pt>
                <c:pt idx="64">
                  <c:v>1.6427825506863625</c:v>
                </c:pt>
                <c:pt idx="65">
                  <c:v>1.6011628612093503</c:v>
                </c:pt>
                <c:pt idx="66">
                  <c:v>1.497650467779395</c:v>
                </c:pt>
                <c:pt idx="67">
                  <c:v>2.0148039563377123</c:v>
                </c:pt>
                <c:pt idx="68">
                  <c:v>1.500743554232715</c:v>
                </c:pt>
                <c:pt idx="69">
                  <c:v>1.3439255227319495</c:v>
                </c:pt>
                <c:pt idx="70">
                  <c:v>1.412933040965117</c:v>
                </c:pt>
                <c:pt idx="71">
                  <c:v>1.0514432980705353</c:v>
                </c:pt>
                <c:pt idx="72">
                  <c:v>1.6903177617864964</c:v>
                </c:pt>
                <c:pt idx="73">
                  <c:v>1.1252229607206456</c:v>
                </c:pt>
                <c:pt idx="74">
                  <c:v>1.3902806196464563</c:v>
                </c:pt>
                <c:pt idx="75">
                  <c:v>2.141913591101363</c:v>
                </c:pt>
                <c:pt idx="76">
                  <c:v>2.10998741508279</c:v>
                </c:pt>
                <c:pt idx="77">
                  <c:v>2.4746935654858877</c:v>
                </c:pt>
                <c:pt idx="78">
                  <c:v>1.668063506090901</c:v>
                </c:pt>
                <c:pt idx="79">
                  <c:v>2.600526043477827</c:v>
                </c:pt>
                <c:pt idx="80">
                  <c:v>2.4518417953857474</c:v>
                </c:pt>
                <c:pt idx="81">
                  <c:v>2.0013223066148202</c:v>
                </c:pt>
                <c:pt idx="82">
                  <c:v>2.361327544209205</c:v>
                </c:pt>
                <c:pt idx="83">
                  <c:v>2.370170906994968</c:v>
                </c:pt>
                <c:pt idx="84">
                  <c:v>2.346520379079813</c:v>
                </c:pt>
                <c:pt idx="85">
                  <c:v>2.041354363788908</c:v>
                </c:pt>
                <c:pt idx="86">
                  <c:v>2.788564213888024</c:v>
                </c:pt>
                <c:pt idx="87">
                  <c:v>2.906586225531799</c:v>
                </c:pt>
                <c:pt idx="88">
                  <c:v>2.315852982722186</c:v>
                </c:pt>
                <c:pt idx="89">
                  <c:v>2.108694987256829</c:v>
                </c:pt>
                <c:pt idx="90">
                  <c:v>2.205248665553015</c:v>
                </c:pt>
                <c:pt idx="91">
                  <c:v>2.138368010226092</c:v>
                </c:pt>
                <c:pt idx="92">
                  <c:v>2.4154935441067953</c:v>
                </c:pt>
                <c:pt idx="93">
                  <c:v>2.4287851013669943</c:v>
                </c:pt>
                <c:pt idx="94">
                  <c:v>2.861791432690578</c:v>
                </c:pt>
                <c:pt idx="95">
                  <c:v>2.601694570019396</c:v>
                </c:pt>
                <c:pt idx="96">
                  <c:v>2.0943551627961274</c:v>
                </c:pt>
                <c:pt idx="97">
                  <c:v>2.326873533924647</c:v>
                </c:pt>
                <c:pt idx="98">
                  <c:v>2.286306381208606</c:v>
                </c:pt>
                <c:pt idx="99">
                  <c:v>2.3867318570958993</c:v>
                </c:pt>
                <c:pt idx="100">
                  <c:v>2.698058129657536</c:v>
                </c:pt>
                <c:pt idx="101">
                  <c:v>2.3515265919855954</c:v>
                </c:pt>
                <c:pt idx="102">
                  <c:v>2.3389993427445064</c:v>
                </c:pt>
                <c:pt idx="103">
                  <c:v>2.4887030745146625</c:v>
                </c:pt>
                <c:pt idx="104">
                  <c:v>2.6823641785553853</c:v>
                </c:pt>
              </c:numCache>
            </c:numRef>
          </c:xVal>
          <c:yVal>
            <c:numRef>
              <c:f>Sheet1!$B$2:$B$106</c:f>
              <c:numCache>
                <c:formatCode>General</c:formatCode>
                <c:ptCount val="105"/>
                <c:pt idx="0">
                  <c:v>0.0003580478131541258</c:v>
                </c:pt>
                <c:pt idx="1">
                  <c:v>8.968609865470852e-05</c:v>
                </c:pt>
                <c:pt idx="2">
                  <c:v>8.448800270361608e-05</c:v>
                </c:pt>
                <c:pt idx="3">
                  <c:v>8.956560680698612e-05</c:v>
                </c:pt>
                <c:pt idx="4">
                  <c:v>7.059155724975294e-05</c:v>
                </c:pt>
                <c:pt idx="5">
                  <c:v>0.00010866415531729933</c:v>
                </c:pt>
                <c:pt idx="6">
                  <c:v>0.00020990764063811922</c:v>
                </c:pt>
                <c:pt idx="7">
                  <c:v>0.0002427577277876679</c:v>
                </c:pt>
                <c:pt idx="8">
                  <c:v>0.00012605571662674902</c:v>
                </c:pt>
                <c:pt idx="9">
                  <c:v>0.0001576739932515531</c:v>
                </c:pt>
                <c:pt idx="10">
                  <c:v>0.00012233912405187178</c:v>
                </c:pt>
                <c:pt idx="11">
                  <c:v>0.00021624961383997528</c:v>
                </c:pt>
                <c:pt idx="12">
                  <c:v>0.0001422556048708319</c:v>
                </c:pt>
                <c:pt idx="13">
                  <c:v>0.00017932394871335067</c:v>
                </c:pt>
                <c:pt idx="14">
                  <c:v>0.0</c:v>
                </c:pt>
                <c:pt idx="15">
                  <c:v>0.00017827218597354442</c:v>
                </c:pt>
                <c:pt idx="16">
                  <c:v>0.00016287971333170455</c:v>
                </c:pt>
                <c:pt idx="17">
                  <c:v>8.955758552749418e-05</c:v>
                </c:pt>
                <c:pt idx="18">
                  <c:v>0.0</c:v>
                </c:pt>
                <c:pt idx="19">
                  <c:v>0.00017497812773403323</c:v>
                </c:pt>
                <c:pt idx="20">
                  <c:v>0.0001436850423870875</c:v>
                </c:pt>
                <c:pt idx="21">
                  <c:v>5.938947618482005e-05</c:v>
                </c:pt>
                <c:pt idx="22">
                  <c:v>0.0002357795461243737</c:v>
                </c:pt>
                <c:pt idx="23">
                  <c:v>0.00018617351371478217</c:v>
                </c:pt>
                <c:pt idx="24">
                  <c:v>0.00022766078542970974</c:v>
                </c:pt>
                <c:pt idx="25">
                  <c:v>0.00038897893030794163</c:v>
                </c:pt>
                <c:pt idx="26">
                  <c:v>0.0002871582816448426</c:v>
                </c:pt>
                <c:pt idx="27">
                  <c:v>5.5781781670106545e-05</c:v>
                </c:pt>
                <c:pt idx="28">
                  <c:v>0.00028376844494892167</c:v>
                </c:pt>
                <c:pt idx="29">
                  <c:v>0.00019717060186326217</c:v>
                </c:pt>
                <c:pt idx="30">
                  <c:v>0.0002540489044140997</c:v>
                </c:pt>
                <c:pt idx="31">
                  <c:v>0.00024515812699190976</c:v>
                </c:pt>
                <c:pt idx="32">
                  <c:v>0.00012088244182532487</c:v>
                </c:pt>
                <c:pt idx="33">
                  <c:v>0.0004301486402523539</c:v>
                </c:pt>
                <c:pt idx="34">
                  <c:v>0.0005119453924914676</c:v>
                </c:pt>
                <c:pt idx="35">
                  <c:v>0.0005358851674641148</c:v>
                </c:pt>
                <c:pt idx="36">
                  <c:v>0.0001835451750562107</c:v>
                </c:pt>
                <c:pt idx="37">
                  <c:v>0.0002117634602149399</c:v>
                </c:pt>
                <c:pt idx="38">
                  <c:v>0.00010658140154543032</c:v>
                </c:pt>
                <c:pt idx="39">
                  <c:v>0.00022478224220286598</c:v>
                </c:pt>
                <c:pt idx="40">
                  <c:v>9.148293843198243e-05</c:v>
                </c:pt>
                <c:pt idx="41">
                  <c:v>0.00015227653418608191</c:v>
                </c:pt>
                <c:pt idx="42">
                  <c:v>4.338771259979174e-05</c:v>
                </c:pt>
                <c:pt idx="43">
                  <c:v>0.00011588380716934487</c:v>
                </c:pt>
                <c:pt idx="44">
                  <c:v>0.0001552553951249806</c:v>
                </c:pt>
                <c:pt idx="45">
                  <c:v>0.00011769136616137841</c:v>
                </c:pt>
                <c:pt idx="46">
                  <c:v>0.00025193532133205076</c:v>
                </c:pt>
                <c:pt idx="47">
                  <c:v>0.00032806092560046864</c:v>
                </c:pt>
                <c:pt idx="48">
                  <c:v>0.00017046519952951605</c:v>
                </c:pt>
                <c:pt idx="49">
                  <c:v>0.00019105846388995032</c:v>
                </c:pt>
                <c:pt idx="50">
                  <c:v>0.0002257336343115124</c:v>
                </c:pt>
                <c:pt idx="51">
                  <c:v>0.0002758088093333701</c:v>
                </c:pt>
                <c:pt idx="52">
                  <c:v>9.292600766639563e-05</c:v>
                </c:pt>
                <c:pt idx="53">
                  <c:v>0.00014659317462178961</c:v>
                </c:pt>
                <c:pt idx="54">
                  <c:v>0.00028976175144880876</c:v>
                </c:pt>
                <c:pt idx="55">
                  <c:v>0.00016557387906483874</c:v>
                </c:pt>
                <c:pt idx="56">
                  <c:v>6.75789829363068e-05</c:v>
                </c:pt>
                <c:pt idx="57">
                  <c:v>0.00011549011115923199</c:v>
                </c:pt>
                <c:pt idx="58">
                  <c:v>0.0001065019436604718</c:v>
                </c:pt>
                <c:pt idx="59">
                  <c:v>0.00017264597216946927</c:v>
                </c:pt>
                <c:pt idx="60">
                  <c:v>0.0002658009151145792</c:v>
                </c:pt>
                <c:pt idx="61">
                  <c:v>0.00036557342803425946</c:v>
                </c:pt>
                <c:pt idx="62">
                  <c:v>0.0003044680689112729</c:v>
                </c:pt>
                <c:pt idx="63">
                  <c:v>0.0004142025450445268</c:v>
                </c:pt>
                <c:pt idx="64">
                  <c:v>0.0004272351142291779</c:v>
                </c:pt>
                <c:pt idx="65">
                  <c:v>0.00036707126076742367</c:v>
                </c:pt>
                <c:pt idx="66">
                  <c:v>0.0002800122187149985</c:v>
                </c:pt>
                <c:pt idx="67">
                  <c:v>0.00024030759371996156</c:v>
                </c:pt>
                <c:pt idx="68">
                  <c:v>0.00041124924867925723</c:v>
                </c:pt>
                <c:pt idx="69">
                  <c:v>0.00045595854922279795</c:v>
                </c:pt>
                <c:pt idx="70">
                  <c:v>0.0003940110323089047</c:v>
                </c:pt>
                <c:pt idx="71">
                  <c:v>0.0004268032437046522</c:v>
                </c:pt>
                <c:pt idx="72">
                  <c:v>0.00044458814970495513</c:v>
                </c:pt>
                <c:pt idx="73">
                  <c:v>0.0008129733430319627</c:v>
                </c:pt>
                <c:pt idx="74">
                  <c:v>0.0008604794099569761</c:v>
                </c:pt>
                <c:pt idx="75">
                  <c:v>0.0008656759486365604</c:v>
                </c:pt>
                <c:pt idx="76">
                  <c:v>0.001183431952662722</c:v>
                </c:pt>
                <c:pt idx="77">
                  <c:v>0.0012112275527937227</c:v>
                </c:pt>
                <c:pt idx="78">
                  <c:v>0.002056645904336585</c:v>
                </c:pt>
                <c:pt idx="79">
                  <c:v>0.001290922234844573</c:v>
                </c:pt>
                <c:pt idx="80">
                  <c:v>0.0012359666289010196</c:v>
                </c:pt>
                <c:pt idx="81">
                  <c:v>0.0017492456378186906</c:v>
                </c:pt>
                <c:pt idx="82">
                  <c:v>0.0014101985559566788</c:v>
                </c:pt>
                <c:pt idx="83">
                  <c:v>0.001380216891225764</c:v>
                </c:pt>
                <c:pt idx="84">
                  <c:v>0.0013312920189043466</c:v>
                </c:pt>
                <c:pt idx="85">
                  <c:v>0.0012235623142807202</c:v>
                </c:pt>
                <c:pt idx="86">
                  <c:v>0.0011437620974837233</c:v>
                </c:pt>
                <c:pt idx="87">
                  <c:v>0.001046156421308114</c:v>
                </c:pt>
                <c:pt idx="88">
                  <c:v>0.0015890672175433022</c:v>
                </c:pt>
                <c:pt idx="89">
                  <c:v>0.0019621421975992612</c:v>
                </c:pt>
                <c:pt idx="90">
                  <c:v>0.001836601694413176</c:v>
                </c:pt>
                <c:pt idx="91">
                  <c:v>0.00184003220056351</c:v>
                </c:pt>
                <c:pt idx="92">
                  <c:v>0.0015671813781977413</c:v>
                </c:pt>
                <c:pt idx="93">
                  <c:v>0.001546551190844417</c:v>
                </c:pt>
                <c:pt idx="94">
                  <c:v>0.0014558232931726907</c:v>
                </c:pt>
                <c:pt idx="95">
                  <c:v>0.0017315698338429798</c:v>
                </c:pt>
                <c:pt idx="96">
                  <c:v>0.002308560035677746</c:v>
                </c:pt>
                <c:pt idx="97">
                  <c:v>0.0026446509060803975</c:v>
                </c:pt>
                <c:pt idx="98">
                  <c:v>0.002492373337586984</c:v>
                </c:pt>
                <c:pt idx="99">
                  <c:v>0.0023547337073204517</c:v>
                </c:pt>
                <c:pt idx="100">
                  <c:v>0.001811252405569601</c:v>
                </c:pt>
                <c:pt idx="101">
                  <c:v>0.0024561479774816877</c:v>
                </c:pt>
                <c:pt idx="102">
                  <c:v>0.002028946300554579</c:v>
                </c:pt>
                <c:pt idx="103">
                  <c:v>0.001982513216754778</c:v>
                </c:pt>
                <c:pt idx="104">
                  <c:v>0.0014722770236447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2.488243551812782</c:v>
                </c:pt>
                <c:pt idx="1">
                  <c:v>2.045814184535225</c:v>
                </c:pt>
                <c:pt idx="2">
                  <c:v>2.423612868464111</c:v>
                </c:pt>
                <c:pt idx="3">
                  <c:v>2.064499548324395</c:v>
                </c:pt>
                <c:pt idx="4">
                  <c:v>2.4091117567607485</c:v>
                </c:pt>
                <c:pt idx="5">
                  <c:v>2.6098210543569254</c:v>
                </c:pt>
                <c:pt idx="6">
                  <c:v>2.681026428812942</c:v>
                </c:pt>
                <c:pt idx="7">
                  <c:v>2.5792781715347424</c:v>
                </c:pt>
                <c:pt idx="8">
                  <c:v>2.3874462465845174</c:v>
                </c:pt>
                <c:pt idx="9">
                  <c:v>2.3544417331715644</c:v>
                </c:pt>
                <c:pt idx="10">
                  <c:v>2.3791332151338653</c:v>
                </c:pt>
                <c:pt idx="11">
                  <c:v>2.554547054452745</c:v>
                </c:pt>
                <c:pt idx="12">
                  <c:v>2.293513837118615</c:v>
                </c:pt>
                <c:pt idx="13">
                  <c:v>1.948210146814131</c:v>
                </c:pt>
                <c:pt idx="14">
                  <c:v>1.97128041247012</c:v>
                </c:pt>
                <c:pt idx="15">
                  <c:v>2.085803123567758</c:v>
                </c:pt>
                <c:pt idx="16">
                  <c:v>2.181290315474043</c:v>
                </c:pt>
                <c:pt idx="17">
                  <c:v>1.6781120022629232</c:v>
                </c:pt>
                <c:pt idx="18">
                  <c:v>2.3777905659433562</c:v>
                </c:pt>
                <c:pt idx="19">
                  <c:v>2.42885170399765</c:v>
                </c:pt>
                <c:pt idx="20">
                  <c:v>2.2526424645881424</c:v>
                </c:pt>
                <c:pt idx="21">
                  <c:v>1.82705531464212</c:v>
                </c:pt>
                <c:pt idx="22">
                  <c:v>1.9929814587597912</c:v>
                </c:pt>
                <c:pt idx="23">
                  <c:v>1.6322839083245158</c:v>
                </c:pt>
                <c:pt idx="24">
                  <c:v>2.0927982755238776</c:v>
                </c:pt>
                <c:pt idx="25">
                  <c:v>2.0769528501754104</c:v>
                </c:pt>
                <c:pt idx="26">
                  <c:v>2.0725305106176566</c:v>
                </c:pt>
                <c:pt idx="27">
                  <c:v>2.0036381649509907</c:v>
                </c:pt>
                <c:pt idx="28">
                  <c:v>2.034890931256732</c:v>
                </c:pt>
                <c:pt idx="29">
                  <c:v>1.9146051606900916</c:v>
                </c:pt>
                <c:pt idx="30">
                  <c:v>1.866424935780259</c:v>
                </c:pt>
                <c:pt idx="31">
                  <c:v>2.057747147574875</c:v>
                </c:pt>
                <c:pt idx="32">
                  <c:v>2.2935919188385516</c:v>
                </c:pt>
                <c:pt idx="33">
                  <c:v>2.3172730435242714</c:v>
                </c:pt>
                <c:pt idx="34">
                  <c:v>2.4293940160997036</c:v>
                </c:pt>
                <c:pt idx="35">
                  <c:v>2.1580171617640693</c:v>
                </c:pt>
                <c:pt idx="36">
                  <c:v>1.9502711393740195</c:v>
                </c:pt>
                <c:pt idx="37">
                  <c:v>1.9913984736267276</c:v>
                </c:pt>
                <c:pt idx="38">
                  <c:v>1.7448050529283037</c:v>
                </c:pt>
                <c:pt idx="39">
                  <c:v>1.7248603692403526</c:v>
                </c:pt>
                <c:pt idx="40">
                  <c:v>1.6419309232785102</c:v>
                </c:pt>
                <c:pt idx="41">
                  <c:v>1.7990244090299399</c:v>
                </c:pt>
                <c:pt idx="42">
                  <c:v>1.6511773498816726</c:v>
                </c:pt>
                <c:pt idx="43">
                  <c:v>1.9012668438356515</c:v>
                </c:pt>
                <c:pt idx="44">
                  <c:v>2.425517673418877</c:v>
                </c:pt>
                <c:pt idx="45">
                  <c:v>2.5892439462367705</c:v>
                </c:pt>
                <c:pt idx="46">
                  <c:v>2.6417096011423205</c:v>
                </c:pt>
                <c:pt idx="47">
                  <c:v>2.476081437030924</c:v>
                </c:pt>
                <c:pt idx="48">
                  <c:v>2.441467047183181</c:v>
                </c:pt>
                <c:pt idx="49">
                  <c:v>2.5175126368484406</c:v>
                </c:pt>
                <c:pt idx="50">
                  <c:v>2.6966783821245577</c:v>
                </c:pt>
                <c:pt idx="51">
                  <c:v>2.8498894088409337</c:v>
                </c:pt>
              </c:numCache>
            </c:numRef>
          </c:xVal>
          <c:yVal>
            <c:numRef>
              <c:f>Sheet1!$B$109:$B$160</c:f>
              <c:numCache>
                <c:formatCode>General</c:formatCode>
                <c:ptCount val="52"/>
                <c:pt idx="0">
                  <c:v>0.001584105249026715</c:v>
                </c:pt>
                <c:pt idx="1">
                  <c:v>0.0019018962189167707</c:v>
                </c:pt>
                <c:pt idx="2">
                  <c:v>0.0017252315108461245</c:v>
                </c:pt>
                <c:pt idx="3">
                  <c:v>0.0018388925780252338</c:v>
                </c:pt>
                <c:pt idx="4">
                  <c:v>0.0018283473329976947</c:v>
                </c:pt>
                <c:pt idx="5">
                  <c:v>0.0015981248668229277</c:v>
                </c:pt>
                <c:pt idx="6">
                  <c:v>0.001727591387080621</c:v>
                </c:pt>
                <c:pt idx="7">
                  <c:v>0.001988616882671604</c:v>
                </c:pt>
                <c:pt idx="8">
                  <c:v>0.0023902894491129784</c:v>
                </c:pt>
                <c:pt idx="9">
                  <c:v>0.0025030859964339596</c:v>
                </c:pt>
                <c:pt idx="10">
                  <c:v>0.0024047171986691703</c:v>
                </c:pt>
                <c:pt idx="11">
                  <c:v>0.002437703141928494</c:v>
                </c:pt>
                <c:pt idx="12">
                  <c:v>0.0025193147463889822</c:v>
                </c:pt>
                <c:pt idx="13">
                  <c:v>0.00362350603430642</c:v>
                </c:pt>
                <c:pt idx="14">
                  <c:v>0.0035926222935044106</c:v>
                </c:pt>
                <c:pt idx="15">
                  <c:v>0.003384731101918014</c:v>
                </c:pt>
                <c:pt idx="16">
                  <c:v>0.003315440479949479</c:v>
                </c:pt>
                <c:pt idx="17">
                  <c:v>0.004196149415830179</c:v>
                </c:pt>
                <c:pt idx="18">
                  <c:v>0.0023051866700075168</c:v>
                </c:pt>
                <c:pt idx="19">
                  <c:v>0.0020429009193054137</c:v>
                </c:pt>
                <c:pt idx="20">
                  <c:v>0.0024135983156164946</c:v>
                </c:pt>
                <c:pt idx="21">
                  <c:v>0.0034424485197471367</c:v>
                </c:pt>
                <c:pt idx="22">
                  <c:v>0.0028484735896959564</c:v>
                </c:pt>
                <c:pt idx="23">
                  <c:v>0.002840371141829199</c:v>
                </c:pt>
                <c:pt idx="24">
                  <c:v>0.002563206338110218</c:v>
                </c:pt>
                <c:pt idx="25">
                  <c:v>0.0027585361368233923</c:v>
                </c:pt>
                <c:pt idx="26">
                  <c:v>0.0029573789504204117</c:v>
                </c:pt>
                <c:pt idx="27">
                  <c:v>0.003011252575413387</c:v>
                </c:pt>
                <c:pt idx="28">
                  <c:v>0.0024739521385413197</c:v>
                </c:pt>
                <c:pt idx="29">
                  <c:v>0.0028094719339487413</c:v>
                </c:pt>
                <c:pt idx="30">
                  <c:v>0.002736303610731069</c:v>
                </c:pt>
                <c:pt idx="31">
                  <c:v>0.0027715114405414115</c:v>
                </c:pt>
                <c:pt idx="32">
                  <c:v>0.002372479240806643</c:v>
                </c:pt>
                <c:pt idx="33">
                  <c:v>0.0023216147067184685</c:v>
                </c:pt>
                <c:pt idx="34">
                  <c:v>0.002155973533566278</c:v>
                </c:pt>
                <c:pt idx="35">
                  <c:v>0.0026371072274616724</c:v>
                </c:pt>
                <c:pt idx="36">
                  <c:v>0.003277545327754533</c:v>
                </c:pt>
                <c:pt idx="37">
                  <c:v>0.0032453348311801784</c:v>
                </c:pt>
                <c:pt idx="38">
                  <c:v>0.003769896676905892</c:v>
                </c:pt>
                <c:pt idx="39">
                  <c:v>0.0035453704655225566</c:v>
                </c:pt>
                <c:pt idx="40">
                  <c:v>0.0033313444709626096</c:v>
                </c:pt>
                <c:pt idx="41">
                  <c:v>0.002726076330137244</c:v>
                </c:pt>
                <c:pt idx="42">
                  <c:v>0.0031198773200782613</c:v>
                </c:pt>
                <c:pt idx="43">
                  <c:v>0.002271152513665409</c:v>
                </c:pt>
                <c:pt idx="44">
                  <c:v>0.001677427522471199</c:v>
                </c:pt>
                <c:pt idx="45">
                  <c:v>0.0014116183366829362</c:v>
                </c:pt>
                <c:pt idx="46">
                  <c:v>0.0014616112114177629</c:v>
                </c:pt>
                <c:pt idx="47">
                  <c:v>0.0014503652771809196</c:v>
                </c:pt>
                <c:pt idx="48">
                  <c:v>0.0016162704559229578</c:v>
                </c:pt>
                <c:pt idx="49">
                  <c:v>0.0014269697278564877</c:v>
                </c:pt>
                <c:pt idx="50">
                  <c:v>0.0012049823991334958</c:v>
                </c:pt>
                <c:pt idx="51">
                  <c:v>0.001439629944302841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953571813847631</c:v>
                </c:pt>
              </c:numCache>
            </c:numRef>
          </c:xVal>
          <c:yVal>
            <c:numRef>
              <c:f>Sheet1!$B$163:$B$164</c:f>
              <c:numCache>
                <c:formatCode>General</c:formatCode>
                <c:ptCount val="2"/>
                <c:pt idx="0">
                  <c:v>0.0029370311410465903</c:v>
                </c:pt>
                <c:pt idx="1">
                  <c:v>0.002937031141046590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953571813847631</c:v>
                </c:pt>
                <c:pt idx="1">
                  <c:v>1.953571813847631</c:v>
                </c:pt>
              </c:numCache>
            </c:numRef>
          </c:xVal>
          <c:yVal>
            <c:numRef>
              <c:f>Sheet1!$B$167:$B$168</c:f>
              <c:numCache>
                <c:formatCode>General</c:formatCode>
                <c:ptCount val="2"/>
                <c:pt idx="0">
                  <c:v>0.002937031141046590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953571813847631</c:v>
                </c:pt>
              </c:numCache>
            </c:numRef>
          </c:xVal>
          <c:yVal>
            <c:numRef>
              <c:f>Sheet1!$B$171:$B$172</c:f>
              <c:numCache>
                <c:formatCode>General</c:formatCode>
                <c:ptCount val="2"/>
                <c:pt idx="0">
                  <c:v>0.0029370311410465903</c:v>
                </c:pt>
                <c:pt idx="1">
                  <c:v>0.002937031141046590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953571813847631</c:v>
                </c:pt>
                <c:pt idx="1">
                  <c:v>1.953571813847631</c:v>
                </c:pt>
              </c:numCache>
            </c:numRef>
          </c:xVal>
          <c:yVal>
            <c:numRef>
              <c:f>Sheet1!$B$175:$B$176</c:f>
              <c:numCache>
                <c:formatCode>General</c:formatCode>
                <c:ptCount val="2"/>
                <c:pt idx="0">
                  <c:v>0.002937031141046590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4166212086301884</c:v>
                </c:pt>
              </c:numCache>
            </c:numRef>
          </c:xVal>
          <c:yVal>
            <c:numRef>
              <c:f>Sheet1!$B$179:$B$180</c:f>
              <c:numCache>
                <c:formatCode>General</c:formatCode>
                <c:ptCount val="2"/>
                <c:pt idx="0">
                  <c:v>0.0020525150750257447</c:v>
                </c:pt>
                <c:pt idx="1">
                  <c:v>0.002052515075025744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4166212086301884</c:v>
                </c:pt>
                <c:pt idx="1">
                  <c:v>2.4166212086301884</c:v>
                </c:pt>
              </c:numCache>
            </c:numRef>
          </c:xVal>
          <c:yVal>
            <c:numRef>
              <c:f>Sheet1!$B$183:$B$184</c:f>
              <c:numCache>
                <c:formatCode>General</c:formatCode>
                <c:ptCount val="2"/>
                <c:pt idx="0">
                  <c:v>0.00205251507502574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2.488243551812782</c:v>
                </c:pt>
                <c:pt idx="1">
                  <c:v>2.045814184535225</c:v>
                </c:pt>
                <c:pt idx="2">
                  <c:v>2.423612868464111</c:v>
                </c:pt>
                <c:pt idx="3">
                  <c:v>2.064499548324395</c:v>
                </c:pt>
                <c:pt idx="4">
                  <c:v>2.4091117567607485</c:v>
                </c:pt>
                <c:pt idx="5">
                  <c:v>2.6098210543569254</c:v>
                </c:pt>
                <c:pt idx="6">
                  <c:v>2.681026428812942</c:v>
                </c:pt>
                <c:pt idx="7">
                  <c:v>2.5792781715347424</c:v>
                </c:pt>
                <c:pt idx="8">
                  <c:v>2.3874462465845174</c:v>
                </c:pt>
                <c:pt idx="9">
                  <c:v>2.3544417331715644</c:v>
                </c:pt>
                <c:pt idx="10">
                  <c:v>2.3791332151338653</c:v>
                </c:pt>
                <c:pt idx="11">
                  <c:v>2.554547054452745</c:v>
                </c:pt>
                <c:pt idx="12">
                  <c:v>2.293513837118615</c:v>
                </c:pt>
                <c:pt idx="13">
                  <c:v>1.948210146814131</c:v>
                </c:pt>
                <c:pt idx="14">
                  <c:v>1.97128041247012</c:v>
                </c:pt>
                <c:pt idx="15">
                  <c:v>2.085803123567758</c:v>
                </c:pt>
                <c:pt idx="16">
                  <c:v>2.181290315474043</c:v>
                </c:pt>
                <c:pt idx="17">
                  <c:v>1.6781120022629232</c:v>
                </c:pt>
                <c:pt idx="18">
                  <c:v>2.3777905659433562</c:v>
                </c:pt>
                <c:pt idx="19">
                  <c:v>2.42885170399765</c:v>
                </c:pt>
                <c:pt idx="20">
                  <c:v>2.2526424645881424</c:v>
                </c:pt>
                <c:pt idx="21">
                  <c:v>1.82705531464212</c:v>
                </c:pt>
                <c:pt idx="22">
                  <c:v>1.9929814587597912</c:v>
                </c:pt>
                <c:pt idx="23">
                  <c:v>1.6322839083245158</c:v>
                </c:pt>
                <c:pt idx="24">
                  <c:v>2.0927982755238776</c:v>
                </c:pt>
                <c:pt idx="25">
                  <c:v>2.0769528501754104</c:v>
                </c:pt>
                <c:pt idx="26">
                  <c:v>2.0725305106176566</c:v>
                </c:pt>
                <c:pt idx="27">
                  <c:v>2.0036381649509907</c:v>
                </c:pt>
                <c:pt idx="28">
                  <c:v>2.034890931256732</c:v>
                </c:pt>
                <c:pt idx="29">
                  <c:v>1.9146051606900916</c:v>
                </c:pt>
                <c:pt idx="30">
                  <c:v>1.866424935780259</c:v>
                </c:pt>
                <c:pt idx="31">
                  <c:v>2.057747147574875</c:v>
                </c:pt>
                <c:pt idx="32">
                  <c:v>2.2935919188385516</c:v>
                </c:pt>
                <c:pt idx="33">
                  <c:v>2.3172730435242714</c:v>
                </c:pt>
                <c:pt idx="34">
                  <c:v>2.4293940160997036</c:v>
                </c:pt>
                <c:pt idx="35">
                  <c:v>2.1580171617640693</c:v>
                </c:pt>
                <c:pt idx="36">
                  <c:v>1.9502711393740195</c:v>
                </c:pt>
                <c:pt idx="37">
                  <c:v>1.9913984736267276</c:v>
                </c:pt>
                <c:pt idx="38">
                  <c:v>1.7448050529283037</c:v>
                </c:pt>
                <c:pt idx="39">
                  <c:v>1.7248603692403526</c:v>
                </c:pt>
                <c:pt idx="40">
                  <c:v>1.6419309232785102</c:v>
                </c:pt>
                <c:pt idx="41">
                  <c:v>1.7990244090299399</c:v>
                </c:pt>
                <c:pt idx="42">
                  <c:v>1.6511773498816726</c:v>
                </c:pt>
                <c:pt idx="43">
                  <c:v>1.9012668438356515</c:v>
                </c:pt>
                <c:pt idx="44">
                  <c:v>2.425517673418877</c:v>
                </c:pt>
                <c:pt idx="45">
                  <c:v>2.5892439462367705</c:v>
                </c:pt>
                <c:pt idx="46">
                  <c:v>2.6417096011423205</c:v>
                </c:pt>
                <c:pt idx="47">
                  <c:v>2.476081437030924</c:v>
                </c:pt>
                <c:pt idx="48">
                  <c:v>2.441467047183181</c:v>
                </c:pt>
                <c:pt idx="49">
                  <c:v>2.5175126368484406</c:v>
                </c:pt>
                <c:pt idx="50">
                  <c:v>2.6966783821245577</c:v>
                </c:pt>
                <c:pt idx="51">
                  <c:v>2.8498894088409337</c:v>
                </c:pt>
                <c:pt idx="52">
                  <c:v>1.953571813847631</c:v>
                </c:pt>
                <c:pt idx="53">
                  <c:v>1.953571813847631</c:v>
                </c:pt>
                <c:pt idx="54">
                  <c:v>2.4166212086301884</c:v>
                </c:pt>
              </c:numCache>
            </c:numRef>
          </c:xVal>
          <c:yVal>
            <c:numRef>
              <c:f>Sheet1!$B$187:$B$241</c:f>
              <c:numCache>
                <c:formatCode>General</c:formatCode>
                <c:ptCount val="55"/>
                <c:pt idx="0">
                  <c:v>0.0019157022124135139</c:v>
                </c:pt>
                <c:pt idx="1">
                  <c:v>0.0027608299414330142</c:v>
                </c:pt>
                <c:pt idx="2">
                  <c:v>0.002039159619817426</c:v>
                </c:pt>
                <c:pt idx="3">
                  <c:v>0.002725137195351948</c:v>
                </c:pt>
                <c:pt idx="4">
                  <c:v>0.0020668596155874464</c:v>
                </c:pt>
                <c:pt idx="5">
                  <c:v>0.0016834651001773919</c:v>
                </c:pt>
                <c:pt idx="6">
                  <c:v>0.0015474487304271353</c:v>
                </c:pt>
                <c:pt idx="7">
                  <c:v>0.0017418080563786397</c:v>
                </c:pt>
                <c:pt idx="8">
                  <c:v>0.002108245031582674</c:v>
                </c:pt>
                <c:pt idx="9">
                  <c:v>0.0021712901898182577</c:v>
                </c:pt>
                <c:pt idx="10">
                  <c:v>0.002124124568319551</c:v>
                </c:pt>
                <c:pt idx="11">
                  <c:v>0.00178904938880699</c:v>
                </c:pt>
                <c:pt idx="12">
                  <c:v>0.0022876745400299426</c:v>
                </c:pt>
                <c:pt idx="13">
                  <c:v>0.0029472729871330362</c:v>
                </c:pt>
                <c:pt idx="14">
                  <c:v>0.0029032042099139807</c:v>
                </c:pt>
                <c:pt idx="15">
                  <c:v>0.0026844431467714777</c:v>
                </c:pt>
                <c:pt idx="16">
                  <c:v>0.0025020436958878714</c:v>
                </c:pt>
                <c:pt idx="17">
                  <c:v>0.003463213944944139</c:v>
                </c:pt>
                <c:pt idx="18">
                  <c:v>0.002126689294228745</c:v>
                </c:pt>
                <c:pt idx="19">
                  <c:v>0.0020291524062266784</c:v>
                </c:pt>
                <c:pt idx="20">
                  <c:v>0.002365746957467184</c:v>
                </c:pt>
                <c:pt idx="21">
                  <c:v>0.0031787027152347775</c:v>
                </c:pt>
                <c:pt idx="22">
                  <c:v>0.002861750912903</c:v>
                </c:pt>
                <c:pt idx="23">
                  <c:v>0.0035507546821103523</c:v>
                </c:pt>
                <c:pt idx="24">
                  <c:v>0.002671081020918035</c:v>
                </c:pt>
                <c:pt idx="25">
                  <c:v>0.002701348922035226</c:v>
                </c:pt>
                <c:pt idx="26">
                  <c:v>0.002709796466578653</c:v>
                </c:pt>
                <c:pt idx="27">
                  <c:v>0.002841394493170703</c:v>
                </c:pt>
                <c:pt idx="28">
                  <c:v>0.002781695518900357</c:v>
                </c:pt>
                <c:pt idx="29">
                  <c:v>0.0030114651671899364</c:v>
                </c:pt>
                <c:pt idx="30">
                  <c:v>0.003103498940427577</c:v>
                </c:pt>
                <c:pt idx="31">
                  <c:v>0.002738035618316017</c:v>
                </c:pt>
                <c:pt idx="32">
                  <c:v>0.0022875253884782403</c:v>
                </c:pt>
                <c:pt idx="33">
                  <c:v>0.002242289749511909</c:v>
                </c:pt>
                <c:pt idx="34">
                  <c:v>0.002028116482689213</c:v>
                </c:pt>
                <c:pt idx="35">
                  <c:v>0.0025465000294786133</c:v>
                </c:pt>
                <c:pt idx="36">
                  <c:v>0.002943336083097071</c:v>
                </c:pt>
                <c:pt idx="37">
                  <c:v>0.002864774728068819</c:v>
                </c:pt>
                <c:pt idx="38">
                  <c:v>0.003335817007446417</c:v>
                </c:pt>
                <c:pt idx="39">
                  <c:v>0.003373915303983401</c:v>
                </c:pt>
                <c:pt idx="40">
                  <c:v>0.003532326972643291</c:v>
                </c:pt>
                <c:pt idx="41">
                  <c:v>0.0032322472973861697</c:v>
                </c:pt>
                <c:pt idx="42">
                  <c:v>0.003514664466275865</c:v>
                </c:pt>
                <c:pt idx="43">
                  <c:v>0.0030369439944691926</c:v>
                </c:pt>
                <c:pt idx="44">
                  <c:v>0.0020355210650452784</c:v>
                </c:pt>
                <c:pt idx="45">
                  <c:v>0.0017227714526521038</c:v>
                </c:pt>
                <c:pt idx="46">
                  <c:v>0.0016225516592539143</c:v>
                </c:pt>
                <c:pt idx="47">
                  <c:v>0.0019389342607490801</c:v>
                </c:pt>
                <c:pt idx="48">
                  <c:v>0.0020050546018634758</c:v>
                </c:pt>
                <c:pt idx="49">
                  <c:v>0.00185979246230159</c:v>
                </c:pt>
                <c:pt idx="50">
                  <c:v>0.0015175503992237577</c:v>
                </c:pt>
                <c:pt idx="51">
                  <c:v>0.001224886989770818</c:v>
                </c:pt>
                <c:pt idx="52">
                  <c:v>0.0029370311410465903</c:v>
                </c:pt>
                <c:pt idx="53">
                  <c:v>0.0029370311410465903</c:v>
                </c:pt>
                <c:pt idx="54">
                  <c:v>0.00205251507502574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35379298996214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56.3077</c:v>
                </c:pt>
                <c:pt idx="1">
                  <c:v>6230.0</c:v>
                </c:pt>
                <c:pt idx="2">
                  <c:v>6349.3333</c:v>
                </c:pt>
                <c:pt idx="3">
                  <c:v>5043.3333</c:v>
                </c:pt>
                <c:pt idx="4">
                  <c:v>5971.5</c:v>
                </c:pt>
                <c:pt idx="5">
                  <c:v>7694.0</c:v>
                </c:pt>
                <c:pt idx="6">
                  <c:v>5895.0</c:v>
                </c:pt>
                <c:pt idx="7">
                  <c:v>4277.0</c:v>
                </c:pt>
                <c:pt idx="8">
                  <c:v>7050.6667</c:v>
                </c:pt>
                <c:pt idx="9">
                  <c:v>5817.6</c:v>
                </c:pt>
                <c:pt idx="10">
                  <c:v>5290.25</c:v>
                </c:pt>
                <c:pt idx="11">
                  <c:v>4469.2857</c:v>
                </c:pt>
                <c:pt idx="12">
                  <c:v>7055.8</c:v>
                </c:pt>
                <c:pt idx="13">
                  <c:v>5252.6667</c:v>
                </c:pt>
                <c:pt idx="14">
                  <c:v>0.0</c:v>
                </c:pt>
                <c:pt idx="15">
                  <c:v>3753.0</c:v>
                </c:pt>
                <c:pt idx="16">
                  <c:v>2170.25</c:v>
                </c:pt>
                <c:pt idx="17">
                  <c:v>6580.0</c:v>
                </c:pt>
                <c:pt idx="18">
                  <c:v>0.0</c:v>
                </c:pt>
                <c:pt idx="19">
                  <c:v>3807.0</c:v>
                </c:pt>
                <c:pt idx="20">
                  <c:v>5072.3333</c:v>
                </c:pt>
                <c:pt idx="21">
                  <c:v>6718.0</c:v>
                </c:pt>
                <c:pt idx="22">
                  <c:v>5462.25</c:v>
                </c:pt>
                <c:pt idx="23">
                  <c:v>6538.6667</c:v>
                </c:pt>
                <c:pt idx="24">
                  <c:v>6316.5</c:v>
                </c:pt>
                <c:pt idx="25">
                  <c:v>4606.0</c:v>
                </c:pt>
                <c:pt idx="26">
                  <c:v>6402.0</c:v>
                </c:pt>
                <c:pt idx="27">
                  <c:v>15524.0</c:v>
                </c:pt>
                <c:pt idx="28">
                  <c:v>3345.4</c:v>
                </c:pt>
                <c:pt idx="29">
                  <c:v>7017.0</c:v>
                </c:pt>
                <c:pt idx="30">
                  <c:v>3873.25</c:v>
                </c:pt>
                <c:pt idx="31">
                  <c:v>5011.5</c:v>
                </c:pt>
                <c:pt idx="32">
                  <c:v>8655.5</c:v>
                </c:pt>
                <c:pt idx="33">
                  <c:v>3845.7778</c:v>
                </c:pt>
                <c:pt idx="34">
                  <c:v>3505.4167</c:v>
                </c:pt>
                <c:pt idx="35">
                  <c:v>3707.5</c:v>
                </c:pt>
                <c:pt idx="36">
                  <c:v>6482.5</c:v>
                </c:pt>
                <c:pt idx="37">
                  <c:v>4574.0</c:v>
                </c:pt>
                <c:pt idx="38">
                  <c:v>7663.0</c:v>
                </c:pt>
                <c:pt idx="39">
                  <c:v>5600.75</c:v>
                </c:pt>
                <c:pt idx="40">
                  <c:v>8541.5</c:v>
                </c:pt>
                <c:pt idx="41">
                  <c:v>5335.6667</c:v>
                </c:pt>
                <c:pt idx="42">
                  <c:v>10645.0</c:v>
                </c:pt>
                <c:pt idx="43">
                  <c:v>7240.0</c:v>
                </c:pt>
                <c:pt idx="44">
                  <c:v>4505.0</c:v>
                </c:pt>
                <c:pt idx="45">
                  <c:v>4392.2</c:v>
                </c:pt>
                <c:pt idx="46">
                  <c:v>4084.1818</c:v>
                </c:pt>
                <c:pt idx="47">
                  <c:v>3419.4286</c:v>
                </c:pt>
                <c:pt idx="48">
                  <c:v>4401.9</c:v>
                </c:pt>
                <c:pt idx="49">
                  <c:v>3402.25</c:v>
                </c:pt>
                <c:pt idx="50">
                  <c:v>4337.6</c:v>
                </c:pt>
                <c:pt idx="51">
                  <c:v>4108.2</c:v>
                </c:pt>
                <c:pt idx="52">
                  <c:v>4801.75</c:v>
                </c:pt>
                <c:pt idx="53">
                  <c:v>3999.4</c:v>
                </c:pt>
                <c:pt idx="54">
                  <c:v>4201.4444</c:v>
                </c:pt>
                <c:pt idx="55">
                  <c:v>4984.2</c:v>
                </c:pt>
                <c:pt idx="56">
                  <c:v>10395.0</c:v>
                </c:pt>
                <c:pt idx="57">
                  <c:v>4042.75</c:v>
                </c:pt>
                <c:pt idx="58">
                  <c:v>4289.0</c:v>
                </c:pt>
                <c:pt idx="59">
                  <c:v>3433.0</c:v>
                </c:pt>
                <c:pt idx="60">
                  <c:v>3007.3571</c:v>
                </c:pt>
                <c:pt idx="61">
                  <c:v>2989.9286</c:v>
                </c:pt>
                <c:pt idx="62">
                  <c:v>3040.0833</c:v>
                </c:pt>
                <c:pt idx="63">
                  <c:v>2470.9444</c:v>
                </c:pt>
                <c:pt idx="64">
                  <c:v>2609.3158</c:v>
                </c:pt>
                <c:pt idx="65">
                  <c:v>2489.9333</c:v>
                </c:pt>
                <c:pt idx="66">
                  <c:v>2358.7273</c:v>
                </c:pt>
                <c:pt idx="67">
                  <c:v>3155.3333</c:v>
                </c:pt>
                <c:pt idx="68">
                  <c:v>2346.9231</c:v>
                </c:pt>
                <c:pt idx="69">
                  <c:v>2135.0</c:v>
                </c:pt>
                <c:pt idx="70">
                  <c:v>2302.5</c:v>
                </c:pt>
                <c:pt idx="71">
                  <c:v>1857.8</c:v>
                </c:pt>
                <c:pt idx="72">
                  <c:v>2952.3636</c:v>
                </c:pt>
                <c:pt idx="73">
                  <c:v>2025.9474</c:v>
                </c:pt>
                <c:pt idx="74">
                  <c:v>2531.4762</c:v>
                </c:pt>
                <c:pt idx="75">
                  <c:v>3962.4444</c:v>
                </c:pt>
                <c:pt idx="76">
                  <c:v>3882.0</c:v>
                </c:pt>
                <c:pt idx="77">
                  <c:v>4467.6957</c:v>
                </c:pt>
                <c:pt idx="78">
                  <c:v>3018.5429</c:v>
                </c:pt>
                <c:pt idx="79">
                  <c:v>4773.4</c:v>
                </c:pt>
                <c:pt idx="80">
                  <c:v>4299.5</c:v>
                </c:pt>
                <c:pt idx="81">
                  <c:v>3470.475</c:v>
                </c:pt>
                <c:pt idx="82">
                  <c:v>4188.0</c:v>
                </c:pt>
                <c:pt idx="83">
                  <c:v>4291.4286</c:v>
                </c:pt>
                <c:pt idx="84">
                  <c:v>4199.35</c:v>
                </c:pt>
                <c:pt idx="85">
                  <c:v>3644.0476</c:v>
                </c:pt>
                <c:pt idx="86">
                  <c:v>4846.4231</c:v>
                </c:pt>
                <c:pt idx="87">
                  <c:v>4906.68</c:v>
                </c:pt>
                <c:pt idx="88">
                  <c:v>4199.0333</c:v>
                </c:pt>
                <c:pt idx="89">
                  <c:v>3929.7353</c:v>
                </c:pt>
                <c:pt idx="90">
                  <c:v>4177.2903</c:v>
                </c:pt>
                <c:pt idx="91">
                  <c:v>3942.625</c:v>
                </c:pt>
                <c:pt idx="92">
                  <c:v>4270.3235</c:v>
                </c:pt>
                <c:pt idx="93">
                  <c:v>4332.2286</c:v>
                </c:pt>
                <c:pt idx="94">
                  <c:v>5011.5517</c:v>
                </c:pt>
                <c:pt idx="95">
                  <c:v>4381.1064</c:v>
                </c:pt>
                <c:pt idx="96">
                  <c:v>3358.3295</c:v>
                </c:pt>
                <c:pt idx="97">
                  <c:v>3539.0348</c:v>
                </c:pt>
                <c:pt idx="98">
                  <c:v>3390.072</c:v>
                </c:pt>
                <c:pt idx="99">
                  <c:v>3491.0956</c:v>
                </c:pt>
                <c:pt idx="100">
                  <c:v>3928.0486</c:v>
                </c:pt>
                <c:pt idx="101">
                  <c:v>3765.3274</c:v>
                </c:pt>
                <c:pt idx="102">
                  <c:v>3902.8667</c:v>
                </c:pt>
                <c:pt idx="103">
                  <c:v>3989.4744</c:v>
                </c:pt>
                <c:pt idx="104">
                  <c:v>4479.7</c:v>
                </c:pt>
              </c:numCache>
            </c:numRef>
          </c:xVal>
          <c:yVal>
            <c:numRef>
              <c:f>Sheet1!$B$2:$B$106</c:f>
              <c:numCache>
                <c:formatCode>General</c:formatCode>
                <c:ptCount val="105"/>
                <c:pt idx="0">
                  <c:v>0.0003580478131541258</c:v>
                </c:pt>
                <c:pt idx="1">
                  <c:v>8.968609865470852e-05</c:v>
                </c:pt>
                <c:pt idx="2">
                  <c:v>8.448800270361608e-05</c:v>
                </c:pt>
                <c:pt idx="3">
                  <c:v>8.956560680698612e-05</c:v>
                </c:pt>
                <c:pt idx="4">
                  <c:v>7.059155724975294e-05</c:v>
                </c:pt>
                <c:pt idx="5">
                  <c:v>0.00010866415531729933</c:v>
                </c:pt>
                <c:pt idx="6">
                  <c:v>0.00020990764063811922</c:v>
                </c:pt>
                <c:pt idx="7">
                  <c:v>0.0002427577277876679</c:v>
                </c:pt>
                <c:pt idx="8">
                  <c:v>0.00012605571662674902</c:v>
                </c:pt>
                <c:pt idx="9">
                  <c:v>0.0001576739932515531</c:v>
                </c:pt>
                <c:pt idx="10">
                  <c:v>0.00012233912405187178</c:v>
                </c:pt>
                <c:pt idx="11">
                  <c:v>0.00021624961383997528</c:v>
                </c:pt>
                <c:pt idx="12">
                  <c:v>0.0001422556048708319</c:v>
                </c:pt>
                <c:pt idx="13">
                  <c:v>0.00017932394871335067</c:v>
                </c:pt>
                <c:pt idx="14">
                  <c:v>0.0</c:v>
                </c:pt>
                <c:pt idx="15">
                  <c:v>0.00017827218597354442</c:v>
                </c:pt>
                <c:pt idx="16">
                  <c:v>0.00016287971333170455</c:v>
                </c:pt>
                <c:pt idx="17">
                  <c:v>8.955758552749418e-05</c:v>
                </c:pt>
                <c:pt idx="18">
                  <c:v>0.0</c:v>
                </c:pt>
                <c:pt idx="19">
                  <c:v>0.00017497812773403323</c:v>
                </c:pt>
                <c:pt idx="20">
                  <c:v>0.0001436850423870875</c:v>
                </c:pt>
                <c:pt idx="21">
                  <c:v>5.938947618482005e-05</c:v>
                </c:pt>
                <c:pt idx="22">
                  <c:v>0.0002357795461243737</c:v>
                </c:pt>
                <c:pt idx="23">
                  <c:v>0.00018617351371478217</c:v>
                </c:pt>
                <c:pt idx="24">
                  <c:v>0.00022766078542970974</c:v>
                </c:pt>
                <c:pt idx="25">
                  <c:v>0.00038897893030794163</c:v>
                </c:pt>
                <c:pt idx="26">
                  <c:v>0.0002871582816448426</c:v>
                </c:pt>
                <c:pt idx="27">
                  <c:v>5.5781781670106545e-05</c:v>
                </c:pt>
                <c:pt idx="28">
                  <c:v>0.00028376844494892167</c:v>
                </c:pt>
                <c:pt idx="29">
                  <c:v>0.00019717060186326217</c:v>
                </c:pt>
                <c:pt idx="30">
                  <c:v>0.0002540489044140997</c:v>
                </c:pt>
                <c:pt idx="31">
                  <c:v>0.00024515812699190976</c:v>
                </c:pt>
                <c:pt idx="32">
                  <c:v>0.00012088244182532487</c:v>
                </c:pt>
                <c:pt idx="33">
                  <c:v>0.0004301486402523539</c:v>
                </c:pt>
                <c:pt idx="34">
                  <c:v>0.0005119453924914676</c:v>
                </c:pt>
                <c:pt idx="35">
                  <c:v>0.0005358851674641148</c:v>
                </c:pt>
                <c:pt idx="36">
                  <c:v>0.0001835451750562107</c:v>
                </c:pt>
                <c:pt idx="37">
                  <c:v>0.0002117634602149399</c:v>
                </c:pt>
                <c:pt idx="38">
                  <c:v>0.00010658140154543032</c:v>
                </c:pt>
                <c:pt idx="39">
                  <c:v>0.00022478224220286598</c:v>
                </c:pt>
                <c:pt idx="40">
                  <c:v>9.148293843198243e-05</c:v>
                </c:pt>
                <c:pt idx="41">
                  <c:v>0.00015227653418608191</c:v>
                </c:pt>
                <c:pt idx="42">
                  <c:v>4.338771259979174e-05</c:v>
                </c:pt>
                <c:pt idx="43">
                  <c:v>0.00011588380716934487</c:v>
                </c:pt>
                <c:pt idx="44">
                  <c:v>0.0001552553951249806</c:v>
                </c:pt>
                <c:pt idx="45">
                  <c:v>0.00011769136616137841</c:v>
                </c:pt>
                <c:pt idx="46">
                  <c:v>0.00025193532133205076</c:v>
                </c:pt>
                <c:pt idx="47">
                  <c:v>0.00032806092560046864</c:v>
                </c:pt>
                <c:pt idx="48">
                  <c:v>0.00017046519952951605</c:v>
                </c:pt>
                <c:pt idx="49">
                  <c:v>0.00019105846388995032</c:v>
                </c:pt>
                <c:pt idx="50">
                  <c:v>0.0002257336343115124</c:v>
                </c:pt>
                <c:pt idx="51">
                  <c:v>0.0002758088093333701</c:v>
                </c:pt>
                <c:pt idx="52">
                  <c:v>9.292600766639563e-05</c:v>
                </c:pt>
                <c:pt idx="53">
                  <c:v>0.00014659317462178961</c:v>
                </c:pt>
                <c:pt idx="54">
                  <c:v>0.00028976175144880876</c:v>
                </c:pt>
                <c:pt idx="55">
                  <c:v>0.00016557387906483874</c:v>
                </c:pt>
                <c:pt idx="56">
                  <c:v>6.75789829363068e-05</c:v>
                </c:pt>
                <c:pt idx="57">
                  <c:v>0.00011549011115923199</c:v>
                </c:pt>
                <c:pt idx="58">
                  <c:v>0.0001065019436604718</c:v>
                </c:pt>
                <c:pt idx="59">
                  <c:v>0.00017264597216946927</c:v>
                </c:pt>
                <c:pt idx="60">
                  <c:v>0.0002658009151145792</c:v>
                </c:pt>
                <c:pt idx="61">
                  <c:v>0.00036557342803425946</c:v>
                </c:pt>
                <c:pt idx="62">
                  <c:v>0.0003044680689112729</c:v>
                </c:pt>
                <c:pt idx="63">
                  <c:v>0.0004142025450445268</c:v>
                </c:pt>
                <c:pt idx="64">
                  <c:v>0.0004272351142291779</c:v>
                </c:pt>
                <c:pt idx="65">
                  <c:v>0.00036707126076742367</c:v>
                </c:pt>
                <c:pt idx="66">
                  <c:v>0.0002800122187149985</c:v>
                </c:pt>
                <c:pt idx="67">
                  <c:v>0.00024030759371996156</c:v>
                </c:pt>
                <c:pt idx="68">
                  <c:v>0.00041124924867925723</c:v>
                </c:pt>
                <c:pt idx="69">
                  <c:v>0.00045595854922279795</c:v>
                </c:pt>
                <c:pt idx="70">
                  <c:v>0.0003940110323089047</c:v>
                </c:pt>
                <c:pt idx="71">
                  <c:v>0.0004268032437046522</c:v>
                </c:pt>
                <c:pt idx="72">
                  <c:v>0.00044458814970495513</c:v>
                </c:pt>
                <c:pt idx="73">
                  <c:v>0.0008129733430319627</c:v>
                </c:pt>
                <c:pt idx="74">
                  <c:v>0.0008604794099569761</c:v>
                </c:pt>
                <c:pt idx="75">
                  <c:v>0.0008656759486365604</c:v>
                </c:pt>
                <c:pt idx="76">
                  <c:v>0.001183431952662722</c:v>
                </c:pt>
                <c:pt idx="77">
                  <c:v>0.0012112275527937227</c:v>
                </c:pt>
                <c:pt idx="78">
                  <c:v>0.002056645904336585</c:v>
                </c:pt>
                <c:pt idx="79">
                  <c:v>0.001290922234844573</c:v>
                </c:pt>
                <c:pt idx="80">
                  <c:v>0.0012359666289010196</c:v>
                </c:pt>
                <c:pt idx="81">
                  <c:v>0.0017492456378186906</c:v>
                </c:pt>
                <c:pt idx="82">
                  <c:v>0.0014101985559566788</c:v>
                </c:pt>
                <c:pt idx="83">
                  <c:v>0.001380216891225764</c:v>
                </c:pt>
                <c:pt idx="84">
                  <c:v>0.0013312920189043466</c:v>
                </c:pt>
                <c:pt idx="85">
                  <c:v>0.0012235623142807202</c:v>
                </c:pt>
                <c:pt idx="86">
                  <c:v>0.0011437620974837233</c:v>
                </c:pt>
                <c:pt idx="87">
                  <c:v>0.001046156421308114</c:v>
                </c:pt>
                <c:pt idx="88">
                  <c:v>0.0015890672175433022</c:v>
                </c:pt>
                <c:pt idx="89">
                  <c:v>0.0019621421975992612</c:v>
                </c:pt>
                <c:pt idx="90">
                  <c:v>0.001836601694413176</c:v>
                </c:pt>
                <c:pt idx="91">
                  <c:v>0.00184003220056351</c:v>
                </c:pt>
                <c:pt idx="92">
                  <c:v>0.0015671813781977413</c:v>
                </c:pt>
                <c:pt idx="93">
                  <c:v>0.001546551190844417</c:v>
                </c:pt>
                <c:pt idx="94">
                  <c:v>0.0014558232931726907</c:v>
                </c:pt>
                <c:pt idx="95">
                  <c:v>0.0017315698338429798</c:v>
                </c:pt>
                <c:pt idx="96">
                  <c:v>0.002308560035677746</c:v>
                </c:pt>
                <c:pt idx="97">
                  <c:v>0.0026446509060803975</c:v>
                </c:pt>
                <c:pt idx="98">
                  <c:v>0.002492373337586984</c:v>
                </c:pt>
                <c:pt idx="99">
                  <c:v>0.0023547337073204517</c:v>
                </c:pt>
                <c:pt idx="100">
                  <c:v>0.001811252405569601</c:v>
                </c:pt>
                <c:pt idx="101">
                  <c:v>0.0024561479774816877</c:v>
                </c:pt>
                <c:pt idx="102">
                  <c:v>0.002028946300554579</c:v>
                </c:pt>
                <c:pt idx="103">
                  <c:v>0.001982513216754778</c:v>
                </c:pt>
                <c:pt idx="104">
                  <c:v>0.0014722770236447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109:$B$160</c:f>
              <c:numCache>
                <c:formatCode>General</c:formatCode>
                <c:ptCount val="52"/>
                <c:pt idx="0">
                  <c:v>0.001584105249026715</c:v>
                </c:pt>
                <c:pt idx="1">
                  <c:v>0.0019018962189167707</c:v>
                </c:pt>
                <c:pt idx="2">
                  <c:v>0.0017252315108461245</c:v>
                </c:pt>
                <c:pt idx="3">
                  <c:v>0.0018388925780252338</c:v>
                </c:pt>
                <c:pt idx="4">
                  <c:v>0.0018283473329976947</c:v>
                </c:pt>
                <c:pt idx="5">
                  <c:v>0.0015981248668229277</c:v>
                </c:pt>
                <c:pt idx="6">
                  <c:v>0.001727591387080621</c:v>
                </c:pt>
                <c:pt idx="7">
                  <c:v>0.001988616882671604</c:v>
                </c:pt>
                <c:pt idx="8">
                  <c:v>0.0023902894491129784</c:v>
                </c:pt>
                <c:pt idx="9">
                  <c:v>0.0025030859964339596</c:v>
                </c:pt>
                <c:pt idx="10">
                  <c:v>0.0024047171986691703</c:v>
                </c:pt>
                <c:pt idx="11">
                  <c:v>0.002437703141928494</c:v>
                </c:pt>
                <c:pt idx="12">
                  <c:v>0.0025193147463889822</c:v>
                </c:pt>
                <c:pt idx="13">
                  <c:v>0.00362350603430642</c:v>
                </c:pt>
                <c:pt idx="14">
                  <c:v>0.0035926222935044106</c:v>
                </c:pt>
                <c:pt idx="15">
                  <c:v>0.003384731101918014</c:v>
                </c:pt>
                <c:pt idx="16">
                  <c:v>0.003315440479949479</c:v>
                </c:pt>
                <c:pt idx="17">
                  <c:v>0.004196149415830179</c:v>
                </c:pt>
                <c:pt idx="18">
                  <c:v>0.0023051866700075168</c:v>
                </c:pt>
                <c:pt idx="19">
                  <c:v>0.0020429009193054137</c:v>
                </c:pt>
                <c:pt idx="20">
                  <c:v>0.0024135983156164946</c:v>
                </c:pt>
                <c:pt idx="21">
                  <c:v>0.0034424485197471367</c:v>
                </c:pt>
                <c:pt idx="22">
                  <c:v>0.0028484735896959564</c:v>
                </c:pt>
                <c:pt idx="23">
                  <c:v>0.002840371141829199</c:v>
                </c:pt>
                <c:pt idx="24">
                  <c:v>0.002563206338110218</c:v>
                </c:pt>
                <c:pt idx="25">
                  <c:v>0.0027585361368233923</c:v>
                </c:pt>
                <c:pt idx="26">
                  <c:v>0.0029573789504204117</c:v>
                </c:pt>
                <c:pt idx="27">
                  <c:v>0.003011252575413387</c:v>
                </c:pt>
                <c:pt idx="28">
                  <c:v>0.0024739521385413197</c:v>
                </c:pt>
                <c:pt idx="29">
                  <c:v>0.0028094719339487413</c:v>
                </c:pt>
                <c:pt idx="30">
                  <c:v>0.002736303610731069</c:v>
                </c:pt>
                <c:pt idx="31">
                  <c:v>0.0027715114405414115</c:v>
                </c:pt>
                <c:pt idx="32">
                  <c:v>0.002372479240806643</c:v>
                </c:pt>
                <c:pt idx="33">
                  <c:v>0.0023216147067184685</c:v>
                </c:pt>
                <c:pt idx="34">
                  <c:v>0.002155973533566278</c:v>
                </c:pt>
                <c:pt idx="35">
                  <c:v>0.0026371072274616724</c:v>
                </c:pt>
                <c:pt idx="36">
                  <c:v>0.003277545327754533</c:v>
                </c:pt>
                <c:pt idx="37">
                  <c:v>0.0032453348311801784</c:v>
                </c:pt>
                <c:pt idx="38">
                  <c:v>0.003769896676905892</c:v>
                </c:pt>
                <c:pt idx="39">
                  <c:v>0.0035453704655225566</c:v>
                </c:pt>
                <c:pt idx="40">
                  <c:v>0.0033313444709626096</c:v>
                </c:pt>
                <c:pt idx="41">
                  <c:v>0.002726076330137244</c:v>
                </c:pt>
                <c:pt idx="42">
                  <c:v>0.0031198773200782613</c:v>
                </c:pt>
                <c:pt idx="43">
                  <c:v>0.002271152513665409</c:v>
                </c:pt>
                <c:pt idx="44">
                  <c:v>0.001677427522471199</c:v>
                </c:pt>
                <c:pt idx="45">
                  <c:v>0.0014116183366829362</c:v>
                </c:pt>
                <c:pt idx="46">
                  <c:v>0.0014616112114177629</c:v>
                </c:pt>
                <c:pt idx="47">
                  <c:v>0.0014503652771809196</c:v>
                </c:pt>
                <c:pt idx="48">
                  <c:v>0.0016162704559229578</c:v>
                </c:pt>
                <c:pt idx="49">
                  <c:v>0.0014269697278564877</c:v>
                </c:pt>
                <c:pt idx="50">
                  <c:v>0.0012049823991334958</c:v>
                </c:pt>
                <c:pt idx="51">
                  <c:v>0.001439629944302841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80.7277985538785</c:v>
                </c:pt>
              </c:numCache>
            </c:numRef>
          </c:xVal>
          <c:yVal>
            <c:numRef>
              <c:f>Sheet1!$B$163:$B$164</c:f>
              <c:numCache>
                <c:formatCode>General</c:formatCode>
                <c:ptCount val="2"/>
                <c:pt idx="0">
                  <c:v>0.0029370311410465903</c:v>
                </c:pt>
                <c:pt idx="1">
                  <c:v>0.002937031141046590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80.7277985538785</c:v>
                </c:pt>
                <c:pt idx="1">
                  <c:v>3580.7277985538785</c:v>
                </c:pt>
              </c:numCache>
            </c:numRef>
          </c:xVal>
          <c:yVal>
            <c:numRef>
              <c:f>Sheet1!$B$167:$B$168</c:f>
              <c:numCache>
                <c:formatCode>General</c:formatCode>
                <c:ptCount val="2"/>
                <c:pt idx="0">
                  <c:v>0.002937031141046590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80.7277985538785</c:v>
                </c:pt>
              </c:numCache>
            </c:numRef>
          </c:xVal>
          <c:yVal>
            <c:numRef>
              <c:f>Sheet1!$B$171:$B$172</c:f>
              <c:numCache>
                <c:formatCode>General</c:formatCode>
                <c:ptCount val="2"/>
                <c:pt idx="0">
                  <c:v>0.0029370311410465903</c:v>
                </c:pt>
                <c:pt idx="1">
                  <c:v>0.002937031141046590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80.7277985538785</c:v>
                </c:pt>
                <c:pt idx="1">
                  <c:v>3580.7277985538785</c:v>
                </c:pt>
              </c:numCache>
            </c:numRef>
          </c:xVal>
          <c:yVal>
            <c:numRef>
              <c:f>Sheet1!$B$175:$B$176</c:f>
              <c:numCache>
                <c:formatCode>General</c:formatCode>
                <c:ptCount val="2"/>
                <c:pt idx="0">
                  <c:v>0.002937031141046590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335.496992977635</c:v>
                </c:pt>
              </c:numCache>
            </c:numRef>
          </c:xVal>
          <c:yVal>
            <c:numRef>
              <c:f>Sheet1!$B$179:$B$180</c:f>
              <c:numCache>
                <c:formatCode>General</c:formatCode>
                <c:ptCount val="2"/>
                <c:pt idx="0">
                  <c:v>0.0020525150750257447</c:v>
                </c:pt>
                <c:pt idx="1">
                  <c:v>0.002052515075025744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335.496992977635</c:v>
                </c:pt>
                <c:pt idx="1">
                  <c:v>4335.496992977635</c:v>
                </c:pt>
              </c:numCache>
            </c:numRef>
          </c:xVal>
          <c:yVal>
            <c:numRef>
              <c:f>Sheet1!$B$183:$B$184</c:f>
              <c:numCache>
                <c:formatCode>General</c:formatCode>
                <c:ptCount val="2"/>
                <c:pt idx="0">
                  <c:v>0.00205251507502574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580.7277985538785</c:v>
                </c:pt>
                <c:pt idx="53">
                  <c:v>3580.7277985538785</c:v>
                </c:pt>
                <c:pt idx="54">
                  <c:v>4335.496992977635</c:v>
                </c:pt>
              </c:numCache>
            </c:numRef>
          </c:xVal>
          <c:yVal>
            <c:numRef>
              <c:f>Sheet1!$B$187:$B$241</c:f>
              <c:numCache>
                <c:formatCode>General</c:formatCode>
                <c:ptCount val="55"/>
                <c:pt idx="0">
                  <c:v>0.0020578843734526476</c:v>
                </c:pt>
                <c:pt idx="1">
                  <c:v>0.0027586879376641166</c:v>
                </c:pt>
                <c:pt idx="2">
                  <c:v>0.0020242997511462323</c:v>
                </c:pt>
                <c:pt idx="3">
                  <c:v>0.0026847367748655867</c:v>
                </c:pt>
                <c:pt idx="4">
                  <c:v>0.0019053697903512303</c:v>
                </c:pt>
                <c:pt idx="5">
                  <c:v>0.0015727345807184804</c:v>
                </c:pt>
                <c:pt idx="6">
                  <c:v>0.0018143859591532238</c:v>
                </c:pt>
                <c:pt idx="7">
                  <c:v>0.0018532072287290487</c:v>
                </c:pt>
                <c:pt idx="8">
                  <c:v>0.0021706722749428014</c:v>
                </c:pt>
                <c:pt idx="9">
                  <c:v>0.0023309187205684187</c:v>
                </c:pt>
                <c:pt idx="10">
                  <c:v>0.002278215208654291</c:v>
                </c:pt>
                <c:pt idx="11">
                  <c:v>0.0023448302604745265</c:v>
                </c:pt>
                <c:pt idx="12">
                  <c:v>0.0027258738413909658</c:v>
                </c:pt>
                <c:pt idx="13">
                  <c:v>0.0031011282229091988</c:v>
                </c:pt>
                <c:pt idx="14">
                  <c:v>0.003047917394310964</c:v>
                </c:pt>
                <c:pt idx="15">
                  <c:v>0.0027535639102453475</c:v>
                </c:pt>
                <c:pt idx="16">
                  <c:v>0.002538390736070313</c:v>
                </c:pt>
                <c:pt idx="17">
                  <c:v>0.0035903695967726967</c:v>
                </c:pt>
                <c:pt idx="18">
                  <c:v>0.0021307996914438736</c:v>
                </c:pt>
                <c:pt idx="19">
                  <c:v>0.0017374561712311266</c:v>
                </c:pt>
                <c:pt idx="20">
                  <c:v>0.001932092336326431</c:v>
                </c:pt>
                <c:pt idx="21">
                  <c:v>0.0029060296250036652</c:v>
                </c:pt>
                <c:pt idx="22">
                  <c:v>0.002488484790310719</c:v>
                </c:pt>
                <c:pt idx="23">
                  <c:v>0.0033664098476324927</c:v>
                </c:pt>
                <c:pt idx="24">
                  <c:v>0.002270725109659615</c:v>
                </c:pt>
                <c:pt idx="25">
                  <c:v>0.0025967561787481035</c:v>
                </c:pt>
                <c:pt idx="26">
                  <c:v>0.0025708027525229125</c:v>
                </c:pt>
                <c:pt idx="27">
                  <c:v>0.0028605589794388885</c:v>
                </c:pt>
                <c:pt idx="28">
                  <c:v>0.0027503119974092985</c:v>
                </c:pt>
                <c:pt idx="29">
                  <c:v>0.002762840106163669</c:v>
                </c:pt>
                <c:pt idx="30">
                  <c:v>0.002861684943564758</c:v>
                </c:pt>
                <c:pt idx="31">
                  <c:v>0.002478743466205931</c:v>
                </c:pt>
                <c:pt idx="32">
                  <c:v>0.0019086744388093291</c:v>
                </c:pt>
                <c:pt idx="33">
                  <c:v>0.002042048100532042</c:v>
                </c:pt>
                <c:pt idx="34">
                  <c:v>0.0019123075715976531</c:v>
                </c:pt>
                <c:pt idx="35">
                  <c:v>0.0022680324287978207</c:v>
                </c:pt>
                <c:pt idx="36">
                  <c:v>0.002287727425778846</c:v>
                </c:pt>
                <c:pt idx="37">
                  <c:v>0.002230032311452427</c:v>
                </c:pt>
                <c:pt idx="38">
                  <c:v>0.0028321307290660996</c:v>
                </c:pt>
                <c:pt idx="39">
                  <c:v>0.0032275648065271177</c:v>
                </c:pt>
                <c:pt idx="40">
                  <c:v>0.0033581073856777284</c:v>
                </c:pt>
                <c:pt idx="41">
                  <c:v>0.0029946203136731134</c:v>
                </c:pt>
                <c:pt idx="42">
                  <c:v>0.003192445108858009</c:v>
                </c:pt>
                <c:pt idx="43">
                  <c:v>0.0029076330222944802</c:v>
                </c:pt>
                <c:pt idx="44">
                  <c:v>0.002295548704479986</c:v>
                </c:pt>
                <c:pt idx="45">
                  <c:v>0.0021827616233217302</c:v>
                </c:pt>
                <c:pt idx="46">
                  <c:v>0.0019079654376684546</c:v>
                </c:pt>
                <c:pt idx="47">
                  <c:v>0.0023837259458725744</c:v>
                </c:pt>
                <c:pt idx="48">
                  <c:v>0.0027320849257655598</c:v>
                </c:pt>
                <c:pt idx="49">
                  <c:v>0.0026522578427681217</c:v>
                </c:pt>
                <c:pt idx="50">
                  <c:v>0.00240781534364376</c:v>
                </c:pt>
                <c:pt idx="51">
                  <c:v>0.002007239660223291</c:v>
                </c:pt>
                <c:pt idx="52">
                  <c:v>0.00293703114104659</c:v>
                </c:pt>
                <c:pt idx="53">
                  <c:v>0.00293703114104659</c:v>
                </c:pt>
                <c:pt idx="54">
                  <c:v>0.002052515075025745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35379298996214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355938169040582</c:v>
                </c:pt>
                <c:pt idx="1">
                  <c:v>1.2139280689748084</c:v>
                </c:pt>
                <c:pt idx="2">
                  <c:v>1.214013539106335</c:v>
                </c:pt>
                <c:pt idx="3">
                  <c:v>0.960878519868561</c:v>
                </c:pt>
                <c:pt idx="4">
                  <c:v>1.1017638461493755</c:v>
                </c:pt>
                <c:pt idx="5">
                  <c:v>1.4078760325445898</c:v>
                </c:pt>
                <c:pt idx="6">
                  <c:v>1.1245901898916797</c:v>
                </c:pt>
                <c:pt idx="7">
                  <c:v>0.7874624199347999</c:v>
                </c:pt>
                <c:pt idx="8">
                  <c:v>1.295691016358969</c:v>
                </c:pt>
                <c:pt idx="9">
                  <c:v>1.091377727621227</c:v>
                </c:pt>
                <c:pt idx="10">
                  <c:v>1.0330073603861336</c:v>
                </c:pt>
                <c:pt idx="11">
                  <c:v>0.8964961557336332</c:v>
                </c:pt>
                <c:pt idx="12">
                  <c:v>1.4409365797775933</c:v>
                </c:pt>
                <c:pt idx="13">
                  <c:v>1.0476375859015612</c:v>
                </c:pt>
                <c:pt idx="14">
                  <c:v>0.0</c:v>
                </c:pt>
                <c:pt idx="15">
                  <c:v>0.7307795486173535</c:v>
                </c:pt>
                <c:pt idx="16">
                  <c:v>0.3977090638486649</c:v>
                </c:pt>
                <c:pt idx="17">
                  <c:v>1.178227375178359</c:v>
                </c:pt>
                <c:pt idx="18">
                  <c:v>0.0</c:v>
                </c:pt>
                <c:pt idx="19">
                  <c:v>0.6245355867579098</c:v>
                </c:pt>
                <c:pt idx="20">
                  <c:v>0.8637252522024399</c:v>
                </c:pt>
                <c:pt idx="21">
                  <c:v>1.0824098141798166</c:v>
                </c:pt>
                <c:pt idx="22">
                  <c:v>0.8416657303268639</c:v>
                </c:pt>
                <c:pt idx="23">
                  <c:v>0.9937441083198905</c:v>
                </c:pt>
                <c:pt idx="24">
                  <c:v>0.9821927131610091</c:v>
                </c:pt>
                <c:pt idx="25">
                  <c:v>0.6829339375731956</c:v>
                </c:pt>
                <c:pt idx="26">
                  <c:v>0.978965589359534</c:v>
                </c:pt>
                <c:pt idx="27">
                  <c:v>2.331883922171076</c:v>
                </c:pt>
                <c:pt idx="28">
                  <c:v>0.49361327514281944</c:v>
                </c:pt>
                <c:pt idx="29">
                  <c:v>1.0689113449469985</c:v>
                </c:pt>
                <c:pt idx="30">
                  <c:v>0.5548744587672944</c:v>
                </c:pt>
                <c:pt idx="31">
                  <c:v>0.6830057152375475</c:v>
                </c:pt>
                <c:pt idx="32">
                  <c:v>1.205662041347487</c:v>
                </c:pt>
                <c:pt idx="33">
                  <c:v>0.5583772902994998</c:v>
                </c:pt>
                <c:pt idx="34">
                  <c:v>0.5405858458231345</c:v>
                </c:pt>
                <c:pt idx="35">
                  <c:v>0.5876717763017041</c:v>
                </c:pt>
                <c:pt idx="36">
                  <c:v>0.9257283404237769</c:v>
                </c:pt>
                <c:pt idx="37">
                  <c:v>0.6020718432033275</c:v>
                </c:pt>
                <c:pt idx="38">
                  <c:v>1.0370971673293956</c:v>
                </c:pt>
                <c:pt idx="39">
                  <c:v>0.753391245937411</c:v>
                </c:pt>
                <c:pt idx="40">
                  <c:v>1.2494158836296547</c:v>
                </c:pt>
                <c:pt idx="41">
                  <c:v>0.7449761615774397</c:v>
                </c:pt>
                <c:pt idx="42">
                  <c:v>1.465789700776348</c:v>
                </c:pt>
                <c:pt idx="43">
                  <c:v>1.05118167266496</c:v>
                </c:pt>
                <c:pt idx="44">
                  <c:v>0.7149264956377344</c:v>
                </c:pt>
                <c:pt idx="45">
                  <c:v>0.736054558866911</c:v>
                </c:pt>
                <c:pt idx="46">
                  <c:v>0.6874516835891648</c:v>
                </c:pt>
                <c:pt idx="47">
                  <c:v>0.5628935892760796</c:v>
                </c:pt>
                <c:pt idx="48">
                  <c:v>0.8283181188675169</c:v>
                </c:pt>
                <c:pt idx="49">
                  <c:v>0.699047200053224</c:v>
                </c:pt>
                <c:pt idx="50">
                  <c:v>0.7699652216280705</c:v>
                </c:pt>
                <c:pt idx="51">
                  <c:v>0.6807484255766341</c:v>
                </c:pt>
                <c:pt idx="52">
                  <c:v>0.866692707307237</c:v>
                </c:pt>
                <c:pt idx="53">
                  <c:v>0.6653841459624622</c:v>
                </c:pt>
                <c:pt idx="54">
                  <c:v>0.678615365347346</c:v>
                </c:pt>
                <c:pt idx="55">
                  <c:v>0.7858752104524525</c:v>
                </c:pt>
                <c:pt idx="56">
                  <c:v>1.6630597441934136</c:v>
                </c:pt>
                <c:pt idx="57">
                  <c:v>0.6427016185699633</c:v>
                </c:pt>
                <c:pt idx="58">
                  <c:v>0.7334291984063468</c:v>
                </c:pt>
                <c:pt idx="59">
                  <c:v>0.6634164221981338</c:v>
                </c:pt>
                <c:pt idx="60">
                  <c:v>0.5771739105610265</c:v>
                </c:pt>
                <c:pt idx="61">
                  <c:v>0.5412662460462861</c:v>
                </c:pt>
                <c:pt idx="62">
                  <c:v>0.5716319330495948</c:v>
                </c:pt>
                <c:pt idx="63">
                  <c:v>0.4648851163257724</c:v>
                </c:pt>
                <c:pt idx="64">
                  <c:v>0.5047695237045823</c:v>
                </c:pt>
                <c:pt idx="65">
                  <c:v>0.46160119506374564</c:v>
                </c:pt>
                <c:pt idx="66">
                  <c:v>0.42860474642963137</c:v>
                </c:pt>
                <c:pt idx="67">
                  <c:v>0.5820918607009272</c:v>
                </c:pt>
                <c:pt idx="68">
                  <c:v>0.40210025885516915</c:v>
                </c:pt>
                <c:pt idx="69">
                  <c:v>0.34140886566064854</c:v>
                </c:pt>
                <c:pt idx="70">
                  <c:v>0.3599212853321361</c:v>
                </c:pt>
                <c:pt idx="71">
                  <c:v>0.28911647201337615</c:v>
                </c:pt>
                <c:pt idx="72">
                  <c:v>0.48028682476340856</c:v>
                </c:pt>
                <c:pt idx="73">
                  <c:v>0.32535558185197816</c:v>
                </c:pt>
                <c:pt idx="74">
                  <c:v>0.4044535588525164</c:v>
                </c:pt>
                <c:pt idx="75">
                  <c:v>0.6151950544237516</c:v>
                </c:pt>
                <c:pt idx="76">
                  <c:v>0.5858818148397041</c:v>
                </c:pt>
                <c:pt idx="77">
                  <c:v>0.6853186929800134</c:v>
                </c:pt>
                <c:pt idx="78">
                  <c:v>0.4425839792448145</c:v>
                </c:pt>
                <c:pt idx="79">
                  <c:v>0.6644279561897357</c:v>
                </c:pt>
                <c:pt idx="80">
                  <c:v>0.5909437888412907</c:v>
                </c:pt>
                <c:pt idx="81">
                  <c:v>0.5049044315448753</c:v>
                </c:pt>
                <c:pt idx="82">
                  <c:v>0.5828822432983052</c:v>
                </c:pt>
                <c:pt idx="83">
                  <c:v>0.5632173684715948</c:v>
                </c:pt>
                <c:pt idx="84">
                  <c:v>0.5331968578264198</c:v>
                </c:pt>
                <c:pt idx="85">
                  <c:v>0.47738395542392525</c:v>
                </c:pt>
                <c:pt idx="86">
                  <c:v>0.6678114329092059</c:v>
                </c:pt>
                <c:pt idx="87">
                  <c:v>0.7403176856500857</c:v>
                </c:pt>
                <c:pt idx="88">
                  <c:v>0.5605992952525707</c:v>
                </c:pt>
                <c:pt idx="89">
                  <c:v>0.5023520158871536</c:v>
                </c:pt>
                <c:pt idx="90">
                  <c:v>0.5424675639731874</c:v>
                </c:pt>
                <c:pt idx="91">
                  <c:v>0.5321009460866502</c:v>
                </c:pt>
                <c:pt idx="92">
                  <c:v>0.6070644610828161</c:v>
                </c:pt>
                <c:pt idx="93">
                  <c:v>0.6016996618506891</c:v>
                </c:pt>
                <c:pt idx="94">
                  <c:v>0.6819400382290702</c:v>
                </c:pt>
                <c:pt idx="95">
                  <c:v>0.6403855656009306</c:v>
                </c:pt>
                <c:pt idx="96">
                  <c:v>0.5275219180109367</c:v>
                </c:pt>
                <c:pt idx="97">
                  <c:v>0.5866189472841119</c:v>
                </c:pt>
                <c:pt idx="98">
                  <c:v>0.5989823347252456</c:v>
                </c:pt>
                <c:pt idx="99">
                  <c:v>0.6468964754576311</c:v>
                </c:pt>
                <c:pt idx="100">
                  <c:v>0.7917562344942517</c:v>
                </c:pt>
                <c:pt idx="101">
                  <c:v>0.6839619332442171</c:v>
                </c:pt>
                <c:pt idx="102">
                  <c:v>0.6993203316708484</c:v>
                </c:pt>
                <c:pt idx="103">
                  <c:v>0.6982485182448284</c:v>
                </c:pt>
                <c:pt idx="104">
                  <c:v>0.7825778947747967</c:v>
                </c:pt>
              </c:numCache>
            </c:numRef>
          </c:xVal>
          <c:yVal>
            <c:numRef>
              <c:f>Sheet1!$B$2:$B$106</c:f>
              <c:numCache>
                <c:formatCode>General</c:formatCode>
                <c:ptCount val="105"/>
                <c:pt idx="0">
                  <c:v>0.0003580478131541258</c:v>
                </c:pt>
                <c:pt idx="1">
                  <c:v>8.968609865470852e-05</c:v>
                </c:pt>
                <c:pt idx="2">
                  <c:v>8.448800270361608e-05</c:v>
                </c:pt>
                <c:pt idx="3">
                  <c:v>8.956560680698612e-05</c:v>
                </c:pt>
                <c:pt idx="4">
                  <c:v>7.059155724975294e-05</c:v>
                </c:pt>
                <c:pt idx="5">
                  <c:v>0.00010866415531729933</c:v>
                </c:pt>
                <c:pt idx="6">
                  <c:v>0.00020990764063811922</c:v>
                </c:pt>
                <c:pt idx="7">
                  <c:v>0.0002427577277876679</c:v>
                </c:pt>
                <c:pt idx="8">
                  <c:v>0.00012605571662674902</c:v>
                </c:pt>
                <c:pt idx="9">
                  <c:v>0.0001576739932515531</c:v>
                </c:pt>
                <c:pt idx="10">
                  <c:v>0.00012233912405187178</c:v>
                </c:pt>
                <c:pt idx="11">
                  <c:v>0.00021624961383997528</c:v>
                </c:pt>
                <c:pt idx="12">
                  <c:v>0.0001422556048708319</c:v>
                </c:pt>
                <c:pt idx="13">
                  <c:v>0.00017932394871335067</c:v>
                </c:pt>
                <c:pt idx="14">
                  <c:v>0.0</c:v>
                </c:pt>
                <c:pt idx="15">
                  <c:v>0.00017827218597354442</c:v>
                </c:pt>
                <c:pt idx="16">
                  <c:v>0.00016287971333170455</c:v>
                </c:pt>
                <c:pt idx="17">
                  <c:v>8.955758552749418e-05</c:v>
                </c:pt>
                <c:pt idx="18">
                  <c:v>0.0</c:v>
                </c:pt>
                <c:pt idx="19">
                  <c:v>0.00017497812773403323</c:v>
                </c:pt>
                <c:pt idx="20">
                  <c:v>0.0001436850423870875</c:v>
                </c:pt>
                <c:pt idx="21">
                  <c:v>5.938947618482005e-05</c:v>
                </c:pt>
                <c:pt idx="22">
                  <c:v>0.0002357795461243737</c:v>
                </c:pt>
                <c:pt idx="23">
                  <c:v>0.00018617351371478217</c:v>
                </c:pt>
                <c:pt idx="24">
                  <c:v>0.00022766078542970974</c:v>
                </c:pt>
                <c:pt idx="25">
                  <c:v>0.00038897893030794163</c:v>
                </c:pt>
                <c:pt idx="26">
                  <c:v>0.0002871582816448426</c:v>
                </c:pt>
                <c:pt idx="27">
                  <c:v>5.5781781670106545e-05</c:v>
                </c:pt>
                <c:pt idx="28">
                  <c:v>0.00028376844494892167</c:v>
                </c:pt>
                <c:pt idx="29">
                  <c:v>0.00019717060186326217</c:v>
                </c:pt>
                <c:pt idx="30">
                  <c:v>0.0002540489044140997</c:v>
                </c:pt>
                <c:pt idx="31">
                  <c:v>0.00024515812699190976</c:v>
                </c:pt>
                <c:pt idx="32">
                  <c:v>0.00012088244182532487</c:v>
                </c:pt>
                <c:pt idx="33">
                  <c:v>0.0004301486402523539</c:v>
                </c:pt>
                <c:pt idx="34">
                  <c:v>0.0005119453924914676</c:v>
                </c:pt>
                <c:pt idx="35">
                  <c:v>0.0005358851674641148</c:v>
                </c:pt>
                <c:pt idx="36">
                  <c:v>0.0001835451750562107</c:v>
                </c:pt>
                <c:pt idx="37">
                  <c:v>0.0002117634602149399</c:v>
                </c:pt>
                <c:pt idx="38">
                  <c:v>0.00010658140154543032</c:v>
                </c:pt>
                <c:pt idx="39">
                  <c:v>0.00022478224220286598</c:v>
                </c:pt>
                <c:pt idx="40">
                  <c:v>9.148293843198243e-05</c:v>
                </c:pt>
                <c:pt idx="41">
                  <c:v>0.00015227653418608191</c:v>
                </c:pt>
                <c:pt idx="42">
                  <c:v>4.338771259979174e-05</c:v>
                </c:pt>
                <c:pt idx="43">
                  <c:v>0.00011588380716934487</c:v>
                </c:pt>
                <c:pt idx="44">
                  <c:v>0.0001552553951249806</c:v>
                </c:pt>
                <c:pt idx="45">
                  <c:v>0.00011769136616137841</c:v>
                </c:pt>
                <c:pt idx="46">
                  <c:v>0.00025193532133205076</c:v>
                </c:pt>
                <c:pt idx="47">
                  <c:v>0.00032806092560046864</c:v>
                </c:pt>
                <c:pt idx="48">
                  <c:v>0.00017046519952951605</c:v>
                </c:pt>
                <c:pt idx="49">
                  <c:v>0.00019105846388995032</c:v>
                </c:pt>
                <c:pt idx="50">
                  <c:v>0.0002257336343115124</c:v>
                </c:pt>
                <c:pt idx="51">
                  <c:v>0.0002758088093333701</c:v>
                </c:pt>
                <c:pt idx="52">
                  <c:v>9.292600766639563e-05</c:v>
                </c:pt>
                <c:pt idx="53">
                  <c:v>0.00014659317462178961</c:v>
                </c:pt>
                <c:pt idx="54">
                  <c:v>0.00028976175144880876</c:v>
                </c:pt>
                <c:pt idx="55">
                  <c:v>0.00016557387906483874</c:v>
                </c:pt>
                <c:pt idx="56">
                  <c:v>6.75789829363068e-05</c:v>
                </c:pt>
                <c:pt idx="57">
                  <c:v>0.00011549011115923199</c:v>
                </c:pt>
                <c:pt idx="58">
                  <c:v>0.0001065019436604718</c:v>
                </c:pt>
                <c:pt idx="59">
                  <c:v>0.00017264597216946927</c:v>
                </c:pt>
                <c:pt idx="60">
                  <c:v>0.0002658009151145792</c:v>
                </c:pt>
                <c:pt idx="61">
                  <c:v>0.00036557342803425946</c:v>
                </c:pt>
                <c:pt idx="62">
                  <c:v>0.0003044680689112729</c:v>
                </c:pt>
                <c:pt idx="63">
                  <c:v>0.0004142025450445268</c:v>
                </c:pt>
                <c:pt idx="64">
                  <c:v>0.0004272351142291779</c:v>
                </c:pt>
                <c:pt idx="65">
                  <c:v>0.00036707126076742367</c:v>
                </c:pt>
                <c:pt idx="66">
                  <c:v>0.0002800122187149985</c:v>
                </c:pt>
                <c:pt idx="67">
                  <c:v>0.00024030759371996156</c:v>
                </c:pt>
                <c:pt idx="68">
                  <c:v>0.00041124924867925723</c:v>
                </c:pt>
                <c:pt idx="69">
                  <c:v>0.00045595854922279795</c:v>
                </c:pt>
                <c:pt idx="70">
                  <c:v>0.0003940110323089047</c:v>
                </c:pt>
                <c:pt idx="71">
                  <c:v>0.0004268032437046522</c:v>
                </c:pt>
                <c:pt idx="72">
                  <c:v>0.00044458814970495513</c:v>
                </c:pt>
                <c:pt idx="73">
                  <c:v>0.0008129733430319627</c:v>
                </c:pt>
                <c:pt idx="74">
                  <c:v>0.0008604794099569761</c:v>
                </c:pt>
                <c:pt idx="75">
                  <c:v>0.0008656759486365604</c:v>
                </c:pt>
                <c:pt idx="76">
                  <c:v>0.001183431952662722</c:v>
                </c:pt>
                <c:pt idx="77">
                  <c:v>0.0012112275527937227</c:v>
                </c:pt>
                <c:pt idx="78">
                  <c:v>0.002056645904336585</c:v>
                </c:pt>
                <c:pt idx="79">
                  <c:v>0.001290922234844573</c:v>
                </c:pt>
                <c:pt idx="80">
                  <c:v>0.0012359666289010196</c:v>
                </c:pt>
                <c:pt idx="81">
                  <c:v>0.0017492456378186906</c:v>
                </c:pt>
                <c:pt idx="82">
                  <c:v>0.0014101985559566788</c:v>
                </c:pt>
                <c:pt idx="83">
                  <c:v>0.001380216891225764</c:v>
                </c:pt>
                <c:pt idx="84">
                  <c:v>0.0013312920189043466</c:v>
                </c:pt>
                <c:pt idx="85">
                  <c:v>0.0012235623142807202</c:v>
                </c:pt>
                <c:pt idx="86">
                  <c:v>0.0011437620974837233</c:v>
                </c:pt>
                <c:pt idx="87">
                  <c:v>0.001046156421308114</c:v>
                </c:pt>
                <c:pt idx="88">
                  <c:v>0.0015890672175433022</c:v>
                </c:pt>
                <c:pt idx="89">
                  <c:v>0.0019621421975992612</c:v>
                </c:pt>
                <c:pt idx="90">
                  <c:v>0.001836601694413176</c:v>
                </c:pt>
                <c:pt idx="91">
                  <c:v>0.00184003220056351</c:v>
                </c:pt>
                <c:pt idx="92">
                  <c:v>0.0015671813781977413</c:v>
                </c:pt>
                <c:pt idx="93">
                  <c:v>0.001546551190844417</c:v>
                </c:pt>
                <c:pt idx="94">
                  <c:v>0.0014558232931726907</c:v>
                </c:pt>
                <c:pt idx="95">
                  <c:v>0.0017315698338429798</c:v>
                </c:pt>
                <c:pt idx="96">
                  <c:v>0.002308560035677746</c:v>
                </c:pt>
                <c:pt idx="97">
                  <c:v>0.0026446509060803975</c:v>
                </c:pt>
                <c:pt idx="98">
                  <c:v>0.002492373337586984</c:v>
                </c:pt>
                <c:pt idx="99">
                  <c:v>0.0023547337073204517</c:v>
                </c:pt>
                <c:pt idx="100">
                  <c:v>0.001811252405569601</c:v>
                </c:pt>
                <c:pt idx="101">
                  <c:v>0.0024561479774816877</c:v>
                </c:pt>
                <c:pt idx="102">
                  <c:v>0.002028946300554579</c:v>
                </c:pt>
                <c:pt idx="103">
                  <c:v>0.001982513216754778</c:v>
                </c:pt>
                <c:pt idx="104">
                  <c:v>0.0014722770236447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718938076491056</c:v>
                </c:pt>
                <c:pt idx="1">
                  <c:v>0.6612642460649361</c:v>
                </c:pt>
                <c:pt idx="2">
                  <c:v>0.7648028119147305</c:v>
                </c:pt>
                <c:pt idx="3">
                  <c:v>0.6726884884052126</c:v>
                </c:pt>
                <c:pt idx="4">
                  <c:v>0.7573826445672042</c:v>
                </c:pt>
                <c:pt idx="5">
                  <c:v>0.8235296812947596</c:v>
                </c:pt>
                <c:pt idx="6">
                  <c:v>0.7827845698488042</c:v>
                </c:pt>
                <c:pt idx="7">
                  <c:v>0.7323505806636011</c:v>
                </c:pt>
                <c:pt idx="8">
                  <c:v>0.7101908288896149</c:v>
                </c:pt>
                <c:pt idx="9">
                  <c:v>0.6989284384920412</c:v>
                </c:pt>
                <c:pt idx="10">
                  <c:v>0.721086369348953</c:v>
                </c:pt>
                <c:pt idx="11">
                  <c:v>0.7291036609971637</c:v>
                </c:pt>
                <c:pt idx="12">
                  <c:v>0.6696651077161577</c:v>
                </c:pt>
                <c:pt idx="13">
                  <c:v>0.5815979400620894</c:v>
                </c:pt>
                <c:pt idx="14">
                  <c:v>0.5867555960642734</c:v>
                </c:pt>
                <c:pt idx="15">
                  <c:v>0.5994301305576156</c:v>
                </c:pt>
                <c:pt idx="16">
                  <c:v>0.6050601259624225</c:v>
                </c:pt>
                <c:pt idx="17">
                  <c:v>0.46294145268706133</c:v>
                </c:pt>
                <c:pt idx="18">
                  <c:v>0.5951455360045427</c:v>
                </c:pt>
                <c:pt idx="19">
                  <c:v>0.7013892465521328</c:v>
                </c:pt>
                <c:pt idx="20">
                  <c:v>0.6309129565761962</c:v>
                </c:pt>
                <c:pt idx="21">
                  <c:v>0.49515642818881894</c:v>
                </c:pt>
                <c:pt idx="22">
                  <c:v>0.5547066490566577</c:v>
                </c:pt>
                <c:pt idx="23">
                  <c:v>0.42413749486509045</c:v>
                </c:pt>
                <c:pt idx="24">
                  <c:v>0.5434056843913441</c:v>
                </c:pt>
                <c:pt idx="25">
                  <c:v>0.5019971532448385</c:v>
                </c:pt>
                <c:pt idx="26">
                  <c:v>0.5152332479281841</c:v>
                </c:pt>
                <c:pt idx="27">
                  <c:v>0.4790986180093562</c:v>
                </c:pt>
                <c:pt idx="28">
                  <c:v>0.5061954867846511</c:v>
                </c:pt>
                <c:pt idx="29">
                  <c:v>0.4781669436295672</c:v>
                </c:pt>
                <c:pt idx="30">
                  <c:v>0.45433566705084494</c:v>
                </c:pt>
                <c:pt idx="31">
                  <c:v>0.5014668045697296</c:v>
                </c:pt>
                <c:pt idx="32">
                  <c:v>0.5478687605621625</c:v>
                </c:pt>
                <c:pt idx="33">
                  <c:v>0.5735765212768106</c:v>
                </c:pt>
                <c:pt idx="34">
                  <c:v>0.6365441167855845</c:v>
                </c:pt>
                <c:pt idx="35">
                  <c:v>0.5609177372852707</c:v>
                </c:pt>
                <c:pt idx="36">
                  <c:v>0.50350663844043</c:v>
                </c:pt>
                <c:pt idx="37">
                  <c:v>0.512509536014409</c:v>
                </c:pt>
                <c:pt idx="38">
                  <c:v>0.4544445107700062</c:v>
                </c:pt>
                <c:pt idx="39">
                  <c:v>0.44554847249849994</c:v>
                </c:pt>
                <c:pt idx="40">
                  <c:v>0.42720577506219837</c:v>
                </c:pt>
                <c:pt idx="41">
                  <c:v>0.4763191665412451</c:v>
                </c:pt>
                <c:pt idx="42">
                  <c:v>0.44602026046132925</c:v>
                </c:pt>
                <c:pt idx="43">
                  <c:v>0.49985407692896844</c:v>
                </c:pt>
                <c:pt idx="44">
                  <c:v>0.6034270706537154</c:v>
                </c:pt>
                <c:pt idx="45">
                  <c:v>0.6566373604755394</c:v>
                </c:pt>
                <c:pt idx="46">
                  <c:v>0.6476621232758639</c:v>
                </c:pt>
                <c:pt idx="47">
                  <c:v>0.5954714162817111</c:v>
                </c:pt>
                <c:pt idx="48">
                  <c:v>0.5712672497299053</c:v>
                </c:pt>
                <c:pt idx="49">
                  <c:v>0.6436552557937756</c:v>
                </c:pt>
                <c:pt idx="50">
                  <c:v>0.7478186799878787</c:v>
                </c:pt>
                <c:pt idx="51">
                  <c:v>0.723015997117279</c:v>
                </c:pt>
              </c:numCache>
            </c:numRef>
          </c:xVal>
          <c:yVal>
            <c:numRef>
              <c:f>Sheet1!$B$109:$B$160</c:f>
              <c:numCache>
                <c:formatCode>General</c:formatCode>
                <c:ptCount val="52"/>
                <c:pt idx="0">
                  <c:v>0.001584105249026715</c:v>
                </c:pt>
                <c:pt idx="1">
                  <c:v>0.0019018962189167707</c:v>
                </c:pt>
                <c:pt idx="2">
                  <c:v>0.0017252315108461245</c:v>
                </c:pt>
                <c:pt idx="3">
                  <c:v>0.0018388925780252338</c:v>
                </c:pt>
                <c:pt idx="4">
                  <c:v>0.0018283473329976947</c:v>
                </c:pt>
                <c:pt idx="5">
                  <c:v>0.0015981248668229277</c:v>
                </c:pt>
                <c:pt idx="6">
                  <c:v>0.001727591387080621</c:v>
                </c:pt>
                <c:pt idx="7">
                  <c:v>0.001988616882671604</c:v>
                </c:pt>
                <c:pt idx="8">
                  <c:v>0.0023902894491129784</c:v>
                </c:pt>
                <c:pt idx="9">
                  <c:v>0.0025030859964339596</c:v>
                </c:pt>
                <c:pt idx="10">
                  <c:v>0.0024047171986691703</c:v>
                </c:pt>
                <c:pt idx="11">
                  <c:v>0.002437703141928494</c:v>
                </c:pt>
                <c:pt idx="12">
                  <c:v>0.0025193147463889822</c:v>
                </c:pt>
                <c:pt idx="13">
                  <c:v>0.00362350603430642</c:v>
                </c:pt>
                <c:pt idx="14">
                  <c:v>0.0035926222935044106</c:v>
                </c:pt>
                <c:pt idx="15">
                  <c:v>0.003384731101918014</c:v>
                </c:pt>
                <c:pt idx="16">
                  <c:v>0.003315440479949479</c:v>
                </c:pt>
                <c:pt idx="17">
                  <c:v>0.004196149415830179</c:v>
                </c:pt>
                <c:pt idx="18">
                  <c:v>0.0023051866700075168</c:v>
                </c:pt>
                <c:pt idx="19">
                  <c:v>0.0020429009193054137</c:v>
                </c:pt>
                <c:pt idx="20">
                  <c:v>0.0024135983156164946</c:v>
                </c:pt>
                <c:pt idx="21">
                  <c:v>0.0034424485197471367</c:v>
                </c:pt>
                <c:pt idx="22">
                  <c:v>0.0028484735896959564</c:v>
                </c:pt>
                <c:pt idx="23">
                  <c:v>0.002840371141829199</c:v>
                </c:pt>
                <c:pt idx="24">
                  <c:v>0.002563206338110218</c:v>
                </c:pt>
                <c:pt idx="25">
                  <c:v>0.0027585361368233923</c:v>
                </c:pt>
                <c:pt idx="26">
                  <c:v>0.0029573789504204117</c:v>
                </c:pt>
                <c:pt idx="27">
                  <c:v>0.003011252575413387</c:v>
                </c:pt>
                <c:pt idx="28">
                  <c:v>0.0024739521385413197</c:v>
                </c:pt>
                <c:pt idx="29">
                  <c:v>0.0028094719339487413</c:v>
                </c:pt>
                <c:pt idx="30">
                  <c:v>0.002736303610731069</c:v>
                </c:pt>
                <c:pt idx="31">
                  <c:v>0.0027715114405414115</c:v>
                </c:pt>
                <c:pt idx="32">
                  <c:v>0.002372479240806643</c:v>
                </c:pt>
                <c:pt idx="33">
                  <c:v>0.0023216147067184685</c:v>
                </c:pt>
                <c:pt idx="34">
                  <c:v>0.002155973533566278</c:v>
                </c:pt>
                <c:pt idx="35">
                  <c:v>0.0026371072274616724</c:v>
                </c:pt>
                <c:pt idx="36">
                  <c:v>0.003277545327754533</c:v>
                </c:pt>
                <c:pt idx="37">
                  <c:v>0.0032453348311801784</c:v>
                </c:pt>
                <c:pt idx="38">
                  <c:v>0.003769896676905892</c:v>
                </c:pt>
                <c:pt idx="39">
                  <c:v>0.0035453704655225566</c:v>
                </c:pt>
                <c:pt idx="40">
                  <c:v>0.0033313444709626096</c:v>
                </c:pt>
                <c:pt idx="41">
                  <c:v>0.002726076330137244</c:v>
                </c:pt>
                <c:pt idx="42">
                  <c:v>0.0031198773200782613</c:v>
                </c:pt>
                <c:pt idx="43">
                  <c:v>0.002271152513665409</c:v>
                </c:pt>
                <c:pt idx="44">
                  <c:v>0.001677427522471199</c:v>
                </c:pt>
                <c:pt idx="45">
                  <c:v>0.0014116183366829362</c:v>
                </c:pt>
                <c:pt idx="46">
                  <c:v>0.0014616112114177629</c:v>
                </c:pt>
                <c:pt idx="47">
                  <c:v>0.0014503652771809196</c:v>
                </c:pt>
                <c:pt idx="48">
                  <c:v>0.0016162704559229578</c:v>
                </c:pt>
                <c:pt idx="49">
                  <c:v>0.0014269697278564877</c:v>
                </c:pt>
                <c:pt idx="50">
                  <c:v>0.0012049823991334958</c:v>
                </c:pt>
                <c:pt idx="51">
                  <c:v>0.001439629944302841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981074627061622</c:v>
                </c:pt>
              </c:numCache>
            </c:numRef>
          </c:xVal>
          <c:yVal>
            <c:numRef>
              <c:f>Sheet1!$B$163:$B$164</c:f>
              <c:numCache>
                <c:formatCode>General</c:formatCode>
                <c:ptCount val="2"/>
                <c:pt idx="0">
                  <c:v>0.0029370311410465903</c:v>
                </c:pt>
                <c:pt idx="1">
                  <c:v>0.002937031141046590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981074627061622</c:v>
                </c:pt>
                <c:pt idx="1">
                  <c:v>0.4981074627061622</c:v>
                </c:pt>
              </c:numCache>
            </c:numRef>
          </c:xVal>
          <c:yVal>
            <c:numRef>
              <c:f>Sheet1!$B$167:$B$168</c:f>
              <c:numCache>
                <c:formatCode>General</c:formatCode>
                <c:ptCount val="2"/>
                <c:pt idx="0">
                  <c:v>0.002937031141046590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981074627061622</c:v>
                </c:pt>
              </c:numCache>
            </c:numRef>
          </c:xVal>
          <c:yVal>
            <c:numRef>
              <c:f>Sheet1!$B$171:$B$172</c:f>
              <c:numCache>
                <c:formatCode>General</c:formatCode>
                <c:ptCount val="2"/>
                <c:pt idx="0">
                  <c:v>0.0029370311410465903</c:v>
                </c:pt>
                <c:pt idx="1">
                  <c:v>0.002937031141046590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981074627061622</c:v>
                </c:pt>
                <c:pt idx="1">
                  <c:v>0.4981074627061622</c:v>
                </c:pt>
              </c:numCache>
            </c:numRef>
          </c:xVal>
          <c:yVal>
            <c:numRef>
              <c:f>Sheet1!$B$175:$B$176</c:f>
              <c:numCache>
                <c:formatCode>General</c:formatCode>
                <c:ptCount val="2"/>
                <c:pt idx="0">
                  <c:v>0.002937031141046590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876433657680266</c:v>
                </c:pt>
              </c:numCache>
            </c:numRef>
          </c:xVal>
          <c:yVal>
            <c:numRef>
              <c:f>Sheet1!$B$179:$B$180</c:f>
              <c:numCache>
                <c:formatCode>General</c:formatCode>
                <c:ptCount val="2"/>
                <c:pt idx="0">
                  <c:v>0.0020525150750257447</c:v>
                </c:pt>
                <c:pt idx="1">
                  <c:v>0.002052515075025744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876433657680266</c:v>
                </c:pt>
                <c:pt idx="1">
                  <c:v>0.6876433657680266</c:v>
                </c:pt>
              </c:numCache>
            </c:numRef>
          </c:xVal>
          <c:yVal>
            <c:numRef>
              <c:f>Sheet1!$B$183:$B$184</c:f>
              <c:numCache>
                <c:formatCode>General</c:formatCode>
                <c:ptCount val="2"/>
                <c:pt idx="0">
                  <c:v>0.00205251507502574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718938076491056</c:v>
                </c:pt>
                <c:pt idx="1">
                  <c:v>0.6612642460649361</c:v>
                </c:pt>
                <c:pt idx="2">
                  <c:v>0.7648028119147305</c:v>
                </c:pt>
                <c:pt idx="3">
                  <c:v>0.6726884884052126</c:v>
                </c:pt>
                <c:pt idx="4">
                  <c:v>0.7573826445672042</c:v>
                </c:pt>
                <c:pt idx="5">
                  <c:v>0.8235296812947596</c:v>
                </c:pt>
                <c:pt idx="6">
                  <c:v>0.7827845698488042</c:v>
                </c:pt>
                <c:pt idx="7">
                  <c:v>0.7323505806636011</c:v>
                </c:pt>
                <c:pt idx="8">
                  <c:v>0.7101908288896149</c:v>
                </c:pt>
                <c:pt idx="9">
                  <c:v>0.6989284384920412</c:v>
                </c:pt>
                <c:pt idx="10">
                  <c:v>0.721086369348953</c:v>
                </c:pt>
                <c:pt idx="11">
                  <c:v>0.7291036609971637</c:v>
                </c:pt>
                <c:pt idx="12">
                  <c:v>0.6696651077161577</c:v>
                </c:pt>
                <c:pt idx="13">
                  <c:v>0.5815979400620894</c:v>
                </c:pt>
                <c:pt idx="14">
                  <c:v>0.5867555960642734</c:v>
                </c:pt>
                <c:pt idx="15">
                  <c:v>0.5994301305576156</c:v>
                </c:pt>
                <c:pt idx="16">
                  <c:v>0.6050601259624225</c:v>
                </c:pt>
                <c:pt idx="17">
                  <c:v>0.46294145268706133</c:v>
                </c:pt>
                <c:pt idx="18">
                  <c:v>0.5951455360045427</c:v>
                </c:pt>
                <c:pt idx="19">
                  <c:v>0.7013892465521328</c:v>
                </c:pt>
                <c:pt idx="20">
                  <c:v>0.6309129565761962</c:v>
                </c:pt>
                <c:pt idx="21">
                  <c:v>0.49515642818881894</c:v>
                </c:pt>
                <c:pt idx="22">
                  <c:v>0.5547066490566577</c:v>
                </c:pt>
                <c:pt idx="23">
                  <c:v>0.42413749486509045</c:v>
                </c:pt>
                <c:pt idx="24">
                  <c:v>0.5434056843913441</c:v>
                </c:pt>
                <c:pt idx="25">
                  <c:v>0.5019971532448385</c:v>
                </c:pt>
                <c:pt idx="26">
                  <c:v>0.5152332479281841</c:v>
                </c:pt>
                <c:pt idx="27">
                  <c:v>0.4790986180093562</c:v>
                </c:pt>
                <c:pt idx="28">
                  <c:v>0.5061954867846511</c:v>
                </c:pt>
                <c:pt idx="29">
                  <c:v>0.4781669436295672</c:v>
                </c:pt>
                <c:pt idx="30">
                  <c:v>0.45433566705084494</c:v>
                </c:pt>
                <c:pt idx="31">
                  <c:v>0.5014668045697296</c:v>
                </c:pt>
                <c:pt idx="32">
                  <c:v>0.5478687605621625</c:v>
                </c:pt>
                <c:pt idx="33">
                  <c:v>0.5735765212768106</c:v>
                </c:pt>
                <c:pt idx="34">
                  <c:v>0.6365441167855845</c:v>
                </c:pt>
                <c:pt idx="35">
                  <c:v>0.5609177372852707</c:v>
                </c:pt>
                <c:pt idx="36">
                  <c:v>0.50350663844043</c:v>
                </c:pt>
                <c:pt idx="37">
                  <c:v>0.512509536014409</c:v>
                </c:pt>
                <c:pt idx="38">
                  <c:v>0.4544445107700062</c:v>
                </c:pt>
                <c:pt idx="39">
                  <c:v>0.44554847249849994</c:v>
                </c:pt>
                <c:pt idx="40">
                  <c:v>0.42720577506219837</c:v>
                </c:pt>
                <c:pt idx="41">
                  <c:v>0.4763191665412451</c:v>
                </c:pt>
                <c:pt idx="42">
                  <c:v>0.44602026046132925</c:v>
                </c:pt>
                <c:pt idx="43">
                  <c:v>0.49985407692896844</c:v>
                </c:pt>
                <c:pt idx="44">
                  <c:v>0.6034270706537154</c:v>
                </c:pt>
                <c:pt idx="45">
                  <c:v>0.6566373604755394</c:v>
                </c:pt>
                <c:pt idx="46">
                  <c:v>0.6476621232758639</c:v>
                </c:pt>
                <c:pt idx="47">
                  <c:v>0.5954714162817111</c:v>
                </c:pt>
                <c:pt idx="48">
                  <c:v>0.5712672497299053</c:v>
                </c:pt>
                <c:pt idx="49">
                  <c:v>0.6436552557937756</c:v>
                </c:pt>
                <c:pt idx="50">
                  <c:v>0.7478186799878787</c:v>
                </c:pt>
                <c:pt idx="51">
                  <c:v>0.723015997117279</c:v>
                </c:pt>
                <c:pt idx="52">
                  <c:v>0.4981074627061622</c:v>
                </c:pt>
                <c:pt idx="53">
                  <c:v>0.4981074627061622</c:v>
                </c:pt>
                <c:pt idx="54">
                  <c:v>0.6876433657680266</c:v>
                </c:pt>
              </c:numCache>
            </c:numRef>
          </c:xVal>
          <c:yVal>
            <c:numRef>
              <c:f>Sheet1!$B$187:$B$241</c:f>
              <c:numCache>
                <c:formatCode>General</c:formatCode>
                <c:ptCount val="55"/>
                <c:pt idx="0">
                  <c:v>0.0016593395963469307</c:v>
                </c:pt>
                <c:pt idx="1">
                  <c:v>0.002175619747058541</c:v>
                </c:pt>
                <c:pt idx="2">
                  <c:v>0.0016924314778839758</c:v>
                </c:pt>
                <c:pt idx="3">
                  <c:v>0.0021223057008601704</c:v>
                </c:pt>
                <c:pt idx="4">
                  <c:v>0.0017270595199879992</c:v>
                </c:pt>
                <c:pt idx="5">
                  <c:v>0.0014183680490844805</c:v>
                </c:pt>
                <c:pt idx="6">
                  <c:v>0.0016085151668788016</c:v>
                </c:pt>
                <c:pt idx="7">
                  <c:v>0.0018438778237009927</c:v>
                </c:pt>
                <c:pt idx="8">
                  <c:v>0.0019472917740211444</c:v>
                </c:pt>
                <c:pt idx="9">
                  <c:v>0.0019998504981864613</c:v>
                </c:pt>
                <c:pt idx="10">
                  <c:v>0.0018964450456252107</c:v>
                </c:pt>
                <c:pt idx="11">
                  <c:v>0.0018590303756114636</c:v>
                </c:pt>
                <c:pt idx="12">
                  <c:v>0.0021364150529668965</c:v>
                </c:pt>
                <c:pt idx="13">
                  <c:v>0.002547402224371299</c:v>
                </c:pt>
                <c:pt idx="14">
                  <c:v>0.002523332749811371</c:v>
                </c:pt>
                <c:pt idx="15">
                  <c:v>0.0024641839067289215</c:v>
                </c:pt>
                <c:pt idx="16">
                  <c:v>0.00243791014378096</c:v>
                </c:pt>
                <c:pt idx="17">
                  <c:v>0.0031011420052008717</c:v>
                </c:pt>
                <c:pt idx="18">
                  <c:v>0.0024841790245791868</c:v>
                </c:pt>
                <c:pt idx="19">
                  <c:v>0.0019883665300865806</c:v>
                </c:pt>
                <c:pt idx="20">
                  <c:v>0.0023172615296630614</c:v>
                </c:pt>
                <c:pt idx="21">
                  <c:v>0.0029508028718891644</c:v>
                </c:pt>
                <c:pt idx="22">
                  <c:v>0.0026728970701820295</c:v>
                </c:pt>
                <c:pt idx="23">
                  <c:v>0.003282230250563681</c:v>
                </c:pt>
                <c:pt idx="24">
                  <c:v>0.002725635810687258</c:v>
                </c:pt>
                <c:pt idx="25">
                  <c:v>0.002918878940235404</c:v>
                </c:pt>
                <c:pt idx="26">
                  <c:v>0.002857109437942369</c:v>
                </c:pt>
                <c:pt idx="27">
                  <c:v>0.003025740605898387</c:v>
                </c:pt>
                <c:pt idx="28">
                  <c:v>0.0028992863806913353</c:v>
                </c:pt>
                <c:pt idx="29">
                  <c:v>0.0030300884943137785</c:v>
                </c:pt>
                <c:pt idx="30">
                  <c:v>0.0031413030276404054</c:v>
                </c:pt>
                <c:pt idx="31">
                  <c:v>0.0029213539432092397</c:v>
                </c:pt>
                <c:pt idx="32">
                  <c:v>0.0027048077643214187</c:v>
                </c:pt>
                <c:pt idx="33">
                  <c:v>0.0025848361546886847</c:v>
                </c:pt>
                <c:pt idx="34">
                  <c:v>0.0022909823308670655</c:v>
                </c:pt>
                <c:pt idx="35">
                  <c:v>0.002643911494167505</c:v>
                </c:pt>
                <c:pt idx="36">
                  <c:v>0.0029118345550537455</c:v>
                </c:pt>
                <c:pt idx="37">
                  <c:v>0.002869820311755866</c:v>
                </c:pt>
                <c:pt idx="38">
                  <c:v>0.0031407950815640776</c:v>
                </c:pt>
                <c:pt idx="39">
                  <c:v>0.003182310639555828</c:v>
                </c:pt>
                <c:pt idx="40">
                  <c:v>0.0032679113638221556</c:v>
                </c:pt>
                <c:pt idx="41">
                  <c:v>0.003038711602097809</c:v>
                </c:pt>
                <c:pt idx="42">
                  <c:v>0.0031801089245976776</c:v>
                </c:pt>
                <c:pt idx="43">
                  <c:v>0.0029288801347398413</c:v>
                </c:pt>
                <c:pt idx="44">
                  <c:v>0.00244553119939057</c:v>
                </c:pt>
                <c:pt idx="45">
                  <c:v>0.0021972122505016793</c:v>
                </c:pt>
                <c:pt idx="46">
                  <c:v>0.0022390974098367407</c:v>
                </c:pt>
                <c:pt idx="47">
                  <c:v>0.0024826582238438206</c:v>
                </c:pt>
                <c:pt idx="48">
                  <c:v>0.0025956129402530314</c:v>
                </c:pt>
                <c:pt idx="49">
                  <c:v>0.002257796445771726</c:v>
                </c:pt>
                <c:pt idx="50">
                  <c:v>0.0017716921209285533</c:v>
                </c:pt>
                <c:pt idx="51">
                  <c:v>0.0018874399614435223</c:v>
                </c:pt>
                <c:pt idx="52">
                  <c:v>0.0029370311410465903</c:v>
                </c:pt>
                <c:pt idx="53">
                  <c:v>0.0029370311410465903</c:v>
                </c:pt>
                <c:pt idx="54">
                  <c:v>0.00205251507502574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35379298996214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56.3077</c:v>
                </c:pt>
                <c:pt idx="1">
                  <c:v>6230.0</c:v>
                </c:pt>
                <c:pt idx="2">
                  <c:v>6349.3333</c:v>
                </c:pt>
                <c:pt idx="3">
                  <c:v>5043.3333</c:v>
                </c:pt>
                <c:pt idx="4">
                  <c:v>5971.5</c:v>
                </c:pt>
                <c:pt idx="5">
                  <c:v>7694.0</c:v>
                </c:pt>
                <c:pt idx="6">
                  <c:v>5895.0</c:v>
                </c:pt>
                <c:pt idx="7">
                  <c:v>4277.0</c:v>
                </c:pt>
                <c:pt idx="8">
                  <c:v>7050.6667</c:v>
                </c:pt>
                <c:pt idx="9">
                  <c:v>5817.6</c:v>
                </c:pt>
                <c:pt idx="10">
                  <c:v>5290.25</c:v>
                </c:pt>
                <c:pt idx="11">
                  <c:v>4469.2857</c:v>
                </c:pt>
                <c:pt idx="12">
                  <c:v>7055.8</c:v>
                </c:pt>
                <c:pt idx="13">
                  <c:v>5252.6667</c:v>
                </c:pt>
                <c:pt idx="14">
                  <c:v>0.0</c:v>
                </c:pt>
                <c:pt idx="15">
                  <c:v>3753.0</c:v>
                </c:pt>
                <c:pt idx="16">
                  <c:v>2170.25</c:v>
                </c:pt>
                <c:pt idx="17">
                  <c:v>6580.0</c:v>
                </c:pt>
                <c:pt idx="18">
                  <c:v>0.0</c:v>
                </c:pt>
                <c:pt idx="19">
                  <c:v>3807.0</c:v>
                </c:pt>
                <c:pt idx="20">
                  <c:v>5072.3333</c:v>
                </c:pt>
                <c:pt idx="21">
                  <c:v>6718.0</c:v>
                </c:pt>
                <c:pt idx="22">
                  <c:v>5462.25</c:v>
                </c:pt>
                <c:pt idx="23">
                  <c:v>6538.6667</c:v>
                </c:pt>
                <c:pt idx="24">
                  <c:v>6316.5</c:v>
                </c:pt>
                <c:pt idx="25">
                  <c:v>4606.0</c:v>
                </c:pt>
                <c:pt idx="26">
                  <c:v>6402.0</c:v>
                </c:pt>
                <c:pt idx="27">
                  <c:v>15524.0</c:v>
                </c:pt>
                <c:pt idx="28">
                  <c:v>3345.4</c:v>
                </c:pt>
                <c:pt idx="29">
                  <c:v>7017.0</c:v>
                </c:pt>
                <c:pt idx="30">
                  <c:v>3873.25</c:v>
                </c:pt>
                <c:pt idx="31">
                  <c:v>5011.5</c:v>
                </c:pt>
                <c:pt idx="32">
                  <c:v>8655.5</c:v>
                </c:pt>
                <c:pt idx="33">
                  <c:v>3845.7778</c:v>
                </c:pt>
                <c:pt idx="34">
                  <c:v>3505.4167</c:v>
                </c:pt>
                <c:pt idx="35">
                  <c:v>3707.5</c:v>
                </c:pt>
                <c:pt idx="36">
                  <c:v>6482.5</c:v>
                </c:pt>
                <c:pt idx="37">
                  <c:v>4574.0</c:v>
                </c:pt>
                <c:pt idx="38">
                  <c:v>7663.0</c:v>
                </c:pt>
                <c:pt idx="39">
                  <c:v>5600.75</c:v>
                </c:pt>
                <c:pt idx="40">
                  <c:v>8541.5</c:v>
                </c:pt>
                <c:pt idx="41">
                  <c:v>5335.6667</c:v>
                </c:pt>
                <c:pt idx="42">
                  <c:v>10645.0</c:v>
                </c:pt>
                <c:pt idx="43">
                  <c:v>7240.0</c:v>
                </c:pt>
                <c:pt idx="44">
                  <c:v>4505.0</c:v>
                </c:pt>
                <c:pt idx="45">
                  <c:v>4392.2</c:v>
                </c:pt>
                <c:pt idx="46">
                  <c:v>4084.1818</c:v>
                </c:pt>
                <c:pt idx="47">
                  <c:v>3419.4286</c:v>
                </c:pt>
                <c:pt idx="48">
                  <c:v>4401.9</c:v>
                </c:pt>
                <c:pt idx="49">
                  <c:v>3402.25</c:v>
                </c:pt>
                <c:pt idx="50">
                  <c:v>4337.6</c:v>
                </c:pt>
                <c:pt idx="51">
                  <c:v>4108.2</c:v>
                </c:pt>
                <c:pt idx="52">
                  <c:v>4801.75</c:v>
                </c:pt>
                <c:pt idx="53">
                  <c:v>3999.4</c:v>
                </c:pt>
                <c:pt idx="54">
                  <c:v>4201.4444</c:v>
                </c:pt>
                <c:pt idx="55">
                  <c:v>4984.2</c:v>
                </c:pt>
                <c:pt idx="56">
                  <c:v>10395.0</c:v>
                </c:pt>
                <c:pt idx="57">
                  <c:v>4042.75</c:v>
                </c:pt>
                <c:pt idx="58">
                  <c:v>4289.0</c:v>
                </c:pt>
                <c:pt idx="59">
                  <c:v>3433.0</c:v>
                </c:pt>
                <c:pt idx="60">
                  <c:v>3007.3571</c:v>
                </c:pt>
                <c:pt idx="61">
                  <c:v>2989.9286</c:v>
                </c:pt>
                <c:pt idx="62">
                  <c:v>3040.0833</c:v>
                </c:pt>
                <c:pt idx="63">
                  <c:v>2470.9444</c:v>
                </c:pt>
                <c:pt idx="64">
                  <c:v>2609.3158</c:v>
                </c:pt>
                <c:pt idx="65">
                  <c:v>2489.9333</c:v>
                </c:pt>
                <c:pt idx="66">
                  <c:v>2358.7273</c:v>
                </c:pt>
                <c:pt idx="67">
                  <c:v>3155.3333</c:v>
                </c:pt>
                <c:pt idx="68">
                  <c:v>2346.9231</c:v>
                </c:pt>
                <c:pt idx="69">
                  <c:v>2135.0</c:v>
                </c:pt>
                <c:pt idx="70">
                  <c:v>2302.5</c:v>
                </c:pt>
                <c:pt idx="71">
                  <c:v>1857.8</c:v>
                </c:pt>
                <c:pt idx="72">
                  <c:v>2952.3636</c:v>
                </c:pt>
                <c:pt idx="73">
                  <c:v>2025.9474</c:v>
                </c:pt>
                <c:pt idx="74">
                  <c:v>2531.4762</c:v>
                </c:pt>
                <c:pt idx="75">
                  <c:v>3962.4444</c:v>
                </c:pt>
                <c:pt idx="76">
                  <c:v>3882.0</c:v>
                </c:pt>
                <c:pt idx="77">
                  <c:v>4467.6957</c:v>
                </c:pt>
                <c:pt idx="78">
                  <c:v>3018.5429</c:v>
                </c:pt>
                <c:pt idx="79">
                  <c:v>4773.4</c:v>
                </c:pt>
                <c:pt idx="80">
                  <c:v>4299.5</c:v>
                </c:pt>
                <c:pt idx="81">
                  <c:v>3470.475</c:v>
                </c:pt>
                <c:pt idx="82">
                  <c:v>4188.0</c:v>
                </c:pt>
                <c:pt idx="83">
                  <c:v>4291.4286</c:v>
                </c:pt>
                <c:pt idx="84">
                  <c:v>4199.35</c:v>
                </c:pt>
                <c:pt idx="85">
                  <c:v>3644.0476</c:v>
                </c:pt>
                <c:pt idx="86">
                  <c:v>4846.4231</c:v>
                </c:pt>
                <c:pt idx="87">
                  <c:v>4906.68</c:v>
                </c:pt>
                <c:pt idx="88">
                  <c:v>4199.0333</c:v>
                </c:pt>
                <c:pt idx="89">
                  <c:v>3929.7353</c:v>
                </c:pt>
                <c:pt idx="90">
                  <c:v>4177.2903</c:v>
                </c:pt>
                <c:pt idx="91">
                  <c:v>3942.625</c:v>
                </c:pt>
                <c:pt idx="92">
                  <c:v>4270.3235</c:v>
                </c:pt>
                <c:pt idx="93">
                  <c:v>4332.2286</c:v>
                </c:pt>
                <c:pt idx="94">
                  <c:v>5011.5517</c:v>
                </c:pt>
                <c:pt idx="95">
                  <c:v>4381.1064</c:v>
                </c:pt>
                <c:pt idx="96">
                  <c:v>3358.3295</c:v>
                </c:pt>
                <c:pt idx="97">
                  <c:v>3539.0348</c:v>
                </c:pt>
                <c:pt idx="98">
                  <c:v>3390.072</c:v>
                </c:pt>
                <c:pt idx="99">
                  <c:v>3491.0956</c:v>
                </c:pt>
                <c:pt idx="100">
                  <c:v>3928.0486</c:v>
                </c:pt>
                <c:pt idx="101">
                  <c:v>3765.3274</c:v>
                </c:pt>
                <c:pt idx="102">
                  <c:v>3902.8667</c:v>
                </c:pt>
                <c:pt idx="103">
                  <c:v>3989.4744</c:v>
                </c:pt>
                <c:pt idx="104">
                  <c:v>4479.7</c:v>
                </c:pt>
              </c:numCache>
            </c:numRef>
          </c:xVal>
          <c:yVal>
            <c:numRef>
              <c:f>Sheet1!$B$2:$B$106</c:f>
              <c:numCache>
                <c:formatCode>General</c:formatCode>
                <c:ptCount val="105"/>
                <c:pt idx="0">
                  <c:v>0.0003580478131541258</c:v>
                </c:pt>
                <c:pt idx="1">
                  <c:v>8.968609865470852e-05</c:v>
                </c:pt>
                <c:pt idx="2">
                  <c:v>8.448800270361608e-05</c:v>
                </c:pt>
                <c:pt idx="3">
                  <c:v>8.956560680698612e-05</c:v>
                </c:pt>
                <c:pt idx="4">
                  <c:v>7.059155724975294e-05</c:v>
                </c:pt>
                <c:pt idx="5">
                  <c:v>0.00010866415531729933</c:v>
                </c:pt>
                <c:pt idx="6">
                  <c:v>0.00020990764063811922</c:v>
                </c:pt>
                <c:pt idx="7">
                  <c:v>0.0002427577277876679</c:v>
                </c:pt>
                <c:pt idx="8">
                  <c:v>0.00012605571662674902</c:v>
                </c:pt>
                <c:pt idx="9">
                  <c:v>0.0001576739932515531</c:v>
                </c:pt>
                <c:pt idx="10">
                  <c:v>0.00012233912405187178</c:v>
                </c:pt>
                <c:pt idx="11">
                  <c:v>0.00021624961383997528</c:v>
                </c:pt>
                <c:pt idx="12">
                  <c:v>0.0001422556048708319</c:v>
                </c:pt>
                <c:pt idx="13">
                  <c:v>0.00017932394871335067</c:v>
                </c:pt>
                <c:pt idx="14">
                  <c:v>0.0</c:v>
                </c:pt>
                <c:pt idx="15">
                  <c:v>0.00017827218597354442</c:v>
                </c:pt>
                <c:pt idx="16">
                  <c:v>0.00016287971333170455</c:v>
                </c:pt>
                <c:pt idx="17">
                  <c:v>8.955758552749418e-05</c:v>
                </c:pt>
                <c:pt idx="18">
                  <c:v>0.0</c:v>
                </c:pt>
                <c:pt idx="19">
                  <c:v>0.00017497812773403323</c:v>
                </c:pt>
                <c:pt idx="20">
                  <c:v>0.0001436850423870875</c:v>
                </c:pt>
                <c:pt idx="21">
                  <c:v>5.938947618482005e-05</c:v>
                </c:pt>
                <c:pt idx="22">
                  <c:v>0.0002357795461243737</c:v>
                </c:pt>
                <c:pt idx="23">
                  <c:v>0.00018617351371478217</c:v>
                </c:pt>
                <c:pt idx="24">
                  <c:v>0.00022766078542970974</c:v>
                </c:pt>
                <c:pt idx="25">
                  <c:v>0.00038897893030794163</c:v>
                </c:pt>
                <c:pt idx="26">
                  <c:v>0.0002871582816448426</c:v>
                </c:pt>
                <c:pt idx="27">
                  <c:v>5.5781781670106545e-05</c:v>
                </c:pt>
                <c:pt idx="28">
                  <c:v>0.00028376844494892167</c:v>
                </c:pt>
                <c:pt idx="29">
                  <c:v>0.00019717060186326217</c:v>
                </c:pt>
                <c:pt idx="30">
                  <c:v>0.0002540489044140997</c:v>
                </c:pt>
                <c:pt idx="31">
                  <c:v>0.00024515812699190976</c:v>
                </c:pt>
                <c:pt idx="32">
                  <c:v>0.00012088244182532487</c:v>
                </c:pt>
                <c:pt idx="33">
                  <c:v>0.0004301486402523539</c:v>
                </c:pt>
                <c:pt idx="34">
                  <c:v>0.0005119453924914676</c:v>
                </c:pt>
                <c:pt idx="35">
                  <c:v>0.0005358851674641148</c:v>
                </c:pt>
                <c:pt idx="36">
                  <c:v>0.0001835451750562107</c:v>
                </c:pt>
                <c:pt idx="37">
                  <c:v>0.0002117634602149399</c:v>
                </c:pt>
                <c:pt idx="38">
                  <c:v>0.00010658140154543032</c:v>
                </c:pt>
                <c:pt idx="39">
                  <c:v>0.00022478224220286598</c:v>
                </c:pt>
                <c:pt idx="40">
                  <c:v>9.148293843198243e-05</c:v>
                </c:pt>
                <c:pt idx="41">
                  <c:v>0.00015227653418608191</c:v>
                </c:pt>
                <c:pt idx="42">
                  <c:v>4.338771259979174e-05</c:v>
                </c:pt>
                <c:pt idx="43">
                  <c:v>0.00011588380716934487</c:v>
                </c:pt>
                <c:pt idx="44">
                  <c:v>0.0001552553951249806</c:v>
                </c:pt>
                <c:pt idx="45">
                  <c:v>0.00011769136616137841</c:v>
                </c:pt>
                <c:pt idx="46">
                  <c:v>0.00025193532133205076</c:v>
                </c:pt>
                <c:pt idx="47">
                  <c:v>0.00032806092560046864</c:v>
                </c:pt>
                <c:pt idx="48">
                  <c:v>0.00017046519952951605</c:v>
                </c:pt>
                <c:pt idx="49">
                  <c:v>0.00019105846388995032</c:v>
                </c:pt>
                <c:pt idx="50">
                  <c:v>0.0002257336343115124</c:v>
                </c:pt>
                <c:pt idx="51">
                  <c:v>0.0002758088093333701</c:v>
                </c:pt>
                <c:pt idx="52">
                  <c:v>9.292600766639563e-05</c:v>
                </c:pt>
                <c:pt idx="53">
                  <c:v>0.00014659317462178961</c:v>
                </c:pt>
                <c:pt idx="54">
                  <c:v>0.00028976175144880876</c:v>
                </c:pt>
                <c:pt idx="55">
                  <c:v>0.00016557387906483874</c:v>
                </c:pt>
                <c:pt idx="56">
                  <c:v>6.75789829363068e-05</c:v>
                </c:pt>
                <c:pt idx="57">
                  <c:v>0.00011549011115923199</c:v>
                </c:pt>
                <c:pt idx="58">
                  <c:v>0.0001065019436604718</c:v>
                </c:pt>
                <c:pt idx="59">
                  <c:v>0.00017264597216946927</c:v>
                </c:pt>
                <c:pt idx="60">
                  <c:v>0.0002658009151145792</c:v>
                </c:pt>
                <c:pt idx="61">
                  <c:v>0.00036557342803425946</c:v>
                </c:pt>
                <c:pt idx="62">
                  <c:v>0.0003044680689112729</c:v>
                </c:pt>
                <c:pt idx="63">
                  <c:v>0.0004142025450445268</c:v>
                </c:pt>
                <c:pt idx="64">
                  <c:v>0.0004272351142291779</c:v>
                </c:pt>
                <c:pt idx="65">
                  <c:v>0.00036707126076742367</c:v>
                </c:pt>
                <c:pt idx="66">
                  <c:v>0.0002800122187149985</c:v>
                </c:pt>
                <c:pt idx="67">
                  <c:v>0.00024030759371996156</c:v>
                </c:pt>
                <c:pt idx="68">
                  <c:v>0.00041124924867925723</c:v>
                </c:pt>
                <c:pt idx="69">
                  <c:v>0.00045595854922279795</c:v>
                </c:pt>
                <c:pt idx="70">
                  <c:v>0.0003940110323089047</c:v>
                </c:pt>
                <c:pt idx="71">
                  <c:v>0.0004268032437046522</c:v>
                </c:pt>
                <c:pt idx="72">
                  <c:v>0.00044458814970495513</c:v>
                </c:pt>
                <c:pt idx="73">
                  <c:v>0.0008129733430319627</c:v>
                </c:pt>
                <c:pt idx="74">
                  <c:v>0.0008604794099569761</c:v>
                </c:pt>
                <c:pt idx="75">
                  <c:v>0.0008656759486365604</c:v>
                </c:pt>
                <c:pt idx="76">
                  <c:v>0.001183431952662722</c:v>
                </c:pt>
                <c:pt idx="77">
                  <c:v>0.0012112275527937227</c:v>
                </c:pt>
                <c:pt idx="78">
                  <c:v>0.002056645904336585</c:v>
                </c:pt>
                <c:pt idx="79">
                  <c:v>0.001290922234844573</c:v>
                </c:pt>
                <c:pt idx="80">
                  <c:v>0.0012359666289010196</c:v>
                </c:pt>
                <c:pt idx="81">
                  <c:v>0.0017492456378186906</c:v>
                </c:pt>
                <c:pt idx="82">
                  <c:v>0.0014101985559566788</c:v>
                </c:pt>
                <c:pt idx="83">
                  <c:v>0.001380216891225764</c:v>
                </c:pt>
                <c:pt idx="84">
                  <c:v>0.0013312920189043466</c:v>
                </c:pt>
                <c:pt idx="85">
                  <c:v>0.0012235623142807202</c:v>
                </c:pt>
                <c:pt idx="86">
                  <c:v>0.0011437620974837233</c:v>
                </c:pt>
                <c:pt idx="87">
                  <c:v>0.001046156421308114</c:v>
                </c:pt>
                <c:pt idx="88">
                  <c:v>0.0015890672175433022</c:v>
                </c:pt>
                <c:pt idx="89">
                  <c:v>0.0019621421975992612</c:v>
                </c:pt>
                <c:pt idx="90">
                  <c:v>0.001836601694413176</c:v>
                </c:pt>
                <c:pt idx="91">
                  <c:v>0.00184003220056351</c:v>
                </c:pt>
                <c:pt idx="92">
                  <c:v>0.0015671813781977413</c:v>
                </c:pt>
                <c:pt idx="93">
                  <c:v>0.001546551190844417</c:v>
                </c:pt>
                <c:pt idx="94">
                  <c:v>0.0014558232931726907</c:v>
                </c:pt>
                <c:pt idx="95">
                  <c:v>0.0017315698338429798</c:v>
                </c:pt>
                <c:pt idx="96">
                  <c:v>0.002308560035677746</c:v>
                </c:pt>
                <c:pt idx="97">
                  <c:v>0.0026446509060803975</c:v>
                </c:pt>
                <c:pt idx="98">
                  <c:v>0.002492373337586984</c:v>
                </c:pt>
                <c:pt idx="99">
                  <c:v>0.0023547337073204517</c:v>
                </c:pt>
                <c:pt idx="100">
                  <c:v>0.001811252405569601</c:v>
                </c:pt>
                <c:pt idx="101">
                  <c:v>0.0024561479774816877</c:v>
                </c:pt>
                <c:pt idx="102">
                  <c:v>0.002028946300554579</c:v>
                </c:pt>
                <c:pt idx="103">
                  <c:v>0.001982513216754778</c:v>
                </c:pt>
                <c:pt idx="104">
                  <c:v>0.0014722770236447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109:$B$160</c:f>
              <c:numCache>
                <c:formatCode>General</c:formatCode>
                <c:ptCount val="52"/>
                <c:pt idx="0">
                  <c:v>0.001584105249026715</c:v>
                </c:pt>
                <c:pt idx="1">
                  <c:v>0.0019018962189167707</c:v>
                </c:pt>
                <c:pt idx="2">
                  <c:v>0.0017252315108461245</c:v>
                </c:pt>
                <c:pt idx="3">
                  <c:v>0.0018388925780252338</c:v>
                </c:pt>
                <c:pt idx="4">
                  <c:v>0.0018283473329976947</c:v>
                </c:pt>
                <c:pt idx="5">
                  <c:v>0.0015981248668229277</c:v>
                </c:pt>
                <c:pt idx="6">
                  <c:v>0.001727591387080621</c:v>
                </c:pt>
                <c:pt idx="7">
                  <c:v>0.001988616882671604</c:v>
                </c:pt>
                <c:pt idx="8">
                  <c:v>0.0023902894491129784</c:v>
                </c:pt>
                <c:pt idx="9">
                  <c:v>0.0025030859964339596</c:v>
                </c:pt>
                <c:pt idx="10">
                  <c:v>0.0024047171986691703</c:v>
                </c:pt>
                <c:pt idx="11">
                  <c:v>0.002437703141928494</c:v>
                </c:pt>
                <c:pt idx="12">
                  <c:v>0.0025193147463889822</c:v>
                </c:pt>
                <c:pt idx="13">
                  <c:v>0.00362350603430642</c:v>
                </c:pt>
                <c:pt idx="14">
                  <c:v>0.0035926222935044106</c:v>
                </c:pt>
                <c:pt idx="15">
                  <c:v>0.003384731101918014</c:v>
                </c:pt>
                <c:pt idx="16">
                  <c:v>0.003315440479949479</c:v>
                </c:pt>
                <c:pt idx="17">
                  <c:v>0.004196149415830179</c:v>
                </c:pt>
                <c:pt idx="18">
                  <c:v>0.0023051866700075168</c:v>
                </c:pt>
                <c:pt idx="19">
                  <c:v>0.0020429009193054137</c:v>
                </c:pt>
                <c:pt idx="20">
                  <c:v>0.0024135983156164946</c:v>
                </c:pt>
                <c:pt idx="21">
                  <c:v>0.0034424485197471367</c:v>
                </c:pt>
                <c:pt idx="22">
                  <c:v>0.0028484735896959564</c:v>
                </c:pt>
                <c:pt idx="23">
                  <c:v>0.002840371141829199</c:v>
                </c:pt>
                <c:pt idx="24">
                  <c:v>0.002563206338110218</c:v>
                </c:pt>
                <c:pt idx="25">
                  <c:v>0.0027585361368233923</c:v>
                </c:pt>
                <c:pt idx="26">
                  <c:v>0.0029573789504204117</c:v>
                </c:pt>
                <c:pt idx="27">
                  <c:v>0.003011252575413387</c:v>
                </c:pt>
                <c:pt idx="28">
                  <c:v>0.0024739521385413197</c:v>
                </c:pt>
                <c:pt idx="29">
                  <c:v>0.0028094719339487413</c:v>
                </c:pt>
                <c:pt idx="30">
                  <c:v>0.002736303610731069</c:v>
                </c:pt>
                <c:pt idx="31">
                  <c:v>0.0027715114405414115</c:v>
                </c:pt>
                <c:pt idx="32">
                  <c:v>0.002372479240806643</c:v>
                </c:pt>
                <c:pt idx="33">
                  <c:v>0.0023216147067184685</c:v>
                </c:pt>
                <c:pt idx="34">
                  <c:v>0.002155973533566278</c:v>
                </c:pt>
                <c:pt idx="35">
                  <c:v>0.0026371072274616724</c:v>
                </c:pt>
                <c:pt idx="36">
                  <c:v>0.003277545327754533</c:v>
                </c:pt>
                <c:pt idx="37">
                  <c:v>0.0032453348311801784</c:v>
                </c:pt>
                <c:pt idx="38">
                  <c:v>0.003769896676905892</c:v>
                </c:pt>
                <c:pt idx="39">
                  <c:v>0.0035453704655225566</c:v>
                </c:pt>
                <c:pt idx="40">
                  <c:v>0.0033313444709626096</c:v>
                </c:pt>
                <c:pt idx="41">
                  <c:v>0.002726076330137244</c:v>
                </c:pt>
                <c:pt idx="42">
                  <c:v>0.0031198773200782613</c:v>
                </c:pt>
                <c:pt idx="43">
                  <c:v>0.002271152513665409</c:v>
                </c:pt>
                <c:pt idx="44">
                  <c:v>0.001677427522471199</c:v>
                </c:pt>
                <c:pt idx="45">
                  <c:v>0.0014116183366829362</c:v>
                </c:pt>
                <c:pt idx="46">
                  <c:v>0.0014616112114177629</c:v>
                </c:pt>
                <c:pt idx="47">
                  <c:v>0.0014503652771809196</c:v>
                </c:pt>
                <c:pt idx="48">
                  <c:v>0.0016162704559229578</c:v>
                </c:pt>
                <c:pt idx="49">
                  <c:v>0.0014269697278564877</c:v>
                </c:pt>
                <c:pt idx="50">
                  <c:v>0.0012049823991334958</c:v>
                </c:pt>
                <c:pt idx="51">
                  <c:v>0.001439629944302841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80.7277985538785</c:v>
                </c:pt>
              </c:numCache>
            </c:numRef>
          </c:xVal>
          <c:yVal>
            <c:numRef>
              <c:f>Sheet1!$B$163:$B$164</c:f>
              <c:numCache>
                <c:formatCode>General</c:formatCode>
                <c:ptCount val="2"/>
                <c:pt idx="0">
                  <c:v>0.0029370311410465903</c:v>
                </c:pt>
                <c:pt idx="1">
                  <c:v>0.002937031141046590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80.7277985538785</c:v>
                </c:pt>
                <c:pt idx="1">
                  <c:v>3580.7277985538785</c:v>
                </c:pt>
              </c:numCache>
            </c:numRef>
          </c:xVal>
          <c:yVal>
            <c:numRef>
              <c:f>Sheet1!$B$167:$B$168</c:f>
              <c:numCache>
                <c:formatCode>General</c:formatCode>
                <c:ptCount val="2"/>
                <c:pt idx="0">
                  <c:v>0.002937031141046590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80.7277985538785</c:v>
                </c:pt>
              </c:numCache>
            </c:numRef>
          </c:xVal>
          <c:yVal>
            <c:numRef>
              <c:f>Sheet1!$B$171:$B$172</c:f>
              <c:numCache>
                <c:formatCode>General</c:formatCode>
                <c:ptCount val="2"/>
                <c:pt idx="0">
                  <c:v>0.0029370311410465903</c:v>
                </c:pt>
                <c:pt idx="1">
                  <c:v>0.002937031141046590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80.7277985538785</c:v>
                </c:pt>
                <c:pt idx="1">
                  <c:v>3580.7277985538785</c:v>
                </c:pt>
              </c:numCache>
            </c:numRef>
          </c:xVal>
          <c:yVal>
            <c:numRef>
              <c:f>Sheet1!$B$175:$B$176</c:f>
              <c:numCache>
                <c:formatCode>General</c:formatCode>
                <c:ptCount val="2"/>
                <c:pt idx="0">
                  <c:v>0.002937031141046590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335.496992977635</c:v>
                </c:pt>
              </c:numCache>
            </c:numRef>
          </c:xVal>
          <c:yVal>
            <c:numRef>
              <c:f>Sheet1!$B$179:$B$180</c:f>
              <c:numCache>
                <c:formatCode>General</c:formatCode>
                <c:ptCount val="2"/>
                <c:pt idx="0">
                  <c:v>0.0020525150750257447</c:v>
                </c:pt>
                <c:pt idx="1">
                  <c:v>0.002052515075025744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335.496992977635</c:v>
                </c:pt>
                <c:pt idx="1">
                  <c:v>4335.496992977635</c:v>
                </c:pt>
              </c:numCache>
            </c:numRef>
          </c:xVal>
          <c:yVal>
            <c:numRef>
              <c:f>Sheet1!$B$183:$B$184</c:f>
              <c:numCache>
                <c:formatCode>General</c:formatCode>
                <c:ptCount val="2"/>
                <c:pt idx="0">
                  <c:v>0.00205251507502574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580.7277985538785</c:v>
                </c:pt>
                <c:pt idx="53">
                  <c:v>3580.7277985538785</c:v>
                </c:pt>
                <c:pt idx="54">
                  <c:v>4335.496992977635</c:v>
                </c:pt>
              </c:numCache>
            </c:numRef>
          </c:xVal>
          <c:yVal>
            <c:numRef>
              <c:f>Sheet1!$B$187:$B$241</c:f>
              <c:numCache>
                <c:formatCode>General</c:formatCode>
                <c:ptCount val="55"/>
                <c:pt idx="0">
                  <c:v>0.0020578843734526476</c:v>
                </c:pt>
                <c:pt idx="1">
                  <c:v>0.0027586879376641166</c:v>
                </c:pt>
                <c:pt idx="2">
                  <c:v>0.0020242997511462323</c:v>
                </c:pt>
                <c:pt idx="3">
                  <c:v>0.0026847367748655867</c:v>
                </c:pt>
                <c:pt idx="4">
                  <c:v>0.0019053697903512303</c:v>
                </c:pt>
                <c:pt idx="5">
                  <c:v>0.0015727345807184804</c:v>
                </c:pt>
                <c:pt idx="6">
                  <c:v>0.0018143859591532238</c:v>
                </c:pt>
                <c:pt idx="7">
                  <c:v>0.0018532072287290487</c:v>
                </c:pt>
                <c:pt idx="8">
                  <c:v>0.0021706722749428014</c:v>
                </c:pt>
                <c:pt idx="9">
                  <c:v>0.0023309187205684187</c:v>
                </c:pt>
                <c:pt idx="10">
                  <c:v>0.002278215208654291</c:v>
                </c:pt>
                <c:pt idx="11">
                  <c:v>0.0023448302604745265</c:v>
                </c:pt>
                <c:pt idx="12">
                  <c:v>0.0027258738413909658</c:v>
                </c:pt>
                <c:pt idx="13">
                  <c:v>0.0031011282229091988</c:v>
                </c:pt>
                <c:pt idx="14">
                  <c:v>0.003047917394310964</c:v>
                </c:pt>
                <c:pt idx="15">
                  <c:v>0.0027535639102453475</c:v>
                </c:pt>
                <c:pt idx="16">
                  <c:v>0.002538390736070313</c:v>
                </c:pt>
                <c:pt idx="17">
                  <c:v>0.0035903695967726967</c:v>
                </c:pt>
                <c:pt idx="18">
                  <c:v>0.0021307996914438736</c:v>
                </c:pt>
                <c:pt idx="19">
                  <c:v>0.0017374561712311266</c:v>
                </c:pt>
                <c:pt idx="20">
                  <c:v>0.001932092336326431</c:v>
                </c:pt>
                <c:pt idx="21">
                  <c:v>0.0029060296250036652</c:v>
                </c:pt>
                <c:pt idx="22">
                  <c:v>0.002488484790310719</c:v>
                </c:pt>
                <c:pt idx="23">
                  <c:v>0.0033664098476324927</c:v>
                </c:pt>
                <c:pt idx="24">
                  <c:v>0.002270725109659615</c:v>
                </c:pt>
                <c:pt idx="25">
                  <c:v>0.0025967561787481035</c:v>
                </c:pt>
                <c:pt idx="26">
                  <c:v>0.0025708027525229125</c:v>
                </c:pt>
                <c:pt idx="27">
                  <c:v>0.0028605589794388885</c:v>
                </c:pt>
                <c:pt idx="28">
                  <c:v>0.0027503119974092985</c:v>
                </c:pt>
                <c:pt idx="29">
                  <c:v>0.002762840106163669</c:v>
                </c:pt>
                <c:pt idx="30">
                  <c:v>0.002861684943564758</c:v>
                </c:pt>
                <c:pt idx="31">
                  <c:v>0.002478743466205931</c:v>
                </c:pt>
                <c:pt idx="32">
                  <c:v>0.0019086744388093291</c:v>
                </c:pt>
                <c:pt idx="33">
                  <c:v>0.002042048100532042</c:v>
                </c:pt>
                <c:pt idx="34">
                  <c:v>0.0019123075715976531</c:v>
                </c:pt>
                <c:pt idx="35">
                  <c:v>0.0022680324287978207</c:v>
                </c:pt>
                <c:pt idx="36">
                  <c:v>0.002287727425778846</c:v>
                </c:pt>
                <c:pt idx="37">
                  <c:v>0.002230032311452427</c:v>
                </c:pt>
                <c:pt idx="38">
                  <c:v>0.0028321307290660996</c:v>
                </c:pt>
                <c:pt idx="39">
                  <c:v>0.0032275648065271177</c:v>
                </c:pt>
                <c:pt idx="40">
                  <c:v>0.0033581073856777284</c:v>
                </c:pt>
                <c:pt idx="41">
                  <c:v>0.0029946203136731134</c:v>
                </c:pt>
                <c:pt idx="42">
                  <c:v>0.003192445108858009</c:v>
                </c:pt>
                <c:pt idx="43">
                  <c:v>0.0029076330222944802</c:v>
                </c:pt>
                <c:pt idx="44">
                  <c:v>0.002295548704479986</c:v>
                </c:pt>
                <c:pt idx="45">
                  <c:v>0.0021827616233217302</c:v>
                </c:pt>
                <c:pt idx="46">
                  <c:v>0.0019079654376684546</c:v>
                </c:pt>
                <c:pt idx="47">
                  <c:v>0.0023837259458725744</c:v>
                </c:pt>
                <c:pt idx="48">
                  <c:v>0.0027320849257655598</c:v>
                </c:pt>
                <c:pt idx="49">
                  <c:v>0.0026522578427681217</c:v>
                </c:pt>
                <c:pt idx="50">
                  <c:v>0.00240781534364376</c:v>
                </c:pt>
                <c:pt idx="51">
                  <c:v>0.002007239660223291</c:v>
                </c:pt>
                <c:pt idx="52">
                  <c:v>0.00293703114104659</c:v>
                </c:pt>
                <c:pt idx="53">
                  <c:v>0.00293703114104659</c:v>
                </c:pt>
                <c:pt idx="54">
                  <c:v>0.002052515075025745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35379298996214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5057956605475885</c:v>
                </c:pt>
                <c:pt idx="1">
                  <c:v>0.761716626107396</c:v>
                </c:pt>
                <c:pt idx="2">
                  <c:v>0.7747313471194923</c:v>
                </c:pt>
                <c:pt idx="3">
                  <c:v>0.5818437767215987</c:v>
                </c:pt>
                <c:pt idx="4">
                  <c:v>0.6677687712272945</c:v>
                </c:pt>
                <c:pt idx="5">
                  <c:v>0.8642438581202736</c:v>
                </c:pt>
                <c:pt idx="6">
                  <c:v>0.7032405012130452</c:v>
                </c:pt>
                <c:pt idx="7">
                  <c:v>0.5147609910678798</c:v>
                </c:pt>
                <c:pt idx="8">
                  <c:v>0.8087638285824156</c:v>
                </c:pt>
                <c:pt idx="9">
                  <c:v>0.6877995652566685</c:v>
                </c:pt>
                <c:pt idx="10">
                  <c:v>0.6276165792234822</c:v>
                </c:pt>
                <c:pt idx="11">
                  <c:v>0.5226148064791861</c:v>
                </c:pt>
                <c:pt idx="12">
                  <c:v>0.809250212325244</c:v>
                </c:pt>
                <c:pt idx="13">
                  <c:v>0.5843692825202031</c:v>
                </c:pt>
                <c:pt idx="14">
                  <c:v>0.0</c:v>
                </c:pt>
                <c:pt idx="15">
                  <c:v>0.3963921616972454</c:v>
                </c:pt>
                <c:pt idx="16">
                  <c:v>0.21807009657644066</c:v>
                </c:pt>
                <c:pt idx="17">
                  <c:v>0.608958850836529</c:v>
                </c:pt>
                <c:pt idx="18">
                  <c:v>0.0</c:v>
                </c:pt>
                <c:pt idx="19">
                  <c:v>0.3576208087853389</c:v>
                </c:pt>
                <c:pt idx="20">
                  <c:v>0.4790936630888095</c:v>
                </c:pt>
                <c:pt idx="21">
                  <c:v>0.629658440288805</c:v>
                </c:pt>
                <c:pt idx="22">
                  <c:v>0.4938632702387537</c:v>
                </c:pt>
                <c:pt idx="23">
                  <c:v>0.5983809031811711</c:v>
                </c:pt>
                <c:pt idx="24">
                  <c:v>0.5583530419478578</c:v>
                </c:pt>
                <c:pt idx="25">
                  <c:v>0.4296745321764609</c:v>
                </c:pt>
                <c:pt idx="26">
                  <c:v>0.6241581980722462</c:v>
                </c:pt>
                <c:pt idx="27">
                  <c:v>1.488053643854586</c:v>
                </c:pt>
                <c:pt idx="28">
                  <c:v>0.3237722355329876</c:v>
                </c:pt>
                <c:pt idx="29">
                  <c:v>0.6967957010098405</c:v>
                </c:pt>
                <c:pt idx="30">
                  <c:v>0.3758369498067752</c:v>
                </c:pt>
                <c:pt idx="31">
                  <c:v>0.4809716104479491</c:v>
                </c:pt>
                <c:pt idx="32">
                  <c:v>0.817419274144906</c:v>
                </c:pt>
                <c:pt idx="33">
                  <c:v>0.37708861532620014</c:v>
                </c:pt>
                <c:pt idx="34">
                  <c:v>0.3466249536067245</c:v>
                </c:pt>
                <c:pt idx="35">
                  <c:v>0.3743185811662921</c:v>
                </c:pt>
                <c:pt idx="36">
                  <c:v>0.6222652545963372</c:v>
                </c:pt>
                <c:pt idx="37">
                  <c:v>0.43821789257068244</c:v>
                </c:pt>
                <c:pt idx="38">
                  <c:v>0.7419450095687475</c:v>
                </c:pt>
                <c:pt idx="39">
                  <c:v>0.5592829770049441</c:v>
                </c:pt>
                <c:pt idx="40">
                  <c:v>0.8701284914357771</c:v>
                </c:pt>
                <c:pt idx="41">
                  <c:v>0.5336881908010453</c:v>
                </c:pt>
                <c:pt idx="42">
                  <c:v>1.0452365721884416</c:v>
                </c:pt>
                <c:pt idx="43">
                  <c:v>0.7079680078253542</c:v>
                </c:pt>
                <c:pt idx="44">
                  <c:v>0.4727186263310886</c:v>
                </c:pt>
                <c:pt idx="45">
                  <c:v>0.4721552915120331</c:v>
                </c:pt>
                <c:pt idx="46">
                  <c:v>0.43300487671768667</c:v>
                </c:pt>
                <c:pt idx="47">
                  <c:v>0.3537736596700615</c:v>
                </c:pt>
                <c:pt idx="48">
                  <c:v>0.48415751033293364</c:v>
                </c:pt>
                <c:pt idx="49">
                  <c:v>0.414587716476082</c:v>
                </c:pt>
                <c:pt idx="50">
                  <c:v>0.46642601037292486</c:v>
                </c:pt>
                <c:pt idx="51">
                  <c:v>0.4330444838152338</c:v>
                </c:pt>
                <c:pt idx="52">
                  <c:v>0.5161143935428815</c:v>
                </c:pt>
                <c:pt idx="53">
                  <c:v>0.4390392459195224</c:v>
                </c:pt>
                <c:pt idx="54">
                  <c:v>0.44471890397795344</c:v>
                </c:pt>
                <c:pt idx="55">
                  <c:v>0.5090675603698596</c:v>
                </c:pt>
                <c:pt idx="56">
                  <c:v>1.0599297646386956</c:v>
                </c:pt>
                <c:pt idx="57">
                  <c:v>0.4116134043011078</c:v>
                </c:pt>
                <c:pt idx="58">
                  <c:v>0.44378691643119866</c:v>
                </c:pt>
                <c:pt idx="59">
                  <c:v>0.36391512591860875</c:v>
                </c:pt>
                <c:pt idx="60">
                  <c:v>0.31268670206645877</c:v>
                </c:pt>
                <c:pt idx="61">
                  <c:v>0.31289303613338443</c:v>
                </c:pt>
                <c:pt idx="62">
                  <c:v>0.30688345975777864</c:v>
                </c:pt>
                <c:pt idx="63">
                  <c:v>0.2547077042206975</c:v>
                </c:pt>
                <c:pt idx="64">
                  <c:v>0.27983387408161065</c:v>
                </c:pt>
                <c:pt idx="65">
                  <c:v>0.2574037264891192</c:v>
                </c:pt>
                <c:pt idx="66">
                  <c:v>0.24429477021669113</c:v>
                </c:pt>
                <c:pt idx="67">
                  <c:v>0.3239736037147376</c:v>
                </c:pt>
                <c:pt idx="68">
                  <c:v>0.237947797551152</c:v>
                </c:pt>
                <c:pt idx="69">
                  <c:v>0.20493253903976866</c:v>
                </c:pt>
                <c:pt idx="70">
                  <c:v>0.2167852696287622</c:v>
                </c:pt>
                <c:pt idx="71">
                  <c:v>0.17413351843588246</c:v>
                </c:pt>
                <c:pt idx="72">
                  <c:v>0.27863485772029806</c:v>
                </c:pt>
                <c:pt idx="73">
                  <c:v>0.19056827892086753</c:v>
                </c:pt>
                <c:pt idx="74">
                  <c:v>0.23486697015308647</c:v>
                </c:pt>
                <c:pt idx="75">
                  <c:v>0.3582400369764959</c:v>
                </c:pt>
                <c:pt idx="76">
                  <c:v>0.35552491394410474</c:v>
                </c:pt>
                <c:pt idx="77">
                  <c:v>0.40716823665106944</c:v>
                </c:pt>
                <c:pt idx="78">
                  <c:v>0.27361416688666074</c:v>
                </c:pt>
                <c:pt idx="79">
                  <c:v>0.4231706976304143</c:v>
                </c:pt>
                <c:pt idx="80">
                  <c:v>0.37824549724226086</c:v>
                </c:pt>
                <c:pt idx="81">
                  <c:v>0.31863244777725297</c:v>
                </c:pt>
                <c:pt idx="82">
                  <c:v>0.383485334112513</c:v>
                </c:pt>
                <c:pt idx="83">
                  <c:v>0.3772662129456921</c:v>
                </c:pt>
                <c:pt idx="84">
                  <c:v>0.37036194937483286</c:v>
                </c:pt>
                <c:pt idx="85">
                  <c:v>0.31444432662044597</c:v>
                </c:pt>
                <c:pt idx="86">
                  <c:v>0.4359131837124348</c:v>
                </c:pt>
                <c:pt idx="87">
                  <c:v>0.4290660628627586</c:v>
                </c:pt>
                <c:pt idx="88">
                  <c:v>0.3672918278548782</c:v>
                </c:pt>
                <c:pt idx="89">
                  <c:v>0.33797004716298373</c:v>
                </c:pt>
                <c:pt idx="90">
                  <c:v>0.3613475428807418</c:v>
                </c:pt>
                <c:pt idx="91">
                  <c:v>0.3557923201795089</c:v>
                </c:pt>
                <c:pt idx="92">
                  <c:v>0.38134524140544424</c:v>
                </c:pt>
                <c:pt idx="93">
                  <c:v>0.38698790565818464</c:v>
                </c:pt>
                <c:pt idx="94">
                  <c:v>0.44069966010240674</c:v>
                </c:pt>
                <c:pt idx="95">
                  <c:v>0.38533104185521383</c:v>
                </c:pt>
                <c:pt idx="96">
                  <c:v>0.3103419581081311</c:v>
                </c:pt>
                <c:pt idx="97">
                  <c:v>0.32613829023272517</c:v>
                </c:pt>
                <c:pt idx="98">
                  <c:v>0.3239858395391471</c:v>
                </c:pt>
                <c:pt idx="99">
                  <c:v>0.3363934470269651</c:v>
                </c:pt>
                <c:pt idx="100">
                  <c:v>0.3945676779059339</c:v>
                </c:pt>
                <c:pt idx="101">
                  <c:v>0.3684774832175791</c:v>
                </c:pt>
                <c:pt idx="102">
                  <c:v>0.37060358030668944</c:v>
                </c:pt>
                <c:pt idx="103">
                  <c:v>0.3807207391879674</c:v>
                </c:pt>
                <c:pt idx="104">
                  <c:v>0.42251627992095436</c:v>
                </c:pt>
              </c:numCache>
            </c:numRef>
          </c:xVal>
          <c:yVal>
            <c:numRef>
              <c:f>Sheet1!$B$2:$B$106</c:f>
              <c:numCache>
                <c:formatCode>General</c:formatCode>
                <c:ptCount val="105"/>
                <c:pt idx="0">
                  <c:v>0.0003580478131541258</c:v>
                </c:pt>
                <c:pt idx="1">
                  <c:v>8.968609865470852e-05</c:v>
                </c:pt>
                <c:pt idx="2">
                  <c:v>8.448800270361608e-05</c:v>
                </c:pt>
                <c:pt idx="3">
                  <c:v>8.956560680698612e-05</c:v>
                </c:pt>
                <c:pt idx="4">
                  <c:v>7.059155724975294e-05</c:v>
                </c:pt>
                <c:pt idx="5">
                  <c:v>0.00010866415531729933</c:v>
                </c:pt>
                <c:pt idx="6">
                  <c:v>0.00020990764063811922</c:v>
                </c:pt>
                <c:pt idx="7">
                  <c:v>0.0002427577277876679</c:v>
                </c:pt>
                <c:pt idx="8">
                  <c:v>0.00012605571662674902</c:v>
                </c:pt>
                <c:pt idx="9">
                  <c:v>0.0001576739932515531</c:v>
                </c:pt>
                <c:pt idx="10">
                  <c:v>0.00012233912405187178</c:v>
                </c:pt>
                <c:pt idx="11">
                  <c:v>0.00021624961383997528</c:v>
                </c:pt>
                <c:pt idx="12">
                  <c:v>0.0001422556048708319</c:v>
                </c:pt>
                <c:pt idx="13">
                  <c:v>0.00017932394871335067</c:v>
                </c:pt>
                <c:pt idx="14">
                  <c:v>0.0</c:v>
                </c:pt>
                <c:pt idx="15">
                  <c:v>0.00017827218597354442</c:v>
                </c:pt>
                <c:pt idx="16">
                  <c:v>0.00016287971333170455</c:v>
                </c:pt>
                <c:pt idx="17">
                  <c:v>8.955758552749418e-05</c:v>
                </c:pt>
                <c:pt idx="18">
                  <c:v>0.0</c:v>
                </c:pt>
                <c:pt idx="19">
                  <c:v>0.00017497812773403323</c:v>
                </c:pt>
                <c:pt idx="20">
                  <c:v>0.0001436850423870875</c:v>
                </c:pt>
                <c:pt idx="21">
                  <c:v>5.938947618482005e-05</c:v>
                </c:pt>
                <c:pt idx="22">
                  <c:v>0.0002357795461243737</c:v>
                </c:pt>
                <c:pt idx="23">
                  <c:v>0.00018617351371478217</c:v>
                </c:pt>
                <c:pt idx="24">
                  <c:v>0.00022766078542970974</c:v>
                </c:pt>
                <c:pt idx="25">
                  <c:v>0.00038897893030794163</c:v>
                </c:pt>
                <c:pt idx="26">
                  <c:v>0.0002871582816448426</c:v>
                </c:pt>
                <c:pt idx="27">
                  <c:v>5.5781781670106545e-05</c:v>
                </c:pt>
                <c:pt idx="28">
                  <c:v>0.00028376844494892167</c:v>
                </c:pt>
                <c:pt idx="29">
                  <c:v>0.00019717060186326217</c:v>
                </c:pt>
                <c:pt idx="30">
                  <c:v>0.0002540489044140997</c:v>
                </c:pt>
                <c:pt idx="31">
                  <c:v>0.00024515812699190976</c:v>
                </c:pt>
                <c:pt idx="32">
                  <c:v>0.00012088244182532487</c:v>
                </c:pt>
                <c:pt idx="33">
                  <c:v>0.0004301486402523539</c:v>
                </c:pt>
                <c:pt idx="34">
                  <c:v>0.0005119453924914676</c:v>
                </c:pt>
                <c:pt idx="35">
                  <c:v>0.0005358851674641148</c:v>
                </c:pt>
                <c:pt idx="36">
                  <c:v>0.0001835451750562107</c:v>
                </c:pt>
                <c:pt idx="37">
                  <c:v>0.0002117634602149399</c:v>
                </c:pt>
                <c:pt idx="38">
                  <c:v>0.00010658140154543032</c:v>
                </c:pt>
                <c:pt idx="39">
                  <c:v>0.00022478224220286598</c:v>
                </c:pt>
                <c:pt idx="40">
                  <c:v>9.148293843198243e-05</c:v>
                </c:pt>
                <c:pt idx="41">
                  <c:v>0.00015227653418608191</c:v>
                </c:pt>
                <c:pt idx="42">
                  <c:v>4.338771259979174e-05</c:v>
                </c:pt>
                <c:pt idx="43">
                  <c:v>0.00011588380716934487</c:v>
                </c:pt>
                <c:pt idx="44">
                  <c:v>0.0001552553951249806</c:v>
                </c:pt>
                <c:pt idx="45">
                  <c:v>0.00011769136616137841</c:v>
                </c:pt>
                <c:pt idx="46">
                  <c:v>0.00025193532133205076</c:v>
                </c:pt>
                <c:pt idx="47">
                  <c:v>0.00032806092560046864</c:v>
                </c:pt>
                <c:pt idx="48">
                  <c:v>0.00017046519952951605</c:v>
                </c:pt>
                <c:pt idx="49">
                  <c:v>0.00019105846388995032</c:v>
                </c:pt>
                <c:pt idx="50">
                  <c:v>0.0002257336343115124</c:v>
                </c:pt>
                <c:pt idx="51">
                  <c:v>0.0002758088093333701</c:v>
                </c:pt>
                <c:pt idx="52">
                  <c:v>9.292600766639563e-05</c:v>
                </c:pt>
                <c:pt idx="53">
                  <c:v>0.00014659317462178961</c:v>
                </c:pt>
                <c:pt idx="54">
                  <c:v>0.00028976175144880876</c:v>
                </c:pt>
                <c:pt idx="55">
                  <c:v>0.00016557387906483874</c:v>
                </c:pt>
                <c:pt idx="56">
                  <c:v>6.75789829363068e-05</c:v>
                </c:pt>
                <c:pt idx="57">
                  <c:v>0.00011549011115923199</c:v>
                </c:pt>
                <c:pt idx="58">
                  <c:v>0.0001065019436604718</c:v>
                </c:pt>
                <c:pt idx="59">
                  <c:v>0.00017264597216946927</c:v>
                </c:pt>
                <c:pt idx="60">
                  <c:v>0.0002658009151145792</c:v>
                </c:pt>
                <c:pt idx="61">
                  <c:v>0.00036557342803425946</c:v>
                </c:pt>
                <c:pt idx="62">
                  <c:v>0.0003044680689112729</c:v>
                </c:pt>
                <c:pt idx="63">
                  <c:v>0.0004142025450445268</c:v>
                </c:pt>
                <c:pt idx="64">
                  <c:v>0.0004272351142291779</c:v>
                </c:pt>
                <c:pt idx="65">
                  <c:v>0.00036707126076742367</c:v>
                </c:pt>
                <c:pt idx="66">
                  <c:v>0.0002800122187149985</c:v>
                </c:pt>
                <c:pt idx="67">
                  <c:v>0.00024030759371996156</c:v>
                </c:pt>
                <c:pt idx="68">
                  <c:v>0.00041124924867925723</c:v>
                </c:pt>
                <c:pt idx="69">
                  <c:v>0.00045595854922279795</c:v>
                </c:pt>
                <c:pt idx="70">
                  <c:v>0.0003940110323089047</c:v>
                </c:pt>
                <c:pt idx="71">
                  <c:v>0.0004268032437046522</c:v>
                </c:pt>
                <c:pt idx="72">
                  <c:v>0.00044458814970495513</c:v>
                </c:pt>
                <c:pt idx="73">
                  <c:v>0.0008129733430319627</c:v>
                </c:pt>
                <c:pt idx="74">
                  <c:v>0.0008604794099569761</c:v>
                </c:pt>
                <c:pt idx="75">
                  <c:v>0.0008656759486365604</c:v>
                </c:pt>
                <c:pt idx="76">
                  <c:v>0.001183431952662722</c:v>
                </c:pt>
                <c:pt idx="77">
                  <c:v>0.0012112275527937227</c:v>
                </c:pt>
                <c:pt idx="78">
                  <c:v>0.002056645904336585</c:v>
                </c:pt>
                <c:pt idx="79">
                  <c:v>0.001290922234844573</c:v>
                </c:pt>
                <c:pt idx="80">
                  <c:v>0.0012359666289010196</c:v>
                </c:pt>
                <c:pt idx="81">
                  <c:v>0.0017492456378186906</c:v>
                </c:pt>
                <c:pt idx="82">
                  <c:v>0.0014101985559566788</c:v>
                </c:pt>
                <c:pt idx="83">
                  <c:v>0.001380216891225764</c:v>
                </c:pt>
                <c:pt idx="84">
                  <c:v>0.0013312920189043466</c:v>
                </c:pt>
                <c:pt idx="85">
                  <c:v>0.0012235623142807202</c:v>
                </c:pt>
                <c:pt idx="86">
                  <c:v>0.0011437620974837233</c:v>
                </c:pt>
                <c:pt idx="87">
                  <c:v>0.001046156421308114</c:v>
                </c:pt>
                <c:pt idx="88">
                  <c:v>0.0015890672175433022</c:v>
                </c:pt>
                <c:pt idx="89">
                  <c:v>0.0019621421975992612</c:v>
                </c:pt>
                <c:pt idx="90">
                  <c:v>0.001836601694413176</c:v>
                </c:pt>
                <c:pt idx="91">
                  <c:v>0.00184003220056351</c:v>
                </c:pt>
                <c:pt idx="92">
                  <c:v>0.0015671813781977413</c:v>
                </c:pt>
                <c:pt idx="93">
                  <c:v>0.001546551190844417</c:v>
                </c:pt>
                <c:pt idx="94">
                  <c:v>0.0014558232931726907</c:v>
                </c:pt>
                <c:pt idx="95">
                  <c:v>0.0017315698338429798</c:v>
                </c:pt>
                <c:pt idx="96">
                  <c:v>0.002308560035677746</c:v>
                </c:pt>
                <c:pt idx="97">
                  <c:v>0.0026446509060803975</c:v>
                </c:pt>
                <c:pt idx="98">
                  <c:v>0.002492373337586984</c:v>
                </c:pt>
                <c:pt idx="99">
                  <c:v>0.0023547337073204517</c:v>
                </c:pt>
                <c:pt idx="100">
                  <c:v>0.001811252405569601</c:v>
                </c:pt>
                <c:pt idx="101">
                  <c:v>0.0024561479774816877</c:v>
                </c:pt>
                <c:pt idx="102">
                  <c:v>0.002028946300554579</c:v>
                </c:pt>
                <c:pt idx="103">
                  <c:v>0.001982513216754778</c:v>
                </c:pt>
                <c:pt idx="104">
                  <c:v>0.0014722770236447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154545017725846</c:v>
                </c:pt>
                <c:pt idx="1">
                  <c:v>0.37051081943863734</c:v>
                </c:pt>
                <c:pt idx="2">
                  <c:v>0.4237086902047366</c:v>
                </c:pt>
                <c:pt idx="3">
                  <c:v>0.36551607103091316</c:v>
                </c:pt>
                <c:pt idx="4">
                  <c:v>0.42868477933206955</c:v>
                </c:pt>
                <c:pt idx="5">
                  <c:v>0.4529550147864052</c:v>
                </c:pt>
                <c:pt idx="6">
                  <c:v>0.4362280999460489</c:v>
                </c:pt>
                <c:pt idx="7">
                  <c:v>0.4245259374355872</c:v>
                </c:pt>
                <c:pt idx="8">
                  <c:v>0.4118145873888908</c:v>
                </c:pt>
                <c:pt idx="9">
                  <c:v>0.4018827945039089</c:v>
                </c:pt>
                <c:pt idx="10">
                  <c:v>0.40769316005333295</c:v>
                </c:pt>
                <c:pt idx="11">
                  <c:v>0.39792338493269375</c:v>
                </c:pt>
                <c:pt idx="12">
                  <c:v>0.3635110573910924</c:v>
                </c:pt>
                <c:pt idx="13">
                  <c:v>0.3283753454336288</c:v>
                </c:pt>
                <c:pt idx="14">
                  <c:v>0.3278916343728568</c:v>
                </c:pt>
                <c:pt idx="15">
                  <c:v>0.34173861364547814</c:v>
                </c:pt>
                <c:pt idx="16">
                  <c:v>0.3540656232910855</c:v>
                </c:pt>
                <c:pt idx="17">
                  <c:v>0.27072013276135143</c:v>
                </c:pt>
                <c:pt idx="18">
                  <c:v>0.3787540561027183</c:v>
                </c:pt>
                <c:pt idx="19">
                  <c:v>0.4158156863468991</c:v>
                </c:pt>
                <c:pt idx="20">
                  <c:v>0.3927346759992567</c:v>
                </c:pt>
                <c:pt idx="21">
                  <c:v>0.32641988479759587</c:v>
                </c:pt>
                <c:pt idx="22">
                  <c:v>0.3651218095769944</c:v>
                </c:pt>
                <c:pt idx="23">
                  <c:v>0.298743340138628</c:v>
                </c:pt>
                <c:pt idx="24">
                  <c:v>0.3802546424946777</c:v>
                </c:pt>
                <c:pt idx="25">
                  <c:v>0.35129716516685916</c:v>
                </c:pt>
                <c:pt idx="26">
                  <c:v>0.34856766686200674</c:v>
                </c:pt>
                <c:pt idx="27">
                  <c:v>0.32325468099583704</c:v>
                </c:pt>
                <c:pt idx="28">
                  <c:v>0.3402603695863852</c:v>
                </c:pt>
                <c:pt idx="29">
                  <c:v>0.33923676334871844</c:v>
                </c:pt>
                <c:pt idx="30">
                  <c:v>0.3301282284672994</c:v>
                </c:pt>
                <c:pt idx="31">
                  <c:v>0.3503690810550307</c:v>
                </c:pt>
                <c:pt idx="32">
                  <c:v>0.4071918088197547</c:v>
                </c:pt>
                <c:pt idx="33">
                  <c:v>0.40467412867160946</c:v>
                </c:pt>
                <c:pt idx="34">
                  <c:v>0.4071791328277845</c:v>
                </c:pt>
                <c:pt idx="35">
                  <c:v>0.37075716397453656</c:v>
                </c:pt>
                <c:pt idx="36">
                  <c:v>0.37190994725200033</c:v>
                </c:pt>
                <c:pt idx="37">
                  <c:v>0.3765154768388251</c:v>
                </c:pt>
                <c:pt idx="38">
                  <c:v>0.3274692346993588</c:v>
                </c:pt>
                <c:pt idx="39">
                  <c:v>0.3051089523450276</c:v>
                </c:pt>
                <c:pt idx="40">
                  <c:v>0.2925894907060165</c:v>
                </c:pt>
                <c:pt idx="41">
                  <c:v>0.3229503570889659</c:v>
                </c:pt>
                <c:pt idx="42">
                  <c:v>0.30745097883609446</c:v>
                </c:pt>
                <c:pt idx="43">
                  <c:v>0.3356773406128625</c:v>
                </c:pt>
                <c:pt idx="44">
                  <c:v>0.39777993619295277</c:v>
                </c:pt>
                <c:pt idx="45">
                  <c:v>0.42055989287776513</c:v>
                </c:pt>
                <c:pt idx="46">
                  <c:v>0.44331931321884027</c:v>
                </c:pt>
                <c:pt idx="47">
                  <c:v>0.3907925407554547</c:v>
                </c:pt>
                <c:pt idx="48">
                  <c:v>0.36437272837109197</c:v>
                </c:pt>
                <c:pt idx="49">
                  <c:v>0.3873194091306659</c:v>
                </c:pt>
                <c:pt idx="50">
                  <c:v>0.42582830740423966</c:v>
                </c:pt>
                <c:pt idx="51">
                  <c:v>0.4354208722783514</c:v>
                </c:pt>
              </c:numCache>
            </c:numRef>
          </c:xVal>
          <c:yVal>
            <c:numRef>
              <c:f>Sheet1!$B$109:$B$160</c:f>
              <c:numCache>
                <c:formatCode>General</c:formatCode>
                <c:ptCount val="52"/>
                <c:pt idx="0">
                  <c:v>0.001584105249026715</c:v>
                </c:pt>
                <c:pt idx="1">
                  <c:v>0.0019018962189167707</c:v>
                </c:pt>
                <c:pt idx="2">
                  <c:v>0.0017252315108461245</c:v>
                </c:pt>
                <c:pt idx="3">
                  <c:v>0.0018388925780252338</c:v>
                </c:pt>
                <c:pt idx="4">
                  <c:v>0.0018283473329976947</c:v>
                </c:pt>
                <c:pt idx="5">
                  <c:v>0.0015981248668229277</c:v>
                </c:pt>
                <c:pt idx="6">
                  <c:v>0.001727591387080621</c:v>
                </c:pt>
                <c:pt idx="7">
                  <c:v>0.001988616882671604</c:v>
                </c:pt>
                <c:pt idx="8">
                  <c:v>0.0023902894491129784</c:v>
                </c:pt>
                <c:pt idx="9">
                  <c:v>0.0025030859964339596</c:v>
                </c:pt>
                <c:pt idx="10">
                  <c:v>0.0024047171986691703</c:v>
                </c:pt>
                <c:pt idx="11">
                  <c:v>0.002437703141928494</c:v>
                </c:pt>
                <c:pt idx="12">
                  <c:v>0.0025193147463889822</c:v>
                </c:pt>
                <c:pt idx="13">
                  <c:v>0.00362350603430642</c:v>
                </c:pt>
                <c:pt idx="14">
                  <c:v>0.0035926222935044106</c:v>
                </c:pt>
                <c:pt idx="15">
                  <c:v>0.003384731101918014</c:v>
                </c:pt>
                <c:pt idx="16">
                  <c:v>0.003315440479949479</c:v>
                </c:pt>
                <c:pt idx="17">
                  <c:v>0.004196149415830179</c:v>
                </c:pt>
                <c:pt idx="18">
                  <c:v>0.0023051866700075168</c:v>
                </c:pt>
                <c:pt idx="19">
                  <c:v>0.0020429009193054137</c:v>
                </c:pt>
                <c:pt idx="20">
                  <c:v>0.0024135983156164946</c:v>
                </c:pt>
                <c:pt idx="21">
                  <c:v>0.0034424485197471367</c:v>
                </c:pt>
                <c:pt idx="22">
                  <c:v>0.0028484735896959564</c:v>
                </c:pt>
                <c:pt idx="23">
                  <c:v>0.002840371141829199</c:v>
                </c:pt>
                <c:pt idx="24">
                  <c:v>0.002563206338110218</c:v>
                </c:pt>
                <c:pt idx="25">
                  <c:v>0.0027585361368233923</c:v>
                </c:pt>
                <c:pt idx="26">
                  <c:v>0.0029573789504204117</c:v>
                </c:pt>
                <c:pt idx="27">
                  <c:v>0.003011252575413387</c:v>
                </c:pt>
                <c:pt idx="28">
                  <c:v>0.0024739521385413197</c:v>
                </c:pt>
                <c:pt idx="29">
                  <c:v>0.0028094719339487413</c:v>
                </c:pt>
                <c:pt idx="30">
                  <c:v>0.002736303610731069</c:v>
                </c:pt>
                <c:pt idx="31">
                  <c:v>0.0027715114405414115</c:v>
                </c:pt>
                <c:pt idx="32">
                  <c:v>0.002372479240806643</c:v>
                </c:pt>
                <c:pt idx="33">
                  <c:v>0.0023216147067184685</c:v>
                </c:pt>
                <c:pt idx="34">
                  <c:v>0.002155973533566278</c:v>
                </c:pt>
                <c:pt idx="35">
                  <c:v>0.0026371072274616724</c:v>
                </c:pt>
                <c:pt idx="36">
                  <c:v>0.003277545327754533</c:v>
                </c:pt>
                <c:pt idx="37">
                  <c:v>0.0032453348311801784</c:v>
                </c:pt>
                <c:pt idx="38">
                  <c:v>0.003769896676905892</c:v>
                </c:pt>
                <c:pt idx="39">
                  <c:v>0.0035453704655225566</c:v>
                </c:pt>
                <c:pt idx="40">
                  <c:v>0.0033313444709626096</c:v>
                </c:pt>
                <c:pt idx="41">
                  <c:v>0.002726076330137244</c:v>
                </c:pt>
                <c:pt idx="42">
                  <c:v>0.0031198773200782613</c:v>
                </c:pt>
                <c:pt idx="43">
                  <c:v>0.002271152513665409</c:v>
                </c:pt>
                <c:pt idx="44">
                  <c:v>0.001677427522471199</c:v>
                </c:pt>
                <c:pt idx="45">
                  <c:v>0.0014116183366829362</c:v>
                </c:pt>
                <c:pt idx="46">
                  <c:v>0.0014616112114177629</c:v>
                </c:pt>
                <c:pt idx="47">
                  <c:v>0.0014503652771809196</c:v>
                </c:pt>
                <c:pt idx="48">
                  <c:v>0.0016162704559229578</c:v>
                </c:pt>
                <c:pt idx="49">
                  <c:v>0.0014269697278564877</c:v>
                </c:pt>
                <c:pt idx="50">
                  <c:v>0.0012049823991334958</c:v>
                </c:pt>
                <c:pt idx="51">
                  <c:v>0.001439629944302841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3793999214090026</c:v>
                </c:pt>
              </c:numCache>
            </c:numRef>
          </c:xVal>
          <c:yVal>
            <c:numRef>
              <c:f>Sheet1!$B$163:$B$164</c:f>
              <c:numCache>
                <c:formatCode>General</c:formatCode>
                <c:ptCount val="2"/>
                <c:pt idx="0">
                  <c:v>0.0029370311410465903</c:v>
                </c:pt>
                <c:pt idx="1">
                  <c:v>0.002937031141046590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3793999214090026</c:v>
                </c:pt>
                <c:pt idx="1">
                  <c:v>0.33793999214090026</c:v>
                </c:pt>
              </c:numCache>
            </c:numRef>
          </c:xVal>
          <c:yVal>
            <c:numRef>
              <c:f>Sheet1!$B$167:$B$168</c:f>
              <c:numCache>
                <c:formatCode>General</c:formatCode>
                <c:ptCount val="2"/>
                <c:pt idx="0">
                  <c:v>0.002937031141046590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3793999214090026</c:v>
                </c:pt>
              </c:numCache>
            </c:numRef>
          </c:xVal>
          <c:yVal>
            <c:numRef>
              <c:f>Sheet1!$B$171:$B$172</c:f>
              <c:numCache>
                <c:formatCode>General</c:formatCode>
                <c:ptCount val="2"/>
                <c:pt idx="0">
                  <c:v>0.0029370311410465903</c:v>
                </c:pt>
                <c:pt idx="1">
                  <c:v>0.002937031141046590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3793999214090026</c:v>
                </c:pt>
                <c:pt idx="1">
                  <c:v>0.33793999214090026</c:v>
                </c:pt>
              </c:numCache>
            </c:numRef>
          </c:xVal>
          <c:yVal>
            <c:numRef>
              <c:f>Sheet1!$B$175:$B$176</c:f>
              <c:numCache>
                <c:formatCode>General</c:formatCode>
                <c:ptCount val="2"/>
                <c:pt idx="0">
                  <c:v>0.002937031141046590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045226656481642</c:v>
                </c:pt>
              </c:numCache>
            </c:numRef>
          </c:xVal>
          <c:yVal>
            <c:numRef>
              <c:f>Sheet1!$B$179:$B$180</c:f>
              <c:numCache>
                <c:formatCode>General</c:formatCode>
                <c:ptCount val="2"/>
                <c:pt idx="0">
                  <c:v>0.0020525150750257447</c:v>
                </c:pt>
                <c:pt idx="1">
                  <c:v>0.002052515075025744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045226656481642</c:v>
                </c:pt>
                <c:pt idx="1">
                  <c:v>0.4045226656481642</c:v>
                </c:pt>
              </c:numCache>
            </c:numRef>
          </c:xVal>
          <c:yVal>
            <c:numRef>
              <c:f>Sheet1!$B$183:$B$184</c:f>
              <c:numCache>
                <c:formatCode>General</c:formatCode>
                <c:ptCount val="2"/>
                <c:pt idx="0">
                  <c:v>0.00205251507502574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154545017725846</c:v>
                </c:pt>
                <c:pt idx="1">
                  <c:v>0.37051081943863734</c:v>
                </c:pt>
                <c:pt idx="2">
                  <c:v>0.4237086902047366</c:v>
                </c:pt>
                <c:pt idx="3">
                  <c:v>0.36551607103091316</c:v>
                </c:pt>
                <c:pt idx="4">
                  <c:v>0.42868477933206955</c:v>
                </c:pt>
                <c:pt idx="5">
                  <c:v>0.4529550147864052</c:v>
                </c:pt>
                <c:pt idx="6">
                  <c:v>0.4362280999460489</c:v>
                </c:pt>
                <c:pt idx="7">
                  <c:v>0.4245259374355872</c:v>
                </c:pt>
                <c:pt idx="8">
                  <c:v>0.4118145873888908</c:v>
                </c:pt>
                <c:pt idx="9">
                  <c:v>0.4018827945039089</c:v>
                </c:pt>
                <c:pt idx="10">
                  <c:v>0.40769316005333295</c:v>
                </c:pt>
                <c:pt idx="11">
                  <c:v>0.39792338493269375</c:v>
                </c:pt>
                <c:pt idx="12">
                  <c:v>0.3635110573910924</c:v>
                </c:pt>
                <c:pt idx="13">
                  <c:v>0.3283753454336288</c:v>
                </c:pt>
                <c:pt idx="14">
                  <c:v>0.3278916343728568</c:v>
                </c:pt>
                <c:pt idx="15">
                  <c:v>0.34173861364547814</c:v>
                </c:pt>
                <c:pt idx="16">
                  <c:v>0.3540656232910855</c:v>
                </c:pt>
                <c:pt idx="17">
                  <c:v>0.27072013276135143</c:v>
                </c:pt>
                <c:pt idx="18">
                  <c:v>0.3787540561027183</c:v>
                </c:pt>
                <c:pt idx="19">
                  <c:v>0.4158156863468991</c:v>
                </c:pt>
                <c:pt idx="20">
                  <c:v>0.3927346759992567</c:v>
                </c:pt>
                <c:pt idx="21">
                  <c:v>0.32641988479759587</c:v>
                </c:pt>
                <c:pt idx="22">
                  <c:v>0.3651218095769944</c:v>
                </c:pt>
                <c:pt idx="23">
                  <c:v>0.298743340138628</c:v>
                </c:pt>
                <c:pt idx="24">
                  <c:v>0.3802546424946777</c:v>
                </c:pt>
                <c:pt idx="25">
                  <c:v>0.35129716516685916</c:v>
                </c:pt>
                <c:pt idx="26">
                  <c:v>0.34856766686200674</c:v>
                </c:pt>
                <c:pt idx="27">
                  <c:v>0.32325468099583704</c:v>
                </c:pt>
                <c:pt idx="28">
                  <c:v>0.3402603695863852</c:v>
                </c:pt>
                <c:pt idx="29">
                  <c:v>0.33923676334871844</c:v>
                </c:pt>
                <c:pt idx="30">
                  <c:v>0.3301282284672994</c:v>
                </c:pt>
                <c:pt idx="31">
                  <c:v>0.3503690810550307</c:v>
                </c:pt>
                <c:pt idx="32">
                  <c:v>0.4071918088197547</c:v>
                </c:pt>
                <c:pt idx="33">
                  <c:v>0.40467412867160946</c:v>
                </c:pt>
                <c:pt idx="34">
                  <c:v>0.4071791328277845</c:v>
                </c:pt>
                <c:pt idx="35">
                  <c:v>0.37075716397453656</c:v>
                </c:pt>
                <c:pt idx="36">
                  <c:v>0.37190994725200033</c:v>
                </c:pt>
                <c:pt idx="37">
                  <c:v>0.3765154768388251</c:v>
                </c:pt>
                <c:pt idx="38">
                  <c:v>0.3274692346993588</c:v>
                </c:pt>
                <c:pt idx="39">
                  <c:v>0.3051089523450276</c:v>
                </c:pt>
                <c:pt idx="40">
                  <c:v>0.2925894907060165</c:v>
                </c:pt>
                <c:pt idx="41">
                  <c:v>0.3229503570889659</c:v>
                </c:pt>
                <c:pt idx="42">
                  <c:v>0.30745097883609446</c:v>
                </c:pt>
                <c:pt idx="43">
                  <c:v>0.3356773406128625</c:v>
                </c:pt>
                <c:pt idx="44">
                  <c:v>0.39777993619295277</c:v>
                </c:pt>
                <c:pt idx="45">
                  <c:v>0.42055989287776513</c:v>
                </c:pt>
                <c:pt idx="46">
                  <c:v>0.44331931321884027</c:v>
                </c:pt>
                <c:pt idx="47">
                  <c:v>0.3907925407554547</c:v>
                </c:pt>
                <c:pt idx="48">
                  <c:v>0.36437272837109197</c:v>
                </c:pt>
                <c:pt idx="49">
                  <c:v>0.3873194091306659</c:v>
                </c:pt>
                <c:pt idx="50">
                  <c:v>0.42582830740423966</c:v>
                </c:pt>
                <c:pt idx="51">
                  <c:v>0.4354208722783514</c:v>
                </c:pt>
                <c:pt idx="52">
                  <c:v>0.33793999214090026</c:v>
                </c:pt>
                <c:pt idx="53">
                  <c:v>0.33793999214090026</c:v>
                </c:pt>
                <c:pt idx="54">
                  <c:v>0.4045226656481642</c:v>
                </c:pt>
              </c:numCache>
            </c:numRef>
          </c:xVal>
          <c:yVal>
            <c:numRef>
              <c:f>Sheet1!$B$187:$B$241</c:f>
              <c:numCache>
                <c:formatCode>General</c:formatCode>
                <c:ptCount val="55"/>
                <c:pt idx="0">
                  <c:v>0.0019072913377707066</c:v>
                </c:pt>
                <c:pt idx="1">
                  <c:v>0.002504344700101924</c:v>
                </c:pt>
                <c:pt idx="2">
                  <c:v>0.0017976387525616526</c:v>
                </c:pt>
                <c:pt idx="3">
                  <c:v>0.0025706973257873748</c:v>
                </c:pt>
                <c:pt idx="4">
                  <c:v>0.0017315340056773534</c:v>
                </c:pt>
                <c:pt idx="5">
                  <c:v>0.001409116595040837</c:v>
                </c:pt>
                <c:pt idx="6">
                  <c:v>0.0016313249284091802</c:v>
                </c:pt>
                <c:pt idx="7">
                  <c:v>0.001786782049645998</c:v>
                </c:pt>
                <c:pt idx="8">
                  <c:v>0.0019556457005760128</c:v>
                </c:pt>
                <c:pt idx="9">
                  <c:v>0.002087584385348105</c:v>
                </c:pt>
                <c:pt idx="10">
                  <c:v>0.002010396711630574</c:v>
                </c:pt>
                <c:pt idx="11">
                  <c:v>0.0021401830749653737</c:v>
                </c:pt>
                <c:pt idx="12">
                  <c:v>0.00259733288551477</c:v>
                </c:pt>
                <c:pt idx="13">
                  <c:v>0.00306409248047256</c:v>
                </c:pt>
                <c:pt idx="14">
                  <c:v>0.0030705183294513962</c:v>
                </c:pt>
                <c:pt idx="15">
                  <c:v>0.002886568436974414</c:v>
                </c:pt>
                <c:pt idx="16">
                  <c:v>0.0027228105476739175</c:v>
                </c:pt>
                <c:pt idx="17">
                  <c:v>0.0038300118888140475</c:v>
                </c:pt>
                <c:pt idx="18">
                  <c:v>0.002394837603415633</c:v>
                </c:pt>
                <c:pt idx="19">
                  <c:v>0.0019024931892141573</c:v>
                </c:pt>
                <c:pt idx="20">
                  <c:v>0.00220911236500102</c:v>
                </c:pt>
                <c:pt idx="21">
                  <c:v>0.0030900697544078547</c:v>
                </c:pt>
                <c:pt idx="22">
                  <c:v>0.0025759348834256367</c:v>
                </c:pt>
                <c:pt idx="23">
                  <c:v>0.0034577382049714956</c:v>
                </c:pt>
                <c:pt idx="24">
                  <c:v>0.002374903096400147</c:v>
                </c:pt>
                <c:pt idx="25">
                  <c:v>0.002759588068911736</c:v>
                </c:pt>
                <c:pt idx="26">
                  <c:v>0.002795848029283487</c:v>
                </c:pt>
                <c:pt idx="27">
                  <c:v>0.003132117834898052</c:v>
                </c:pt>
                <c:pt idx="28">
                  <c:v>0.0029062061377589116</c:v>
                </c:pt>
                <c:pt idx="29">
                  <c:v>0.002919804212375075</c:v>
                </c:pt>
                <c:pt idx="30">
                  <c:v>0.0030408063442532354</c:v>
                </c:pt>
                <c:pt idx="31">
                  <c:v>0.002771917181942041</c:v>
                </c:pt>
                <c:pt idx="32">
                  <c:v>0.0020170569010981984</c:v>
                </c:pt>
                <c:pt idx="33">
                  <c:v>0.0020505029678124353</c:v>
                </c:pt>
                <c:pt idx="34">
                  <c:v>0.002017225295035536</c:v>
                </c:pt>
                <c:pt idx="35">
                  <c:v>0.002501072141517211</c:v>
                </c:pt>
                <c:pt idx="36">
                  <c:v>0.002485758017348773</c:v>
                </c:pt>
                <c:pt idx="37">
                  <c:v>0.0024245759605538257</c:v>
                </c:pt>
                <c:pt idx="38">
                  <c:v>0.003076129688650576</c:v>
                </c:pt>
                <c:pt idx="39">
                  <c:v>0.0033731743692161685</c:v>
                </c:pt>
                <c:pt idx="40">
                  <c:v>0.003539488882802483</c:v>
                </c:pt>
                <c:pt idx="41">
                  <c:v>0.0031361606191649283</c:v>
                </c:pt>
                <c:pt idx="42">
                  <c:v>0.0033420617696572298</c:v>
                </c:pt>
                <c:pt idx="43">
                  <c:v>0.002967089285649896</c:v>
                </c:pt>
                <c:pt idx="44">
                  <c:v>0.002142088716602571</c:v>
                </c:pt>
                <c:pt idx="45">
                  <c:v>0.001839468881597338</c:v>
                </c:pt>
                <c:pt idx="46">
                  <c:v>0.0015371218612001119</c:v>
                </c:pt>
                <c:pt idx="47">
                  <c:v>0.0022349126180554544</c:v>
                </c:pt>
                <c:pt idx="48">
                  <c:v>0.0025858860362777776</c:v>
                </c:pt>
                <c:pt idx="49">
                  <c:v>0.002281051358957705</c:v>
                </c:pt>
                <c:pt idx="50">
                  <c:v>0.0017694807443589628</c:v>
                </c:pt>
                <c:pt idx="51">
                  <c:v>0.0016420485266578607</c:v>
                </c:pt>
                <c:pt idx="52">
                  <c:v>0.0029370311410465907</c:v>
                </c:pt>
                <c:pt idx="53">
                  <c:v>0.0029370311410465907</c:v>
                </c:pt>
                <c:pt idx="54">
                  <c:v>0.00205251507502574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35379298996214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56.3077</c:v>
                </c:pt>
                <c:pt idx="1">
                  <c:v>6230.0</c:v>
                </c:pt>
                <c:pt idx="2">
                  <c:v>6349.3333</c:v>
                </c:pt>
                <c:pt idx="3">
                  <c:v>5043.3333</c:v>
                </c:pt>
                <c:pt idx="4">
                  <c:v>5971.5</c:v>
                </c:pt>
                <c:pt idx="5">
                  <c:v>7694.0</c:v>
                </c:pt>
                <c:pt idx="6">
                  <c:v>5895.0</c:v>
                </c:pt>
                <c:pt idx="7">
                  <c:v>4277.0</c:v>
                </c:pt>
                <c:pt idx="8">
                  <c:v>7050.6667</c:v>
                </c:pt>
                <c:pt idx="9">
                  <c:v>5817.6</c:v>
                </c:pt>
                <c:pt idx="10">
                  <c:v>5290.25</c:v>
                </c:pt>
                <c:pt idx="11">
                  <c:v>4469.2857</c:v>
                </c:pt>
                <c:pt idx="12">
                  <c:v>7055.8</c:v>
                </c:pt>
                <c:pt idx="13">
                  <c:v>5252.6667</c:v>
                </c:pt>
                <c:pt idx="14">
                  <c:v>0.0</c:v>
                </c:pt>
                <c:pt idx="15">
                  <c:v>3753.0</c:v>
                </c:pt>
                <c:pt idx="16">
                  <c:v>2170.25</c:v>
                </c:pt>
                <c:pt idx="17">
                  <c:v>6580.0</c:v>
                </c:pt>
                <c:pt idx="18">
                  <c:v>0.0</c:v>
                </c:pt>
                <c:pt idx="19">
                  <c:v>3807.0</c:v>
                </c:pt>
                <c:pt idx="20">
                  <c:v>5072.3333</c:v>
                </c:pt>
                <c:pt idx="21">
                  <c:v>6718.0</c:v>
                </c:pt>
                <c:pt idx="22">
                  <c:v>5462.25</c:v>
                </c:pt>
                <c:pt idx="23">
                  <c:v>6538.6667</c:v>
                </c:pt>
                <c:pt idx="24">
                  <c:v>6316.5</c:v>
                </c:pt>
                <c:pt idx="25">
                  <c:v>4606.0</c:v>
                </c:pt>
                <c:pt idx="26">
                  <c:v>6402.0</c:v>
                </c:pt>
                <c:pt idx="27">
                  <c:v>15524.0</c:v>
                </c:pt>
                <c:pt idx="28">
                  <c:v>3345.4</c:v>
                </c:pt>
                <c:pt idx="29">
                  <c:v>7017.0</c:v>
                </c:pt>
                <c:pt idx="30">
                  <c:v>3873.25</c:v>
                </c:pt>
                <c:pt idx="31">
                  <c:v>5011.5</c:v>
                </c:pt>
                <c:pt idx="32">
                  <c:v>8655.5</c:v>
                </c:pt>
                <c:pt idx="33">
                  <c:v>3845.7778</c:v>
                </c:pt>
                <c:pt idx="34">
                  <c:v>3505.4167</c:v>
                </c:pt>
                <c:pt idx="35">
                  <c:v>3707.5</c:v>
                </c:pt>
                <c:pt idx="36">
                  <c:v>6482.5</c:v>
                </c:pt>
                <c:pt idx="37">
                  <c:v>4574.0</c:v>
                </c:pt>
                <c:pt idx="38">
                  <c:v>7663.0</c:v>
                </c:pt>
                <c:pt idx="39">
                  <c:v>5600.75</c:v>
                </c:pt>
                <c:pt idx="40">
                  <c:v>8541.5</c:v>
                </c:pt>
                <c:pt idx="41">
                  <c:v>5335.6667</c:v>
                </c:pt>
                <c:pt idx="42">
                  <c:v>10645.0</c:v>
                </c:pt>
                <c:pt idx="43">
                  <c:v>7240.0</c:v>
                </c:pt>
                <c:pt idx="44">
                  <c:v>4505.0</c:v>
                </c:pt>
                <c:pt idx="45">
                  <c:v>4392.2</c:v>
                </c:pt>
                <c:pt idx="46">
                  <c:v>4084.1818</c:v>
                </c:pt>
                <c:pt idx="47">
                  <c:v>3419.4286</c:v>
                </c:pt>
                <c:pt idx="48">
                  <c:v>4401.9</c:v>
                </c:pt>
                <c:pt idx="49">
                  <c:v>3402.25</c:v>
                </c:pt>
                <c:pt idx="50">
                  <c:v>4337.6</c:v>
                </c:pt>
                <c:pt idx="51">
                  <c:v>4108.2</c:v>
                </c:pt>
                <c:pt idx="52">
                  <c:v>4801.75</c:v>
                </c:pt>
                <c:pt idx="53">
                  <c:v>3999.4</c:v>
                </c:pt>
                <c:pt idx="54">
                  <c:v>4201.4444</c:v>
                </c:pt>
                <c:pt idx="55">
                  <c:v>4984.2</c:v>
                </c:pt>
                <c:pt idx="56">
                  <c:v>10395.0</c:v>
                </c:pt>
                <c:pt idx="57">
                  <c:v>4042.75</c:v>
                </c:pt>
                <c:pt idx="58">
                  <c:v>4289.0</c:v>
                </c:pt>
                <c:pt idx="59">
                  <c:v>3433.0</c:v>
                </c:pt>
                <c:pt idx="60">
                  <c:v>3007.3571</c:v>
                </c:pt>
                <c:pt idx="61">
                  <c:v>2989.9286</c:v>
                </c:pt>
                <c:pt idx="62">
                  <c:v>3040.0833</c:v>
                </c:pt>
                <c:pt idx="63">
                  <c:v>2470.9444</c:v>
                </c:pt>
                <c:pt idx="64">
                  <c:v>2609.3158</c:v>
                </c:pt>
                <c:pt idx="65">
                  <c:v>2489.9333</c:v>
                </c:pt>
                <c:pt idx="66">
                  <c:v>2358.7273</c:v>
                </c:pt>
                <c:pt idx="67">
                  <c:v>3155.3333</c:v>
                </c:pt>
                <c:pt idx="68">
                  <c:v>2346.9231</c:v>
                </c:pt>
                <c:pt idx="69">
                  <c:v>2135.0</c:v>
                </c:pt>
                <c:pt idx="70">
                  <c:v>2302.5</c:v>
                </c:pt>
                <c:pt idx="71">
                  <c:v>1857.8</c:v>
                </c:pt>
                <c:pt idx="72">
                  <c:v>2952.3636</c:v>
                </c:pt>
                <c:pt idx="73">
                  <c:v>2025.9474</c:v>
                </c:pt>
                <c:pt idx="74">
                  <c:v>2531.4762</c:v>
                </c:pt>
                <c:pt idx="75">
                  <c:v>3962.4444</c:v>
                </c:pt>
                <c:pt idx="76">
                  <c:v>3882.0</c:v>
                </c:pt>
                <c:pt idx="77">
                  <c:v>4467.6957</c:v>
                </c:pt>
                <c:pt idx="78">
                  <c:v>3018.5429</c:v>
                </c:pt>
                <c:pt idx="79">
                  <c:v>4773.4</c:v>
                </c:pt>
                <c:pt idx="80">
                  <c:v>4299.5</c:v>
                </c:pt>
                <c:pt idx="81">
                  <c:v>3470.475</c:v>
                </c:pt>
                <c:pt idx="82">
                  <c:v>4188.0</c:v>
                </c:pt>
                <c:pt idx="83">
                  <c:v>4291.4286</c:v>
                </c:pt>
                <c:pt idx="84">
                  <c:v>4199.35</c:v>
                </c:pt>
                <c:pt idx="85">
                  <c:v>3644.0476</c:v>
                </c:pt>
                <c:pt idx="86">
                  <c:v>4846.4231</c:v>
                </c:pt>
                <c:pt idx="87">
                  <c:v>4906.68</c:v>
                </c:pt>
                <c:pt idx="88">
                  <c:v>4199.0333</c:v>
                </c:pt>
                <c:pt idx="89">
                  <c:v>3929.7353</c:v>
                </c:pt>
                <c:pt idx="90">
                  <c:v>4177.2903</c:v>
                </c:pt>
                <c:pt idx="91">
                  <c:v>3942.625</c:v>
                </c:pt>
                <c:pt idx="92">
                  <c:v>4270.3235</c:v>
                </c:pt>
                <c:pt idx="93">
                  <c:v>4332.2286</c:v>
                </c:pt>
                <c:pt idx="94">
                  <c:v>5011.5517</c:v>
                </c:pt>
                <c:pt idx="95">
                  <c:v>4381.1064</c:v>
                </c:pt>
                <c:pt idx="96">
                  <c:v>3358.3295</c:v>
                </c:pt>
                <c:pt idx="97">
                  <c:v>3539.0348</c:v>
                </c:pt>
                <c:pt idx="98">
                  <c:v>3390.072</c:v>
                </c:pt>
                <c:pt idx="99">
                  <c:v>3491.0956</c:v>
                </c:pt>
                <c:pt idx="100">
                  <c:v>3928.0486</c:v>
                </c:pt>
                <c:pt idx="101">
                  <c:v>3765.3274</c:v>
                </c:pt>
                <c:pt idx="102">
                  <c:v>3902.8667</c:v>
                </c:pt>
                <c:pt idx="103">
                  <c:v>3989.4744</c:v>
                </c:pt>
                <c:pt idx="104">
                  <c:v>4479.7</c:v>
                </c:pt>
              </c:numCache>
            </c:numRef>
          </c:xVal>
          <c:yVal>
            <c:numRef>
              <c:f>Sheet1!$B$2:$B$106</c:f>
              <c:numCache>
                <c:formatCode>General</c:formatCode>
                <c:ptCount val="105"/>
                <c:pt idx="0">
                  <c:v>0.0003580478131541258</c:v>
                </c:pt>
                <c:pt idx="1">
                  <c:v>8.968609865470852e-05</c:v>
                </c:pt>
                <c:pt idx="2">
                  <c:v>8.448800270361608e-05</c:v>
                </c:pt>
                <c:pt idx="3">
                  <c:v>8.956560680698612e-05</c:v>
                </c:pt>
                <c:pt idx="4">
                  <c:v>7.059155724975294e-05</c:v>
                </c:pt>
                <c:pt idx="5">
                  <c:v>0.00010866415531729933</c:v>
                </c:pt>
                <c:pt idx="6">
                  <c:v>0.00020990764063811922</c:v>
                </c:pt>
                <c:pt idx="7">
                  <c:v>0.0002427577277876679</c:v>
                </c:pt>
                <c:pt idx="8">
                  <c:v>0.00012605571662674902</c:v>
                </c:pt>
                <c:pt idx="9">
                  <c:v>0.0001576739932515531</c:v>
                </c:pt>
                <c:pt idx="10">
                  <c:v>0.00012233912405187178</c:v>
                </c:pt>
                <c:pt idx="11">
                  <c:v>0.00021624961383997528</c:v>
                </c:pt>
                <c:pt idx="12">
                  <c:v>0.0001422556048708319</c:v>
                </c:pt>
                <c:pt idx="13">
                  <c:v>0.00017932394871335067</c:v>
                </c:pt>
                <c:pt idx="14">
                  <c:v>0.0</c:v>
                </c:pt>
                <c:pt idx="15">
                  <c:v>0.00017827218597354442</c:v>
                </c:pt>
                <c:pt idx="16">
                  <c:v>0.00016287971333170455</c:v>
                </c:pt>
                <c:pt idx="17">
                  <c:v>8.955758552749418e-05</c:v>
                </c:pt>
                <c:pt idx="18">
                  <c:v>0.0</c:v>
                </c:pt>
                <c:pt idx="19">
                  <c:v>0.00017497812773403323</c:v>
                </c:pt>
                <c:pt idx="20">
                  <c:v>0.0001436850423870875</c:v>
                </c:pt>
                <c:pt idx="21">
                  <c:v>5.938947618482005e-05</c:v>
                </c:pt>
                <c:pt idx="22">
                  <c:v>0.0002357795461243737</c:v>
                </c:pt>
                <c:pt idx="23">
                  <c:v>0.00018617351371478217</c:v>
                </c:pt>
                <c:pt idx="24">
                  <c:v>0.00022766078542970974</c:v>
                </c:pt>
                <c:pt idx="25">
                  <c:v>0.00038897893030794163</c:v>
                </c:pt>
                <c:pt idx="26">
                  <c:v>0.0002871582816448426</c:v>
                </c:pt>
                <c:pt idx="27">
                  <c:v>5.5781781670106545e-05</c:v>
                </c:pt>
                <c:pt idx="28">
                  <c:v>0.00028376844494892167</c:v>
                </c:pt>
                <c:pt idx="29">
                  <c:v>0.00019717060186326217</c:v>
                </c:pt>
                <c:pt idx="30">
                  <c:v>0.0002540489044140997</c:v>
                </c:pt>
                <c:pt idx="31">
                  <c:v>0.00024515812699190976</c:v>
                </c:pt>
                <c:pt idx="32">
                  <c:v>0.00012088244182532487</c:v>
                </c:pt>
                <c:pt idx="33">
                  <c:v>0.0004301486402523539</c:v>
                </c:pt>
                <c:pt idx="34">
                  <c:v>0.0005119453924914676</c:v>
                </c:pt>
                <c:pt idx="35">
                  <c:v>0.0005358851674641148</c:v>
                </c:pt>
                <c:pt idx="36">
                  <c:v>0.0001835451750562107</c:v>
                </c:pt>
                <c:pt idx="37">
                  <c:v>0.0002117634602149399</c:v>
                </c:pt>
                <c:pt idx="38">
                  <c:v>0.00010658140154543032</c:v>
                </c:pt>
                <c:pt idx="39">
                  <c:v>0.00022478224220286598</c:v>
                </c:pt>
                <c:pt idx="40">
                  <c:v>9.148293843198243e-05</c:v>
                </c:pt>
                <c:pt idx="41">
                  <c:v>0.00015227653418608191</c:v>
                </c:pt>
                <c:pt idx="42">
                  <c:v>4.338771259979174e-05</c:v>
                </c:pt>
                <c:pt idx="43">
                  <c:v>0.00011588380716934487</c:v>
                </c:pt>
                <c:pt idx="44">
                  <c:v>0.0001552553951249806</c:v>
                </c:pt>
                <c:pt idx="45">
                  <c:v>0.00011769136616137841</c:v>
                </c:pt>
                <c:pt idx="46">
                  <c:v>0.00025193532133205076</c:v>
                </c:pt>
                <c:pt idx="47">
                  <c:v>0.00032806092560046864</c:v>
                </c:pt>
                <c:pt idx="48">
                  <c:v>0.00017046519952951605</c:v>
                </c:pt>
                <c:pt idx="49">
                  <c:v>0.00019105846388995032</c:v>
                </c:pt>
                <c:pt idx="50">
                  <c:v>0.0002257336343115124</c:v>
                </c:pt>
                <c:pt idx="51">
                  <c:v>0.0002758088093333701</c:v>
                </c:pt>
                <c:pt idx="52">
                  <c:v>9.292600766639563e-05</c:v>
                </c:pt>
                <c:pt idx="53">
                  <c:v>0.00014659317462178961</c:v>
                </c:pt>
                <c:pt idx="54">
                  <c:v>0.00028976175144880876</c:v>
                </c:pt>
                <c:pt idx="55">
                  <c:v>0.00016557387906483874</c:v>
                </c:pt>
                <c:pt idx="56">
                  <c:v>6.75789829363068e-05</c:v>
                </c:pt>
                <c:pt idx="57">
                  <c:v>0.00011549011115923199</c:v>
                </c:pt>
                <c:pt idx="58">
                  <c:v>0.0001065019436604718</c:v>
                </c:pt>
                <c:pt idx="59">
                  <c:v>0.00017264597216946927</c:v>
                </c:pt>
                <c:pt idx="60">
                  <c:v>0.0002658009151145792</c:v>
                </c:pt>
                <c:pt idx="61">
                  <c:v>0.00036557342803425946</c:v>
                </c:pt>
                <c:pt idx="62">
                  <c:v>0.0003044680689112729</c:v>
                </c:pt>
                <c:pt idx="63">
                  <c:v>0.0004142025450445268</c:v>
                </c:pt>
                <c:pt idx="64">
                  <c:v>0.0004272351142291779</c:v>
                </c:pt>
                <c:pt idx="65">
                  <c:v>0.00036707126076742367</c:v>
                </c:pt>
                <c:pt idx="66">
                  <c:v>0.0002800122187149985</c:v>
                </c:pt>
                <c:pt idx="67">
                  <c:v>0.00024030759371996156</c:v>
                </c:pt>
                <c:pt idx="68">
                  <c:v>0.00041124924867925723</c:v>
                </c:pt>
                <c:pt idx="69">
                  <c:v>0.00045595854922279795</c:v>
                </c:pt>
                <c:pt idx="70">
                  <c:v>0.0003940110323089047</c:v>
                </c:pt>
                <c:pt idx="71">
                  <c:v>0.0004268032437046522</c:v>
                </c:pt>
                <c:pt idx="72">
                  <c:v>0.00044458814970495513</c:v>
                </c:pt>
                <c:pt idx="73">
                  <c:v>0.0008129733430319627</c:v>
                </c:pt>
                <c:pt idx="74">
                  <c:v>0.0008604794099569761</c:v>
                </c:pt>
                <c:pt idx="75">
                  <c:v>0.0008656759486365604</c:v>
                </c:pt>
                <c:pt idx="76">
                  <c:v>0.001183431952662722</c:v>
                </c:pt>
                <c:pt idx="77">
                  <c:v>0.0012112275527937227</c:v>
                </c:pt>
                <c:pt idx="78">
                  <c:v>0.002056645904336585</c:v>
                </c:pt>
                <c:pt idx="79">
                  <c:v>0.001290922234844573</c:v>
                </c:pt>
                <c:pt idx="80">
                  <c:v>0.0012359666289010196</c:v>
                </c:pt>
                <c:pt idx="81">
                  <c:v>0.0017492456378186906</c:v>
                </c:pt>
                <c:pt idx="82">
                  <c:v>0.0014101985559566788</c:v>
                </c:pt>
                <c:pt idx="83">
                  <c:v>0.001380216891225764</c:v>
                </c:pt>
                <c:pt idx="84">
                  <c:v>0.0013312920189043466</c:v>
                </c:pt>
                <c:pt idx="85">
                  <c:v>0.0012235623142807202</c:v>
                </c:pt>
                <c:pt idx="86">
                  <c:v>0.0011437620974837233</c:v>
                </c:pt>
                <c:pt idx="87">
                  <c:v>0.001046156421308114</c:v>
                </c:pt>
                <c:pt idx="88">
                  <c:v>0.0015890672175433022</c:v>
                </c:pt>
                <c:pt idx="89">
                  <c:v>0.0019621421975992612</c:v>
                </c:pt>
                <c:pt idx="90">
                  <c:v>0.001836601694413176</c:v>
                </c:pt>
                <c:pt idx="91">
                  <c:v>0.00184003220056351</c:v>
                </c:pt>
                <c:pt idx="92">
                  <c:v>0.0015671813781977413</c:v>
                </c:pt>
                <c:pt idx="93">
                  <c:v>0.001546551190844417</c:v>
                </c:pt>
                <c:pt idx="94">
                  <c:v>0.0014558232931726907</c:v>
                </c:pt>
                <c:pt idx="95">
                  <c:v>0.0017315698338429798</c:v>
                </c:pt>
                <c:pt idx="96">
                  <c:v>0.002308560035677746</c:v>
                </c:pt>
                <c:pt idx="97">
                  <c:v>0.0026446509060803975</c:v>
                </c:pt>
                <c:pt idx="98">
                  <c:v>0.002492373337586984</c:v>
                </c:pt>
                <c:pt idx="99">
                  <c:v>0.0023547337073204517</c:v>
                </c:pt>
                <c:pt idx="100">
                  <c:v>0.001811252405569601</c:v>
                </c:pt>
                <c:pt idx="101">
                  <c:v>0.0024561479774816877</c:v>
                </c:pt>
                <c:pt idx="102">
                  <c:v>0.002028946300554579</c:v>
                </c:pt>
                <c:pt idx="103">
                  <c:v>0.001982513216754778</c:v>
                </c:pt>
                <c:pt idx="104">
                  <c:v>0.0014722770236447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109:$B$160</c:f>
              <c:numCache>
                <c:formatCode>General</c:formatCode>
                <c:ptCount val="52"/>
                <c:pt idx="0">
                  <c:v>0.001584105249026715</c:v>
                </c:pt>
                <c:pt idx="1">
                  <c:v>0.0019018962189167707</c:v>
                </c:pt>
                <c:pt idx="2">
                  <c:v>0.0017252315108461245</c:v>
                </c:pt>
                <c:pt idx="3">
                  <c:v>0.0018388925780252338</c:v>
                </c:pt>
                <c:pt idx="4">
                  <c:v>0.0018283473329976947</c:v>
                </c:pt>
                <c:pt idx="5">
                  <c:v>0.0015981248668229277</c:v>
                </c:pt>
                <c:pt idx="6">
                  <c:v>0.001727591387080621</c:v>
                </c:pt>
                <c:pt idx="7">
                  <c:v>0.001988616882671604</c:v>
                </c:pt>
                <c:pt idx="8">
                  <c:v>0.0023902894491129784</c:v>
                </c:pt>
                <c:pt idx="9">
                  <c:v>0.0025030859964339596</c:v>
                </c:pt>
                <c:pt idx="10">
                  <c:v>0.0024047171986691703</c:v>
                </c:pt>
                <c:pt idx="11">
                  <c:v>0.002437703141928494</c:v>
                </c:pt>
                <c:pt idx="12">
                  <c:v>0.0025193147463889822</c:v>
                </c:pt>
                <c:pt idx="13">
                  <c:v>0.00362350603430642</c:v>
                </c:pt>
                <c:pt idx="14">
                  <c:v>0.0035926222935044106</c:v>
                </c:pt>
                <c:pt idx="15">
                  <c:v>0.003384731101918014</c:v>
                </c:pt>
                <c:pt idx="16">
                  <c:v>0.003315440479949479</c:v>
                </c:pt>
                <c:pt idx="17">
                  <c:v>0.004196149415830179</c:v>
                </c:pt>
                <c:pt idx="18">
                  <c:v>0.0023051866700075168</c:v>
                </c:pt>
                <c:pt idx="19">
                  <c:v>0.0020429009193054137</c:v>
                </c:pt>
                <c:pt idx="20">
                  <c:v>0.0024135983156164946</c:v>
                </c:pt>
                <c:pt idx="21">
                  <c:v>0.0034424485197471367</c:v>
                </c:pt>
                <c:pt idx="22">
                  <c:v>0.0028484735896959564</c:v>
                </c:pt>
                <c:pt idx="23">
                  <c:v>0.002840371141829199</c:v>
                </c:pt>
                <c:pt idx="24">
                  <c:v>0.002563206338110218</c:v>
                </c:pt>
                <c:pt idx="25">
                  <c:v>0.0027585361368233923</c:v>
                </c:pt>
                <c:pt idx="26">
                  <c:v>0.0029573789504204117</c:v>
                </c:pt>
                <c:pt idx="27">
                  <c:v>0.003011252575413387</c:v>
                </c:pt>
                <c:pt idx="28">
                  <c:v>0.0024739521385413197</c:v>
                </c:pt>
                <c:pt idx="29">
                  <c:v>0.0028094719339487413</c:v>
                </c:pt>
                <c:pt idx="30">
                  <c:v>0.002736303610731069</c:v>
                </c:pt>
                <c:pt idx="31">
                  <c:v>0.0027715114405414115</c:v>
                </c:pt>
                <c:pt idx="32">
                  <c:v>0.002372479240806643</c:v>
                </c:pt>
                <c:pt idx="33">
                  <c:v>0.0023216147067184685</c:v>
                </c:pt>
                <c:pt idx="34">
                  <c:v>0.002155973533566278</c:v>
                </c:pt>
                <c:pt idx="35">
                  <c:v>0.0026371072274616724</c:v>
                </c:pt>
                <c:pt idx="36">
                  <c:v>0.003277545327754533</c:v>
                </c:pt>
                <c:pt idx="37">
                  <c:v>0.0032453348311801784</c:v>
                </c:pt>
                <c:pt idx="38">
                  <c:v>0.003769896676905892</c:v>
                </c:pt>
                <c:pt idx="39">
                  <c:v>0.0035453704655225566</c:v>
                </c:pt>
                <c:pt idx="40">
                  <c:v>0.0033313444709626096</c:v>
                </c:pt>
                <c:pt idx="41">
                  <c:v>0.002726076330137244</c:v>
                </c:pt>
                <c:pt idx="42">
                  <c:v>0.0031198773200782613</c:v>
                </c:pt>
                <c:pt idx="43">
                  <c:v>0.002271152513665409</c:v>
                </c:pt>
                <c:pt idx="44">
                  <c:v>0.001677427522471199</c:v>
                </c:pt>
                <c:pt idx="45">
                  <c:v>0.0014116183366829362</c:v>
                </c:pt>
                <c:pt idx="46">
                  <c:v>0.0014616112114177629</c:v>
                </c:pt>
                <c:pt idx="47">
                  <c:v>0.0014503652771809196</c:v>
                </c:pt>
                <c:pt idx="48">
                  <c:v>0.0016162704559229578</c:v>
                </c:pt>
                <c:pt idx="49">
                  <c:v>0.0014269697278564877</c:v>
                </c:pt>
                <c:pt idx="50">
                  <c:v>0.0012049823991334958</c:v>
                </c:pt>
                <c:pt idx="51">
                  <c:v>0.001439629944302841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80.7277985538785</c:v>
                </c:pt>
              </c:numCache>
            </c:numRef>
          </c:xVal>
          <c:yVal>
            <c:numRef>
              <c:f>Sheet1!$B$163:$B$164</c:f>
              <c:numCache>
                <c:formatCode>General</c:formatCode>
                <c:ptCount val="2"/>
                <c:pt idx="0">
                  <c:v>0.0029370311410465903</c:v>
                </c:pt>
                <c:pt idx="1">
                  <c:v>0.002937031141046590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80.7277985538785</c:v>
                </c:pt>
                <c:pt idx="1">
                  <c:v>3580.7277985538785</c:v>
                </c:pt>
              </c:numCache>
            </c:numRef>
          </c:xVal>
          <c:yVal>
            <c:numRef>
              <c:f>Sheet1!$B$167:$B$168</c:f>
              <c:numCache>
                <c:formatCode>General</c:formatCode>
                <c:ptCount val="2"/>
                <c:pt idx="0">
                  <c:v>0.002937031141046590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80.7277985538785</c:v>
                </c:pt>
              </c:numCache>
            </c:numRef>
          </c:xVal>
          <c:yVal>
            <c:numRef>
              <c:f>Sheet1!$B$171:$B$172</c:f>
              <c:numCache>
                <c:formatCode>General</c:formatCode>
                <c:ptCount val="2"/>
                <c:pt idx="0">
                  <c:v>0.0029370311410465903</c:v>
                </c:pt>
                <c:pt idx="1">
                  <c:v>0.002937031141046590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80.7277985538785</c:v>
                </c:pt>
                <c:pt idx="1">
                  <c:v>3580.7277985538785</c:v>
                </c:pt>
              </c:numCache>
            </c:numRef>
          </c:xVal>
          <c:yVal>
            <c:numRef>
              <c:f>Sheet1!$B$175:$B$176</c:f>
              <c:numCache>
                <c:formatCode>General</c:formatCode>
                <c:ptCount val="2"/>
                <c:pt idx="0">
                  <c:v>0.002937031141046590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335.496992977635</c:v>
                </c:pt>
              </c:numCache>
            </c:numRef>
          </c:xVal>
          <c:yVal>
            <c:numRef>
              <c:f>Sheet1!$B$179:$B$180</c:f>
              <c:numCache>
                <c:formatCode>General</c:formatCode>
                <c:ptCount val="2"/>
                <c:pt idx="0">
                  <c:v>0.0020525150750257447</c:v>
                </c:pt>
                <c:pt idx="1">
                  <c:v>0.002052515075025744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335.496992977635</c:v>
                </c:pt>
                <c:pt idx="1">
                  <c:v>4335.496992977635</c:v>
                </c:pt>
              </c:numCache>
            </c:numRef>
          </c:xVal>
          <c:yVal>
            <c:numRef>
              <c:f>Sheet1!$B$183:$B$184</c:f>
              <c:numCache>
                <c:formatCode>General</c:formatCode>
                <c:ptCount val="2"/>
                <c:pt idx="0">
                  <c:v>0.00205251507502574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580.7277985538785</c:v>
                </c:pt>
                <c:pt idx="53">
                  <c:v>3580.7277985538785</c:v>
                </c:pt>
                <c:pt idx="54">
                  <c:v>4335.496992977635</c:v>
                </c:pt>
              </c:numCache>
            </c:numRef>
          </c:xVal>
          <c:yVal>
            <c:numRef>
              <c:f>Sheet1!$B$187:$B$241</c:f>
              <c:numCache>
                <c:formatCode>General</c:formatCode>
                <c:ptCount val="55"/>
                <c:pt idx="0">
                  <c:v>0.0020578843734526476</c:v>
                </c:pt>
                <c:pt idx="1">
                  <c:v>0.0027586879376641166</c:v>
                </c:pt>
                <c:pt idx="2">
                  <c:v>0.0020242997511462323</c:v>
                </c:pt>
                <c:pt idx="3">
                  <c:v>0.0026847367748655867</c:v>
                </c:pt>
                <c:pt idx="4">
                  <c:v>0.0019053697903512303</c:v>
                </c:pt>
                <c:pt idx="5">
                  <c:v>0.0015727345807184804</c:v>
                </c:pt>
                <c:pt idx="6">
                  <c:v>0.0018143859591532238</c:v>
                </c:pt>
                <c:pt idx="7">
                  <c:v>0.0018532072287290487</c:v>
                </c:pt>
                <c:pt idx="8">
                  <c:v>0.0021706722749428014</c:v>
                </c:pt>
                <c:pt idx="9">
                  <c:v>0.0023309187205684187</c:v>
                </c:pt>
                <c:pt idx="10">
                  <c:v>0.002278215208654291</c:v>
                </c:pt>
                <c:pt idx="11">
                  <c:v>0.0023448302604745265</c:v>
                </c:pt>
                <c:pt idx="12">
                  <c:v>0.0027258738413909658</c:v>
                </c:pt>
                <c:pt idx="13">
                  <c:v>0.0031011282229091988</c:v>
                </c:pt>
                <c:pt idx="14">
                  <c:v>0.003047917394310964</c:v>
                </c:pt>
                <c:pt idx="15">
                  <c:v>0.0027535639102453475</c:v>
                </c:pt>
                <c:pt idx="16">
                  <c:v>0.002538390736070313</c:v>
                </c:pt>
                <c:pt idx="17">
                  <c:v>0.0035903695967726967</c:v>
                </c:pt>
                <c:pt idx="18">
                  <c:v>0.0021307996914438736</c:v>
                </c:pt>
                <c:pt idx="19">
                  <c:v>0.0017374561712311266</c:v>
                </c:pt>
                <c:pt idx="20">
                  <c:v>0.001932092336326431</c:v>
                </c:pt>
                <c:pt idx="21">
                  <c:v>0.0029060296250036652</c:v>
                </c:pt>
                <c:pt idx="22">
                  <c:v>0.002488484790310719</c:v>
                </c:pt>
                <c:pt idx="23">
                  <c:v>0.0033664098476324927</c:v>
                </c:pt>
                <c:pt idx="24">
                  <c:v>0.002270725109659615</c:v>
                </c:pt>
                <c:pt idx="25">
                  <c:v>0.0025967561787481035</c:v>
                </c:pt>
                <c:pt idx="26">
                  <c:v>0.0025708027525229125</c:v>
                </c:pt>
                <c:pt idx="27">
                  <c:v>0.0028605589794388885</c:v>
                </c:pt>
                <c:pt idx="28">
                  <c:v>0.0027503119974092985</c:v>
                </c:pt>
                <c:pt idx="29">
                  <c:v>0.002762840106163669</c:v>
                </c:pt>
                <c:pt idx="30">
                  <c:v>0.002861684943564758</c:v>
                </c:pt>
                <c:pt idx="31">
                  <c:v>0.002478743466205931</c:v>
                </c:pt>
                <c:pt idx="32">
                  <c:v>0.0019086744388093291</c:v>
                </c:pt>
                <c:pt idx="33">
                  <c:v>0.002042048100532042</c:v>
                </c:pt>
                <c:pt idx="34">
                  <c:v>0.0019123075715976531</c:v>
                </c:pt>
                <c:pt idx="35">
                  <c:v>0.0022680324287978207</c:v>
                </c:pt>
                <c:pt idx="36">
                  <c:v>0.002287727425778846</c:v>
                </c:pt>
                <c:pt idx="37">
                  <c:v>0.002230032311452427</c:v>
                </c:pt>
                <c:pt idx="38">
                  <c:v>0.0028321307290660996</c:v>
                </c:pt>
                <c:pt idx="39">
                  <c:v>0.0032275648065271177</c:v>
                </c:pt>
                <c:pt idx="40">
                  <c:v>0.0033581073856777284</c:v>
                </c:pt>
                <c:pt idx="41">
                  <c:v>0.0029946203136731134</c:v>
                </c:pt>
                <c:pt idx="42">
                  <c:v>0.003192445108858009</c:v>
                </c:pt>
                <c:pt idx="43">
                  <c:v>0.0029076330222944802</c:v>
                </c:pt>
                <c:pt idx="44">
                  <c:v>0.002295548704479986</c:v>
                </c:pt>
                <c:pt idx="45">
                  <c:v>0.0021827616233217302</c:v>
                </c:pt>
                <c:pt idx="46">
                  <c:v>0.0019079654376684546</c:v>
                </c:pt>
                <c:pt idx="47">
                  <c:v>0.0023837259458725744</c:v>
                </c:pt>
                <c:pt idx="48">
                  <c:v>0.0027320849257655598</c:v>
                </c:pt>
                <c:pt idx="49">
                  <c:v>0.0026522578427681217</c:v>
                </c:pt>
                <c:pt idx="50">
                  <c:v>0.00240781534364376</c:v>
                </c:pt>
                <c:pt idx="51">
                  <c:v>0.002007239660223291</c:v>
                </c:pt>
                <c:pt idx="52">
                  <c:v>0.00293703114104659</c:v>
                </c:pt>
                <c:pt idx="53">
                  <c:v>0.00293703114104659</c:v>
                </c:pt>
                <c:pt idx="54">
                  <c:v>0.002052515075025745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35379298996214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6935067422897954</c:v>
                </c:pt>
                <c:pt idx="1">
                  <c:v>0.17906442728734268</c:v>
                </c:pt>
                <c:pt idx="2">
                  <c:v>0.17796182429900806</c:v>
                </c:pt>
                <c:pt idx="3">
                  <c:v>0.18158560859647938</c:v>
                </c:pt>
                <c:pt idx="4">
                  <c:v>0.16746916602668435</c:v>
                </c:pt>
                <c:pt idx="5">
                  <c:v>0.16085023179439042</c:v>
                </c:pt>
                <c:pt idx="6">
                  <c:v>0.1664880966042551</c:v>
                </c:pt>
                <c:pt idx="7">
                  <c:v>0.16045886005003054</c:v>
                </c:pt>
                <c:pt idx="8">
                  <c:v>0.16368228087866943</c:v>
                </c:pt>
                <c:pt idx="9">
                  <c:v>0.1601152806545914</c:v>
                </c:pt>
                <c:pt idx="10">
                  <c:v>0.15779786496731205</c:v>
                </c:pt>
                <c:pt idx="11">
                  <c:v>0.16137613990951974</c:v>
                </c:pt>
                <c:pt idx="12">
                  <c:v>0.17371422806997236</c:v>
                </c:pt>
                <c:pt idx="13">
                  <c:v>0.1683261247693534</c:v>
                </c:pt>
                <c:pt idx="14">
                  <c:v>0.18961508290028223</c:v>
                </c:pt>
                <c:pt idx="15">
                  <c:v>0.18703311748169235</c:v>
                </c:pt>
                <c:pt idx="16">
                  <c:v>0.1787968309851708</c:v>
                </c:pt>
                <c:pt idx="17">
                  <c:v>0.1771780814802415</c:v>
                </c:pt>
                <c:pt idx="18">
                  <c:v>0.16925097182496163</c:v>
                </c:pt>
                <c:pt idx="19">
                  <c:v>0.16728602528210143</c:v>
                </c:pt>
                <c:pt idx="20">
                  <c:v>0.180919666851326</c:v>
                </c:pt>
                <c:pt idx="21">
                  <c:v>0.17158298121720633</c:v>
                </c:pt>
                <c:pt idx="22">
                  <c:v>0.16537193472384135</c:v>
                </c:pt>
                <c:pt idx="23">
                  <c:v>0.1643552543726299</c:v>
                </c:pt>
                <c:pt idx="24">
                  <c:v>0.16244142031680978</c:v>
                </c:pt>
                <c:pt idx="25">
                  <c:v>0.15516528439973903</c:v>
                </c:pt>
                <c:pt idx="26">
                  <c:v>0.16252400246621634</c:v>
                </c:pt>
                <c:pt idx="27">
                  <c:v>0.15473221079229646</c:v>
                </c:pt>
                <c:pt idx="28">
                  <c:v>0.1530875448688368</c:v>
                </c:pt>
                <c:pt idx="29">
                  <c:v>0.16069341977660043</c:v>
                </c:pt>
                <c:pt idx="30">
                  <c:v>0.14830033782441673</c:v>
                </c:pt>
                <c:pt idx="31">
                  <c:v>0.14500785226697338</c:v>
                </c:pt>
                <c:pt idx="32">
                  <c:v>0.14688498513504852</c:v>
                </c:pt>
                <c:pt idx="33">
                  <c:v>0.14901305109620425</c:v>
                </c:pt>
                <c:pt idx="34">
                  <c:v>0.15668026656022818</c:v>
                </c:pt>
                <c:pt idx="35">
                  <c:v>0.16899272569457507</c:v>
                </c:pt>
                <c:pt idx="36">
                  <c:v>0.15422837755384988</c:v>
                </c:pt>
                <c:pt idx="37">
                  <c:v>0.1429565081255113</c:v>
                </c:pt>
                <c:pt idx="38">
                  <c:v>0.1442020557738456</c:v>
                </c:pt>
                <c:pt idx="39">
                  <c:v>0.1502718327521765</c:v>
                </c:pt>
                <c:pt idx="40">
                  <c:v>0.16497188956962391</c:v>
                </c:pt>
                <c:pt idx="41">
                  <c:v>0.15769099918199897</c:v>
                </c:pt>
                <c:pt idx="42">
                  <c:v>0.1618378046962045</c:v>
                </c:pt>
                <c:pt idx="43">
                  <c:v>0.17259079758736157</c:v>
                </c:pt>
                <c:pt idx="44">
                  <c:v>0.18734432782892857</c:v>
                </c:pt>
                <c:pt idx="45">
                  <c:v>0.1962803923657752</c:v>
                </c:pt>
                <c:pt idx="46">
                  <c:v>0.1878973809685733</c:v>
                </c:pt>
                <c:pt idx="47">
                  <c:v>0.18695744136492654</c:v>
                </c:pt>
                <c:pt idx="48">
                  <c:v>0.1997304822871898</c:v>
                </c:pt>
                <c:pt idx="49">
                  <c:v>0.20190479560829988</c:v>
                </c:pt>
                <c:pt idx="50">
                  <c:v>0.1825020733781855</c:v>
                </c:pt>
                <c:pt idx="51">
                  <c:v>0.16746073577522097</c:v>
                </c:pt>
                <c:pt idx="52">
                  <c:v>0.17729051366318685</c:v>
                </c:pt>
                <c:pt idx="53">
                  <c:v>0.197952118967841</c:v>
                </c:pt>
                <c:pt idx="54">
                  <c:v>0.18869421707491743</c:v>
                </c:pt>
                <c:pt idx="55">
                  <c:v>0.18960999722720667</c:v>
                </c:pt>
                <c:pt idx="56">
                  <c:v>0.19040484733037705</c:v>
                </c:pt>
                <c:pt idx="57">
                  <c:v>0.1914155114521097</c:v>
                </c:pt>
                <c:pt idx="58">
                  <c:v>0.2051646144762297</c:v>
                </c:pt>
                <c:pt idx="59">
                  <c:v>0.23223891414083733</c:v>
                </c:pt>
                <c:pt idx="60">
                  <c:v>0.2342587572264182</c:v>
                </c:pt>
                <c:pt idx="61">
                  <c:v>0.2090932269926801</c:v>
                </c:pt>
                <c:pt idx="62">
                  <c:v>0.18857979402814434</c:v>
                </c:pt>
                <c:pt idx="63">
                  <c:v>0.19453922315349492</c:v>
                </c:pt>
                <c:pt idx="64">
                  <c:v>0.20314216551764097</c:v>
                </c:pt>
                <c:pt idx="65">
                  <c:v>0.19887095029264978</c:v>
                </c:pt>
                <c:pt idx="66">
                  <c:v>0.2184772583098317</c:v>
                </c:pt>
                <c:pt idx="67">
                  <c:v>0.21866727755630103</c:v>
                </c:pt>
                <c:pt idx="68">
                  <c:v>0.20601303371271207</c:v>
                </c:pt>
                <c:pt idx="69">
                  <c:v>0.2017934295861343</c:v>
                </c:pt>
                <c:pt idx="70">
                  <c:v>0.1965982390982255</c:v>
                </c:pt>
                <c:pt idx="71">
                  <c:v>0.19387371004600934</c:v>
                </c:pt>
                <c:pt idx="72">
                  <c:v>0.20546200974057835</c:v>
                </c:pt>
                <c:pt idx="73">
                  <c:v>0.19977466805659796</c:v>
                </c:pt>
                <c:pt idx="74">
                  <c:v>0.20126953999395528</c:v>
                </c:pt>
                <c:pt idx="75">
                  <c:v>0.19279048888497802</c:v>
                </c:pt>
                <c:pt idx="76">
                  <c:v>0.18411659508943984</c:v>
                </c:pt>
                <c:pt idx="77">
                  <c:v>0.18155760322196327</c:v>
                </c:pt>
                <c:pt idx="78">
                  <c:v>0.17693212854870138</c:v>
                </c:pt>
                <c:pt idx="79">
                  <c:v>0.16906274253861298</c:v>
                </c:pt>
                <c:pt idx="80">
                  <c:v>0.16948009844143597</c:v>
                </c:pt>
                <c:pt idx="81">
                  <c:v>0.18462490647097005</c:v>
                </c:pt>
                <c:pt idx="82">
                  <c:v>0.17504869065706638</c:v>
                </c:pt>
                <c:pt idx="83">
                  <c:v>0.16733370547792636</c:v>
                </c:pt>
                <c:pt idx="84">
                  <c:v>0.1667089704494037</c:v>
                </c:pt>
                <c:pt idx="85">
                  <c:v>0.16798823158775436</c:v>
                </c:pt>
                <c:pt idx="86">
                  <c:v>0.17738047245685418</c:v>
                </c:pt>
                <c:pt idx="87">
                  <c:v>0.19737822309166184</c:v>
                </c:pt>
                <c:pt idx="88">
                  <c:v>0.17851185615494378</c:v>
                </c:pt>
                <c:pt idx="89">
                  <c:v>0.17319095599185658</c:v>
                </c:pt>
                <c:pt idx="90">
                  <c:v>0.17325313171656448</c:v>
                </c:pt>
                <c:pt idx="91">
                  <c:v>0.1782779315821854</c:v>
                </c:pt>
                <c:pt idx="92">
                  <c:v>0.185636544986134</c:v>
                </c:pt>
                <c:pt idx="93">
                  <c:v>0.18526786471704929</c:v>
                </c:pt>
                <c:pt idx="94">
                  <c:v>0.1807153506686778</c:v>
                </c:pt>
                <c:pt idx="95">
                  <c:v>0.1959990510373539</c:v>
                </c:pt>
                <c:pt idx="96">
                  <c:v>0.19219980825904906</c:v>
                </c:pt>
                <c:pt idx="97">
                  <c:v>0.20792965824417442</c:v>
                </c:pt>
                <c:pt idx="98">
                  <c:v>0.21429752484114026</c:v>
                </c:pt>
                <c:pt idx="99">
                  <c:v>0.2212786334279383</c:v>
                </c:pt>
                <c:pt idx="100">
                  <c:v>0.22409683778087433</c:v>
                </c:pt>
                <c:pt idx="101">
                  <c:v>0.23246062066077214</c:v>
                </c:pt>
                <c:pt idx="102">
                  <c:v>0.2292315521426852</c:v>
                </c:pt>
                <c:pt idx="103">
                  <c:v>0.21017994422443817</c:v>
                </c:pt>
                <c:pt idx="104">
                  <c:v>0.20754276681420136</c:v>
                </c:pt>
              </c:numCache>
            </c:numRef>
          </c:xVal>
          <c:yVal>
            <c:numRef>
              <c:f>Sheet1!$B$2:$B$106</c:f>
              <c:numCache>
                <c:formatCode>General</c:formatCode>
                <c:ptCount val="105"/>
                <c:pt idx="0">
                  <c:v>0.17871326449563146</c:v>
                </c:pt>
                <c:pt idx="1">
                  <c:v>0.17244395844723892</c:v>
                </c:pt>
                <c:pt idx="2">
                  <c:v>0.17025336584331602</c:v>
                </c:pt>
                <c:pt idx="3">
                  <c:v>0.17527895135954935</c:v>
                </c:pt>
                <c:pt idx="4">
                  <c:v>0.21203293223559214</c:v>
                </c:pt>
                <c:pt idx="5">
                  <c:v>0.21191523390643743</c:v>
                </c:pt>
                <c:pt idx="6">
                  <c:v>0.2379850938062195</c:v>
                </c:pt>
                <c:pt idx="7">
                  <c:v>0.22453605326533504</c:v>
                </c:pt>
                <c:pt idx="8">
                  <c:v>0.23006896551724138</c:v>
                </c:pt>
                <c:pt idx="9">
                  <c:v>0.22907280056912496</c:v>
                </c:pt>
                <c:pt idx="10">
                  <c:v>0.21959048146098506</c:v>
                </c:pt>
                <c:pt idx="11">
                  <c:v>0.2169830788278993</c:v>
                </c:pt>
                <c:pt idx="12">
                  <c:v>0.19853345554537122</c:v>
                </c:pt>
                <c:pt idx="13">
                  <c:v>0.18983121483642426</c:v>
                </c:pt>
                <c:pt idx="14">
                  <c:v>0.16496579567118985</c:v>
                </c:pt>
                <c:pt idx="15">
                  <c:v>0.15082936865115082</c:v>
                </c:pt>
                <c:pt idx="16">
                  <c:v>0.14701200983938648</c:v>
                </c:pt>
                <c:pt idx="17">
                  <c:v>0.147643475472908</c:v>
                </c:pt>
                <c:pt idx="18">
                  <c:v>0.13295118343195267</c:v>
                </c:pt>
                <c:pt idx="19">
                  <c:v>0.12522982635342186</c:v>
                </c:pt>
                <c:pt idx="20">
                  <c:v>0.16063919259882253</c:v>
                </c:pt>
                <c:pt idx="21">
                  <c:v>0.1484842633713072</c:v>
                </c:pt>
                <c:pt idx="22">
                  <c:v>0.12748835239305378</c:v>
                </c:pt>
                <c:pt idx="23">
                  <c:v>0.1453639514731369</c:v>
                </c:pt>
                <c:pt idx="24">
                  <c:v>0.1491442542787286</c:v>
                </c:pt>
                <c:pt idx="25">
                  <c:v>0.13845099383139137</c:v>
                </c:pt>
                <c:pt idx="26">
                  <c:v>0.14704225352112676</c:v>
                </c:pt>
                <c:pt idx="27">
                  <c:v>0.1636990235496841</c:v>
                </c:pt>
                <c:pt idx="28">
                  <c:v>0.17227456258411844</c:v>
                </c:pt>
                <c:pt idx="29">
                  <c:v>0.1650602409638554</c:v>
                </c:pt>
                <c:pt idx="30">
                  <c:v>0.17488692655610596</c:v>
                </c:pt>
                <c:pt idx="31">
                  <c:v>0.1566265060240964</c:v>
                </c:pt>
                <c:pt idx="32">
                  <c:v>0.16640952171038131</c:v>
                </c:pt>
                <c:pt idx="33">
                  <c:v>0.16251189343482397</c:v>
                </c:pt>
                <c:pt idx="34">
                  <c:v>0.17239574245332404</c:v>
                </c:pt>
                <c:pt idx="35">
                  <c:v>0.22559293987865417</c:v>
                </c:pt>
                <c:pt idx="36">
                  <c:v>0.18735215265730956</c:v>
                </c:pt>
                <c:pt idx="37">
                  <c:v>0.17413793103448275</c:v>
                </c:pt>
                <c:pt idx="38">
                  <c:v>0.16989128431914502</c:v>
                </c:pt>
                <c:pt idx="39">
                  <c:v>0.1693499082942735</c:v>
                </c:pt>
                <c:pt idx="40">
                  <c:v>0.16853556485355647</c:v>
                </c:pt>
                <c:pt idx="41">
                  <c:v>0.1634011090573013</c:v>
                </c:pt>
                <c:pt idx="42">
                  <c:v>0.17408335944844877</c:v>
                </c:pt>
                <c:pt idx="43">
                  <c:v>0.1715578716401536</c:v>
                </c:pt>
                <c:pt idx="44">
                  <c:v>0.16095854098186832</c:v>
                </c:pt>
                <c:pt idx="45">
                  <c:v>0.1548496315475005</c:v>
                </c:pt>
                <c:pt idx="46">
                  <c:v>0.1563079324812177</c:v>
                </c:pt>
                <c:pt idx="47">
                  <c:v>0.15777888944472235</c:v>
                </c:pt>
                <c:pt idx="48">
                  <c:v>0.15445402298850575</c:v>
                </c:pt>
                <c:pt idx="49">
                  <c:v>0.17856437598736177</c:v>
                </c:pt>
                <c:pt idx="50">
                  <c:v>0.15999038615606473</c:v>
                </c:pt>
                <c:pt idx="51">
                  <c:v>0.1646090534979424</c:v>
                </c:pt>
                <c:pt idx="52">
                  <c:v>0.16628440366972477</c:v>
                </c:pt>
                <c:pt idx="53">
                  <c:v>0.15564566437928884</c:v>
                </c:pt>
                <c:pt idx="54">
                  <c:v>0.1579898362507058</c:v>
                </c:pt>
                <c:pt idx="55">
                  <c:v>0.15723419370116032</c:v>
                </c:pt>
                <c:pt idx="56">
                  <c:v>0.1649002849002849</c:v>
                </c:pt>
                <c:pt idx="57">
                  <c:v>0.14748238177918496</c:v>
                </c:pt>
                <c:pt idx="58">
                  <c:v>0.14757606773983437</c:v>
                </c:pt>
                <c:pt idx="59">
                  <c:v>0.1363914373088685</c:v>
                </c:pt>
                <c:pt idx="60">
                  <c:v>0.13633191651335405</c:v>
                </c:pt>
                <c:pt idx="61">
                  <c:v>0.14007287518006947</c:v>
                </c:pt>
                <c:pt idx="62">
                  <c:v>0.16141627473600142</c:v>
                </c:pt>
                <c:pt idx="63">
                  <c:v>0.1601366742596811</c:v>
                </c:pt>
                <c:pt idx="64">
                  <c:v>0.15851528384279476</c:v>
                </c:pt>
                <c:pt idx="65">
                  <c:v>0.16333200478278198</c:v>
                </c:pt>
                <c:pt idx="66">
                  <c:v>0.1540864133263925</c:v>
                </c:pt>
                <c:pt idx="67">
                  <c:v>0.14832707103238504</c:v>
                </c:pt>
                <c:pt idx="68">
                  <c:v>0.13880673125956144</c:v>
                </c:pt>
                <c:pt idx="69">
                  <c:v>0.12687079500205958</c:v>
                </c:pt>
                <c:pt idx="70">
                  <c:v>0.12676238520243177</c:v>
                </c:pt>
                <c:pt idx="71">
                  <c:v>0.12544192745842608</c:v>
                </c:pt>
                <c:pt idx="72">
                  <c:v>0.1374246987951807</c:v>
                </c:pt>
                <c:pt idx="73">
                  <c:v>0.13767193071828834</c:v>
                </c:pt>
                <c:pt idx="74">
                  <c:v>0.1292578681517938</c:v>
                </c:pt>
                <c:pt idx="75">
                  <c:v>0.13484009840098402</c:v>
                </c:pt>
                <c:pt idx="76">
                  <c:v>0.13730818414322252</c:v>
                </c:pt>
                <c:pt idx="77">
                  <c:v>0.1371135671952587</c:v>
                </c:pt>
                <c:pt idx="78">
                  <c:v>0.14234234234234233</c:v>
                </c:pt>
                <c:pt idx="79">
                  <c:v>0.14733944954128442</c:v>
                </c:pt>
                <c:pt idx="80">
                  <c:v>0.14644351464435146</c:v>
                </c:pt>
                <c:pt idx="81">
                  <c:v>0.13844343092540826</c:v>
                </c:pt>
                <c:pt idx="82">
                  <c:v>0.13989637305699482</c:v>
                </c:pt>
                <c:pt idx="83">
                  <c:v>0.12342569269521411</c:v>
                </c:pt>
                <c:pt idx="84">
                  <c:v>0.12353616532721011</c:v>
                </c:pt>
                <c:pt idx="85">
                  <c:v>0.11733112993183227</c:v>
                </c:pt>
                <c:pt idx="86">
                  <c:v>0.12542061792597126</c:v>
                </c:pt>
                <c:pt idx="87">
                  <c:v>0.15615700722686693</c:v>
                </c:pt>
                <c:pt idx="88">
                  <c:v>0.16099179325999652</c:v>
                </c:pt>
                <c:pt idx="89">
                  <c:v>0.12866817155756208</c:v>
                </c:pt>
                <c:pt idx="90">
                  <c:v>0.12739222888072685</c:v>
                </c:pt>
                <c:pt idx="91">
                  <c:v>0.12940528634361234</c:v>
                </c:pt>
                <c:pt idx="92">
                  <c:v>0.1431384428960921</c:v>
                </c:pt>
                <c:pt idx="93">
                  <c:v>0.12367733956300674</c:v>
                </c:pt>
                <c:pt idx="94">
                  <c:v>0.12312166747455162</c:v>
                </c:pt>
                <c:pt idx="95">
                  <c:v>0.1336003770028275</c:v>
                </c:pt>
                <c:pt idx="96">
                  <c:v>0.13879582655307743</c:v>
                </c:pt>
                <c:pt idx="97">
                  <c:v>0.13529557259460798</c:v>
                </c:pt>
                <c:pt idx="98">
                  <c:v>0.1486593914865939</c:v>
                </c:pt>
                <c:pt idx="99">
                  <c:v>0.14808979913351714</c:v>
                </c:pt>
                <c:pt idx="100">
                  <c:v>0.1637249736564805</c:v>
                </c:pt>
                <c:pt idx="101">
                  <c:v>0.1358774212200058</c:v>
                </c:pt>
                <c:pt idx="102">
                  <c:v>0.12760005738057667</c:v>
                </c:pt>
                <c:pt idx="103">
                  <c:v>0.14489073561095722</c:v>
                </c:pt>
                <c:pt idx="104">
                  <c:v>0.1486293905608181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47545169430075</c:v>
                </c:pt>
                <c:pt idx="1">
                  <c:v>0.2194223963374357</c:v>
                </c:pt>
                <c:pt idx="2">
                  <c:v>0.2238278615836536</c:v>
                </c:pt>
                <c:pt idx="3">
                  <c:v>0.23091904424003606</c:v>
                </c:pt>
                <c:pt idx="4">
                  <c:v>0.22295818031390288</c:v>
                </c:pt>
                <c:pt idx="5">
                  <c:v>0.22479648293560087</c:v>
                </c:pt>
                <c:pt idx="6">
                  <c:v>0.22007947946140455</c:v>
                </c:pt>
                <c:pt idx="7">
                  <c:v>0.21287529393408935</c:v>
                </c:pt>
                <c:pt idx="8">
                  <c:v>0.20989683345774587</c:v>
                </c:pt>
                <c:pt idx="9">
                  <c:v>0.19225370829006547</c:v>
                </c:pt>
                <c:pt idx="10">
                  <c:v>0.20451481544107558</c:v>
                </c:pt>
                <c:pt idx="11">
                  <c:v>0.23332582594518017</c:v>
                </c:pt>
                <c:pt idx="12">
                  <c:v>0.22938917949009685</c:v>
                </c:pt>
                <c:pt idx="13">
                  <c:v>0.19888225438737775</c:v>
                </c:pt>
                <c:pt idx="14">
                  <c:v>0.2181779209908584</c:v>
                </c:pt>
                <c:pt idx="15">
                  <c:v>0.1941989013315618</c:v>
                </c:pt>
                <c:pt idx="16">
                  <c:v>0.20452897491877925</c:v>
                </c:pt>
                <c:pt idx="17">
                  <c:v>0.20358711676289581</c:v>
                </c:pt>
                <c:pt idx="18">
                  <c:v>0.19397223180532727</c:v>
                </c:pt>
                <c:pt idx="19">
                  <c:v>0.2089192002483098</c:v>
                </c:pt>
                <c:pt idx="20">
                  <c:v>0.18458682564327442</c:v>
                </c:pt>
                <c:pt idx="21">
                  <c:v>0.1786244611957522</c:v>
                </c:pt>
                <c:pt idx="22">
                  <c:v>0.18098772091404036</c:v>
                </c:pt>
                <c:pt idx="23">
                  <c:v>0.1515822426191175</c:v>
                </c:pt>
                <c:pt idx="24">
                  <c:v>0.1489583275621169</c:v>
                </c:pt>
                <c:pt idx="25">
                  <c:v>0.15468075874156662</c:v>
                </c:pt>
                <c:pt idx="26">
                  <c:v>0.16189757540496927</c:v>
                </c:pt>
                <c:pt idx="27">
                  <c:v>0.16874288422311398</c:v>
                </c:pt>
                <c:pt idx="28">
                  <c:v>0.1771114018642612</c:v>
                </c:pt>
                <c:pt idx="29">
                  <c:v>0.16896894463077222</c:v>
                </c:pt>
                <c:pt idx="30">
                  <c:v>0.16604430513167234</c:v>
                </c:pt>
                <c:pt idx="31">
                  <c:v>0.16783915997400828</c:v>
                </c:pt>
                <c:pt idx="32">
                  <c:v>0.16068218918180524</c:v>
                </c:pt>
                <c:pt idx="33">
                  <c:v>0.17153149873324797</c:v>
                </c:pt>
                <c:pt idx="34">
                  <c:v>0.1885081734768436</c:v>
                </c:pt>
                <c:pt idx="35">
                  <c:v>0.18575187889872605</c:v>
                </c:pt>
                <c:pt idx="36">
                  <c:v>0.16477853613614704</c:v>
                </c:pt>
                <c:pt idx="37">
                  <c:v>0.165396883003536</c:v>
                </c:pt>
                <c:pt idx="38">
                  <c:v>0.1666805455239409</c:v>
                </c:pt>
                <c:pt idx="39">
                  <c:v>0.18451101911823348</c:v>
                </c:pt>
                <c:pt idx="40">
                  <c:v>0.17942509091574987</c:v>
                </c:pt>
                <c:pt idx="41">
                  <c:v>0.18437748598898004</c:v>
                </c:pt>
                <c:pt idx="42">
                  <c:v>0.17828138592368323</c:v>
                </c:pt>
                <c:pt idx="43">
                  <c:v>0.1820491630049145</c:v>
                </c:pt>
                <c:pt idx="44">
                  <c:v>0.18662720238886132</c:v>
                </c:pt>
                <c:pt idx="45">
                  <c:v>0.19909517013442726</c:v>
                </c:pt>
                <c:pt idx="46">
                  <c:v>0.1872427813288848</c:v>
                </c:pt>
                <c:pt idx="47">
                  <c:v>0.18739737303248666</c:v>
                </c:pt>
                <c:pt idx="48">
                  <c:v>0.18409588186057413</c:v>
                </c:pt>
                <c:pt idx="49">
                  <c:v>0.19571738748450007</c:v>
                </c:pt>
                <c:pt idx="50">
                  <c:v>0.2080958743016358</c:v>
                </c:pt>
                <c:pt idx="51">
                  <c:v>0.1920978523566094</c:v>
                </c:pt>
              </c:numCache>
            </c:numRef>
          </c:xVal>
          <c:yVal>
            <c:numRef>
              <c:f>Sheet1!$B$109:$B$160</c:f>
              <c:numCache>
                <c:formatCode>General</c:formatCode>
                <c:ptCount val="52"/>
                <c:pt idx="0">
                  <c:v>0.16759550924804134</c:v>
                </c:pt>
                <c:pt idx="1">
                  <c:v>0.15955711956055274</c:v>
                </c:pt>
                <c:pt idx="2">
                  <c:v>0.1663496592169916</c:v>
                </c:pt>
                <c:pt idx="3">
                  <c:v>0.16841864716636198</c:v>
                </c:pt>
                <c:pt idx="4">
                  <c:v>0.15833942643594118</c:v>
                </c:pt>
                <c:pt idx="5">
                  <c:v>0.14581855442579017</c:v>
                </c:pt>
                <c:pt idx="6">
                  <c:v>0.12964761988872206</c:v>
                </c:pt>
                <c:pt idx="7">
                  <c:v>0.12263473053892215</c:v>
                </c:pt>
                <c:pt idx="8">
                  <c:v>0.13044006807682956</c:v>
                </c:pt>
                <c:pt idx="9">
                  <c:v>0.13955033780042086</c:v>
                </c:pt>
                <c:pt idx="10">
                  <c:v>0.14554038797085087</c:v>
                </c:pt>
                <c:pt idx="11">
                  <c:v>0.1365592342144551</c:v>
                </c:pt>
                <c:pt idx="12">
                  <c:v>0.14403628117913833</c:v>
                </c:pt>
                <c:pt idx="13">
                  <c:v>0.15101714488762547</c:v>
                </c:pt>
                <c:pt idx="14">
                  <c:v>0.1358304583538689</c:v>
                </c:pt>
                <c:pt idx="15">
                  <c:v>0.14728050519454064</c:v>
                </c:pt>
                <c:pt idx="16">
                  <c:v>0.1274432267540391</c:v>
                </c:pt>
                <c:pt idx="17">
                  <c:v>0.11591355599214145</c:v>
                </c:pt>
                <c:pt idx="18">
                  <c:v>0.12824850069198832</c:v>
                </c:pt>
                <c:pt idx="19">
                  <c:v>0.14616755793226383</c:v>
                </c:pt>
                <c:pt idx="20">
                  <c:v>0.13756316676024705</c:v>
                </c:pt>
                <c:pt idx="21">
                  <c:v>0.13103324991061852</c:v>
                </c:pt>
                <c:pt idx="22">
                  <c:v>0.1367814020544242</c:v>
                </c:pt>
                <c:pt idx="23">
                  <c:v>0.15877437325905291</c:v>
                </c:pt>
                <c:pt idx="24">
                  <c:v>0.15927616563417019</c:v>
                </c:pt>
                <c:pt idx="25">
                  <c:v>0.14803418803418802</c:v>
                </c:pt>
                <c:pt idx="26">
                  <c:v>0.13899811933663875</c:v>
                </c:pt>
                <c:pt idx="27">
                  <c:v>0.12880451835582052</c:v>
                </c:pt>
                <c:pt idx="28">
                  <c:v>0.12376237623762376</c:v>
                </c:pt>
                <c:pt idx="29">
                  <c:v>0.12100611828687967</c:v>
                </c:pt>
                <c:pt idx="30">
                  <c:v>0.1306049822064057</c:v>
                </c:pt>
                <c:pt idx="31">
                  <c:v>0.11788372560852947</c:v>
                </c:pt>
                <c:pt idx="32">
                  <c:v>0.11280761631040058</c:v>
                </c:pt>
                <c:pt idx="33">
                  <c:v>0.13306959180003597</c:v>
                </c:pt>
                <c:pt idx="34">
                  <c:v>0.1514814814814815</c:v>
                </c:pt>
                <c:pt idx="35">
                  <c:v>0.16462418300653595</c:v>
                </c:pt>
                <c:pt idx="36">
                  <c:v>0.13451029844472467</c:v>
                </c:pt>
                <c:pt idx="37">
                  <c:v>0.13987820631112752</c:v>
                </c:pt>
                <c:pt idx="38">
                  <c:v>0.13057919867137222</c:v>
                </c:pt>
                <c:pt idx="39">
                  <c:v>0.15516976494085113</c:v>
                </c:pt>
                <c:pt idx="40">
                  <c:v>0.14730073276506656</c:v>
                </c:pt>
                <c:pt idx="41">
                  <c:v>0.15453005927180355</c:v>
                </c:pt>
                <c:pt idx="42">
                  <c:v>0.1465903819390753</c:v>
                </c:pt>
                <c:pt idx="43">
                  <c:v>0.15350039330261828</c:v>
                </c:pt>
                <c:pt idx="44">
                  <c:v>0.14648492204275979</c:v>
                </c:pt>
                <c:pt idx="45">
                  <c:v>0.14991050119331742</c:v>
                </c:pt>
                <c:pt idx="46">
                  <c:v>0.15446855461566752</c:v>
                </c:pt>
                <c:pt idx="47">
                  <c:v>0.1564245810055866</c:v>
                </c:pt>
                <c:pt idx="48">
                  <c:v>0.16450281425891183</c:v>
                </c:pt>
                <c:pt idx="49">
                  <c:v>0.17764407853071565</c:v>
                </c:pt>
                <c:pt idx="50">
                  <c:v>0.20582333428887342</c:v>
                </c:pt>
                <c:pt idx="51">
                  <c:v>0.1861741283544134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858567294235629</c:v>
                </c:pt>
              </c:numCache>
            </c:numRef>
          </c:xVal>
          <c:yVal>
            <c:numRef>
              <c:f>Sheet1!$B$163:$B$164</c:f>
              <c:numCache>
                <c:formatCode>General</c:formatCode>
                <c:ptCount val="2"/>
                <c:pt idx="0">
                  <c:v>0.20146975765295125</c:v>
                </c:pt>
                <c:pt idx="1">
                  <c:v>0.2014697576529512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858567294235629</c:v>
                </c:pt>
                <c:pt idx="1">
                  <c:v>0.4858567294235629</c:v>
                </c:pt>
              </c:numCache>
            </c:numRef>
          </c:xVal>
          <c:yVal>
            <c:numRef>
              <c:f>Sheet1!$B$167:$B$168</c:f>
              <c:numCache>
                <c:formatCode>General</c:formatCode>
                <c:ptCount val="2"/>
                <c:pt idx="0">
                  <c:v>0.201469757652951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9144210708520827</c:v>
                </c:pt>
              </c:numCache>
            </c:numRef>
          </c:xVal>
          <c:yVal>
            <c:numRef>
              <c:f>Sheet1!$B$171:$B$172</c:f>
              <c:numCache>
                <c:formatCode>General</c:formatCode>
                <c:ptCount val="2"/>
                <c:pt idx="0">
                  <c:v>0.18353608885822859</c:v>
                </c:pt>
                <c:pt idx="1">
                  <c:v>0.1835360888582285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9144210708520827</c:v>
                </c:pt>
                <c:pt idx="1">
                  <c:v>0.39144210708520827</c:v>
                </c:pt>
              </c:numCache>
            </c:numRef>
          </c:xVal>
          <c:yVal>
            <c:numRef>
              <c:f>Sheet1!$B$175:$B$176</c:f>
              <c:numCache>
                <c:formatCode>General</c:formatCode>
                <c:ptCount val="2"/>
                <c:pt idx="0">
                  <c:v>0.1835360888582285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750344941041781</c:v>
                </c:pt>
              </c:numCache>
            </c:numRef>
          </c:xVal>
          <c:yVal>
            <c:numRef>
              <c:f>Sheet1!$B$179:$B$180</c:f>
              <c:numCache>
                <c:formatCode>General</c:formatCode>
                <c:ptCount val="2"/>
                <c:pt idx="0">
                  <c:v>0.16142494203920466</c:v>
                </c:pt>
                <c:pt idx="1">
                  <c:v>0.1614249420392046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750344941041781</c:v>
                </c:pt>
                <c:pt idx="1">
                  <c:v>0.2750344941041781</c:v>
                </c:pt>
              </c:numCache>
            </c:numRef>
          </c:xVal>
          <c:yVal>
            <c:numRef>
              <c:f>Sheet1!$B$183:$B$184</c:f>
              <c:numCache>
                <c:formatCode>General</c:formatCode>
                <c:ptCount val="2"/>
                <c:pt idx="0">
                  <c:v>0.1614249420392046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47545169430075</c:v>
                </c:pt>
                <c:pt idx="1">
                  <c:v>0.2194223963374357</c:v>
                </c:pt>
                <c:pt idx="2">
                  <c:v>0.2238278615836536</c:v>
                </c:pt>
                <c:pt idx="3">
                  <c:v>0.23091904424003606</c:v>
                </c:pt>
                <c:pt idx="4">
                  <c:v>0.22295818031390288</c:v>
                </c:pt>
                <c:pt idx="5">
                  <c:v>0.22479648293560087</c:v>
                </c:pt>
                <c:pt idx="6">
                  <c:v>0.22007947946140455</c:v>
                </c:pt>
                <c:pt idx="7">
                  <c:v>0.21287529393408935</c:v>
                </c:pt>
                <c:pt idx="8">
                  <c:v>0.20989683345774587</c:v>
                </c:pt>
                <c:pt idx="9">
                  <c:v>0.19225370829006547</c:v>
                </c:pt>
                <c:pt idx="10">
                  <c:v>0.20451481544107558</c:v>
                </c:pt>
                <c:pt idx="11">
                  <c:v>0.23332582594518017</c:v>
                </c:pt>
                <c:pt idx="12">
                  <c:v>0.22938917949009685</c:v>
                </c:pt>
                <c:pt idx="13">
                  <c:v>0.19888225438737775</c:v>
                </c:pt>
                <c:pt idx="14">
                  <c:v>0.2181779209908584</c:v>
                </c:pt>
                <c:pt idx="15">
                  <c:v>0.1941989013315618</c:v>
                </c:pt>
                <c:pt idx="16">
                  <c:v>0.20452897491877925</c:v>
                </c:pt>
                <c:pt idx="17">
                  <c:v>0.20358711676289581</c:v>
                </c:pt>
                <c:pt idx="18">
                  <c:v>0.19397223180532727</c:v>
                </c:pt>
                <c:pt idx="19">
                  <c:v>0.2089192002483098</c:v>
                </c:pt>
                <c:pt idx="20">
                  <c:v>0.18458682564327442</c:v>
                </c:pt>
                <c:pt idx="21">
                  <c:v>0.1786244611957522</c:v>
                </c:pt>
                <c:pt idx="22">
                  <c:v>0.18098772091404036</c:v>
                </c:pt>
                <c:pt idx="23">
                  <c:v>0.1515822426191175</c:v>
                </c:pt>
                <c:pt idx="24">
                  <c:v>0.1489583275621169</c:v>
                </c:pt>
                <c:pt idx="25">
                  <c:v>0.15468075874156662</c:v>
                </c:pt>
                <c:pt idx="26">
                  <c:v>0.16189757540496927</c:v>
                </c:pt>
                <c:pt idx="27">
                  <c:v>0.16874288422311398</c:v>
                </c:pt>
                <c:pt idx="28">
                  <c:v>0.1771114018642612</c:v>
                </c:pt>
                <c:pt idx="29">
                  <c:v>0.16896894463077222</c:v>
                </c:pt>
                <c:pt idx="30">
                  <c:v>0.16604430513167234</c:v>
                </c:pt>
                <c:pt idx="31">
                  <c:v>0.16783915997400828</c:v>
                </c:pt>
                <c:pt idx="32">
                  <c:v>0.16068218918180524</c:v>
                </c:pt>
                <c:pt idx="33">
                  <c:v>0.17153149873324797</c:v>
                </c:pt>
                <c:pt idx="34">
                  <c:v>0.1885081734768436</c:v>
                </c:pt>
                <c:pt idx="35">
                  <c:v>0.18575187889872605</c:v>
                </c:pt>
                <c:pt idx="36">
                  <c:v>0.16477853613614704</c:v>
                </c:pt>
                <c:pt idx="37">
                  <c:v>0.165396883003536</c:v>
                </c:pt>
                <c:pt idx="38">
                  <c:v>0.1666805455239409</c:v>
                </c:pt>
                <c:pt idx="39">
                  <c:v>0.18451101911823348</c:v>
                </c:pt>
                <c:pt idx="40">
                  <c:v>0.17942509091574987</c:v>
                </c:pt>
                <c:pt idx="41">
                  <c:v>0.18437748598898004</c:v>
                </c:pt>
                <c:pt idx="42">
                  <c:v>0.17828138592368323</c:v>
                </c:pt>
                <c:pt idx="43">
                  <c:v>0.1820491630049145</c:v>
                </c:pt>
                <c:pt idx="44">
                  <c:v>0.18662720238886132</c:v>
                </c:pt>
                <c:pt idx="45">
                  <c:v>0.19909517013442726</c:v>
                </c:pt>
                <c:pt idx="46">
                  <c:v>0.1872427813288848</c:v>
                </c:pt>
                <c:pt idx="47">
                  <c:v>0.18739737303248666</c:v>
                </c:pt>
                <c:pt idx="48">
                  <c:v>0.18409588186057413</c:v>
                </c:pt>
                <c:pt idx="49">
                  <c:v>0.19571738748450007</c:v>
                </c:pt>
                <c:pt idx="50">
                  <c:v>0.2080958743016358</c:v>
                </c:pt>
                <c:pt idx="51">
                  <c:v>0.1920978523566094</c:v>
                </c:pt>
                <c:pt idx="52">
                  <c:v>0.39144210708520827</c:v>
                </c:pt>
                <c:pt idx="53">
                  <c:v>0.4858567294235629</c:v>
                </c:pt>
                <c:pt idx="54">
                  <c:v>0.2750344941041781</c:v>
                </c:pt>
              </c:numCache>
            </c:numRef>
          </c:xVal>
          <c:yVal>
            <c:numRef>
              <c:f>Sheet1!$B$187:$B$241</c:f>
              <c:numCache>
                <c:formatCode>General</c:formatCode>
                <c:ptCount val="55"/>
                <c:pt idx="0">
                  <c:v>0.15187446738726773</c:v>
                </c:pt>
                <c:pt idx="1">
                  <c:v>0.15086165303133936</c:v>
                </c:pt>
                <c:pt idx="2">
                  <c:v>0.15169845301693055</c:v>
                </c:pt>
                <c:pt idx="3">
                  <c:v>0.1530453939671014</c:v>
                </c:pt>
                <c:pt idx="4">
                  <c:v>0.15153326064034306</c:v>
                </c:pt>
                <c:pt idx="5">
                  <c:v>0.15188243865478088</c:v>
                </c:pt>
                <c:pt idx="6">
                  <c:v>0.15098646326543244</c:v>
                </c:pt>
                <c:pt idx="7">
                  <c:v>0.14961805788517685</c:v>
                </c:pt>
                <c:pt idx="8">
                  <c:v>0.1490523115804414</c:v>
                </c:pt>
                <c:pt idx="9">
                  <c:v>0.14570107259409976</c:v>
                </c:pt>
                <c:pt idx="10">
                  <c:v>0.14803001941670962</c:v>
                </c:pt>
                <c:pt idx="11">
                  <c:v>0.15350255224293044</c:v>
                </c:pt>
                <c:pt idx="12">
                  <c:v>0.15275480245652154</c:v>
                </c:pt>
                <c:pt idx="13">
                  <c:v>0.14696013763461585</c:v>
                </c:pt>
                <c:pt idx="14">
                  <c:v>0.15062527006293927</c:v>
                </c:pt>
                <c:pt idx="15">
                  <c:v>0.14607055400369517</c:v>
                </c:pt>
                <c:pt idx="16">
                  <c:v>0.14803270895120285</c:v>
                </c:pt>
                <c:pt idx="17">
                  <c:v>0.14785380687225697</c:v>
                </c:pt>
                <c:pt idx="18">
                  <c:v>0.14602749906041768</c:v>
                </c:pt>
                <c:pt idx="19">
                  <c:v>0.1488666141773642</c:v>
                </c:pt>
                <c:pt idx="20">
                  <c:v>0.14424477980098965</c:v>
                </c:pt>
                <c:pt idx="21">
                  <c:v>0.14311225322208648</c:v>
                </c:pt>
                <c:pt idx="22">
                  <c:v>0.14356114467569847</c:v>
                </c:pt>
                <c:pt idx="23">
                  <c:v>0.13797569514012026</c:v>
                </c:pt>
                <c:pt idx="24">
                  <c:v>0.137477293278075</c:v>
                </c:pt>
                <c:pt idx="25">
                  <c:v>0.13856424552054727</c:v>
                </c:pt>
                <c:pt idx="26">
                  <c:v>0.1399350501330985</c:v>
                </c:pt>
                <c:pt idx="27">
                  <c:v>0.1412352883599937</c:v>
                </c:pt>
                <c:pt idx="28">
                  <c:v>0.14282485383155052</c:v>
                </c:pt>
                <c:pt idx="29">
                  <c:v>0.14127822760370548</c:v>
                </c:pt>
                <c:pt idx="30">
                  <c:v>0.14072270437200884</c:v>
                </c:pt>
                <c:pt idx="31">
                  <c:v>0.14106362965963753</c:v>
                </c:pt>
                <c:pt idx="32">
                  <c:v>0.13970419252392668</c:v>
                </c:pt>
                <c:pt idx="33">
                  <c:v>0.14176497420507053</c:v>
                </c:pt>
                <c:pt idx="34">
                  <c:v>0.14498962367722856</c:v>
                </c:pt>
                <c:pt idx="35">
                  <c:v>0.14446607687017252</c:v>
                </c:pt>
                <c:pt idx="36">
                  <c:v>0.14048227676266006</c:v>
                </c:pt>
                <c:pt idx="37">
                  <c:v>0.14059972920429847</c:v>
                </c:pt>
                <c:pt idx="38">
                  <c:v>0.14084355561502793</c:v>
                </c:pt>
                <c:pt idx="39">
                  <c:v>0.1442303806636644</c:v>
                </c:pt>
                <c:pt idx="40">
                  <c:v>0.14326432954109344</c:v>
                </c:pt>
                <c:pt idx="41">
                  <c:v>0.14420501659553764</c:v>
                </c:pt>
                <c:pt idx="42">
                  <c:v>0.14304708748664674</c:v>
                </c:pt>
                <c:pt idx="43">
                  <c:v>0.1437627612307517</c:v>
                </c:pt>
                <c:pt idx="44">
                  <c:v>0.14463234096329222</c:v>
                </c:pt>
                <c:pt idx="45">
                  <c:v>0.14700058010416345</c:v>
                </c:pt>
                <c:pt idx="46">
                  <c:v>0.14474926764852353</c:v>
                </c:pt>
                <c:pt idx="47">
                  <c:v>0.14477863170614663</c:v>
                </c:pt>
                <c:pt idx="48">
                  <c:v>0.14415152705075124</c:v>
                </c:pt>
                <c:pt idx="49">
                  <c:v>0.14635898419662202</c:v>
                </c:pt>
                <c:pt idx="50">
                  <c:v>0.14871022680354365</c:v>
                </c:pt>
                <c:pt idx="51">
                  <c:v>0.14567146840122086</c:v>
                </c:pt>
                <c:pt idx="52">
                  <c:v>0.18353608885822859</c:v>
                </c:pt>
                <c:pt idx="53">
                  <c:v>0.20146975765295125</c:v>
                </c:pt>
                <c:pt idx="54">
                  <c:v>0.1614249420392046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558211256746335"/>
          <c:min val="0.0902460930483204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19.7617</c:v>
                </c:pt>
                <c:pt idx="1">
                  <c:v>968.4889</c:v>
                </c:pt>
                <c:pt idx="2">
                  <c:v>978.6737</c:v>
                </c:pt>
                <c:pt idx="3">
                  <c:v>988.5581</c:v>
                </c:pt>
                <c:pt idx="4">
                  <c:v>941.4731</c:v>
                </c:pt>
                <c:pt idx="5">
                  <c:v>914.0893</c:v>
                </c:pt>
                <c:pt idx="6">
                  <c:v>916.8947</c:v>
                </c:pt>
                <c:pt idx="7">
                  <c:v>911.1192</c:v>
                </c:pt>
                <c:pt idx="8">
                  <c:v>915.1229</c:v>
                </c:pt>
                <c:pt idx="9">
                  <c:v>871.9622</c:v>
                </c:pt>
                <c:pt idx="10">
                  <c:v>835.0343</c:v>
                </c:pt>
                <c:pt idx="11">
                  <c:v>828.98</c:v>
                </c:pt>
                <c:pt idx="12">
                  <c:v>865.837</c:v>
                </c:pt>
                <c:pt idx="13">
                  <c:v>852.9094</c:v>
                </c:pt>
                <c:pt idx="14">
                  <c:v>982.1822</c:v>
                </c:pt>
                <c:pt idx="15">
                  <c:v>1002.7042</c:v>
                </c:pt>
                <c:pt idx="16">
                  <c:v>1006.0217</c:v>
                </c:pt>
                <c:pt idx="17">
                  <c:v>1013.7644</c:v>
                </c:pt>
                <c:pt idx="18">
                  <c:v>1053.3199</c:v>
                </c:pt>
                <c:pt idx="19">
                  <c:v>1057.9869</c:v>
                </c:pt>
                <c:pt idx="20">
                  <c:v>1082.7853</c:v>
                </c:pt>
                <c:pt idx="21">
                  <c:v>1080.1899</c:v>
                </c:pt>
                <c:pt idx="22">
                  <c:v>1096.2342</c:v>
                </c:pt>
                <c:pt idx="23">
                  <c:v>1086.1013</c:v>
                </c:pt>
                <c:pt idx="24">
                  <c:v>1089.9863</c:v>
                </c:pt>
                <c:pt idx="25">
                  <c:v>1090.5347</c:v>
                </c:pt>
                <c:pt idx="26">
                  <c:v>1087.5632</c:v>
                </c:pt>
                <c:pt idx="27">
                  <c:v>1074.276</c:v>
                </c:pt>
                <c:pt idx="28">
                  <c:v>1078.8013</c:v>
                </c:pt>
                <c:pt idx="29">
                  <c:v>1110.4901</c:v>
                </c:pt>
                <c:pt idx="30">
                  <c:v>1106.4741</c:v>
                </c:pt>
                <c:pt idx="31">
                  <c:v>1110.3379</c:v>
                </c:pt>
                <c:pt idx="32">
                  <c:v>1109.2397</c:v>
                </c:pt>
                <c:pt idx="33">
                  <c:v>1106.1206</c:v>
                </c:pt>
                <c:pt idx="34">
                  <c:v>1101.2328</c:v>
                </c:pt>
                <c:pt idx="35">
                  <c:v>1107.0789</c:v>
                </c:pt>
                <c:pt idx="36">
                  <c:v>1107.3889</c:v>
                </c:pt>
                <c:pt idx="37">
                  <c:v>1123.1496</c:v>
                </c:pt>
                <c:pt idx="38">
                  <c:v>1124.7202</c:v>
                </c:pt>
                <c:pt idx="39">
                  <c:v>1181.6643</c:v>
                </c:pt>
                <c:pt idx="40">
                  <c:v>1208.5253</c:v>
                </c:pt>
                <c:pt idx="41">
                  <c:v>1220.8314</c:v>
                </c:pt>
                <c:pt idx="42">
                  <c:v>1223.18</c:v>
                </c:pt>
                <c:pt idx="43">
                  <c:v>1228.1207</c:v>
                </c:pt>
                <c:pt idx="44">
                  <c:v>1240.7688</c:v>
                </c:pt>
                <c:pt idx="45">
                  <c:v>1233.1846</c:v>
                </c:pt>
                <c:pt idx="46">
                  <c:v>1179.4713</c:v>
                </c:pt>
                <c:pt idx="47">
                  <c:v>1172.3183</c:v>
                </c:pt>
                <c:pt idx="48">
                  <c:v>1120.507</c:v>
                </c:pt>
                <c:pt idx="49">
                  <c:v>1024.6798</c:v>
                </c:pt>
                <c:pt idx="50">
                  <c:v>1060.5503</c:v>
                </c:pt>
                <c:pt idx="51">
                  <c:v>1034.3245</c:v>
                </c:pt>
                <c:pt idx="52">
                  <c:v>1014.3784</c:v>
                </c:pt>
                <c:pt idx="53">
                  <c:v>1243.0414</c:v>
                </c:pt>
                <c:pt idx="54">
                  <c:v>1235.1487</c:v>
                </c:pt>
                <c:pt idx="55">
                  <c:v>1235.805</c:v>
                </c:pt>
                <c:pt idx="56">
                  <c:v>1234.1824</c:v>
                </c:pt>
                <c:pt idx="57">
                  <c:v>1242.6704</c:v>
                </c:pt>
                <c:pt idx="58">
                  <c:v>1241.1324</c:v>
                </c:pt>
                <c:pt idx="59">
                  <c:v>1239.3448</c:v>
                </c:pt>
                <c:pt idx="60">
                  <c:v>1247.9935</c:v>
                </c:pt>
                <c:pt idx="61">
                  <c:v>1188.6951</c:v>
                </c:pt>
                <c:pt idx="62">
                  <c:v>1077.9522</c:v>
                </c:pt>
                <c:pt idx="63">
                  <c:v>1083.0403</c:v>
                </c:pt>
                <c:pt idx="64">
                  <c:v>1091.05</c:v>
                </c:pt>
                <c:pt idx="65">
                  <c:v>1090.8111</c:v>
                </c:pt>
                <c:pt idx="66">
                  <c:v>1220.491</c:v>
                </c:pt>
                <c:pt idx="67">
                  <c:v>1245.6622</c:v>
                </c:pt>
                <c:pt idx="68">
                  <c:v>1232.1381</c:v>
                </c:pt>
                <c:pt idx="69">
                  <c:v>1271.6872</c:v>
                </c:pt>
                <c:pt idx="70">
                  <c:v>1266.6255</c:v>
                </c:pt>
                <c:pt idx="71">
                  <c:v>1262.548</c:v>
                </c:pt>
                <c:pt idx="72">
                  <c:v>1277.5772</c:v>
                </c:pt>
                <c:pt idx="73">
                  <c:v>1261.3543</c:v>
                </c:pt>
                <c:pt idx="74">
                  <c:v>1281.0581</c:v>
                </c:pt>
                <c:pt idx="75">
                  <c:v>1265.0422</c:v>
                </c:pt>
                <c:pt idx="76">
                  <c:v>1211.6077</c:v>
                </c:pt>
                <c:pt idx="77">
                  <c:v>1199.1729</c:v>
                </c:pt>
                <c:pt idx="78">
                  <c:v>1213.7785</c:v>
                </c:pt>
                <c:pt idx="79">
                  <c:v>1242.1955</c:v>
                </c:pt>
                <c:pt idx="80">
                  <c:v>1264.2783</c:v>
                </c:pt>
                <c:pt idx="81">
                  <c:v>1316.6727</c:v>
                </c:pt>
                <c:pt idx="82">
                  <c:v>1334.0317</c:v>
                </c:pt>
                <c:pt idx="83">
                  <c:v>1334.2226</c:v>
                </c:pt>
                <c:pt idx="84">
                  <c:v>1345.6375</c:v>
                </c:pt>
                <c:pt idx="85">
                  <c:v>1346.6109</c:v>
                </c:pt>
                <c:pt idx="86">
                  <c:v>1349.528</c:v>
                </c:pt>
                <c:pt idx="87">
                  <c:v>1337.4574</c:v>
                </c:pt>
                <c:pt idx="88">
                  <c:v>1354.4523</c:v>
                </c:pt>
                <c:pt idx="89">
                  <c:v>1369.7822</c:v>
                </c:pt>
                <c:pt idx="90">
                  <c:v>1367.9924</c:v>
                </c:pt>
                <c:pt idx="91">
                  <c:v>1353.3447</c:v>
                </c:pt>
                <c:pt idx="92">
                  <c:v>1342.2688</c:v>
                </c:pt>
                <c:pt idx="93">
                  <c:v>1332.2189</c:v>
                </c:pt>
                <c:pt idx="94">
                  <c:v>1349.2415</c:v>
                </c:pt>
                <c:pt idx="95">
                  <c:v>1336.8942</c:v>
                </c:pt>
                <c:pt idx="96">
                  <c:v>1225.6862</c:v>
                </c:pt>
                <c:pt idx="97">
                  <c:v>1263.0433</c:v>
                </c:pt>
                <c:pt idx="98">
                  <c:v>1215.1682</c:v>
                </c:pt>
                <c:pt idx="99">
                  <c:v>1204.9229</c:v>
                </c:pt>
                <c:pt idx="100">
                  <c:v>1106.9971</c:v>
                </c:pt>
                <c:pt idx="101">
                  <c:v>1292.2309</c:v>
                </c:pt>
                <c:pt idx="102">
                  <c:v>1272.751</c:v>
                </c:pt>
                <c:pt idx="103">
                  <c:v>1200.6081</c:v>
                </c:pt>
                <c:pt idx="104">
                  <c:v>1187.5781</c:v>
                </c:pt>
              </c:numCache>
            </c:numRef>
          </c:xVal>
          <c:yVal>
            <c:numRef>
              <c:f>Sheet1!$B$2:$B$106</c:f>
              <c:numCache>
                <c:formatCode>General</c:formatCode>
                <c:ptCount val="105"/>
                <c:pt idx="0">
                  <c:v>0.17871326449563146</c:v>
                </c:pt>
                <c:pt idx="1">
                  <c:v>0.17244395844723892</c:v>
                </c:pt>
                <c:pt idx="2">
                  <c:v>0.17025336584331602</c:v>
                </c:pt>
                <c:pt idx="3">
                  <c:v>0.17527895135954935</c:v>
                </c:pt>
                <c:pt idx="4">
                  <c:v>0.21203293223559214</c:v>
                </c:pt>
                <c:pt idx="5">
                  <c:v>0.21191523390643743</c:v>
                </c:pt>
                <c:pt idx="6">
                  <c:v>0.2379850938062195</c:v>
                </c:pt>
                <c:pt idx="7">
                  <c:v>0.22453605326533504</c:v>
                </c:pt>
                <c:pt idx="8">
                  <c:v>0.23006896551724138</c:v>
                </c:pt>
                <c:pt idx="9">
                  <c:v>0.22907280056912496</c:v>
                </c:pt>
                <c:pt idx="10">
                  <c:v>0.21959048146098506</c:v>
                </c:pt>
                <c:pt idx="11">
                  <c:v>0.2169830788278993</c:v>
                </c:pt>
                <c:pt idx="12">
                  <c:v>0.19853345554537122</c:v>
                </c:pt>
                <c:pt idx="13">
                  <c:v>0.18983121483642426</c:v>
                </c:pt>
                <c:pt idx="14">
                  <c:v>0.16496579567118985</c:v>
                </c:pt>
                <c:pt idx="15">
                  <c:v>0.15082936865115082</c:v>
                </c:pt>
                <c:pt idx="16">
                  <c:v>0.14701200983938648</c:v>
                </c:pt>
                <c:pt idx="17">
                  <c:v>0.147643475472908</c:v>
                </c:pt>
                <c:pt idx="18">
                  <c:v>0.13295118343195267</c:v>
                </c:pt>
                <c:pt idx="19">
                  <c:v>0.12522982635342186</c:v>
                </c:pt>
                <c:pt idx="20">
                  <c:v>0.16063919259882253</c:v>
                </c:pt>
                <c:pt idx="21">
                  <c:v>0.1484842633713072</c:v>
                </c:pt>
                <c:pt idx="22">
                  <c:v>0.12748835239305378</c:v>
                </c:pt>
                <c:pt idx="23">
                  <c:v>0.1453639514731369</c:v>
                </c:pt>
                <c:pt idx="24">
                  <c:v>0.1491442542787286</c:v>
                </c:pt>
                <c:pt idx="25">
                  <c:v>0.13845099383139137</c:v>
                </c:pt>
                <c:pt idx="26">
                  <c:v>0.14704225352112676</c:v>
                </c:pt>
                <c:pt idx="27">
                  <c:v>0.1636990235496841</c:v>
                </c:pt>
                <c:pt idx="28">
                  <c:v>0.17227456258411844</c:v>
                </c:pt>
                <c:pt idx="29">
                  <c:v>0.1650602409638554</c:v>
                </c:pt>
                <c:pt idx="30">
                  <c:v>0.17488692655610596</c:v>
                </c:pt>
                <c:pt idx="31">
                  <c:v>0.1566265060240964</c:v>
                </c:pt>
                <c:pt idx="32">
                  <c:v>0.16640952171038131</c:v>
                </c:pt>
                <c:pt idx="33">
                  <c:v>0.16251189343482397</c:v>
                </c:pt>
                <c:pt idx="34">
                  <c:v>0.17239574245332404</c:v>
                </c:pt>
                <c:pt idx="35">
                  <c:v>0.22559293987865417</c:v>
                </c:pt>
                <c:pt idx="36">
                  <c:v>0.18735215265730956</c:v>
                </c:pt>
                <c:pt idx="37">
                  <c:v>0.17413793103448275</c:v>
                </c:pt>
                <c:pt idx="38">
                  <c:v>0.16989128431914502</c:v>
                </c:pt>
                <c:pt idx="39">
                  <c:v>0.1693499082942735</c:v>
                </c:pt>
                <c:pt idx="40">
                  <c:v>0.16853556485355647</c:v>
                </c:pt>
                <c:pt idx="41">
                  <c:v>0.1634011090573013</c:v>
                </c:pt>
                <c:pt idx="42">
                  <c:v>0.17408335944844877</c:v>
                </c:pt>
                <c:pt idx="43">
                  <c:v>0.1715578716401536</c:v>
                </c:pt>
                <c:pt idx="44">
                  <c:v>0.16095854098186832</c:v>
                </c:pt>
                <c:pt idx="45">
                  <c:v>0.1548496315475005</c:v>
                </c:pt>
                <c:pt idx="46">
                  <c:v>0.1563079324812177</c:v>
                </c:pt>
                <c:pt idx="47">
                  <c:v>0.15777888944472235</c:v>
                </c:pt>
                <c:pt idx="48">
                  <c:v>0.15445402298850575</c:v>
                </c:pt>
                <c:pt idx="49">
                  <c:v>0.17856437598736177</c:v>
                </c:pt>
                <c:pt idx="50">
                  <c:v>0.15999038615606473</c:v>
                </c:pt>
                <c:pt idx="51">
                  <c:v>0.1646090534979424</c:v>
                </c:pt>
                <c:pt idx="52">
                  <c:v>0.16628440366972477</c:v>
                </c:pt>
                <c:pt idx="53">
                  <c:v>0.15564566437928884</c:v>
                </c:pt>
                <c:pt idx="54">
                  <c:v>0.1579898362507058</c:v>
                </c:pt>
                <c:pt idx="55">
                  <c:v>0.15723419370116032</c:v>
                </c:pt>
                <c:pt idx="56">
                  <c:v>0.1649002849002849</c:v>
                </c:pt>
                <c:pt idx="57">
                  <c:v>0.14748238177918496</c:v>
                </c:pt>
                <c:pt idx="58">
                  <c:v>0.14757606773983437</c:v>
                </c:pt>
                <c:pt idx="59">
                  <c:v>0.1363914373088685</c:v>
                </c:pt>
                <c:pt idx="60">
                  <c:v>0.13633191651335405</c:v>
                </c:pt>
                <c:pt idx="61">
                  <c:v>0.14007287518006947</c:v>
                </c:pt>
                <c:pt idx="62">
                  <c:v>0.16141627473600142</c:v>
                </c:pt>
                <c:pt idx="63">
                  <c:v>0.1601366742596811</c:v>
                </c:pt>
                <c:pt idx="64">
                  <c:v>0.15851528384279476</c:v>
                </c:pt>
                <c:pt idx="65">
                  <c:v>0.16333200478278198</c:v>
                </c:pt>
                <c:pt idx="66">
                  <c:v>0.1540864133263925</c:v>
                </c:pt>
                <c:pt idx="67">
                  <c:v>0.14832707103238504</c:v>
                </c:pt>
                <c:pt idx="68">
                  <c:v>0.13880673125956144</c:v>
                </c:pt>
                <c:pt idx="69">
                  <c:v>0.12687079500205958</c:v>
                </c:pt>
                <c:pt idx="70">
                  <c:v>0.12676238520243177</c:v>
                </c:pt>
                <c:pt idx="71">
                  <c:v>0.12544192745842608</c:v>
                </c:pt>
                <c:pt idx="72">
                  <c:v>0.1374246987951807</c:v>
                </c:pt>
                <c:pt idx="73">
                  <c:v>0.13767193071828834</c:v>
                </c:pt>
                <c:pt idx="74">
                  <c:v>0.1292578681517938</c:v>
                </c:pt>
                <c:pt idx="75">
                  <c:v>0.13484009840098402</c:v>
                </c:pt>
                <c:pt idx="76">
                  <c:v>0.13730818414322252</c:v>
                </c:pt>
                <c:pt idx="77">
                  <c:v>0.1371135671952587</c:v>
                </c:pt>
                <c:pt idx="78">
                  <c:v>0.14234234234234233</c:v>
                </c:pt>
                <c:pt idx="79">
                  <c:v>0.14733944954128442</c:v>
                </c:pt>
                <c:pt idx="80">
                  <c:v>0.14644351464435146</c:v>
                </c:pt>
                <c:pt idx="81">
                  <c:v>0.13844343092540826</c:v>
                </c:pt>
                <c:pt idx="82">
                  <c:v>0.13989637305699482</c:v>
                </c:pt>
                <c:pt idx="83">
                  <c:v>0.12342569269521411</c:v>
                </c:pt>
                <c:pt idx="84">
                  <c:v>0.12353616532721011</c:v>
                </c:pt>
                <c:pt idx="85">
                  <c:v>0.11733112993183227</c:v>
                </c:pt>
                <c:pt idx="86">
                  <c:v>0.12542061792597126</c:v>
                </c:pt>
                <c:pt idx="87">
                  <c:v>0.15615700722686693</c:v>
                </c:pt>
                <c:pt idx="88">
                  <c:v>0.16099179325999652</c:v>
                </c:pt>
                <c:pt idx="89">
                  <c:v>0.12866817155756208</c:v>
                </c:pt>
                <c:pt idx="90">
                  <c:v>0.12739222888072685</c:v>
                </c:pt>
                <c:pt idx="91">
                  <c:v>0.12940528634361234</c:v>
                </c:pt>
                <c:pt idx="92">
                  <c:v>0.1431384428960921</c:v>
                </c:pt>
                <c:pt idx="93">
                  <c:v>0.12367733956300674</c:v>
                </c:pt>
                <c:pt idx="94">
                  <c:v>0.12312166747455162</c:v>
                </c:pt>
                <c:pt idx="95">
                  <c:v>0.1336003770028275</c:v>
                </c:pt>
                <c:pt idx="96">
                  <c:v>0.13879582655307743</c:v>
                </c:pt>
                <c:pt idx="97">
                  <c:v>0.13529557259460798</c:v>
                </c:pt>
                <c:pt idx="98">
                  <c:v>0.1486593914865939</c:v>
                </c:pt>
                <c:pt idx="99">
                  <c:v>0.14808979913351714</c:v>
                </c:pt>
                <c:pt idx="100">
                  <c:v>0.1637249736564805</c:v>
                </c:pt>
                <c:pt idx="101">
                  <c:v>0.1358774212200058</c:v>
                </c:pt>
                <c:pt idx="102">
                  <c:v>0.12760005738057667</c:v>
                </c:pt>
                <c:pt idx="103">
                  <c:v>0.14489073561095722</c:v>
                </c:pt>
                <c:pt idx="104">
                  <c:v>0.1486293905608181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72.3769</c:v>
                </c:pt>
                <c:pt idx="1">
                  <c:v>1273.1296</c:v>
                </c:pt>
                <c:pt idx="2">
                  <c:v>1302.415</c:v>
                </c:pt>
                <c:pt idx="3">
                  <c:v>1326.3668</c:v>
                </c:pt>
                <c:pt idx="4">
                  <c:v>1315.7537</c:v>
                </c:pt>
                <c:pt idx="5">
                  <c:v>1321.7919</c:v>
                </c:pt>
                <c:pt idx="6">
                  <c:v>1320.22</c:v>
                </c:pt>
                <c:pt idx="7">
                  <c:v>1314.166</c:v>
                </c:pt>
                <c:pt idx="8">
                  <c:v>1324.4045</c:v>
                </c:pt>
                <c:pt idx="9">
                  <c:v>1157.7675</c:v>
                </c:pt>
                <c:pt idx="10">
                  <c:v>1186.3984</c:v>
                </c:pt>
                <c:pt idx="11">
                  <c:v>1320.8785</c:v>
                </c:pt>
                <c:pt idx="12">
                  <c:v>1296.3715</c:v>
                </c:pt>
                <c:pt idx="13">
                  <c:v>1197.7465</c:v>
                </c:pt>
                <c:pt idx="14">
                  <c:v>1319.172</c:v>
                </c:pt>
                <c:pt idx="15">
                  <c:v>1225.4308</c:v>
                </c:pt>
                <c:pt idx="16">
                  <c:v>1331.1383</c:v>
                </c:pt>
                <c:pt idx="17">
                  <c:v>1342.6471</c:v>
                </c:pt>
                <c:pt idx="18">
                  <c:v>1392.0791</c:v>
                </c:pt>
                <c:pt idx="19">
                  <c:v>1367.4538</c:v>
                </c:pt>
                <c:pt idx="20">
                  <c:v>1286.4367</c:v>
                </c:pt>
                <c:pt idx="21">
                  <c:v>1299.704</c:v>
                </c:pt>
                <c:pt idx="22">
                  <c:v>1283.2793</c:v>
                </c:pt>
                <c:pt idx="23">
                  <c:v>1172.1436</c:v>
                </c:pt>
                <c:pt idx="24">
                  <c:v>1153.4094</c:v>
                </c:pt>
                <c:pt idx="25">
                  <c:v>1207.888</c:v>
                </c:pt>
                <c:pt idx="26">
                  <c:v>1251.1845</c:v>
                </c:pt>
                <c:pt idx="27">
                  <c:v>1313.6468</c:v>
                </c:pt>
                <c:pt idx="28">
                  <c:v>1359.968</c:v>
                </c:pt>
                <c:pt idx="29">
                  <c:v>1349.3132</c:v>
                </c:pt>
                <c:pt idx="30">
                  <c:v>1352.4305</c:v>
                </c:pt>
                <c:pt idx="31">
                  <c:v>1348.7713</c:v>
                </c:pt>
                <c:pt idx="32">
                  <c:v>1351.2404</c:v>
                </c:pt>
                <c:pt idx="33">
                  <c:v>1356.3797</c:v>
                </c:pt>
                <c:pt idx="34">
                  <c:v>1371.4882</c:v>
                </c:pt>
                <c:pt idx="35">
                  <c:v>1359.9545</c:v>
                </c:pt>
                <c:pt idx="36">
                  <c:v>1346.5016</c:v>
                </c:pt>
                <c:pt idx="37">
                  <c:v>1346.3364</c:v>
                </c:pt>
                <c:pt idx="38">
                  <c:v>1331.8728</c:v>
                </c:pt>
                <c:pt idx="39">
                  <c:v>1357.3931</c:v>
                </c:pt>
                <c:pt idx="40">
                  <c:v>1351.1635</c:v>
                </c:pt>
                <c:pt idx="41">
                  <c:v>1355.8128</c:v>
                </c:pt>
                <c:pt idx="42">
                  <c:v>1350.711</c:v>
                </c:pt>
                <c:pt idx="43">
                  <c:v>1332.7643</c:v>
                </c:pt>
                <c:pt idx="44">
                  <c:v>1290.1071</c:v>
                </c:pt>
                <c:pt idx="45">
                  <c:v>1292.298</c:v>
                </c:pt>
                <c:pt idx="46">
                  <c:v>1294.4256</c:v>
                </c:pt>
                <c:pt idx="47">
                  <c:v>1285.2908</c:v>
                </c:pt>
                <c:pt idx="48">
                  <c:v>1206.3983</c:v>
                </c:pt>
                <c:pt idx="49">
                  <c:v>1173.9947</c:v>
                </c:pt>
                <c:pt idx="50">
                  <c:v>1132.7079</c:v>
                </c:pt>
                <c:pt idx="51">
                  <c:v>1161.9306</c:v>
                </c:pt>
              </c:numCache>
            </c:numRef>
          </c:xVal>
          <c:yVal>
            <c:numRef>
              <c:f>Sheet1!$B$109:$B$160</c:f>
              <c:numCache>
                <c:formatCode>General</c:formatCode>
                <c:ptCount val="52"/>
                <c:pt idx="0">
                  <c:v>0.16759550924804134</c:v>
                </c:pt>
                <c:pt idx="1">
                  <c:v>0.15955711956055274</c:v>
                </c:pt>
                <c:pt idx="2">
                  <c:v>0.1663496592169916</c:v>
                </c:pt>
                <c:pt idx="3">
                  <c:v>0.16841864716636198</c:v>
                </c:pt>
                <c:pt idx="4">
                  <c:v>0.15833942643594118</c:v>
                </c:pt>
                <c:pt idx="5">
                  <c:v>0.14581855442579017</c:v>
                </c:pt>
                <c:pt idx="6">
                  <c:v>0.12964761988872206</c:v>
                </c:pt>
                <c:pt idx="7">
                  <c:v>0.12263473053892215</c:v>
                </c:pt>
                <c:pt idx="8">
                  <c:v>0.13044006807682956</c:v>
                </c:pt>
                <c:pt idx="9">
                  <c:v>0.13955033780042086</c:v>
                </c:pt>
                <c:pt idx="10">
                  <c:v>0.14554038797085087</c:v>
                </c:pt>
                <c:pt idx="11">
                  <c:v>0.1365592342144551</c:v>
                </c:pt>
                <c:pt idx="12">
                  <c:v>0.14403628117913833</c:v>
                </c:pt>
                <c:pt idx="13">
                  <c:v>0.15101714488762547</c:v>
                </c:pt>
                <c:pt idx="14">
                  <c:v>0.1358304583538689</c:v>
                </c:pt>
                <c:pt idx="15">
                  <c:v>0.14728050519454064</c:v>
                </c:pt>
                <c:pt idx="16">
                  <c:v>0.1274432267540391</c:v>
                </c:pt>
                <c:pt idx="17">
                  <c:v>0.11591355599214145</c:v>
                </c:pt>
                <c:pt idx="18">
                  <c:v>0.12824850069198832</c:v>
                </c:pt>
                <c:pt idx="19">
                  <c:v>0.14616755793226383</c:v>
                </c:pt>
                <c:pt idx="20">
                  <c:v>0.13756316676024705</c:v>
                </c:pt>
                <c:pt idx="21">
                  <c:v>0.13103324991061852</c:v>
                </c:pt>
                <c:pt idx="22">
                  <c:v>0.1367814020544242</c:v>
                </c:pt>
                <c:pt idx="23">
                  <c:v>0.15877437325905291</c:v>
                </c:pt>
                <c:pt idx="24">
                  <c:v>0.15927616563417019</c:v>
                </c:pt>
                <c:pt idx="25">
                  <c:v>0.14803418803418802</c:v>
                </c:pt>
                <c:pt idx="26">
                  <c:v>0.13899811933663875</c:v>
                </c:pt>
                <c:pt idx="27">
                  <c:v>0.12880451835582052</c:v>
                </c:pt>
                <c:pt idx="28">
                  <c:v>0.12376237623762376</c:v>
                </c:pt>
                <c:pt idx="29">
                  <c:v>0.12100611828687967</c:v>
                </c:pt>
                <c:pt idx="30">
                  <c:v>0.1306049822064057</c:v>
                </c:pt>
                <c:pt idx="31">
                  <c:v>0.11788372560852947</c:v>
                </c:pt>
                <c:pt idx="32">
                  <c:v>0.11280761631040058</c:v>
                </c:pt>
                <c:pt idx="33">
                  <c:v>0.13306959180003597</c:v>
                </c:pt>
                <c:pt idx="34">
                  <c:v>0.1514814814814815</c:v>
                </c:pt>
                <c:pt idx="35">
                  <c:v>0.16462418300653595</c:v>
                </c:pt>
                <c:pt idx="36">
                  <c:v>0.13451029844472467</c:v>
                </c:pt>
                <c:pt idx="37">
                  <c:v>0.13987820631112752</c:v>
                </c:pt>
                <c:pt idx="38">
                  <c:v>0.13057919867137222</c:v>
                </c:pt>
                <c:pt idx="39">
                  <c:v>0.15516976494085113</c:v>
                </c:pt>
                <c:pt idx="40">
                  <c:v>0.14730073276506656</c:v>
                </c:pt>
                <c:pt idx="41">
                  <c:v>0.15453005927180355</c:v>
                </c:pt>
                <c:pt idx="42">
                  <c:v>0.1465903819390753</c:v>
                </c:pt>
                <c:pt idx="43">
                  <c:v>0.15350039330261828</c:v>
                </c:pt>
                <c:pt idx="44">
                  <c:v>0.14648492204275979</c:v>
                </c:pt>
                <c:pt idx="45">
                  <c:v>0.14991050119331742</c:v>
                </c:pt>
                <c:pt idx="46">
                  <c:v>0.15446855461566752</c:v>
                </c:pt>
                <c:pt idx="47">
                  <c:v>0.1564245810055866</c:v>
                </c:pt>
                <c:pt idx="48">
                  <c:v>0.16450281425891183</c:v>
                </c:pt>
                <c:pt idx="49">
                  <c:v>0.17764407853071565</c:v>
                </c:pt>
                <c:pt idx="50">
                  <c:v>0.20582333428887342</c:v>
                </c:pt>
                <c:pt idx="51">
                  <c:v>0.1861741283544134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4.7185251775132</c:v>
                </c:pt>
              </c:numCache>
            </c:numRef>
          </c:xVal>
          <c:yVal>
            <c:numRef>
              <c:f>Sheet1!$B$163:$B$164</c:f>
              <c:numCache>
                <c:formatCode>General</c:formatCode>
                <c:ptCount val="2"/>
                <c:pt idx="0">
                  <c:v>0.20146975765295125</c:v>
                </c:pt>
                <c:pt idx="1">
                  <c:v>0.2014697576529512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4.7185251775132</c:v>
                </c:pt>
                <c:pt idx="1">
                  <c:v>924.7185251775132</c:v>
                </c:pt>
              </c:numCache>
            </c:numRef>
          </c:xVal>
          <c:yVal>
            <c:numRef>
              <c:f>Sheet1!$B$167:$B$168</c:f>
              <c:numCache>
                <c:formatCode>General</c:formatCode>
                <c:ptCount val="2"/>
                <c:pt idx="0">
                  <c:v>0.201469757652951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43.2643609022869</c:v>
                </c:pt>
              </c:numCache>
            </c:numRef>
          </c:xVal>
          <c:yVal>
            <c:numRef>
              <c:f>Sheet1!$B$171:$B$172</c:f>
              <c:numCache>
                <c:formatCode>General</c:formatCode>
                <c:ptCount val="2"/>
                <c:pt idx="0">
                  <c:v>0.18353608885822859</c:v>
                </c:pt>
                <c:pt idx="1">
                  <c:v>0.1835360888582285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43.2643609022869</c:v>
                </c:pt>
                <c:pt idx="1">
                  <c:v>1043.2643609022869</c:v>
                </c:pt>
              </c:numCache>
            </c:numRef>
          </c:xVal>
          <c:yVal>
            <c:numRef>
              <c:f>Sheet1!$B$175:$B$176</c:f>
              <c:numCache>
                <c:formatCode>General</c:formatCode>
                <c:ptCount val="2"/>
                <c:pt idx="0">
                  <c:v>0.1835360888582285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9.4243245158502</c:v>
                </c:pt>
              </c:numCache>
            </c:numRef>
          </c:xVal>
          <c:yVal>
            <c:numRef>
              <c:f>Sheet1!$B$179:$B$180</c:f>
              <c:numCache>
                <c:formatCode>General</c:formatCode>
                <c:ptCount val="2"/>
                <c:pt idx="0">
                  <c:v>0.16142494203920466</c:v>
                </c:pt>
                <c:pt idx="1">
                  <c:v>0.1614249420392046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9.4243245158502</c:v>
                </c:pt>
                <c:pt idx="1">
                  <c:v>1189.4243245158502</c:v>
                </c:pt>
              </c:numCache>
            </c:numRef>
          </c:xVal>
          <c:yVal>
            <c:numRef>
              <c:f>Sheet1!$B$183:$B$184</c:f>
              <c:numCache>
                <c:formatCode>General</c:formatCode>
                <c:ptCount val="2"/>
                <c:pt idx="0">
                  <c:v>0.1614249420392046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72.3769</c:v>
                </c:pt>
                <c:pt idx="1">
                  <c:v>1273.1296</c:v>
                </c:pt>
                <c:pt idx="2">
                  <c:v>1302.415</c:v>
                </c:pt>
                <c:pt idx="3">
                  <c:v>1326.3668</c:v>
                </c:pt>
                <c:pt idx="4">
                  <c:v>1315.7537</c:v>
                </c:pt>
                <c:pt idx="5">
                  <c:v>1321.7919</c:v>
                </c:pt>
                <c:pt idx="6">
                  <c:v>1320.22</c:v>
                </c:pt>
                <c:pt idx="7">
                  <c:v>1314.166</c:v>
                </c:pt>
                <c:pt idx="8">
                  <c:v>1324.4045</c:v>
                </c:pt>
                <c:pt idx="9">
                  <c:v>1157.7675</c:v>
                </c:pt>
                <c:pt idx="10">
                  <c:v>1186.3984</c:v>
                </c:pt>
                <c:pt idx="11">
                  <c:v>1320.8785</c:v>
                </c:pt>
                <c:pt idx="12">
                  <c:v>1296.3715</c:v>
                </c:pt>
                <c:pt idx="13">
                  <c:v>1197.7465</c:v>
                </c:pt>
                <c:pt idx="14">
                  <c:v>1319.172</c:v>
                </c:pt>
                <c:pt idx="15">
                  <c:v>1225.4308</c:v>
                </c:pt>
                <c:pt idx="16">
                  <c:v>1331.1383</c:v>
                </c:pt>
                <c:pt idx="17">
                  <c:v>1342.6471</c:v>
                </c:pt>
                <c:pt idx="18">
                  <c:v>1392.0791</c:v>
                </c:pt>
                <c:pt idx="19">
                  <c:v>1367.4538</c:v>
                </c:pt>
                <c:pt idx="20">
                  <c:v>1286.4367</c:v>
                </c:pt>
                <c:pt idx="21">
                  <c:v>1299.704</c:v>
                </c:pt>
                <c:pt idx="22">
                  <c:v>1283.2793</c:v>
                </c:pt>
                <c:pt idx="23">
                  <c:v>1172.1436</c:v>
                </c:pt>
                <c:pt idx="24">
                  <c:v>1153.4094</c:v>
                </c:pt>
                <c:pt idx="25">
                  <c:v>1207.888</c:v>
                </c:pt>
                <c:pt idx="26">
                  <c:v>1251.1845</c:v>
                </c:pt>
                <c:pt idx="27">
                  <c:v>1313.6468</c:v>
                </c:pt>
                <c:pt idx="28">
                  <c:v>1359.968</c:v>
                </c:pt>
                <c:pt idx="29">
                  <c:v>1349.3132</c:v>
                </c:pt>
                <c:pt idx="30">
                  <c:v>1352.4305</c:v>
                </c:pt>
                <c:pt idx="31">
                  <c:v>1348.7713</c:v>
                </c:pt>
                <c:pt idx="32">
                  <c:v>1351.2404</c:v>
                </c:pt>
                <c:pt idx="33">
                  <c:v>1356.3797</c:v>
                </c:pt>
                <c:pt idx="34">
                  <c:v>1371.4882</c:v>
                </c:pt>
                <c:pt idx="35">
                  <c:v>1359.9545</c:v>
                </c:pt>
                <c:pt idx="36">
                  <c:v>1346.5016</c:v>
                </c:pt>
                <c:pt idx="37">
                  <c:v>1346.3364</c:v>
                </c:pt>
                <c:pt idx="38">
                  <c:v>1331.8728</c:v>
                </c:pt>
                <c:pt idx="39">
                  <c:v>1357.3931</c:v>
                </c:pt>
                <c:pt idx="40">
                  <c:v>1351.1635</c:v>
                </c:pt>
                <c:pt idx="41">
                  <c:v>1355.8128</c:v>
                </c:pt>
                <c:pt idx="42">
                  <c:v>1350.711</c:v>
                </c:pt>
                <c:pt idx="43">
                  <c:v>1332.7643</c:v>
                </c:pt>
                <c:pt idx="44">
                  <c:v>1290.1071</c:v>
                </c:pt>
                <c:pt idx="45">
                  <c:v>1292.298</c:v>
                </c:pt>
                <c:pt idx="46">
                  <c:v>1294.4256</c:v>
                </c:pt>
                <c:pt idx="47">
                  <c:v>1285.2908</c:v>
                </c:pt>
                <c:pt idx="48">
                  <c:v>1206.3983</c:v>
                </c:pt>
                <c:pt idx="49">
                  <c:v>1173.9947</c:v>
                </c:pt>
                <c:pt idx="50">
                  <c:v>1132.7079</c:v>
                </c:pt>
                <c:pt idx="51">
                  <c:v>1161.9306</c:v>
                </c:pt>
                <c:pt idx="52">
                  <c:v>1043.2643609022869</c:v>
                </c:pt>
                <c:pt idx="53">
                  <c:v>924.7185251775132</c:v>
                </c:pt>
                <c:pt idx="54">
                  <c:v>1189.4243245158502</c:v>
                </c:pt>
              </c:numCache>
            </c:numRef>
          </c:xVal>
          <c:yVal>
            <c:numRef>
              <c:f>Sheet1!$B$187:$B$241</c:f>
              <c:numCache>
                <c:formatCode>General</c:formatCode>
                <c:ptCount val="55"/>
                <c:pt idx="0">
                  <c:v>0.14887583809720017</c:v>
                </c:pt>
                <c:pt idx="1">
                  <c:v>0.14876196929346483</c:v>
                </c:pt>
                <c:pt idx="2">
                  <c:v>0.1443316604520787</c:v>
                </c:pt>
                <c:pt idx="3">
                  <c:v>0.14070822108273043</c:v>
                </c:pt>
                <c:pt idx="4">
                  <c:v>0.14231377575381277</c:v>
                </c:pt>
                <c:pt idx="5">
                  <c:v>0.141400314068261</c:v>
                </c:pt>
                <c:pt idx="6">
                  <c:v>0.14163811182645364</c:v>
                </c:pt>
                <c:pt idx="7">
                  <c:v>0.14255396374330478</c:v>
                </c:pt>
                <c:pt idx="8">
                  <c:v>0.1410050787332816</c:v>
                </c:pt>
                <c:pt idx="9">
                  <c:v>0.16621400107690879</c:v>
                </c:pt>
                <c:pt idx="10">
                  <c:v>0.16188270529789117</c:v>
                </c:pt>
                <c:pt idx="11">
                  <c:v>0.1415384936422372</c:v>
                </c:pt>
                <c:pt idx="12">
                  <c:v>0.14524592392407898</c:v>
                </c:pt>
                <c:pt idx="13">
                  <c:v>0.1601659594872506</c:v>
                </c:pt>
                <c:pt idx="14">
                  <c:v>0.14179665375061287</c:v>
                </c:pt>
                <c:pt idx="15">
                  <c:v>0.15597786579354703</c:v>
                </c:pt>
                <c:pt idx="16">
                  <c:v>0.13998638635837377</c:v>
                </c:pt>
                <c:pt idx="17">
                  <c:v>0.13824532977749238</c:v>
                </c:pt>
                <c:pt idx="18">
                  <c:v>0.13076723398069948</c:v>
                </c:pt>
                <c:pt idx="19">
                  <c:v>0.13449256074119398</c:v>
                </c:pt>
                <c:pt idx="20">
                  <c:v>0.14674886505779758</c:v>
                </c:pt>
                <c:pt idx="21">
                  <c:v>0.14474178178451733</c:v>
                </c:pt>
                <c:pt idx="22">
                  <c:v>0.14722651798846587</c:v>
                </c:pt>
                <c:pt idx="23">
                  <c:v>0.16403917802738063</c:v>
                </c:pt>
                <c:pt idx="24">
                  <c:v>0.16687329645828122</c:v>
                </c:pt>
                <c:pt idx="25">
                  <c:v>0.1586317486820399</c:v>
                </c:pt>
                <c:pt idx="26">
                  <c:v>0.1520818341597498</c:v>
                </c:pt>
                <c:pt idx="27">
                  <c:v>0.14263250855916687</c:v>
                </c:pt>
                <c:pt idx="28">
                  <c:v>0.13562501602351376</c:v>
                </c:pt>
                <c:pt idx="29">
                  <c:v>0.13723687908986085</c:v>
                </c:pt>
                <c:pt idx="30">
                  <c:v>0.13676529250571814</c:v>
                </c:pt>
                <c:pt idx="31">
                  <c:v>0.13731885797220997</c:v>
                </c:pt>
                <c:pt idx="32">
                  <c:v>0.13694533138352533</c:v>
                </c:pt>
                <c:pt idx="33">
                  <c:v>0.13616785570525095</c:v>
                </c:pt>
                <c:pt idx="34">
                  <c:v>0.13388223484536574</c:v>
                </c:pt>
                <c:pt idx="35">
                  <c:v>0.13562705830975055</c:v>
                </c:pt>
                <c:pt idx="36">
                  <c:v>0.13766221923677505</c:v>
                </c:pt>
                <c:pt idx="37">
                  <c:v>0.13768721076909482</c:v>
                </c:pt>
                <c:pt idx="38">
                  <c:v>0.13987527085904652</c:v>
                </c:pt>
                <c:pt idx="39">
                  <c:v>0.13601454808507638</c:v>
                </c:pt>
                <c:pt idx="40">
                  <c:v>0.13695696485105185</c:v>
                </c:pt>
                <c:pt idx="41">
                  <c:v>0.1362536165991497</c:v>
                </c:pt>
                <c:pt idx="42">
                  <c:v>0.13702541926009962</c:v>
                </c:pt>
                <c:pt idx="43">
                  <c:v>0.1397404043271878</c:v>
                </c:pt>
                <c:pt idx="44">
                  <c:v>0.14619360525013153</c:v>
                </c:pt>
                <c:pt idx="45">
                  <c:v>0.14586216488597079</c:v>
                </c:pt>
                <c:pt idx="46">
                  <c:v>0.14554030057505363</c:v>
                </c:pt>
                <c:pt idx="47">
                  <c:v>0.14692221733918506</c:v>
                </c:pt>
                <c:pt idx="48">
                  <c:v>0.15885711118625745</c:v>
                </c:pt>
                <c:pt idx="49">
                  <c:v>0.1637591427642021</c:v>
                </c:pt>
                <c:pt idx="50">
                  <c:v>0.17000502894204292</c:v>
                </c:pt>
                <c:pt idx="51">
                  <c:v>0.1655842053856232</c:v>
                </c:pt>
                <c:pt idx="52">
                  <c:v>0.18353608885822859</c:v>
                </c:pt>
                <c:pt idx="53">
                  <c:v>0.20146975765295125</c:v>
                </c:pt>
                <c:pt idx="54">
                  <c:v>0.1614249420392046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70.0"/>
          <c:min val="66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558211256746335"/>
          <c:min val="0.0902460930483204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0482579092631746</c:v>
                </c:pt>
                <c:pt idx="1">
                  <c:v>0.11156470397893137</c:v>
                </c:pt>
                <c:pt idx="2">
                  <c:v>0.11033308183133171</c:v>
                </c:pt>
                <c:pt idx="3">
                  <c:v>0.11196787647501079</c:v>
                </c:pt>
                <c:pt idx="4">
                  <c:v>0.10298725614704905</c:v>
                </c:pt>
                <c:pt idx="5">
                  <c:v>0.09986325423927535</c:v>
                </c:pt>
                <c:pt idx="6">
                  <c:v>0.10374168752053715</c:v>
                </c:pt>
                <c:pt idx="7">
                  <c:v>0.1016425518630483</c:v>
                </c:pt>
                <c:pt idx="8">
                  <c:v>0.10229469049403733</c:v>
                </c:pt>
                <c:pt idx="9">
                  <c:v>0.1012156374120403</c:v>
                </c:pt>
                <c:pt idx="10">
                  <c:v>0.09274174291427768</c:v>
                </c:pt>
                <c:pt idx="11">
                  <c:v>0.09326212375264384</c:v>
                </c:pt>
                <c:pt idx="12">
                  <c:v>0.09444890621975648</c:v>
                </c:pt>
                <c:pt idx="13">
                  <c:v>0.09173191375324792</c:v>
                </c:pt>
                <c:pt idx="14">
                  <c:v>0.10079953584164247</c:v>
                </c:pt>
                <c:pt idx="15">
                  <c:v>0.09705975324565605</c:v>
                </c:pt>
                <c:pt idx="16">
                  <c:v>0.09619137049686131</c:v>
                </c:pt>
                <c:pt idx="17">
                  <c:v>0.0931945185725511</c:v>
                </c:pt>
                <c:pt idx="18">
                  <c:v>0.09690002591035476</c:v>
                </c:pt>
                <c:pt idx="19">
                  <c:v>0.10010227494698087</c:v>
                </c:pt>
                <c:pt idx="20">
                  <c:v>0.10264456388649598</c:v>
                </c:pt>
                <c:pt idx="21">
                  <c:v>0.0992283085045592</c:v>
                </c:pt>
                <c:pt idx="22">
                  <c:v>0.09764967974229201</c:v>
                </c:pt>
                <c:pt idx="23">
                  <c:v>0.09925910265016644</c:v>
                </c:pt>
                <c:pt idx="24">
                  <c:v>0.09505836124755743</c:v>
                </c:pt>
                <c:pt idx="25">
                  <c:v>0.09667471288501717</c:v>
                </c:pt>
                <c:pt idx="26">
                  <c:v>0.10583748411933933</c:v>
                </c:pt>
                <c:pt idx="27">
                  <c:v>0.10174436238827228</c:v>
                </c:pt>
                <c:pt idx="28">
                  <c:v>0.10293115969854183</c:v>
                </c:pt>
                <c:pt idx="29">
                  <c:v>0.10515698923187565</c:v>
                </c:pt>
                <c:pt idx="30">
                  <c:v>0.09985629562068497</c:v>
                </c:pt>
                <c:pt idx="31">
                  <c:v>0.102351845851564</c:v>
                </c:pt>
                <c:pt idx="32">
                  <c:v>0.09952477811802295</c:v>
                </c:pt>
                <c:pt idx="33">
                  <c:v>0.10650629863592344</c:v>
                </c:pt>
                <c:pt idx="34">
                  <c:v>0.10284091527780312</c:v>
                </c:pt>
                <c:pt idx="35">
                  <c:v>0.10898113298929447</c:v>
                </c:pt>
                <c:pt idx="36">
                  <c:v>0.10405094281491159</c:v>
                </c:pt>
                <c:pt idx="37">
                  <c:v>0.1067968145165596</c:v>
                </c:pt>
                <c:pt idx="38">
                  <c:v>0.10829250749276913</c:v>
                </c:pt>
                <c:pt idx="39">
                  <c:v>0.11245777317155736</c:v>
                </c:pt>
                <c:pt idx="40">
                  <c:v>0.11708989765830533</c:v>
                </c:pt>
                <c:pt idx="41">
                  <c:v>0.11914317144153079</c:v>
                </c:pt>
                <c:pt idx="42">
                  <c:v>0.11561196933881124</c:v>
                </c:pt>
                <c:pt idx="43">
                  <c:v>0.11888738232334439</c:v>
                </c:pt>
                <c:pt idx="44">
                  <c:v>0.12309799367547322</c:v>
                </c:pt>
                <c:pt idx="45">
                  <c:v>0.12810623717395855</c:v>
                </c:pt>
                <c:pt idx="46">
                  <c:v>0.1222945229643234</c:v>
                </c:pt>
                <c:pt idx="47">
                  <c:v>0.11745672439018989</c:v>
                </c:pt>
                <c:pt idx="48">
                  <c:v>0.1187950174510964</c:v>
                </c:pt>
                <c:pt idx="49">
                  <c:v>0.12064057676916118</c:v>
                </c:pt>
                <c:pt idx="50">
                  <c:v>0.11037720142507121</c:v>
                </c:pt>
                <c:pt idx="51">
                  <c:v>0.10713417242376203</c:v>
                </c:pt>
                <c:pt idx="52">
                  <c:v>0.10693657200055452</c:v>
                </c:pt>
                <c:pt idx="53">
                  <c:v>0.1281633129362492</c:v>
                </c:pt>
                <c:pt idx="54">
                  <c:v>0.12623352481624528</c:v>
                </c:pt>
                <c:pt idx="55">
                  <c:v>0.12449697326395502</c:v>
                </c:pt>
                <c:pt idx="56">
                  <c:v>0.12381541136210501</c:v>
                </c:pt>
                <c:pt idx="57">
                  <c:v>0.12344997768121842</c:v>
                </c:pt>
                <c:pt idx="58">
                  <c:v>0.12280598138074034</c:v>
                </c:pt>
                <c:pt idx="59">
                  <c:v>0.12502338240112704</c:v>
                </c:pt>
                <c:pt idx="60">
                  <c:v>0.1251190504441233</c:v>
                </c:pt>
                <c:pt idx="61">
                  <c:v>0.11662183635598064</c:v>
                </c:pt>
                <c:pt idx="62">
                  <c:v>0.10508603067080577</c:v>
                </c:pt>
                <c:pt idx="63">
                  <c:v>0.10712998075659064</c:v>
                </c:pt>
                <c:pt idx="64">
                  <c:v>0.11189819261317267</c:v>
                </c:pt>
                <c:pt idx="65">
                  <c:v>0.11117062980119767</c:v>
                </c:pt>
                <c:pt idx="66">
                  <c:v>0.1229284155615005</c:v>
                </c:pt>
                <c:pt idx="67">
                  <c:v>0.122539350520357</c:v>
                </c:pt>
                <c:pt idx="68">
                  <c:v>0.12099914688468058</c:v>
                </c:pt>
                <c:pt idx="69">
                  <c:v>0.12112312796116265</c:v>
                </c:pt>
                <c:pt idx="70">
                  <c:v>0.11845394398849782</c:v>
                </c:pt>
                <c:pt idx="71">
                  <c:v>0.11795484262362517</c:v>
                </c:pt>
                <c:pt idx="72">
                  <c:v>0.12051361980077883</c:v>
                </c:pt>
                <c:pt idx="73">
                  <c:v>0.11588081457003326</c:v>
                </c:pt>
                <c:pt idx="74">
                  <c:v>0.11850856564838567</c:v>
                </c:pt>
                <c:pt idx="75">
                  <c:v>0.11349594370056891</c:v>
                </c:pt>
                <c:pt idx="76">
                  <c:v>0.10811871051998899</c:v>
                </c:pt>
                <c:pt idx="77">
                  <c:v>0.10783751781344385</c:v>
                </c:pt>
                <c:pt idx="78">
                  <c:v>0.10686231062418239</c:v>
                </c:pt>
                <c:pt idx="79">
                  <c:v>0.10854393170770658</c:v>
                </c:pt>
                <c:pt idx="80">
                  <c:v>0.11043533565126608</c:v>
                </c:pt>
                <c:pt idx="81">
                  <c:v>0.11833994279856859</c:v>
                </c:pt>
                <c:pt idx="82">
                  <c:v>0.11570098019471786</c:v>
                </c:pt>
                <c:pt idx="83">
                  <c:v>0.11693062740474625</c:v>
                </c:pt>
                <c:pt idx="84">
                  <c:v>0.11805182578124053</c:v>
                </c:pt>
                <c:pt idx="85">
                  <c:v>0.11516377728453331</c:v>
                </c:pt>
                <c:pt idx="86">
                  <c:v>0.11653851538745826</c:v>
                </c:pt>
                <c:pt idx="87">
                  <c:v>0.11610317620576294</c:v>
                </c:pt>
                <c:pt idx="88">
                  <c:v>0.11766032069938402</c:v>
                </c:pt>
                <c:pt idx="89">
                  <c:v>0.11737315734580042</c:v>
                </c:pt>
                <c:pt idx="90">
                  <c:v>0.11880165322450625</c:v>
                </c:pt>
                <c:pt idx="91">
                  <c:v>0.12047963358308583</c:v>
                </c:pt>
                <c:pt idx="92">
                  <c:v>0.11632210068852533</c:v>
                </c:pt>
                <c:pt idx="93">
                  <c:v>0.11710512090650911</c:v>
                </c:pt>
                <c:pt idx="94">
                  <c:v>0.11773849527745457</c:v>
                </c:pt>
                <c:pt idx="95">
                  <c:v>0.1164650233606207</c:v>
                </c:pt>
                <c:pt idx="96">
                  <c:v>0.11036778576497244</c:v>
                </c:pt>
                <c:pt idx="97">
                  <c:v>0.11240552108091495</c:v>
                </c:pt>
                <c:pt idx="98">
                  <c:v>0.11053463478112602</c:v>
                </c:pt>
                <c:pt idx="99">
                  <c:v>0.111276805642651</c:v>
                </c:pt>
                <c:pt idx="100">
                  <c:v>0.10558072162313721</c:v>
                </c:pt>
                <c:pt idx="101">
                  <c:v>0.11776208255686443</c:v>
                </c:pt>
                <c:pt idx="102">
                  <c:v>0.11690574082377227</c:v>
                </c:pt>
                <c:pt idx="103">
                  <c:v>0.1094587134474091</c:v>
                </c:pt>
                <c:pt idx="104">
                  <c:v>0.10790709155295052</c:v>
                </c:pt>
              </c:numCache>
            </c:numRef>
          </c:xVal>
          <c:yVal>
            <c:numRef>
              <c:f>Sheet1!$B$2:$B$106</c:f>
              <c:numCache>
                <c:formatCode>General</c:formatCode>
                <c:ptCount val="105"/>
                <c:pt idx="0">
                  <c:v>0.17871326449563146</c:v>
                </c:pt>
                <c:pt idx="1">
                  <c:v>0.17244395844723892</c:v>
                </c:pt>
                <c:pt idx="2">
                  <c:v>0.17025336584331602</c:v>
                </c:pt>
                <c:pt idx="3">
                  <c:v>0.17527895135954935</c:v>
                </c:pt>
                <c:pt idx="4">
                  <c:v>0.21203293223559214</c:v>
                </c:pt>
                <c:pt idx="5">
                  <c:v>0.21191523390643743</c:v>
                </c:pt>
                <c:pt idx="6">
                  <c:v>0.2379850938062195</c:v>
                </c:pt>
                <c:pt idx="7">
                  <c:v>0.22453605326533504</c:v>
                </c:pt>
                <c:pt idx="8">
                  <c:v>0.23006896551724138</c:v>
                </c:pt>
                <c:pt idx="9">
                  <c:v>0.22907280056912496</c:v>
                </c:pt>
                <c:pt idx="10">
                  <c:v>0.21959048146098506</c:v>
                </c:pt>
                <c:pt idx="11">
                  <c:v>0.2169830788278993</c:v>
                </c:pt>
                <c:pt idx="12">
                  <c:v>0.19853345554537122</c:v>
                </c:pt>
                <c:pt idx="13">
                  <c:v>0.18983121483642426</c:v>
                </c:pt>
                <c:pt idx="14">
                  <c:v>0.16496579567118985</c:v>
                </c:pt>
                <c:pt idx="15">
                  <c:v>0.15082936865115082</c:v>
                </c:pt>
                <c:pt idx="16">
                  <c:v>0.14701200983938648</c:v>
                </c:pt>
                <c:pt idx="17">
                  <c:v>0.147643475472908</c:v>
                </c:pt>
                <c:pt idx="18">
                  <c:v>0.13295118343195267</c:v>
                </c:pt>
                <c:pt idx="19">
                  <c:v>0.12522982635342186</c:v>
                </c:pt>
                <c:pt idx="20">
                  <c:v>0.16063919259882253</c:v>
                </c:pt>
                <c:pt idx="21">
                  <c:v>0.1484842633713072</c:v>
                </c:pt>
                <c:pt idx="22">
                  <c:v>0.12748835239305378</c:v>
                </c:pt>
                <c:pt idx="23">
                  <c:v>0.1453639514731369</c:v>
                </c:pt>
                <c:pt idx="24">
                  <c:v>0.1491442542787286</c:v>
                </c:pt>
                <c:pt idx="25">
                  <c:v>0.13845099383139137</c:v>
                </c:pt>
                <c:pt idx="26">
                  <c:v>0.14704225352112676</c:v>
                </c:pt>
                <c:pt idx="27">
                  <c:v>0.1636990235496841</c:v>
                </c:pt>
                <c:pt idx="28">
                  <c:v>0.17227456258411844</c:v>
                </c:pt>
                <c:pt idx="29">
                  <c:v>0.1650602409638554</c:v>
                </c:pt>
                <c:pt idx="30">
                  <c:v>0.17488692655610596</c:v>
                </c:pt>
                <c:pt idx="31">
                  <c:v>0.1566265060240964</c:v>
                </c:pt>
                <c:pt idx="32">
                  <c:v>0.16640952171038131</c:v>
                </c:pt>
                <c:pt idx="33">
                  <c:v>0.16251189343482397</c:v>
                </c:pt>
                <c:pt idx="34">
                  <c:v>0.17239574245332404</c:v>
                </c:pt>
                <c:pt idx="35">
                  <c:v>0.22559293987865417</c:v>
                </c:pt>
                <c:pt idx="36">
                  <c:v>0.18735215265730956</c:v>
                </c:pt>
                <c:pt idx="37">
                  <c:v>0.17413793103448275</c:v>
                </c:pt>
                <c:pt idx="38">
                  <c:v>0.16989128431914502</c:v>
                </c:pt>
                <c:pt idx="39">
                  <c:v>0.1693499082942735</c:v>
                </c:pt>
                <c:pt idx="40">
                  <c:v>0.16853556485355647</c:v>
                </c:pt>
                <c:pt idx="41">
                  <c:v>0.1634011090573013</c:v>
                </c:pt>
                <c:pt idx="42">
                  <c:v>0.17408335944844877</c:v>
                </c:pt>
                <c:pt idx="43">
                  <c:v>0.1715578716401536</c:v>
                </c:pt>
                <c:pt idx="44">
                  <c:v>0.16095854098186832</c:v>
                </c:pt>
                <c:pt idx="45">
                  <c:v>0.1548496315475005</c:v>
                </c:pt>
                <c:pt idx="46">
                  <c:v>0.1563079324812177</c:v>
                </c:pt>
                <c:pt idx="47">
                  <c:v>0.15777888944472235</c:v>
                </c:pt>
                <c:pt idx="48">
                  <c:v>0.15445402298850575</c:v>
                </c:pt>
                <c:pt idx="49">
                  <c:v>0.17856437598736177</c:v>
                </c:pt>
                <c:pt idx="50">
                  <c:v>0.15999038615606473</c:v>
                </c:pt>
                <c:pt idx="51">
                  <c:v>0.1646090534979424</c:v>
                </c:pt>
                <c:pt idx="52">
                  <c:v>0.16628440366972477</c:v>
                </c:pt>
                <c:pt idx="53">
                  <c:v>0.15564566437928884</c:v>
                </c:pt>
                <c:pt idx="54">
                  <c:v>0.1579898362507058</c:v>
                </c:pt>
                <c:pt idx="55">
                  <c:v>0.15723419370116032</c:v>
                </c:pt>
                <c:pt idx="56">
                  <c:v>0.1649002849002849</c:v>
                </c:pt>
                <c:pt idx="57">
                  <c:v>0.14748238177918496</c:v>
                </c:pt>
                <c:pt idx="58">
                  <c:v>0.14757606773983437</c:v>
                </c:pt>
                <c:pt idx="59">
                  <c:v>0.1363914373088685</c:v>
                </c:pt>
                <c:pt idx="60">
                  <c:v>0.13633191651335405</c:v>
                </c:pt>
                <c:pt idx="61">
                  <c:v>0.14007287518006947</c:v>
                </c:pt>
                <c:pt idx="62">
                  <c:v>0.16141627473600142</c:v>
                </c:pt>
                <c:pt idx="63">
                  <c:v>0.1601366742596811</c:v>
                </c:pt>
                <c:pt idx="64">
                  <c:v>0.15851528384279476</c:v>
                </c:pt>
                <c:pt idx="65">
                  <c:v>0.16333200478278198</c:v>
                </c:pt>
                <c:pt idx="66">
                  <c:v>0.1540864133263925</c:v>
                </c:pt>
                <c:pt idx="67">
                  <c:v>0.14832707103238504</c:v>
                </c:pt>
                <c:pt idx="68">
                  <c:v>0.13880673125956144</c:v>
                </c:pt>
                <c:pt idx="69">
                  <c:v>0.12687079500205958</c:v>
                </c:pt>
                <c:pt idx="70">
                  <c:v>0.12676238520243177</c:v>
                </c:pt>
                <c:pt idx="71">
                  <c:v>0.12544192745842608</c:v>
                </c:pt>
                <c:pt idx="72">
                  <c:v>0.1374246987951807</c:v>
                </c:pt>
                <c:pt idx="73">
                  <c:v>0.13767193071828834</c:v>
                </c:pt>
                <c:pt idx="74">
                  <c:v>0.1292578681517938</c:v>
                </c:pt>
                <c:pt idx="75">
                  <c:v>0.13484009840098402</c:v>
                </c:pt>
                <c:pt idx="76">
                  <c:v>0.13730818414322252</c:v>
                </c:pt>
                <c:pt idx="77">
                  <c:v>0.1371135671952587</c:v>
                </c:pt>
                <c:pt idx="78">
                  <c:v>0.14234234234234233</c:v>
                </c:pt>
                <c:pt idx="79">
                  <c:v>0.14733944954128442</c:v>
                </c:pt>
                <c:pt idx="80">
                  <c:v>0.14644351464435146</c:v>
                </c:pt>
                <c:pt idx="81">
                  <c:v>0.13844343092540826</c:v>
                </c:pt>
                <c:pt idx="82">
                  <c:v>0.13989637305699482</c:v>
                </c:pt>
                <c:pt idx="83">
                  <c:v>0.12342569269521411</c:v>
                </c:pt>
                <c:pt idx="84">
                  <c:v>0.12353616532721011</c:v>
                </c:pt>
                <c:pt idx="85">
                  <c:v>0.11733112993183227</c:v>
                </c:pt>
                <c:pt idx="86">
                  <c:v>0.12542061792597126</c:v>
                </c:pt>
                <c:pt idx="87">
                  <c:v>0.15615700722686693</c:v>
                </c:pt>
                <c:pt idx="88">
                  <c:v>0.16099179325999652</c:v>
                </c:pt>
                <c:pt idx="89">
                  <c:v>0.12866817155756208</c:v>
                </c:pt>
                <c:pt idx="90">
                  <c:v>0.12739222888072685</c:v>
                </c:pt>
                <c:pt idx="91">
                  <c:v>0.12940528634361234</c:v>
                </c:pt>
                <c:pt idx="92">
                  <c:v>0.1431384428960921</c:v>
                </c:pt>
                <c:pt idx="93">
                  <c:v>0.12367733956300674</c:v>
                </c:pt>
                <c:pt idx="94">
                  <c:v>0.12312166747455162</c:v>
                </c:pt>
                <c:pt idx="95">
                  <c:v>0.1336003770028275</c:v>
                </c:pt>
                <c:pt idx="96">
                  <c:v>0.13879582655307743</c:v>
                </c:pt>
                <c:pt idx="97">
                  <c:v>0.13529557259460798</c:v>
                </c:pt>
                <c:pt idx="98">
                  <c:v>0.1486593914865939</c:v>
                </c:pt>
                <c:pt idx="99">
                  <c:v>0.14808979913351714</c:v>
                </c:pt>
                <c:pt idx="100">
                  <c:v>0.1637249736564805</c:v>
                </c:pt>
                <c:pt idx="101">
                  <c:v>0.1358774212200058</c:v>
                </c:pt>
                <c:pt idx="102">
                  <c:v>0.12760005738057667</c:v>
                </c:pt>
                <c:pt idx="103">
                  <c:v>0.14489073561095722</c:v>
                </c:pt>
                <c:pt idx="104">
                  <c:v>0.1486293905608181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815650369338175</c:v>
                </c:pt>
                <c:pt idx="1">
                  <c:v>0.11726565616926572</c:v>
                </c:pt>
                <c:pt idx="2">
                  <c:v>0.12263051669138503</c:v>
                </c:pt>
                <c:pt idx="3">
                  <c:v>0.12475355876099421</c:v>
                </c:pt>
                <c:pt idx="4">
                  <c:v>0.12494699323301522</c:v>
                </c:pt>
                <c:pt idx="5">
                  <c:v>0.12152626225927128</c:v>
                </c:pt>
                <c:pt idx="6">
                  <c:v>0.12245258857762083</c:v>
                </c:pt>
                <c:pt idx="7">
                  <c:v>0.12180822697662295</c:v>
                </c:pt>
                <c:pt idx="8">
                  <c:v>0.1226549861434788</c:v>
                </c:pt>
                <c:pt idx="9">
                  <c:v>0.10646936035149962</c:v>
                </c:pt>
                <c:pt idx="10">
                  <c:v>0.10992673277017982</c:v>
                </c:pt>
                <c:pt idx="11">
                  <c:v>0.12436949060623144</c:v>
                </c:pt>
                <c:pt idx="12">
                  <c:v>0.12299751184529366</c:v>
                </c:pt>
                <c:pt idx="13">
                  <c:v>0.11151583935017083</c:v>
                </c:pt>
                <c:pt idx="14">
                  <c:v>0.11991449529588322</c:v>
                </c:pt>
                <c:pt idx="15">
                  <c:v>0.10832861414984901</c:v>
                </c:pt>
                <c:pt idx="16">
                  <c:v>0.11775199014687199</c:v>
                </c:pt>
                <c:pt idx="17">
                  <c:v>0.11980892458620256</c:v>
                </c:pt>
                <c:pt idx="18">
                  <c:v>0.12245234752221769</c:v>
                </c:pt>
                <c:pt idx="19">
                  <c:v>0.12246868929562685</c:v>
                </c:pt>
                <c:pt idx="20">
                  <c:v>0.11272260227775001</c:v>
                </c:pt>
                <c:pt idx="21">
                  <c:v>0.11634812217823998</c:v>
                </c:pt>
                <c:pt idx="22">
                  <c:v>0.11645734120924237</c:v>
                </c:pt>
                <c:pt idx="23">
                  <c:v>0.10719926149123324</c:v>
                </c:pt>
                <c:pt idx="24">
                  <c:v>0.10213128021676378</c:v>
                </c:pt>
                <c:pt idx="25">
                  <c:v>0.10484165281248448</c:v>
                </c:pt>
                <c:pt idx="26">
                  <c:v>0.10948757465146433</c:v>
                </c:pt>
                <c:pt idx="27">
                  <c:v>0.11603319738488721</c:v>
                </c:pt>
                <c:pt idx="28">
                  <c:v>0.11788811203129283</c:v>
                </c:pt>
                <c:pt idx="29">
                  <c:v>0.11764997105253092</c:v>
                </c:pt>
                <c:pt idx="30">
                  <c:v>0.11847829745374995</c:v>
                </c:pt>
                <c:pt idx="31">
                  <c:v>0.11577524299069336</c:v>
                </c:pt>
                <c:pt idx="32">
                  <c:v>0.1157956868133283</c:v>
                </c:pt>
                <c:pt idx="33">
                  <c:v>0.11795991449221853</c:v>
                </c:pt>
                <c:pt idx="34">
                  <c:v>0.12033724480563301</c:v>
                </c:pt>
                <c:pt idx="35">
                  <c:v>0.12042369661670259</c:v>
                </c:pt>
                <c:pt idx="36">
                  <c:v>0.12132350897301389</c:v>
                </c:pt>
                <c:pt idx="37">
                  <c:v>0.1175951823107528</c:v>
                </c:pt>
                <c:pt idx="38">
                  <c:v>0.11902607957647977</c:v>
                </c:pt>
                <c:pt idx="39">
                  <c:v>0.121980760874455</c:v>
                </c:pt>
                <c:pt idx="40">
                  <c:v>0.1212498900492592</c:v>
                </c:pt>
                <c:pt idx="41">
                  <c:v>0.12028606058300446</c:v>
                </c:pt>
                <c:pt idx="42">
                  <c:v>0.11966804229603138</c:v>
                </c:pt>
                <c:pt idx="43">
                  <c:v>0.11966444286382029</c:v>
                </c:pt>
                <c:pt idx="44">
                  <c:v>0.11757810737400426</c:v>
                </c:pt>
                <c:pt idx="45">
                  <c:v>0.12017138886184417</c:v>
                </c:pt>
                <c:pt idx="46">
                  <c:v>0.12115692844057718</c:v>
                </c:pt>
                <c:pt idx="47">
                  <c:v>0.12025808713589294</c:v>
                </c:pt>
                <c:pt idx="48">
                  <c:v>0.11507425008569534</c:v>
                </c:pt>
                <c:pt idx="49">
                  <c:v>0.11415735655253884</c:v>
                </c:pt>
                <c:pt idx="50">
                  <c:v>0.11297916253670215</c:v>
                </c:pt>
                <c:pt idx="51">
                  <c:v>0.11090023642536538</c:v>
                </c:pt>
              </c:numCache>
            </c:numRef>
          </c:xVal>
          <c:yVal>
            <c:numRef>
              <c:f>Sheet1!$B$109:$B$160</c:f>
              <c:numCache>
                <c:formatCode>General</c:formatCode>
                <c:ptCount val="52"/>
                <c:pt idx="0">
                  <c:v>0.16759550924804134</c:v>
                </c:pt>
                <c:pt idx="1">
                  <c:v>0.15955711956055274</c:v>
                </c:pt>
                <c:pt idx="2">
                  <c:v>0.1663496592169916</c:v>
                </c:pt>
                <c:pt idx="3">
                  <c:v>0.16841864716636198</c:v>
                </c:pt>
                <c:pt idx="4">
                  <c:v>0.15833942643594118</c:v>
                </c:pt>
                <c:pt idx="5">
                  <c:v>0.14581855442579017</c:v>
                </c:pt>
                <c:pt idx="6">
                  <c:v>0.12964761988872206</c:v>
                </c:pt>
                <c:pt idx="7">
                  <c:v>0.12263473053892215</c:v>
                </c:pt>
                <c:pt idx="8">
                  <c:v>0.13044006807682956</c:v>
                </c:pt>
                <c:pt idx="9">
                  <c:v>0.13955033780042086</c:v>
                </c:pt>
                <c:pt idx="10">
                  <c:v>0.14554038797085087</c:v>
                </c:pt>
                <c:pt idx="11">
                  <c:v>0.1365592342144551</c:v>
                </c:pt>
                <c:pt idx="12">
                  <c:v>0.14403628117913833</c:v>
                </c:pt>
                <c:pt idx="13">
                  <c:v>0.15101714488762547</c:v>
                </c:pt>
                <c:pt idx="14">
                  <c:v>0.1358304583538689</c:v>
                </c:pt>
                <c:pt idx="15">
                  <c:v>0.14728050519454064</c:v>
                </c:pt>
                <c:pt idx="16">
                  <c:v>0.1274432267540391</c:v>
                </c:pt>
                <c:pt idx="17">
                  <c:v>0.11591355599214145</c:v>
                </c:pt>
                <c:pt idx="18">
                  <c:v>0.12824850069198832</c:v>
                </c:pt>
                <c:pt idx="19">
                  <c:v>0.14616755793226383</c:v>
                </c:pt>
                <c:pt idx="20">
                  <c:v>0.13756316676024705</c:v>
                </c:pt>
                <c:pt idx="21">
                  <c:v>0.13103324991061852</c:v>
                </c:pt>
                <c:pt idx="22">
                  <c:v>0.1367814020544242</c:v>
                </c:pt>
                <c:pt idx="23">
                  <c:v>0.15877437325905291</c:v>
                </c:pt>
                <c:pt idx="24">
                  <c:v>0.15927616563417019</c:v>
                </c:pt>
                <c:pt idx="25">
                  <c:v>0.14803418803418802</c:v>
                </c:pt>
                <c:pt idx="26">
                  <c:v>0.13899811933663875</c:v>
                </c:pt>
                <c:pt idx="27">
                  <c:v>0.12880451835582052</c:v>
                </c:pt>
                <c:pt idx="28">
                  <c:v>0.12376237623762376</c:v>
                </c:pt>
                <c:pt idx="29">
                  <c:v>0.12100611828687967</c:v>
                </c:pt>
                <c:pt idx="30">
                  <c:v>0.1306049822064057</c:v>
                </c:pt>
                <c:pt idx="31">
                  <c:v>0.11788372560852947</c:v>
                </c:pt>
                <c:pt idx="32">
                  <c:v>0.11280761631040058</c:v>
                </c:pt>
                <c:pt idx="33">
                  <c:v>0.13306959180003597</c:v>
                </c:pt>
                <c:pt idx="34">
                  <c:v>0.1514814814814815</c:v>
                </c:pt>
                <c:pt idx="35">
                  <c:v>0.16462418300653595</c:v>
                </c:pt>
                <c:pt idx="36">
                  <c:v>0.13451029844472467</c:v>
                </c:pt>
                <c:pt idx="37">
                  <c:v>0.13987820631112752</c:v>
                </c:pt>
                <c:pt idx="38">
                  <c:v>0.13057919867137222</c:v>
                </c:pt>
                <c:pt idx="39">
                  <c:v>0.15516976494085113</c:v>
                </c:pt>
                <c:pt idx="40">
                  <c:v>0.14730073276506656</c:v>
                </c:pt>
                <c:pt idx="41">
                  <c:v>0.15453005927180355</c:v>
                </c:pt>
                <c:pt idx="42">
                  <c:v>0.1465903819390753</c:v>
                </c:pt>
                <c:pt idx="43">
                  <c:v>0.15350039330261828</c:v>
                </c:pt>
                <c:pt idx="44">
                  <c:v>0.14648492204275979</c:v>
                </c:pt>
                <c:pt idx="45">
                  <c:v>0.14991050119331742</c:v>
                </c:pt>
                <c:pt idx="46">
                  <c:v>0.15446855461566752</c:v>
                </c:pt>
                <c:pt idx="47">
                  <c:v>0.1564245810055866</c:v>
                </c:pt>
                <c:pt idx="48">
                  <c:v>0.16450281425891183</c:v>
                </c:pt>
                <c:pt idx="49">
                  <c:v>0.17764407853071565</c:v>
                </c:pt>
                <c:pt idx="50">
                  <c:v>0.20582333428887342</c:v>
                </c:pt>
                <c:pt idx="51">
                  <c:v>0.1861741283544134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14712253954605882</c:v>
                </c:pt>
              </c:numCache>
            </c:numRef>
          </c:xVal>
          <c:yVal>
            <c:numRef>
              <c:f>Sheet1!$B$163:$B$164</c:f>
              <c:numCache>
                <c:formatCode>General</c:formatCode>
                <c:ptCount val="2"/>
                <c:pt idx="0">
                  <c:v>0.20146975765295125</c:v>
                </c:pt>
                <c:pt idx="1">
                  <c:v>0.2014697576529512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14712253954605882</c:v>
                </c:pt>
                <c:pt idx="1">
                  <c:v>0.014712253954605882</c:v>
                </c:pt>
              </c:numCache>
            </c:numRef>
          </c:xVal>
          <c:yVal>
            <c:numRef>
              <c:f>Sheet1!$B$167:$B$168</c:f>
              <c:numCache>
                <c:formatCode>General</c:formatCode>
                <c:ptCount val="2"/>
                <c:pt idx="0">
                  <c:v>0.201469757652951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4759691429490281</c:v>
                </c:pt>
              </c:numCache>
            </c:numRef>
          </c:xVal>
          <c:yVal>
            <c:numRef>
              <c:f>Sheet1!$B$171:$B$172</c:f>
              <c:numCache>
                <c:formatCode>General</c:formatCode>
                <c:ptCount val="2"/>
                <c:pt idx="0">
                  <c:v>0.18353608885822859</c:v>
                </c:pt>
                <c:pt idx="1">
                  <c:v>0.1835360888582285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4759691429490281</c:v>
                </c:pt>
                <c:pt idx="1">
                  <c:v>0.04759691429490281</c:v>
                </c:pt>
              </c:numCache>
            </c:numRef>
          </c:xVal>
          <c:yVal>
            <c:numRef>
              <c:f>Sheet1!$B$175:$B$176</c:f>
              <c:numCache>
                <c:formatCode>General</c:formatCode>
                <c:ptCount val="2"/>
                <c:pt idx="0">
                  <c:v>0.1835360888582285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8814174431272981</c:v>
                </c:pt>
              </c:numCache>
            </c:numRef>
          </c:xVal>
          <c:yVal>
            <c:numRef>
              <c:f>Sheet1!$B$179:$B$180</c:f>
              <c:numCache>
                <c:formatCode>General</c:formatCode>
                <c:ptCount val="2"/>
                <c:pt idx="0">
                  <c:v>0.16142494203920466</c:v>
                </c:pt>
                <c:pt idx="1">
                  <c:v>0.1614249420392046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8814174431272981</c:v>
                </c:pt>
                <c:pt idx="1">
                  <c:v>0.08814174431272981</c:v>
                </c:pt>
              </c:numCache>
            </c:numRef>
          </c:xVal>
          <c:yVal>
            <c:numRef>
              <c:f>Sheet1!$B$183:$B$184</c:f>
              <c:numCache>
                <c:formatCode>General</c:formatCode>
                <c:ptCount val="2"/>
                <c:pt idx="0">
                  <c:v>0.1614249420392046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815650369338175</c:v>
                </c:pt>
                <c:pt idx="1">
                  <c:v>0.11726565616926572</c:v>
                </c:pt>
                <c:pt idx="2">
                  <c:v>0.12263051669138503</c:v>
                </c:pt>
                <c:pt idx="3">
                  <c:v>0.12475355876099421</c:v>
                </c:pt>
                <c:pt idx="4">
                  <c:v>0.12494699323301522</c:v>
                </c:pt>
                <c:pt idx="5">
                  <c:v>0.12152626225927128</c:v>
                </c:pt>
                <c:pt idx="6">
                  <c:v>0.12245258857762083</c:v>
                </c:pt>
                <c:pt idx="7">
                  <c:v>0.12180822697662295</c:v>
                </c:pt>
                <c:pt idx="8">
                  <c:v>0.1226549861434788</c:v>
                </c:pt>
                <c:pt idx="9">
                  <c:v>0.10646936035149962</c:v>
                </c:pt>
                <c:pt idx="10">
                  <c:v>0.10992673277017982</c:v>
                </c:pt>
                <c:pt idx="11">
                  <c:v>0.12436949060623144</c:v>
                </c:pt>
                <c:pt idx="12">
                  <c:v>0.12299751184529366</c:v>
                </c:pt>
                <c:pt idx="13">
                  <c:v>0.11151583935017083</c:v>
                </c:pt>
                <c:pt idx="14">
                  <c:v>0.11991449529588322</c:v>
                </c:pt>
                <c:pt idx="15">
                  <c:v>0.10832861414984901</c:v>
                </c:pt>
                <c:pt idx="16">
                  <c:v>0.11775199014687199</c:v>
                </c:pt>
                <c:pt idx="17">
                  <c:v>0.11980892458620256</c:v>
                </c:pt>
                <c:pt idx="18">
                  <c:v>0.12245234752221769</c:v>
                </c:pt>
                <c:pt idx="19">
                  <c:v>0.12246868929562685</c:v>
                </c:pt>
                <c:pt idx="20">
                  <c:v>0.11272260227775001</c:v>
                </c:pt>
                <c:pt idx="21">
                  <c:v>0.11634812217823998</c:v>
                </c:pt>
                <c:pt idx="22">
                  <c:v>0.11645734120924237</c:v>
                </c:pt>
                <c:pt idx="23">
                  <c:v>0.10719926149123324</c:v>
                </c:pt>
                <c:pt idx="24">
                  <c:v>0.10213128021676378</c:v>
                </c:pt>
                <c:pt idx="25">
                  <c:v>0.10484165281248448</c:v>
                </c:pt>
                <c:pt idx="26">
                  <c:v>0.10948757465146433</c:v>
                </c:pt>
                <c:pt idx="27">
                  <c:v>0.11603319738488721</c:v>
                </c:pt>
                <c:pt idx="28">
                  <c:v>0.11788811203129283</c:v>
                </c:pt>
                <c:pt idx="29">
                  <c:v>0.11764997105253092</c:v>
                </c:pt>
                <c:pt idx="30">
                  <c:v>0.11847829745374995</c:v>
                </c:pt>
                <c:pt idx="31">
                  <c:v>0.11577524299069336</c:v>
                </c:pt>
                <c:pt idx="32">
                  <c:v>0.1157956868133283</c:v>
                </c:pt>
                <c:pt idx="33">
                  <c:v>0.11795991449221853</c:v>
                </c:pt>
                <c:pt idx="34">
                  <c:v>0.12033724480563301</c:v>
                </c:pt>
                <c:pt idx="35">
                  <c:v>0.12042369661670259</c:v>
                </c:pt>
                <c:pt idx="36">
                  <c:v>0.12132350897301389</c:v>
                </c:pt>
                <c:pt idx="37">
                  <c:v>0.1175951823107528</c:v>
                </c:pt>
                <c:pt idx="38">
                  <c:v>0.11902607957647977</c:v>
                </c:pt>
                <c:pt idx="39">
                  <c:v>0.121980760874455</c:v>
                </c:pt>
                <c:pt idx="40">
                  <c:v>0.1212498900492592</c:v>
                </c:pt>
                <c:pt idx="41">
                  <c:v>0.12028606058300446</c:v>
                </c:pt>
                <c:pt idx="42">
                  <c:v>0.11966804229603138</c:v>
                </c:pt>
                <c:pt idx="43">
                  <c:v>0.11966444286382029</c:v>
                </c:pt>
                <c:pt idx="44">
                  <c:v>0.11757810737400426</c:v>
                </c:pt>
                <c:pt idx="45">
                  <c:v>0.12017138886184417</c:v>
                </c:pt>
                <c:pt idx="46">
                  <c:v>0.12115692844057718</c:v>
                </c:pt>
                <c:pt idx="47">
                  <c:v>0.12025808713589294</c:v>
                </c:pt>
                <c:pt idx="48">
                  <c:v>0.11507425008569534</c:v>
                </c:pt>
                <c:pt idx="49">
                  <c:v>0.11415735655253884</c:v>
                </c:pt>
                <c:pt idx="50">
                  <c:v>0.11297916253670215</c:v>
                </c:pt>
                <c:pt idx="51">
                  <c:v>0.11090023642536538</c:v>
                </c:pt>
                <c:pt idx="52">
                  <c:v>0.04759691429490281</c:v>
                </c:pt>
                <c:pt idx="53">
                  <c:v>0.014712253954605882</c:v>
                </c:pt>
                <c:pt idx="54">
                  <c:v>0.08814174431272981</c:v>
                </c:pt>
              </c:numCache>
            </c:numRef>
          </c:xVal>
          <c:yVal>
            <c:numRef>
              <c:f>Sheet1!$B$187:$B$241</c:f>
              <c:numCache>
                <c:formatCode>General</c:formatCode>
                <c:ptCount val="55"/>
                <c:pt idx="0">
                  <c:v>0.145056375415261</c:v>
                </c:pt>
                <c:pt idx="1">
                  <c:v>0.14554219963478376</c:v>
                </c:pt>
                <c:pt idx="2">
                  <c:v>0.14261646980397652</c:v>
                </c:pt>
                <c:pt idx="3">
                  <c:v>0.1414586675667134</c:v>
                </c:pt>
                <c:pt idx="4">
                  <c:v>0.14135317796399868</c:v>
                </c:pt>
                <c:pt idx="5">
                  <c:v>0.14321867560588247</c:v>
                </c:pt>
                <c:pt idx="6">
                  <c:v>0.14271350300512553</c:v>
                </c:pt>
                <c:pt idx="7">
                  <c:v>0.14306490598197713</c:v>
                </c:pt>
                <c:pt idx="8">
                  <c:v>0.14260312537393233</c:v>
                </c:pt>
                <c:pt idx="9">
                  <c:v>0.15142996588816993</c:v>
                </c:pt>
                <c:pt idx="10">
                  <c:v>0.14954448581280966</c:v>
                </c:pt>
                <c:pt idx="11">
                  <c:v>0.1416681193600675</c:v>
                </c:pt>
                <c:pt idx="12">
                  <c:v>0.142416328781647</c:v>
                </c:pt>
                <c:pt idx="13">
                  <c:v>0.14867786560782154</c:v>
                </c:pt>
                <c:pt idx="14">
                  <c:v>0.1440976536642405</c:v>
                </c:pt>
                <c:pt idx="15">
                  <c:v>0.1504160207392803</c:v>
                </c:pt>
                <c:pt idx="16">
                  <c:v>0.14527697711499016</c:v>
                </c:pt>
                <c:pt idx="17">
                  <c:v>0.14415522671265407</c:v>
                </c:pt>
                <c:pt idx="18">
                  <c:v>0.14271363446483096</c:v>
                </c:pt>
                <c:pt idx="19">
                  <c:v>0.14270472246912214</c:v>
                </c:pt>
                <c:pt idx="20">
                  <c:v>0.14801975673781947</c:v>
                </c:pt>
                <c:pt idx="21">
                  <c:v>0.1460425773346803</c:v>
                </c:pt>
                <c:pt idx="22">
                  <c:v>0.14598301467209512</c:v>
                </c:pt>
                <c:pt idx="23">
                  <c:v>0.15103191387372256</c:v>
                </c:pt>
                <c:pt idx="24">
                  <c:v>0.15379574043278293</c:v>
                </c:pt>
                <c:pt idx="25">
                  <c:v>0.15231763714879112</c:v>
                </c:pt>
                <c:pt idx="26">
                  <c:v>0.14978398095030107</c:v>
                </c:pt>
                <c:pt idx="27">
                  <c:v>0.14621432175535518</c:v>
                </c:pt>
                <c:pt idx="28">
                  <c:v>0.14520274296552182</c:v>
                </c:pt>
                <c:pt idx="29">
                  <c:v>0.14533261328789623</c:v>
                </c:pt>
                <c:pt idx="30">
                  <c:v>0.14488088499939744</c:v>
                </c:pt>
                <c:pt idx="31">
                  <c:v>0.1463549973354507</c:v>
                </c:pt>
                <c:pt idx="32">
                  <c:v>0.14634384828479186</c:v>
                </c:pt>
                <c:pt idx="33">
                  <c:v>0.14516358545136288</c:v>
                </c:pt>
                <c:pt idx="34">
                  <c:v>0.14386710697126784</c:v>
                </c:pt>
                <c:pt idx="35">
                  <c:v>0.14381996042541995</c:v>
                </c:pt>
                <c:pt idx="36">
                  <c:v>0.14332924722940402</c:v>
                </c:pt>
                <c:pt idx="37">
                  <c:v>0.14536249236034401</c:v>
                </c:pt>
                <c:pt idx="38">
                  <c:v>0.1445821516976376</c:v>
                </c:pt>
                <c:pt idx="39">
                  <c:v>0.142970814519649</c:v>
                </c:pt>
                <c:pt idx="40">
                  <c:v>0.14336939535263163</c:v>
                </c:pt>
                <c:pt idx="41">
                  <c:v>0.1438950203170843</c:v>
                </c:pt>
                <c:pt idx="42">
                  <c:v>0.14423205695218907</c:v>
                </c:pt>
                <c:pt idx="43">
                  <c:v>0.1442340199046555</c:v>
                </c:pt>
                <c:pt idx="44">
                  <c:v>0.14537180418710977</c:v>
                </c:pt>
                <c:pt idx="45">
                  <c:v>0.14395755660744367</c:v>
                </c:pt>
                <c:pt idx="46">
                  <c:v>0.14342009202042372</c:v>
                </c:pt>
                <c:pt idx="47">
                  <c:v>0.1439102756528656</c:v>
                </c:pt>
                <c:pt idx="48">
                  <c:v>0.146737284227138</c:v>
                </c:pt>
                <c:pt idx="49">
                  <c:v>0.14723731265296008</c:v>
                </c:pt>
                <c:pt idx="50">
                  <c:v>0.14787984145019528</c:v>
                </c:pt>
                <c:pt idx="51">
                  <c:v>0.14901358502375223</c:v>
                </c:pt>
                <c:pt idx="52">
                  <c:v>0.18353608885822859</c:v>
                </c:pt>
                <c:pt idx="53">
                  <c:v>0.20146975765295125</c:v>
                </c:pt>
                <c:pt idx="54">
                  <c:v>0.1614249420392046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558211256746335"/>
          <c:min val="0.0902460930483204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820651282300954</c:v>
                </c:pt>
                <c:pt idx="1">
                  <c:v>2.849831004152835</c:v>
                </c:pt>
                <c:pt idx="2">
                  <c:v>2.2980926638730637</c:v>
                </c:pt>
                <c:pt idx="3">
                  <c:v>2.1656098523016025</c:v>
                </c:pt>
                <c:pt idx="4">
                  <c:v>2.850734314041304</c:v>
                </c:pt>
                <c:pt idx="5">
                  <c:v>2.770641228984065</c:v>
                </c:pt>
                <c:pt idx="6">
                  <c:v>2.271166565439938</c:v>
                </c:pt>
                <c:pt idx="7">
                  <c:v>2.2372464663166602</c:v>
                </c:pt>
                <c:pt idx="8">
                  <c:v>2.158246826759605</c:v>
                </c:pt>
                <c:pt idx="9">
                  <c:v>2.404044281603901</c:v>
                </c:pt>
                <c:pt idx="10">
                  <c:v>2.680966412290188</c:v>
                </c:pt>
                <c:pt idx="11">
                  <c:v>2.372679157101124</c:v>
                </c:pt>
                <c:pt idx="12">
                  <c:v>2.46946015303866</c:v>
                </c:pt>
                <c:pt idx="13">
                  <c:v>2.411876437573593</c:v>
                </c:pt>
                <c:pt idx="14">
                  <c:v>2.9714016690538405</c:v>
                </c:pt>
                <c:pt idx="15">
                  <c:v>2.3367130894501993</c:v>
                </c:pt>
                <c:pt idx="16">
                  <c:v>3.197919157752645</c:v>
                </c:pt>
                <c:pt idx="17">
                  <c:v>2.3695993256990695</c:v>
                </c:pt>
                <c:pt idx="18">
                  <c:v>3.1630094815382326</c:v>
                </c:pt>
                <c:pt idx="19">
                  <c:v>2.702845426200679</c:v>
                </c:pt>
                <c:pt idx="20">
                  <c:v>2.206576979506204</c:v>
                </c:pt>
                <c:pt idx="21">
                  <c:v>4.451638905310196</c:v>
                </c:pt>
                <c:pt idx="22">
                  <c:v>1.9602869196267037</c:v>
                </c:pt>
                <c:pt idx="23">
                  <c:v>2.4345217491634936</c:v>
                </c:pt>
                <c:pt idx="24">
                  <c:v>1.7131129515671748</c:v>
                </c:pt>
                <c:pt idx="25">
                  <c:v>1.6531695685024144</c:v>
                </c:pt>
                <c:pt idx="26">
                  <c:v>1.963794787492504</c:v>
                </c:pt>
                <c:pt idx="27">
                  <c:v>1.8888678771457568</c:v>
                </c:pt>
                <c:pt idx="28">
                  <c:v>1.985771937540453</c:v>
                </c:pt>
                <c:pt idx="29">
                  <c:v>1.8937532791382794</c:v>
                </c:pt>
                <c:pt idx="30">
                  <c:v>1.8591134131752114</c:v>
                </c:pt>
                <c:pt idx="31">
                  <c:v>1.9986522553193933</c:v>
                </c:pt>
                <c:pt idx="32">
                  <c:v>2.558596529718019</c:v>
                </c:pt>
                <c:pt idx="33">
                  <c:v>1.5925298001999435</c:v>
                </c:pt>
                <c:pt idx="34">
                  <c:v>1.8714875480846653</c:v>
                </c:pt>
                <c:pt idx="35">
                  <c:v>1.9614222390741338</c:v>
                </c:pt>
                <c:pt idx="36">
                  <c:v>1.8383043985892418</c:v>
                </c:pt>
                <c:pt idx="37">
                  <c:v>1.866881894685581</c:v>
                </c:pt>
                <c:pt idx="38">
                  <c:v>1.921314098135651</c:v>
                </c:pt>
                <c:pt idx="39">
                  <c:v>2.3359387112059955</c:v>
                </c:pt>
                <c:pt idx="40">
                  <c:v>2.6467392438877217</c:v>
                </c:pt>
                <c:pt idx="41">
                  <c:v>2.4082747073674766</c:v>
                </c:pt>
                <c:pt idx="42">
                  <c:v>2.1404566257845286</c:v>
                </c:pt>
                <c:pt idx="43">
                  <c:v>1.8776896938817111</c:v>
                </c:pt>
                <c:pt idx="44">
                  <c:v>1.8927782619280316</c:v>
                </c:pt>
                <c:pt idx="45">
                  <c:v>2.0050651466349567</c:v>
                </c:pt>
                <c:pt idx="46">
                  <c:v>1.9677528366195918</c:v>
                </c:pt>
                <c:pt idx="47">
                  <c:v>1.7670701733327425</c:v>
                </c:pt>
                <c:pt idx="48">
                  <c:v>2.4856053034917975</c:v>
                </c:pt>
                <c:pt idx="49">
                  <c:v>2.130324895688182</c:v>
                </c:pt>
                <c:pt idx="50">
                  <c:v>2.0405705459967916</c:v>
                </c:pt>
                <c:pt idx="51">
                  <c:v>1.7735721906715247</c:v>
                </c:pt>
                <c:pt idx="52">
                  <c:v>2.0943154099825962</c:v>
                </c:pt>
                <c:pt idx="53">
                  <c:v>1.9677938042437897</c:v>
                </c:pt>
                <c:pt idx="54">
                  <c:v>1.6741252518501617</c:v>
                </c:pt>
                <c:pt idx="55">
                  <c:v>1.7767164614832844</c:v>
                </c:pt>
                <c:pt idx="56">
                  <c:v>1.459514835317772</c:v>
                </c:pt>
                <c:pt idx="57">
                  <c:v>1.5444031910017977</c:v>
                </c:pt>
                <c:pt idx="58">
                  <c:v>1.379982222586479</c:v>
                </c:pt>
                <c:pt idx="59">
                  <c:v>1.5655185177963797</c:v>
                </c:pt>
                <c:pt idx="60">
                  <c:v>1.5111670117960865</c:v>
                </c:pt>
                <c:pt idx="61">
                  <c:v>1.5609501039385707</c:v>
                </c:pt>
                <c:pt idx="62">
                  <c:v>1.4355991128182404</c:v>
                </c:pt>
                <c:pt idx="63">
                  <c:v>1.5974940300545706</c:v>
                </c:pt>
                <c:pt idx="64">
                  <c:v>1.490471683730161</c:v>
                </c:pt>
                <c:pt idx="65">
                  <c:v>1.530859565456</c:v>
                </c:pt>
                <c:pt idx="66">
                  <c:v>1.4317689699459901</c:v>
                </c:pt>
                <c:pt idx="67">
                  <c:v>1.5460844083363732</c:v>
                </c:pt>
                <c:pt idx="68">
                  <c:v>1.2457651496407416</c:v>
                </c:pt>
                <c:pt idx="69">
                  <c:v>1.1492992367163857</c:v>
                </c:pt>
                <c:pt idx="70">
                  <c:v>1.3135394071257356</c:v>
                </c:pt>
                <c:pt idx="71">
                  <c:v>0.9894388622759718</c:v>
                </c:pt>
                <c:pt idx="72">
                  <c:v>1.1715628789448929</c:v>
                </c:pt>
                <c:pt idx="73">
                  <c:v>0.8866821052476436</c:v>
                </c:pt>
                <c:pt idx="74">
                  <c:v>1.0668977611045611</c:v>
                </c:pt>
                <c:pt idx="75">
                  <c:v>1.608153731895252</c:v>
                </c:pt>
                <c:pt idx="76">
                  <c:v>1.6452172004298786</c:v>
                </c:pt>
                <c:pt idx="77">
                  <c:v>1.953303132011525</c:v>
                </c:pt>
                <c:pt idx="78">
                  <c:v>1.6019338828501797</c:v>
                </c:pt>
                <c:pt idx="79">
                  <c:v>2.2288467551463684</c:v>
                </c:pt>
                <c:pt idx="80">
                  <c:v>1.9586134260252972</c:v>
                </c:pt>
                <c:pt idx="81">
                  <c:v>1.965697252249661</c:v>
                </c:pt>
                <c:pt idx="82">
                  <c:v>1.9391350696533458</c:v>
                </c:pt>
                <c:pt idx="83">
                  <c:v>2.2676001192764508</c:v>
                </c:pt>
                <c:pt idx="84">
                  <c:v>2.013579026364099</c:v>
                </c:pt>
                <c:pt idx="85">
                  <c:v>1.90739381507219</c:v>
                </c:pt>
                <c:pt idx="86">
                  <c:v>2.6490067838925047</c:v>
                </c:pt>
                <c:pt idx="87">
                  <c:v>2.6369428150855603</c:v>
                </c:pt>
                <c:pt idx="88">
                  <c:v>2.240260226900458</c:v>
                </c:pt>
                <c:pt idx="89">
                  <c:v>2.1536574253143614</c:v>
                </c:pt>
                <c:pt idx="90">
                  <c:v>2.4140852159049078</c:v>
                </c:pt>
                <c:pt idx="91">
                  <c:v>2.0409814323682514</c:v>
                </c:pt>
                <c:pt idx="92">
                  <c:v>2.3948060440410144</c:v>
                </c:pt>
                <c:pt idx="93">
                  <c:v>2.547074519256991</c:v>
                </c:pt>
                <c:pt idx="94">
                  <c:v>2.5038936764197426</c:v>
                </c:pt>
                <c:pt idx="95">
                  <c:v>2.5700496486629056</c:v>
                </c:pt>
                <c:pt idx="96">
                  <c:v>2.2141919739737266</c:v>
                </c:pt>
                <c:pt idx="97">
                  <c:v>2.3340738542005663</c:v>
                </c:pt>
                <c:pt idx="98">
                  <c:v>2.2826741376431277</c:v>
                </c:pt>
                <c:pt idx="99">
                  <c:v>2.4331342541919696</c:v>
                </c:pt>
                <c:pt idx="100">
                  <c:v>2.7234952780202457</c:v>
                </c:pt>
                <c:pt idx="101">
                  <c:v>2.3729213013889803</c:v>
                </c:pt>
                <c:pt idx="102">
                  <c:v>2.3547018323244777</c:v>
                </c:pt>
                <c:pt idx="103">
                  <c:v>2.495098783164512</c:v>
                </c:pt>
                <c:pt idx="104">
                  <c:v>2.6044871303053694</c:v>
                </c:pt>
              </c:numCache>
            </c:numRef>
          </c:xVal>
          <c:yVal>
            <c:numRef>
              <c:f>Sheet1!$B$2:$B$106</c:f>
              <c:numCache>
                <c:formatCode>General</c:formatCode>
                <c:ptCount val="105"/>
                <c:pt idx="0">
                  <c:v>0.00036313292934794946</c:v>
                </c:pt>
                <c:pt idx="1">
                  <c:v>0.0001180052394326308</c:v>
                </c:pt>
                <c:pt idx="2">
                  <c:v>0.0001380738695201933</c:v>
                </c:pt>
                <c:pt idx="3">
                  <c:v>0.00012080796366096453</c:v>
                </c:pt>
                <c:pt idx="4">
                  <c:v>8.474336883138894e-05</c:v>
                </c:pt>
                <c:pt idx="5">
                  <c:v>0.0001727364329926587</c:v>
                </c:pt>
                <c:pt idx="6">
                  <c:v>0.0003101649513604963</c:v>
                </c:pt>
                <c:pt idx="7">
                  <c:v>0.0002557299491736726</c:v>
                </c:pt>
                <c:pt idx="8">
                  <c:v>0.00023386342376052386</c:v>
                </c:pt>
                <c:pt idx="9">
                  <c:v>0.00023664904945965134</c:v>
                </c:pt>
                <c:pt idx="10">
                  <c:v>0.0001504664459825459</c:v>
                </c:pt>
                <c:pt idx="11">
                  <c:v>0.0002527358657467081</c:v>
                </c:pt>
                <c:pt idx="12">
                  <c:v>0.00025539818899465987</c:v>
                </c:pt>
                <c:pt idx="13">
                  <c:v>0.0002448340025462736</c:v>
                </c:pt>
                <c:pt idx="14">
                  <c:v>7.259879486000533e-05</c:v>
                </c:pt>
                <c:pt idx="15">
                  <c:v>0.00017333025190663278</c:v>
                </c:pt>
                <c:pt idx="16">
                  <c:v>6.557377049180328e-05</c:v>
                </c:pt>
                <c:pt idx="17">
                  <c:v>0.00014304616815077065</c:v>
                </c:pt>
                <c:pt idx="18">
                  <c:v>7.897958377759349e-05</c:v>
                </c:pt>
                <c:pt idx="19">
                  <c:v>0.0001392757660167131</c:v>
                </c:pt>
                <c:pt idx="20">
                  <c:v>0.0001914168676543777</c:v>
                </c:pt>
                <c:pt idx="21">
                  <c:v>4.517323937299544e-05</c:v>
                </c:pt>
                <c:pt idx="22">
                  <c:v>0.0003266753780100803</c:v>
                </c:pt>
                <c:pt idx="23">
                  <c:v>0.0002457968734637695</c:v>
                </c:pt>
                <c:pt idx="24">
                  <c:v>0.0004160118332254784</c:v>
                </c:pt>
                <c:pt idx="25">
                  <c:v>0.0005229578495973225</c:v>
                </c:pt>
                <c:pt idx="26">
                  <c:v>0.0004661787329262039</c:v>
                </c:pt>
                <c:pt idx="27">
                  <c:v>0.00022744848291861893</c:v>
                </c:pt>
                <c:pt idx="28">
                  <c:v>0.0002318141777551115</c:v>
                </c:pt>
                <c:pt idx="29">
                  <c:v>0.00036586853124110735</c:v>
                </c:pt>
                <c:pt idx="30">
                  <c:v>0.00026104207998329333</c:v>
                </c:pt>
                <c:pt idx="31">
                  <c:v>0.0003045221539867025</c:v>
                </c:pt>
                <c:pt idx="32">
                  <c:v>0.00020004000800160032</c:v>
                </c:pt>
                <c:pt idx="33">
                  <c:v>0.0005195428023339461</c:v>
                </c:pt>
                <c:pt idx="34">
                  <c:v>0.0005066406108638222</c:v>
                </c:pt>
                <c:pt idx="35">
                  <c:v>0.0005345687811831789</c:v>
                </c:pt>
                <c:pt idx="36">
                  <c:v>0.00033811706364114506</c:v>
                </c:pt>
                <c:pt idx="37">
                  <c:v>0.00026327336551118914</c:v>
                </c:pt>
                <c:pt idx="38">
                  <c:v>0.00021714583514288196</c:v>
                </c:pt>
                <c:pt idx="39">
                  <c:v>0.00027820280984837946</c:v>
                </c:pt>
                <c:pt idx="40">
                  <c:v>0.00015428527347064721</c:v>
                </c:pt>
                <c:pt idx="41">
                  <c:v>0.00016618196925633567</c:v>
                </c:pt>
                <c:pt idx="42">
                  <c:v>0.00010635280771412365</c:v>
                </c:pt>
                <c:pt idx="43">
                  <c:v>0.00022198262193188305</c:v>
                </c:pt>
                <c:pt idx="44">
                  <c:v>0.00019422085068732602</c:v>
                </c:pt>
                <c:pt idx="45">
                  <c:v>0.0001392065228199264</c:v>
                </c:pt>
                <c:pt idx="46">
                  <c:v>0.0002866479390013186</c:v>
                </c:pt>
                <c:pt idx="47">
                  <c:v>0.0003465937536103516</c:v>
                </c:pt>
                <c:pt idx="48">
                  <c:v>0.00017395085888236573</c:v>
                </c:pt>
                <c:pt idx="49">
                  <c:v>0.0001764757786993735</c:v>
                </c:pt>
                <c:pt idx="50">
                  <c:v>0.0002607124899905026</c:v>
                </c:pt>
                <c:pt idx="51">
                  <c:v>0.00033724537973829757</c:v>
                </c:pt>
                <c:pt idx="52">
                  <c:v>0.00011712573447595994</c:v>
                </c:pt>
                <c:pt idx="53">
                  <c:v>0.00014421690222094028</c:v>
                </c:pt>
                <c:pt idx="54">
                  <c:v>0.00034161082643542243</c:v>
                </c:pt>
                <c:pt idx="55">
                  <c:v>0.0002166553825321598</c:v>
                </c:pt>
                <c:pt idx="56">
                  <c:v>0.00021784119376974185</c:v>
                </c:pt>
                <c:pt idx="57">
                  <c:v>0.00014241633040588654</c:v>
                </c:pt>
                <c:pt idx="58">
                  <c:v>0.00015347848012453683</c:v>
                </c:pt>
                <c:pt idx="59">
                  <c:v>0.0001909798736594682</c:v>
                </c:pt>
                <c:pt idx="60">
                  <c:v>0.00033729521362030194</c:v>
                </c:pt>
                <c:pt idx="61">
                  <c:v>0.00034526661056084244</c:v>
                </c:pt>
                <c:pt idx="62">
                  <c:v>0.00037922679869377434</c:v>
                </c:pt>
                <c:pt idx="63">
                  <c:v>0.0003265902061360536</c:v>
                </c:pt>
                <c:pt idx="64">
                  <c:v>0.00044982569254413917</c:v>
                </c:pt>
                <c:pt idx="65">
                  <c:v>0.0003264639869414405</c:v>
                </c:pt>
                <c:pt idx="66">
                  <c:v>0.00035840026985432084</c:v>
                </c:pt>
                <c:pt idx="67">
                  <c:v>0.00026140943252369025</c:v>
                </c:pt>
                <c:pt idx="68">
                  <c:v>0.00042267659956675646</c:v>
                </c:pt>
                <c:pt idx="69">
                  <c:v>0.00044499212706236737</c:v>
                </c:pt>
                <c:pt idx="70">
                  <c:v>0.00035560728025086475</c:v>
                </c:pt>
                <c:pt idx="71">
                  <c:v>0.00037821482602118004</c:v>
                </c:pt>
                <c:pt idx="72">
                  <c:v>0.0005287857756626346</c:v>
                </c:pt>
                <c:pt idx="73">
                  <c:v>0.0008655011251514627</c:v>
                </c:pt>
                <c:pt idx="74">
                  <c:v>0.0009342052582410249</c:v>
                </c:pt>
                <c:pt idx="75">
                  <c:v>0.0009785118791342127</c:v>
                </c:pt>
                <c:pt idx="76">
                  <c:v>0.001377582968065122</c:v>
                </c:pt>
                <c:pt idx="77">
                  <c:v>0.0012530804895367778</c:v>
                </c:pt>
                <c:pt idx="78">
                  <c:v>0.0017800442605599924</c:v>
                </c:pt>
                <c:pt idx="79">
                  <c:v>0.0012622012790306295</c:v>
                </c:pt>
                <c:pt idx="80">
                  <c:v>0.001277737552706674</c:v>
                </c:pt>
                <c:pt idx="81">
                  <c:v>0.001474607970076248</c:v>
                </c:pt>
                <c:pt idx="82">
                  <c:v>0.0015154298310066127</c:v>
                </c:pt>
                <c:pt idx="83">
                  <c:v>0.0012142329215499947</c:v>
                </c:pt>
                <c:pt idx="84">
                  <c:v>0.0013257471137380545</c:v>
                </c:pt>
                <c:pt idx="85">
                  <c:v>0.0011378252696151183</c:v>
                </c:pt>
                <c:pt idx="86">
                  <c:v>0.0010361927318481238</c:v>
                </c:pt>
                <c:pt idx="87">
                  <c:v>0.0009866450544416647</c:v>
                </c:pt>
                <c:pt idx="88">
                  <c:v>0.001400131262305841</c:v>
                </c:pt>
                <c:pt idx="89">
                  <c:v>0.0016241520970669723</c:v>
                </c:pt>
                <c:pt idx="90">
                  <c:v>0.0014310387367382185</c:v>
                </c:pt>
                <c:pt idx="91">
                  <c:v>0.0016291193446285608</c:v>
                </c:pt>
                <c:pt idx="92">
                  <c:v>0.001333790632978926</c:v>
                </c:pt>
                <c:pt idx="93">
                  <c:v>0.001266577261212934</c:v>
                </c:pt>
                <c:pt idx="94">
                  <c:v>0.0014334499768118387</c:v>
                </c:pt>
                <c:pt idx="95">
                  <c:v>0.0014944036109670927</c:v>
                </c:pt>
                <c:pt idx="96">
                  <c:v>0.0018807514049660793</c:v>
                </c:pt>
                <c:pt idx="97">
                  <c:v>0.002286209818876998</c:v>
                </c:pt>
                <c:pt idx="98">
                  <c:v>0.002183143382668936</c:v>
                </c:pt>
                <c:pt idx="99">
                  <c:v>0.0020329456784956203</c:v>
                </c:pt>
                <c:pt idx="100">
                  <c:v>0.0015614231564438318</c:v>
                </c:pt>
                <c:pt idx="101">
                  <c:v>0.0020515565070020514</c:v>
                </c:pt>
                <c:pt idx="102">
                  <c:v>0.0016952933303591344</c:v>
                </c:pt>
                <c:pt idx="103">
                  <c:v>0.001670790770467187</c:v>
                </c:pt>
                <c:pt idx="104">
                  <c:v>0.001277385457087079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2.5845898847711917</c:v>
                </c:pt>
                <c:pt idx="1">
                  <c:v>2.2250384631085227</c:v>
                </c:pt>
                <c:pt idx="2">
                  <c:v>2.469046484520369</c:v>
                </c:pt>
                <c:pt idx="3">
                  <c:v>2.0546770302569675</c:v>
                </c:pt>
                <c:pt idx="4">
                  <c:v>2.4704486246533315</c:v>
                </c:pt>
                <c:pt idx="5">
                  <c:v>2.7694280651883996</c:v>
                </c:pt>
                <c:pt idx="6">
                  <c:v>2.663269305799429</c:v>
                </c:pt>
                <c:pt idx="7">
                  <c:v>2.5145525629377112</c:v>
                </c:pt>
                <c:pt idx="8">
                  <c:v>2.3879677290165615</c:v>
                </c:pt>
                <c:pt idx="9">
                  <c:v>2.397136543352384</c:v>
                </c:pt>
                <c:pt idx="10">
                  <c:v>2.4639584452088723</c:v>
                </c:pt>
                <c:pt idx="11">
                  <c:v>2.593193117940449</c:v>
                </c:pt>
                <c:pt idx="12">
                  <c:v>2.3911658479494067</c:v>
                </c:pt>
                <c:pt idx="13">
                  <c:v>1.9769385129336132</c:v>
                </c:pt>
                <c:pt idx="14">
                  <c:v>2.003084882648954</c:v>
                </c:pt>
                <c:pt idx="15">
                  <c:v>2.0986635667222697</c:v>
                </c:pt>
                <c:pt idx="16">
                  <c:v>2.176180492722074</c:v>
                </c:pt>
                <c:pt idx="17">
                  <c:v>1.6528676703526157</c:v>
                </c:pt>
                <c:pt idx="18">
                  <c:v>2.360060622765542</c:v>
                </c:pt>
                <c:pt idx="19">
                  <c:v>2.3973077195430608</c:v>
                </c:pt>
                <c:pt idx="20">
                  <c:v>2.2347681752108657</c:v>
                </c:pt>
                <c:pt idx="21">
                  <c:v>1.9404347677520415</c:v>
                </c:pt>
                <c:pt idx="22">
                  <c:v>2.0175007097440436</c:v>
                </c:pt>
                <c:pt idx="23">
                  <c:v>1.6586428701482363</c:v>
                </c:pt>
                <c:pt idx="24">
                  <c:v>2.122568022342366</c:v>
                </c:pt>
                <c:pt idx="25">
                  <c:v>2.0446382028735735</c:v>
                </c:pt>
                <c:pt idx="26">
                  <c:v>2.090032382071222</c:v>
                </c:pt>
                <c:pt idx="27">
                  <c:v>2.08911582014674</c:v>
                </c:pt>
                <c:pt idx="28">
                  <c:v>2.1154004372396082</c:v>
                </c:pt>
                <c:pt idx="29">
                  <c:v>1.8791702405667392</c:v>
                </c:pt>
                <c:pt idx="30">
                  <c:v>1.8910680767143422</c:v>
                </c:pt>
                <c:pt idx="31">
                  <c:v>2.068195850439173</c:v>
                </c:pt>
                <c:pt idx="32">
                  <c:v>2.349007776747542</c:v>
                </c:pt>
                <c:pt idx="33">
                  <c:v>2.3003116873383633</c:v>
                </c:pt>
                <c:pt idx="34">
                  <c:v>2.4429977162057495</c:v>
                </c:pt>
                <c:pt idx="35">
                  <c:v>2.194865475625357</c:v>
                </c:pt>
                <c:pt idx="36">
                  <c:v>2.117503389349648</c:v>
                </c:pt>
                <c:pt idx="37">
                  <c:v>2.1258534380582534</c:v>
                </c:pt>
                <c:pt idx="38">
                  <c:v>1.8322744071287722</c:v>
                </c:pt>
                <c:pt idx="39">
                  <c:v>1.774492903478931</c:v>
                </c:pt>
                <c:pt idx="40">
                  <c:v>1.6653422447630513</c:v>
                </c:pt>
                <c:pt idx="41">
                  <c:v>1.8667448304375263</c:v>
                </c:pt>
                <c:pt idx="42">
                  <c:v>1.673343544731541</c:v>
                </c:pt>
                <c:pt idx="43">
                  <c:v>1.9900190155066082</c:v>
                </c:pt>
                <c:pt idx="44">
                  <c:v>2.464856904920041</c:v>
                </c:pt>
                <c:pt idx="45">
                  <c:v>2.659245135463953</c:v>
                </c:pt>
                <c:pt idx="46">
                  <c:v>2.6354552710577</c:v>
                </c:pt>
                <c:pt idx="47">
                  <c:v>2.6135079753232224</c:v>
                </c:pt>
                <c:pt idx="48">
                  <c:v>2.587927859248621</c:v>
                </c:pt>
                <c:pt idx="49">
                  <c:v>2.574435450580947</c:v>
                </c:pt>
                <c:pt idx="50">
                  <c:v>2.7130870973136196</c:v>
                </c:pt>
                <c:pt idx="51">
                  <c:v>2.7923717683991005</c:v>
                </c:pt>
              </c:numCache>
            </c:numRef>
          </c:xVal>
          <c:yVal>
            <c:numRef>
              <c:f>Sheet1!$B$109:$B$160</c:f>
              <c:numCache>
                <c:formatCode>General</c:formatCode>
                <c:ptCount val="52"/>
                <c:pt idx="0">
                  <c:v>0.0012644154258681956</c:v>
                </c:pt>
                <c:pt idx="1">
                  <c:v>0.0014919806042521448</c:v>
                </c:pt>
                <c:pt idx="2">
                  <c:v>0.0014490927419354839</c:v>
                </c:pt>
                <c:pt idx="3">
                  <c:v>0.0015493812943615083</c:v>
                </c:pt>
                <c:pt idx="4">
                  <c:v>0.001476399322593252</c:v>
                </c:pt>
                <c:pt idx="5">
                  <c:v>0.0012921877395475152</c:v>
                </c:pt>
                <c:pt idx="6">
                  <c:v>0.0015012792590869686</c:v>
                </c:pt>
                <c:pt idx="7">
                  <c:v>0.0017356665243989187</c:v>
                </c:pt>
                <c:pt idx="8">
                  <c:v>0.0020275117751645403</c:v>
                </c:pt>
                <c:pt idx="9">
                  <c:v>0.0020895351499885507</c:v>
                </c:pt>
                <c:pt idx="10">
                  <c:v>0.001986152106148796</c:v>
                </c:pt>
                <c:pt idx="11">
                  <c:v>0.0020591538749532012</c:v>
                </c:pt>
                <c:pt idx="12">
                  <c:v>0.002066261241165559</c:v>
                </c:pt>
                <c:pt idx="13">
                  <c:v>0.0030296420174992125</c:v>
                </c:pt>
                <c:pt idx="14">
                  <c:v>0.0029944086705355486</c:v>
                </c:pt>
                <c:pt idx="15">
                  <c:v>0.002915286858566132</c:v>
                </c:pt>
                <c:pt idx="16">
                  <c:v>0.002708645358656512</c:v>
                </c:pt>
                <c:pt idx="17">
                  <c:v>0.003584471797646422</c:v>
                </c:pt>
                <c:pt idx="18">
                  <c:v>0.0019437920142544747</c:v>
                </c:pt>
                <c:pt idx="19">
                  <c:v>0.0016996748448122967</c:v>
                </c:pt>
                <c:pt idx="20">
                  <c:v>0.0019800379844021497</c:v>
                </c:pt>
                <c:pt idx="21">
                  <c:v>0.0025989026855327752</c:v>
                </c:pt>
                <c:pt idx="22">
                  <c:v>0.0022795615481618005</c:v>
                </c:pt>
                <c:pt idx="23">
                  <c:v>0.0023307661126874745</c:v>
                </c:pt>
                <c:pt idx="24">
                  <c:v>0.002144286667302011</c:v>
                </c:pt>
                <c:pt idx="25">
                  <c:v>0.0024474301982917936</c:v>
                </c:pt>
                <c:pt idx="26">
                  <c:v>0.002500480861704174</c:v>
                </c:pt>
                <c:pt idx="27">
                  <c:v>0.0023867365639517538</c:v>
                </c:pt>
                <c:pt idx="28">
                  <c:v>0.0020089021940363177</c:v>
                </c:pt>
                <c:pt idx="29">
                  <c:v>0.002370329057445622</c:v>
                </c:pt>
                <c:pt idx="30">
                  <c:v>0.0022742669118358655</c:v>
                </c:pt>
                <c:pt idx="31">
                  <c:v>0.002381854598603367</c:v>
                </c:pt>
                <c:pt idx="32">
                  <c:v>0.002019619157530294</c:v>
                </c:pt>
                <c:pt idx="33">
                  <c:v>0.002039265864288856</c:v>
                </c:pt>
                <c:pt idx="34">
                  <c:v>0.001879817031142302</c:v>
                </c:pt>
                <c:pt idx="35">
                  <c:v>0.002231652886514963</c:v>
                </c:pt>
                <c:pt idx="36">
                  <c:v>0.002580228995323335</c:v>
                </c:pt>
                <c:pt idx="37">
                  <c:v>0.0026268424380989446</c:v>
                </c:pt>
                <c:pt idx="38">
                  <c:v>0.0029482712409541678</c:v>
                </c:pt>
                <c:pt idx="39">
                  <c:v>0.0028929206099929743</c:v>
                </c:pt>
                <c:pt idx="40">
                  <c:v>0.0027341358906345643</c:v>
                </c:pt>
                <c:pt idx="41">
                  <c:v>0.002220265666271102</c:v>
                </c:pt>
                <c:pt idx="42">
                  <c:v>0.002547987090198743</c:v>
                </c:pt>
                <c:pt idx="43">
                  <c:v>0.0018642923724727588</c:v>
                </c:pt>
                <c:pt idx="44">
                  <c:v>0.0014157873647655938</c:v>
                </c:pt>
                <c:pt idx="45">
                  <c:v>0.0011778802217664141</c:v>
                </c:pt>
                <c:pt idx="46">
                  <c:v>0.0012631169840652933</c:v>
                </c:pt>
                <c:pt idx="47">
                  <c:v>0.0013494659317033004</c:v>
                </c:pt>
                <c:pt idx="48">
                  <c:v>0.0014849957571549796</c:v>
                </c:pt>
                <c:pt idx="49">
                  <c:v>0.0013695022386094285</c:v>
                </c:pt>
                <c:pt idx="50">
                  <c:v>0.0011507750117426023</c:v>
                </c:pt>
                <c:pt idx="51">
                  <c:v>0.001245896452161531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9915399515304477</c:v>
                </c:pt>
              </c:numCache>
            </c:numRef>
          </c:xVal>
          <c:yVal>
            <c:numRef>
              <c:f>Sheet1!$B$163:$B$164</c:f>
              <c:numCache>
                <c:formatCode>General</c:formatCode>
                <c:ptCount val="2"/>
                <c:pt idx="0">
                  <c:v>0.0024350742003201257</c:v>
                </c:pt>
                <c:pt idx="1">
                  <c:v>0.002435074200320125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9915399515304477</c:v>
                </c:pt>
                <c:pt idx="1">
                  <c:v>1.9915399515304477</c:v>
                </c:pt>
              </c:numCache>
            </c:numRef>
          </c:xVal>
          <c:yVal>
            <c:numRef>
              <c:f>Sheet1!$B$167:$B$168</c:f>
              <c:numCache>
                <c:formatCode>General</c:formatCode>
                <c:ptCount val="2"/>
                <c:pt idx="0">
                  <c:v>0.002435074200320125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9915399515304477</c:v>
                </c:pt>
              </c:numCache>
            </c:numRef>
          </c:xVal>
          <c:yVal>
            <c:numRef>
              <c:f>Sheet1!$B$171:$B$172</c:f>
              <c:numCache>
                <c:formatCode>General</c:formatCode>
                <c:ptCount val="2"/>
                <c:pt idx="0">
                  <c:v>0.0024350742003201257</c:v>
                </c:pt>
                <c:pt idx="1">
                  <c:v>0.002435074200320125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9915399515304477</c:v>
                </c:pt>
                <c:pt idx="1">
                  <c:v>1.9915399515304477</c:v>
                </c:pt>
              </c:numCache>
            </c:numRef>
          </c:xVal>
          <c:yVal>
            <c:numRef>
              <c:f>Sheet1!$B$175:$B$176</c:f>
              <c:numCache>
                <c:formatCode>General</c:formatCode>
                <c:ptCount val="2"/>
                <c:pt idx="0">
                  <c:v>0.002435074200320125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4477621634375146</c:v>
                </c:pt>
              </c:numCache>
            </c:numRef>
          </c:xVal>
          <c:yVal>
            <c:numRef>
              <c:f>Sheet1!$B$179:$B$180</c:f>
              <c:numCache>
                <c:formatCode>General</c:formatCode>
                <c:ptCount val="2"/>
                <c:pt idx="0">
                  <c:v>0.0017474631993491757</c:v>
                </c:pt>
                <c:pt idx="1">
                  <c:v>0.001747463199349175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4477621634375146</c:v>
                </c:pt>
                <c:pt idx="1">
                  <c:v>2.4477621634375146</c:v>
                </c:pt>
              </c:numCache>
            </c:numRef>
          </c:xVal>
          <c:yVal>
            <c:numRef>
              <c:f>Sheet1!$B$183:$B$184</c:f>
              <c:numCache>
                <c:formatCode>General</c:formatCode>
                <c:ptCount val="2"/>
                <c:pt idx="0">
                  <c:v>0.001747463199349175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2.5845898847711917</c:v>
                </c:pt>
                <c:pt idx="1">
                  <c:v>2.2250384631085227</c:v>
                </c:pt>
                <c:pt idx="2">
                  <c:v>2.469046484520369</c:v>
                </c:pt>
                <c:pt idx="3">
                  <c:v>2.0546770302569675</c:v>
                </c:pt>
                <c:pt idx="4">
                  <c:v>2.4704486246533315</c:v>
                </c:pt>
                <c:pt idx="5">
                  <c:v>2.7694280651883996</c:v>
                </c:pt>
                <c:pt idx="6">
                  <c:v>2.663269305799429</c:v>
                </c:pt>
                <c:pt idx="7">
                  <c:v>2.5145525629377112</c:v>
                </c:pt>
                <c:pt idx="8">
                  <c:v>2.3879677290165615</c:v>
                </c:pt>
                <c:pt idx="9">
                  <c:v>2.397136543352384</c:v>
                </c:pt>
                <c:pt idx="10">
                  <c:v>2.4639584452088723</c:v>
                </c:pt>
                <c:pt idx="11">
                  <c:v>2.593193117940449</c:v>
                </c:pt>
                <c:pt idx="12">
                  <c:v>2.3911658479494067</c:v>
                </c:pt>
                <c:pt idx="13">
                  <c:v>1.9769385129336132</c:v>
                </c:pt>
                <c:pt idx="14">
                  <c:v>2.003084882648954</c:v>
                </c:pt>
                <c:pt idx="15">
                  <c:v>2.0986635667222697</c:v>
                </c:pt>
                <c:pt idx="16">
                  <c:v>2.176180492722074</c:v>
                </c:pt>
                <c:pt idx="17">
                  <c:v>1.6528676703526157</c:v>
                </c:pt>
                <c:pt idx="18">
                  <c:v>2.360060622765542</c:v>
                </c:pt>
                <c:pt idx="19">
                  <c:v>2.3973077195430608</c:v>
                </c:pt>
                <c:pt idx="20">
                  <c:v>2.2347681752108657</c:v>
                </c:pt>
                <c:pt idx="21">
                  <c:v>1.9404347677520415</c:v>
                </c:pt>
                <c:pt idx="22">
                  <c:v>2.0175007097440436</c:v>
                </c:pt>
                <c:pt idx="23">
                  <c:v>1.6586428701482363</c:v>
                </c:pt>
                <c:pt idx="24">
                  <c:v>2.122568022342366</c:v>
                </c:pt>
                <c:pt idx="25">
                  <c:v>2.0446382028735735</c:v>
                </c:pt>
                <c:pt idx="26">
                  <c:v>2.090032382071222</c:v>
                </c:pt>
                <c:pt idx="27">
                  <c:v>2.08911582014674</c:v>
                </c:pt>
                <c:pt idx="28">
                  <c:v>2.1154004372396082</c:v>
                </c:pt>
                <c:pt idx="29">
                  <c:v>1.8791702405667392</c:v>
                </c:pt>
                <c:pt idx="30">
                  <c:v>1.8910680767143422</c:v>
                </c:pt>
                <c:pt idx="31">
                  <c:v>2.068195850439173</c:v>
                </c:pt>
                <c:pt idx="32">
                  <c:v>2.349007776747542</c:v>
                </c:pt>
                <c:pt idx="33">
                  <c:v>2.3003116873383633</c:v>
                </c:pt>
                <c:pt idx="34">
                  <c:v>2.4429977162057495</c:v>
                </c:pt>
                <c:pt idx="35">
                  <c:v>2.194865475625357</c:v>
                </c:pt>
                <c:pt idx="36">
                  <c:v>2.117503389349648</c:v>
                </c:pt>
                <c:pt idx="37">
                  <c:v>2.1258534380582534</c:v>
                </c:pt>
                <c:pt idx="38">
                  <c:v>1.8322744071287722</c:v>
                </c:pt>
                <c:pt idx="39">
                  <c:v>1.774492903478931</c:v>
                </c:pt>
                <c:pt idx="40">
                  <c:v>1.6653422447630513</c:v>
                </c:pt>
                <c:pt idx="41">
                  <c:v>1.8667448304375263</c:v>
                </c:pt>
                <c:pt idx="42">
                  <c:v>1.673343544731541</c:v>
                </c:pt>
                <c:pt idx="43">
                  <c:v>1.9900190155066082</c:v>
                </c:pt>
                <c:pt idx="44">
                  <c:v>2.464856904920041</c:v>
                </c:pt>
                <c:pt idx="45">
                  <c:v>2.659245135463953</c:v>
                </c:pt>
                <c:pt idx="46">
                  <c:v>2.6354552710577</c:v>
                </c:pt>
                <c:pt idx="47">
                  <c:v>2.6135079753232224</c:v>
                </c:pt>
                <c:pt idx="48">
                  <c:v>2.587927859248621</c:v>
                </c:pt>
                <c:pt idx="49">
                  <c:v>2.574435450580947</c:v>
                </c:pt>
                <c:pt idx="50">
                  <c:v>2.7130870973136196</c:v>
                </c:pt>
                <c:pt idx="51">
                  <c:v>2.7923717683991005</c:v>
                </c:pt>
                <c:pt idx="52">
                  <c:v>1.9915399515304477</c:v>
                </c:pt>
                <c:pt idx="53">
                  <c:v>1.9915399515304477</c:v>
                </c:pt>
                <c:pt idx="54">
                  <c:v>2.4477621634375146</c:v>
                </c:pt>
              </c:numCache>
            </c:numRef>
          </c:xVal>
          <c:yVal>
            <c:numRef>
              <c:f>Sheet1!$B$187:$B$241</c:f>
              <c:numCache>
                <c:formatCode>General</c:formatCode>
                <c:ptCount val="55"/>
                <c:pt idx="0">
                  <c:v>0.001541238592192194</c:v>
                </c:pt>
                <c:pt idx="1">
                  <c:v>0.002083148886117904</c:v>
                </c:pt>
                <c:pt idx="2">
                  <c:v>0.0017153838026367904</c:v>
                </c:pt>
                <c:pt idx="3">
                  <c:v>0.00233991498016719</c:v>
                </c:pt>
                <c:pt idx="4">
                  <c:v>0.0017132705189010036</c:v>
                </c:pt>
                <c:pt idx="5">
                  <c:v>0.0012626533700412492</c:v>
                </c:pt>
                <c:pt idx="6">
                  <c:v>0.001422654196174094</c:v>
                </c:pt>
                <c:pt idx="7">
                  <c:v>0.0016467977511159465</c:v>
                </c:pt>
                <c:pt idx="8">
                  <c:v>0.0018375844381481724</c:v>
                </c:pt>
                <c:pt idx="9">
                  <c:v>0.001823765344209677</c:v>
                </c:pt>
                <c:pt idx="10">
                  <c:v>0.0017230524161164656</c:v>
                </c:pt>
                <c:pt idx="11">
                  <c:v>0.001528271933365191</c:v>
                </c:pt>
                <c:pt idx="12">
                  <c:v>0.0018327642831814832</c:v>
                </c:pt>
                <c:pt idx="13">
                  <c:v>0.0024570812607988698</c:v>
                </c:pt>
                <c:pt idx="14">
                  <c:v>0.0024176738602328836</c:v>
                </c:pt>
                <c:pt idx="15">
                  <c:v>0.0022736191585724427</c:v>
                </c:pt>
                <c:pt idx="16">
                  <c:v>0.002156786856926915</c:v>
                </c:pt>
                <c:pt idx="17">
                  <c:v>0.0029455157794101875</c:v>
                </c:pt>
                <c:pt idx="18">
                  <c:v>0.0018796455933542127</c:v>
                </c:pt>
                <c:pt idx="19">
                  <c:v>0.0018235073501253435</c:v>
                </c:pt>
                <c:pt idx="20">
                  <c:v>0.0020684844158154053</c:v>
                </c:pt>
                <c:pt idx="21">
                  <c:v>0.002512099136098203</c:v>
                </c:pt>
                <c:pt idx="22">
                  <c:v>0.002395946550514132</c:v>
                </c:pt>
                <c:pt idx="23">
                  <c:v>0.0029368114883681663</c:v>
                </c:pt>
                <c:pt idx="24">
                  <c:v>0.0022375907359581835</c:v>
                </c:pt>
                <c:pt idx="25">
                  <c:v>0.00235504534419926</c:v>
                </c:pt>
                <c:pt idx="26">
                  <c:v>0.002286627945436772</c:v>
                </c:pt>
                <c:pt idx="27">
                  <c:v>0.0022880093732714902</c:v>
                </c:pt>
                <c:pt idx="28">
                  <c:v>0.0022483936084146776</c:v>
                </c:pt>
                <c:pt idx="29">
                  <c:v>0.0026044360757789893</c:v>
                </c:pt>
                <c:pt idx="30">
                  <c:v>0.002586503842737017</c:v>
                </c:pt>
                <c:pt idx="31">
                  <c:v>0.002319539625274723</c:v>
                </c:pt>
                <c:pt idx="32">
                  <c:v>0.0018963042704542282</c:v>
                </c:pt>
                <c:pt idx="33">
                  <c:v>0.0019696982567795522</c:v>
                </c:pt>
                <c:pt idx="34">
                  <c:v>0.0017546440998941373</c:v>
                </c:pt>
                <c:pt idx="35">
                  <c:v>0.0021286251421705348</c:v>
                </c:pt>
                <c:pt idx="36">
                  <c:v>0.0022452240717993205</c:v>
                </c:pt>
                <c:pt idx="37">
                  <c:v>0.0022326390086418743</c:v>
                </c:pt>
                <c:pt idx="38">
                  <c:v>0.002675116744387505</c:v>
                </c:pt>
                <c:pt idx="39">
                  <c:v>0.0027622041253288943</c:v>
                </c:pt>
                <c:pt idx="40">
                  <c:v>0.0029267142954552735</c:v>
                </c:pt>
                <c:pt idx="41">
                  <c:v>0.0026231634600961803</c:v>
                </c:pt>
                <c:pt idx="42">
                  <c:v>0.0029146548609586408</c:v>
                </c:pt>
                <c:pt idx="43">
                  <c:v>0.0024373665313694916</c:v>
                </c:pt>
                <c:pt idx="44">
                  <c:v>0.0017216982716552693</c:v>
                </c:pt>
                <c:pt idx="45">
                  <c:v>0.0014287193629288816</c:v>
                </c:pt>
                <c:pt idx="46">
                  <c:v>0.0014645750754531959</c:v>
                </c:pt>
                <c:pt idx="47">
                  <c:v>0.0014976536972184677</c:v>
                </c:pt>
                <c:pt idx="48">
                  <c:v>0.0015362076491303774</c:v>
                </c:pt>
                <c:pt idx="49">
                  <c:v>0.0015565431970001467</c:v>
                </c:pt>
                <c:pt idx="50">
                  <c:v>0.001347569597934032</c:v>
                </c:pt>
                <c:pt idx="51">
                  <c:v>0.0012280729784712218</c:v>
                </c:pt>
                <c:pt idx="52">
                  <c:v>0.0024350742003201257</c:v>
                </c:pt>
                <c:pt idx="53">
                  <c:v>0.0024350742003201257</c:v>
                </c:pt>
                <c:pt idx="54">
                  <c:v>0.00174746319934917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3013661571757065"/>
          <c:min val="3.6138591498396357e-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19.7617</c:v>
                </c:pt>
                <c:pt idx="1">
                  <c:v>968.4889</c:v>
                </c:pt>
                <c:pt idx="2">
                  <c:v>978.6737</c:v>
                </c:pt>
                <c:pt idx="3">
                  <c:v>988.5581</c:v>
                </c:pt>
                <c:pt idx="4">
                  <c:v>941.4731</c:v>
                </c:pt>
                <c:pt idx="5">
                  <c:v>914.0893</c:v>
                </c:pt>
                <c:pt idx="6">
                  <c:v>916.8947</c:v>
                </c:pt>
                <c:pt idx="7">
                  <c:v>911.1192</c:v>
                </c:pt>
                <c:pt idx="8">
                  <c:v>915.1229</c:v>
                </c:pt>
                <c:pt idx="9">
                  <c:v>871.9622</c:v>
                </c:pt>
                <c:pt idx="10">
                  <c:v>835.0343</c:v>
                </c:pt>
                <c:pt idx="11">
                  <c:v>828.98</c:v>
                </c:pt>
                <c:pt idx="12">
                  <c:v>865.837</c:v>
                </c:pt>
                <c:pt idx="13">
                  <c:v>852.9094</c:v>
                </c:pt>
                <c:pt idx="14">
                  <c:v>982.1822</c:v>
                </c:pt>
                <c:pt idx="15">
                  <c:v>1002.7042</c:v>
                </c:pt>
                <c:pt idx="16">
                  <c:v>1006.0217</c:v>
                </c:pt>
                <c:pt idx="17">
                  <c:v>1013.7644</c:v>
                </c:pt>
                <c:pt idx="18">
                  <c:v>1053.3199</c:v>
                </c:pt>
                <c:pt idx="19">
                  <c:v>1057.9869</c:v>
                </c:pt>
                <c:pt idx="20">
                  <c:v>1082.7853</c:v>
                </c:pt>
                <c:pt idx="21">
                  <c:v>1080.1899</c:v>
                </c:pt>
                <c:pt idx="22">
                  <c:v>1096.2342</c:v>
                </c:pt>
                <c:pt idx="23">
                  <c:v>1086.1013</c:v>
                </c:pt>
                <c:pt idx="24">
                  <c:v>1089.9863</c:v>
                </c:pt>
                <c:pt idx="25">
                  <c:v>1090.5347</c:v>
                </c:pt>
                <c:pt idx="26">
                  <c:v>1087.5632</c:v>
                </c:pt>
                <c:pt idx="27">
                  <c:v>1074.276</c:v>
                </c:pt>
                <c:pt idx="28">
                  <c:v>1078.8013</c:v>
                </c:pt>
                <c:pt idx="29">
                  <c:v>1110.4901</c:v>
                </c:pt>
                <c:pt idx="30">
                  <c:v>1106.4741</c:v>
                </c:pt>
                <c:pt idx="31">
                  <c:v>1110.3379</c:v>
                </c:pt>
                <c:pt idx="32">
                  <c:v>1109.2397</c:v>
                </c:pt>
                <c:pt idx="33">
                  <c:v>1106.1206</c:v>
                </c:pt>
                <c:pt idx="34">
                  <c:v>1101.2328</c:v>
                </c:pt>
                <c:pt idx="35">
                  <c:v>1107.0789</c:v>
                </c:pt>
                <c:pt idx="36">
                  <c:v>1107.3889</c:v>
                </c:pt>
                <c:pt idx="37">
                  <c:v>1123.1496</c:v>
                </c:pt>
                <c:pt idx="38">
                  <c:v>1124.7202</c:v>
                </c:pt>
                <c:pt idx="39">
                  <c:v>1181.6643</c:v>
                </c:pt>
                <c:pt idx="40">
                  <c:v>1208.5253</c:v>
                </c:pt>
                <c:pt idx="41">
                  <c:v>1220.8314</c:v>
                </c:pt>
                <c:pt idx="42">
                  <c:v>1223.18</c:v>
                </c:pt>
                <c:pt idx="43">
                  <c:v>1228.1207</c:v>
                </c:pt>
                <c:pt idx="44">
                  <c:v>1240.7688</c:v>
                </c:pt>
                <c:pt idx="45">
                  <c:v>1233.1846</c:v>
                </c:pt>
                <c:pt idx="46">
                  <c:v>1179.4713</c:v>
                </c:pt>
                <c:pt idx="47">
                  <c:v>1172.3183</c:v>
                </c:pt>
                <c:pt idx="48">
                  <c:v>1120.507</c:v>
                </c:pt>
                <c:pt idx="49">
                  <c:v>1024.6798</c:v>
                </c:pt>
                <c:pt idx="50">
                  <c:v>1060.5503</c:v>
                </c:pt>
                <c:pt idx="51">
                  <c:v>1034.3245</c:v>
                </c:pt>
                <c:pt idx="52">
                  <c:v>1014.3784</c:v>
                </c:pt>
                <c:pt idx="53">
                  <c:v>1243.0414</c:v>
                </c:pt>
                <c:pt idx="54">
                  <c:v>1235.1487</c:v>
                </c:pt>
                <c:pt idx="55">
                  <c:v>1235.805</c:v>
                </c:pt>
                <c:pt idx="56">
                  <c:v>1234.1824</c:v>
                </c:pt>
                <c:pt idx="57">
                  <c:v>1242.6704</c:v>
                </c:pt>
                <c:pt idx="58">
                  <c:v>1241.1324</c:v>
                </c:pt>
                <c:pt idx="59">
                  <c:v>1239.3448</c:v>
                </c:pt>
                <c:pt idx="60">
                  <c:v>1247.9935</c:v>
                </c:pt>
                <c:pt idx="61">
                  <c:v>1188.6951</c:v>
                </c:pt>
                <c:pt idx="62">
                  <c:v>1077.9522</c:v>
                </c:pt>
                <c:pt idx="63">
                  <c:v>1083.0403</c:v>
                </c:pt>
                <c:pt idx="64">
                  <c:v>1091.05</c:v>
                </c:pt>
                <c:pt idx="65">
                  <c:v>1090.8111</c:v>
                </c:pt>
                <c:pt idx="66">
                  <c:v>1220.491</c:v>
                </c:pt>
                <c:pt idx="67">
                  <c:v>1245.6622</c:v>
                </c:pt>
                <c:pt idx="68">
                  <c:v>1232.1381</c:v>
                </c:pt>
                <c:pt idx="69">
                  <c:v>1271.6872</c:v>
                </c:pt>
                <c:pt idx="70">
                  <c:v>1266.6255</c:v>
                </c:pt>
                <c:pt idx="71">
                  <c:v>1262.548</c:v>
                </c:pt>
                <c:pt idx="72">
                  <c:v>1277.5772</c:v>
                </c:pt>
                <c:pt idx="73">
                  <c:v>1261.3543</c:v>
                </c:pt>
                <c:pt idx="74">
                  <c:v>1281.0581</c:v>
                </c:pt>
                <c:pt idx="75">
                  <c:v>1265.0422</c:v>
                </c:pt>
                <c:pt idx="76">
                  <c:v>1211.6077</c:v>
                </c:pt>
                <c:pt idx="77">
                  <c:v>1199.1729</c:v>
                </c:pt>
                <c:pt idx="78">
                  <c:v>1213.7785</c:v>
                </c:pt>
                <c:pt idx="79">
                  <c:v>1242.1955</c:v>
                </c:pt>
                <c:pt idx="80">
                  <c:v>1264.2783</c:v>
                </c:pt>
                <c:pt idx="81">
                  <c:v>1316.6727</c:v>
                </c:pt>
                <c:pt idx="82">
                  <c:v>1334.0317</c:v>
                </c:pt>
                <c:pt idx="83">
                  <c:v>1334.2226</c:v>
                </c:pt>
                <c:pt idx="84">
                  <c:v>1345.6375</c:v>
                </c:pt>
                <c:pt idx="85">
                  <c:v>1346.6109</c:v>
                </c:pt>
                <c:pt idx="86">
                  <c:v>1349.528</c:v>
                </c:pt>
                <c:pt idx="87">
                  <c:v>1337.4574</c:v>
                </c:pt>
                <c:pt idx="88">
                  <c:v>1354.4523</c:v>
                </c:pt>
                <c:pt idx="89">
                  <c:v>1369.7822</c:v>
                </c:pt>
                <c:pt idx="90">
                  <c:v>1367.9924</c:v>
                </c:pt>
                <c:pt idx="91">
                  <c:v>1353.3447</c:v>
                </c:pt>
                <c:pt idx="92">
                  <c:v>1342.2688</c:v>
                </c:pt>
                <c:pt idx="93">
                  <c:v>1332.2189</c:v>
                </c:pt>
                <c:pt idx="94">
                  <c:v>1349.2415</c:v>
                </c:pt>
                <c:pt idx="95">
                  <c:v>1336.8942</c:v>
                </c:pt>
                <c:pt idx="96">
                  <c:v>1225.6862</c:v>
                </c:pt>
                <c:pt idx="97">
                  <c:v>1263.0433</c:v>
                </c:pt>
                <c:pt idx="98">
                  <c:v>1215.1682</c:v>
                </c:pt>
                <c:pt idx="99">
                  <c:v>1204.9229</c:v>
                </c:pt>
                <c:pt idx="100">
                  <c:v>1106.9971</c:v>
                </c:pt>
                <c:pt idx="101">
                  <c:v>1292.2309</c:v>
                </c:pt>
                <c:pt idx="102">
                  <c:v>1272.751</c:v>
                </c:pt>
                <c:pt idx="103">
                  <c:v>1200.6081</c:v>
                </c:pt>
                <c:pt idx="104">
                  <c:v>1187.5781</c:v>
                </c:pt>
              </c:numCache>
            </c:numRef>
          </c:xVal>
          <c:yVal>
            <c:numRef>
              <c:f>Sheet1!$B$2:$B$106</c:f>
              <c:numCache>
                <c:formatCode>General</c:formatCode>
                <c:ptCount val="105"/>
                <c:pt idx="0">
                  <c:v>0.17871326449563146</c:v>
                </c:pt>
                <c:pt idx="1">
                  <c:v>0.17244395844723892</c:v>
                </c:pt>
                <c:pt idx="2">
                  <c:v>0.17025336584331602</c:v>
                </c:pt>
                <c:pt idx="3">
                  <c:v>0.17527895135954935</c:v>
                </c:pt>
                <c:pt idx="4">
                  <c:v>0.21203293223559214</c:v>
                </c:pt>
                <c:pt idx="5">
                  <c:v>0.21191523390643743</c:v>
                </c:pt>
                <c:pt idx="6">
                  <c:v>0.2379850938062195</c:v>
                </c:pt>
                <c:pt idx="7">
                  <c:v>0.22453605326533504</c:v>
                </c:pt>
                <c:pt idx="8">
                  <c:v>0.23006896551724138</c:v>
                </c:pt>
                <c:pt idx="9">
                  <c:v>0.22907280056912496</c:v>
                </c:pt>
                <c:pt idx="10">
                  <c:v>0.21959048146098506</c:v>
                </c:pt>
                <c:pt idx="11">
                  <c:v>0.2169830788278993</c:v>
                </c:pt>
                <c:pt idx="12">
                  <c:v>0.19853345554537122</c:v>
                </c:pt>
                <c:pt idx="13">
                  <c:v>0.18983121483642426</c:v>
                </c:pt>
                <c:pt idx="14">
                  <c:v>0.16496579567118985</c:v>
                </c:pt>
                <c:pt idx="15">
                  <c:v>0.15082936865115082</c:v>
                </c:pt>
                <c:pt idx="16">
                  <c:v>0.14701200983938648</c:v>
                </c:pt>
                <c:pt idx="17">
                  <c:v>0.147643475472908</c:v>
                </c:pt>
                <c:pt idx="18">
                  <c:v>0.13295118343195267</c:v>
                </c:pt>
                <c:pt idx="19">
                  <c:v>0.12522982635342186</c:v>
                </c:pt>
                <c:pt idx="20">
                  <c:v>0.16063919259882253</c:v>
                </c:pt>
                <c:pt idx="21">
                  <c:v>0.1484842633713072</c:v>
                </c:pt>
                <c:pt idx="22">
                  <c:v>0.12748835239305378</c:v>
                </c:pt>
                <c:pt idx="23">
                  <c:v>0.1453639514731369</c:v>
                </c:pt>
                <c:pt idx="24">
                  <c:v>0.1491442542787286</c:v>
                </c:pt>
                <c:pt idx="25">
                  <c:v>0.13845099383139137</c:v>
                </c:pt>
                <c:pt idx="26">
                  <c:v>0.14704225352112676</c:v>
                </c:pt>
                <c:pt idx="27">
                  <c:v>0.1636990235496841</c:v>
                </c:pt>
                <c:pt idx="28">
                  <c:v>0.17227456258411844</c:v>
                </c:pt>
                <c:pt idx="29">
                  <c:v>0.1650602409638554</c:v>
                </c:pt>
                <c:pt idx="30">
                  <c:v>0.17488692655610596</c:v>
                </c:pt>
                <c:pt idx="31">
                  <c:v>0.1566265060240964</c:v>
                </c:pt>
                <c:pt idx="32">
                  <c:v>0.16640952171038131</c:v>
                </c:pt>
                <c:pt idx="33">
                  <c:v>0.16251189343482397</c:v>
                </c:pt>
                <c:pt idx="34">
                  <c:v>0.17239574245332404</c:v>
                </c:pt>
                <c:pt idx="35">
                  <c:v>0.22559293987865417</c:v>
                </c:pt>
                <c:pt idx="36">
                  <c:v>0.18735215265730956</c:v>
                </c:pt>
                <c:pt idx="37">
                  <c:v>0.17413793103448275</c:v>
                </c:pt>
                <c:pt idx="38">
                  <c:v>0.16989128431914502</c:v>
                </c:pt>
                <c:pt idx="39">
                  <c:v>0.1693499082942735</c:v>
                </c:pt>
                <c:pt idx="40">
                  <c:v>0.16853556485355647</c:v>
                </c:pt>
                <c:pt idx="41">
                  <c:v>0.1634011090573013</c:v>
                </c:pt>
                <c:pt idx="42">
                  <c:v>0.17408335944844877</c:v>
                </c:pt>
                <c:pt idx="43">
                  <c:v>0.1715578716401536</c:v>
                </c:pt>
                <c:pt idx="44">
                  <c:v>0.16095854098186832</c:v>
                </c:pt>
                <c:pt idx="45">
                  <c:v>0.1548496315475005</c:v>
                </c:pt>
                <c:pt idx="46">
                  <c:v>0.1563079324812177</c:v>
                </c:pt>
                <c:pt idx="47">
                  <c:v>0.15777888944472235</c:v>
                </c:pt>
                <c:pt idx="48">
                  <c:v>0.15445402298850575</c:v>
                </c:pt>
                <c:pt idx="49">
                  <c:v>0.17856437598736177</c:v>
                </c:pt>
                <c:pt idx="50">
                  <c:v>0.15999038615606473</c:v>
                </c:pt>
                <c:pt idx="51">
                  <c:v>0.1646090534979424</c:v>
                </c:pt>
                <c:pt idx="52">
                  <c:v>0.16628440366972477</c:v>
                </c:pt>
                <c:pt idx="53">
                  <c:v>0.15564566437928884</c:v>
                </c:pt>
                <c:pt idx="54">
                  <c:v>0.1579898362507058</c:v>
                </c:pt>
                <c:pt idx="55">
                  <c:v>0.15723419370116032</c:v>
                </c:pt>
                <c:pt idx="56">
                  <c:v>0.1649002849002849</c:v>
                </c:pt>
                <c:pt idx="57">
                  <c:v>0.14748238177918496</c:v>
                </c:pt>
                <c:pt idx="58">
                  <c:v>0.14757606773983437</c:v>
                </c:pt>
                <c:pt idx="59">
                  <c:v>0.1363914373088685</c:v>
                </c:pt>
                <c:pt idx="60">
                  <c:v>0.13633191651335405</c:v>
                </c:pt>
                <c:pt idx="61">
                  <c:v>0.14007287518006947</c:v>
                </c:pt>
                <c:pt idx="62">
                  <c:v>0.16141627473600142</c:v>
                </c:pt>
                <c:pt idx="63">
                  <c:v>0.1601366742596811</c:v>
                </c:pt>
                <c:pt idx="64">
                  <c:v>0.15851528384279476</c:v>
                </c:pt>
                <c:pt idx="65">
                  <c:v>0.16333200478278198</c:v>
                </c:pt>
                <c:pt idx="66">
                  <c:v>0.1540864133263925</c:v>
                </c:pt>
                <c:pt idx="67">
                  <c:v>0.14832707103238504</c:v>
                </c:pt>
                <c:pt idx="68">
                  <c:v>0.13880673125956144</c:v>
                </c:pt>
                <c:pt idx="69">
                  <c:v>0.12687079500205958</c:v>
                </c:pt>
                <c:pt idx="70">
                  <c:v>0.12676238520243177</c:v>
                </c:pt>
                <c:pt idx="71">
                  <c:v>0.12544192745842608</c:v>
                </c:pt>
                <c:pt idx="72">
                  <c:v>0.1374246987951807</c:v>
                </c:pt>
                <c:pt idx="73">
                  <c:v>0.13767193071828834</c:v>
                </c:pt>
                <c:pt idx="74">
                  <c:v>0.1292578681517938</c:v>
                </c:pt>
                <c:pt idx="75">
                  <c:v>0.13484009840098402</c:v>
                </c:pt>
                <c:pt idx="76">
                  <c:v>0.13730818414322252</c:v>
                </c:pt>
                <c:pt idx="77">
                  <c:v>0.1371135671952587</c:v>
                </c:pt>
                <c:pt idx="78">
                  <c:v>0.14234234234234233</c:v>
                </c:pt>
                <c:pt idx="79">
                  <c:v>0.14733944954128442</c:v>
                </c:pt>
                <c:pt idx="80">
                  <c:v>0.14644351464435146</c:v>
                </c:pt>
                <c:pt idx="81">
                  <c:v>0.13844343092540826</c:v>
                </c:pt>
                <c:pt idx="82">
                  <c:v>0.13989637305699482</c:v>
                </c:pt>
                <c:pt idx="83">
                  <c:v>0.12342569269521411</c:v>
                </c:pt>
                <c:pt idx="84">
                  <c:v>0.12353616532721011</c:v>
                </c:pt>
                <c:pt idx="85">
                  <c:v>0.11733112993183227</c:v>
                </c:pt>
                <c:pt idx="86">
                  <c:v>0.12542061792597126</c:v>
                </c:pt>
                <c:pt idx="87">
                  <c:v>0.15615700722686693</c:v>
                </c:pt>
                <c:pt idx="88">
                  <c:v>0.16099179325999652</c:v>
                </c:pt>
                <c:pt idx="89">
                  <c:v>0.12866817155756208</c:v>
                </c:pt>
                <c:pt idx="90">
                  <c:v>0.12739222888072685</c:v>
                </c:pt>
                <c:pt idx="91">
                  <c:v>0.12940528634361234</c:v>
                </c:pt>
                <c:pt idx="92">
                  <c:v>0.1431384428960921</c:v>
                </c:pt>
                <c:pt idx="93">
                  <c:v>0.12367733956300674</c:v>
                </c:pt>
                <c:pt idx="94">
                  <c:v>0.12312166747455162</c:v>
                </c:pt>
                <c:pt idx="95">
                  <c:v>0.1336003770028275</c:v>
                </c:pt>
                <c:pt idx="96">
                  <c:v>0.13879582655307743</c:v>
                </c:pt>
                <c:pt idx="97">
                  <c:v>0.13529557259460798</c:v>
                </c:pt>
                <c:pt idx="98">
                  <c:v>0.1486593914865939</c:v>
                </c:pt>
                <c:pt idx="99">
                  <c:v>0.14808979913351714</c:v>
                </c:pt>
                <c:pt idx="100">
                  <c:v>0.1637249736564805</c:v>
                </c:pt>
                <c:pt idx="101">
                  <c:v>0.1358774212200058</c:v>
                </c:pt>
                <c:pt idx="102">
                  <c:v>0.12760005738057667</c:v>
                </c:pt>
                <c:pt idx="103">
                  <c:v>0.14489073561095722</c:v>
                </c:pt>
                <c:pt idx="104">
                  <c:v>0.1486293905608181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72.3769</c:v>
                </c:pt>
                <c:pt idx="1">
                  <c:v>1273.1296</c:v>
                </c:pt>
                <c:pt idx="2">
                  <c:v>1302.415</c:v>
                </c:pt>
                <c:pt idx="3">
                  <c:v>1326.3668</c:v>
                </c:pt>
                <c:pt idx="4">
                  <c:v>1315.7537</c:v>
                </c:pt>
                <c:pt idx="5">
                  <c:v>1321.7919</c:v>
                </c:pt>
                <c:pt idx="6">
                  <c:v>1320.22</c:v>
                </c:pt>
                <c:pt idx="7">
                  <c:v>1314.166</c:v>
                </c:pt>
                <c:pt idx="8">
                  <c:v>1324.4045</c:v>
                </c:pt>
                <c:pt idx="9">
                  <c:v>1157.7675</c:v>
                </c:pt>
                <c:pt idx="10">
                  <c:v>1186.3984</c:v>
                </c:pt>
                <c:pt idx="11">
                  <c:v>1320.8785</c:v>
                </c:pt>
                <c:pt idx="12">
                  <c:v>1296.3715</c:v>
                </c:pt>
                <c:pt idx="13">
                  <c:v>1197.7465</c:v>
                </c:pt>
                <c:pt idx="14">
                  <c:v>1319.172</c:v>
                </c:pt>
                <c:pt idx="15">
                  <c:v>1225.4308</c:v>
                </c:pt>
                <c:pt idx="16">
                  <c:v>1331.1383</c:v>
                </c:pt>
                <c:pt idx="17">
                  <c:v>1342.6471</c:v>
                </c:pt>
                <c:pt idx="18">
                  <c:v>1392.0791</c:v>
                </c:pt>
                <c:pt idx="19">
                  <c:v>1367.4538</c:v>
                </c:pt>
                <c:pt idx="20">
                  <c:v>1286.4367</c:v>
                </c:pt>
                <c:pt idx="21">
                  <c:v>1299.704</c:v>
                </c:pt>
                <c:pt idx="22">
                  <c:v>1283.2793</c:v>
                </c:pt>
                <c:pt idx="23">
                  <c:v>1172.1436</c:v>
                </c:pt>
                <c:pt idx="24">
                  <c:v>1153.4094</c:v>
                </c:pt>
                <c:pt idx="25">
                  <c:v>1207.888</c:v>
                </c:pt>
                <c:pt idx="26">
                  <c:v>1251.1845</c:v>
                </c:pt>
                <c:pt idx="27">
                  <c:v>1313.6468</c:v>
                </c:pt>
                <c:pt idx="28">
                  <c:v>1359.968</c:v>
                </c:pt>
                <c:pt idx="29">
                  <c:v>1349.3132</c:v>
                </c:pt>
                <c:pt idx="30">
                  <c:v>1352.4305</c:v>
                </c:pt>
                <c:pt idx="31">
                  <c:v>1348.7713</c:v>
                </c:pt>
                <c:pt idx="32">
                  <c:v>1351.2404</c:v>
                </c:pt>
                <c:pt idx="33">
                  <c:v>1356.3797</c:v>
                </c:pt>
                <c:pt idx="34">
                  <c:v>1371.4882</c:v>
                </c:pt>
                <c:pt idx="35">
                  <c:v>1359.9545</c:v>
                </c:pt>
                <c:pt idx="36">
                  <c:v>1346.5016</c:v>
                </c:pt>
                <c:pt idx="37">
                  <c:v>1346.3364</c:v>
                </c:pt>
                <c:pt idx="38">
                  <c:v>1331.8728</c:v>
                </c:pt>
                <c:pt idx="39">
                  <c:v>1357.3931</c:v>
                </c:pt>
                <c:pt idx="40">
                  <c:v>1351.1635</c:v>
                </c:pt>
                <c:pt idx="41">
                  <c:v>1355.8128</c:v>
                </c:pt>
                <c:pt idx="42">
                  <c:v>1350.711</c:v>
                </c:pt>
                <c:pt idx="43">
                  <c:v>1332.7643</c:v>
                </c:pt>
                <c:pt idx="44">
                  <c:v>1290.1071</c:v>
                </c:pt>
                <c:pt idx="45">
                  <c:v>1292.298</c:v>
                </c:pt>
                <c:pt idx="46">
                  <c:v>1294.4256</c:v>
                </c:pt>
                <c:pt idx="47">
                  <c:v>1285.2908</c:v>
                </c:pt>
                <c:pt idx="48">
                  <c:v>1206.3983</c:v>
                </c:pt>
                <c:pt idx="49">
                  <c:v>1173.9947</c:v>
                </c:pt>
                <c:pt idx="50">
                  <c:v>1132.7079</c:v>
                </c:pt>
                <c:pt idx="51">
                  <c:v>1161.9306</c:v>
                </c:pt>
              </c:numCache>
            </c:numRef>
          </c:xVal>
          <c:yVal>
            <c:numRef>
              <c:f>Sheet1!$B$109:$B$160</c:f>
              <c:numCache>
                <c:formatCode>General</c:formatCode>
                <c:ptCount val="52"/>
                <c:pt idx="0">
                  <c:v>0.16759550924804134</c:v>
                </c:pt>
                <c:pt idx="1">
                  <c:v>0.15955711956055274</c:v>
                </c:pt>
                <c:pt idx="2">
                  <c:v>0.1663496592169916</c:v>
                </c:pt>
                <c:pt idx="3">
                  <c:v>0.16841864716636198</c:v>
                </c:pt>
                <c:pt idx="4">
                  <c:v>0.15833942643594118</c:v>
                </c:pt>
                <c:pt idx="5">
                  <c:v>0.14581855442579017</c:v>
                </c:pt>
                <c:pt idx="6">
                  <c:v>0.12964761988872206</c:v>
                </c:pt>
                <c:pt idx="7">
                  <c:v>0.12263473053892215</c:v>
                </c:pt>
                <c:pt idx="8">
                  <c:v>0.13044006807682956</c:v>
                </c:pt>
                <c:pt idx="9">
                  <c:v>0.13955033780042086</c:v>
                </c:pt>
                <c:pt idx="10">
                  <c:v>0.14554038797085087</c:v>
                </c:pt>
                <c:pt idx="11">
                  <c:v>0.1365592342144551</c:v>
                </c:pt>
                <c:pt idx="12">
                  <c:v>0.14403628117913833</c:v>
                </c:pt>
                <c:pt idx="13">
                  <c:v>0.15101714488762547</c:v>
                </c:pt>
                <c:pt idx="14">
                  <c:v>0.1358304583538689</c:v>
                </c:pt>
                <c:pt idx="15">
                  <c:v>0.14728050519454064</c:v>
                </c:pt>
                <c:pt idx="16">
                  <c:v>0.1274432267540391</c:v>
                </c:pt>
                <c:pt idx="17">
                  <c:v>0.11591355599214145</c:v>
                </c:pt>
                <c:pt idx="18">
                  <c:v>0.12824850069198832</c:v>
                </c:pt>
                <c:pt idx="19">
                  <c:v>0.14616755793226383</c:v>
                </c:pt>
                <c:pt idx="20">
                  <c:v>0.13756316676024705</c:v>
                </c:pt>
                <c:pt idx="21">
                  <c:v>0.13103324991061852</c:v>
                </c:pt>
                <c:pt idx="22">
                  <c:v>0.1367814020544242</c:v>
                </c:pt>
                <c:pt idx="23">
                  <c:v>0.15877437325905291</c:v>
                </c:pt>
                <c:pt idx="24">
                  <c:v>0.15927616563417019</c:v>
                </c:pt>
                <c:pt idx="25">
                  <c:v>0.14803418803418802</c:v>
                </c:pt>
                <c:pt idx="26">
                  <c:v>0.13899811933663875</c:v>
                </c:pt>
                <c:pt idx="27">
                  <c:v>0.12880451835582052</c:v>
                </c:pt>
                <c:pt idx="28">
                  <c:v>0.12376237623762376</c:v>
                </c:pt>
                <c:pt idx="29">
                  <c:v>0.12100611828687967</c:v>
                </c:pt>
                <c:pt idx="30">
                  <c:v>0.1306049822064057</c:v>
                </c:pt>
                <c:pt idx="31">
                  <c:v>0.11788372560852947</c:v>
                </c:pt>
                <c:pt idx="32">
                  <c:v>0.11280761631040058</c:v>
                </c:pt>
                <c:pt idx="33">
                  <c:v>0.13306959180003597</c:v>
                </c:pt>
                <c:pt idx="34">
                  <c:v>0.1514814814814815</c:v>
                </c:pt>
                <c:pt idx="35">
                  <c:v>0.16462418300653595</c:v>
                </c:pt>
                <c:pt idx="36">
                  <c:v>0.13451029844472467</c:v>
                </c:pt>
                <c:pt idx="37">
                  <c:v>0.13987820631112752</c:v>
                </c:pt>
                <c:pt idx="38">
                  <c:v>0.13057919867137222</c:v>
                </c:pt>
                <c:pt idx="39">
                  <c:v>0.15516976494085113</c:v>
                </c:pt>
                <c:pt idx="40">
                  <c:v>0.14730073276506656</c:v>
                </c:pt>
                <c:pt idx="41">
                  <c:v>0.15453005927180355</c:v>
                </c:pt>
                <c:pt idx="42">
                  <c:v>0.1465903819390753</c:v>
                </c:pt>
                <c:pt idx="43">
                  <c:v>0.15350039330261828</c:v>
                </c:pt>
                <c:pt idx="44">
                  <c:v>0.14648492204275979</c:v>
                </c:pt>
                <c:pt idx="45">
                  <c:v>0.14991050119331742</c:v>
                </c:pt>
                <c:pt idx="46">
                  <c:v>0.15446855461566752</c:v>
                </c:pt>
                <c:pt idx="47">
                  <c:v>0.1564245810055866</c:v>
                </c:pt>
                <c:pt idx="48">
                  <c:v>0.16450281425891183</c:v>
                </c:pt>
                <c:pt idx="49">
                  <c:v>0.17764407853071565</c:v>
                </c:pt>
                <c:pt idx="50">
                  <c:v>0.20582333428887342</c:v>
                </c:pt>
                <c:pt idx="51">
                  <c:v>0.1861741283544134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4.7185251775132</c:v>
                </c:pt>
              </c:numCache>
            </c:numRef>
          </c:xVal>
          <c:yVal>
            <c:numRef>
              <c:f>Sheet1!$B$163:$B$164</c:f>
              <c:numCache>
                <c:formatCode>General</c:formatCode>
                <c:ptCount val="2"/>
                <c:pt idx="0">
                  <c:v>0.20146975765295125</c:v>
                </c:pt>
                <c:pt idx="1">
                  <c:v>0.2014697576529512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4.7185251775132</c:v>
                </c:pt>
                <c:pt idx="1">
                  <c:v>924.7185251775132</c:v>
                </c:pt>
              </c:numCache>
            </c:numRef>
          </c:xVal>
          <c:yVal>
            <c:numRef>
              <c:f>Sheet1!$B$167:$B$168</c:f>
              <c:numCache>
                <c:formatCode>General</c:formatCode>
                <c:ptCount val="2"/>
                <c:pt idx="0">
                  <c:v>0.201469757652951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43.2643609022869</c:v>
                </c:pt>
              </c:numCache>
            </c:numRef>
          </c:xVal>
          <c:yVal>
            <c:numRef>
              <c:f>Sheet1!$B$171:$B$172</c:f>
              <c:numCache>
                <c:formatCode>General</c:formatCode>
                <c:ptCount val="2"/>
                <c:pt idx="0">
                  <c:v>0.18353608885822859</c:v>
                </c:pt>
                <c:pt idx="1">
                  <c:v>0.1835360888582285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43.2643609022869</c:v>
                </c:pt>
                <c:pt idx="1">
                  <c:v>1043.2643609022869</c:v>
                </c:pt>
              </c:numCache>
            </c:numRef>
          </c:xVal>
          <c:yVal>
            <c:numRef>
              <c:f>Sheet1!$B$175:$B$176</c:f>
              <c:numCache>
                <c:formatCode>General</c:formatCode>
                <c:ptCount val="2"/>
                <c:pt idx="0">
                  <c:v>0.1835360888582285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9.4243245158502</c:v>
                </c:pt>
              </c:numCache>
            </c:numRef>
          </c:xVal>
          <c:yVal>
            <c:numRef>
              <c:f>Sheet1!$B$179:$B$180</c:f>
              <c:numCache>
                <c:formatCode>General</c:formatCode>
                <c:ptCount val="2"/>
                <c:pt idx="0">
                  <c:v>0.16142494203920466</c:v>
                </c:pt>
                <c:pt idx="1">
                  <c:v>0.1614249420392046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9.4243245158502</c:v>
                </c:pt>
                <c:pt idx="1">
                  <c:v>1189.4243245158502</c:v>
                </c:pt>
              </c:numCache>
            </c:numRef>
          </c:xVal>
          <c:yVal>
            <c:numRef>
              <c:f>Sheet1!$B$183:$B$184</c:f>
              <c:numCache>
                <c:formatCode>General</c:formatCode>
                <c:ptCount val="2"/>
                <c:pt idx="0">
                  <c:v>0.1614249420392046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72.3769</c:v>
                </c:pt>
                <c:pt idx="1">
                  <c:v>1273.1296</c:v>
                </c:pt>
                <c:pt idx="2">
                  <c:v>1302.415</c:v>
                </c:pt>
                <c:pt idx="3">
                  <c:v>1326.3668</c:v>
                </c:pt>
                <c:pt idx="4">
                  <c:v>1315.7537</c:v>
                </c:pt>
                <c:pt idx="5">
                  <c:v>1321.7919</c:v>
                </c:pt>
                <c:pt idx="6">
                  <c:v>1320.22</c:v>
                </c:pt>
                <c:pt idx="7">
                  <c:v>1314.166</c:v>
                </c:pt>
                <c:pt idx="8">
                  <c:v>1324.4045</c:v>
                </c:pt>
                <c:pt idx="9">
                  <c:v>1157.7675</c:v>
                </c:pt>
                <c:pt idx="10">
                  <c:v>1186.3984</c:v>
                </c:pt>
                <c:pt idx="11">
                  <c:v>1320.8785</c:v>
                </c:pt>
                <c:pt idx="12">
                  <c:v>1296.3715</c:v>
                </c:pt>
                <c:pt idx="13">
                  <c:v>1197.7465</c:v>
                </c:pt>
                <c:pt idx="14">
                  <c:v>1319.172</c:v>
                </c:pt>
                <c:pt idx="15">
                  <c:v>1225.4308</c:v>
                </c:pt>
                <c:pt idx="16">
                  <c:v>1331.1383</c:v>
                </c:pt>
                <c:pt idx="17">
                  <c:v>1342.6471</c:v>
                </c:pt>
                <c:pt idx="18">
                  <c:v>1392.0791</c:v>
                </c:pt>
                <c:pt idx="19">
                  <c:v>1367.4538</c:v>
                </c:pt>
                <c:pt idx="20">
                  <c:v>1286.4367</c:v>
                </c:pt>
                <c:pt idx="21">
                  <c:v>1299.704</c:v>
                </c:pt>
                <c:pt idx="22">
                  <c:v>1283.2793</c:v>
                </c:pt>
                <c:pt idx="23">
                  <c:v>1172.1436</c:v>
                </c:pt>
                <c:pt idx="24">
                  <c:v>1153.4094</c:v>
                </c:pt>
                <c:pt idx="25">
                  <c:v>1207.888</c:v>
                </c:pt>
                <c:pt idx="26">
                  <c:v>1251.1845</c:v>
                </c:pt>
                <c:pt idx="27">
                  <c:v>1313.6468</c:v>
                </c:pt>
                <c:pt idx="28">
                  <c:v>1359.968</c:v>
                </c:pt>
                <c:pt idx="29">
                  <c:v>1349.3132</c:v>
                </c:pt>
                <c:pt idx="30">
                  <c:v>1352.4305</c:v>
                </c:pt>
                <c:pt idx="31">
                  <c:v>1348.7713</c:v>
                </c:pt>
                <c:pt idx="32">
                  <c:v>1351.2404</c:v>
                </c:pt>
                <c:pt idx="33">
                  <c:v>1356.3797</c:v>
                </c:pt>
                <c:pt idx="34">
                  <c:v>1371.4882</c:v>
                </c:pt>
                <c:pt idx="35">
                  <c:v>1359.9545</c:v>
                </c:pt>
                <c:pt idx="36">
                  <c:v>1346.5016</c:v>
                </c:pt>
                <c:pt idx="37">
                  <c:v>1346.3364</c:v>
                </c:pt>
                <c:pt idx="38">
                  <c:v>1331.8728</c:v>
                </c:pt>
                <c:pt idx="39">
                  <c:v>1357.3931</c:v>
                </c:pt>
                <c:pt idx="40">
                  <c:v>1351.1635</c:v>
                </c:pt>
                <c:pt idx="41">
                  <c:v>1355.8128</c:v>
                </c:pt>
                <c:pt idx="42">
                  <c:v>1350.711</c:v>
                </c:pt>
                <c:pt idx="43">
                  <c:v>1332.7643</c:v>
                </c:pt>
                <c:pt idx="44">
                  <c:v>1290.1071</c:v>
                </c:pt>
                <c:pt idx="45">
                  <c:v>1292.298</c:v>
                </c:pt>
                <c:pt idx="46">
                  <c:v>1294.4256</c:v>
                </c:pt>
                <c:pt idx="47">
                  <c:v>1285.2908</c:v>
                </c:pt>
                <c:pt idx="48">
                  <c:v>1206.3983</c:v>
                </c:pt>
                <c:pt idx="49">
                  <c:v>1173.9947</c:v>
                </c:pt>
                <c:pt idx="50">
                  <c:v>1132.7079</c:v>
                </c:pt>
                <c:pt idx="51">
                  <c:v>1161.9306</c:v>
                </c:pt>
                <c:pt idx="52">
                  <c:v>1043.2643609022869</c:v>
                </c:pt>
                <c:pt idx="53">
                  <c:v>924.7185251775132</c:v>
                </c:pt>
                <c:pt idx="54">
                  <c:v>1189.4243245158502</c:v>
                </c:pt>
              </c:numCache>
            </c:numRef>
          </c:xVal>
          <c:yVal>
            <c:numRef>
              <c:f>Sheet1!$B$187:$B$241</c:f>
              <c:numCache>
                <c:formatCode>General</c:formatCode>
                <c:ptCount val="55"/>
                <c:pt idx="0">
                  <c:v>0.14887583809720017</c:v>
                </c:pt>
                <c:pt idx="1">
                  <c:v>0.14876196929346483</c:v>
                </c:pt>
                <c:pt idx="2">
                  <c:v>0.1443316604520787</c:v>
                </c:pt>
                <c:pt idx="3">
                  <c:v>0.14070822108273043</c:v>
                </c:pt>
                <c:pt idx="4">
                  <c:v>0.14231377575381277</c:v>
                </c:pt>
                <c:pt idx="5">
                  <c:v>0.141400314068261</c:v>
                </c:pt>
                <c:pt idx="6">
                  <c:v>0.14163811182645364</c:v>
                </c:pt>
                <c:pt idx="7">
                  <c:v>0.14255396374330478</c:v>
                </c:pt>
                <c:pt idx="8">
                  <c:v>0.1410050787332816</c:v>
                </c:pt>
                <c:pt idx="9">
                  <c:v>0.16621400107690879</c:v>
                </c:pt>
                <c:pt idx="10">
                  <c:v>0.16188270529789117</c:v>
                </c:pt>
                <c:pt idx="11">
                  <c:v>0.1415384936422372</c:v>
                </c:pt>
                <c:pt idx="12">
                  <c:v>0.14524592392407898</c:v>
                </c:pt>
                <c:pt idx="13">
                  <c:v>0.1601659594872506</c:v>
                </c:pt>
                <c:pt idx="14">
                  <c:v>0.14179665375061287</c:v>
                </c:pt>
                <c:pt idx="15">
                  <c:v>0.15597786579354703</c:v>
                </c:pt>
                <c:pt idx="16">
                  <c:v>0.13998638635837377</c:v>
                </c:pt>
                <c:pt idx="17">
                  <c:v>0.13824532977749238</c:v>
                </c:pt>
                <c:pt idx="18">
                  <c:v>0.13076723398069948</c:v>
                </c:pt>
                <c:pt idx="19">
                  <c:v>0.13449256074119398</c:v>
                </c:pt>
                <c:pt idx="20">
                  <c:v>0.14674886505779758</c:v>
                </c:pt>
                <c:pt idx="21">
                  <c:v>0.14474178178451733</c:v>
                </c:pt>
                <c:pt idx="22">
                  <c:v>0.14722651798846587</c:v>
                </c:pt>
                <c:pt idx="23">
                  <c:v>0.16403917802738063</c:v>
                </c:pt>
                <c:pt idx="24">
                  <c:v>0.16687329645828122</c:v>
                </c:pt>
                <c:pt idx="25">
                  <c:v>0.1586317486820399</c:v>
                </c:pt>
                <c:pt idx="26">
                  <c:v>0.1520818341597498</c:v>
                </c:pt>
                <c:pt idx="27">
                  <c:v>0.14263250855916687</c:v>
                </c:pt>
                <c:pt idx="28">
                  <c:v>0.13562501602351376</c:v>
                </c:pt>
                <c:pt idx="29">
                  <c:v>0.13723687908986085</c:v>
                </c:pt>
                <c:pt idx="30">
                  <c:v>0.13676529250571814</c:v>
                </c:pt>
                <c:pt idx="31">
                  <c:v>0.13731885797220997</c:v>
                </c:pt>
                <c:pt idx="32">
                  <c:v>0.13694533138352533</c:v>
                </c:pt>
                <c:pt idx="33">
                  <c:v>0.13616785570525095</c:v>
                </c:pt>
                <c:pt idx="34">
                  <c:v>0.13388223484536574</c:v>
                </c:pt>
                <c:pt idx="35">
                  <c:v>0.13562705830975055</c:v>
                </c:pt>
                <c:pt idx="36">
                  <c:v>0.13766221923677505</c:v>
                </c:pt>
                <c:pt idx="37">
                  <c:v>0.13768721076909482</c:v>
                </c:pt>
                <c:pt idx="38">
                  <c:v>0.13987527085904652</c:v>
                </c:pt>
                <c:pt idx="39">
                  <c:v>0.13601454808507638</c:v>
                </c:pt>
                <c:pt idx="40">
                  <c:v>0.13695696485105185</c:v>
                </c:pt>
                <c:pt idx="41">
                  <c:v>0.1362536165991497</c:v>
                </c:pt>
                <c:pt idx="42">
                  <c:v>0.13702541926009962</c:v>
                </c:pt>
                <c:pt idx="43">
                  <c:v>0.1397404043271878</c:v>
                </c:pt>
                <c:pt idx="44">
                  <c:v>0.14619360525013153</c:v>
                </c:pt>
                <c:pt idx="45">
                  <c:v>0.14586216488597079</c:v>
                </c:pt>
                <c:pt idx="46">
                  <c:v>0.14554030057505363</c:v>
                </c:pt>
                <c:pt idx="47">
                  <c:v>0.14692221733918506</c:v>
                </c:pt>
                <c:pt idx="48">
                  <c:v>0.15885711118625745</c:v>
                </c:pt>
                <c:pt idx="49">
                  <c:v>0.1637591427642021</c:v>
                </c:pt>
                <c:pt idx="50">
                  <c:v>0.17000502894204292</c:v>
                </c:pt>
                <c:pt idx="51">
                  <c:v>0.1655842053856232</c:v>
                </c:pt>
                <c:pt idx="52">
                  <c:v>0.18353608885822859</c:v>
                </c:pt>
                <c:pt idx="53">
                  <c:v>0.20146975765295125</c:v>
                </c:pt>
                <c:pt idx="54">
                  <c:v>0.1614249420392046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70.0"/>
          <c:min val="66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558211256746335"/>
          <c:min val="0.0902460930483204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2068047465536273</c:v>
                </c:pt>
                <c:pt idx="1">
                  <c:v>0.13146199261282368</c:v>
                </c:pt>
                <c:pt idx="2">
                  <c:v>0.12999614464136697</c:v>
                </c:pt>
                <c:pt idx="3">
                  <c:v>0.13447866508800577</c:v>
                </c:pt>
                <c:pt idx="4">
                  <c:v>0.12244772597541115</c:v>
                </c:pt>
                <c:pt idx="5">
                  <c:v>0.11295153463650359</c:v>
                </c:pt>
                <c:pt idx="6">
                  <c:v>0.1154346368332187</c:v>
                </c:pt>
                <c:pt idx="7">
                  <c:v>0.11153655399781995</c:v>
                </c:pt>
                <c:pt idx="8">
                  <c:v>0.11383618659934938</c:v>
                </c:pt>
                <c:pt idx="9">
                  <c:v>0.10767310977804981</c:v>
                </c:pt>
                <c:pt idx="10">
                  <c:v>0.09757266361366747</c:v>
                </c:pt>
                <c:pt idx="11">
                  <c:v>0.10040023235281642</c:v>
                </c:pt>
                <c:pt idx="12">
                  <c:v>0.10639250962876806</c:v>
                </c:pt>
                <c:pt idx="13">
                  <c:v>0.10399670452719528</c:v>
                </c:pt>
                <c:pt idx="14">
                  <c:v>0.12373537590353374</c:v>
                </c:pt>
                <c:pt idx="15">
                  <c:v>0.12225022574195407</c:v>
                </c:pt>
                <c:pt idx="16">
                  <c:v>0.12141015065443728</c:v>
                </c:pt>
                <c:pt idx="17">
                  <c:v>0.12446441925567295</c:v>
                </c:pt>
                <c:pt idx="18">
                  <c:v>0.12588230378739987</c:v>
                </c:pt>
                <c:pt idx="19">
                  <c:v>0.12601240248954995</c:v>
                </c:pt>
                <c:pt idx="20">
                  <c:v>0.13220807205462168</c:v>
                </c:pt>
                <c:pt idx="21">
                  <c:v>0.11933122365570414</c:v>
                </c:pt>
                <c:pt idx="22">
                  <c:v>0.11699797930237761</c:v>
                </c:pt>
                <c:pt idx="23">
                  <c:v>0.1215698994856215</c:v>
                </c:pt>
                <c:pt idx="24">
                  <c:v>0.11783123460114238</c:v>
                </c:pt>
                <c:pt idx="25">
                  <c:v>0.11712962436376766</c:v>
                </c:pt>
                <c:pt idx="26">
                  <c:v>0.12421587219613671</c:v>
                </c:pt>
                <c:pt idx="27">
                  <c:v>0.11740199995272341</c:v>
                </c:pt>
                <c:pt idx="28">
                  <c:v>0.11537748348450531</c:v>
                </c:pt>
                <c:pt idx="29">
                  <c:v>0.11819016621378658</c:v>
                </c:pt>
                <c:pt idx="30">
                  <c:v>0.11635505723462046</c:v>
                </c:pt>
                <c:pt idx="31">
                  <c:v>0.11767335115672782</c:v>
                </c:pt>
                <c:pt idx="32">
                  <c:v>0.11648048884603249</c:v>
                </c:pt>
                <c:pt idx="33">
                  <c:v>0.1148555224701803</c:v>
                </c:pt>
                <c:pt idx="34">
                  <c:v>0.12063962159987868</c:v>
                </c:pt>
                <c:pt idx="35">
                  <c:v>0.1223697247706422</c:v>
                </c:pt>
                <c:pt idx="36">
                  <c:v>0.12254670632229597</c:v>
                </c:pt>
                <c:pt idx="37">
                  <c:v>0.12066285167153105</c:v>
                </c:pt>
                <c:pt idx="38">
                  <c:v>0.12085963257397336</c:v>
                </c:pt>
                <c:pt idx="39">
                  <c:v>0.12418986575665195</c:v>
                </c:pt>
                <c:pt idx="40">
                  <c:v>0.1331616742478349</c:v>
                </c:pt>
                <c:pt idx="41">
                  <c:v>0.12892954918505165</c:v>
                </c:pt>
                <c:pt idx="42">
                  <c:v>0.13417806784788958</c:v>
                </c:pt>
                <c:pt idx="43">
                  <c:v>0.13734173200605373</c:v>
                </c:pt>
                <c:pt idx="44">
                  <c:v>0.14780370007659469</c:v>
                </c:pt>
                <c:pt idx="45">
                  <c:v>0.14842715620669228</c:v>
                </c:pt>
                <c:pt idx="46">
                  <c:v>0.1446920434920885</c:v>
                </c:pt>
                <c:pt idx="47">
                  <c:v>0.14000941080724644</c:v>
                </c:pt>
                <c:pt idx="48">
                  <c:v>0.14217689857695073</c:v>
                </c:pt>
                <c:pt idx="49">
                  <c:v>0.1394603267562572</c:v>
                </c:pt>
                <c:pt idx="50">
                  <c:v>0.13024500816237028</c:v>
                </c:pt>
                <c:pt idx="51">
                  <c:v>0.12630632609110365</c:v>
                </c:pt>
                <c:pt idx="52">
                  <c:v>0.12484186749786735</c:v>
                </c:pt>
                <c:pt idx="53">
                  <c:v>0.14721184079078192</c:v>
                </c:pt>
                <c:pt idx="54">
                  <c:v>0.1428566934373325</c:v>
                </c:pt>
                <c:pt idx="55">
                  <c:v>0.13504331558563043</c:v>
                </c:pt>
                <c:pt idx="56">
                  <c:v>0.13484353692932807</c:v>
                </c:pt>
                <c:pt idx="57">
                  <c:v>0.1407194405485949</c:v>
                </c:pt>
                <c:pt idx="58">
                  <c:v>0.14670528287996407</c:v>
                </c:pt>
                <c:pt idx="59">
                  <c:v>0.15417234332234406</c:v>
                </c:pt>
                <c:pt idx="60">
                  <c:v>0.15848967040733022</c:v>
                </c:pt>
                <c:pt idx="61">
                  <c:v>0.1461225525693016</c:v>
                </c:pt>
                <c:pt idx="62">
                  <c:v>0.12876496393172848</c:v>
                </c:pt>
                <c:pt idx="63">
                  <c:v>0.13365233877645033</c:v>
                </c:pt>
                <c:pt idx="64">
                  <c:v>0.13272329317942289</c:v>
                </c:pt>
                <c:pt idx="65">
                  <c:v>0.13204639604105012</c:v>
                </c:pt>
                <c:pt idx="66">
                  <c:v>0.1399066409455113</c:v>
                </c:pt>
                <c:pt idx="67">
                  <c:v>0.13853033394252423</c:v>
                </c:pt>
                <c:pt idx="68">
                  <c:v>0.13147182202946972</c:v>
                </c:pt>
                <c:pt idx="69">
                  <c:v>0.13364345821718757</c:v>
                </c:pt>
                <c:pt idx="70">
                  <c:v>0.12897179121135727</c:v>
                </c:pt>
                <c:pt idx="71">
                  <c:v>0.1310342153498303</c:v>
                </c:pt>
                <c:pt idx="72">
                  <c:v>0.13710156601091936</c:v>
                </c:pt>
                <c:pt idx="73">
                  <c:v>0.13004535410986404</c:v>
                </c:pt>
                <c:pt idx="74">
                  <c:v>0.13217856875880923</c:v>
                </c:pt>
                <c:pt idx="75">
                  <c:v>0.12472995878763843</c:v>
                </c:pt>
                <c:pt idx="76">
                  <c:v>0.12077282474009811</c:v>
                </c:pt>
                <c:pt idx="77">
                  <c:v>0.11889526039686553</c:v>
                </c:pt>
                <c:pt idx="78">
                  <c:v>0.11944584687168756</c:v>
                </c:pt>
                <c:pt idx="79">
                  <c:v>0.11649901795154896</c:v>
                </c:pt>
                <c:pt idx="80">
                  <c:v>0.12091442252736616</c:v>
                </c:pt>
                <c:pt idx="81">
                  <c:v>0.12645847451997153</c:v>
                </c:pt>
                <c:pt idx="82">
                  <c:v>0.12455776275671337</c:v>
                </c:pt>
                <c:pt idx="83">
                  <c:v>0.12411029670676833</c:v>
                </c:pt>
                <c:pt idx="84">
                  <c:v>0.12453845770618864</c:v>
                </c:pt>
                <c:pt idx="85">
                  <c:v>0.12349277852797652</c:v>
                </c:pt>
                <c:pt idx="86">
                  <c:v>0.12546509209616072</c:v>
                </c:pt>
                <c:pt idx="87">
                  <c:v>0.12618745707484894</c:v>
                </c:pt>
                <c:pt idx="88">
                  <c:v>0.13176864754979511</c:v>
                </c:pt>
                <c:pt idx="89">
                  <c:v>0.13470462946432707</c:v>
                </c:pt>
                <c:pt idx="90">
                  <c:v>0.12973001781521679</c:v>
                </c:pt>
                <c:pt idx="91">
                  <c:v>0.13333454252954574</c:v>
                </c:pt>
                <c:pt idx="92">
                  <c:v>0.13484540102149148</c:v>
                </c:pt>
                <c:pt idx="93">
                  <c:v>0.13191767926803263</c:v>
                </c:pt>
                <c:pt idx="94">
                  <c:v>0.12891145052269015</c:v>
                </c:pt>
                <c:pt idx="95">
                  <c:v>0.1310484940542406</c:v>
                </c:pt>
                <c:pt idx="96">
                  <c:v>0.12605822427225216</c:v>
                </c:pt>
                <c:pt idx="97">
                  <c:v>0.1349870882810515</c:v>
                </c:pt>
                <c:pt idx="98">
                  <c:v>0.1336838555908146</c:v>
                </c:pt>
                <c:pt idx="99">
                  <c:v>0.13668288014633195</c:v>
                </c:pt>
                <c:pt idx="100">
                  <c:v>0.1344207372082396</c:v>
                </c:pt>
                <c:pt idx="101">
                  <c:v>0.13480932135447307</c:v>
                </c:pt>
                <c:pt idx="102">
                  <c:v>0.13255372605809762</c:v>
                </c:pt>
                <c:pt idx="103">
                  <c:v>0.12652183874340867</c:v>
                </c:pt>
                <c:pt idx="104">
                  <c:v>0.12330833901829591</c:v>
                </c:pt>
              </c:numCache>
            </c:numRef>
          </c:xVal>
          <c:yVal>
            <c:numRef>
              <c:f>Sheet1!$B$2:$B$106</c:f>
              <c:numCache>
                <c:formatCode>General</c:formatCode>
                <c:ptCount val="105"/>
                <c:pt idx="0">
                  <c:v>0.17871326449563146</c:v>
                </c:pt>
                <c:pt idx="1">
                  <c:v>0.17244395844723892</c:v>
                </c:pt>
                <c:pt idx="2">
                  <c:v>0.17025336584331602</c:v>
                </c:pt>
                <c:pt idx="3">
                  <c:v>0.17527895135954935</c:v>
                </c:pt>
                <c:pt idx="4">
                  <c:v>0.21203293223559214</c:v>
                </c:pt>
                <c:pt idx="5">
                  <c:v>0.21191523390643743</c:v>
                </c:pt>
                <c:pt idx="6">
                  <c:v>0.2379850938062195</c:v>
                </c:pt>
                <c:pt idx="7">
                  <c:v>0.22453605326533504</c:v>
                </c:pt>
                <c:pt idx="8">
                  <c:v>0.23006896551724138</c:v>
                </c:pt>
                <c:pt idx="9">
                  <c:v>0.22907280056912496</c:v>
                </c:pt>
                <c:pt idx="10">
                  <c:v>0.21959048146098506</c:v>
                </c:pt>
                <c:pt idx="11">
                  <c:v>0.2169830788278993</c:v>
                </c:pt>
                <c:pt idx="12">
                  <c:v>0.19853345554537122</c:v>
                </c:pt>
                <c:pt idx="13">
                  <c:v>0.18983121483642426</c:v>
                </c:pt>
                <c:pt idx="14">
                  <c:v>0.16496579567118985</c:v>
                </c:pt>
                <c:pt idx="15">
                  <c:v>0.15082936865115082</c:v>
                </c:pt>
                <c:pt idx="16">
                  <c:v>0.14701200983938648</c:v>
                </c:pt>
                <c:pt idx="17">
                  <c:v>0.147643475472908</c:v>
                </c:pt>
                <c:pt idx="18">
                  <c:v>0.13295118343195267</c:v>
                </c:pt>
                <c:pt idx="19">
                  <c:v>0.12522982635342186</c:v>
                </c:pt>
                <c:pt idx="20">
                  <c:v>0.16063919259882253</c:v>
                </c:pt>
                <c:pt idx="21">
                  <c:v>0.1484842633713072</c:v>
                </c:pt>
                <c:pt idx="22">
                  <c:v>0.12748835239305378</c:v>
                </c:pt>
                <c:pt idx="23">
                  <c:v>0.1453639514731369</c:v>
                </c:pt>
                <c:pt idx="24">
                  <c:v>0.1491442542787286</c:v>
                </c:pt>
                <c:pt idx="25">
                  <c:v>0.13845099383139137</c:v>
                </c:pt>
                <c:pt idx="26">
                  <c:v>0.14704225352112676</c:v>
                </c:pt>
                <c:pt idx="27">
                  <c:v>0.1636990235496841</c:v>
                </c:pt>
                <c:pt idx="28">
                  <c:v>0.17227456258411844</c:v>
                </c:pt>
                <c:pt idx="29">
                  <c:v>0.1650602409638554</c:v>
                </c:pt>
                <c:pt idx="30">
                  <c:v>0.17488692655610596</c:v>
                </c:pt>
                <c:pt idx="31">
                  <c:v>0.1566265060240964</c:v>
                </c:pt>
                <c:pt idx="32">
                  <c:v>0.16640952171038131</c:v>
                </c:pt>
                <c:pt idx="33">
                  <c:v>0.16251189343482397</c:v>
                </c:pt>
                <c:pt idx="34">
                  <c:v>0.17239574245332404</c:v>
                </c:pt>
                <c:pt idx="35">
                  <c:v>0.22559293987865417</c:v>
                </c:pt>
                <c:pt idx="36">
                  <c:v>0.18735215265730956</c:v>
                </c:pt>
                <c:pt idx="37">
                  <c:v>0.17413793103448275</c:v>
                </c:pt>
                <c:pt idx="38">
                  <c:v>0.16989128431914502</c:v>
                </c:pt>
                <c:pt idx="39">
                  <c:v>0.1693499082942735</c:v>
                </c:pt>
                <c:pt idx="40">
                  <c:v>0.16853556485355647</c:v>
                </c:pt>
                <c:pt idx="41">
                  <c:v>0.1634011090573013</c:v>
                </c:pt>
                <c:pt idx="42">
                  <c:v>0.17408335944844877</c:v>
                </c:pt>
                <c:pt idx="43">
                  <c:v>0.1715578716401536</c:v>
                </c:pt>
                <c:pt idx="44">
                  <c:v>0.16095854098186832</c:v>
                </c:pt>
                <c:pt idx="45">
                  <c:v>0.1548496315475005</c:v>
                </c:pt>
                <c:pt idx="46">
                  <c:v>0.1563079324812177</c:v>
                </c:pt>
                <c:pt idx="47">
                  <c:v>0.15777888944472235</c:v>
                </c:pt>
                <c:pt idx="48">
                  <c:v>0.15445402298850575</c:v>
                </c:pt>
                <c:pt idx="49">
                  <c:v>0.17856437598736177</c:v>
                </c:pt>
                <c:pt idx="50">
                  <c:v>0.15999038615606473</c:v>
                </c:pt>
                <c:pt idx="51">
                  <c:v>0.1646090534979424</c:v>
                </c:pt>
                <c:pt idx="52">
                  <c:v>0.16628440366972477</c:v>
                </c:pt>
                <c:pt idx="53">
                  <c:v>0.15564566437928884</c:v>
                </c:pt>
                <c:pt idx="54">
                  <c:v>0.1579898362507058</c:v>
                </c:pt>
                <c:pt idx="55">
                  <c:v>0.15723419370116032</c:v>
                </c:pt>
                <c:pt idx="56">
                  <c:v>0.1649002849002849</c:v>
                </c:pt>
                <c:pt idx="57">
                  <c:v>0.14748238177918496</c:v>
                </c:pt>
                <c:pt idx="58">
                  <c:v>0.14757606773983437</c:v>
                </c:pt>
                <c:pt idx="59">
                  <c:v>0.1363914373088685</c:v>
                </c:pt>
                <c:pt idx="60">
                  <c:v>0.13633191651335405</c:v>
                </c:pt>
                <c:pt idx="61">
                  <c:v>0.14007287518006947</c:v>
                </c:pt>
                <c:pt idx="62">
                  <c:v>0.16141627473600142</c:v>
                </c:pt>
                <c:pt idx="63">
                  <c:v>0.1601366742596811</c:v>
                </c:pt>
                <c:pt idx="64">
                  <c:v>0.15851528384279476</c:v>
                </c:pt>
                <c:pt idx="65">
                  <c:v>0.16333200478278198</c:v>
                </c:pt>
                <c:pt idx="66">
                  <c:v>0.1540864133263925</c:v>
                </c:pt>
                <c:pt idx="67">
                  <c:v>0.14832707103238504</c:v>
                </c:pt>
                <c:pt idx="68">
                  <c:v>0.13880673125956144</c:v>
                </c:pt>
                <c:pt idx="69">
                  <c:v>0.12687079500205958</c:v>
                </c:pt>
                <c:pt idx="70">
                  <c:v>0.12676238520243177</c:v>
                </c:pt>
                <c:pt idx="71">
                  <c:v>0.12544192745842608</c:v>
                </c:pt>
                <c:pt idx="72">
                  <c:v>0.1374246987951807</c:v>
                </c:pt>
                <c:pt idx="73">
                  <c:v>0.13767193071828834</c:v>
                </c:pt>
                <c:pt idx="74">
                  <c:v>0.1292578681517938</c:v>
                </c:pt>
                <c:pt idx="75">
                  <c:v>0.13484009840098402</c:v>
                </c:pt>
                <c:pt idx="76">
                  <c:v>0.13730818414322252</c:v>
                </c:pt>
                <c:pt idx="77">
                  <c:v>0.1371135671952587</c:v>
                </c:pt>
                <c:pt idx="78">
                  <c:v>0.14234234234234233</c:v>
                </c:pt>
                <c:pt idx="79">
                  <c:v>0.14733944954128442</c:v>
                </c:pt>
                <c:pt idx="80">
                  <c:v>0.14644351464435146</c:v>
                </c:pt>
                <c:pt idx="81">
                  <c:v>0.13844343092540826</c:v>
                </c:pt>
                <c:pt idx="82">
                  <c:v>0.13989637305699482</c:v>
                </c:pt>
                <c:pt idx="83">
                  <c:v>0.12342569269521411</c:v>
                </c:pt>
                <c:pt idx="84">
                  <c:v>0.12353616532721011</c:v>
                </c:pt>
                <c:pt idx="85">
                  <c:v>0.11733112993183227</c:v>
                </c:pt>
                <c:pt idx="86">
                  <c:v>0.12542061792597126</c:v>
                </c:pt>
                <c:pt idx="87">
                  <c:v>0.15615700722686693</c:v>
                </c:pt>
                <c:pt idx="88">
                  <c:v>0.16099179325999652</c:v>
                </c:pt>
                <c:pt idx="89">
                  <c:v>0.12866817155756208</c:v>
                </c:pt>
                <c:pt idx="90">
                  <c:v>0.12739222888072685</c:v>
                </c:pt>
                <c:pt idx="91">
                  <c:v>0.12940528634361234</c:v>
                </c:pt>
                <c:pt idx="92">
                  <c:v>0.1431384428960921</c:v>
                </c:pt>
                <c:pt idx="93">
                  <c:v>0.12367733956300674</c:v>
                </c:pt>
                <c:pt idx="94">
                  <c:v>0.12312166747455162</c:v>
                </c:pt>
                <c:pt idx="95">
                  <c:v>0.1336003770028275</c:v>
                </c:pt>
                <c:pt idx="96">
                  <c:v>0.13879582655307743</c:v>
                </c:pt>
                <c:pt idx="97">
                  <c:v>0.13529557259460798</c:v>
                </c:pt>
                <c:pt idx="98">
                  <c:v>0.1486593914865939</c:v>
                </c:pt>
                <c:pt idx="99">
                  <c:v>0.14808979913351714</c:v>
                </c:pt>
                <c:pt idx="100">
                  <c:v>0.1637249736564805</c:v>
                </c:pt>
                <c:pt idx="101">
                  <c:v>0.1358774212200058</c:v>
                </c:pt>
                <c:pt idx="102">
                  <c:v>0.12760005738057667</c:v>
                </c:pt>
                <c:pt idx="103">
                  <c:v>0.14489073561095722</c:v>
                </c:pt>
                <c:pt idx="104">
                  <c:v>0.1486293905608181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3432551552522462</c:v>
                </c:pt>
                <c:pt idx="1">
                  <c:v>0.14203953837631997</c:v>
                </c:pt>
                <c:pt idx="2">
                  <c:v>0.14573058446813397</c:v>
                </c:pt>
                <c:pt idx="3">
                  <c:v>0.14881894390501776</c:v>
                </c:pt>
                <c:pt idx="4">
                  <c:v>0.1487363078906054</c:v>
                </c:pt>
                <c:pt idx="5">
                  <c:v>0.1401430827445222</c:v>
                </c:pt>
                <c:pt idx="6">
                  <c:v>0.1362473378662149</c:v>
                </c:pt>
                <c:pt idx="7">
                  <c:v>0.13145628402302087</c:v>
                </c:pt>
                <c:pt idx="8">
                  <c:v>0.1319091529093693</c:v>
                </c:pt>
                <c:pt idx="9">
                  <c:v>0.1175088110738183</c:v>
                </c:pt>
                <c:pt idx="10">
                  <c:v>0.1233455158334311</c:v>
                </c:pt>
                <c:pt idx="11">
                  <c:v>0.14258481889220337</c:v>
                </c:pt>
                <c:pt idx="12">
                  <c:v>0.13876386741944902</c:v>
                </c:pt>
                <c:pt idx="13">
                  <c:v>0.12361060984725193</c:v>
                </c:pt>
                <c:pt idx="14">
                  <c:v>0.1377030727623157</c:v>
                </c:pt>
                <c:pt idx="15">
                  <c:v>0.12453021739610487</c:v>
                </c:pt>
                <c:pt idx="16">
                  <c:v>0.1374279602835434</c:v>
                </c:pt>
                <c:pt idx="17">
                  <c:v>0.13819836476083025</c:v>
                </c:pt>
                <c:pt idx="18">
                  <c:v>0.13918616494545058</c:v>
                </c:pt>
                <c:pt idx="19">
                  <c:v>0.13737631231083935</c:v>
                </c:pt>
                <c:pt idx="20">
                  <c:v>0.12627233737749594</c:v>
                </c:pt>
                <c:pt idx="21">
                  <c:v>0.12440248560703948</c:v>
                </c:pt>
                <c:pt idx="22">
                  <c:v>0.13254659382811046</c:v>
                </c:pt>
                <c:pt idx="23">
                  <c:v>0.11502018548304567</c:v>
                </c:pt>
                <c:pt idx="24">
                  <c:v>0.10918881212117335</c:v>
                </c:pt>
                <c:pt idx="25">
                  <c:v>0.1187883238503007</c:v>
                </c:pt>
                <c:pt idx="26">
                  <c:v>0.11787547031477427</c:v>
                </c:pt>
                <c:pt idx="27">
                  <c:v>0.13117950176812404</c:v>
                </c:pt>
                <c:pt idx="28">
                  <c:v>0.13466292334538696</c:v>
                </c:pt>
                <c:pt idx="29">
                  <c:v>0.13292085223370947</c:v>
                </c:pt>
                <c:pt idx="30">
                  <c:v>0.13055921341257337</c:v>
                </c:pt>
                <c:pt idx="31">
                  <c:v>0.1250128208529085</c:v>
                </c:pt>
                <c:pt idx="32">
                  <c:v>0.12363206156355881</c:v>
                </c:pt>
                <c:pt idx="33">
                  <c:v>0.13082701076910305</c:v>
                </c:pt>
                <c:pt idx="34">
                  <c:v>0.13693091772270033</c:v>
                </c:pt>
                <c:pt idx="35">
                  <c:v>0.13243955005935976</c:v>
                </c:pt>
                <c:pt idx="36">
                  <c:v>0.12163063664064332</c:v>
                </c:pt>
                <c:pt idx="37">
                  <c:v>0.12234441844240218</c:v>
                </c:pt>
                <c:pt idx="38">
                  <c:v>0.12185481844139574</c:v>
                </c:pt>
                <c:pt idx="39">
                  <c:v>0.1303645090491235</c:v>
                </c:pt>
                <c:pt idx="40">
                  <c:v>0.13295744811788787</c:v>
                </c:pt>
                <c:pt idx="41">
                  <c:v>0.13268732823805623</c:v>
                </c:pt>
                <c:pt idx="42">
                  <c:v>0.1310767013715779</c:v>
                </c:pt>
                <c:pt idx="43">
                  <c:v>0.13692121664951118</c:v>
                </c:pt>
                <c:pt idx="44">
                  <c:v>0.1390137262611205</c:v>
                </c:pt>
                <c:pt idx="45">
                  <c:v>0.14774093550852957</c:v>
                </c:pt>
                <c:pt idx="46">
                  <c:v>0.1413613951412306</c:v>
                </c:pt>
                <c:pt idx="47">
                  <c:v>0.14029590980190998</c:v>
                </c:pt>
                <c:pt idx="48">
                  <c:v>0.13653304204432534</c:v>
                </c:pt>
                <c:pt idx="49">
                  <c:v>0.1334132278380707</c:v>
                </c:pt>
                <c:pt idx="50">
                  <c:v>0.13929476757433745</c:v>
                </c:pt>
                <c:pt idx="51">
                  <c:v>0.1272888493653976</c:v>
                </c:pt>
              </c:numCache>
            </c:numRef>
          </c:xVal>
          <c:yVal>
            <c:numRef>
              <c:f>Sheet1!$B$109:$B$160</c:f>
              <c:numCache>
                <c:formatCode>General</c:formatCode>
                <c:ptCount val="52"/>
                <c:pt idx="0">
                  <c:v>0.16759550924804134</c:v>
                </c:pt>
                <c:pt idx="1">
                  <c:v>0.15955711956055274</c:v>
                </c:pt>
                <c:pt idx="2">
                  <c:v>0.1663496592169916</c:v>
                </c:pt>
                <c:pt idx="3">
                  <c:v>0.16841864716636198</c:v>
                </c:pt>
                <c:pt idx="4">
                  <c:v>0.15833942643594118</c:v>
                </c:pt>
                <c:pt idx="5">
                  <c:v>0.14581855442579017</c:v>
                </c:pt>
                <c:pt idx="6">
                  <c:v>0.12964761988872206</c:v>
                </c:pt>
                <c:pt idx="7">
                  <c:v>0.12263473053892215</c:v>
                </c:pt>
                <c:pt idx="8">
                  <c:v>0.13044006807682956</c:v>
                </c:pt>
                <c:pt idx="9">
                  <c:v>0.13955033780042086</c:v>
                </c:pt>
                <c:pt idx="10">
                  <c:v>0.14554038797085087</c:v>
                </c:pt>
                <c:pt idx="11">
                  <c:v>0.1365592342144551</c:v>
                </c:pt>
                <c:pt idx="12">
                  <c:v>0.14403628117913833</c:v>
                </c:pt>
                <c:pt idx="13">
                  <c:v>0.15101714488762547</c:v>
                </c:pt>
                <c:pt idx="14">
                  <c:v>0.1358304583538689</c:v>
                </c:pt>
                <c:pt idx="15">
                  <c:v>0.14728050519454064</c:v>
                </c:pt>
                <c:pt idx="16">
                  <c:v>0.1274432267540391</c:v>
                </c:pt>
                <c:pt idx="17">
                  <c:v>0.11591355599214145</c:v>
                </c:pt>
                <c:pt idx="18">
                  <c:v>0.12824850069198832</c:v>
                </c:pt>
                <c:pt idx="19">
                  <c:v>0.14616755793226383</c:v>
                </c:pt>
                <c:pt idx="20">
                  <c:v>0.13756316676024705</c:v>
                </c:pt>
                <c:pt idx="21">
                  <c:v>0.13103324991061852</c:v>
                </c:pt>
                <c:pt idx="22">
                  <c:v>0.1367814020544242</c:v>
                </c:pt>
                <c:pt idx="23">
                  <c:v>0.15877437325905291</c:v>
                </c:pt>
                <c:pt idx="24">
                  <c:v>0.15927616563417019</c:v>
                </c:pt>
                <c:pt idx="25">
                  <c:v>0.14803418803418802</c:v>
                </c:pt>
                <c:pt idx="26">
                  <c:v>0.13899811933663875</c:v>
                </c:pt>
                <c:pt idx="27">
                  <c:v>0.12880451835582052</c:v>
                </c:pt>
                <c:pt idx="28">
                  <c:v>0.12376237623762376</c:v>
                </c:pt>
                <c:pt idx="29">
                  <c:v>0.12100611828687967</c:v>
                </c:pt>
                <c:pt idx="30">
                  <c:v>0.1306049822064057</c:v>
                </c:pt>
                <c:pt idx="31">
                  <c:v>0.11788372560852947</c:v>
                </c:pt>
                <c:pt idx="32">
                  <c:v>0.11280761631040058</c:v>
                </c:pt>
                <c:pt idx="33">
                  <c:v>0.13306959180003597</c:v>
                </c:pt>
                <c:pt idx="34">
                  <c:v>0.1514814814814815</c:v>
                </c:pt>
                <c:pt idx="35">
                  <c:v>0.16462418300653595</c:v>
                </c:pt>
                <c:pt idx="36">
                  <c:v>0.13451029844472467</c:v>
                </c:pt>
                <c:pt idx="37">
                  <c:v>0.13987820631112752</c:v>
                </c:pt>
                <c:pt idx="38">
                  <c:v>0.13057919867137222</c:v>
                </c:pt>
                <c:pt idx="39">
                  <c:v>0.15516976494085113</c:v>
                </c:pt>
                <c:pt idx="40">
                  <c:v>0.14730073276506656</c:v>
                </c:pt>
                <c:pt idx="41">
                  <c:v>0.15453005927180355</c:v>
                </c:pt>
                <c:pt idx="42">
                  <c:v>0.1465903819390753</c:v>
                </c:pt>
                <c:pt idx="43">
                  <c:v>0.15350039330261828</c:v>
                </c:pt>
                <c:pt idx="44">
                  <c:v>0.14648492204275979</c:v>
                </c:pt>
                <c:pt idx="45">
                  <c:v>0.14991050119331742</c:v>
                </c:pt>
                <c:pt idx="46">
                  <c:v>0.15446855461566752</c:v>
                </c:pt>
                <c:pt idx="47">
                  <c:v>0.1564245810055866</c:v>
                </c:pt>
                <c:pt idx="48">
                  <c:v>0.16450281425891183</c:v>
                </c:pt>
                <c:pt idx="49">
                  <c:v>0.17764407853071565</c:v>
                </c:pt>
                <c:pt idx="50">
                  <c:v>0.20582333428887342</c:v>
                </c:pt>
                <c:pt idx="51">
                  <c:v>0.1861741283544134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7081207757922665</c:v>
                </c:pt>
              </c:numCache>
            </c:numRef>
          </c:xVal>
          <c:yVal>
            <c:numRef>
              <c:f>Sheet1!$B$163:$B$164</c:f>
              <c:numCache>
                <c:formatCode>General</c:formatCode>
                <c:ptCount val="2"/>
                <c:pt idx="0">
                  <c:v>0.20146975765295125</c:v>
                </c:pt>
                <c:pt idx="1">
                  <c:v>0.2014697576529512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7081207757922665</c:v>
                </c:pt>
                <c:pt idx="1">
                  <c:v>0.27081207757922665</c:v>
                </c:pt>
              </c:numCache>
            </c:numRef>
          </c:xVal>
          <c:yVal>
            <c:numRef>
              <c:f>Sheet1!$B$167:$B$168</c:f>
              <c:numCache>
                <c:formatCode>General</c:formatCode>
                <c:ptCount val="2"/>
                <c:pt idx="0">
                  <c:v>0.201469757652951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26437058713797</c:v>
                </c:pt>
              </c:numCache>
            </c:numRef>
          </c:xVal>
          <c:yVal>
            <c:numRef>
              <c:f>Sheet1!$B$171:$B$172</c:f>
              <c:numCache>
                <c:formatCode>General</c:formatCode>
                <c:ptCount val="2"/>
                <c:pt idx="0">
                  <c:v>0.18353608885822859</c:v>
                </c:pt>
                <c:pt idx="1">
                  <c:v>0.1835360888582285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26437058713797</c:v>
                </c:pt>
                <c:pt idx="1">
                  <c:v>0.226437058713797</c:v>
                </c:pt>
              </c:numCache>
            </c:numRef>
          </c:xVal>
          <c:yVal>
            <c:numRef>
              <c:f>Sheet1!$B$175:$B$176</c:f>
              <c:numCache>
                <c:formatCode>General</c:formatCode>
                <c:ptCount val="2"/>
                <c:pt idx="0">
                  <c:v>0.1835360888582285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7172530015164467</c:v>
                </c:pt>
              </c:numCache>
            </c:numRef>
          </c:xVal>
          <c:yVal>
            <c:numRef>
              <c:f>Sheet1!$B$179:$B$180</c:f>
              <c:numCache>
                <c:formatCode>General</c:formatCode>
                <c:ptCount val="2"/>
                <c:pt idx="0">
                  <c:v>0.16142494203920466</c:v>
                </c:pt>
                <c:pt idx="1">
                  <c:v>0.1614249420392046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7172530015164467</c:v>
                </c:pt>
                <c:pt idx="1">
                  <c:v>0.17172530015164467</c:v>
                </c:pt>
              </c:numCache>
            </c:numRef>
          </c:xVal>
          <c:yVal>
            <c:numRef>
              <c:f>Sheet1!$B$183:$B$184</c:f>
              <c:numCache>
                <c:formatCode>General</c:formatCode>
                <c:ptCount val="2"/>
                <c:pt idx="0">
                  <c:v>0.1614249420392046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3432551552522462</c:v>
                </c:pt>
                <c:pt idx="1">
                  <c:v>0.14203953837631997</c:v>
                </c:pt>
                <c:pt idx="2">
                  <c:v>0.14573058446813397</c:v>
                </c:pt>
                <c:pt idx="3">
                  <c:v>0.14881894390501776</c:v>
                </c:pt>
                <c:pt idx="4">
                  <c:v>0.1487363078906054</c:v>
                </c:pt>
                <c:pt idx="5">
                  <c:v>0.1401430827445222</c:v>
                </c:pt>
                <c:pt idx="6">
                  <c:v>0.1362473378662149</c:v>
                </c:pt>
                <c:pt idx="7">
                  <c:v>0.13145628402302087</c:v>
                </c:pt>
                <c:pt idx="8">
                  <c:v>0.1319091529093693</c:v>
                </c:pt>
                <c:pt idx="9">
                  <c:v>0.1175088110738183</c:v>
                </c:pt>
                <c:pt idx="10">
                  <c:v>0.1233455158334311</c:v>
                </c:pt>
                <c:pt idx="11">
                  <c:v>0.14258481889220337</c:v>
                </c:pt>
                <c:pt idx="12">
                  <c:v>0.13876386741944902</c:v>
                </c:pt>
                <c:pt idx="13">
                  <c:v>0.12361060984725193</c:v>
                </c:pt>
                <c:pt idx="14">
                  <c:v>0.1377030727623157</c:v>
                </c:pt>
                <c:pt idx="15">
                  <c:v>0.12453021739610487</c:v>
                </c:pt>
                <c:pt idx="16">
                  <c:v>0.1374279602835434</c:v>
                </c:pt>
                <c:pt idx="17">
                  <c:v>0.13819836476083025</c:v>
                </c:pt>
                <c:pt idx="18">
                  <c:v>0.13918616494545058</c:v>
                </c:pt>
                <c:pt idx="19">
                  <c:v>0.13737631231083935</c:v>
                </c:pt>
                <c:pt idx="20">
                  <c:v>0.12627233737749594</c:v>
                </c:pt>
                <c:pt idx="21">
                  <c:v>0.12440248560703948</c:v>
                </c:pt>
                <c:pt idx="22">
                  <c:v>0.13254659382811046</c:v>
                </c:pt>
                <c:pt idx="23">
                  <c:v>0.11502018548304567</c:v>
                </c:pt>
                <c:pt idx="24">
                  <c:v>0.10918881212117335</c:v>
                </c:pt>
                <c:pt idx="25">
                  <c:v>0.1187883238503007</c:v>
                </c:pt>
                <c:pt idx="26">
                  <c:v>0.11787547031477427</c:v>
                </c:pt>
                <c:pt idx="27">
                  <c:v>0.13117950176812404</c:v>
                </c:pt>
                <c:pt idx="28">
                  <c:v>0.13466292334538696</c:v>
                </c:pt>
                <c:pt idx="29">
                  <c:v>0.13292085223370947</c:v>
                </c:pt>
                <c:pt idx="30">
                  <c:v>0.13055921341257337</c:v>
                </c:pt>
                <c:pt idx="31">
                  <c:v>0.1250128208529085</c:v>
                </c:pt>
                <c:pt idx="32">
                  <c:v>0.12363206156355881</c:v>
                </c:pt>
                <c:pt idx="33">
                  <c:v>0.13082701076910305</c:v>
                </c:pt>
                <c:pt idx="34">
                  <c:v>0.13693091772270033</c:v>
                </c:pt>
                <c:pt idx="35">
                  <c:v>0.13243955005935976</c:v>
                </c:pt>
                <c:pt idx="36">
                  <c:v>0.12163063664064332</c:v>
                </c:pt>
                <c:pt idx="37">
                  <c:v>0.12234441844240218</c:v>
                </c:pt>
                <c:pt idx="38">
                  <c:v>0.12185481844139574</c:v>
                </c:pt>
                <c:pt idx="39">
                  <c:v>0.1303645090491235</c:v>
                </c:pt>
                <c:pt idx="40">
                  <c:v>0.13295744811788787</c:v>
                </c:pt>
                <c:pt idx="41">
                  <c:v>0.13268732823805623</c:v>
                </c:pt>
                <c:pt idx="42">
                  <c:v>0.1310767013715779</c:v>
                </c:pt>
                <c:pt idx="43">
                  <c:v>0.13692121664951118</c:v>
                </c:pt>
                <c:pt idx="44">
                  <c:v>0.1390137262611205</c:v>
                </c:pt>
                <c:pt idx="45">
                  <c:v>0.14774093550852957</c:v>
                </c:pt>
                <c:pt idx="46">
                  <c:v>0.1413613951412306</c:v>
                </c:pt>
                <c:pt idx="47">
                  <c:v>0.14029590980190998</c:v>
                </c:pt>
                <c:pt idx="48">
                  <c:v>0.13653304204432534</c:v>
                </c:pt>
                <c:pt idx="49">
                  <c:v>0.1334132278380707</c:v>
                </c:pt>
                <c:pt idx="50">
                  <c:v>0.13929476757433745</c:v>
                </c:pt>
                <c:pt idx="51">
                  <c:v>0.1272888493653976</c:v>
                </c:pt>
                <c:pt idx="52">
                  <c:v>0.226437058713797</c:v>
                </c:pt>
                <c:pt idx="53">
                  <c:v>0.27081207757922665</c:v>
                </c:pt>
                <c:pt idx="54">
                  <c:v>0.17172530015164467</c:v>
                </c:pt>
              </c:numCache>
            </c:numRef>
          </c:xVal>
          <c:yVal>
            <c:numRef>
              <c:f>Sheet1!$B$187:$B$241</c:f>
              <c:numCache>
                <c:formatCode>General</c:formatCode>
                <c:ptCount val="55"/>
                <c:pt idx="0">
                  <c:v>0.14631023634142976</c:v>
                </c:pt>
                <c:pt idx="1">
                  <c:v>0.149427772613493</c:v>
                </c:pt>
                <c:pt idx="2">
                  <c:v>0.15091946771152517</c:v>
                </c:pt>
                <c:pt idx="3">
                  <c:v>0.1521675937219747</c:v>
                </c:pt>
                <c:pt idx="4">
                  <c:v>0.15213419729869695</c:v>
                </c:pt>
                <c:pt idx="5">
                  <c:v>0.14866134122812982</c:v>
                </c:pt>
                <c:pt idx="6">
                  <c:v>0.14708691939930377</c:v>
                </c:pt>
                <c:pt idx="7">
                  <c:v>0.1451506684410318</c:v>
                </c:pt>
                <c:pt idx="8">
                  <c:v>0.14533369034891733</c:v>
                </c:pt>
                <c:pt idx="9">
                  <c:v>0.13951395285668722</c:v>
                </c:pt>
                <c:pt idx="10">
                  <c:v>0.14187279196679345</c:v>
                </c:pt>
                <c:pt idx="11">
                  <c:v>0.14964814165044424</c:v>
                </c:pt>
                <c:pt idx="12">
                  <c:v>0.14810394674202318</c:v>
                </c:pt>
                <c:pt idx="13">
                  <c:v>0.14197992675489896</c:v>
                </c:pt>
                <c:pt idx="14">
                  <c:v>0.14767523841633365</c:v>
                </c:pt>
                <c:pt idx="15">
                  <c:v>0.14235157588596228</c:v>
                </c:pt>
                <c:pt idx="16">
                  <c:v>0.1475640547773912</c:v>
                </c:pt>
                <c:pt idx="17">
                  <c:v>0.14787540515169825</c:v>
                </c:pt>
                <c:pt idx="18">
                  <c:v>0.1482746135757007</c:v>
                </c:pt>
                <c:pt idx="19">
                  <c:v>0.14754318182544493</c:v>
                </c:pt>
                <c:pt idx="20">
                  <c:v>0.1430556342400935</c:v>
                </c:pt>
                <c:pt idx="21">
                  <c:v>0.14229995450847954</c:v>
                </c:pt>
                <c:pt idx="22">
                  <c:v>0.1455913049844756</c:v>
                </c:pt>
                <c:pt idx="23">
                  <c:v>0.13850820258907987</c:v>
                </c:pt>
                <c:pt idx="24">
                  <c:v>0.1361515181038895</c:v>
                </c:pt>
                <c:pt idx="25">
                  <c:v>0.14003105367013446</c:v>
                </c:pt>
                <c:pt idx="26">
                  <c:v>0.1396621340982044</c:v>
                </c:pt>
                <c:pt idx="27">
                  <c:v>0.14503880998069785</c:v>
                </c:pt>
                <c:pt idx="28">
                  <c:v>0.1464465959475832</c:v>
                </c:pt>
                <c:pt idx="29">
                  <c:v>0.1457425573436015</c:v>
                </c:pt>
                <c:pt idx="30">
                  <c:v>0.14478812736218669</c:v>
                </c:pt>
                <c:pt idx="31">
                  <c:v>0.14254661468875696</c:v>
                </c:pt>
                <c:pt idx="32">
                  <c:v>0.14198859622671356</c:v>
                </c:pt>
                <c:pt idx="33">
                  <c:v>0.14489635467608755</c:v>
                </c:pt>
                <c:pt idx="34">
                  <c:v>0.14736318057179207</c:v>
                </c:pt>
                <c:pt idx="35">
                  <c:v>0.14554804443959252</c:v>
                </c:pt>
                <c:pt idx="36">
                  <c:v>0.14117974267345834</c:v>
                </c:pt>
                <c:pt idx="37">
                  <c:v>0.1414682096251742</c:v>
                </c:pt>
                <c:pt idx="38">
                  <c:v>0.14127034324709845</c:v>
                </c:pt>
                <c:pt idx="39">
                  <c:v>0.14470943976596085</c:v>
                </c:pt>
                <c:pt idx="40">
                  <c:v>0.14575734716190208</c:v>
                </c:pt>
                <c:pt idx="41">
                  <c:v>0.1456481812261205</c:v>
                </c:pt>
                <c:pt idx="42">
                  <c:v>0.14499726434734916</c:v>
                </c:pt>
                <c:pt idx="43">
                  <c:v>0.14735925999129484</c:v>
                </c:pt>
                <c:pt idx="44">
                  <c:v>0.14820492440527913</c:v>
                </c:pt>
                <c:pt idx="45">
                  <c:v>0.15173192865557378</c:v>
                </c:pt>
                <c:pt idx="46">
                  <c:v>0.14915370859088703</c:v>
                </c:pt>
                <c:pt idx="47">
                  <c:v>0.14872310457832413</c:v>
                </c:pt>
                <c:pt idx="48">
                  <c:v>0.14720238355536508</c:v>
                </c:pt>
                <c:pt idx="49">
                  <c:v>0.14594154545080645</c:v>
                </c:pt>
                <c:pt idx="50">
                  <c:v>0.148318504116516</c:v>
                </c:pt>
                <c:pt idx="51">
                  <c:v>0.1434664462190625</c:v>
                </c:pt>
                <c:pt idx="52">
                  <c:v>0.18353608885822859</c:v>
                </c:pt>
                <c:pt idx="53">
                  <c:v>0.20146975765295125</c:v>
                </c:pt>
                <c:pt idx="54">
                  <c:v>0.1614249420392046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558211256746335"/>
          <c:min val="0.0902460930483204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19.7617</c:v>
                </c:pt>
                <c:pt idx="1">
                  <c:v>968.4889</c:v>
                </c:pt>
                <c:pt idx="2">
                  <c:v>978.6737</c:v>
                </c:pt>
                <c:pt idx="3">
                  <c:v>988.5581</c:v>
                </c:pt>
                <c:pt idx="4">
                  <c:v>941.4731</c:v>
                </c:pt>
                <c:pt idx="5">
                  <c:v>914.0893</c:v>
                </c:pt>
                <c:pt idx="6">
                  <c:v>916.8947</c:v>
                </c:pt>
                <c:pt idx="7">
                  <c:v>911.1192</c:v>
                </c:pt>
                <c:pt idx="8">
                  <c:v>915.1229</c:v>
                </c:pt>
                <c:pt idx="9">
                  <c:v>871.9622</c:v>
                </c:pt>
                <c:pt idx="10">
                  <c:v>835.0343</c:v>
                </c:pt>
                <c:pt idx="11">
                  <c:v>828.98</c:v>
                </c:pt>
                <c:pt idx="12">
                  <c:v>865.837</c:v>
                </c:pt>
                <c:pt idx="13">
                  <c:v>852.9094</c:v>
                </c:pt>
                <c:pt idx="14">
                  <c:v>982.1822</c:v>
                </c:pt>
                <c:pt idx="15">
                  <c:v>1002.7042</c:v>
                </c:pt>
                <c:pt idx="16">
                  <c:v>1006.0217</c:v>
                </c:pt>
                <c:pt idx="17">
                  <c:v>1013.7644</c:v>
                </c:pt>
                <c:pt idx="18">
                  <c:v>1053.3199</c:v>
                </c:pt>
                <c:pt idx="19">
                  <c:v>1057.9869</c:v>
                </c:pt>
                <c:pt idx="20">
                  <c:v>1082.7853</c:v>
                </c:pt>
                <c:pt idx="21">
                  <c:v>1080.1899</c:v>
                </c:pt>
                <c:pt idx="22">
                  <c:v>1096.2342</c:v>
                </c:pt>
                <c:pt idx="23">
                  <c:v>1086.1013</c:v>
                </c:pt>
                <c:pt idx="24">
                  <c:v>1089.9863</c:v>
                </c:pt>
                <c:pt idx="25">
                  <c:v>1090.5347</c:v>
                </c:pt>
                <c:pt idx="26">
                  <c:v>1087.5632</c:v>
                </c:pt>
                <c:pt idx="27">
                  <c:v>1074.276</c:v>
                </c:pt>
                <c:pt idx="28">
                  <c:v>1078.8013</c:v>
                </c:pt>
                <c:pt idx="29">
                  <c:v>1110.4901</c:v>
                </c:pt>
                <c:pt idx="30">
                  <c:v>1106.4741</c:v>
                </c:pt>
                <c:pt idx="31">
                  <c:v>1110.3379</c:v>
                </c:pt>
                <c:pt idx="32">
                  <c:v>1109.2397</c:v>
                </c:pt>
                <c:pt idx="33">
                  <c:v>1106.1206</c:v>
                </c:pt>
                <c:pt idx="34">
                  <c:v>1101.2328</c:v>
                </c:pt>
                <c:pt idx="35">
                  <c:v>1107.0789</c:v>
                </c:pt>
                <c:pt idx="36">
                  <c:v>1107.3889</c:v>
                </c:pt>
                <c:pt idx="37">
                  <c:v>1123.1496</c:v>
                </c:pt>
                <c:pt idx="38">
                  <c:v>1124.7202</c:v>
                </c:pt>
                <c:pt idx="39">
                  <c:v>1181.6643</c:v>
                </c:pt>
                <c:pt idx="40">
                  <c:v>1208.5253</c:v>
                </c:pt>
                <c:pt idx="41">
                  <c:v>1220.8314</c:v>
                </c:pt>
                <c:pt idx="42">
                  <c:v>1223.18</c:v>
                </c:pt>
                <c:pt idx="43">
                  <c:v>1228.1207</c:v>
                </c:pt>
                <c:pt idx="44">
                  <c:v>1240.7688</c:v>
                </c:pt>
                <c:pt idx="45">
                  <c:v>1233.1846</c:v>
                </c:pt>
                <c:pt idx="46">
                  <c:v>1179.4713</c:v>
                </c:pt>
                <c:pt idx="47">
                  <c:v>1172.3183</c:v>
                </c:pt>
                <c:pt idx="48">
                  <c:v>1120.507</c:v>
                </c:pt>
                <c:pt idx="49">
                  <c:v>1024.6798</c:v>
                </c:pt>
                <c:pt idx="50">
                  <c:v>1060.5503</c:v>
                </c:pt>
                <c:pt idx="51">
                  <c:v>1034.3245</c:v>
                </c:pt>
                <c:pt idx="52">
                  <c:v>1014.3784</c:v>
                </c:pt>
                <c:pt idx="53">
                  <c:v>1243.0414</c:v>
                </c:pt>
                <c:pt idx="54">
                  <c:v>1235.1487</c:v>
                </c:pt>
                <c:pt idx="55">
                  <c:v>1235.805</c:v>
                </c:pt>
                <c:pt idx="56">
                  <c:v>1234.1824</c:v>
                </c:pt>
                <c:pt idx="57">
                  <c:v>1242.6704</c:v>
                </c:pt>
                <c:pt idx="58">
                  <c:v>1241.1324</c:v>
                </c:pt>
                <c:pt idx="59">
                  <c:v>1239.3448</c:v>
                </c:pt>
                <c:pt idx="60">
                  <c:v>1247.9935</c:v>
                </c:pt>
                <c:pt idx="61">
                  <c:v>1188.6951</c:v>
                </c:pt>
                <c:pt idx="62">
                  <c:v>1077.9522</c:v>
                </c:pt>
                <c:pt idx="63">
                  <c:v>1083.0403</c:v>
                </c:pt>
                <c:pt idx="64">
                  <c:v>1091.05</c:v>
                </c:pt>
                <c:pt idx="65">
                  <c:v>1090.8111</c:v>
                </c:pt>
                <c:pt idx="66">
                  <c:v>1220.491</c:v>
                </c:pt>
                <c:pt idx="67">
                  <c:v>1245.6622</c:v>
                </c:pt>
                <c:pt idx="68">
                  <c:v>1232.1381</c:v>
                </c:pt>
                <c:pt idx="69">
                  <c:v>1271.6872</c:v>
                </c:pt>
                <c:pt idx="70">
                  <c:v>1266.6255</c:v>
                </c:pt>
                <c:pt idx="71">
                  <c:v>1262.548</c:v>
                </c:pt>
                <c:pt idx="72">
                  <c:v>1277.5772</c:v>
                </c:pt>
                <c:pt idx="73">
                  <c:v>1261.3543</c:v>
                </c:pt>
                <c:pt idx="74">
                  <c:v>1281.0581</c:v>
                </c:pt>
                <c:pt idx="75">
                  <c:v>1265.0422</c:v>
                </c:pt>
                <c:pt idx="76">
                  <c:v>1211.6077</c:v>
                </c:pt>
                <c:pt idx="77">
                  <c:v>1199.1729</c:v>
                </c:pt>
                <c:pt idx="78">
                  <c:v>1213.7785</c:v>
                </c:pt>
                <c:pt idx="79">
                  <c:v>1242.1955</c:v>
                </c:pt>
                <c:pt idx="80">
                  <c:v>1264.2783</c:v>
                </c:pt>
                <c:pt idx="81">
                  <c:v>1316.6727</c:v>
                </c:pt>
                <c:pt idx="82">
                  <c:v>1334.0317</c:v>
                </c:pt>
                <c:pt idx="83">
                  <c:v>1334.2226</c:v>
                </c:pt>
                <c:pt idx="84">
                  <c:v>1345.6375</c:v>
                </c:pt>
                <c:pt idx="85">
                  <c:v>1346.6109</c:v>
                </c:pt>
                <c:pt idx="86">
                  <c:v>1349.528</c:v>
                </c:pt>
                <c:pt idx="87">
                  <c:v>1337.4574</c:v>
                </c:pt>
                <c:pt idx="88">
                  <c:v>1354.4523</c:v>
                </c:pt>
                <c:pt idx="89">
                  <c:v>1369.7822</c:v>
                </c:pt>
                <c:pt idx="90">
                  <c:v>1367.9924</c:v>
                </c:pt>
                <c:pt idx="91">
                  <c:v>1353.3447</c:v>
                </c:pt>
                <c:pt idx="92">
                  <c:v>1342.2688</c:v>
                </c:pt>
                <c:pt idx="93">
                  <c:v>1332.2189</c:v>
                </c:pt>
                <c:pt idx="94">
                  <c:v>1349.2415</c:v>
                </c:pt>
                <c:pt idx="95">
                  <c:v>1336.8942</c:v>
                </c:pt>
                <c:pt idx="96">
                  <c:v>1225.6862</c:v>
                </c:pt>
                <c:pt idx="97">
                  <c:v>1263.0433</c:v>
                </c:pt>
                <c:pt idx="98">
                  <c:v>1215.1682</c:v>
                </c:pt>
                <c:pt idx="99">
                  <c:v>1204.9229</c:v>
                </c:pt>
                <c:pt idx="100">
                  <c:v>1106.9971</c:v>
                </c:pt>
                <c:pt idx="101">
                  <c:v>1292.2309</c:v>
                </c:pt>
                <c:pt idx="102">
                  <c:v>1272.751</c:v>
                </c:pt>
                <c:pt idx="103">
                  <c:v>1200.6081</c:v>
                </c:pt>
                <c:pt idx="104">
                  <c:v>1187.5781</c:v>
                </c:pt>
              </c:numCache>
            </c:numRef>
          </c:xVal>
          <c:yVal>
            <c:numRef>
              <c:f>Sheet1!$B$2:$B$106</c:f>
              <c:numCache>
                <c:formatCode>General</c:formatCode>
                <c:ptCount val="105"/>
                <c:pt idx="0">
                  <c:v>0.17871326449563146</c:v>
                </c:pt>
                <c:pt idx="1">
                  <c:v>0.17244395844723892</c:v>
                </c:pt>
                <c:pt idx="2">
                  <c:v>0.17025336584331602</c:v>
                </c:pt>
                <c:pt idx="3">
                  <c:v>0.17527895135954935</c:v>
                </c:pt>
                <c:pt idx="4">
                  <c:v>0.21203293223559214</c:v>
                </c:pt>
                <c:pt idx="5">
                  <c:v>0.21191523390643743</c:v>
                </c:pt>
                <c:pt idx="6">
                  <c:v>0.2379850938062195</c:v>
                </c:pt>
                <c:pt idx="7">
                  <c:v>0.22453605326533504</c:v>
                </c:pt>
                <c:pt idx="8">
                  <c:v>0.23006896551724138</c:v>
                </c:pt>
                <c:pt idx="9">
                  <c:v>0.22907280056912496</c:v>
                </c:pt>
                <c:pt idx="10">
                  <c:v>0.21959048146098506</c:v>
                </c:pt>
                <c:pt idx="11">
                  <c:v>0.2169830788278993</c:v>
                </c:pt>
                <c:pt idx="12">
                  <c:v>0.19853345554537122</c:v>
                </c:pt>
                <c:pt idx="13">
                  <c:v>0.18983121483642426</c:v>
                </c:pt>
                <c:pt idx="14">
                  <c:v>0.16496579567118985</c:v>
                </c:pt>
                <c:pt idx="15">
                  <c:v>0.15082936865115082</c:v>
                </c:pt>
                <c:pt idx="16">
                  <c:v>0.14701200983938648</c:v>
                </c:pt>
                <c:pt idx="17">
                  <c:v>0.147643475472908</c:v>
                </c:pt>
                <c:pt idx="18">
                  <c:v>0.13295118343195267</c:v>
                </c:pt>
                <c:pt idx="19">
                  <c:v>0.12522982635342186</c:v>
                </c:pt>
                <c:pt idx="20">
                  <c:v>0.16063919259882253</c:v>
                </c:pt>
                <c:pt idx="21">
                  <c:v>0.1484842633713072</c:v>
                </c:pt>
                <c:pt idx="22">
                  <c:v>0.12748835239305378</c:v>
                </c:pt>
                <c:pt idx="23">
                  <c:v>0.1453639514731369</c:v>
                </c:pt>
                <c:pt idx="24">
                  <c:v>0.1491442542787286</c:v>
                </c:pt>
                <c:pt idx="25">
                  <c:v>0.13845099383139137</c:v>
                </c:pt>
                <c:pt idx="26">
                  <c:v>0.14704225352112676</c:v>
                </c:pt>
                <c:pt idx="27">
                  <c:v>0.1636990235496841</c:v>
                </c:pt>
                <c:pt idx="28">
                  <c:v>0.17227456258411844</c:v>
                </c:pt>
                <c:pt idx="29">
                  <c:v>0.1650602409638554</c:v>
                </c:pt>
                <c:pt idx="30">
                  <c:v>0.17488692655610596</c:v>
                </c:pt>
                <c:pt idx="31">
                  <c:v>0.1566265060240964</c:v>
                </c:pt>
                <c:pt idx="32">
                  <c:v>0.16640952171038131</c:v>
                </c:pt>
                <c:pt idx="33">
                  <c:v>0.16251189343482397</c:v>
                </c:pt>
                <c:pt idx="34">
                  <c:v>0.17239574245332404</c:v>
                </c:pt>
                <c:pt idx="35">
                  <c:v>0.22559293987865417</c:v>
                </c:pt>
                <c:pt idx="36">
                  <c:v>0.18735215265730956</c:v>
                </c:pt>
                <c:pt idx="37">
                  <c:v>0.17413793103448275</c:v>
                </c:pt>
                <c:pt idx="38">
                  <c:v>0.16989128431914502</c:v>
                </c:pt>
                <c:pt idx="39">
                  <c:v>0.1693499082942735</c:v>
                </c:pt>
                <c:pt idx="40">
                  <c:v>0.16853556485355647</c:v>
                </c:pt>
                <c:pt idx="41">
                  <c:v>0.1634011090573013</c:v>
                </c:pt>
                <c:pt idx="42">
                  <c:v>0.17408335944844877</c:v>
                </c:pt>
                <c:pt idx="43">
                  <c:v>0.1715578716401536</c:v>
                </c:pt>
                <c:pt idx="44">
                  <c:v>0.16095854098186832</c:v>
                </c:pt>
                <c:pt idx="45">
                  <c:v>0.1548496315475005</c:v>
                </c:pt>
                <c:pt idx="46">
                  <c:v>0.1563079324812177</c:v>
                </c:pt>
                <c:pt idx="47">
                  <c:v>0.15777888944472235</c:v>
                </c:pt>
                <c:pt idx="48">
                  <c:v>0.15445402298850575</c:v>
                </c:pt>
                <c:pt idx="49">
                  <c:v>0.17856437598736177</c:v>
                </c:pt>
                <c:pt idx="50">
                  <c:v>0.15999038615606473</c:v>
                </c:pt>
                <c:pt idx="51">
                  <c:v>0.1646090534979424</c:v>
                </c:pt>
                <c:pt idx="52">
                  <c:v>0.16628440366972477</c:v>
                </c:pt>
                <c:pt idx="53">
                  <c:v>0.15564566437928884</c:v>
                </c:pt>
                <c:pt idx="54">
                  <c:v>0.1579898362507058</c:v>
                </c:pt>
                <c:pt idx="55">
                  <c:v>0.15723419370116032</c:v>
                </c:pt>
                <c:pt idx="56">
                  <c:v>0.1649002849002849</c:v>
                </c:pt>
                <c:pt idx="57">
                  <c:v>0.14748238177918496</c:v>
                </c:pt>
                <c:pt idx="58">
                  <c:v>0.14757606773983437</c:v>
                </c:pt>
                <c:pt idx="59">
                  <c:v>0.1363914373088685</c:v>
                </c:pt>
                <c:pt idx="60">
                  <c:v>0.13633191651335405</c:v>
                </c:pt>
                <c:pt idx="61">
                  <c:v>0.14007287518006947</c:v>
                </c:pt>
                <c:pt idx="62">
                  <c:v>0.16141627473600142</c:v>
                </c:pt>
                <c:pt idx="63">
                  <c:v>0.1601366742596811</c:v>
                </c:pt>
                <c:pt idx="64">
                  <c:v>0.15851528384279476</c:v>
                </c:pt>
                <c:pt idx="65">
                  <c:v>0.16333200478278198</c:v>
                </c:pt>
                <c:pt idx="66">
                  <c:v>0.1540864133263925</c:v>
                </c:pt>
                <c:pt idx="67">
                  <c:v>0.14832707103238504</c:v>
                </c:pt>
                <c:pt idx="68">
                  <c:v>0.13880673125956144</c:v>
                </c:pt>
                <c:pt idx="69">
                  <c:v>0.12687079500205958</c:v>
                </c:pt>
                <c:pt idx="70">
                  <c:v>0.12676238520243177</c:v>
                </c:pt>
                <c:pt idx="71">
                  <c:v>0.12544192745842608</c:v>
                </c:pt>
                <c:pt idx="72">
                  <c:v>0.1374246987951807</c:v>
                </c:pt>
                <c:pt idx="73">
                  <c:v>0.13767193071828834</c:v>
                </c:pt>
                <c:pt idx="74">
                  <c:v>0.1292578681517938</c:v>
                </c:pt>
                <c:pt idx="75">
                  <c:v>0.13484009840098402</c:v>
                </c:pt>
                <c:pt idx="76">
                  <c:v>0.13730818414322252</c:v>
                </c:pt>
                <c:pt idx="77">
                  <c:v>0.1371135671952587</c:v>
                </c:pt>
                <c:pt idx="78">
                  <c:v>0.14234234234234233</c:v>
                </c:pt>
                <c:pt idx="79">
                  <c:v>0.14733944954128442</c:v>
                </c:pt>
                <c:pt idx="80">
                  <c:v>0.14644351464435146</c:v>
                </c:pt>
                <c:pt idx="81">
                  <c:v>0.13844343092540826</c:v>
                </c:pt>
                <c:pt idx="82">
                  <c:v>0.13989637305699482</c:v>
                </c:pt>
                <c:pt idx="83">
                  <c:v>0.12342569269521411</c:v>
                </c:pt>
                <c:pt idx="84">
                  <c:v>0.12353616532721011</c:v>
                </c:pt>
                <c:pt idx="85">
                  <c:v>0.11733112993183227</c:v>
                </c:pt>
                <c:pt idx="86">
                  <c:v>0.12542061792597126</c:v>
                </c:pt>
                <c:pt idx="87">
                  <c:v>0.15615700722686693</c:v>
                </c:pt>
                <c:pt idx="88">
                  <c:v>0.16099179325999652</c:v>
                </c:pt>
                <c:pt idx="89">
                  <c:v>0.12866817155756208</c:v>
                </c:pt>
                <c:pt idx="90">
                  <c:v>0.12739222888072685</c:v>
                </c:pt>
                <c:pt idx="91">
                  <c:v>0.12940528634361234</c:v>
                </c:pt>
                <c:pt idx="92">
                  <c:v>0.1431384428960921</c:v>
                </c:pt>
                <c:pt idx="93">
                  <c:v>0.12367733956300674</c:v>
                </c:pt>
                <c:pt idx="94">
                  <c:v>0.12312166747455162</c:v>
                </c:pt>
                <c:pt idx="95">
                  <c:v>0.1336003770028275</c:v>
                </c:pt>
                <c:pt idx="96">
                  <c:v>0.13879582655307743</c:v>
                </c:pt>
                <c:pt idx="97">
                  <c:v>0.13529557259460798</c:v>
                </c:pt>
                <c:pt idx="98">
                  <c:v>0.1486593914865939</c:v>
                </c:pt>
                <c:pt idx="99">
                  <c:v>0.14808979913351714</c:v>
                </c:pt>
                <c:pt idx="100">
                  <c:v>0.1637249736564805</c:v>
                </c:pt>
                <c:pt idx="101">
                  <c:v>0.1358774212200058</c:v>
                </c:pt>
                <c:pt idx="102">
                  <c:v>0.12760005738057667</c:v>
                </c:pt>
                <c:pt idx="103">
                  <c:v>0.14489073561095722</c:v>
                </c:pt>
                <c:pt idx="104">
                  <c:v>0.1486293905608181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72.3769</c:v>
                </c:pt>
                <c:pt idx="1">
                  <c:v>1273.1296</c:v>
                </c:pt>
                <c:pt idx="2">
                  <c:v>1302.415</c:v>
                </c:pt>
                <c:pt idx="3">
                  <c:v>1326.3668</c:v>
                </c:pt>
                <c:pt idx="4">
                  <c:v>1315.7537</c:v>
                </c:pt>
                <c:pt idx="5">
                  <c:v>1321.7919</c:v>
                </c:pt>
                <c:pt idx="6">
                  <c:v>1320.22</c:v>
                </c:pt>
                <c:pt idx="7">
                  <c:v>1314.166</c:v>
                </c:pt>
                <c:pt idx="8">
                  <c:v>1324.4045</c:v>
                </c:pt>
                <c:pt idx="9">
                  <c:v>1157.7675</c:v>
                </c:pt>
                <c:pt idx="10">
                  <c:v>1186.3984</c:v>
                </c:pt>
                <c:pt idx="11">
                  <c:v>1320.8785</c:v>
                </c:pt>
                <c:pt idx="12">
                  <c:v>1296.3715</c:v>
                </c:pt>
                <c:pt idx="13">
                  <c:v>1197.7465</c:v>
                </c:pt>
                <c:pt idx="14">
                  <c:v>1319.172</c:v>
                </c:pt>
                <c:pt idx="15">
                  <c:v>1225.4308</c:v>
                </c:pt>
                <c:pt idx="16">
                  <c:v>1331.1383</c:v>
                </c:pt>
                <c:pt idx="17">
                  <c:v>1342.6471</c:v>
                </c:pt>
                <c:pt idx="18">
                  <c:v>1392.0791</c:v>
                </c:pt>
                <c:pt idx="19">
                  <c:v>1367.4538</c:v>
                </c:pt>
                <c:pt idx="20">
                  <c:v>1286.4367</c:v>
                </c:pt>
                <c:pt idx="21">
                  <c:v>1299.704</c:v>
                </c:pt>
                <c:pt idx="22">
                  <c:v>1283.2793</c:v>
                </c:pt>
                <c:pt idx="23">
                  <c:v>1172.1436</c:v>
                </c:pt>
                <c:pt idx="24">
                  <c:v>1153.4094</c:v>
                </c:pt>
                <c:pt idx="25">
                  <c:v>1207.888</c:v>
                </c:pt>
                <c:pt idx="26">
                  <c:v>1251.1845</c:v>
                </c:pt>
                <c:pt idx="27">
                  <c:v>1313.6468</c:v>
                </c:pt>
                <c:pt idx="28">
                  <c:v>1359.968</c:v>
                </c:pt>
                <c:pt idx="29">
                  <c:v>1349.3132</c:v>
                </c:pt>
                <c:pt idx="30">
                  <c:v>1352.4305</c:v>
                </c:pt>
                <c:pt idx="31">
                  <c:v>1348.7713</c:v>
                </c:pt>
                <c:pt idx="32">
                  <c:v>1351.2404</c:v>
                </c:pt>
                <c:pt idx="33">
                  <c:v>1356.3797</c:v>
                </c:pt>
                <c:pt idx="34">
                  <c:v>1371.4882</c:v>
                </c:pt>
                <c:pt idx="35">
                  <c:v>1359.9545</c:v>
                </c:pt>
                <c:pt idx="36">
                  <c:v>1346.5016</c:v>
                </c:pt>
                <c:pt idx="37">
                  <c:v>1346.3364</c:v>
                </c:pt>
                <c:pt idx="38">
                  <c:v>1331.8728</c:v>
                </c:pt>
                <c:pt idx="39">
                  <c:v>1357.3931</c:v>
                </c:pt>
                <c:pt idx="40">
                  <c:v>1351.1635</c:v>
                </c:pt>
                <c:pt idx="41">
                  <c:v>1355.8128</c:v>
                </c:pt>
                <c:pt idx="42">
                  <c:v>1350.711</c:v>
                </c:pt>
                <c:pt idx="43">
                  <c:v>1332.7643</c:v>
                </c:pt>
                <c:pt idx="44">
                  <c:v>1290.1071</c:v>
                </c:pt>
                <c:pt idx="45">
                  <c:v>1292.298</c:v>
                </c:pt>
                <c:pt idx="46">
                  <c:v>1294.4256</c:v>
                </c:pt>
                <c:pt idx="47">
                  <c:v>1285.2908</c:v>
                </c:pt>
                <c:pt idx="48">
                  <c:v>1206.3983</c:v>
                </c:pt>
                <c:pt idx="49">
                  <c:v>1173.9947</c:v>
                </c:pt>
                <c:pt idx="50">
                  <c:v>1132.7079</c:v>
                </c:pt>
                <c:pt idx="51">
                  <c:v>1161.9306</c:v>
                </c:pt>
              </c:numCache>
            </c:numRef>
          </c:xVal>
          <c:yVal>
            <c:numRef>
              <c:f>Sheet1!$B$109:$B$160</c:f>
              <c:numCache>
                <c:formatCode>General</c:formatCode>
                <c:ptCount val="52"/>
                <c:pt idx="0">
                  <c:v>0.16759550924804134</c:v>
                </c:pt>
                <c:pt idx="1">
                  <c:v>0.15955711956055274</c:v>
                </c:pt>
                <c:pt idx="2">
                  <c:v>0.1663496592169916</c:v>
                </c:pt>
                <c:pt idx="3">
                  <c:v>0.16841864716636198</c:v>
                </c:pt>
                <c:pt idx="4">
                  <c:v>0.15833942643594118</c:v>
                </c:pt>
                <c:pt idx="5">
                  <c:v>0.14581855442579017</c:v>
                </c:pt>
                <c:pt idx="6">
                  <c:v>0.12964761988872206</c:v>
                </c:pt>
                <c:pt idx="7">
                  <c:v>0.12263473053892215</c:v>
                </c:pt>
                <c:pt idx="8">
                  <c:v>0.13044006807682956</c:v>
                </c:pt>
                <c:pt idx="9">
                  <c:v>0.13955033780042086</c:v>
                </c:pt>
                <c:pt idx="10">
                  <c:v>0.14554038797085087</c:v>
                </c:pt>
                <c:pt idx="11">
                  <c:v>0.1365592342144551</c:v>
                </c:pt>
                <c:pt idx="12">
                  <c:v>0.14403628117913833</c:v>
                </c:pt>
                <c:pt idx="13">
                  <c:v>0.15101714488762547</c:v>
                </c:pt>
                <c:pt idx="14">
                  <c:v>0.1358304583538689</c:v>
                </c:pt>
                <c:pt idx="15">
                  <c:v>0.14728050519454064</c:v>
                </c:pt>
                <c:pt idx="16">
                  <c:v>0.1274432267540391</c:v>
                </c:pt>
                <c:pt idx="17">
                  <c:v>0.11591355599214145</c:v>
                </c:pt>
                <c:pt idx="18">
                  <c:v>0.12824850069198832</c:v>
                </c:pt>
                <c:pt idx="19">
                  <c:v>0.14616755793226383</c:v>
                </c:pt>
                <c:pt idx="20">
                  <c:v>0.13756316676024705</c:v>
                </c:pt>
                <c:pt idx="21">
                  <c:v>0.13103324991061852</c:v>
                </c:pt>
                <c:pt idx="22">
                  <c:v>0.1367814020544242</c:v>
                </c:pt>
                <c:pt idx="23">
                  <c:v>0.15877437325905291</c:v>
                </c:pt>
                <c:pt idx="24">
                  <c:v>0.15927616563417019</c:v>
                </c:pt>
                <c:pt idx="25">
                  <c:v>0.14803418803418802</c:v>
                </c:pt>
                <c:pt idx="26">
                  <c:v>0.13899811933663875</c:v>
                </c:pt>
                <c:pt idx="27">
                  <c:v>0.12880451835582052</c:v>
                </c:pt>
                <c:pt idx="28">
                  <c:v>0.12376237623762376</c:v>
                </c:pt>
                <c:pt idx="29">
                  <c:v>0.12100611828687967</c:v>
                </c:pt>
                <c:pt idx="30">
                  <c:v>0.1306049822064057</c:v>
                </c:pt>
                <c:pt idx="31">
                  <c:v>0.11788372560852947</c:v>
                </c:pt>
                <c:pt idx="32">
                  <c:v>0.11280761631040058</c:v>
                </c:pt>
                <c:pt idx="33">
                  <c:v>0.13306959180003597</c:v>
                </c:pt>
                <c:pt idx="34">
                  <c:v>0.1514814814814815</c:v>
                </c:pt>
                <c:pt idx="35">
                  <c:v>0.16462418300653595</c:v>
                </c:pt>
                <c:pt idx="36">
                  <c:v>0.13451029844472467</c:v>
                </c:pt>
                <c:pt idx="37">
                  <c:v>0.13987820631112752</c:v>
                </c:pt>
                <c:pt idx="38">
                  <c:v>0.13057919867137222</c:v>
                </c:pt>
                <c:pt idx="39">
                  <c:v>0.15516976494085113</c:v>
                </c:pt>
                <c:pt idx="40">
                  <c:v>0.14730073276506656</c:v>
                </c:pt>
                <c:pt idx="41">
                  <c:v>0.15453005927180355</c:v>
                </c:pt>
                <c:pt idx="42">
                  <c:v>0.1465903819390753</c:v>
                </c:pt>
                <c:pt idx="43">
                  <c:v>0.15350039330261828</c:v>
                </c:pt>
                <c:pt idx="44">
                  <c:v>0.14648492204275979</c:v>
                </c:pt>
                <c:pt idx="45">
                  <c:v>0.14991050119331742</c:v>
                </c:pt>
                <c:pt idx="46">
                  <c:v>0.15446855461566752</c:v>
                </c:pt>
                <c:pt idx="47">
                  <c:v>0.1564245810055866</c:v>
                </c:pt>
                <c:pt idx="48">
                  <c:v>0.16450281425891183</c:v>
                </c:pt>
                <c:pt idx="49">
                  <c:v>0.17764407853071565</c:v>
                </c:pt>
                <c:pt idx="50">
                  <c:v>0.20582333428887342</c:v>
                </c:pt>
                <c:pt idx="51">
                  <c:v>0.1861741283544134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4.7185251775132</c:v>
                </c:pt>
              </c:numCache>
            </c:numRef>
          </c:xVal>
          <c:yVal>
            <c:numRef>
              <c:f>Sheet1!$B$163:$B$164</c:f>
              <c:numCache>
                <c:formatCode>General</c:formatCode>
                <c:ptCount val="2"/>
                <c:pt idx="0">
                  <c:v>0.20146975765295125</c:v>
                </c:pt>
                <c:pt idx="1">
                  <c:v>0.2014697576529512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4.7185251775132</c:v>
                </c:pt>
                <c:pt idx="1">
                  <c:v>924.7185251775132</c:v>
                </c:pt>
              </c:numCache>
            </c:numRef>
          </c:xVal>
          <c:yVal>
            <c:numRef>
              <c:f>Sheet1!$B$167:$B$168</c:f>
              <c:numCache>
                <c:formatCode>General</c:formatCode>
                <c:ptCount val="2"/>
                <c:pt idx="0">
                  <c:v>0.201469757652951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43.2643609022869</c:v>
                </c:pt>
              </c:numCache>
            </c:numRef>
          </c:xVal>
          <c:yVal>
            <c:numRef>
              <c:f>Sheet1!$B$171:$B$172</c:f>
              <c:numCache>
                <c:formatCode>General</c:formatCode>
                <c:ptCount val="2"/>
                <c:pt idx="0">
                  <c:v>0.18353608885822859</c:v>
                </c:pt>
                <c:pt idx="1">
                  <c:v>0.1835360888582285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43.2643609022869</c:v>
                </c:pt>
                <c:pt idx="1">
                  <c:v>1043.2643609022869</c:v>
                </c:pt>
              </c:numCache>
            </c:numRef>
          </c:xVal>
          <c:yVal>
            <c:numRef>
              <c:f>Sheet1!$B$175:$B$176</c:f>
              <c:numCache>
                <c:formatCode>General</c:formatCode>
                <c:ptCount val="2"/>
                <c:pt idx="0">
                  <c:v>0.1835360888582285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9.4243245158502</c:v>
                </c:pt>
              </c:numCache>
            </c:numRef>
          </c:xVal>
          <c:yVal>
            <c:numRef>
              <c:f>Sheet1!$B$179:$B$180</c:f>
              <c:numCache>
                <c:formatCode>General</c:formatCode>
                <c:ptCount val="2"/>
                <c:pt idx="0">
                  <c:v>0.16142494203920466</c:v>
                </c:pt>
                <c:pt idx="1">
                  <c:v>0.1614249420392046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9.4243245158502</c:v>
                </c:pt>
                <c:pt idx="1">
                  <c:v>1189.4243245158502</c:v>
                </c:pt>
              </c:numCache>
            </c:numRef>
          </c:xVal>
          <c:yVal>
            <c:numRef>
              <c:f>Sheet1!$B$183:$B$184</c:f>
              <c:numCache>
                <c:formatCode>General</c:formatCode>
                <c:ptCount val="2"/>
                <c:pt idx="0">
                  <c:v>0.1614249420392046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72.3769</c:v>
                </c:pt>
                <c:pt idx="1">
                  <c:v>1273.1296</c:v>
                </c:pt>
                <c:pt idx="2">
                  <c:v>1302.415</c:v>
                </c:pt>
                <c:pt idx="3">
                  <c:v>1326.3668</c:v>
                </c:pt>
                <c:pt idx="4">
                  <c:v>1315.7537</c:v>
                </c:pt>
                <c:pt idx="5">
                  <c:v>1321.7919</c:v>
                </c:pt>
                <c:pt idx="6">
                  <c:v>1320.22</c:v>
                </c:pt>
                <c:pt idx="7">
                  <c:v>1314.166</c:v>
                </c:pt>
                <c:pt idx="8">
                  <c:v>1324.4045</c:v>
                </c:pt>
                <c:pt idx="9">
                  <c:v>1157.7675</c:v>
                </c:pt>
                <c:pt idx="10">
                  <c:v>1186.3984</c:v>
                </c:pt>
                <c:pt idx="11">
                  <c:v>1320.8785</c:v>
                </c:pt>
                <c:pt idx="12">
                  <c:v>1296.3715</c:v>
                </c:pt>
                <c:pt idx="13">
                  <c:v>1197.7465</c:v>
                </c:pt>
                <c:pt idx="14">
                  <c:v>1319.172</c:v>
                </c:pt>
                <c:pt idx="15">
                  <c:v>1225.4308</c:v>
                </c:pt>
                <c:pt idx="16">
                  <c:v>1331.1383</c:v>
                </c:pt>
                <c:pt idx="17">
                  <c:v>1342.6471</c:v>
                </c:pt>
                <c:pt idx="18">
                  <c:v>1392.0791</c:v>
                </c:pt>
                <c:pt idx="19">
                  <c:v>1367.4538</c:v>
                </c:pt>
                <c:pt idx="20">
                  <c:v>1286.4367</c:v>
                </c:pt>
                <c:pt idx="21">
                  <c:v>1299.704</c:v>
                </c:pt>
                <c:pt idx="22">
                  <c:v>1283.2793</c:v>
                </c:pt>
                <c:pt idx="23">
                  <c:v>1172.1436</c:v>
                </c:pt>
                <c:pt idx="24">
                  <c:v>1153.4094</c:v>
                </c:pt>
                <c:pt idx="25">
                  <c:v>1207.888</c:v>
                </c:pt>
                <c:pt idx="26">
                  <c:v>1251.1845</c:v>
                </c:pt>
                <c:pt idx="27">
                  <c:v>1313.6468</c:v>
                </c:pt>
                <c:pt idx="28">
                  <c:v>1359.968</c:v>
                </c:pt>
                <c:pt idx="29">
                  <c:v>1349.3132</c:v>
                </c:pt>
                <c:pt idx="30">
                  <c:v>1352.4305</c:v>
                </c:pt>
                <c:pt idx="31">
                  <c:v>1348.7713</c:v>
                </c:pt>
                <c:pt idx="32">
                  <c:v>1351.2404</c:v>
                </c:pt>
                <c:pt idx="33">
                  <c:v>1356.3797</c:v>
                </c:pt>
                <c:pt idx="34">
                  <c:v>1371.4882</c:v>
                </c:pt>
                <c:pt idx="35">
                  <c:v>1359.9545</c:v>
                </c:pt>
                <c:pt idx="36">
                  <c:v>1346.5016</c:v>
                </c:pt>
                <c:pt idx="37">
                  <c:v>1346.3364</c:v>
                </c:pt>
                <c:pt idx="38">
                  <c:v>1331.8728</c:v>
                </c:pt>
                <c:pt idx="39">
                  <c:v>1357.3931</c:v>
                </c:pt>
                <c:pt idx="40">
                  <c:v>1351.1635</c:v>
                </c:pt>
                <c:pt idx="41">
                  <c:v>1355.8128</c:v>
                </c:pt>
                <c:pt idx="42">
                  <c:v>1350.711</c:v>
                </c:pt>
                <c:pt idx="43">
                  <c:v>1332.7643</c:v>
                </c:pt>
                <c:pt idx="44">
                  <c:v>1290.1071</c:v>
                </c:pt>
                <c:pt idx="45">
                  <c:v>1292.298</c:v>
                </c:pt>
                <c:pt idx="46">
                  <c:v>1294.4256</c:v>
                </c:pt>
                <c:pt idx="47">
                  <c:v>1285.2908</c:v>
                </c:pt>
                <c:pt idx="48">
                  <c:v>1206.3983</c:v>
                </c:pt>
                <c:pt idx="49">
                  <c:v>1173.9947</c:v>
                </c:pt>
                <c:pt idx="50">
                  <c:v>1132.7079</c:v>
                </c:pt>
                <c:pt idx="51">
                  <c:v>1161.9306</c:v>
                </c:pt>
                <c:pt idx="52">
                  <c:v>1043.2643609022869</c:v>
                </c:pt>
                <c:pt idx="53">
                  <c:v>924.7185251775132</c:v>
                </c:pt>
                <c:pt idx="54">
                  <c:v>1189.4243245158502</c:v>
                </c:pt>
              </c:numCache>
            </c:numRef>
          </c:xVal>
          <c:yVal>
            <c:numRef>
              <c:f>Sheet1!$B$187:$B$241</c:f>
              <c:numCache>
                <c:formatCode>General</c:formatCode>
                <c:ptCount val="55"/>
                <c:pt idx="0">
                  <c:v>0.14887583809720017</c:v>
                </c:pt>
                <c:pt idx="1">
                  <c:v>0.14876196929346483</c:v>
                </c:pt>
                <c:pt idx="2">
                  <c:v>0.1443316604520787</c:v>
                </c:pt>
                <c:pt idx="3">
                  <c:v>0.14070822108273043</c:v>
                </c:pt>
                <c:pt idx="4">
                  <c:v>0.14231377575381277</c:v>
                </c:pt>
                <c:pt idx="5">
                  <c:v>0.141400314068261</c:v>
                </c:pt>
                <c:pt idx="6">
                  <c:v>0.14163811182645364</c:v>
                </c:pt>
                <c:pt idx="7">
                  <c:v>0.14255396374330478</c:v>
                </c:pt>
                <c:pt idx="8">
                  <c:v>0.1410050787332816</c:v>
                </c:pt>
                <c:pt idx="9">
                  <c:v>0.16621400107690879</c:v>
                </c:pt>
                <c:pt idx="10">
                  <c:v>0.16188270529789117</c:v>
                </c:pt>
                <c:pt idx="11">
                  <c:v>0.1415384936422372</c:v>
                </c:pt>
                <c:pt idx="12">
                  <c:v>0.14524592392407898</c:v>
                </c:pt>
                <c:pt idx="13">
                  <c:v>0.1601659594872506</c:v>
                </c:pt>
                <c:pt idx="14">
                  <c:v>0.14179665375061287</c:v>
                </c:pt>
                <c:pt idx="15">
                  <c:v>0.15597786579354703</c:v>
                </c:pt>
                <c:pt idx="16">
                  <c:v>0.13998638635837377</c:v>
                </c:pt>
                <c:pt idx="17">
                  <c:v>0.13824532977749238</c:v>
                </c:pt>
                <c:pt idx="18">
                  <c:v>0.13076723398069948</c:v>
                </c:pt>
                <c:pt idx="19">
                  <c:v>0.13449256074119398</c:v>
                </c:pt>
                <c:pt idx="20">
                  <c:v>0.14674886505779758</c:v>
                </c:pt>
                <c:pt idx="21">
                  <c:v>0.14474178178451733</c:v>
                </c:pt>
                <c:pt idx="22">
                  <c:v>0.14722651798846587</c:v>
                </c:pt>
                <c:pt idx="23">
                  <c:v>0.16403917802738063</c:v>
                </c:pt>
                <c:pt idx="24">
                  <c:v>0.16687329645828122</c:v>
                </c:pt>
                <c:pt idx="25">
                  <c:v>0.1586317486820399</c:v>
                </c:pt>
                <c:pt idx="26">
                  <c:v>0.1520818341597498</c:v>
                </c:pt>
                <c:pt idx="27">
                  <c:v>0.14263250855916687</c:v>
                </c:pt>
                <c:pt idx="28">
                  <c:v>0.13562501602351376</c:v>
                </c:pt>
                <c:pt idx="29">
                  <c:v>0.13723687908986085</c:v>
                </c:pt>
                <c:pt idx="30">
                  <c:v>0.13676529250571814</c:v>
                </c:pt>
                <c:pt idx="31">
                  <c:v>0.13731885797220997</c:v>
                </c:pt>
                <c:pt idx="32">
                  <c:v>0.13694533138352533</c:v>
                </c:pt>
                <c:pt idx="33">
                  <c:v>0.13616785570525095</c:v>
                </c:pt>
                <c:pt idx="34">
                  <c:v>0.13388223484536574</c:v>
                </c:pt>
                <c:pt idx="35">
                  <c:v>0.13562705830975055</c:v>
                </c:pt>
                <c:pt idx="36">
                  <c:v>0.13766221923677505</c:v>
                </c:pt>
                <c:pt idx="37">
                  <c:v>0.13768721076909482</c:v>
                </c:pt>
                <c:pt idx="38">
                  <c:v>0.13987527085904652</c:v>
                </c:pt>
                <c:pt idx="39">
                  <c:v>0.13601454808507638</c:v>
                </c:pt>
                <c:pt idx="40">
                  <c:v>0.13695696485105185</c:v>
                </c:pt>
                <c:pt idx="41">
                  <c:v>0.1362536165991497</c:v>
                </c:pt>
                <c:pt idx="42">
                  <c:v>0.13702541926009962</c:v>
                </c:pt>
                <c:pt idx="43">
                  <c:v>0.1397404043271878</c:v>
                </c:pt>
                <c:pt idx="44">
                  <c:v>0.14619360525013153</c:v>
                </c:pt>
                <c:pt idx="45">
                  <c:v>0.14586216488597079</c:v>
                </c:pt>
                <c:pt idx="46">
                  <c:v>0.14554030057505363</c:v>
                </c:pt>
                <c:pt idx="47">
                  <c:v>0.14692221733918506</c:v>
                </c:pt>
                <c:pt idx="48">
                  <c:v>0.15885711118625745</c:v>
                </c:pt>
                <c:pt idx="49">
                  <c:v>0.1637591427642021</c:v>
                </c:pt>
                <c:pt idx="50">
                  <c:v>0.17000502894204292</c:v>
                </c:pt>
                <c:pt idx="51">
                  <c:v>0.1655842053856232</c:v>
                </c:pt>
                <c:pt idx="52">
                  <c:v>0.18353608885822859</c:v>
                </c:pt>
                <c:pt idx="53">
                  <c:v>0.20146975765295125</c:v>
                </c:pt>
                <c:pt idx="54">
                  <c:v>0.1614249420392046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70.0"/>
          <c:min val="66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558211256746335"/>
          <c:min val="0.0902460930483204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8929912894007583</c:v>
                </c:pt>
                <c:pt idx="1">
                  <c:v>0.19871376094741458</c:v>
                </c:pt>
                <c:pt idx="2">
                  <c:v>0.19383154685130483</c:v>
                </c:pt>
                <c:pt idx="3">
                  <c:v>0.20018953594571143</c:v>
                </c:pt>
                <c:pt idx="4">
                  <c:v>0.20106276852531388</c:v>
                </c:pt>
                <c:pt idx="5">
                  <c:v>0.20515991271084874</c:v>
                </c:pt>
                <c:pt idx="6">
                  <c:v>0.21699530990751714</c:v>
                </c:pt>
                <c:pt idx="7">
                  <c:v>0.20983682782037</c:v>
                </c:pt>
                <c:pt idx="8">
                  <c:v>0.20448826653140276</c:v>
                </c:pt>
                <c:pt idx="9">
                  <c:v>0.19629508028146256</c:v>
                </c:pt>
                <c:pt idx="10">
                  <c:v>0.18382397571849501</c:v>
                </c:pt>
                <c:pt idx="11">
                  <c:v>0.18199951535376258</c:v>
                </c:pt>
                <c:pt idx="12">
                  <c:v>0.18644807242927722</c:v>
                </c:pt>
                <c:pt idx="13">
                  <c:v>0.18624428175576282</c:v>
                </c:pt>
                <c:pt idx="14">
                  <c:v>0.2165887709465045</c:v>
                </c:pt>
                <c:pt idx="15">
                  <c:v>0.2090280043194826</c:v>
                </c:pt>
                <c:pt idx="16">
                  <c:v>0.20400269483311229</c:v>
                </c:pt>
                <c:pt idx="17">
                  <c:v>0.20470077402171213</c:v>
                </c:pt>
                <c:pt idx="18">
                  <c:v>0.18989106970297567</c:v>
                </c:pt>
                <c:pt idx="19">
                  <c:v>0.1916177785124259</c:v>
                </c:pt>
                <c:pt idx="20">
                  <c:v>0.2058653154428511</c:v>
                </c:pt>
                <c:pt idx="21">
                  <c:v>0.19229097873788692</c:v>
                </c:pt>
                <c:pt idx="22">
                  <c:v>0.18371394920947</c:v>
                </c:pt>
                <c:pt idx="23">
                  <c:v>0.18591194630497113</c:v>
                </c:pt>
                <c:pt idx="24">
                  <c:v>0.18410780141581848</c:v>
                </c:pt>
                <c:pt idx="25">
                  <c:v>0.17658102631263375</c:v>
                </c:pt>
                <c:pt idx="26">
                  <c:v>0.18335306372145757</c:v>
                </c:pt>
                <c:pt idx="27">
                  <c:v>0.17933097615060006</c:v>
                </c:pt>
                <c:pt idx="28">
                  <c:v>0.17616498197016026</c:v>
                </c:pt>
                <c:pt idx="29">
                  <c:v>0.18530580801987853</c:v>
                </c:pt>
                <c:pt idx="30">
                  <c:v>0.1713597104401968</c:v>
                </c:pt>
                <c:pt idx="31">
                  <c:v>0.1624188181927801</c:v>
                </c:pt>
                <c:pt idx="32">
                  <c:v>0.16667833944707622</c:v>
                </c:pt>
                <c:pt idx="33">
                  <c:v>0.16748076041718027</c:v>
                </c:pt>
                <c:pt idx="34">
                  <c:v>0.17486318700194636</c:v>
                </c:pt>
                <c:pt idx="35">
                  <c:v>0.1918999728394465</c:v>
                </c:pt>
                <c:pt idx="36">
                  <c:v>0.17907283499083382</c:v>
                </c:pt>
                <c:pt idx="37">
                  <c:v>0.16539020623789033</c:v>
                </c:pt>
                <c:pt idx="38">
                  <c:v>0.16977542782636595</c:v>
                </c:pt>
                <c:pt idx="39">
                  <c:v>0.17818829185678317</c:v>
                </c:pt>
                <c:pt idx="40">
                  <c:v>0.19947561468931918</c:v>
                </c:pt>
                <c:pt idx="41">
                  <c:v>0.18815353846439603</c:v>
                </c:pt>
                <c:pt idx="42">
                  <c:v>0.19421065799812942</c:v>
                </c:pt>
                <c:pt idx="43">
                  <c:v>0.20507651513503455</c:v>
                </c:pt>
                <c:pt idx="44">
                  <c:v>0.2142729588221821</c:v>
                </c:pt>
                <c:pt idx="45">
                  <c:v>0.2232231094493954</c:v>
                </c:pt>
                <c:pt idx="46">
                  <c:v>0.21610271467901687</c:v>
                </c:pt>
                <c:pt idx="47">
                  <c:v>0.21675428927307638</c:v>
                </c:pt>
                <c:pt idx="48">
                  <c:v>0.21966982342242294</c:v>
                </c:pt>
                <c:pt idx="49">
                  <c:v>0.23448619625343856</c:v>
                </c:pt>
                <c:pt idx="50">
                  <c:v>0.21471024287111964</c:v>
                </c:pt>
                <c:pt idx="51">
                  <c:v>0.19718778512720633</c:v>
                </c:pt>
                <c:pt idx="52">
                  <c:v>0.20643586657870697</c:v>
                </c:pt>
                <c:pt idx="53">
                  <c:v>0.22566210389754582</c:v>
                </c:pt>
                <c:pt idx="54">
                  <c:v>0.2183905764956223</c:v>
                </c:pt>
                <c:pt idx="55">
                  <c:v>0.2195269674711695</c:v>
                </c:pt>
                <c:pt idx="56">
                  <c:v>0.2195301231336179</c:v>
                </c:pt>
                <c:pt idx="57">
                  <c:v>0.22329962268819675</c:v>
                </c:pt>
                <c:pt idx="58">
                  <c:v>0.242023605233186</c:v>
                </c:pt>
                <c:pt idx="59">
                  <c:v>0.2719780476667148</c:v>
                </c:pt>
                <c:pt idx="60">
                  <c:v>0.2717103202688659</c:v>
                </c:pt>
                <c:pt idx="61">
                  <c:v>0.24580152631472946</c:v>
                </c:pt>
                <c:pt idx="62">
                  <c:v>0.2271614319516201</c:v>
                </c:pt>
                <c:pt idx="63">
                  <c:v>0.2283321052192069</c:v>
                </c:pt>
                <c:pt idx="64">
                  <c:v>0.23183409493569493</c:v>
                </c:pt>
                <c:pt idx="65">
                  <c:v>0.22686455935856423</c:v>
                </c:pt>
                <c:pt idx="66">
                  <c:v>0.2524985264983095</c:v>
                </c:pt>
                <c:pt idx="67">
                  <c:v>0.2519109259717622</c:v>
                </c:pt>
                <c:pt idx="68">
                  <c:v>0.23428187633764927</c:v>
                </c:pt>
                <c:pt idx="69">
                  <c:v>0.23082496831087682</c:v>
                </c:pt>
                <c:pt idx="70">
                  <c:v>0.2333934834847378</c:v>
                </c:pt>
                <c:pt idx="71">
                  <c:v>0.22302454307930414</c:v>
                </c:pt>
                <c:pt idx="72">
                  <c:v>0.234694294702559</c:v>
                </c:pt>
                <c:pt idx="73">
                  <c:v>0.2333198302895946</c:v>
                </c:pt>
                <c:pt idx="74">
                  <c:v>0.22426724202739715</c:v>
                </c:pt>
                <c:pt idx="75">
                  <c:v>0.21799789595631858</c:v>
                </c:pt>
                <c:pt idx="76">
                  <c:v>0.20753323244671182</c:v>
                </c:pt>
                <c:pt idx="77">
                  <c:v>0.20639794565170158</c:v>
                </c:pt>
                <c:pt idx="78">
                  <c:v>0.20345738908215846</c:v>
                </c:pt>
                <c:pt idx="79">
                  <c:v>0.19724521729132413</c:v>
                </c:pt>
                <c:pt idx="80">
                  <c:v>0.1956238208628287</c:v>
                </c:pt>
                <c:pt idx="81">
                  <c:v>0.2081730977606976</c:v>
                </c:pt>
                <c:pt idx="82">
                  <c:v>0.19554771742128332</c:v>
                </c:pt>
                <c:pt idx="83">
                  <c:v>0.1829998983749027</c:v>
                </c:pt>
                <c:pt idx="84">
                  <c:v>0.18625870722233354</c:v>
                </c:pt>
                <c:pt idx="85">
                  <c:v>0.18559504215926578</c:v>
                </c:pt>
                <c:pt idx="86">
                  <c:v>0.19386342281426217</c:v>
                </c:pt>
                <c:pt idx="87">
                  <c:v>0.21804553975720276</c:v>
                </c:pt>
                <c:pt idx="88">
                  <c:v>0.19626823670902113</c:v>
                </c:pt>
                <c:pt idx="89">
                  <c:v>0.19204499250494955</c:v>
                </c:pt>
                <c:pt idx="90">
                  <c:v>0.187598710032082</c:v>
                </c:pt>
                <c:pt idx="91">
                  <c:v>0.19633637712242102</c:v>
                </c:pt>
                <c:pt idx="92">
                  <c:v>0.20863819850779214</c:v>
                </c:pt>
                <c:pt idx="93">
                  <c:v>0.20855760458307424</c:v>
                </c:pt>
                <c:pt idx="94">
                  <c:v>0.20035365115281853</c:v>
                </c:pt>
                <c:pt idx="95">
                  <c:v>0.21797015764056993</c:v>
                </c:pt>
                <c:pt idx="96">
                  <c:v>0.2131804638996963</c:v>
                </c:pt>
                <c:pt idx="97">
                  <c:v>0.2324875150175875</c:v>
                </c:pt>
                <c:pt idx="98">
                  <c:v>0.23849381578861048</c:v>
                </c:pt>
                <c:pt idx="99">
                  <c:v>0.24848828098565093</c:v>
                </c:pt>
                <c:pt idx="100">
                  <c:v>0.25143783701408456</c:v>
                </c:pt>
                <c:pt idx="101">
                  <c:v>0.26441230828865997</c:v>
                </c:pt>
                <c:pt idx="102">
                  <c:v>0.2664418689322465</c:v>
                </c:pt>
                <c:pt idx="103">
                  <c:v>0.23750803684275862</c:v>
                </c:pt>
                <c:pt idx="104">
                  <c:v>0.23411746892559476</c:v>
                </c:pt>
              </c:numCache>
            </c:numRef>
          </c:xVal>
          <c:yVal>
            <c:numRef>
              <c:f>Sheet1!$B$2:$B$106</c:f>
              <c:numCache>
                <c:formatCode>General</c:formatCode>
                <c:ptCount val="105"/>
                <c:pt idx="0">
                  <c:v>0.22448371723590152</c:v>
                </c:pt>
                <c:pt idx="1">
                  <c:v>0.24133406232914162</c:v>
                </c:pt>
                <c:pt idx="2">
                  <c:v>0.23332979963956324</c:v>
                </c:pt>
                <c:pt idx="3">
                  <c:v>0.23139421514462138</c:v>
                </c:pt>
                <c:pt idx="4">
                  <c:v>0.19582013932868905</c:v>
                </c:pt>
                <c:pt idx="5">
                  <c:v>0.17259762761562042</c:v>
                </c:pt>
                <c:pt idx="6">
                  <c:v>0.16975070675918788</c:v>
                </c:pt>
                <c:pt idx="7">
                  <c:v>0.15738773197336733</c:v>
                </c:pt>
                <c:pt idx="8">
                  <c:v>0.17779310344827587</c:v>
                </c:pt>
                <c:pt idx="9">
                  <c:v>0.17002608489447474</c:v>
                </c:pt>
                <c:pt idx="10">
                  <c:v>0.1884892086330935</c:v>
                </c:pt>
                <c:pt idx="11">
                  <c:v>0.19222038794882376</c:v>
                </c:pt>
                <c:pt idx="12">
                  <c:v>0.20531622364802934</c:v>
                </c:pt>
                <c:pt idx="13">
                  <c:v>0.20160450093769536</c:v>
                </c:pt>
                <c:pt idx="14">
                  <c:v>0.2092632051138275</c:v>
                </c:pt>
                <c:pt idx="15">
                  <c:v>0.20393467918220393</c:v>
                </c:pt>
                <c:pt idx="16">
                  <c:v>0.18072637823759224</c:v>
                </c:pt>
                <c:pt idx="17">
                  <c:v>0.1883616543764027</c:v>
                </c:pt>
                <c:pt idx="18">
                  <c:v>0.17104289940828402</c:v>
                </c:pt>
                <c:pt idx="19">
                  <c:v>0.15219611848825332</c:v>
                </c:pt>
                <c:pt idx="20">
                  <c:v>0.17140454163162322</c:v>
                </c:pt>
                <c:pt idx="21">
                  <c:v>0.15215292527514965</c:v>
                </c:pt>
                <c:pt idx="22">
                  <c:v>0.14718339686573487</c:v>
                </c:pt>
                <c:pt idx="23">
                  <c:v>0.1319324090121317</c:v>
                </c:pt>
                <c:pt idx="24">
                  <c:v>0.13997555012224938</c:v>
                </c:pt>
                <c:pt idx="25">
                  <c:v>0.13502398903358465</c:v>
                </c:pt>
                <c:pt idx="26">
                  <c:v>0.13708920187793427</c:v>
                </c:pt>
                <c:pt idx="27">
                  <c:v>0.14551024315527475</c:v>
                </c:pt>
                <c:pt idx="28">
                  <c:v>0.13824264564506825</c:v>
                </c:pt>
                <c:pt idx="29">
                  <c:v>0.12891566265060242</c:v>
                </c:pt>
                <c:pt idx="30">
                  <c:v>0.1285806590566444</c:v>
                </c:pt>
                <c:pt idx="31">
                  <c:v>0.11854561101549053</c:v>
                </c:pt>
                <c:pt idx="32">
                  <c:v>0.12651531849239586</c:v>
                </c:pt>
                <c:pt idx="33">
                  <c:v>0.12749762131303521</c:v>
                </c:pt>
                <c:pt idx="34">
                  <c:v>0.13592741231896702</c:v>
                </c:pt>
                <c:pt idx="35">
                  <c:v>0.16326530612244897</c:v>
                </c:pt>
                <c:pt idx="36">
                  <c:v>0.1483993061031383</c:v>
                </c:pt>
                <c:pt idx="37">
                  <c:v>0.13065134099616857</c:v>
                </c:pt>
                <c:pt idx="38">
                  <c:v>0.12106135986733002</c:v>
                </c:pt>
                <c:pt idx="39">
                  <c:v>0.11412268188302425</c:v>
                </c:pt>
                <c:pt idx="40">
                  <c:v>0.12351464435146443</c:v>
                </c:pt>
                <c:pt idx="41">
                  <c:v>0.11146025878003697</c:v>
                </c:pt>
                <c:pt idx="42">
                  <c:v>0.1186148542776559</c:v>
                </c:pt>
                <c:pt idx="43">
                  <c:v>0.12918266593527153</c:v>
                </c:pt>
                <c:pt idx="44">
                  <c:v>0.12321068815608101</c:v>
                </c:pt>
                <c:pt idx="45">
                  <c:v>0.12288388767177853</c:v>
                </c:pt>
                <c:pt idx="46">
                  <c:v>0.12596350863498879</c:v>
                </c:pt>
                <c:pt idx="47">
                  <c:v>0.12216108054027014</c:v>
                </c:pt>
                <c:pt idx="48">
                  <c:v>0.14051724137931035</c:v>
                </c:pt>
                <c:pt idx="49">
                  <c:v>0.15955766192733017</c:v>
                </c:pt>
                <c:pt idx="50">
                  <c:v>0.13523473802275277</c:v>
                </c:pt>
                <c:pt idx="51">
                  <c:v>0.1332080873143675</c:v>
                </c:pt>
                <c:pt idx="52">
                  <c:v>0.15420489296636086</c:v>
                </c:pt>
                <c:pt idx="53">
                  <c:v>0.13901018922852984</c:v>
                </c:pt>
                <c:pt idx="54">
                  <c:v>0.12896668548842463</c:v>
                </c:pt>
                <c:pt idx="55">
                  <c:v>0.13509353540137342</c:v>
                </c:pt>
                <c:pt idx="56">
                  <c:v>0.1511111111111111</c:v>
                </c:pt>
                <c:pt idx="57">
                  <c:v>0.13788172811765909</c:v>
                </c:pt>
                <c:pt idx="58">
                  <c:v>0.13929468688936447</c:v>
                </c:pt>
                <c:pt idx="59">
                  <c:v>0.14055045871559632</c:v>
                </c:pt>
                <c:pt idx="60">
                  <c:v>0.13874262513480937</c:v>
                </c:pt>
                <c:pt idx="61">
                  <c:v>0.13651385475807135</c:v>
                </c:pt>
                <c:pt idx="62">
                  <c:v>0.15360724110391338</c:v>
                </c:pt>
                <c:pt idx="63">
                  <c:v>0.17145026575550493</c:v>
                </c:pt>
                <c:pt idx="64">
                  <c:v>0.1735080058224163</c:v>
                </c:pt>
                <c:pt idx="65">
                  <c:v>0.17927461139896372</c:v>
                </c:pt>
                <c:pt idx="66">
                  <c:v>0.16198160680201285</c:v>
                </c:pt>
                <c:pt idx="67">
                  <c:v>0.16129898013955984</c:v>
                </c:pt>
                <c:pt idx="68">
                  <c:v>0.149209586945436</c:v>
                </c:pt>
                <c:pt idx="69">
                  <c:v>0.1345599340930935</c:v>
                </c:pt>
                <c:pt idx="70">
                  <c:v>0.12999611951882034</c:v>
                </c:pt>
                <c:pt idx="71">
                  <c:v>0.13277464973157</c:v>
                </c:pt>
                <c:pt idx="72">
                  <c:v>0.13692269076305222</c:v>
                </c:pt>
                <c:pt idx="73">
                  <c:v>0.13843606724401428</c:v>
                </c:pt>
                <c:pt idx="74">
                  <c:v>0.1334024090143764</c:v>
                </c:pt>
                <c:pt idx="75">
                  <c:v>0.12423124231242312</c:v>
                </c:pt>
                <c:pt idx="76">
                  <c:v>0.1265984654731458</c:v>
                </c:pt>
                <c:pt idx="77">
                  <c:v>0.12413903572000641</c:v>
                </c:pt>
                <c:pt idx="78">
                  <c:v>0.1281081081081081</c:v>
                </c:pt>
                <c:pt idx="79">
                  <c:v>0.12422018348623853</c:v>
                </c:pt>
                <c:pt idx="80">
                  <c:v>0.1149718028015281</c:v>
                </c:pt>
                <c:pt idx="81">
                  <c:v>0.11181403560394292</c:v>
                </c:pt>
                <c:pt idx="82">
                  <c:v>0.11991117690599556</c:v>
                </c:pt>
                <c:pt idx="83">
                  <c:v>0.11128921456377376</c:v>
                </c:pt>
                <c:pt idx="84">
                  <c:v>0.10470723306544202</c:v>
                </c:pt>
                <c:pt idx="85">
                  <c:v>0.09626110307787647</c:v>
                </c:pt>
                <c:pt idx="86">
                  <c:v>0.10553686142551238</c:v>
                </c:pt>
                <c:pt idx="87">
                  <c:v>0.13872750460535638</c:v>
                </c:pt>
                <c:pt idx="88">
                  <c:v>0.1283394447354636</c:v>
                </c:pt>
                <c:pt idx="89">
                  <c:v>0.1038374717832957</c:v>
                </c:pt>
                <c:pt idx="90">
                  <c:v>0.09375604098202203</c:v>
                </c:pt>
                <c:pt idx="91">
                  <c:v>0.11692364170337739</c:v>
                </c:pt>
                <c:pt idx="92">
                  <c:v>0.11284459254771281</c:v>
                </c:pt>
                <c:pt idx="93">
                  <c:v>0.0997663872474921</c:v>
                </c:pt>
                <c:pt idx="94">
                  <c:v>0.09807723380190661</c:v>
                </c:pt>
                <c:pt idx="95">
                  <c:v>0.11604618284637135</c:v>
                </c:pt>
                <c:pt idx="96">
                  <c:v>0.11735426438211927</c:v>
                </c:pt>
                <c:pt idx="97">
                  <c:v>0.11509605078736912</c:v>
                </c:pt>
                <c:pt idx="98">
                  <c:v>0.1338440413384404</c:v>
                </c:pt>
                <c:pt idx="99">
                  <c:v>0.12846264933700932</c:v>
                </c:pt>
                <c:pt idx="100">
                  <c:v>0.16684229012996135</c:v>
                </c:pt>
                <c:pt idx="101">
                  <c:v>0.12691529343740965</c:v>
                </c:pt>
                <c:pt idx="102">
                  <c:v>0.10615406684837182</c:v>
                </c:pt>
                <c:pt idx="103">
                  <c:v>0.12080640196983687</c:v>
                </c:pt>
                <c:pt idx="104">
                  <c:v>0.1377315785061614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586275841542009</c:v>
                </c:pt>
                <c:pt idx="1">
                  <c:v>0.2559075060362592</c:v>
                </c:pt>
                <c:pt idx="2">
                  <c:v>0.2618573824268933</c:v>
                </c:pt>
                <c:pt idx="3">
                  <c:v>0.2695612947152652</c:v>
                </c:pt>
                <c:pt idx="4">
                  <c:v>0.261050971833128</c:v>
                </c:pt>
                <c:pt idx="5">
                  <c:v>0.26632832133991907</c:v>
                </c:pt>
                <c:pt idx="6">
                  <c:v>0.24837079973290804</c:v>
                </c:pt>
                <c:pt idx="7">
                  <c:v>0.23068932850993581</c:v>
                </c:pt>
                <c:pt idx="8">
                  <c:v>0.242275449544033</c:v>
                </c:pt>
                <c:pt idx="9">
                  <c:v>0.22707346288820565</c:v>
                </c:pt>
                <c:pt idx="10">
                  <c:v>0.23705831381341025</c:v>
                </c:pt>
                <c:pt idx="11">
                  <c:v>0.26842300687676757</c:v>
                </c:pt>
                <c:pt idx="12">
                  <c:v>0.2665074968505628</c:v>
                </c:pt>
                <c:pt idx="13">
                  <c:v>0.23321800813298374</c:v>
                </c:pt>
                <c:pt idx="14">
                  <c:v>0.25111993044356123</c:v>
                </c:pt>
                <c:pt idx="15">
                  <c:v>0.22614364335493228</c:v>
                </c:pt>
                <c:pt idx="16">
                  <c:v>0.22551114485667834</c:v>
                </c:pt>
                <c:pt idx="17">
                  <c:v>0.21254509055351312</c:v>
                </c:pt>
                <c:pt idx="18">
                  <c:v>0.1889827190176333</c:v>
                </c:pt>
                <c:pt idx="19">
                  <c:v>0.20199105273106266</c:v>
                </c:pt>
                <c:pt idx="20">
                  <c:v>0.18799699291615174</c:v>
                </c:pt>
                <c:pt idx="21">
                  <c:v>0.18352730755822955</c:v>
                </c:pt>
                <c:pt idx="22">
                  <c:v>0.19183967035868488</c:v>
                </c:pt>
                <c:pt idx="23">
                  <c:v>0.15222565109884892</c:v>
                </c:pt>
                <c:pt idx="24">
                  <c:v>0.14894941648110632</c:v>
                </c:pt>
                <c:pt idx="25">
                  <c:v>0.1485730426984604</c:v>
                </c:pt>
                <c:pt idx="26">
                  <c:v>0.15467252193133108</c:v>
                </c:pt>
                <c:pt idx="27">
                  <c:v>0.17386059803785067</c:v>
                </c:pt>
                <c:pt idx="28">
                  <c:v>0.1932588850611378</c:v>
                </c:pt>
                <c:pt idx="29">
                  <c:v>0.18576976328750616</c:v>
                </c:pt>
                <c:pt idx="30">
                  <c:v>0.18745656383111609</c:v>
                </c:pt>
                <c:pt idx="31">
                  <c:v>0.18716066071002505</c:v>
                </c:pt>
                <c:pt idx="32">
                  <c:v>0.1807796813029709</c:v>
                </c:pt>
                <c:pt idx="33">
                  <c:v>0.19569641717894196</c:v>
                </c:pt>
                <c:pt idx="34">
                  <c:v>0.21828888634762994</c:v>
                </c:pt>
                <c:pt idx="35">
                  <c:v>0.21376747749755817</c:v>
                </c:pt>
                <c:pt idx="36">
                  <c:v>0.16885286263420393</c:v>
                </c:pt>
                <c:pt idx="37">
                  <c:v>0.1784335715808786</c:v>
                </c:pt>
                <c:pt idx="38">
                  <c:v>0.1785713722550555</c:v>
                </c:pt>
                <c:pt idx="39">
                  <c:v>0.20705934809291246</c:v>
                </c:pt>
                <c:pt idx="40">
                  <c:v>0.20671173405264304</c:v>
                </c:pt>
                <c:pt idx="41">
                  <c:v>0.21476993325782967</c:v>
                </c:pt>
                <c:pt idx="42">
                  <c:v>0.20923331405344145</c:v>
                </c:pt>
                <c:pt idx="43">
                  <c:v>0.21083623944105695</c:v>
                </c:pt>
                <c:pt idx="44">
                  <c:v>0.21589680054224444</c:v>
                </c:pt>
                <c:pt idx="45">
                  <c:v>0.2228743002694437</c:v>
                </c:pt>
                <c:pt idx="46">
                  <c:v>0.2058125467193613</c:v>
                </c:pt>
                <c:pt idx="47">
                  <c:v>0.21147764855889833</c:v>
                </c:pt>
                <c:pt idx="48">
                  <c:v>0.21009050422062225</c:v>
                </c:pt>
                <c:pt idx="49">
                  <c:v>0.21756451451032588</c:v>
                </c:pt>
                <c:pt idx="50">
                  <c:v>0.22659921078440207</c:v>
                </c:pt>
                <c:pt idx="51">
                  <c:v>0.21374617616471486</c:v>
                </c:pt>
              </c:numCache>
            </c:numRef>
          </c:xVal>
          <c:yVal>
            <c:numRef>
              <c:f>Sheet1!$B$109:$B$160</c:f>
              <c:numCache>
                <c:formatCode>General</c:formatCode>
                <c:ptCount val="52"/>
                <c:pt idx="0">
                  <c:v>0.14336483321217997</c:v>
                </c:pt>
                <c:pt idx="1">
                  <c:v>0.12556862071925157</c:v>
                </c:pt>
                <c:pt idx="2">
                  <c:v>0.12529719448407037</c:v>
                </c:pt>
                <c:pt idx="3">
                  <c:v>0.12469530773918343</c:v>
                </c:pt>
                <c:pt idx="4">
                  <c:v>0.11146315703956454</c:v>
                </c:pt>
                <c:pt idx="5">
                  <c:v>0.10427997162449752</c:v>
                </c:pt>
                <c:pt idx="6">
                  <c:v>0.1140157202154906</c:v>
                </c:pt>
                <c:pt idx="7">
                  <c:v>0.11868263473053892</c:v>
                </c:pt>
                <c:pt idx="8">
                  <c:v>0.11646000486263068</c:v>
                </c:pt>
                <c:pt idx="9">
                  <c:v>0.13877505814597407</c:v>
                </c:pt>
                <c:pt idx="10">
                  <c:v>0.13127373498922304</c:v>
                </c:pt>
                <c:pt idx="11">
                  <c:v>0.1301484148590498</c:v>
                </c:pt>
                <c:pt idx="12">
                  <c:v>0.1295238095238095</c:v>
                </c:pt>
                <c:pt idx="13">
                  <c:v>0.1356489295549436</c:v>
                </c:pt>
                <c:pt idx="14">
                  <c:v>0.12824051256776736</c:v>
                </c:pt>
                <c:pt idx="15">
                  <c:v>0.12660419637400694</c:v>
                </c:pt>
                <c:pt idx="16">
                  <c:v>0.12258501864196136</c:v>
                </c:pt>
                <c:pt idx="17">
                  <c:v>0.11914942794406565</c:v>
                </c:pt>
                <c:pt idx="18">
                  <c:v>0.1174842380439797</c:v>
                </c:pt>
                <c:pt idx="19">
                  <c:v>0.12796027501909854</c:v>
                </c:pt>
                <c:pt idx="20">
                  <c:v>0.11959573273441887</c:v>
                </c:pt>
                <c:pt idx="21">
                  <c:v>0.11869860564890955</c:v>
                </c:pt>
                <c:pt idx="22">
                  <c:v>0.12056226347089566</c:v>
                </c:pt>
                <c:pt idx="23">
                  <c:v>0.14345403899721448</c:v>
                </c:pt>
                <c:pt idx="24">
                  <c:v>0.15373328985979784</c:v>
                </c:pt>
                <c:pt idx="25">
                  <c:v>0.16974358974358975</c:v>
                </c:pt>
                <c:pt idx="26">
                  <c:v>0.15250470165840316</c:v>
                </c:pt>
                <c:pt idx="27">
                  <c:v>0.11452776906181361</c:v>
                </c:pt>
                <c:pt idx="28">
                  <c:v>0.09462517680339462</c:v>
                </c:pt>
                <c:pt idx="29">
                  <c:v>0.08973487423521415</c:v>
                </c:pt>
                <c:pt idx="30">
                  <c:v>0.100355871886121</c:v>
                </c:pt>
                <c:pt idx="31">
                  <c:v>0.08408770871052103</c:v>
                </c:pt>
                <c:pt idx="32">
                  <c:v>0.07454643434524878</c:v>
                </c:pt>
                <c:pt idx="33">
                  <c:v>0.09710483725948571</c:v>
                </c:pt>
                <c:pt idx="34">
                  <c:v>0.12246913580246914</c:v>
                </c:pt>
                <c:pt idx="35">
                  <c:v>0.1352124183006536</c:v>
                </c:pt>
                <c:pt idx="36">
                  <c:v>0.1067675493905002</c:v>
                </c:pt>
                <c:pt idx="37">
                  <c:v>0.10979885587746817</c:v>
                </c:pt>
                <c:pt idx="38">
                  <c:v>0.10317625077849284</c:v>
                </c:pt>
                <c:pt idx="39">
                  <c:v>0.11921954217237671</c:v>
                </c:pt>
                <c:pt idx="40">
                  <c:v>0.10393300433677284</c:v>
                </c:pt>
                <c:pt idx="41">
                  <c:v>0.10541913632514818</c:v>
                </c:pt>
                <c:pt idx="42">
                  <c:v>0.10004638936137313</c:v>
                </c:pt>
                <c:pt idx="43">
                  <c:v>0.11023710529272952</c:v>
                </c:pt>
                <c:pt idx="44">
                  <c:v>0.10979367005881804</c:v>
                </c:pt>
                <c:pt idx="45">
                  <c:v>0.13148866348448687</c:v>
                </c:pt>
                <c:pt idx="46">
                  <c:v>0.118609783008459</c:v>
                </c:pt>
                <c:pt idx="47">
                  <c:v>0.12370311252992817</c:v>
                </c:pt>
                <c:pt idx="48">
                  <c:v>0.11707317073170732</c:v>
                </c:pt>
                <c:pt idx="49">
                  <c:v>0.12843571880937302</c:v>
                </c:pt>
                <c:pt idx="50">
                  <c:v>0.17207911871903026</c:v>
                </c:pt>
                <c:pt idx="51">
                  <c:v>0.141805527671819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3716215294516565</c:v>
                </c:pt>
              </c:numCache>
            </c:numRef>
          </c:xVal>
          <c:yVal>
            <c:numRef>
              <c:f>Sheet1!$B$163:$B$164</c:f>
              <c:numCache>
                <c:formatCode>General</c:formatCode>
                <c:ptCount val="2"/>
                <c:pt idx="0">
                  <c:v>0.20043234483048536</c:v>
                </c:pt>
                <c:pt idx="1">
                  <c:v>0.2004323448304853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3716215294516565</c:v>
                </c:pt>
                <c:pt idx="1">
                  <c:v>3.3716215294516565</c:v>
                </c:pt>
              </c:numCache>
            </c:numRef>
          </c:xVal>
          <c:yVal>
            <c:numRef>
              <c:f>Sheet1!$B$167:$B$168</c:f>
              <c:numCache>
                <c:formatCode>General</c:formatCode>
                <c:ptCount val="2"/>
                <c:pt idx="0">
                  <c:v>0.200432344830485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9667072515394329</c:v>
                </c:pt>
              </c:numCache>
            </c:numRef>
          </c:xVal>
          <c:yVal>
            <c:numRef>
              <c:f>Sheet1!$B$171:$B$172</c:f>
              <c:numCache>
                <c:formatCode>General</c:formatCode>
                <c:ptCount val="2"/>
                <c:pt idx="0">
                  <c:v>0.13984838398298255</c:v>
                </c:pt>
                <c:pt idx="1">
                  <c:v>0.1398483839829825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9667072515394329</c:v>
                </c:pt>
                <c:pt idx="1">
                  <c:v>0.9667072515394329</c:v>
                </c:pt>
              </c:numCache>
            </c:numRef>
          </c:xVal>
          <c:yVal>
            <c:numRef>
              <c:f>Sheet1!$B$175:$B$176</c:f>
              <c:numCache>
                <c:formatCode>General</c:formatCode>
                <c:ptCount val="2"/>
                <c:pt idx="0">
                  <c:v>0.1398483839829825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455151059752144</c:v>
                </c:pt>
              </c:numCache>
            </c:numRef>
          </c:xVal>
          <c:yVal>
            <c:numRef>
              <c:f>Sheet1!$B$179:$B$180</c:f>
              <c:numCache>
                <c:formatCode>General</c:formatCode>
                <c:ptCount val="2"/>
                <c:pt idx="0">
                  <c:v>0.12168030326938636</c:v>
                </c:pt>
                <c:pt idx="1">
                  <c:v>0.1216803032693863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455151059752144</c:v>
                </c:pt>
                <c:pt idx="1">
                  <c:v>0.2455151059752144</c:v>
                </c:pt>
              </c:numCache>
            </c:numRef>
          </c:xVal>
          <c:yVal>
            <c:numRef>
              <c:f>Sheet1!$B$183:$B$184</c:f>
              <c:numCache>
                <c:formatCode>General</c:formatCode>
                <c:ptCount val="2"/>
                <c:pt idx="0">
                  <c:v>0.121680303269386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586275841542009</c:v>
                </c:pt>
                <c:pt idx="1">
                  <c:v>0.2559075060362592</c:v>
                </c:pt>
                <c:pt idx="2">
                  <c:v>0.2618573824268933</c:v>
                </c:pt>
                <c:pt idx="3">
                  <c:v>0.2695612947152652</c:v>
                </c:pt>
                <c:pt idx="4">
                  <c:v>0.261050971833128</c:v>
                </c:pt>
                <c:pt idx="5">
                  <c:v>0.26632832133991907</c:v>
                </c:pt>
                <c:pt idx="6">
                  <c:v>0.24837079973290804</c:v>
                </c:pt>
                <c:pt idx="7">
                  <c:v>0.23068932850993581</c:v>
                </c:pt>
                <c:pt idx="8">
                  <c:v>0.242275449544033</c:v>
                </c:pt>
                <c:pt idx="9">
                  <c:v>0.22707346288820565</c:v>
                </c:pt>
                <c:pt idx="10">
                  <c:v>0.23705831381341025</c:v>
                </c:pt>
                <c:pt idx="11">
                  <c:v>0.26842300687676757</c:v>
                </c:pt>
                <c:pt idx="12">
                  <c:v>0.2665074968505628</c:v>
                </c:pt>
                <c:pt idx="13">
                  <c:v>0.23321800813298374</c:v>
                </c:pt>
                <c:pt idx="14">
                  <c:v>0.25111993044356123</c:v>
                </c:pt>
                <c:pt idx="15">
                  <c:v>0.22614364335493228</c:v>
                </c:pt>
                <c:pt idx="16">
                  <c:v>0.22551114485667834</c:v>
                </c:pt>
                <c:pt idx="17">
                  <c:v>0.21254509055351312</c:v>
                </c:pt>
                <c:pt idx="18">
                  <c:v>0.1889827190176333</c:v>
                </c:pt>
                <c:pt idx="19">
                  <c:v>0.20199105273106266</c:v>
                </c:pt>
                <c:pt idx="20">
                  <c:v>0.18799699291615174</c:v>
                </c:pt>
                <c:pt idx="21">
                  <c:v>0.18352730755822955</c:v>
                </c:pt>
                <c:pt idx="22">
                  <c:v>0.19183967035868488</c:v>
                </c:pt>
                <c:pt idx="23">
                  <c:v>0.15222565109884892</c:v>
                </c:pt>
                <c:pt idx="24">
                  <c:v>0.14894941648110632</c:v>
                </c:pt>
                <c:pt idx="25">
                  <c:v>0.1485730426984604</c:v>
                </c:pt>
                <c:pt idx="26">
                  <c:v>0.15467252193133108</c:v>
                </c:pt>
                <c:pt idx="27">
                  <c:v>0.17386059803785067</c:v>
                </c:pt>
                <c:pt idx="28">
                  <c:v>0.1932588850611378</c:v>
                </c:pt>
                <c:pt idx="29">
                  <c:v>0.18576976328750616</c:v>
                </c:pt>
                <c:pt idx="30">
                  <c:v>0.18745656383111609</c:v>
                </c:pt>
                <c:pt idx="31">
                  <c:v>0.18716066071002505</c:v>
                </c:pt>
                <c:pt idx="32">
                  <c:v>0.1807796813029709</c:v>
                </c:pt>
                <c:pt idx="33">
                  <c:v>0.19569641717894196</c:v>
                </c:pt>
                <c:pt idx="34">
                  <c:v>0.21828888634762994</c:v>
                </c:pt>
                <c:pt idx="35">
                  <c:v>0.21376747749755817</c:v>
                </c:pt>
                <c:pt idx="36">
                  <c:v>0.16885286263420393</c:v>
                </c:pt>
                <c:pt idx="37">
                  <c:v>0.1784335715808786</c:v>
                </c:pt>
                <c:pt idx="38">
                  <c:v>0.1785713722550555</c:v>
                </c:pt>
                <c:pt idx="39">
                  <c:v>0.20705934809291246</c:v>
                </c:pt>
                <c:pt idx="40">
                  <c:v>0.20671173405264304</c:v>
                </c:pt>
                <c:pt idx="41">
                  <c:v>0.21476993325782967</c:v>
                </c:pt>
                <c:pt idx="42">
                  <c:v>0.20923331405344145</c:v>
                </c:pt>
                <c:pt idx="43">
                  <c:v>0.21083623944105695</c:v>
                </c:pt>
                <c:pt idx="44">
                  <c:v>0.21589680054224444</c:v>
                </c:pt>
                <c:pt idx="45">
                  <c:v>0.2228743002694437</c:v>
                </c:pt>
                <c:pt idx="46">
                  <c:v>0.2058125467193613</c:v>
                </c:pt>
                <c:pt idx="47">
                  <c:v>0.21147764855889833</c:v>
                </c:pt>
                <c:pt idx="48">
                  <c:v>0.21009050422062225</c:v>
                </c:pt>
                <c:pt idx="49">
                  <c:v>0.21756451451032588</c:v>
                </c:pt>
                <c:pt idx="50">
                  <c:v>0.22659921078440207</c:v>
                </c:pt>
                <c:pt idx="51">
                  <c:v>0.21374617616471486</c:v>
                </c:pt>
                <c:pt idx="52">
                  <c:v>0.9667072515394329</c:v>
                </c:pt>
                <c:pt idx="53">
                  <c:v>3.3716215294516565</c:v>
                </c:pt>
                <c:pt idx="54">
                  <c:v>0.2455151059752144</c:v>
                </c:pt>
              </c:numCache>
            </c:numRef>
          </c:xVal>
          <c:yVal>
            <c:numRef>
              <c:f>Sheet1!$B$187:$B$241</c:f>
              <c:numCache>
                <c:formatCode>General</c:formatCode>
                <c:ptCount val="55"/>
                <c:pt idx="0">
                  <c:v>0.12201062933210952</c:v>
                </c:pt>
                <c:pt idx="1">
                  <c:v>0.12194210584762899</c:v>
                </c:pt>
                <c:pt idx="2">
                  <c:v>0.12209199355115687</c:v>
                </c:pt>
                <c:pt idx="3">
                  <c:v>0.12228606846049479</c:v>
                </c:pt>
                <c:pt idx="4">
                  <c:v>0.12207167866996196</c:v>
                </c:pt>
                <c:pt idx="5">
                  <c:v>0.12220462425510589</c:v>
                </c:pt>
                <c:pt idx="6">
                  <c:v>0.12175224314699347</c:v>
                </c:pt>
                <c:pt idx="7">
                  <c:v>0.12130681622673385</c:v>
                </c:pt>
                <c:pt idx="8">
                  <c:v>0.12159869070623237</c:v>
                </c:pt>
                <c:pt idx="9">
                  <c:v>0.12121572630171296</c:v>
                </c:pt>
                <c:pt idx="10">
                  <c:v>0.12146726201052245</c:v>
                </c:pt>
                <c:pt idx="11">
                  <c:v>0.12225739301602091</c:v>
                </c:pt>
                <c:pt idx="12">
                  <c:v>0.12220913799691423</c:v>
                </c:pt>
                <c:pt idx="13">
                  <c:v>0.1213705180512378</c:v>
                </c:pt>
                <c:pt idx="14">
                  <c:v>0.12182149851666238</c:v>
                </c:pt>
                <c:pt idx="15">
                  <c:v>0.12119230253533739</c:v>
                </c:pt>
                <c:pt idx="16">
                  <c:v>0.12117636880139673</c:v>
                </c:pt>
                <c:pt idx="17">
                  <c:v>0.1208497314100085</c:v>
                </c:pt>
                <c:pt idx="18">
                  <c:v>0.12025615441322536</c:v>
                </c:pt>
                <c:pt idx="19">
                  <c:v>0.12058385689627178</c:v>
                </c:pt>
                <c:pt idx="20">
                  <c:v>0.12023132226345311</c:v>
                </c:pt>
                <c:pt idx="21">
                  <c:v>0.12011872313873084</c:v>
                </c:pt>
                <c:pt idx="22">
                  <c:v>0.12032812597153793</c:v>
                </c:pt>
                <c:pt idx="23">
                  <c:v>0.11933018013459375</c:v>
                </c:pt>
                <c:pt idx="24">
                  <c:v>0.1192476461034927</c:v>
                </c:pt>
                <c:pt idx="25">
                  <c:v>0.11923816459526546</c:v>
                </c:pt>
                <c:pt idx="26">
                  <c:v>0.11939182105380468</c:v>
                </c:pt>
                <c:pt idx="27">
                  <c:v>0.11987520196357476</c:v>
                </c:pt>
                <c:pt idx="28">
                  <c:v>0.12036387845084968</c:v>
                </c:pt>
                <c:pt idx="29">
                  <c:v>0.12017521448703065</c:v>
                </c:pt>
                <c:pt idx="30">
                  <c:v>0.1202177079176823</c:v>
                </c:pt>
                <c:pt idx="31">
                  <c:v>0.12021025360495795</c:v>
                </c:pt>
                <c:pt idx="32">
                  <c:v>0.12004950566890207</c:v>
                </c:pt>
                <c:pt idx="33">
                  <c:v>0.12042528411164428</c:v>
                </c:pt>
                <c:pt idx="34">
                  <c:v>0.12099442758596074</c:v>
                </c:pt>
                <c:pt idx="35">
                  <c:v>0.12088052545678127</c:v>
                </c:pt>
                <c:pt idx="36">
                  <c:v>0.11974904842520724</c:v>
                </c:pt>
                <c:pt idx="37">
                  <c:v>0.11999040309678438</c:v>
                </c:pt>
                <c:pt idx="38">
                  <c:v>0.11999387453471702</c:v>
                </c:pt>
                <c:pt idx="39">
                  <c:v>0.12071153604499905</c:v>
                </c:pt>
                <c:pt idx="40">
                  <c:v>0.12070277904455246</c:v>
                </c:pt>
                <c:pt idx="41">
                  <c:v>0.12090577905566811</c:v>
                </c:pt>
                <c:pt idx="42">
                  <c:v>0.120766302017261</c:v>
                </c:pt>
                <c:pt idx="43">
                  <c:v>0.12080668248729134</c:v>
                </c:pt>
                <c:pt idx="44">
                  <c:v>0.1209341667965811</c:v>
                </c:pt>
                <c:pt idx="45">
                  <c:v>0.12110994211388393</c:v>
                </c:pt>
                <c:pt idx="46">
                  <c:v>0.12068012695641174</c:v>
                </c:pt>
                <c:pt idx="47">
                  <c:v>0.12082284069519066</c:v>
                </c:pt>
                <c:pt idx="48">
                  <c:v>0.1207878961239634</c:v>
                </c:pt>
                <c:pt idx="49">
                  <c:v>0.12097617940329855</c:v>
                </c:pt>
                <c:pt idx="50">
                  <c:v>0.12120377906885206</c:v>
                </c:pt>
                <c:pt idx="51">
                  <c:v>0.12087998883926986</c:v>
                </c:pt>
                <c:pt idx="52">
                  <c:v>0.13984838398298255</c:v>
                </c:pt>
                <c:pt idx="53">
                  <c:v>0.20043234483048536</c:v>
                </c:pt>
                <c:pt idx="54">
                  <c:v>0.121680303269386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60087479496993"/>
          <c:min val="0.05963714747619902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28.1039</c:v>
                </c:pt>
                <c:pt idx="1">
                  <c:v>1074.7644</c:v>
                </c:pt>
                <c:pt idx="2">
                  <c:v>1065.9468</c:v>
                </c:pt>
                <c:pt idx="3">
                  <c:v>1089.8385</c:v>
                </c:pt>
                <c:pt idx="4">
                  <c:v>1130.3286</c:v>
                </c:pt>
                <c:pt idx="5">
                  <c:v>1165.895</c:v>
                </c:pt>
                <c:pt idx="6">
                  <c:v>1195.0515</c:v>
                </c:pt>
                <c:pt idx="7">
                  <c:v>1191.4977</c:v>
                </c:pt>
                <c:pt idx="8">
                  <c:v>1143.263</c:v>
                </c:pt>
                <c:pt idx="9">
                  <c:v>1068.9916</c:v>
                </c:pt>
                <c:pt idx="10">
                  <c:v>972.7592</c:v>
                </c:pt>
                <c:pt idx="11">
                  <c:v>934.9211</c:v>
                </c:pt>
                <c:pt idx="12">
                  <c:v>929.3058</c:v>
                </c:pt>
                <c:pt idx="13">
                  <c:v>943.7008</c:v>
                </c:pt>
                <c:pt idx="14">
                  <c:v>1121.9025</c:v>
                </c:pt>
                <c:pt idx="15">
                  <c:v>1120.6211</c:v>
                </c:pt>
                <c:pt idx="16">
                  <c:v>1147.8455</c:v>
                </c:pt>
                <c:pt idx="17">
                  <c:v>1171.2417</c:v>
                </c:pt>
                <c:pt idx="18">
                  <c:v>1181.7719</c:v>
                </c:pt>
                <c:pt idx="19">
                  <c:v>1211.8711</c:v>
                </c:pt>
                <c:pt idx="20">
                  <c:v>1232.0824</c:v>
                </c:pt>
                <c:pt idx="21">
                  <c:v>1210.5558</c:v>
                </c:pt>
                <c:pt idx="22">
                  <c:v>1217.8216</c:v>
                </c:pt>
                <c:pt idx="23">
                  <c:v>1228.5534</c:v>
                </c:pt>
                <c:pt idx="24">
                  <c:v>1235.3683</c:v>
                </c:pt>
                <c:pt idx="25">
                  <c:v>1241.0491</c:v>
                </c:pt>
                <c:pt idx="26">
                  <c:v>1226.9452</c:v>
                </c:pt>
                <c:pt idx="27">
                  <c:v>1245.0605</c:v>
                </c:pt>
                <c:pt idx="28">
                  <c:v>1241.427</c:v>
                </c:pt>
                <c:pt idx="29">
                  <c:v>1280.5768</c:v>
                </c:pt>
                <c:pt idx="30">
                  <c:v>1278.5209</c:v>
                </c:pt>
                <c:pt idx="31">
                  <c:v>1243.6552</c:v>
                </c:pt>
                <c:pt idx="32">
                  <c:v>1258.7143</c:v>
                </c:pt>
                <c:pt idx="33">
                  <c:v>1243.206</c:v>
                </c:pt>
                <c:pt idx="34">
                  <c:v>1229.0321</c:v>
                </c:pt>
                <c:pt idx="35">
                  <c:v>1257.1453</c:v>
                </c:pt>
                <c:pt idx="36">
                  <c:v>1285.7768</c:v>
                </c:pt>
                <c:pt idx="37">
                  <c:v>1299.4018</c:v>
                </c:pt>
                <c:pt idx="38">
                  <c:v>1324.1826</c:v>
                </c:pt>
                <c:pt idx="39">
                  <c:v>1401.1857</c:v>
                </c:pt>
                <c:pt idx="40">
                  <c:v>1461.2873</c:v>
                </c:pt>
                <c:pt idx="41">
                  <c:v>1456.67</c:v>
                </c:pt>
                <c:pt idx="42">
                  <c:v>1467.856</c:v>
                </c:pt>
                <c:pt idx="43">
                  <c:v>1459.2824</c:v>
                </c:pt>
                <c:pt idx="44">
                  <c:v>1419.1153</c:v>
                </c:pt>
                <c:pt idx="45">
                  <c:v>1402.4595</c:v>
                </c:pt>
                <c:pt idx="46">
                  <c:v>1356.5221</c:v>
                </c:pt>
                <c:pt idx="47">
                  <c:v>1359.1597</c:v>
                </c:pt>
                <c:pt idx="48">
                  <c:v>1232.3686</c:v>
                </c:pt>
                <c:pt idx="49">
                  <c:v>1190.0325</c:v>
                </c:pt>
                <c:pt idx="50">
                  <c:v>1247.7174</c:v>
                </c:pt>
                <c:pt idx="51">
                  <c:v>1217.9342</c:v>
                </c:pt>
                <c:pt idx="52">
                  <c:v>1181.1353</c:v>
                </c:pt>
                <c:pt idx="53">
                  <c:v>1417.0464</c:v>
                </c:pt>
                <c:pt idx="54">
                  <c:v>1429.5342</c:v>
                </c:pt>
                <c:pt idx="55">
                  <c:v>1430.7923</c:v>
                </c:pt>
                <c:pt idx="56">
                  <c:v>1422.9691</c:v>
                </c:pt>
                <c:pt idx="57">
                  <c:v>1449.6622</c:v>
                </c:pt>
                <c:pt idx="58">
                  <c:v>1464.1089</c:v>
                </c:pt>
                <c:pt idx="59">
                  <c:v>1451.413</c:v>
                </c:pt>
                <c:pt idx="60">
                  <c:v>1447.5135</c:v>
                </c:pt>
                <c:pt idx="61">
                  <c:v>1397.3818</c:v>
                </c:pt>
                <c:pt idx="62">
                  <c:v>1298.491</c:v>
                </c:pt>
                <c:pt idx="63">
                  <c:v>1271.1723</c:v>
                </c:pt>
                <c:pt idx="64">
                  <c:v>1245.1506</c:v>
                </c:pt>
                <c:pt idx="65">
                  <c:v>1244.3566</c:v>
                </c:pt>
                <c:pt idx="66">
                  <c:v>1410.5458</c:v>
                </c:pt>
                <c:pt idx="67">
                  <c:v>1435.0383</c:v>
                </c:pt>
                <c:pt idx="68">
                  <c:v>1401.2105</c:v>
                </c:pt>
                <c:pt idx="69">
                  <c:v>1454.6418</c:v>
                </c:pt>
                <c:pt idx="70">
                  <c:v>1503.6866</c:v>
                </c:pt>
                <c:pt idx="71">
                  <c:v>1452.3846</c:v>
                </c:pt>
                <c:pt idx="72">
                  <c:v>1459.3456</c:v>
                </c:pt>
                <c:pt idx="73">
                  <c:v>1473.1546</c:v>
                </c:pt>
                <c:pt idx="74">
                  <c:v>1427.4359</c:v>
                </c:pt>
                <c:pt idx="75">
                  <c:v>1430.4468</c:v>
                </c:pt>
                <c:pt idx="76">
                  <c:v>1365.7045</c:v>
                </c:pt>
                <c:pt idx="77">
                  <c:v>1363.2413</c:v>
                </c:pt>
                <c:pt idx="78">
                  <c:v>1395.7454</c:v>
                </c:pt>
                <c:pt idx="79">
                  <c:v>1449.2674</c:v>
                </c:pt>
                <c:pt idx="80">
                  <c:v>1459.3038</c:v>
                </c:pt>
                <c:pt idx="81">
                  <c:v>1484.6092</c:v>
                </c:pt>
                <c:pt idx="82">
                  <c:v>1490.2531</c:v>
                </c:pt>
                <c:pt idx="83">
                  <c:v>1459.1358</c:v>
                </c:pt>
                <c:pt idx="84">
                  <c:v>1503.4386</c:v>
                </c:pt>
                <c:pt idx="85">
                  <c:v>1487.7489</c:v>
                </c:pt>
                <c:pt idx="86">
                  <c:v>1474.9319</c:v>
                </c:pt>
                <c:pt idx="87">
                  <c:v>1477.5015</c:v>
                </c:pt>
                <c:pt idx="88">
                  <c:v>1489.1782</c:v>
                </c:pt>
                <c:pt idx="89">
                  <c:v>1518.9004</c:v>
                </c:pt>
                <c:pt idx="90">
                  <c:v>1481.2639</c:v>
                </c:pt>
                <c:pt idx="91">
                  <c:v>1490.4301</c:v>
                </c:pt>
                <c:pt idx="92">
                  <c:v>1508.5852</c:v>
                </c:pt>
                <c:pt idx="93">
                  <c:v>1499.6901</c:v>
                </c:pt>
                <c:pt idx="94">
                  <c:v>1495.8633</c:v>
                </c:pt>
                <c:pt idx="95">
                  <c:v>1486.7574</c:v>
                </c:pt>
                <c:pt idx="96">
                  <c:v>1359.4829</c:v>
                </c:pt>
                <c:pt idx="97">
                  <c:v>1412.217</c:v>
                </c:pt>
                <c:pt idx="98">
                  <c:v>1352.3726</c:v>
                </c:pt>
                <c:pt idx="99">
                  <c:v>1353.0869</c:v>
                </c:pt>
                <c:pt idx="100">
                  <c:v>1242.0566</c:v>
                </c:pt>
                <c:pt idx="101">
                  <c:v>1469.8479</c:v>
                </c:pt>
                <c:pt idx="102">
                  <c:v>1479.352</c:v>
                </c:pt>
                <c:pt idx="103">
                  <c:v>1356.714</c:v>
                </c:pt>
                <c:pt idx="104">
                  <c:v>1339.6409</c:v>
                </c:pt>
              </c:numCache>
            </c:numRef>
          </c:xVal>
          <c:yVal>
            <c:numRef>
              <c:f>Sheet1!$B$2:$B$106</c:f>
              <c:numCache>
                <c:formatCode>General</c:formatCode>
                <c:ptCount val="105"/>
                <c:pt idx="0">
                  <c:v>0.22448371723590152</c:v>
                </c:pt>
                <c:pt idx="1">
                  <c:v>0.24133406232914162</c:v>
                </c:pt>
                <c:pt idx="2">
                  <c:v>0.23332979963956324</c:v>
                </c:pt>
                <c:pt idx="3">
                  <c:v>0.23139421514462138</c:v>
                </c:pt>
                <c:pt idx="4">
                  <c:v>0.19582013932868905</c:v>
                </c:pt>
                <c:pt idx="5">
                  <c:v>0.17259762761562042</c:v>
                </c:pt>
                <c:pt idx="6">
                  <c:v>0.16975070675918788</c:v>
                </c:pt>
                <c:pt idx="7">
                  <c:v>0.15738773197336733</c:v>
                </c:pt>
                <c:pt idx="8">
                  <c:v>0.17779310344827587</c:v>
                </c:pt>
                <c:pt idx="9">
                  <c:v>0.17002608489447474</c:v>
                </c:pt>
                <c:pt idx="10">
                  <c:v>0.1884892086330935</c:v>
                </c:pt>
                <c:pt idx="11">
                  <c:v>0.19222038794882376</c:v>
                </c:pt>
                <c:pt idx="12">
                  <c:v>0.20531622364802934</c:v>
                </c:pt>
                <c:pt idx="13">
                  <c:v>0.20160450093769536</c:v>
                </c:pt>
                <c:pt idx="14">
                  <c:v>0.2092632051138275</c:v>
                </c:pt>
                <c:pt idx="15">
                  <c:v>0.20393467918220393</c:v>
                </c:pt>
                <c:pt idx="16">
                  <c:v>0.18072637823759224</c:v>
                </c:pt>
                <c:pt idx="17">
                  <c:v>0.1883616543764027</c:v>
                </c:pt>
                <c:pt idx="18">
                  <c:v>0.17104289940828402</c:v>
                </c:pt>
                <c:pt idx="19">
                  <c:v>0.15219611848825332</c:v>
                </c:pt>
                <c:pt idx="20">
                  <c:v>0.17140454163162322</c:v>
                </c:pt>
                <c:pt idx="21">
                  <c:v>0.15215292527514965</c:v>
                </c:pt>
                <c:pt idx="22">
                  <c:v>0.14718339686573487</c:v>
                </c:pt>
                <c:pt idx="23">
                  <c:v>0.1319324090121317</c:v>
                </c:pt>
                <c:pt idx="24">
                  <c:v>0.13997555012224938</c:v>
                </c:pt>
                <c:pt idx="25">
                  <c:v>0.13502398903358465</c:v>
                </c:pt>
                <c:pt idx="26">
                  <c:v>0.13708920187793427</c:v>
                </c:pt>
                <c:pt idx="27">
                  <c:v>0.14551024315527475</c:v>
                </c:pt>
                <c:pt idx="28">
                  <c:v>0.13824264564506825</c:v>
                </c:pt>
                <c:pt idx="29">
                  <c:v>0.12891566265060242</c:v>
                </c:pt>
                <c:pt idx="30">
                  <c:v>0.1285806590566444</c:v>
                </c:pt>
                <c:pt idx="31">
                  <c:v>0.11854561101549053</c:v>
                </c:pt>
                <c:pt idx="32">
                  <c:v>0.12651531849239586</c:v>
                </c:pt>
                <c:pt idx="33">
                  <c:v>0.12749762131303521</c:v>
                </c:pt>
                <c:pt idx="34">
                  <c:v>0.13592741231896702</c:v>
                </c:pt>
                <c:pt idx="35">
                  <c:v>0.16326530612244897</c:v>
                </c:pt>
                <c:pt idx="36">
                  <c:v>0.1483993061031383</c:v>
                </c:pt>
                <c:pt idx="37">
                  <c:v>0.13065134099616857</c:v>
                </c:pt>
                <c:pt idx="38">
                  <c:v>0.12106135986733002</c:v>
                </c:pt>
                <c:pt idx="39">
                  <c:v>0.11412268188302425</c:v>
                </c:pt>
                <c:pt idx="40">
                  <c:v>0.12351464435146443</c:v>
                </c:pt>
                <c:pt idx="41">
                  <c:v>0.11146025878003697</c:v>
                </c:pt>
                <c:pt idx="42">
                  <c:v>0.1186148542776559</c:v>
                </c:pt>
                <c:pt idx="43">
                  <c:v>0.12918266593527153</c:v>
                </c:pt>
                <c:pt idx="44">
                  <c:v>0.12321068815608101</c:v>
                </c:pt>
                <c:pt idx="45">
                  <c:v>0.12288388767177853</c:v>
                </c:pt>
                <c:pt idx="46">
                  <c:v>0.12596350863498879</c:v>
                </c:pt>
                <c:pt idx="47">
                  <c:v>0.12216108054027014</c:v>
                </c:pt>
                <c:pt idx="48">
                  <c:v>0.14051724137931035</c:v>
                </c:pt>
                <c:pt idx="49">
                  <c:v>0.15955766192733017</c:v>
                </c:pt>
                <c:pt idx="50">
                  <c:v>0.13523473802275277</c:v>
                </c:pt>
                <c:pt idx="51">
                  <c:v>0.1332080873143675</c:v>
                </c:pt>
                <c:pt idx="52">
                  <c:v>0.15420489296636086</c:v>
                </c:pt>
                <c:pt idx="53">
                  <c:v>0.13901018922852984</c:v>
                </c:pt>
                <c:pt idx="54">
                  <c:v>0.12896668548842463</c:v>
                </c:pt>
                <c:pt idx="55">
                  <c:v>0.13509353540137342</c:v>
                </c:pt>
                <c:pt idx="56">
                  <c:v>0.1511111111111111</c:v>
                </c:pt>
                <c:pt idx="57">
                  <c:v>0.13788172811765909</c:v>
                </c:pt>
                <c:pt idx="58">
                  <c:v>0.13929468688936447</c:v>
                </c:pt>
                <c:pt idx="59">
                  <c:v>0.14055045871559632</c:v>
                </c:pt>
                <c:pt idx="60">
                  <c:v>0.13874262513480937</c:v>
                </c:pt>
                <c:pt idx="61">
                  <c:v>0.13651385475807135</c:v>
                </c:pt>
                <c:pt idx="62">
                  <c:v>0.15360724110391338</c:v>
                </c:pt>
                <c:pt idx="63">
                  <c:v>0.17145026575550493</c:v>
                </c:pt>
                <c:pt idx="64">
                  <c:v>0.1735080058224163</c:v>
                </c:pt>
                <c:pt idx="65">
                  <c:v>0.17927461139896372</c:v>
                </c:pt>
                <c:pt idx="66">
                  <c:v>0.16198160680201285</c:v>
                </c:pt>
                <c:pt idx="67">
                  <c:v>0.16129898013955984</c:v>
                </c:pt>
                <c:pt idx="68">
                  <c:v>0.149209586945436</c:v>
                </c:pt>
                <c:pt idx="69">
                  <c:v>0.1345599340930935</c:v>
                </c:pt>
                <c:pt idx="70">
                  <c:v>0.12999611951882034</c:v>
                </c:pt>
                <c:pt idx="71">
                  <c:v>0.13277464973157</c:v>
                </c:pt>
                <c:pt idx="72">
                  <c:v>0.13692269076305222</c:v>
                </c:pt>
                <c:pt idx="73">
                  <c:v>0.13843606724401428</c:v>
                </c:pt>
                <c:pt idx="74">
                  <c:v>0.1334024090143764</c:v>
                </c:pt>
                <c:pt idx="75">
                  <c:v>0.12423124231242312</c:v>
                </c:pt>
                <c:pt idx="76">
                  <c:v>0.1265984654731458</c:v>
                </c:pt>
                <c:pt idx="77">
                  <c:v>0.12413903572000641</c:v>
                </c:pt>
                <c:pt idx="78">
                  <c:v>0.1281081081081081</c:v>
                </c:pt>
                <c:pt idx="79">
                  <c:v>0.12422018348623853</c:v>
                </c:pt>
                <c:pt idx="80">
                  <c:v>0.1149718028015281</c:v>
                </c:pt>
                <c:pt idx="81">
                  <c:v>0.11181403560394292</c:v>
                </c:pt>
                <c:pt idx="82">
                  <c:v>0.11991117690599556</c:v>
                </c:pt>
                <c:pt idx="83">
                  <c:v>0.11128921456377376</c:v>
                </c:pt>
                <c:pt idx="84">
                  <c:v>0.10470723306544202</c:v>
                </c:pt>
                <c:pt idx="85">
                  <c:v>0.09626110307787647</c:v>
                </c:pt>
                <c:pt idx="86">
                  <c:v>0.10553686142551238</c:v>
                </c:pt>
                <c:pt idx="87">
                  <c:v>0.13872750460535638</c:v>
                </c:pt>
                <c:pt idx="88">
                  <c:v>0.1283394447354636</c:v>
                </c:pt>
                <c:pt idx="89">
                  <c:v>0.1038374717832957</c:v>
                </c:pt>
                <c:pt idx="90">
                  <c:v>0.09375604098202203</c:v>
                </c:pt>
                <c:pt idx="91">
                  <c:v>0.11692364170337739</c:v>
                </c:pt>
                <c:pt idx="92">
                  <c:v>0.11284459254771281</c:v>
                </c:pt>
                <c:pt idx="93">
                  <c:v>0.0997663872474921</c:v>
                </c:pt>
                <c:pt idx="94">
                  <c:v>0.09807723380190661</c:v>
                </c:pt>
                <c:pt idx="95">
                  <c:v>0.11604618284637135</c:v>
                </c:pt>
                <c:pt idx="96">
                  <c:v>0.11735426438211927</c:v>
                </c:pt>
                <c:pt idx="97">
                  <c:v>0.11509605078736912</c:v>
                </c:pt>
                <c:pt idx="98">
                  <c:v>0.1338440413384404</c:v>
                </c:pt>
                <c:pt idx="99">
                  <c:v>0.12846264933700932</c:v>
                </c:pt>
                <c:pt idx="100">
                  <c:v>0.16684229012996135</c:v>
                </c:pt>
                <c:pt idx="101">
                  <c:v>0.12691529343740965</c:v>
                </c:pt>
                <c:pt idx="102">
                  <c:v>0.10615406684837182</c:v>
                </c:pt>
                <c:pt idx="103">
                  <c:v>0.12080640196983687</c:v>
                </c:pt>
                <c:pt idx="104">
                  <c:v>0.1377315785061614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64.1386</c:v>
                </c:pt>
                <c:pt idx="1">
                  <c:v>1484.823</c:v>
                </c:pt>
                <c:pt idx="2">
                  <c:v>1523.7021</c:v>
                </c:pt>
                <c:pt idx="3">
                  <c:v>1548.3225</c:v>
                </c:pt>
                <c:pt idx="4">
                  <c:v>1540.5525</c:v>
                </c:pt>
                <c:pt idx="5">
                  <c:v>1565.997</c:v>
                </c:pt>
                <c:pt idx="6">
                  <c:v>1489.9349</c:v>
                </c:pt>
                <c:pt idx="7">
                  <c:v>1424.1393</c:v>
                </c:pt>
                <c:pt idx="8">
                  <c:v>1528.7067</c:v>
                </c:pt>
                <c:pt idx="9">
                  <c:v>1367.4549</c:v>
                </c:pt>
                <c:pt idx="10">
                  <c:v>1375.1845</c:v>
                </c:pt>
                <c:pt idx="11">
                  <c:v>1519.5668</c:v>
                </c:pt>
                <c:pt idx="12">
                  <c:v>1506.1422</c:v>
                </c:pt>
                <c:pt idx="13">
                  <c:v>1404.5298</c:v>
                </c:pt>
                <c:pt idx="14">
                  <c:v>1518.3497</c:v>
                </c:pt>
                <c:pt idx="15">
                  <c:v>1427.008</c:v>
                </c:pt>
                <c:pt idx="16">
                  <c:v>1467.6968</c:v>
                </c:pt>
                <c:pt idx="17">
                  <c:v>1401.7245</c:v>
                </c:pt>
                <c:pt idx="18">
                  <c:v>1356.2709</c:v>
                </c:pt>
                <c:pt idx="19">
                  <c:v>1322.1065</c:v>
                </c:pt>
                <c:pt idx="20">
                  <c:v>1310.2031</c:v>
                </c:pt>
                <c:pt idx="21">
                  <c:v>1335.378</c:v>
                </c:pt>
                <c:pt idx="22">
                  <c:v>1360.2242</c:v>
                </c:pt>
                <c:pt idx="23">
                  <c:v>1177.1189</c:v>
                </c:pt>
                <c:pt idx="24">
                  <c:v>1153.3404</c:v>
                </c:pt>
                <c:pt idx="25">
                  <c:v>1160.1934</c:v>
                </c:pt>
                <c:pt idx="26">
                  <c:v>1195.3475</c:v>
                </c:pt>
                <c:pt idx="27">
                  <c:v>1353.4877</c:v>
                </c:pt>
                <c:pt idx="28">
                  <c:v>1483.9581</c:v>
                </c:pt>
                <c:pt idx="29">
                  <c:v>1483.4773</c:v>
                </c:pt>
                <c:pt idx="30">
                  <c:v>1526.8333</c:v>
                </c:pt>
                <c:pt idx="31">
                  <c:v>1504.0407</c:v>
                </c:pt>
                <c:pt idx="32">
                  <c:v>1520.2482</c:v>
                </c:pt>
                <c:pt idx="33">
                  <c:v>1547.463</c:v>
                </c:pt>
                <c:pt idx="34">
                  <c:v>1588.1573</c:v>
                </c:pt>
                <c:pt idx="35">
                  <c:v>1565.0665</c:v>
                </c:pt>
                <c:pt idx="36">
                  <c:v>1379.7953</c:v>
                </c:pt>
                <c:pt idx="37">
                  <c:v>1452.4555</c:v>
                </c:pt>
                <c:pt idx="38">
                  <c:v>1426.8873</c:v>
                </c:pt>
                <c:pt idx="39">
                  <c:v>1523.2745</c:v>
                </c:pt>
                <c:pt idx="40">
                  <c:v>1556.646</c:v>
                </c:pt>
                <c:pt idx="41">
                  <c:v>1579.3025</c:v>
                </c:pt>
                <c:pt idx="42">
                  <c:v>1585.2117</c:v>
                </c:pt>
                <c:pt idx="43">
                  <c:v>1543.5117</c:v>
                </c:pt>
                <c:pt idx="44">
                  <c:v>1492.4405</c:v>
                </c:pt>
                <c:pt idx="45">
                  <c:v>1446.6449</c:v>
                </c:pt>
                <c:pt idx="46">
                  <c:v>1422.8</c:v>
                </c:pt>
                <c:pt idx="47">
                  <c:v>1450.4487</c:v>
                </c:pt>
                <c:pt idx="48">
                  <c:v>1376.7436</c:v>
                </c:pt>
                <c:pt idx="49">
                  <c:v>1305.0429</c:v>
                </c:pt>
                <c:pt idx="50">
                  <c:v>1233.4253</c:v>
                </c:pt>
                <c:pt idx="51">
                  <c:v>1292.8735</c:v>
                </c:pt>
              </c:numCache>
            </c:numRef>
          </c:xVal>
          <c:yVal>
            <c:numRef>
              <c:f>Sheet1!$B$109:$B$160</c:f>
              <c:numCache>
                <c:formatCode>General</c:formatCode>
                <c:ptCount val="52"/>
                <c:pt idx="0">
                  <c:v>0.14336483321217997</c:v>
                </c:pt>
                <c:pt idx="1">
                  <c:v>0.12556862071925157</c:v>
                </c:pt>
                <c:pt idx="2">
                  <c:v>0.12529719448407037</c:v>
                </c:pt>
                <c:pt idx="3">
                  <c:v>0.12469530773918343</c:v>
                </c:pt>
                <c:pt idx="4">
                  <c:v>0.11146315703956454</c:v>
                </c:pt>
                <c:pt idx="5">
                  <c:v>0.10427997162449752</c:v>
                </c:pt>
                <c:pt idx="6">
                  <c:v>0.1140157202154906</c:v>
                </c:pt>
                <c:pt idx="7">
                  <c:v>0.11868263473053892</c:v>
                </c:pt>
                <c:pt idx="8">
                  <c:v>0.11646000486263068</c:v>
                </c:pt>
                <c:pt idx="9">
                  <c:v>0.13877505814597407</c:v>
                </c:pt>
                <c:pt idx="10">
                  <c:v>0.13127373498922304</c:v>
                </c:pt>
                <c:pt idx="11">
                  <c:v>0.1301484148590498</c:v>
                </c:pt>
                <c:pt idx="12">
                  <c:v>0.1295238095238095</c:v>
                </c:pt>
                <c:pt idx="13">
                  <c:v>0.1356489295549436</c:v>
                </c:pt>
                <c:pt idx="14">
                  <c:v>0.12824051256776736</c:v>
                </c:pt>
                <c:pt idx="15">
                  <c:v>0.12660419637400694</c:v>
                </c:pt>
                <c:pt idx="16">
                  <c:v>0.12258501864196136</c:v>
                </c:pt>
                <c:pt idx="17">
                  <c:v>0.11914942794406565</c:v>
                </c:pt>
                <c:pt idx="18">
                  <c:v>0.1174842380439797</c:v>
                </c:pt>
                <c:pt idx="19">
                  <c:v>0.12796027501909854</c:v>
                </c:pt>
                <c:pt idx="20">
                  <c:v>0.11959573273441887</c:v>
                </c:pt>
                <c:pt idx="21">
                  <c:v>0.11869860564890955</c:v>
                </c:pt>
                <c:pt idx="22">
                  <c:v>0.12056226347089566</c:v>
                </c:pt>
                <c:pt idx="23">
                  <c:v>0.14345403899721448</c:v>
                </c:pt>
                <c:pt idx="24">
                  <c:v>0.15373328985979784</c:v>
                </c:pt>
                <c:pt idx="25">
                  <c:v>0.16974358974358975</c:v>
                </c:pt>
                <c:pt idx="26">
                  <c:v>0.15250470165840316</c:v>
                </c:pt>
                <c:pt idx="27">
                  <c:v>0.11452776906181361</c:v>
                </c:pt>
                <c:pt idx="28">
                  <c:v>0.09462517680339462</c:v>
                </c:pt>
                <c:pt idx="29">
                  <c:v>0.08973487423521415</c:v>
                </c:pt>
                <c:pt idx="30">
                  <c:v>0.100355871886121</c:v>
                </c:pt>
                <c:pt idx="31">
                  <c:v>0.08408770871052103</c:v>
                </c:pt>
                <c:pt idx="32">
                  <c:v>0.07454643434524878</c:v>
                </c:pt>
                <c:pt idx="33">
                  <c:v>0.09710483725948571</c:v>
                </c:pt>
                <c:pt idx="34">
                  <c:v>0.12246913580246914</c:v>
                </c:pt>
                <c:pt idx="35">
                  <c:v>0.1352124183006536</c:v>
                </c:pt>
                <c:pt idx="36">
                  <c:v>0.1067675493905002</c:v>
                </c:pt>
                <c:pt idx="37">
                  <c:v>0.10979885587746817</c:v>
                </c:pt>
                <c:pt idx="38">
                  <c:v>0.10317625077849284</c:v>
                </c:pt>
                <c:pt idx="39">
                  <c:v>0.11921954217237671</c:v>
                </c:pt>
                <c:pt idx="40">
                  <c:v>0.10393300433677284</c:v>
                </c:pt>
                <c:pt idx="41">
                  <c:v>0.10541913632514818</c:v>
                </c:pt>
                <c:pt idx="42">
                  <c:v>0.10004638936137313</c:v>
                </c:pt>
                <c:pt idx="43">
                  <c:v>0.11023710529272952</c:v>
                </c:pt>
                <c:pt idx="44">
                  <c:v>0.10979367005881804</c:v>
                </c:pt>
                <c:pt idx="45">
                  <c:v>0.13148866348448687</c:v>
                </c:pt>
                <c:pt idx="46">
                  <c:v>0.118609783008459</c:v>
                </c:pt>
                <c:pt idx="47">
                  <c:v>0.12370311252992817</c:v>
                </c:pt>
                <c:pt idx="48">
                  <c:v>0.11707317073170732</c:v>
                </c:pt>
                <c:pt idx="49">
                  <c:v>0.12843571880937302</c:v>
                </c:pt>
                <c:pt idx="50">
                  <c:v>0.17207911871903026</c:v>
                </c:pt>
                <c:pt idx="51">
                  <c:v>0.141805527671819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91.9933293541437</c:v>
                </c:pt>
              </c:numCache>
            </c:numRef>
          </c:xVal>
          <c:yVal>
            <c:numRef>
              <c:f>Sheet1!$B$163:$B$164</c:f>
              <c:numCache>
                <c:formatCode>General</c:formatCode>
                <c:ptCount val="2"/>
                <c:pt idx="0">
                  <c:v>0.20043234483048536</c:v>
                </c:pt>
                <c:pt idx="1">
                  <c:v>0.2004323448304853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91.9933293541437</c:v>
                </c:pt>
                <c:pt idx="1">
                  <c:v>691.9933293541437</c:v>
                </c:pt>
              </c:numCache>
            </c:numRef>
          </c:xVal>
          <c:yVal>
            <c:numRef>
              <c:f>Sheet1!$B$167:$B$168</c:f>
              <c:numCache>
                <c:formatCode>General</c:formatCode>
                <c:ptCount val="2"/>
                <c:pt idx="0">
                  <c:v>0.200432344830485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56.8098863513553</c:v>
                </c:pt>
              </c:numCache>
            </c:numRef>
          </c:xVal>
          <c:yVal>
            <c:numRef>
              <c:f>Sheet1!$B$171:$B$172</c:f>
              <c:numCache>
                <c:formatCode>General</c:formatCode>
                <c:ptCount val="2"/>
                <c:pt idx="0">
                  <c:v>0.13984838398298255</c:v>
                </c:pt>
                <c:pt idx="1">
                  <c:v>0.1398483839829825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56.8098863513553</c:v>
                </c:pt>
                <c:pt idx="1">
                  <c:v>1256.8098863513553</c:v>
                </c:pt>
              </c:numCache>
            </c:numRef>
          </c:xVal>
          <c:yVal>
            <c:numRef>
              <c:f>Sheet1!$B$175:$B$176</c:f>
              <c:numCache>
                <c:formatCode>General</c:formatCode>
                <c:ptCount val="2"/>
                <c:pt idx="0">
                  <c:v>0.1398483839829825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26.188590753509</c:v>
                </c:pt>
              </c:numCache>
            </c:numRef>
          </c:xVal>
          <c:yVal>
            <c:numRef>
              <c:f>Sheet1!$B$179:$B$180</c:f>
              <c:numCache>
                <c:formatCode>General</c:formatCode>
                <c:ptCount val="2"/>
                <c:pt idx="0">
                  <c:v>0.12168030326938636</c:v>
                </c:pt>
                <c:pt idx="1">
                  <c:v>0.1216803032693863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26.188590753509</c:v>
                </c:pt>
                <c:pt idx="1">
                  <c:v>1426.188590753509</c:v>
                </c:pt>
              </c:numCache>
            </c:numRef>
          </c:xVal>
          <c:yVal>
            <c:numRef>
              <c:f>Sheet1!$B$183:$B$184</c:f>
              <c:numCache>
                <c:formatCode>General</c:formatCode>
                <c:ptCount val="2"/>
                <c:pt idx="0">
                  <c:v>0.121680303269386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64.1386</c:v>
                </c:pt>
                <c:pt idx="1">
                  <c:v>1484.823</c:v>
                </c:pt>
                <c:pt idx="2">
                  <c:v>1523.7021</c:v>
                </c:pt>
                <c:pt idx="3">
                  <c:v>1548.3225</c:v>
                </c:pt>
                <c:pt idx="4">
                  <c:v>1540.5525</c:v>
                </c:pt>
                <c:pt idx="5">
                  <c:v>1565.997</c:v>
                </c:pt>
                <c:pt idx="6">
                  <c:v>1489.9349</c:v>
                </c:pt>
                <c:pt idx="7">
                  <c:v>1424.1393</c:v>
                </c:pt>
                <c:pt idx="8">
                  <c:v>1528.7067</c:v>
                </c:pt>
                <c:pt idx="9">
                  <c:v>1367.4549</c:v>
                </c:pt>
                <c:pt idx="10">
                  <c:v>1375.1845</c:v>
                </c:pt>
                <c:pt idx="11">
                  <c:v>1519.5668</c:v>
                </c:pt>
                <c:pt idx="12">
                  <c:v>1506.1422</c:v>
                </c:pt>
                <c:pt idx="13">
                  <c:v>1404.5298</c:v>
                </c:pt>
                <c:pt idx="14">
                  <c:v>1518.3497</c:v>
                </c:pt>
                <c:pt idx="15">
                  <c:v>1427.008</c:v>
                </c:pt>
                <c:pt idx="16">
                  <c:v>1467.6968</c:v>
                </c:pt>
                <c:pt idx="17">
                  <c:v>1401.7245</c:v>
                </c:pt>
                <c:pt idx="18">
                  <c:v>1356.2709</c:v>
                </c:pt>
                <c:pt idx="19">
                  <c:v>1322.1065</c:v>
                </c:pt>
                <c:pt idx="20">
                  <c:v>1310.2031</c:v>
                </c:pt>
                <c:pt idx="21">
                  <c:v>1335.378</c:v>
                </c:pt>
                <c:pt idx="22">
                  <c:v>1360.2242</c:v>
                </c:pt>
                <c:pt idx="23">
                  <c:v>1177.1189</c:v>
                </c:pt>
                <c:pt idx="24">
                  <c:v>1153.3404</c:v>
                </c:pt>
                <c:pt idx="25">
                  <c:v>1160.1934</c:v>
                </c:pt>
                <c:pt idx="26">
                  <c:v>1195.3475</c:v>
                </c:pt>
                <c:pt idx="27">
                  <c:v>1353.4877</c:v>
                </c:pt>
                <c:pt idx="28">
                  <c:v>1483.9581</c:v>
                </c:pt>
                <c:pt idx="29">
                  <c:v>1483.4773</c:v>
                </c:pt>
                <c:pt idx="30">
                  <c:v>1526.8333</c:v>
                </c:pt>
                <c:pt idx="31">
                  <c:v>1504.0407</c:v>
                </c:pt>
                <c:pt idx="32">
                  <c:v>1520.2482</c:v>
                </c:pt>
                <c:pt idx="33">
                  <c:v>1547.463</c:v>
                </c:pt>
                <c:pt idx="34">
                  <c:v>1588.1573</c:v>
                </c:pt>
                <c:pt idx="35">
                  <c:v>1565.0665</c:v>
                </c:pt>
                <c:pt idx="36">
                  <c:v>1379.7953</c:v>
                </c:pt>
                <c:pt idx="37">
                  <c:v>1452.4555</c:v>
                </c:pt>
                <c:pt idx="38">
                  <c:v>1426.8873</c:v>
                </c:pt>
                <c:pt idx="39">
                  <c:v>1523.2745</c:v>
                </c:pt>
                <c:pt idx="40">
                  <c:v>1556.646</c:v>
                </c:pt>
                <c:pt idx="41">
                  <c:v>1579.3025</c:v>
                </c:pt>
                <c:pt idx="42">
                  <c:v>1585.2117</c:v>
                </c:pt>
                <c:pt idx="43">
                  <c:v>1543.5117</c:v>
                </c:pt>
                <c:pt idx="44">
                  <c:v>1492.4405</c:v>
                </c:pt>
                <c:pt idx="45">
                  <c:v>1446.6449</c:v>
                </c:pt>
                <c:pt idx="46">
                  <c:v>1422.8</c:v>
                </c:pt>
                <c:pt idx="47">
                  <c:v>1450.4487</c:v>
                </c:pt>
                <c:pt idx="48">
                  <c:v>1376.7436</c:v>
                </c:pt>
                <c:pt idx="49">
                  <c:v>1305.0429</c:v>
                </c:pt>
                <c:pt idx="50">
                  <c:v>1233.4253</c:v>
                </c:pt>
                <c:pt idx="51">
                  <c:v>1292.8735</c:v>
                </c:pt>
                <c:pt idx="52">
                  <c:v>1256.8098863513553</c:v>
                </c:pt>
                <c:pt idx="53">
                  <c:v>691.9933293541437</c:v>
                </c:pt>
                <c:pt idx="54">
                  <c:v>1426.188590753509</c:v>
                </c:pt>
              </c:numCache>
            </c:numRef>
          </c:xVal>
          <c:yVal>
            <c:numRef>
              <c:f>Sheet1!$B$187:$B$241</c:f>
              <c:numCache>
                <c:formatCode>General</c:formatCode>
                <c:ptCount val="55"/>
                <c:pt idx="0">
                  <c:v>0.11760966857238841</c:v>
                </c:pt>
                <c:pt idx="1">
                  <c:v>0.11539099621898521</c:v>
                </c:pt>
                <c:pt idx="2">
                  <c:v>0.11122070439059292</c:v>
                </c:pt>
                <c:pt idx="3">
                  <c:v>0.10857984457306244</c:v>
                </c:pt>
                <c:pt idx="4">
                  <c:v>0.10941327866764303</c:v>
                </c:pt>
                <c:pt idx="5">
                  <c:v>0.10668402334981086</c:v>
                </c:pt>
                <c:pt idx="6">
                  <c:v>0.11484267810468837</c:v>
                </c:pt>
                <c:pt idx="7">
                  <c:v>0.12190011649765961</c:v>
                </c:pt>
                <c:pt idx="8">
                  <c:v>0.11068389560426886</c:v>
                </c:pt>
                <c:pt idx="9">
                  <c:v>0.1279802595595443</c:v>
                </c:pt>
                <c:pt idx="10">
                  <c:v>0.12715115889320322</c:v>
                </c:pt>
                <c:pt idx="11">
                  <c:v>0.11166426938561469</c:v>
                </c:pt>
                <c:pt idx="12">
                  <c:v>0.11310423326542249</c:v>
                </c:pt>
                <c:pt idx="13">
                  <c:v>0.12400349177149206</c:v>
                </c:pt>
                <c:pt idx="14">
                  <c:v>0.11179481927448393</c:v>
                </c:pt>
                <c:pt idx="15">
                  <c:v>0.12159241091373127</c:v>
                </c:pt>
                <c:pt idx="16">
                  <c:v>0.11722800509808512</c:v>
                </c:pt>
                <c:pt idx="17">
                  <c:v>0.12430439687645048</c:v>
                </c:pt>
                <c:pt idx="18">
                  <c:v>0.12917988979297923</c:v>
                </c:pt>
                <c:pt idx="19">
                  <c:v>0.13284446840055825</c:v>
                </c:pt>
                <c:pt idx="20">
                  <c:v>0.13412126369031768</c:v>
                </c:pt>
                <c:pt idx="21">
                  <c:v>0.13142092649756903</c:v>
                </c:pt>
                <c:pt idx="22">
                  <c:v>0.12875584667765033</c:v>
                </c:pt>
                <c:pt idx="23">
                  <c:v>0.1483962842475869</c:v>
                </c:pt>
                <c:pt idx="24">
                  <c:v>0.15094683928207656</c:v>
                </c:pt>
                <c:pt idx="25">
                  <c:v>0.150211765427487</c:v>
                </c:pt>
                <c:pt idx="26">
                  <c:v>0.1464410285543473</c:v>
                </c:pt>
                <c:pt idx="27">
                  <c:v>0.12947842438397494</c:v>
                </c:pt>
                <c:pt idx="28">
                  <c:v>0.11548376805275648</c:v>
                </c:pt>
                <c:pt idx="29">
                  <c:v>0.11553534013932976</c:v>
                </c:pt>
                <c:pt idx="30">
                  <c:v>0.11088484224941522</c:v>
                </c:pt>
                <c:pt idx="31">
                  <c:v>0.1133296466180301</c:v>
                </c:pt>
                <c:pt idx="32">
                  <c:v>0.11159118032614915</c:v>
                </c:pt>
                <c:pt idx="33">
                  <c:v>0.10867203718622742</c:v>
                </c:pt>
                <c:pt idx="34">
                  <c:v>0.10430704142366745</c:v>
                </c:pt>
                <c:pt idx="35">
                  <c:v>0.1067838316413176</c:v>
                </c:pt>
                <c:pt idx="36">
                  <c:v>0.12665659030590695</c:v>
                </c:pt>
                <c:pt idx="37">
                  <c:v>0.11886283380667342</c:v>
                </c:pt>
                <c:pt idx="38">
                  <c:v>0.12160535756691221</c:v>
                </c:pt>
                <c:pt idx="39">
                  <c:v>0.11126657008156365</c:v>
                </c:pt>
                <c:pt idx="40">
                  <c:v>0.10768704036633894</c:v>
                </c:pt>
                <c:pt idx="41">
                  <c:v>0.10525683450226364</c:v>
                </c:pt>
                <c:pt idx="42">
                  <c:v>0.10462299553808144</c:v>
                </c:pt>
                <c:pt idx="43">
                  <c:v>0.10909586577540584</c:v>
                </c:pt>
                <c:pt idx="44">
                  <c:v>0.11457391974337808</c:v>
                </c:pt>
                <c:pt idx="45">
                  <c:v>0.11948609663163737</c:v>
                </c:pt>
                <c:pt idx="46">
                  <c:v>0.12204377393432267</c:v>
                </c:pt>
                <c:pt idx="47">
                  <c:v>0.11907808934605621</c:v>
                </c:pt>
                <c:pt idx="48">
                  <c:v>0.12698392503260342</c:v>
                </c:pt>
                <c:pt idx="49">
                  <c:v>0.1346747626111484</c:v>
                </c:pt>
                <c:pt idx="50">
                  <c:v>0.14235668662814127</c:v>
                </c:pt>
                <c:pt idx="51">
                  <c:v>0.13598008987892046</c:v>
                </c:pt>
                <c:pt idx="52">
                  <c:v>0.13984838398298255</c:v>
                </c:pt>
                <c:pt idx="53">
                  <c:v>0.20043234483048536</c:v>
                </c:pt>
                <c:pt idx="54">
                  <c:v>0.121680303269386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06.0"/>
          <c:min val="55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60087479496993"/>
          <c:min val="0.05963714747619902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1717361624422021</c:v>
                </c:pt>
                <c:pt idx="1">
                  <c:v>0.12380706906717649</c:v>
                </c:pt>
                <c:pt idx="2">
                  <c:v>0.12017202006373132</c:v>
                </c:pt>
                <c:pt idx="3">
                  <c:v>0.12343928247182542</c:v>
                </c:pt>
                <c:pt idx="4">
                  <c:v>0.12364606174996964</c:v>
                </c:pt>
                <c:pt idx="5">
                  <c:v>0.12737275100069537</c:v>
                </c:pt>
                <c:pt idx="6">
                  <c:v>0.1352136284395026</c:v>
                </c:pt>
                <c:pt idx="7">
                  <c:v>0.13292099076273747</c:v>
                </c:pt>
                <c:pt idx="8">
                  <c:v>0.12779675247803832</c:v>
                </c:pt>
                <c:pt idx="9">
                  <c:v>0.12408641817514202</c:v>
                </c:pt>
                <c:pt idx="10">
                  <c:v>0.10803793765585248</c:v>
                </c:pt>
                <c:pt idx="11">
                  <c:v>0.1051807369624815</c:v>
                </c:pt>
                <c:pt idx="12">
                  <c:v>0.10137233261419386</c:v>
                </c:pt>
                <c:pt idx="13">
                  <c:v>0.10149668932535046</c:v>
                </c:pt>
                <c:pt idx="14">
                  <c:v>0.11513877085084447</c:v>
                </c:pt>
                <c:pt idx="15">
                  <c:v>0.10847387240212582</c:v>
                </c:pt>
                <c:pt idx="16">
                  <c:v>0.10975193851549625</c:v>
                </c:pt>
                <c:pt idx="17">
                  <c:v>0.10767127585422837</c:v>
                </c:pt>
                <c:pt idx="18">
                  <c:v>0.10871695078591906</c:v>
                </c:pt>
                <c:pt idx="19">
                  <c:v>0.11466215134847146</c:v>
                </c:pt>
                <c:pt idx="20">
                  <c:v>0.11679744878345438</c:v>
                </c:pt>
                <c:pt idx="21">
                  <c:v>0.11120396921354612</c:v>
                </c:pt>
                <c:pt idx="22">
                  <c:v>0.1084803678112265</c:v>
                </c:pt>
                <c:pt idx="23">
                  <c:v>0.11227784005213048</c:v>
                </c:pt>
                <c:pt idx="24">
                  <c:v>0.10773721296788859</c:v>
                </c:pt>
                <c:pt idx="25">
                  <c:v>0.11001765044130092</c:v>
                </c:pt>
                <c:pt idx="26">
                  <c:v>0.11940160638048403</c:v>
                </c:pt>
                <c:pt idx="27">
                  <c:v>0.11791931189687145</c:v>
                </c:pt>
                <c:pt idx="28">
                  <c:v>0.1184476889220301</c:v>
                </c:pt>
                <c:pt idx="29">
                  <c:v>0.12126321591537807</c:v>
                </c:pt>
                <c:pt idx="30">
                  <c:v>0.11538305410639456</c:v>
                </c:pt>
                <c:pt idx="31">
                  <c:v>0.11464114241520171</c:v>
                </c:pt>
                <c:pt idx="32">
                  <c:v>0.1129361502491144</c:v>
                </c:pt>
                <c:pt idx="33">
                  <c:v>0.11970599725018395</c:v>
                </c:pt>
                <c:pt idx="34">
                  <c:v>0.11477571869435822</c:v>
                </c:pt>
                <c:pt idx="35">
                  <c:v>0.1237537081830089</c:v>
                </c:pt>
                <c:pt idx="36">
                  <c:v>0.12081237972453944</c:v>
                </c:pt>
                <c:pt idx="37">
                  <c:v>0.12355608996084198</c:v>
                </c:pt>
                <c:pt idx="38">
                  <c:v>0.12749753594920277</c:v>
                </c:pt>
                <c:pt idx="39">
                  <c:v>0.1333493984897655</c:v>
                </c:pt>
                <c:pt idx="40">
                  <c:v>0.14157914642447395</c:v>
                </c:pt>
                <c:pt idx="41">
                  <c:v>0.14215909219220169</c:v>
                </c:pt>
                <c:pt idx="42">
                  <c:v>0.13873814390832917</c:v>
                </c:pt>
                <c:pt idx="43">
                  <c:v>0.14126483219974031</c:v>
                </c:pt>
                <c:pt idx="44">
                  <c:v>0.14079193982325092</c:v>
                </c:pt>
                <c:pt idx="45">
                  <c:v>0.14569092845780862</c:v>
                </c:pt>
                <c:pt idx="46">
                  <c:v>0.1406521914607521</c:v>
                </c:pt>
                <c:pt idx="47">
                  <c:v>0.13617670754193054</c:v>
                </c:pt>
                <c:pt idx="48">
                  <c:v>0.1306544710056994</c:v>
                </c:pt>
                <c:pt idx="49">
                  <c:v>0.1401083608499424</c:v>
                </c:pt>
                <c:pt idx="50">
                  <c:v>0.12985669305959946</c:v>
                </c:pt>
                <c:pt idx="51">
                  <c:v>0.12615225935728747</c:v>
                </c:pt>
                <c:pt idx="52">
                  <c:v>0.12451621608942634</c:v>
                </c:pt>
                <c:pt idx="53">
                  <c:v>0.14610403258361734</c:v>
                </c:pt>
                <c:pt idx="54">
                  <c:v>0.14609993186356537</c:v>
                </c:pt>
                <c:pt idx="55">
                  <c:v>0.14414030588917565</c:v>
                </c:pt>
                <c:pt idx="56">
                  <c:v>0.14275483467602873</c:v>
                </c:pt>
                <c:pt idx="57">
                  <c:v>0.14401305948488513</c:v>
                </c:pt>
                <c:pt idx="58">
                  <c:v>0.1448687749290698</c:v>
                </c:pt>
                <c:pt idx="59">
                  <c:v>0.14641652792747184</c:v>
                </c:pt>
                <c:pt idx="60">
                  <c:v>0.14512216179415158</c:v>
                </c:pt>
                <c:pt idx="61">
                  <c:v>0.13709590592779064</c:v>
                </c:pt>
                <c:pt idx="62">
                  <c:v>0.12658563622001537</c:v>
                </c:pt>
                <c:pt idx="63">
                  <c:v>0.1257392398392849</c:v>
                </c:pt>
                <c:pt idx="64">
                  <c:v>0.12770276492480412</c:v>
                </c:pt>
                <c:pt idx="65">
                  <c:v>0.12681930622018517</c:v>
                </c:pt>
                <c:pt idx="66">
                  <c:v>0.142070822538576</c:v>
                </c:pt>
                <c:pt idx="67">
                  <c:v>0.14116881868442122</c:v>
                </c:pt>
                <c:pt idx="68">
                  <c:v>0.1376024936700332</c:v>
                </c:pt>
                <c:pt idx="69">
                  <c:v>0.1385488230746177</c:v>
                </c:pt>
                <c:pt idx="70">
                  <c:v>0.14062373471294767</c:v>
                </c:pt>
                <c:pt idx="71">
                  <c:v>0.1356905218035091</c:v>
                </c:pt>
                <c:pt idx="72">
                  <c:v>0.13765979918578658</c:v>
                </c:pt>
                <c:pt idx="73">
                  <c:v>0.13533894087933226</c:v>
                </c:pt>
                <c:pt idx="74">
                  <c:v>0.1320497337817953</c:v>
                </c:pt>
                <c:pt idx="75">
                  <c:v>0.12833556815690333</c:v>
                </c:pt>
                <c:pt idx="76">
                  <c:v>0.12186965260401225</c:v>
                </c:pt>
                <c:pt idx="77">
                  <c:v>0.12259162792352324</c:v>
                </c:pt>
                <c:pt idx="78">
                  <c:v>0.12288286411983217</c:v>
                </c:pt>
                <c:pt idx="79">
                  <c:v>0.12663802251079276</c:v>
                </c:pt>
                <c:pt idx="80">
                  <c:v>0.12747090966456362</c:v>
                </c:pt>
                <c:pt idx="81">
                  <c:v>0.13343374386529672</c:v>
                </c:pt>
                <c:pt idx="82">
                  <c:v>0.12925011032962477</c:v>
                </c:pt>
                <c:pt idx="83">
                  <c:v>0.12787796021647838</c:v>
                </c:pt>
                <c:pt idx="84">
                  <c:v>0.13189560463348574</c:v>
                </c:pt>
                <c:pt idx="85">
                  <c:v>0.12723406811493165</c:v>
                </c:pt>
                <c:pt idx="86">
                  <c:v>0.12736777149018252</c:v>
                </c:pt>
                <c:pt idx="87">
                  <c:v>0.1282602473908919</c:v>
                </c:pt>
                <c:pt idx="88">
                  <c:v>0.1293638650770732</c:v>
                </c:pt>
                <c:pt idx="89">
                  <c:v>0.13015071712991977</c:v>
                </c:pt>
                <c:pt idx="90">
                  <c:v>0.1286385802887353</c:v>
                </c:pt>
                <c:pt idx="91">
                  <c:v>0.13268347105449332</c:v>
                </c:pt>
                <c:pt idx="92">
                  <c:v>0.13073521453498665</c:v>
                </c:pt>
                <c:pt idx="93">
                  <c:v>0.13182622651787534</c:v>
                </c:pt>
                <c:pt idx="94">
                  <c:v>0.13053311366628406</c:v>
                </c:pt>
                <c:pt idx="95">
                  <c:v>0.12952052250849447</c:v>
                </c:pt>
                <c:pt idx="96">
                  <c:v>0.12241560479211029</c:v>
                </c:pt>
                <c:pt idx="97">
                  <c:v>0.12568135056361604</c:v>
                </c:pt>
                <c:pt idx="98">
                  <c:v>0.12301507843029616</c:v>
                </c:pt>
                <c:pt idx="99">
                  <c:v>0.12496001859448198</c:v>
                </c:pt>
                <c:pt idx="100">
                  <c:v>0.11846212797195248</c:v>
                </c:pt>
                <c:pt idx="101">
                  <c:v>0.13394846830069906</c:v>
                </c:pt>
                <c:pt idx="102">
                  <c:v>0.1358826207947424</c:v>
                </c:pt>
                <c:pt idx="103">
                  <c:v>0.12369079382030505</c:v>
                </c:pt>
                <c:pt idx="104">
                  <c:v>0.12172399713701107</c:v>
                </c:pt>
              </c:numCache>
            </c:numRef>
          </c:xVal>
          <c:yVal>
            <c:numRef>
              <c:f>Sheet1!$B$2:$B$106</c:f>
              <c:numCache>
                <c:formatCode>General</c:formatCode>
                <c:ptCount val="105"/>
                <c:pt idx="0">
                  <c:v>0.22448371723590152</c:v>
                </c:pt>
                <c:pt idx="1">
                  <c:v>0.24133406232914162</c:v>
                </c:pt>
                <c:pt idx="2">
                  <c:v>0.23332979963956324</c:v>
                </c:pt>
                <c:pt idx="3">
                  <c:v>0.23139421514462138</c:v>
                </c:pt>
                <c:pt idx="4">
                  <c:v>0.19582013932868905</c:v>
                </c:pt>
                <c:pt idx="5">
                  <c:v>0.17259762761562042</c:v>
                </c:pt>
                <c:pt idx="6">
                  <c:v>0.16975070675918788</c:v>
                </c:pt>
                <c:pt idx="7">
                  <c:v>0.15738773197336733</c:v>
                </c:pt>
                <c:pt idx="8">
                  <c:v>0.17779310344827587</c:v>
                </c:pt>
                <c:pt idx="9">
                  <c:v>0.17002608489447474</c:v>
                </c:pt>
                <c:pt idx="10">
                  <c:v>0.1884892086330935</c:v>
                </c:pt>
                <c:pt idx="11">
                  <c:v>0.19222038794882376</c:v>
                </c:pt>
                <c:pt idx="12">
                  <c:v>0.20531622364802934</c:v>
                </c:pt>
                <c:pt idx="13">
                  <c:v>0.20160450093769536</c:v>
                </c:pt>
                <c:pt idx="14">
                  <c:v>0.2092632051138275</c:v>
                </c:pt>
                <c:pt idx="15">
                  <c:v>0.20393467918220393</c:v>
                </c:pt>
                <c:pt idx="16">
                  <c:v>0.18072637823759224</c:v>
                </c:pt>
                <c:pt idx="17">
                  <c:v>0.1883616543764027</c:v>
                </c:pt>
                <c:pt idx="18">
                  <c:v>0.17104289940828402</c:v>
                </c:pt>
                <c:pt idx="19">
                  <c:v>0.15219611848825332</c:v>
                </c:pt>
                <c:pt idx="20">
                  <c:v>0.17140454163162322</c:v>
                </c:pt>
                <c:pt idx="21">
                  <c:v>0.15215292527514965</c:v>
                </c:pt>
                <c:pt idx="22">
                  <c:v>0.14718339686573487</c:v>
                </c:pt>
                <c:pt idx="23">
                  <c:v>0.1319324090121317</c:v>
                </c:pt>
                <c:pt idx="24">
                  <c:v>0.13997555012224938</c:v>
                </c:pt>
                <c:pt idx="25">
                  <c:v>0.13502398903358465</c:v>
                </c:pt>
                <c:pt idx="26">
                  <c:v>0.13708920187793427</c:v>
                </c:pt>
                <c:pt idx="27">
                  <c:v>0.14551024315527475</c:v>
                </c:pt>
                <c:pt idx="28">
                  <c:v>0.13824264564506825</c:v>
                </c:pt>
                <c:pt idx="29">
                  <c:v>0.12891566265060242</c:v>
                </c:pt>
                <c:pt idx="30">
                  <c:v>0.1285806590566444</c:v>
                </c:pt>
                <c:pt idx="31">
                  <c:v>0.11854561101549053</c:v>
                </c:pt>
                <c:pt idx="32">
                  <c:v>0.12651531849239586</c:v>
                </c:pt>
                <c:pt idx="33">
                  <c:v>0.12749762131303521</c:v>
                </c:pt>
                <c:pt idx="34">
                  <c:v>0.13592741231896702</c:v>
                </c:pt>
                <c:pt idx="35">
                  <c:v>0.16326530612244897</c:v>
                </c:pt>
                <c:pt idx="36">
                  <c:v>0.1483993061031383</c:v>
                </c:pt>
                <c:pt idx="37">
                  <c:v>0.13065134099616857</c:v>
                </c:pt>
                <c:pt idx="38">
                  <c:v>0.12106135986733002</c:v>
                </c:pt>
                <c:pt idx="39">
                  <c:v>0.11412268188302425</c:v>
                </c:pt>
                <c:pt idx="40">
                  <c:v>0.12351464435146443</c:v>
                </c:pt>
                <c:pt idx="41">
                  <c:v>0.11146025878003697</c:v>
                </c:pt>
                <c:pt idx="42">
                  <c:v>0.1186148542776559</c:v>
                </c:pt>
                <c:pt idx="43">
                  <c:v>0.12918266593527153</c:v>
                </c:pt>
                <c:pt idx="44">
                  <c:v>0.12321068815608101</c:v>
                </c:pt>
                <c:pt idx="45">
                  <c:v>0.12288388767177853</c:v>
                </c:pt>
                <c:pt idx="46">
                  <c:v>0.12596350863498879</c:v>
                </c:pt>
                <c:pt idx="47">
                  <c:v>0.12216108054027014</c:v>
                </c:pt>
                <c:pt idx="48">
                  <c:v>0.14051724137931035</c:v>
                </c:pt>
                <c:pt idx="49">
                  <c:v>0.15955766192733017</c:v>
                </c:pt>
                <c:pt idx="50">
                  <c:v>0.13523473802275277</c:v>
                </c:pt>
                <c:pt idx="51">
                  <c:v>0.1332080873143675</c:v>
                </c:pt>
                <c:pt idx="52">
                  <c:v>0.15420489296636086</c:v>
                </c:pt>
                <c:pt idx="53">
                  <c:v>0.13901018922852984</c:v>
                </c:pt>
                <c:pt idx="54">
                  <c:v>0.12896668548842463</c:v>
                </c:pt>
                <c:pt idx="55">
                  <c:v>0.13509353540137342</c:v>
                </c:pt>
                <c:pt idx="56">
                  <c:v>0.1511111111111111</c:v>
                </c:pt>
                <c:pt idx="57">
                  <c:v>0.13788172811765909</c:v>
                </c:pt>
                <c:pt idx="58">
                  <c:v>0.13929468688936447</c:v>
                </c:pt>
                <c:pt idx="59">
                  <c:v>0.14055045871559632</c:v>
                </c:pt>
                <c:pt idx="60">
                  <c:v>0.13874262513480937</c:v>
                </c:pt>
                <c:pt idx="61">
                  <c:v>0.13651385475807135</c:v>
                </c:pt>
                <c:pt idx="62">
                  <c:v>0.15360724110391338</c:v>
                </c:pt>
                <c:pt idx="63">
                  <c:v>0.17145026575550493</c:v>
                </c:pt>
                <c:pt idx="64">
                  <c:v>0.1735080058224163</c:v>
                </c:pt>
                <c:pt idx="65">
                  <c:v>0.17927461139896372</c:v>
                </c:pt>
                <c:pt idx="66">
                  <c:v>0.16198160680201285</c:v>
                </c:pt>
                <c:pt idx="67">
                  <c:v>0.16129898013955984</c:v>
                </c:pt>
                <c:pt idx="68">
                  <c:v>0.149209586945436</c:v>
                </c:pt>
                <c:pt idx="69">
                  <c:v>0.1345599340930935</c:v>
                </c:pt>
                <c:pt idx="70">
                  <c:v>0.12999611951882034</c:v>
                </c:pt>
                <c:pt idx="71">
                  <c:v>0.13277464973157</c:v>
                </c:pt>
                <c:pt idx="72">
                  <c:v>0.13692269076305222</c:v>
                </c:pt>
                <c:pt idx="73">
                  <c:v>0.13843606724401428</c:v>
                </c:pt>
                <c:pt idx="74">
                  <c:v>0.1334024090143764</c:v>
                </c:pt>
                <c:pt idx="75">
                  <c:v>0.12423124231242312</c:v>
                </c:pt>
                <c:pt idx="76">
                  <c:v>0.1265984654731458</c:v>
                </c:pt>
                <c:pt idx="77">
                  <c:v>0.12413903572000641</c:v>
                </c:pt>
                <c:pt idx="78">
                  <c:v>0.1281081081081081</c:v>
                </c:pt>
                <c:pt idx="79">
                  <c:v>0.12422018348623853</c:v>
                </c:pt>
                <c:pt idx="80">
                  <c:v>0.1149718028015281</c:v>
                </c:pt>
                <c:pt idx="81">
                  <c:v>0.11181403560394292</c:v>
                </c:pt>
                <c:pt idx="82">
                  <c:v>0.11991117690599556</c:v>
                </c:pt>
                <c:pt idx="83">
                  <c:v>0.11128921456377376</c:v>
                </c:pt>
                <c:pt idx="84">
                  <c:v>0.10470723306544202</c:v>
                </c:pt>
                <c:pt idx="85">
                  <c:v>0.09626110307787647</c:v>
                </c:pt>
                <c:pt idx="86">
                  <c:v>0.10553686142551238</c:v>
                </c:pt>
                <c:pt idx="87">
                  <c:v>0.13872750460535638</c:v>
                </c:pt>
                <c:pt idx="88">
                  <c:v>0.1283394447354636</c:v>
                </c:pt>
                <c:pt idx="89">
                  <c:v>0.1038374717832957</c:v>
                </c:pt>
                <c:pt idx="90">
                  <c:v>0.09375604098202203</c:v>
                </c:pt>
                <c:pt idx="91">
                  <c:v>0.11692364170337739</c:v>
                </c:pt>
                <c:pt idx="92">
                  <c:v>0.11284459254771281</c:v>
                </c:pt>
                <c:pt idx="93">
                  <c:v>0.0997663872474921</c:v>
                </c:pt>
                <c:pt idx="94">
                  <c:v>0.09807723380190661</c:v>
                </c:pt>
                <c:pt idx="95">
                  <c:v>0.11604618284637135</c:v>
                </c:pt>
                <c:pt idx="96">
                  <c:v>0.11735426438211927</c:v>
                </c:pt>
                <c:pt idx="97">
                  <c:v>0.11509605078736912</c:v>
                </c:pt>
                <c:pt idx="98">
                  <c:v>0.1338440413384404</c:v>
                </c:pt>
                <c:pt idx="99">
                  <c:v>0.12846264933700932</c:v>
                </c:pt>
                <c:pt idx="100">
                  <c:v>0.16684229012996135</c:v>
                </c:pt>
                <c:pt idx="101">
                  <c:v>0.12691529343740965</c:v>
                </c:pt>
                <c:pt idx="102">
                  <c:v>0.10615406684837182</c:v>
                </c:pt>
                <c:pt idx="103">
                  <c:v>0.12080640196983687</c:v>
                </c:pt>
                <c:pt idx="104">
                  <c:v>0.1377315785061614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3596403541947577</c:v>
                </c:pt>
                <c:pt idx="1">
                  <c:v>0.13676435092720934</c:v>
                </c:pt>
                <c:pt idx="2">
                  <c:v>0.1434660809394459</c:v>
                </c:pt>
                <c:pt idx="3">
                  <c:v>0.14562995845848936</c:v>
                </c:pt>
                <c:pt idx="4">
                  <c:v>0.14629440357462395</c:v>
                </c:pt>
                <c:pt idx="5">
                  <c:v>0.14397861124677194</c:v>
                </c:pt>
                <c:pt idx="6">
                  <c:v>0.13819392625254778</c:v>
                </c:pt>
                <c:pt idx="7">
                  <c:v>0.1320014998871748</c:v>
                </c:pt>
                <c:pt idx="8">
                  <c:v>0.14157570372642436</c:v>
                </c:pt>
                <c:pt idx="9">
                  <c:v>0.12575240582631994</c:v>
                </c:pt>
                <c:pt idx="10">
                  <c:v>0.12741886624357665</c:v>
                </c:pt>
                <c:pt idx="11">
                  <c:v>0.14307731472511753</c:v>
                </c:pt>
                <c:pt idx="12">
                  <c:v>0.14290019726999295</c:v>
                </c:pt>
                <c:pt idx="13">
                  <c:v>0.1307683383247854</c:v>
                </c:pt>
                <c:pt idx="14">
                  <c:v>0.1380200140377113</c:v>
                </c:pt>
                <c:pt idx="15">
                  <c:v>0.1261481260473849</c:v>
                </c:pt>
                <c:pt idx="16">
                  <c:v>0.12983190336586029</c:v>
                </c:pt>
                <c:pt idx="17">
                  <c:v>0.12508060004086888</c:v>
                </c:pt>
                <c:pt idx="18">
                  <c:v>0.11930252783844753</c:v>
                </c:pt>
                <c:pt idx="19">
                  <c:v>0.11840740079425623</c:v>
                </c:pt>
                <c:pt idx="20">
                  <c:v>0.11480510696280286</c:v>
                </c:pt>
                <c:pt idx="21">
                  <c:v>0.11954162078298886</c:v>
                </c:pt>
                <c:pt idx="22">
                  <c:v>0.12344007557861235</c:v>
                </c:pt>
                <c:pt idx="23">
                  <c:v>0.10765428123940855</c:v>
                </c:pt>
                <c:pt idx="24">
                  <c:v>0.10212517045353925</c:v>
                </c:pt>
                <c:pt idx="25">
                  <c:v>0.10070188100066889</c:v>
                </c:pt>
                <c:pt idx="26">
                  <c:v>0.10460143858934574</c:v>
                </c:pt>
                <c:pt idx="27">
                  <c:v>0.11955230694591347</c:v>
                </c:pt>
                <c:pt idx="28">
                  <c:v>0.12863612874901795</c:v>
                </c:pt>
                <c:pt idx="29">
                  <c:v>0.12934807233938475</c:v>
                </c:pt>
                <c:pt idx="30">
                  <c:v>0.13375667724122656</c:v>
                </c:pt>
                <c:pt idx="31">
                  <c:v>0.12910319007410115</c:v>
                </c:pt>
                <c:pt idx="32">
                  <c:v>0.13027895291298727</c:v>
                </c:pt>
                <c:pt idx="33">
                  <c:v>0.13457780528554944</c:v>
                </c:pt>
                <c:pt idx="34">
                  <c:v>0.1393482450668939</c:v>
                </c:pt>
                <c:pt idx="35">
                  <c:v>0.13858632283724534</c:v>
                </c:pt>
                <c:pt idx="36">
                  <c:v>0.12432336319576033</c:v>
                </c:pt>
                <c:pt idx="37">
                  <c:v>0.12686411012935225</c:v>
                </c:pt>
                <c:pt idx="38">
                  <c:v>0.12751728341960913</c:v>
                </c:pt>
                <c:pt idx="39">
                  <c:v>0.1368875254564466</c:v>
                </c:pt>
                <c:pt idx="40">
                  <c:v>0.13968935391284557</c:v>
                </c:pt>
                <c:pt idx="41">
                  <c:v>0.14011379461374787</c:v>
                </c:pt>
                <c:pt idx="42">
                  <c:v>0.1404439445327415</c:v>
                </c:pt>
                <c:pt idx="43">
                  <c:v>0.1385867460842762</c:v>
                </c:pt>
                <c:pt idx="44">
                  <c:v>0.13601841998878433</c:v>
                </c:pt>
                <c:pt idx="45">
                  <c:v>0.13452417849668086</c:v>
                </c:pt>
                <c:pt idx="46">
                  <c:v>0.13317264258776496</c:v>
                </c:pt>
                <c:pt idx="47">
                  <c:v>0.13571106721587256</c:v>
                </c:pt>
                <c:pt idx="48">
                  <c:v>0.13132291162071474</c:v>
                </c:pt>
                <c:pt idx="49">
                  <c:v>0.1269002727624403</c:v>
                </c:pt>
                <c:pt idx="50">
                  <c:v>0.12302497179156303</c:v>
                </c:pt>
                <c:pt idx="51">
                  <c:v>0.12339805563093839</c:v>
                </c:pt>
              </c:numCache>
            </c:numRef>
          </c:xVal>
          <c:yVal>
            <c:numRef>
              <c:f>Sheet1!$B$109:$B$160</c:f>
              <c:numCache>
                <c:formatCode>General</c:formatCode>
                <c:ptCount val="52"/>
                <c:pt idx="0">
                  <c:v>0.14336483321217997</c:v>
                </c:pt>
                <c:pt idx="1">
                  <c:v>0.12556862071925157</c:v>
                </c:pt>
                <c:pt idx="2">
                  <c:v>0.12529719448407037</c:v>
                </c:pt>
                <c:pt idx="3">
                  <c:v>0.12469530773918343</c:v>
                </c:pt>
                <c:pt idx="4">
                  <c:v>0.11146315703956454</c:v>
                </c:pt>
                <c:pt idx="5">
                  <c:v>0.10427997162449752</c:v>
                </c:pt>
                <c:pt idx="6">
                  <c:v>0.1140157202154906</c:v>
                </c:pt>
                <c:pt idx="7">
                  <c:v>0.11868263473053892</c:v>
                </c:pt>
                <c:pt idx="8">
                  <c:v>0.11646000486263068</c:v>
                </c:pt>
                <c:pt idx="9">
                  <c:v>0.13877505814597407</c:v>
                </c:pt>
                <c:pt idx="10">
                  <c:v>0.13127373498922304</c:v>
                </c:pt>
                <c:pt idx="11">
                  <c:v>0.1301484148590498</c:v>
                </c:pt>
                <c:pt idx="12">
                  <c:v>0.1295238095238095</c:v>
                </c:pt>
                <c:pt idx="13">
                  <c:v>0.1356489295549436</c:v>
                </c:pt>
                <c:pt idx="14">
                  <c:v>0.12824051256776736</c:v>
                </c:pt>
                <c:pt idx="15">
                  <c:v>0.12660419637400694</c:v>
                </c:pt>
                <c:pt idx="16">
                  <c:v>0.12258501864196136</c:v>
                </c:pt>
                <c:pt idx="17">
                  <c:v>0.11914942794406565</c:v>
                </c:pt>
                <c:pt idx="18">
                  <c:v>0.1174842380439797</c:v>
                </c:pt>
                <c:pt idx="19">
                  <c:v>0.12796027501909854</c:v>
                </c:pt>
                <c:pt idx="20">
                  <c:v>0.11959573273441887</c:v>
                </c:pt>
                <c:pt idx="21">
                  <c:v>0.11869860564890955</c:v>
                </c:pt>
                <c:pt idx="22">
                  <c:v>0.12056226347089566</c:v>
                </c:pt>
                <c:pt idx="23">
                  <c:v>0.14345403899721448</c:v>
                </c:pt>
                <c:pt idx="24">
                  <c:v>0.15373328985979784</c:v>
                </c:pt>
                <c:pt idx="25">
                  <c:v>0.16974358974358975</c:v>
                </c:pt>
                <c:pt idx="26">
                  <c:v>0.15250470165840316</c:v>
                </c:pt>
                <c:pt idx="27">
                  <c:v>0.11452776906181361</c:v>
                </c:pt>
                <c:pt idx="28">
                  <c:v>0.09462517680339462</c:v>
                </c:pt>
                <c:pt idx="29">
                  <c:v>0.08973487423521415</c:v>
                </c:pt>
                <c:pt idx="30">
                  <c:v>0.100355871886121</c:v>
                </c:pt>
                <c:pt idx="31">
                  <c:v>0.08408770871052103</c:v>
                </c:pt>
                <c:pt idx="32">
                  <c:v>0.07454643434524878</c:v>
                </c:pt>
                <c:pt idx="33">
                  <c:v>0.09710483725948571</c:v>
                </c:pt>
                <c:pt idx="34">
                  <c:v>0.12246913580246914</c:v>
                </c:pt>
                <c:pt idx="35">
                  <c:v>0.1352124183006536</c:v>
                </c:pt>
                <c:pt idx="36">
                  <c:v>0.1067675493905002</c:v>
                </c:pt>
                <c:pt idx="37">
                  <c:v>0.10979885587746817</c:v>
                </c:pt>
                <c:pt idx="38">
                  <c:v>0.10317625077849284</c:v>
                </c:pt>
                <c:pt idx="39">
                  <c:v>0.11921954217237671</c:v>
                </c:pt>
                <c:pt idx="40">
                  <c:v>0.10393300433677284</c:v>
                </c:pt>
                <c:pt idx="41">
                  <c:v>0.10541913632514818</c:v>
                </c:pt>
                <c:pt idx="42">
                  <c:v>0.10004638936137313</c:v>
                </c:pt>
                <c:pt idx="43">
                  <c:v>0.11023710529272952</c:v>
                </c:pt>
                <c:pt idx="44">
                  <c:v>0.10979367005881804</c:v>
                </c:pt>
                <c:pt idx="45">
                  <c:v>0.13148866348448687</c:v>
                </c:pt>
                <c:pt idx="46">
                  <c:v>0.118609783008459</c:v>
                </c:pt>
                <c:pt idx="47">
                  <c:v>0.12370311252992817</c:v>
                </c:pt>
                <c:pt idx="48">
                  <c:v>0.11707317073170732</c:v>
                </c:pt>
                <c:pt idx="49">
                  <c:v>0.12843571880937302</c:v>
                </c:pt>
                <c:pt idx="50">
                  <c:v>0.17207911871903026</c:v>
                </c:pt>
                <c:pt idx="51">
                  <c:v>0.141805527671819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25725240050736994</c:v>
                </c:pt>
              </c:numCache>
            </c:numRef>
          </c:xVal>
          <c:yVal>
            <c:numRef>
              <c:f>Sheet1!$B$163:$B$164</c:f>
              <c:numCache>
                <c:formatCode>General</c:formatCode>
                <c:ptCount val="2"/>
                <c:pt idx="0">
                  <c:v>0.20043234483048536</c:v>
                </c:pt>
                <c:pt idx="1">
                  <c:v>0.2004323448304853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25725240050736994</c:v>
                </c:pt>
                <c:pt idx="1">
                  <c:v>0.025725240050736994</c:v>
                </c:pt>
              </c:numCache>
            </c:numRef>
          </c:xVal>
          <c:yVal>
            <c:numRef>
              <c:f>Sheet1!$B$167:$B$168</c:f>
              <c:numCache>
                <c:formatCode>General</c:formatCode>
                <c:ptCount val="2"/>
                <c:pt idx="0">
                  <c:v>0.200432344830485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0517365779573372</c:v>
                </c:pt>
              </c:numCache>
            </c:numRef>
          </c:xVal>
          <c:yVal>
            <c:numRef>
              <c:f>Sheet1!$B$171:$B$172</c:f>
              <c:numCache>
                <c:formatCode>General</c:formatCode>
                <c:ptCount val="2"/>
                <c:pt idx="0">
                  <c:v>0.13984838398298255</c:v>
                </c:pt>
                <c:pt idx="1">
                  <c:v>0.1398483839829825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0517365779573372</c:v>
                </c:pt>
                <c:pt idx="1">
                  <c:v>0.10517365779573372</c:v>
                </c:pt>
              </c:numCache>
            </c:numRef>
          </c:xVal>
          <c:yVal>
            <c:numRef>
              <c:f>Sheet1!$B$175:$B$176</c:f>
              <c:numCache>
                <c:formatCode>General</c:formatCode>
                <c:ptCount val="2"/>
                <c:pt idx="0">
                  <c:v>0.1398483839829825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2899886245331438</c:v>
                </c:pt>
              </c:numCache>
            </c:numRef>
          </c:xVal>
          <c:yVal>
            <c:numRef>
              <c:f>Sheet1!$B$179:$B$180</c:f>
              <c:numCache>
                <c:formatCode>General</c:formatCode>
                <c:ptCount val="2"/>
                <c:pt idx="0">
                  <c:v>0.12168030326938636</c:v>
                </c:pt>
                <c:pt idx="1">
                  <c:v>0.1216803032693863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2899886245331438</c:v>
                </c:pt>
                <c:pt idx="1">
                  <c:v>0.12899886245331438</c:v>
                </c:pt>
              </c:numCache>
            </c:numRef>
          </c:xVal>
          <c:yVal>
            <c:numRef>
              <c:f>Sheet1!$B$183:$B$184</c:f>
              <c:numCache>
                <c:formatCode>General</c:formatCode>
                <c:ptCount val="2"/>
                <c:pt idx="0">
                  <c:v>0.121680303269386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3596403541947577</c:v>
                </c:pt>
                <c:pt idx="1">
                  <c:v>0.13676435092720934</c:v>
                </c:pt>
                <c:pt idx="2">
                  <c:v>0.1434660809394459</c:v>
                </c:pt>
                <c:pt idx="3">
                  <c:v>0.14562995845848936</c:v>
                </c:pt>
                <c:pt idx="4">
                  <c:v>0.14629440357462395</c:v>
                </c:pt>
                <c:pt idx="5">
                  <c:v>0.14397861124677194</c:v>
                </c:pt>
                <c:pt idx="6">
                  <c:v>0.13819392625254778</c:v>
                </c:pt>
                <c:pt idx="7">
                  <c:v>0.1320014998871748</c:v>
                </c:pt>
                <c:pt idx="8">
                  <c:v>0.14157570372642436</c:v>
                </c:pt>
                <c:pt idx="9">
                  <c:v>0.12575240582631994</c:v>
                </c:pt>
                <c:pt idx="10">
                  <c:v>0.12741886624357665</c:v>
                </c:pt>
                <c:pt idx="11">
                  <c:v>0.14307731472511753</c:v>
                </c:pt>
                <c:pt idx="12">
                  <c:v>0.14290019726999295</c:v>
                </c:pt>
                <c:pt idx="13">
                  <c:v>0.1307683383247854</c:v>
                </c:pt>
                <c:pt idx="14">
                  <c:v>0.1380200140377113</c:v>
                </c:pt>
                <c:pt idx="15">
                  <c:v>0.1261481260473849</c:v>
                </c:pt>
                <c:pt idx="16">
                  <c:v>0.12983190336586029</c:v>
                </c:pt>
                <c:pt idx="17">
                  <c:v>0.12508060004086888</c:v>
                </c:pt>
                <c:pt idx="18">
                  <c:v>0.11930252783844753</c:v>
                </c:pt>
                <c:pt idx="19">
                  <c:v>0.11840740079425623</c:v>
                </c:pt>
                <c:pt idx="20">
                  <c:v>0.11480510696280286</c:v>
                </c:pt>
                <c:pt idx="21">
                  <c:v>0.11954162078298886</c:v>
                </c:pt>
                <c:pt idx="22">
                  <c:v>0.12344007557861235</c:v>
                </c:pt>
                <c:pt idx="23">
                  <c:v>0.10765428123940855</c:v>
                </c:pt>
                <c:pt idx="24">
                  <c:v>0.10212517045353925</c:v>
                </c:pt>
                <c:pt idx="25">
                  <c:v>0.10070188100066889</c:v>
                </c:pt>
                <c:pt idx="26">
                  <c:v>0.10460143858934574</c:v>
                </c:pt>
                <c:pt idx="27">
                  <c:v>0.11955230694591347</c:v>
                </c:pt>
                <c:pt idx="28">
                  <c:v>0.12863612874901795</c:v>
                </c:pt>
                <c:pt idx="29">
                  <c:v>0.12934807233938475</c:v>
                </c:pt>
                <c:pt idx="30">
                  <c:v>0.13375667724122656</c:v>
                </c:pt>
                <c:pt idx="31">
                  <c:v>0.12910319007410115</c:v>
                </c:pt>
                <c:pt idx="32">
                  <c:v>0.13027895291298727</c:v>
                </c:pt>
                <c:pt idx="33">
                  <c:v>0.13457780528554944</c:v>
                </c:pt>
                <c:pt idx="34">
                  <c:v>0.1393482450668939</c:v>
                </c:pt>
                <c:pt idx="35">
                  <c:v>0.13858632283724534</c:v>
                </c:pt>
                <c:pt idx="36">
                  <c:v>0.12432336319576033</c:v>
                </c:pt>
                <c:pt idx="37">
                  <c:v>0.12686411012935225</c:v>
                </c:pt>
                <c:pt idx="38">
                  <c:v>0.12751728341960913</c:v>
                </c:pt>
                <c:pt idx="39">
                  <c:v>0.1368875254564466</c:v>
                </c:pt>
                <c:pt idx="40">
                  <c:v>0.13968935391284557</c:v>
                </c:pt>
                <c:pt idx="41">
                  <c:v>0.14011379461374787</c:v>
                </c:pt>
                <c:pt idx="42">
                  <c:v>0.1404439445327415</c:v>
                </c:pt>
                <c:pt idx="43">
                  <c:v>0.1385867460842762</c:v>
                </c:pt>
                <c:pt idx="44">
                  <c:v>0.13601841998878433</c:v>
                </c:pt>
                <c:pt idx="45">
                  <c:v>0.13452417849668086</c:v>
                </c:pt>
                <c:pt idx="46">
                  <c:v>0.13317264258776496</c:v>
                </c:pt>
                <c:pt idx="47">
                  <c:v>0.13571106721587256</c:v>
                </c:pt>
                <c:pt idx="48">
                  <c:v>0.13132291162071474</c:v>
                </c:pt>
                <c:pt idx="49">
                  <c:v>0.1269002727624403</c:v>
                </c:pt>
                <c:pt idx="50">
                  <c:v>0.12302497179156303</c:v>
                </c:pt>
                <c:pt idx="51">
                  <c:v>0.12339805563093839</c:v>
                </c:pt>
                <c:pt idx="52">
                  <c:v>0.10517365779573372</c:v>
                </c:pt>
                <c:pt idx="53">
                  <c:v>0.025725240050736994</c:v>
                </c:pt>
                <c:pt idx="54">
                  <c:v>0.12899886245331438</c:v>
                </c:pt>
              </c:numCache>
            </c:numRef>
          </c:xVal>
          <c:yVal>
            <c:numRef>
              <c:f>Sheet1!$B$187:$B$241</c:f>
              <c:numCache>
                <c:formatCode>General</c:formatCode>
                <c:ptCount val="55"/>
                <c:pt idx="0">
                  <c:v>0.11636896066175362</c:v>
                </c:pt>
                <c:pt idx="1">
                  <c:v>0.11575867433054177</c:v>
                </c:pt>
                <c:pt idx="2">
                  <c:v>0.11064822203714234</c:v>
                </c:pt>
                <c:pt idx="3">
                  <c:v>0.10899814171316036</c:v>
                </c:pt>
                <c:pt idx="4">
                  <c:v>0.1084914643236821</c:v>
                </c:pt>
                <c:pt idx="5">
                  <c:v>0.11025738837482998</c:v>
                </c:pt>
                <c:pt idx="6">
                  <c:v>0.11466854141163522</c:v>
                </c:pt>
                <c:pt idx="7">
                  <c:v>0.11939062055580328</c:v>
                </c:pt>
                <c:pt idx="8">
                  <c:v>0.1120897427409064</c:v>
                </c:pt>
                <c:pt idx="9">
                  <c:v>0.12415591205764738</c:v>
                </c:pt>
                <c:pt idx="10">
                  <c:v>0.12288514071268436</c:v>
                </c:pt>
                <c:pt idx="11">
                  <c:v>0.11094467850255993</c:v>
                </c:pt>
                <c:pt idx="12">
                  <c:v>0.11107974068845668</c:v>
                </c:pt>
                <c:pt idx="13">
                  <c:v>0.12033097675086608</c:v>
                </c:pt>
                <c:pt idx="14">
                  <c:v>0.11480115941855858</c:v>
                </c:pt>
                <c:pt idx="15">
                  <c:v>0.12385415276451062</c:v>
                </c:pt>
                <c:pt idx="16">
                  <c:v>0.12104506194599036</c:v>
                </c:pt>
                <c:pt idx="17">
                  <c:v>0.12466820237831215</c:v>
                </c:pt>
                <c:pt idx="18">
                  <c:v>0.12907431278329357</c:v>
                </c:pt>
                <c:pt idx="19">
                  <c:v>0.12975689833172938</c:v>
                </c:pt>
                <c:pt idx="20">
                  <c:v>0.13250385333272707</c:v>
                </c:pt>
                <c:pt idx="21">
                  <c:v>0.1288919907433821</c:v>
                </c:pt>
                <c:pt idx="22">
                  <c:v>0.1259191960747471</c:v>
                </c:pt>
                <c:pt idx="23">
                  <c:v>0.13795676678210433</c:v>
                </c:pt>
                <c:pt idx="24">
                  <c:v>0.1421730298730544</c:v>
                </c:pt>
                <c:pt idx="25">
                  <c:v>0.14325836945482084</c:v>
                </c:pt>
                <c:pt idx="26">
                  <c:v>0.14028473384343249</c:v>
                </c:pt>
                <c:pt idx="27">
                  <c:v>0.1288838419331904</c:v>
                </c:pt>
                <c:pt idx="28">
                  <c:v>0.12195690845754378</c:v>
                </c:pt>
                <c:pt idx="29">
                  <c:v>0.1214140107658257</c:v>
                </c:pt>
                <c:pt idx="30">
                  <c:v>0.11805219747430659</c:v>
                </c:pt>
                <c:pt idx="31">
                  <c:v>0.1216007474937969</c:v>
                </c:pt>
                <c:pt idx="32">
                  <c:v>0.12070416110707163</c:v>
                </c:pt>
                <c:pt idx="33">
                  <c:v>0.11742604039402695</c:v>
                </c:pt>
                <c:pt idx="34">
                  <c:v>0.11378830731964433</c:v>
                </c:pt>
                <c:pt idx="35">
                  <c:v>0.11436931658125139</c:v>
                </c:pt>
                <c:pt idx="36">
                  <c:v>0.12524563876632921</c:v>
                </c:pt>
                <c:pt idx="37">
                  <c:v>0.12330817396693945</c:v>
                </c:pt>
                <c:pt idx="38">
                  <c:v>0.12281009198913884</c:v>
                </c:pt>
                <c:pt idx="39">
                  <c:v>0.11566474670972153</c:v>
                </c:pt>
                <c:pt idx="40">
                  <c:v>0.11352819232233621</c:v>
                </c:pt>
                <c:pt idx="41">
                  <c:v>0.11320453202128294</c:v>
                </c:pt>
                <c:pt idx="42">
                  <c:v>0.1129527738323368</c:v>
                </c:pt>
                <c:pt idx="43">
                  <c:v>0.11436899383119198</c:v>
                </c:pt>
                <c:pt idx="44">
                  <c:v>0.11632748931831825</c:v>
                </c:pt>
                <c:pt idx="45">
                  <c:v>0.11746693388655212</c:v>
                </c:pt>
                <c:pt idx="46">
                  <c:v>0.1184975572886766</c:v>
                </c:pt>
                <c:pt idx="47">
                  <c:v>0.11656186337999214</c:v>
                </c:pt>
                <c:pt idx="48">
                  <c:v>0.11990808290601328</c:v>
                </c:pt>
                <c:pt idx="49">
                  <c:v>0.12328059789167786</c:v>
                </c:pt>
                <c:pt idx="50">
                  <c:v>0.1262357364451666</c:v>
                </c:pt>
                <c:pt idx="51">
                  <c:v>0.1259512386872616</c:v>
                </c:pt>
                <c:pt idx="52">
                  <c:v>0.13984838398298255</c:v>
                </c:pt>
                <c:pt idx="53">
                  <c:v>0.20043234483048536</c:v>
                </c:pt>
                <c:pt idx="54">
                  <c:v>0.121680303269386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60087479496993"/>
          <c:min val="0.05963714747619902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28.1039</c:v>
                </c:pt>
                <c:pt idx="1">
                  <c:v>1074.7644</c:v>
                </c:pt>
                <c:pt idx="2">
                  <c:v>1065.9468</c:v>
                </c:pt>
                <c:pt idx="3">
                  <c:v>1089.8385</c:v>
                </c:pt>
                <c:pt idx="4">
                  <c:v>1130.3286</c:v>
                </c:pt>
                <c:pt idx="5">
                  <c:v>1165.895</c:v>
                </c:pt>
                <c:pt idx="6">
                  <c:v>1195.0515</c:v>
                </c:pt>
                <c:pt idx="7">
                  <c:v>1191.4977</c:v>
                </c:pt>
                <c:pt idx="8">
                  <c:v>1143.263</c:v>
                </c:pt>
                <c:pt idx="9">
                  <c:v>1068.9916</c:v>
                </c:pt>
                <c:pt idx="10">
                  <c:v>972.7592</c:v>
                </c:pt>
                <c:pt idx="11">
                  <c:v>934.9211</c:v>
                </c:pt>
                <c:pt idx="12">
                  <c:v>929.3058</c:v>
                </c:pt>
                <c:pt idx="13">
                  <c:v>943.7008</c:v>
                </c:pt>
                <c:pt idx="14">
                  <c:v>1121.9025</c:v>
                </c:pt>
                <c:pt idx="15">
                  <c:v>1120.6211</c:v>
                </c:pt>
                <c:pt idx="16">
                  <c:v>1147.8455</c:v>
                </c:pt>
                <c:pt idx="17">
                  <c:v>1171.2417</c:v>
                </c:pt>
                <c:pt idx="18">
                  <c:v>1181.7719</c:v>
                </c:pt>
                <c:pt idx="19">
                  <c:v>1211.8711</c:v>
                </c:pt>
                <c:pt idx="20">
                  <c:v>1232.0824</c:v>
                </c:pt>
                <c:pt idx="21">
                  <c:v>1210.5558</c:v>
                </c:pt>
                <c:pt idx="22">
                  <c:v>1217.8216</c:v>
                </c:pt>
                <c:pt idx="23">
                  <c:v>1228.5534</c:v>
                </c:pt>
                <c:pt idx="24">
                  <c:v>1235.3683</c:v>
                </c:pt>
                <c:pt idx="25">
                  <c:v>1241.0491</c:v>
                </c:pt>
                <c:pt idx="26">
                  <c:v>1226.9452</c:v>
                </c:pt>
                <c:pt idx="27">
                  <c:v>1245.0605</c:v>
                </c:pt>
                <c:pt idx="28">
                  <c:v>1241.427</c:v>
                </c:pt>
                <c:pt idx="29">
                  <c:v>1280.5768</c:v>
                </c:pt>
                <c:pt idx="30">
                  <c:v>1278.5209</c:v>
                </c:pt>
                <c:pt idx="31">
                  <c:v>1243.6552</c:v>
                </c:pt>
                <c:pt idx="32">
                  <c:v>1258.7143</c:v>
                </c:pt>
                <c:pt idx="33">
                  <c:v>1243.206</c:v>
                </c:pt>
                <c:pt idx="34">
                  <c:v>1229.0321</c:v>
                </c:pt>
                <c:pt idx="35">
                  <c:v>1257.1453</c:v>
                </c:pt>
                <c:pt idx="36">
                  <c:v>1285.7768</c:v>
                </c:pt>
                <c:pt idx="37">
                  <c:v>1299.4018</c:v>
                </c:pt>
                <c:pt idx="38">
                  <c:v>1324.1826</c:v>
                </c:pt>
                <c:pt idx="39">
                  <c:v>1401.1857</c:v>
                </c:pt>
                <c:pt idx="40">
                  <c:v>1461.2873</c:v>
                </c:pt>
                <c:pt idx="41">
                  <c:v>1456.67</c:v>
                </c:pt>
                <c:pt idx="42">
                  <c:v>1467.856</c:v>
                </c:pt>
                <c:pt idx="43">
                  <c:v>1459.2824</c:v>
                </c:pt>
                <c:pt idx="44">
                  <c:v>1419.1153</c:v>
                </c:pt>
                <c:pt idx="45">
                  <c:v>1402.4595</c:v>
                </c:pt>
                <c:pt idx="46">
                  <c:v>1356.5221</c:v>
                </c:pt>
                <c:pt idx="47">
                  <c:v>1359.1597</c:v>
                </c:pt>
                <c:pt idx="48">
                  <c:v>1232.3686</c:v>
                </c:pt>
                <c:pt idx="49">
                  <c:v>1190.0325</c:v>
                </c:pt>
                <c:pt idx="50">
                  <c:v>1247.7174</c:v>
                </c:pt>
                <c:pt idx="51">
                  <c:v>1217.9342</c:v>
                </c:pt>
                <c:pt idx="52">
                  <c:v>1181.1353</c:v>
                </c:pt>
                <c:pt idx="53">
                  <c:v>1417.0464</c:v>
                </c:pt>
                <c:pt idx="54">
                  <c:v>1429.5342</c:v>
                </c:pt>
                <c:pt idx="55">
                  <c:v>1430.7923</c:v>
                </c:pt>
                <c:pt idx="56">
                  <c:v>1422.9691</c:v>
                </c:pt>
                <c:pt idx="57">
                  <c:v>1449.6622</c:v>
                </c:pt>
                <c:pt idx="58">
                  <c:v>1464.1089</c:v>
                </c:pt>
                <c:pt idx="59">
                  <c:v>1451.413</c:v>
                </c:pt>
                <c:pt idx="60">
                  <c:v>1447.5135</c:v>
                </c:pt>
                <c:pt idx="61">
                  <c:v>1397.3818</c:v>
                </c:pt>
                <c:pt idx="62">
                  <c:v>1298.491</c:v>
                </c:pt>
                <c:pt idx="63">
                  <c:v>1271.1723</c:v>
                </c:pt>
                <c:pt idx="64">
                  <c:v>1245.1506</c:v>
                </c:pt>
                <c:pt idx="65">
                  <c:v>1244.3566</c:v>
                </c:pt>
                <c:pt idx="66">
                  <c:v>1410.5458</c:v>
                </c:pt>
                <c:pt idx="67">
                  <c:v>1435.0383</c:v>
                </c:pt>
                <c:pt idx="68">
                  <c:v>1401.2105</c:v>
                </c:pt>
                <c:pt idx="69">
                  <c:v>1454.6418</c:v>
                </c:pt>
                <c:pt idx="70">
                  <c:v>1503.6866</c:v>
                </c:pt>
                <c:pt idx="71">
                  <c:v>1452.3846</c:v>
                </c:pt>
                <c:pt idx="72">
                  <c:v>1459.3456</c:v>
                </c:pt>
                <c:pt idx="73">
                  <c:v>1473.1546</c:v>
                </c:pt>
                <c:pt idx="74">
                  <c:v>1427.4359</c:v>
                </c:pt>
                <c:pt idx="75">
                  <c:v>1430.4468</c:v>
                </c:pt>
                <c:pt idx="76">
                  <c:v>1365.7045</c:v>
                </c:pt>
                <c:pt idx="77">
                  <c:v>1363.2413</c:v>
                </c:pt>
                <c:pt idx="78">
                  <c:v>1395.7454</c:v>
                </c:pt>
                <c:pt idx="79">
                  <c:v>1449.2674</c:v>
                </c:pt>
                <c:pt idx="80">
                  <c:v>1459.3038</c:v>
                </c:pt>
                <c:pt idx="81">
                  <c:v>1484.6092</c:v>
                </c:pt>
                <c:pt idx="82">
                  <c:v>1490.2531</c:v>
                </c:pt>
                <c:pt idx="83">
                  <c:v>1459.1358</c:v>
                </c:pt>
                <c:pt idx="84">
                  <c:v>1503.4386</c:v>
                </c:pt>
                <c:pt idx="85">
                  <c:v>1487.7489</c:v>
                </c:pt>
                <c:pt idx="86">
                  <c:v>1474.9319</c:v>
                </c:pt>
                <c:pt idx="87">
                  <c:v>1477.5015</c:v>
                </c:pt>
                <c:pt idx="88">
                  <c:v>1489.1782</c:v>
                </c:pt>
                <c:pt idx="89">
                  <c:v>1518.9004</c:v>
                </c:pt>
                <c:pt idx="90">
                  <c:v>1481.2639</c:v>
                </c:pt>
                <c:pt idx="91">
                  <c:v>1490.4301</c:v>
                </c:pt>
                <c:pt idx="92">
                  <c:v>1508.5852</c:v>
                </c:pt>
                <c:pt idx="93">
                  <c:v>1499.6901</c:v>
                </c:pt>
                <c:pt idx="94">
                  <c:v>1495.8633</c:v>
                </c:pt>
                <c:pt idx="95">
                  <c:v>1486.7574</c:v>
                </c:pt>
                <c:pt idx="96">
                  <c:v>1359.4829</c:v>
                </c:pt>
                <c:pt idx="97">
                  <c:v>1412.217</c:v>
                </c:pt>
                <c:pt idx="98">
                  <c:v>1352.3726</c:v>
                </c:pt>
                <c:pt idx="99">
                  <c:v>1353.0869</c:v>
                </c:pt>
                <c:pt idx="100">
                  <c:v>1242.0566</c:v>
                </c:pt>
                <c:pt idx="101">
                  <c:v>1469.8479</c:v>
                </c:pt>
                <c:pt idx="102">
                  <c:v>1479.352</c:v>
                </c:pt>
                <c:pt idx="103">
                  <c:v>1356.714</c:v>
                </c:pt>
                <c:pt idx="104">
                  <c:v>1339.6409</c:v>
                </c:pt>
              </c:numCache>
            </c:numRef>
          </c:xVal>
          <c:yVal>
            <c:numRef>
              <c:f>Sheet1!$B$2:$B$106</c:f>
              <c:numCache>
                <c:formatCode>General</c:formatCode>
                <c:ptCount val="105"/>
                <c:pt idx="0">
                  <c:v>0.22448371723590152</c:v>
                </c:pt>
                <c:pt idx="1">
                  <c:v>0.24133406232914162</c:v>
                </c:pt>
                <c:pt idx="2">
                  <c:v>0.23332979963956324</c:v>
                </c:pt>
                <c:pt idx="3">
                  <c:v>0.23139421514462138</c:v>
                </c:pt>
                <c:pt idx="4">
                  <c:v>0.19582013932868905</c:v>
                </c:pt>
                <c:pt idx="5">
                  <c:v>0.17259762761562042</c:v>
                </c:pt>
                <c:pt idx="6">
                  <c:v>0.16975070675918788</c:v>
                </c:pt>
                <c:pt idx="7">
                  <c:v>0.15738773197336733</c:v>
                </c:pt>
                <c:pt idx="8">
                  <c:v>0.17779310344827587</c:v>
                </c:pt>
                <c:pt idx="9">
                  <c:v>0.17002608489447474</c:v>
                </c:pt>
                <c:pt idx="10">
                  <c:v>0.1884892086330935</c:v>
                </c:pt>
                <c:pt idx="11">
                  <c:v>0.19222038794882376</c:v>
                </c:pt>
                <c:pt idx="12">
                  <c:v>0.20531622364802934</c:v>
                </c:pt>
                <c:pt idx="13">
                  <c:v>0.20160450093769536</c:v>
                </c:pt>
                <c:pt idx="14">
                  <c:v>0.2092632051138275</c:v>
                </c:pt>
                <c:pt idx="15">
                  <c:v>0.20393467918220393</c:v>
                </c:pt>
                <c:pt idx="16">
                  <c:v>0.18072637823759224</c:v>
                </c:pt>
                <c:pt idx="17">
                  <c:v>0.1883616543764027</c:v>
                </c:pt>
                <c:pt idx="18">
                  <c:v>0.17104289940828402</c:v>
                </c:pt>
                <c:pt idx="19">
                  <c:v>0.15219611848825332</c:v>
                </c:pt>
                <c:pt idx="20">
                  <c:v>0.17140454163162322</c:v>
                </c:pt>
                <c:pt idx="21">
                  <c:v>0.15215292527514965</c:v>
                </c:pt>
                <c:pt idx="22">
                  <c:v>0.14718339686573487</c:v>
                </c:pt>
                <c:pt idx="23">
                  <c:v>0.1319324090121317</c:v>
                </c:pt>
                <c:pt idx="24">
                  <c:v>0.13997555012224938</c:v>
                </c:pt>
                <c:pt idx="25">
                  <c:v>0.13502398903358465</c:v>
                </c:pt>
                <c:pt idx="26">
                  <c:v>0.13708920187793427</c:v>
                </c:pt>
                <c:pt idx="27">
                  <c:v>0.14551024315527475</c:v>
                </c:pt>
                <c:pt idx="28">
                  <c:v>0.13824264564506825</c:v>
                </c:pt>
                <c:pt idx="29">
                  <c:v>0.12891566265060242</c:v>
                </c:pt>
                <c:pt idx="30">
                  <c:v>0.1285806590566444</c:v>
                </c:pt>
                <c:pt idx="31">
                  <c:v>0.11854561101549053</c:v>
                </c:pt>
                <c:pt idx="32">
                  <c:v>0.12651531849239586</c:v>
                </c:pt>
                <c:pt idx="33">
                  <c:v>0.12749762131303521</c:v>
                </c:pt>
                <c:pt idx="34">
                  <c:v>0.13592741231896702</c:v>
                </c:pt>
                <c:pt idx="35">
                  <c:v>0.16326530612244897</c:v>
                </c:pt>
                <c:pt idx="36">
                  <c:v>0.1483993061031383</c:v>
                </c:pt>
                <c:pt idx="37">
                  <c:v>0.13065134099616857</c:v>
                </c:pt>
                <c:pt idx="38">
                  <c:v>0.12106135986733002</c:v>
                </c:pt>
                <c:pt idx="39">
                  <c:v>0.11412268188302425</c:v>
                </c:pt>
                <c:pt idx="40">
                  <c:v>0.12351464435146443</c:v>
                </c:pt>
                <c:pt idx="41">
                  <c:v>0.11146025878003697</c:v>
                </c:pt>
                <c:pt idx="42">
                  <c:v>0.1186148542776559</c:v>
                </c:pt>
                <c:pt idx="43">
                  <c:v>0.12918266593527153</c:v>
                </c:pt>
                <c:pt idx="44">
                  <c:v>0.12321068815608101</c:v>
                </c:pt>
                <c:pt idx="45">
                  <c:v>0.12288388767177853</c:v>
                </c:pt>
                <c:pt idx="46">
                  <c:v>0.12596350863498879</c:v>
                </c:pt>
                <c:pt idx="47">
                  <c:v>0.12216108054027014</c:v>
                </c:pt>
                <c:pt idx="48">
                  <c:v>0.14051724137931035</c:v>
                </c:pt>
                <c:pt idx="49">
                  <c:v>0.15955766192733017</c:v>
                </c:pt>
                <c:pt idx="50">
                  <c:v>0.13523473802275277</c:v>
                </c:pt>
                <c:pt idx="51">
                  <c:v>0.1332080873143675</c:v>
                </c:pt>
                <c:pt idx="52">
                  <c:v>0.15420489296636086</c:v>
                </c:pt>
                <c:pt idx="53">
                  <c:v>0.13901018922852984</c:v>
                </c:pt>
                <c:pt idx="54">
                  <c:v>0.12896668548842463</c:v>
                </c:pt>
                <c:pt idx="55">
                  <c:v>0.13509353540137342</c:v>
                </c:pt>
                <c:pt idx="56">
                  <c:v>0.1511111111111111</c:v>
                </c:pt>
                <c:pt idx="57">
                  <c:v>0.13788172811765909</c:v>
                </c:pt>
                <c:pt idx="58">
                  <c:v>0.13929468688936447</c:v>
                </c:pt>
                <c:pt idx="59">
                  <c:v>0.14055045871559632</c:v>
                </c:pt>
                <c:pt idx="60">
                  <c:v>0.13874262513480937</c:v>
                </c:pt>
                <c:pt idx="61">
                  <c:v>0.13651385475807135</c:v>
                </c:pt>
                <c:pt idx="62">
                  <c:v>0.15360724110391338</c:v>
                </c:pt>
                <c:pt idx="63">
                  <c:v>0.17145026575550493</c:v>
                </c:pt>
                <c:pt idx="64">
                  <c:v>0.1735080058224163</c:v>
                </c:pt>
                <c:pt idx="65">
                  <c:v>0.17927461139896372</c:v>
                </c:pt>
                <c:pt idx="66">
                  <c:v>0.16198160680201285</c:v>
                </c:pt>
                <c:pt idx="67">
                  <c:v>0.16129898013955984</c:v>
                </c:pt>
                <c:pt idx="68">
                  <c:v>0.149209586945436</c:v>
                </c:pt>
                <c:pt idx="69">
                  <c:v>0.1345599340930935</c:v>
                </c:pt>
                <c:pt idx="70">
                  <c:v>0.12999611951882034</c:v>
                </c:pt>
                <c:pt idx="71">
                  <c:v>0.13277464973157</c:v>
                </c:pt>
                <c:pt idx="72">
                  <c:v>0.13692269076305222</c:v>
                </c:pt>
                <c:pt idx="73">
                  <c:v>0.13843606724401428</c:v>
                </c:pt>
                <c:pt idx="74">
                  <c:v>0.1334024090143764</c:v>
                </c:pt>
                <c:pt idx="75">
                  <c:v>0.12423124231242312</c:v>
                </c:pt>
                <c:pt idx="76">
                  <c:v>0.1265984654731458</c:v>
                </c:pt>
                <c:pt idx="77">
                  <c:v>0.12413903572000641</c:v>
                </c:pt>
                <c:pt idx="78">
                  <c:v>0.1281081081081081</c:v>
                </c:pt>
                <c:pt idx="79">
                  <c:v>0.12422018348623853</c:v>
                </c:pt>
                <c:pt idx="80">
                  <c:v>0.1149718028015281</c:v>
                </c:pt>
                <c:pt idx="81">
                  <c:v>0.11181403560394292</c:v>
                </c:pt>
                <c:pt idx="82">
                  <c:v>0.11991117690599556</c:v>
                </c:pt>
                <c:pt idx="83">
                  <c:v>0.11128921456377376</c:v>
                </c:pt>
                <c:pt idx="84">
                  <c:v>0.10470723306544202</c:v>
                </c:pt>
                <c:pt idx="85">
                  <c:v>0.09626110307787647</c:v>
                </c:pt>
                <c:pt idx="86">
                  <c:v>0.10553686142551238</c:v>
                </c:pt>
                <c:pt idx="87">
                  <c:v>0.13872750460535638</c:v>
                </c:pt>
                <c:pt idx="88">
                  <c:v>0.1283394447354636</c:v>
                </c:pt>
                <c:pt idx="89">
                  <c:v>0.1038374717832957</c:v>
                </c:pt>
                <c:pt idx="90">
                  <c:v>0.09375604098202203</c:v>
                </c:pt>
                <c:pt idx="91">
                  <c:v>0.11692364170337739</c:v>
                </c:pt>
                <c:pt idx="92">
                  <c:v>0.11284459254771281</c:v>
                </c:pt>
                <c:pt idx="93">
                  <c:v>0.0997663872474921</c:v>
                </c:pt>
                <c:pt idx="94">
                  <c:v>0.09807723380190661</c:v>
                </c:pt>
                <c:pt idx="95">
                  <c:v>0.11604618284637135</c:v>
                </c:pt>
                <c:pt idx="96">
                  <c:v>0.11735426438211927</c:v>
                </c:pt>
                <c:pt idx="97">
                  <c:v>0.11509605078736912</c:v>
                </c:pt>
                <c:pt idx="98">
                  <c:v>0.1338440413384404</c:v>
                </c:pt>
                <c:pt idx="99">
                  <c:v>0.12846264933700932</c:v>
                </c:pt>
                <c:pt idx="100">
                  <c:v>0.16684229012996135</c:v>
                </c:pt>
                <c:pt idx="101">
                  <c:v>0.12691529343740965</c:v>
                </c:pt>
                <c:pt idx="102">
                  <c:v>0.10615406684837182</c:v>
                </c:pt>
                <c:pt idx="103">
                  <c:v>0.12080640196983687</c:v>
                </c:pt>
                <c:pt idx="104">
                  <c:v>0.1377315785061614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64.1386</c:v>
                </c:pt>
                <c:pt idx="1">
                  <c:v>1484.823</c:v>
                </c:pt>
                <c:pt idx="2">
                  <c:v>1523.7021</c:v>
                </c:pt>
                <c:pt idx="3">
                  <c:v>1548.3225</c:v>
                </c:pt>
                <c:pt idx="4">
                  <c:v>1540.5525</c:v>
                </c:pt>
                <c:pt idx="5">
                  <c:v>1565.997</c:v>
                </c:pt>
                <c:pt idx="6">
                  <c:v>1489.9349</c:v>
                </c:pt>
                <c:pt idx="7">
                  <c:v>1424.1393</c:v>
                </c:pt>
                <c:pt idx="8">
                  <c:v>1528.7067</c:v>
                </c:pt>
                <c:pt idx="9">
                  <c:v>1367.4549</c:v>
                </c:pt>
                <c:pt idx="10">
                  <c:v>1375.1845</c:v>
                </c:pt>
                <c:pt idx="11">
                  <c:v>1519.5668</c:v>
                </c:pt>
                <c:pt idx="12">
                  <c:v>1506.1422</c:v>
                </c:pt>
                <c:pt idx="13">
                  <c:v>1404.5298</c:v>
                </c:pt>
                <c:pt idx="14">
                  <c:v>1518.3497</c:v>
                </c:pt>
                <c:pt idx="15">
                  <c:v>1427.008</c:v>
                </c:pt>
                <c:pt idx="16">
                  <c:v>1467.6968</c:v>
                </c:pt>
                <c:pt idx="17">
                  <c:v>1401.7245</c:v>
                </c:pt>
                <c:pt idx="18">
                  <c:v>1356.2709</c:v>
                </c:pt>
                <c:pt idx="19">
                  <c:v>1322.1065</c:v>
                </c:pt>
                <c:pt idx="20">
                  <c:v>1310.2031</c:v>
                </c:pt>
                <c:pt idx="21">
                  <c:v>1335.378</c:v>
                </c:pt>
                <c:pt idx="22">
                  <c:v>1360.2242</c:v>
                </c:pt>
                <c:pt idx="23">
                  <c:v>1177.1189</c:v>
                </c:pt>
                <c:pt idx="24">
                  <c:v>1153.3404</c:v>
                </c:pt>
                <c:pt idx="25">
                  <c:v>1160.1934</c:v>
                </c:pt>
                <c:pt idx="26">
                  <c:v>1195.3475</c:v>
                </c:pt>
                <c:pt idx="27">
                  <c:v>1353.4877</c:v>
                </c:pt>
                <c:pt idx="28">
                  <c:v>1483.9581</c:v>
                </c:pt>
                <c:pt idx="29">
                  <c:v>1483.4773</c:v>
                </c:pt>
                <c:pt idx="30">
                  <c:v>1526.8333</c:v>
                </c:pt>
                <c:pt idx="31">
                  <c:v>1504.0407</c:v>
                </c:pt>
                <c:pt idx="32">
                  <c:v>1520.2482</c:v>
                </c:pt>
                <c:pt idx="33">
                  <c:v>1547.463</c:v>
                </c:pt>
                <c:pt idx="34">
                  <c:v>1588.1573</c:v>
                </c:pt>
                <c:pt idx="35">
                  <c:v>1565.0665</c:v>
                </c:pt>
                <c:pt idx="36">
                  <c:v>1379.7953</c:v>
                </c:pt>
                <c:pt idx="37">
                  <c:v>1452.4555</c:v>
                </c:pt>
                <c:pt idx="38">
                  <c:v>1426.8873</c:v>
                </c:pt>
                <c:pt idx="39">
                  <c:v>1523.2745</c:v>
                </c:pt>
                <c:pt idx="40">
                  <c:v>1556.646</c:v>
                </c:pt>
                <c:pt idx="41">
                  <c:v>1579.3025</c:v>
                </c:pt>
                <c:pt idx="42">
                  <c:v>1585.2117</c:v>
                </c:pt>
                <c:pt idx="43">
                  <c:v>1543.5117</c:v>
                </c:pt>
                <c:pt idx="44">
                  <c:v>1492.4405</c:v>
                </c:pt>
                <c:pt idx="45">
                  <c:v>1446.6449</c:v>
                </c:pt>
                <c:pt idx="46">
                  <c:v>1422.8</c:v>
                </c:pt>
                <c:pt idx="47">
                  <c:v>1450.4487</c:v>
                </c:pt>
                <c:pt idx="48">
                  <c:v>1376.7436</c:v>
                </c:pt>
                <c:pt idx="49">
                  <c:v>1305.0429</c:v>
                </c:pt>
                <c:pt idx="50">
                  <c:v>1233.4253</c:v>
                </c:pt>
                <c:pt idx="51">
                  <c:v>1292.8735</c:v>
                </c:pt>
              </c:numCache>
            </c:numRef>
          </c:xVal>
          <c:yVal>
            <c:numRef>
              <c:f>Sheet1!$B$109:$B$160</c:f>
              <c:numCache>
                <c:formatCode>General</c:formatCode>
                <c:ptCount val="52"/>
                <c:pt idx="0">
                  <c:v>0.14336483321217997</c:v>
                </c:pt>
                <c:pt idx="1">
                  <c:v>0.12556862071925157</c:v>
                </c:pt>
                <c:pt idx="2">
                  <c:v>0.12529719448407037</c:v>
                </c:pt>
                <c:pt idx="3">
                  <c:v>0.12469530773918343</c:v>
                </c:pt>
                <c:pt idx="4">
                  <c:v>0.11146315703956454</c:v>
                </c:pt>
                <c:pt idx="5">
                  <c:v>0.10427997162449752</c:v>
                </c:pt>
                <c:pt idx="6">
                  <c:v>0.1140157202154906</c:v>
                </c:pt>
                <c:pt idx="7">
                  <c:v>0.11868263473053892</c:v>
                </c:pt>
                <c:pt idx="8">
                  <c:v>0.11646000486263068</c:v>
                </c:pt>
                <c:pt idx="9">
                  <c:v>0.13877505814597407</c:v>
                </c:pt>
                <c:pt idx="10">
                  <c:v>0.13127373498922304</c:v>
                </c:pt>
                <c:pt idx="11">
                  <c:v>0.1301484148590498</c:v>
                </c:pt>
                <c:pt idx="12">
                  <c:v>0.1295238095238095</c:v>
                </c:pt>
                <c:pt idx="13">
                  <c:v>0.1356489295549436</c:v>
                </c:pt>
                <c:pt idx="14">
                  <c:v>0.12824051256776736</c:v>
                </c:pt>
                <c:pt idx="15">
                  <c:v>0.12660419637400694</c:v>
                </c:pt>
                <c:pt idx="16">
                  <c:v>0.12258501864196136</c:v>
                </c:pt>
                <c:pt idx="17">
                  <c:v>0.11914942794406565</c:v>
                </c:pt>
                <c:pt idx="18">
                  <c:v>0.1174842380439797</c:v>
                </c:pt>
                <c:pt idx="19">
                  <c:v>0.12796027501909854</c:v>
                </c:pt>
                <c:pt idx="20">
                  <c:v>0.11959573273441887</c:v>
                </c:pt>
                <c:pt idx="21">
                  <c:v>0.11869860564890955</c:v>
                </c:pt>
                <c:pt idx="22">
                  <c:v>0.12056226347089566</c:v>
                </c:pt>
                <c:pt idx="23">
                  <c:v>0.14345403899721448</c:v>
                </c:pt>
                <c:pt idx="24">
                  <c:v>0.15373328985979784</c:v>
                </c:pt>
                <c:pt idx="25">
                  <c:v>0.16974358974358975</c:v>
                </c:pt>
                <c:pt idx="26">
                  <c:v>0.15250470165840316</c:v>
                </c:pt>
                <c:pt idx="27">
                  <c:v>0.11452776906181361</c:v>
                </c:pt>
                <c:pt idx="28">
                  <c:v>0.09462517680339462</c:v>
                </c:pt>
                <c:pt idx="29">
                  <c:v>0.08973487423521415</c:v>
                </c:pt>
                <c:pt idx="30">
                  <c:v>0.100355871886121</c:v>
                </c:pt>
                <c:pt idx="31">
                  <c:v>0.08408770871052103</c:v>
                </c:pt>
                <c:pt idx="32">
                  <c:v>0.07454643434524878</c:v>
                </c:pt>
                <c:pt idx="33">
                  <c:v>0.09710483725948571</c:v>
                </c:pt>
                <c:pt idx="34">
                  <c:v>0.12246913580246914</c:v>
                </c:pt>
                <c:pt idx="35">
                  <c:v>0.1352124183006536</c:v>
                </c:pt>
                <c:pt idx="36">
                  <c:v>0.1067675493905002</c:v>
                </c:pt>
                <c:pt idx="37">
                  <c:v>0.10979885587746817</c:v>
                </c:pt>
                <c:pt idx="38">
                  <c:v>0.10317625077849284</c:v>
                </c:pt>
                <c:pt idx="39">
                  <c:v>0.11921954217237671</c:v>
                </c:pt>
                <c:pt idx="40">
                  <c:v>0.10393300433677284</c:v>
                </c:pt>
                <c:pt idx="41">
                  <c:v>0.10541913632514818</c:v>
                </c:pt>
                <c:pt idx="42">
                  <c:v>0.10004638936137313</c:v>
                </c:pt>
                <c:pt idx="43">
                  <c:v>0.11023710529272952</c:v>
                </c:pt>
                <c:pt idx="44">
                  <c:v>0.10979367005881804</c:v>
                </c:pt>
                <c:pt idx="45">
                  <c:v>0.13148866348448687</c:v>
                </c:pt>
                <c:pt idx="46">
                  <c:v>0.118609783008459</c:v>
                </c:pt>
                <c:pt idx="47">
                  <c:v>0.12370311252992817</c:v>
                </c:pt>
                <c:pt idx="48">
                  <c:v>0.11707317073170732</c:v>
                </c:pt>
                <c:pt idx="49">
                  <c:v>0.12843571880937302</c:v>
                </c:pt>
                <c:pt idx="50">
                  <c:v>0.17207911871903026</c:v>
                </c:pt>
                <c:pt idx="51">
                  <c:v>0.141805527671819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91.9933293541437</c:v>
                </c:pt>
              </c:numCache>
            </c:numRef>
          </c:xVal>
          <c:yVal>
            <c:numRef>
              <c:f>Sheet1!$B$163:$B$164</c:f>
              <c:numCache>
                <c:formatCode>General</c:formatCode>
                <c:ptCount val="2"/>
                <c:pt idx="0">
                  <c:v>0.20043234483048536</c:v>
                </c:pt>
                <c:pt idx="1">
                  <c:v>0.2004323448304853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91.9933293541437</c:v>
                </c:pt>
                <c:pt idx="1">
                  <c:v>691.9933293541437</c:v>
                </c:pt>
              </c:numCache>
            </c:numRef>
          </c:xVal>
          <c:yVal>
            <c:numRef>
              <c:f>Sheet1!$B$167:$B$168</c:f>
              <c:numCache>
                <c:formatCode>General</c:formatCode>
                <c:ptCount val="2"/>
                <c:pt idx="0">
                  <c:v>0.200432344830485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56.8098863513553</c:v>
                </c:pt>
              </c:numCache>
            </c:numRef>
          </c:xVal>
          <c:yVal>
            <c:numRef>
              <c:f>Sheet1!$B$171:$B$172</c:f>
              <c:numCache>
                <c:formatCode>General</c:formatCode>
                <c:ptCount val="2"/>
                <c:pt idx="0">
                  <c:v>0.13984838398298255</c:v>
                </c:pt>
                <c:pt idx="1">
                  <c:v>0.1398483839829825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56.8098863513553</c:v>
                </c:pt>
                <c:pt idx="1">
                  <c:v>1256.8098863513553</c:v>
                </c:pt>
              </c:numCache>
            </c:numRef>
          </c:xVal>
          <c:yVal>
            <c:numRef>
              <c:f>Sheet1!$B$175:$B$176</c:f>
              <c:numCache>
                <c:formatCode>General</c:formatCode>
                <c:ptCount val="2"/>
                <c:pt idx="0">
                  <c:v>0.1398483839829825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26.188590753509</c:v>
                </c:pt>
              </c:numCache>
            </c:numRef>
          </c:xVal>
          <c:yVal>
            <c:numRef>
              <c:f>Sheet1!$B$179:$B$180</c:f>
              <c:numCache>
                <c:formatCode>General</c:formatCode>
                <c:ptCount val="2"/>
                <c:pt idx="0">
                  <c:v>0.12168030326938636</c:v>
                </c:pt>
                <c:pt idx="1">
                  <c:v>0.1216803032693863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26.188590753509</c:v>
                </c:pt>
                <c:pt idx="1">
                  <c:v>1426.188590753509</c:v>
                </c:pt>
              </c:numCache>
            </c:numRef>
          </c:xVal>
          <c:yVal>
            <c:numRef>
              <c:f>Sheet1!$B$183:$B$184</c:f>
              <c:numCache>
                <c:formatCode>General</c:formatCode>
                <c:ptCount val="2"/>
                <c:pt idx="0">
                  <c:v>0.121680303269386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64.1386</c:v>
                </c:pt>
                <c:pt idx="1">
                  <c:v>1484.823</c:v>
                </c:pt>
                <c:pt idx="2">
                  <c:v>1523.7021</c:v>
                </c:pt>
                <c:pt idx="3">
                  <c:v>1548.3225</c:v>
                </c:pt>
                <c:pt idx="4">
                  <c:v>1540.5525</c:v>
                </c:pt>
                <c:pt idx="5">
                  <c:v>1565.997</c:v>
                </c:pt>
                <c:pt idx="6">
                  <c:v>1489.9349</c:v>
                </c:pt>
                <c:pt idx="7">
                  <c:v>1424.1393</c:v>
                </c:pt>
                <c:pt idx="8">
                  <c:v>1528.7067</c:v>
                </c:pt>
                <c:pt idx="9">
                  <c:v>1367.4549</c:v>
                </c:pt>
                <c:pt idx="10">
                  <c:v>1375.1845</c:v>
                </c:pt>
                <c:pt idx="11">
                  <c:v>1519.5668</c:v>
                </c:pt>
                <c:pt idx="12">
                  <c:v>1506.1422</c:v>
                </c:pt>
                <c:pt idx="13">
                  <c:v>1404.5298</c:v>
                </c:pt>
                <c:pt idx="14">
                  <c:v>1518.3497</c:v>
                </c:pt>
                <c:pt idx="15">
                  <c:v>1427.008</c:v>
                </c:pt>
                <c:pt idx="16">
                  <c:v>1467.6968</c:v>
                </c:pt>
                <c:pt idx="17">
                  <c:v>1401.7245</c:v>
                </c:pt>
                <c:pt idx="18">
                  <c:v>1356.2709</c:v>
                </c:pt>
                <c:pt idx="19">
                  <c:v>1322.1065</c:v>
                </c:pt>
                <c:pt idx="20">
                  <c:v>1310.2031</c:v>
                </c:pt>
                <c:pt idx="21">
                  <c:v>1335.378</c:v>
                </c:pt>
                <c:pt idx="22">
                  <c:v>1360.2242</c:v>
                </c:pt>
                <c:pt idx="23">
                  <c:v>1177.1189</c:v>
                </c:pt>
                <c:pt idx="24">
                  <c:v>1153.3404</c:v>
                </c:pt>
                <c:pt idx="25">
                  <c:v>1160.1934</c:v>
                </c:pt>
                <c:pt idx="26">
                  <c:v>1195.3475</c:v>
                </c:pt>
                <c:pt idx="27">
                  <c:v>1353.4877</c:v>
                </c:pt>
                <c:pt idx="28">
                  <c:v>1483.9581</c:v>
                </c:pt>
                <c:pt idx="29">
                  <c:v>1483.4773</c:v>
                </c:pt>
                <c:pt idx="30">
                  <c:v>1526.8333</c:v>
                </c:pt>
                <c:pt idx="31">
                  <c:v>1504.0407</c:v>
                </c:pt>
                <c:pt idx="32">
                  <c:v>1520.2482</c:v>
                </c:pt>
                <c:pt idx="33">
                  <c:v>1547.463</c:v>
                </c:pt>
                <c:pt idx="34">
                  <c:v>1588.1573</c:v>
                </c:pt>
                <c:pt idx="35">
                  <c:v>1565.0665</c:v>
                </c:pt>
                <c:pt idx="36">
                  <c:v>1379.7953</c:v>
                </c:pt>
                <c:pt idx="37">
                  <c:v>1452.4555</c:v>
                </c:pt>
                <c:pt idx="38">
                  <c:v>1426.8873</c:v>
                </c:pt>
                <c:pt idx="39">
                  <c:v>1523.2745</c:v>
                </c:pt>
                <c:pt idx="40">
                  <c:v>1556.646</c:v>
                </c:pt>
                <c:pt idx="41">
                  <c:v>1579.3025</c:v>
                </c:pt>
                <c:pt idx="42">
                  <c:v>1585.2117</c:v>
                </c:pt>
                <c:pt idx="43">
                  <c:v>1543.5117</c:v>
                </c:pt>
                <c:pt idx="44">
                  <c:v>1492.4405</c:v>
                </c:pt>
                <c:pt idx="45">
                  <c:v>1446.6449</c:v>
                </c:pt>
                <c:pt idx="46">
                  <c:v>1422.8</c:v>
                </c:pt>
                <c:pt idx="47">
                  <c:v>1450.4487</c:v>
                </c:pt>
                <c:pt idx="48">
                  <c:v>1376.7436</c:v>
                </c:pt>
                <c:pt idx="49">
                  <c:v>1305.0429</c:v>
                </c:pt>
                <c:pt idx="50">
                  <c:v>1233.4253</c:v>
                </c:pt>
                <c:pt idx="51">
                  <c:v>1292.8735</c:v>
                </c:pt>
                <c:pt idx="52">
                  <c:v>1256.8098863513553</c:v>
                </c:pt>
                <c:pt idx="53">
                  <c:v>691.9933293541437</c:v>
                </c:pt>
                <c:pt idx="54">
                  <c:v>1426.188590753509</c:v>
                </c:pt>
              </c:numCache>
            </c:numRef>
          </c:xVal>
          <c:yVal>
            <c:numRef>
              <c:f>Sheet1!$B$187:$B$241</c:f>
              <c:numCache>
                <c:formatCode>General</c:formatCode>
                <c:ptCount val="55"/>
                <c:pt idx="0">
                  <c:v>0.11760966857238841</c:v>
                </c:pt>
                <c:pt idx="1">
                  <c:v>0.11539099621898521</c:v>
                </c:pt>
                <c:pt idx="2">
                  <c:v>0.11122070439059292</c:v>
                </c:pt>
                <c:pt idx="3">
                  <c:v>0.10857984457306244</c:v>
                </c:pt>
                <c:pt idx="4">
                  <c:v>0.10941327866764303</c:v>
                </c:pt>
                <c:pt idx="5">
                  <c:v>0.10668402334981086</c:v>
                </c:pt>
                <c:pt idx="6">
                  <c:v>0.11484267810468837</c:v>
                </c:pt>
                <c:pt idx="7">
                  <c:v>0.12190011649765961</c:v>
                </c:pt>
                <c:pt idx="8">
                  <c:v>0.11068389560426886</c:v>
                </c:pt>
                <c:pt idx="9">
                  <c:v>0.1279802595595443</c:v>
                </c:pt>
                <c:pt idx="10">
                  <c:v>0.12715115889320322</c:v>
                </c:pt>
                <c:pt idx="11">
                  <c:v>0.11166426938561469</c:v>
                </c:pt>
                <c:pt idx="12">
                  <c:v>0.11310423326542249</c:v>
                </c:pt>
                <c:pt idx="13">
                  <c:v>0.12400349177149206</c:v>
                </c:pt>
                <c:pt idx="14">
                  <c:v>0.11179481927448393</c:v>
                </c:pt>
                <c:pt idx="15">
                  <c:v>0.12159241091373127</c:v>
                </c:pt>
                <c:pt idx="16">
                  <c:v>0.11722800509808512</c:v>
                </c:pt>
                <c:pt idx="17">
                  <c:v>0.12430439687645048</c:v>
                </c:pt>
                <c:pt idx="18">
                  <c:v>0.12917988979297923</c:v>
                </c:pt>
                <c:pt idx="19">
                  <c:v>0.13284446840055825</c:v>
                </c:pt>
                <c:pt idx="20">
                  <c:v>0.13412126369031768</c:v>
                </c:pt>
                <c:pt idx="21">
                  <c:v>0.13142092649756903</c:v>
                </c:pt>
                <c:pt idx="22">
                  <c:v>0.12875584667765033</c:v>
                </c:pt>
                <c:pt idx="23">
                  <c:v>0.1483962842475869</c:v>
                </c:pt>
                <c:pt idx="24">
                  <c:v>0.15094683928207656</c:v>
                </c:pt>
                <c:pt idx="25">
                  <c:v>0.150211765427487</c:v>
                </c:pt>
                <c:pt idx="26">
                  <c:v>0.1464410285543473</c:v>
                </c:pt>
                <c:pt idx="27">
                  <c:v>0.12947842438397494</c:v>
                </c:pt>
                <c:pt idx="28">
                  <c:v>0.11548376805275648</c:v>
                </c:pt>
                <c:pt idx="29">
                  <c:v>0.11553534013932976</c:v>
                </c:pt>
                <c:pt idx="30">
                  <c:v>0.11088484224941522</c:v>
                </c:pt>
                <c:pt idx="31">
                  <c:v>0.1133296466180301</c:v>
                </c:pt>
                <c:pt idx="32">
                  <c:v>0.11159118032614915</c:v>
                </c:pt>
                <c:pt idx="33">
                  <c:v>0.10867203718622742</c:v>
                </c:pt>
                <c:pt idx="34">
                  <c:v>0.10430704142366745</c:v>
                </c:pt>
                <c:pt idx="35">
                  <c:v>0.1067838316413176</c:v>
                </c:pt>
                <c:pt idx="36">
                  <c:v>0.12665659030590695</c:v>
                </c:pt>
                <c:pt idx="37">
                  <c:v>0.11886283380667342</c:v>
                </c:pt>
                <c:pt idx="38">
                  <c:v>0.12160535756691221</c:v>
                </c:pt>
                <c:pt idx="39">
                  <c:v>0.11126657008156365</c:v>
                </c:pt>
                <c:pt idx="40">
                  <c:v>0.10768704036633894</c:v>
                </c:pt>
                <c:pt idx="41">
                  <c:v>0.10525683450226364</c:v>
                </c:pt>
                <c:pt idx="42">
                  <c:v>0.10462299553808144</c:v>
                </c:pt>
                <c:pt idx="43">
                  <c:v>0.10909586577540584</c:v>
                </c:pt>
                <c:pt idx="44">
                  <c:v>0.11457391974337808</c:v>
                </c:pt>
                <c:pt idx="45">
                  <c:v>0.11948609663163737</c:v>
                </c:pt>
                <c:pt idx="46">
                  <c:v>0.12204377393432267</c:v>
                </c:pt>
                <c:pt idx="47">
                  <c:v>0.11907808934605621</c:v>
                </c:pt>
                <c:pt idx="48">
                  <c:v>0.12698392503260342</c:v>
                </c:pt>
                <c:pt idx="49">
                  <c:v>0.1346747626111484</c:v>
                </c:pt>
                <c:pt idx="50">
                  <c:v>0.14235668662814127</c:v>
                </c:pt>
                <c:pt idx="51">
                  <c:v>0.13598008987892046</c:v>
                </c:pt>
                <c:pt idx="52">
                  <c:v>0.13984838398298255</c:v>
                </c:pt>
                <c:pt idx="53">
                  <c:v>0.20043234483048536</c:v>
                </c:pt>
                <c:pt idx="54">
                  <c:v>0.121680303269386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06.0"/>
          <c:min val="55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60087479496993"/>
          <c:min val="0.05963714747619902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3489588297385027</c:v>
                </c:pt>
                <c:pt idx="1">
                  <c:v>0.1458877531929647</c:v>
                </c:pt>
                <c:pt idx="2">
                  <c:v>0.1415885339442577</c:v>
                </c:pt>
                <c:pt idx="3">
                  <c:v>0.14825636109957988</c:v>
                </c:pt>
                <c:pt idx="4">
                  <c:v>0.14701021906517575</c:v>
                </c:pt>
                <c:pt idx="5">
                  <c:v>0.14406648177046416</c:v>
                </c:pt>
                <c:pt idx="6">
                  <c:v>0.15045384808036655</c:v>
                </c:pt>
                <c:pt idx="7">
                  <c:v>0.1458596718786392</c:v>
                </c:pt>
                <c:pt idx="8">
                  <c:v>0.14221554307091644</c:v>
                </c:pt>
                <c:pt idx="9">
                  <c:v>0.13200302707917053</c:v>
                </c:pt>
                <c:pt idx="10">
                  <c:v>0.11366563768542236</c:v>
                </c:pt>
                <c:pt idx="11">
                  <c:v>0.11323107393610307</c:v>
                </c:pt>
                <c:pt idx="12">
                  <c:v>0.11419144281726237</c:v>
                </c:pt>
                <c:pt idx="13">
                  <c:v>0.11506705549226894</c:v>
                </c:pt>
                <c:pt idx="14">
                  <c:v>0.1413373481667803</c:v>
                </c:pt>
                <c:pt idx="15">
                  <c:v>0.13662671647949304</c:v>
                </c:pt>
                <c:pt idx="16">
                  <c:v>0.13852593346944492</c:v>
                </c:pt>
                <c:pt idx="17">
                  <c:v>0.1437986163239971</c:v>
                </c:pt>
                <c:pt idx="18">
                  <c:v>0.14123360749494313</c:v>
                </c:pt>
                <c:pt idx="19">
                  <c:v>0.14434090707423092</c:v>
                </c:pt>
                <c:pt idx="20">
                  <c:v>0.15043724616175636</c:v>
                </c:pt>
                <c:pt idx="21">
                  <c:v>0.13373306389692208</c:v>
                </c:pt>
                <c:pt idx="22">
                  <c:v>0.12997465901974994</c:v>
                </c:pt>
                <c:pt idx="23">
                  <c:v>0.13751490155726592</c:v>
                </c:pt>
                <c:pt idx="24">
                  <c:v>0.13354752438275092</c:v>
                </c:pt>
                <c:pt idx="25">
                  <c:v>0.1332957263074636</c:v>
                </c:pt>
                <c:pt idx="26">
                  <c:v>0.14013536698820206</c:v>
                </c:pt>
                <c:pt idx="27">
                  <c:v>0.13606614386073762</c:v>
                </c:pt>
                <c:pt idx="28">
                  <c:v>0.13277025453132005</c:v>
                </c:pt>
                <c:pt idx="29">
                  <c:v>0.13629260165535825</c:v>
                </c:pt>
                <c:pt idx="30">
                  <c:v>0.13444722519502125</c:v>
                </c:pt>
                <c:pt idx="31">
                  <c:v>0.13180228745455824</c:v>
                </c:pt>
                <c:pt idx="32">
                  <c:v>0.13217671255499744</c:v>
                </c:pt>
                <c:pt idx="33">
                  <c:v>0.12908996963627922</c:v>
                </c:pt>
                <c:pt idx="34">
                  <c:v>0.13463998482255907</c:v>
                </c:pt>
                <c:pt idx="35">
                  <c:v>0.13895714601525366</c:v>
                </c:pt>
                <c:pt idx="36">
                  <c:v>0.14228760276143412</c:v>
                </c:pt>
                <c:pt idx="37">
                  <c:v>0.13959807905832</c:v>
                </c:pt>
                <c:pt idx="38">
                  <c:v>0.14229336549379015</c:v>
                </c:pt>
                <c:pt idx="39">
                  <c:v>0.1472609978850511</c:v>
                </c:pt>
                <c:pt idx="40">
                  <c:v>0.16101232090474085</c:v>
                </c:pt>
                <c:pt idx="41">
                  <c:v>0.15383598948338748</c:v>
                </c:pt>
                <c:pt idx="42">
                  <c:v>0.16101806926121404</c:v>
                </c:pt>
                <c:pt idx="43">
                  <c:v>0.16319273203517448</c:v>
                </c:pt>
                <c:pt idx="44">
                  <c:v>0.16904881245829737</c:v>
                </c:pt>
                <c:pt idx="45">
                  <c:v>0.1688012283643986</c:v>
                </c:pt>
                <c:pt idx="46">
                  <c:v>0.1664118106910946</c:v>
                </c:pt>
                <c:pt idx="47">
                  <c:v>0.16232378935819208</c:v>
                </c:pt>
                <c:pt idx="48">
                  <c:v>0.1563705942502981</c:v>
                </c:pt>
                <c:pt idx="49">
                  <c:v>0.16196505610881143</c:v>
                </c:pt>
                <c:pt idx="50">
                  <c:v>0.15323079249266292</c:v>
                </c:pt>
                <c:pt idx="51">
                  <c:v>0.14872778728794245</c:v>
                </c:pt>
                <c:pt idx="52">
                  <c:v>0.14536502021302286</c:v>
                </c:pt>
                <c:pt idx="53">
                  <c:v>0.1678190356571798</c:v>
                </c:pt>
                <c:pt idx="54">
                  <c:v>0.1653392251213011</c:v>
                </c:pt>
                <c:pt idx="55">
                  <c:v>0.1563506670602482</c:v>
                </c:pt>
                <c:pt idx="56">
                  <c:v>0.15546987737399492</c:v>
                </c:pt>
                <c:pt idx="57">
                  <c:v>0.16415909944297805</c:v>
                </c:pt>
                <c:pt idx="58">
                  <c:v>0.17306172197387887</c:v>
                </c:pt>
                <c:pt idx="59">
                  <c:v>0.18055325954368254</c:v>
                </c:pt>
                <c:pt idx="60">
                  <c:v>0.18382783045357287</c:v>
                </c:pt>
                <c:pt idx="61">
                  <c:v>0.1717757526971259</c:v>
                </c:pt>
                <c:pt idx="62">
                  <c:v>0.15510905472494424</c:v>
                </c:pt>
                <c:pt idx="63">
                  <c:v>0.1568687249060257</c:v>
                </c:pt>
                <c:pt idx="64">
                  <c:v>0.15146921601790414</c:v>
                </c:pt>
                <c:pt idx="65">
                  <c:v>0.15063360138148083</c:v>
                </c:pt>
                <c:pt idx="66">
                  <c:v>0.16169289636531448</c:v>
                </c:pt>
                <c:pt idx="67">
                  <c:v>0.15959088661381254</c:v>
                </c:pt>
                <c:pt idx="68">
                  <c:v>0.14951221578313686</c:v>
                </c:pt>
                <c:pt idx="69">
                  <c:v>0.15287042333938292</c:v>
                </c:pt>
                <c:pt idx="70">
                  <c:v>0.15311009783279722</c:v>
                </c:pt>
                <c:pt idx="71">
                  <c:v>0.15073650779786366</c:v>
                </c:pt>
                <c:pt idx="72">
                  <c:v>0.15660780977552255</c:v>
                </c:pt>
                <c:pt idx="73">
                  <c:v>0.1518819189941915</c:v>
                </c:pt>
                <c:pt idx="74">
                  <c:v>0.14728171521412087</c:v>
                </c:pt>
                <c:pt idx="75">
                  <c:v>0.14103843366799088</c:v>
                </c:pt>
                <c:pt idx="76">
                  <c:v>0.13613316441061188</c:v>
                </c:pt>
                <c:pt idx="77">
                  <c:v>0.13516226838286746</c:v>
                </c:pt>
                <c:pt idx="78">
                  <c:v>0.13735289537610226</c:v>
                </c:pt>
                <c:pt idx="79">
                  <c:v>0.13591920824797277</c:v>
                </c:pt>
                <c:pt idx="80">
                  <c:v>0.13956648332016064</c:v>
                </c:pt>
                <c:pt idx="81">
                  <c:v>0.14258776284365532</c:v>
                </c:pt>
                <c:pt idx="82">
                  <c:v>0.13914406387588588</c:v>
                </c:pt>
                <c:pt idx="83">
                  <c:v>0.13572980780978208</c:v>
                </c:pt>
                <c:pt idx="84">
                  <c:v>0.13914291516099353</c:v>
                </c:pt>
                <c:pt idx="85">
                  <c:v>0.1364360301947212</c:v>
                </c:pt>
                <c:pt idx="86">
                  <c:v>0.13712384379506412</c:v>
                </c:pt>
                <c:pt idx="87">
                  <c:v>0.13940044528466847</c:v>
                </c:pt>
                <c:pt idx="88">
                  <c:v>0.144875531884466</c:v>
                </c:pt>
                <c:pt idx="89">
                  <c:v>0.14936894024116984</c:v>
                </c:pt>
                <c:pt idx="90">
                  <c:v>0.14047182728210877</c:v>
                </c:pt>
                <c:pt idx="91">
                  <c:v>0.14684050231678972</c:v>
                </c:pt>
                <c:pt idx="92">
                  <c:v>0.15155368005952824</c:v>
                </c:pt>
                <c:pt idx="93">
                  <c:v>0.14850084893199142</c:v>
                </c:pt>
                <c:pt idx="94">
                  <c:v>0.14292023169066323</c:v>
                </c:pt>
                <c:pt idx="95">
                  <c:v>0.14573877147047104</c:v>
                </c:pt>
                <c:pt idx="96">
                  <c:v>0.1398188217363398</c:v>
                </c:pt>
                <c:pt idx="97">
                  <c:v>0.15092994899779105</c:v>
                </c:pt>
                <c:pt idx="98">
                  <c:v>0.1487780731617026</c:v>
                </c:pt>
                <c:pt idx="99">
                  <c:v>0.1534901648730154</c:v>
                </c:pt>
                <c:pt idx="100">
                  <c:v>0.15082077796442248</c:v>
                </c:pt>
                <c:pt idx="101">
                  <c:v>0.15333884826101699</c:v>
                </c:pt>
                <c:pt idx="102">
                  <c:v>0.15407068605838758</c:v>
                </c:pt>
                <c:pt idx="103">
                  <c:v>0.14297250695620406</c:v>
                </c:pt>
                <c:pt idx="104">
                  <c:v>0.13909728906248361</c:v>
                </c:pt>
              </c:numCache>
            </c:numRef>
          </c:xVal>
          <c:yVal>
            <c:numRef>
              <c:f>Sheet1!$B$2:$B$106</c:f>
              <c:numCache>
                <c:formatCode>General</c:formatCode>
                <c:ptCount val="105"/>
                <c:pt idx="0">
                  <c:v>0.22448371723590152</c:v>
                </c:pt>
                <c:pt idx="1">
                  <c:v>0.24133406232914162</c:v>
                </c:pt>
                <c:pt idx="2">
                  <c:v>0.23332979963956324</c:v>
                </c:pt>
                <c:pt idx="3">
                  <c:v>0.23139421514462138</c:v>
                </c:pt>
                <c:pt idx="4">
                  <c:v>0.19582013932868905</c:v>
                </c:pt>
                <c:pt idx="5">
                  <c:v>0.17259762761562042</c:v>
                </c:pt>
                <c:pt idx="6">
                  <c:v>0.16975070675918788</c:v>
                </c:pt>
                <c:pt idx="7">
                  <c:v>0.15738773197336733</c:v>
                </c:pt>
                <c:pt idx="8">
                  <c:v>0.17779310344827587</c:v>
                </c:pt>
                <c:pt idx="9">
                  <c:v>0.17002608489447474</c:v>
                </c:pt>
                <c:pt idx="10">
                  <c:v>0.1884892086330935</c:v>
                </c:pt>
                <c:pt idx="11">
                  <c:v>0.19222038794882376</c:v>
                </c:pt>
                <c:pt idx="12">
                  <c:v>0.20531622364802934</c:v>
                </c:pt>
                <c:pt idx="13">
                  <c:v>0.20160450093769536</c:v>
                </c:pt>
                <c:pt idx="14">
                  <c:v>0.2092632051138275</c:v>
                </c:pt>
                <c:pt idx="15">
                  <c:v>0.20393467918220393</c:v>
                </c:pt>
                <c:pt idx="16">
                  <c:v>0.18072637823759224</c:v>
                </c:pt>
                <c:pt idx="17">
                  <c:v>0.1883616543764027</c:v>
                </c:pt>
                <c:pt idx="18">
                  <c:v>0.17104289940828402</c:v>
                </c:pt>
                <c:pt idx="19">
                  <c:v>0.15219611848825332</c:v>
                </c:pt>
                <c:pt idx="20">
                  <c:v>0.17140454163162322</c:v>
                </c:pt>
                <c:pt idx="21">
                  <c:v>0.15215292527514965</c:v>
                </c:pt>
                <c:pt idx="22">
                  <c:v>0.14718339686573487</c:v>
                </c:pt>
                <c:pt idx="23">
                  <c:v>0.1319324090121317</c:v>
                </c:pt>
                <c:pt idx="24">
                  <c:v>0.13997555012224938</c:v>
                </c:pt>
                <c:pt idx="25">
                  <c:v>0.13502398903358465</c:v>
                </c:pt>
                <c:pt idx="26">
                  <c:v>0.13708920187793427</c:v>
                </c:pt>
                <c:pt idx="27">
                  <c:v>0.14551024315527475</c:v>
                </c:pt>
                <c:pt idx="28">
                  <c:v>0.13824264564506825</c:v>
                </c:pt>
                <c:pt idx="29">
                  <c:v>0.12891566265060242</c:v>
                </c:pt>
                <c:pt idx="30">
                  <c:v>0.1285806590566444</c:v>
                </c:pt>
                <c:pt idx="31">
                  <c:v>0.11854561101549053</c:v>
                </c:pt>
                <c:pt idx="32">
                  <c:v>0.12651531849239586</c:v>
                </c:pt>
                <c:pt idx="33">
                  <c:v>0.12749762131303521</c:v>
                </c:pt>
                <c:pt idx="34">
                  <c:v>0.13592741231896702</c:v>
                </c:pt>
                <c:pt idx="35">
                  <c:v>0.16326530612244897</c:v>
                </c:pt>
                <c:pt idx="36">
                  <c:v>0.1483993061031383</c:v>
                </c:pt>
                <c:pt idx="37">
                  <c:v>0.13065134099616857</c:v>
                </c:pt>
                <c:pt idx="38">
                  <c:v>0.12106135986733002</c:v>
                </c:pt>
                <c:pt idx="39">
                  <c:v>0.11412268188302425</c:v>
                </c:pt>
                <c:pt idx="40">
                  <c:v>0.12351464435146443</c:v>
                </c:pt>
                <c:pt idx="41">
                  <c:v>0.11146025878003697</c:v>
                </c:pt>
                <c:pt idx="42">
                  <c:v>0.1186148542776559</c:v>
                </c:pt>
                <c:pt idx="43">
                  <c:v>0.12918266593527153</c:v>
                </c:pt>
                <c:pt idx="44">
                  <c:v>0.12321068815608101</c:v>
                </c:pt>
                <c:pt idx="45">
                  <c:v>0.12288388767177853</c:v>
                </c:pt>
                <c:pt idx="46">
                  <c:v>0.12596350863498879</c:v>
                </c:pt>
                <c:pt idx="47">
                  <c:v>0.12216108054027014</c:v>
                </c:pt>
                <c:pt idx="48">
                  <c:v>0.14051724137931035</c:v>
                </c:pt>
                <c:pt idx="49">
                  <c:v>0.15955766192733017</c:v>
                </c:pt>
                <c:pt idx="50">
                  <c:v>0.13523473802275277</c:v>
                </c:pt>
                <c:pt idx="51">
                  <c:v>0.1332080873143675</c:v>
                </c:pt>
                <c:pt idx="52">
                  <c:v>0.15420489296636086</c:v>
                </c:pt>
                <c:pt idx="53">
                  <c:v>0.13901018922852984</c:v>
                </c:pt>
                <c:pt idx="54">
                  <c:v>0.12896668548842463</c:v>
                </c:pt>
                <c:pt idx="55">
                  <c:v>0.13509353540137342</c:v>
                </c:pt>
                <c:pt idx="56">
                  <c:v>0.1511111111111111</c:v>
                </c:pt>
                <c:pt idx="57">
                  <c:v>0.13788172811765909</c:v>
                </c:pt>
                <c:pt idx="58">
                  <c:v>0.13929468688936447</c:v>
                </c:pt>
                <c:pt idx="59">
                  <c:v>0.14055045871559632</c:v>
                </c:pt>
                <c:pt idx="60">
                  <c:v>0.13874262513480937</c:v>
                </c:pt>
                <c:pt idx="61">
                  <c:v>0.13651385475807135</c:v>
                </c:pt>
                <c:pt idx="62">
                  <c:v>0.15360724110391338</c:v>
                </c:pt>
                <c:pt idx="63">
                  <c:v>0.17145026575550493</c:v>
                </c:pt>
                <c:pt idx="64">
                  <c:v>0.1735080058224163</c:v>
                </c:pt>
                <c:pt idx="65">
                  <c:v>0.17927461139896372</c:v>
                </c:pt>
                <c:pt idx="66">
                  <c:v>0.16198160680201285</c:v>
                </c:pt>
                <c:pt idx="67">
                  <c:v>0.16129898013955984</c:v>
                </c:pt>
                <c:pt idx="68">
                  <c:v>0.149209586945436</c:v>
                </c:pt>
                <c:pt idx="69">
                  <c:v>0.1345599340930935</c:v>
                </c:pt>
                <c:pt idx="70">
                  <c:v>0.12999611951882034</c:v>
                </c:pt>
                <c:pt idx="71">
                  <c:v>0.13277464973157</c:v>
                </c:pt>
                <c:pt idx="72">
                  <c:v>0.13692269076305222</c:v>
                </c:pt>
                <c:pt idx="73">
                  <c:v>0.13843606724401428</c:v>
                </c:pt>
                <c:pt idx="74">
                  <c:v>0.1334024090143764</c:v>
                </c:pt>
                <c:pt idx="75">
                  <c:v>0.12423124231242312</c:v>
                </c:pt>
                <c:pt idx="76">
                  <c:v>0.1265984654731458</c:v>
                </c:pt>
                <c:pt idx="77">
                  <c:v>0.12413903572000641</c:v>
                </c:pt>
                <c:pt idx="78">
                  <c:v>0.1281081081081081</c:v>
                </c:pt>
                <c:pt idx="79">
                  <c:v>0.12422018348623853</c:v>
                </c:pt>
                <c:pt idx="80">
                  <c:v>0.1149718028015281</c:v>
                </c:pt>
                <c:pt idx="81">
                  <c:v>0.11181403560394292</c:v>
                </c:pt>
                <c:pt idx="82">
                  <c:v>0.11991117690599556</c:v>
                </c:pt>
                <c:pt idx="83">
                  <c:v>0.11128921456377376</c:v>
                </c:pt>
                <c:pt idx="84">
                  <c:v>0.10470723306544202</c:v>
                </c:pt>
                <c:pt idx="85">
                  <c:v>0.09626110307787647</c:v>
                </c:pt>
                <c:pt idx="86">
                  <c:v>0.10553686142551238</c:v>
                </c:pt>
                <c:pt idx="87">
                  <c:v>0.13872750460535638</c:v>
                </c:pt>
                <c:pt idx="88">
                  <c:v>0.1283394447354636</c:v>
                </c:pt>
                <c:pt idx="89">
                  <c:v>0.1038374717832957</c:v>
                </c:pt>
                <c:pt idx="90">
                  <c:v>0.09375604098202203</c:v>
                </c:pt>
                <c:pt idx="91">
                  <c:v>0.11692364170337739</c:v>
                </c:pt>
                <c:pt idx="92">
                  <c:v>0.11284459254771281</c:v>
                </c:pt>
                <c:pt idx="93">
                  <c:v>0.0997663872474921</c:v>
                </c:pt>
                <c:pt idx="94">
                  <c:v>0.09807723380190661</c:v>
                </c:pt>
                <c:pt idx="95">
                  <c:v>0.11604618284637135</c:v>
                </c:pt>
                <c:pt idx="96">
                  <c:v>0.11735426438211927</c:v>
                </c:pt>
                <c:pt idx="97">
                  <c:v>0.11509605078736912</c:v>
                </c:pt>
                <c:pt idx="98">
                  <c:v>0.1338440413384404</c:v>
                </c:pt>
                <c:pt idx="99">
                  <c:v>0.12846264933700932</c:v>
                </c:pt>
                <c:pt idx="100">
                  <c:v>0.16684229012996135</c:v>
                </c:pt>
                <c:pt idx="101">
                  <c:v>0.12691529343740965</c:v>
                </c:pt>
                <c:pt idx="102">
                  <c:v>0.10615406684837182</c:v>
                </c:pt>
                <c:pt idx="103">
                  <c:v>0.12080640196983687</c:v>
                </c:pt>
                <c:pt idx="104">
                  <c:v>0.1377315785061614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5456990161121337</c:v>
                </c:pt>
                <c:pt idx="1">
                  <c:v>0.1656575838709135</c:v>
                </c:pt>
                <c:pt idx="2">
                  <c:v>0.17049097068777855</c:v>
                </c:pt>
                <c:pt idx="3">
                  <c:v>0.17372247199973406</c:v>
                </c:pt>
                <c:pt idx="4">
                  <c:v>0.17414816387112714</c:v>
                </c:pt>
                <c:pt idx="5">
                  <c:v>0.16603494630938015</c:v>
                </c:pt>
                <c:pt idx="6">
                  <c:v>0.15376199703001403</c:v>
                </c:pt>
                <c:pt idx="7">
                  <c:v>0.14245693489950748</c:v>
                </c:pt>
                <c:pt idx="8">
                  <c:v>0.15225741519594452</c:v>
                </c:pt>
                <c:pt idx="9">
                  <c:v>0.13879125083064356</c:v>
                </c:pt>
                <c:pt idx="10">
                  <c:v>0.1429729183035303</c:v>
                </c:pt>
                <c:pt idx="11">
                  <c:v>0.16403261690806917</c:v>
                </c:pt>
                <c:pt idx="12">
                  <c:v>0.16121776555226436</c:v>
                </c:pt>
                <c:pt idx="13">
                  <c:v>0.14495119386835092</c:v>
                </c:pt>
                <c:pt idx="14">
                  <c:v>0.15849443379463798</c:v>
                </c:pt>
                <c:pt idx="15">
                  <c:v>0.14501481149811218</c:v>
                </c:pt>
                <c:pt idx="16">
                  <c:v>0.1515263872571946</c:v>
                </c:pt>
                <c:pt idx="17">
                  <c:v>0.14427918828796668</c:v>
                </c:pt>
                <c:pt idx="18">
                  <c:v>0.13560590428957284</c:v>
                </c:pt>
                <c:pt idx="19">
                  <c:v>0.13282065942717095</c:v>
                </c:pt>
                <c:pt idx="20">
                  <c:v>0.12860516796220214</c:v>
                </c:pt>
                <c:pt idx="21">
                  <c:v>0.1278170586725571</c:v>
                </c:pt>
                <c:pt idx="22">
                  <c:v>0.1404940331793449</c:v>
                </c:pt>
                <c:pt idx="23">
                  <c:v>0.11550840205380865</c:v>
                </c:pt>
                <c:pt idx="24">
                  <c:v>0.1091822801577297</c:v>
                </c:pt>
                <c:pt idx="25">
                  <c:v>0.11409785454295554</c:v>
                </c:pt>
                <c:pt idx="26">
                  <c:v>0.112615005022912</c:v>
                </c:pt>
                <c:pt idx="27">
                  <c:v>0.13515797559533058</c:v>
                </c:pt>
                <c:pt idx="28">
                  <c:v>0.14694032202821394</c:v>
                </c:pt>
                <c:pt idx="29">
                  <c:v>0.14613735860981888</c:v>
                </c:pt>
                <c:pt idx="30">
                  <c:v>0.14739548883297418</c:v>
                </c:pt>
                <c:pt idx="31">
                  <c:v>0.13940419000951687</c:v>
                </c:pt>
                <c:pt idx="32">
                  <c:v>0.1390954703946755</c:v>
                </c:pt>
                <c:pt idx="33">
                  <c:v>0.1492575851480146</c:v>
                </c:pt>
                <c:pt idx="34">
                  <c:v>0.15856340329942753</c:v>
                </c:pt>
                <c:pt idx="35">
                  <c:v>0.15241443965439794</c:v>
                </c:pt>
                <c:pt idx="36">
                  <c:v>0.12463808492523694</c:v>
                </c:pt>
                <c:pt idx="37">
                  <c:v>0.13198768410403855</c:v>
                </c:pt>
                <c:pt idx="38">
                  <c:v>0.13054782174231155</c:v>
                </c:pt>
                <c:pt idx="39">
                  <c:v>0.14629581684152446</c:v>
                </c:pt>
                <c:pt idx="40">
                  <c:v>0.1531773762264283</c:v>
                </c:pt>
                <c:pt idx="41">
                  <c:v>0.15455926452728785</c:v>
                </c:pt>
                <c:pt idx="42">
                  <c:v>0.15383329269668444</c:v>
                </c:pt>
                <c:pt idx="43">
                  <c:v>0.15857229960072858</c:v>
                </c:pt>
                <c:pt idx="44">
                  <c:v>0.1608158850749754</c:v>
                </c:pt>
                <c:pt idx="45">
                  <c:v>0.16538652143286087</c:v>
                </c:pt>
                <c:pt idx="46">
                  <c:v>0.15538088323264226</c:v>
                </c:pt>
                <c:pt idx="47">
                  <c:v>0.15832371941625784</c:v>
                </c:pt>
                <c:pt idx="48">
                  <c:v>0.15581171808933736</c:v>
                </c:pt>
                <c:pt idx="49">
                  <c:v>0.14830559776475694</c:v>
                </c:pt>
                <c:pt idx="50">
                  <c:v>0.15168049104610945</c:v>
                </c:pt>
                <c:pt idx="51">
                  <c:v>0.14163357104978075</c:v>
                </c:pt>
              </c:numCache>
            </c:numRef>
          </c:xVal>
          <c:yVal>
            <c:numRef>
              <c:f>Sheet1!$B$109:$B$160</c:f>
              <c:numCache>
                <c:formatCode>General</c:formatCode>
                <c:ptCount val="52"/>
                <c:pt idx="0">
                  <c:v>0.14336483321217997</c:v>
                </c:pt>
                <c:pt idx="1">
                  <c:v>0.12556862071925157</c:v>
                </c:pt>
                <c:pt idx="2">
                  <c:v>0.12529719448407037</c:v>
                </c:pt>
                <c:pt idx="3">
                  <c:v>0.12469530773918343</c:v>
                </c:pt>
                <c:pt idx="4">
                  <c:v>0.11146315703956454</c:v>
                </c:pt>
                <c:pt idx="5">
                  <c:v>0.10427997162449752</c:v>
                </c:pt>
                <c:pt idx="6">
                  <c:v>0.1140157202154906</c:v>
                </c:pt>
                <c:pt idx="7">
                  <c:v>0.11868263473053892</c:v>
                </c:pt>
                <c:pt idx="8">
                  <c:v>0.11646000486263068</c:v>
                </c:pt>
                <c:pt idx="9">
                  <c:v>0.13877505814597407</c:v>
                </c:pt>
                <c:pt idx="10">
                  <c:v>0.13127373498922304</c:v>
                </c:pt>
                <c:pt idx="11">
                  <c:v>0.1301484148590498</c:v>
                </c:pt>
                <c:pt idx="12">
                  <c:v>0.1295238095238095</c:v>
                </c:pt>
                <c:pt idx="13">
                  <c:v>0.1356489295549436</c:v>
                </c:pt>
                <c:pt idx="14">
                  <c:v>0.12824051256776736</c:v>
                </c:pt>
                <c:pt idx="15">
                  <c:v>0.12660419637400694</c:v>
                </c:pt>
                <c:pt idx="16">
                  <c:v>0.12258501864196136</c:v>
                </c:pt>
                <c:pt idx="17">
                  <c:v>0.11914942794406565</c:v>
                </c:pt>
                <c:pt idx="18">
                  <c:v>0.1174842380439797</c:v>
                </c:pt>
                <c:pt idx="19">
                  <c:v>0.12796027501909854</c:v>
                </c:pt>
                <c:pt idx="20">
                  <c:v>0.11959573273441887</c:v>
                </c:pt>
                <c:pt idx="21">
                  <c:v>0.11869860564890955</c:v>
                </c:pt>
                <c:pt idx="22">
                  <c:v>0.12056226347089566</c:v>
                </c:pt>
                <c:pt idx="23">
                  <c:v>0.14345403899721448</c:v>
                </c:pt>
                <c:pt idx="24">
                  <c:v>0.15373328985979784</c:v>
                </c:pt>
                <c:pt idx="25">
                  <c:v>0.16974358974358975</c:v>
                </c:pt>
                <c:pt idx="26">
                  <c:v>0.15250470165840316</c:v>
                </c:pt>
                <c:pt idx="27">
                  <c:v>0.11452776906181361</c:v>
                </c:pt>
                <c:pt idx="28">
                  <c:v>0.09462517680339462</c:v>
                </c:pt>
                <c:pt idx="29">
                  <c:v>0.08973487423521415</c:v>
                </c:pt>
                <c:pt idx="30">
                  <c:v>0.100355871886121</c:v>
                </c:pt>
                <c:pt idx="31">
                  <c:v>0.08408770871052103</c:v>
                </c:pt>
                <c:pt idx="32">
                  <c:v>0.07454643434524878</c:v>
                </c:pt>
                <c:pt idx="33">
                  <c:v>0.09710483725948571</c:v>
                </c:pt>
                <c:pt idx="34">
                  <c:v>0.12246913580246914</c:v>
                </c:pt>
                <c:pt idx="35">
                  <c:v>0.1352124183006536</c:v>
                </c:pt>
                <c:pt idx="36">
                  <c:v>0.1067675493905002</c:v>
                </c:pt>
                <c:pt idx="37">
                  <c:v>0.10979885587746817</c:v>
                </c:pt>
                <c:pt idx="38">
                  <c:v>0.10317625077849284</c:v>
                </c:pt>
                <c:pt idx="39">
                  <c:v>0.11921954217237671</c:v>
                </c:pt>
                <c:pt idx="40">
                  <c:v>0.10393300433677284</c:v>
                </c:pt>
                <c:pt idx="41">
                  <c:v>0.10541913632514818</c:v>
                </c:pt>
                <c:pt idx="42">
                  <c:v>0.10004638936137313</c:v>
                </c:pt>
                <c:pt idx="43">
                  <c:v>0.11023710529272952</c:v>
                </c:pt>
                <c:pt idx="44">
                  <c:v>0.10979367005881804</c:v>
                </c:pt>
                <c:pt idx="45">
                  <c:v>0.13148866348448687</c:v>
                </c:pt>
                <c:pt idx="46">
                  <c:v>0.118609783008459</c:v>
                </c:pt>
                <c:pt idx="47">
                  <c:v>0.12370311252992817</c:v>
                </c:pt>
                <c:pt idx="48">
                  <c:v>0.11707317073170732</c:v>
                </c:pt>
                <c:pt idx="49">
                  <c:v>0.12843571880937302</c:v>
                </c:pt>
                <c:pt idx="50">
                  <c:v>0.17207911871903026</c:v>
                </c:pt>
                <c:pt idx="51">
                  <c:v>0.141805527671819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2977198975474974</c:v>
                </c:pt>
              </c:numCache>
            </c:numRef>
          </c:xVal>
          <c:yVal>
            <c:numRef>
              <c:f>Sheet1!$B$163:$B$164</c:f>
              <c:numCache>
                <c:formatCode>General</c:formatCode>
                <c:ptCount val="2"/>
                <c:pt idx="0">
                  <c:v>0.20043234483048536</c:v>
                </c:pt>
                <c:pt idx="1">
                  <c:v>0.2004323448304853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2977198975474974</c:v>
                </c:pt>
                <c:pt idx="1">
                  <c:v>-0.12977198975474974</c:v>
                </c:pt>
              </c:numCache>
            </c:numRef>
          </c:xVal>
          <c:yVal>
            <c:numRef>
              <c:f>Sheet1!$B$167:$B$168</c:f>
              <c:numCache>
                <c:formatCode>General</c:formatCode>
                <c:ptCount val="2"/>
                <c:pt idx="0">
                  <c:v>0.200432344830485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064811034495893</c:v>
                </c:pt>
              </c:numCache>
            </c:numRef>
          </c:xVal>
          <c:yVal>
            <c:numRef>
              <c:f>Sheet1!$B$171:$B$172</c:f>
              <c:numCache>
                <c:formatCode>General</c:formatCode>
                <c:ptCount val="2"/>
                <c:pt idx="0">
                  <c:v>0.13984838398298255</c:v>
                </c:pt>
                <c:pt idx="1">
                  <c:v>0.1398483839829825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064811034495893</c:v>
                </c:pt>
                <c:pt idx="1">
                  <c:v>0.08064811034495893</c:v>
                </c:pt>
              </c:numCache>
            </c:numRef>
          </c:xVal>
          <c:yVal>
            <c:numRef>
              <c:f>Sheet1!$B$175:$B$176</c:f>
              <c:numCache>
                <c:formatCode>General</c:formatCode>
                <c:ptCount val="2"/>
                <c:pt idx="0">
                  <c:v>0.1398483839829825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4374945447789328</c:v>
                </c:pt>
              </c:numCache>
            </c:numRef>
          </c:xVal>
          <c:yVal>
            <c:numRef>
              <c:f>Sheet1!$B$179:$B$180</c:f>
              <c:numCache>
                <c:formatCode>General</c:formatCode>
                <c:ptCount val="2"/>
                <c:pt idx="0">
                  <c:v>0.12168030326938636</c:v>
                </c:pt>
                <c:pt idx="1">
                  <c:v>0.1216803032693863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4374945447789328</c:v>
                </c:pt>
                <c:pt idx="1">
                  <c:v>0.14374945447789328</c:v>
                </c:pt>
              </c:numCache>
            </c:numRef>
          </c:xVal>
          <c:yVal>
            <c:numRef>
              <c:f>Sheet1!$B$183:$B$184</c:f>
              <c:numCache>
                <c:formatCode>General</c:formatCode>
                <c:ptCount val="2"/>
                <c:pt idx="0">
                  <c:v>0.121680303269386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5456990161121337</c:v>
                </c:pt>
                <c:pt idx="1">
                  <c:v>0.1656575838709135</c:v>
                </c:pt>
                <c:pt idx="2">
                  <c:v>0.17049097068777855</c:v>
                </c:pt>
                <c:pt idx="3">
                  <c:v>0.17372247199973406</c:v>
                </c:pt>
                <c:pt idx="4">
                  <c:v>0.17414816387112714</c:v>
                </c:pt>
                <c:pt idx="5">
                  <c:v>0.16603494630938015</c:v>
                </c:pt>
                <c:pt idx="6">
                  <c:v>0.15376199703001403</c:v>
                </c:pt>
                <c:pt idx="7">
                  <c:v>0.14245693489950748</c:v>
                </c:pt>
                <c:pt idx="8">
                  <c:v>0.15225741519594452</c:v>
                </c:pt>
                <c:pt idx="9">
                  <c:v>0.13879125083064356</c:v>
                </c:pt>
                <c:pt idx="10">
                  <c:v>0.1429729183035303</c:v>
                </c:pt>
                <c:pt idx="11">
                  <c:v>0.16403261690806917</c:v>
                </c:pt>
                <c:pt idx="12">
                  <c:v>0.16121776555226436</c:v>
                </c:pt>
                <c:pt idx="13">
                  <c:v>0.14495119386835092</c:v>
                </c:pt>
                <c:pt idx="14">
                  <c:v>0.15849443379463798</c:v>
                </c:pt>
                <c:pt idx="15">
                  <c:v>0.14501481149811218</c:v>
                </c:pt>
                <c:pt idx="16">
                  <c:v>0.1515263872571946</c:v>
                </c:pt>
                <c:pt idx="17">
                  <c:v>0.14427918828796668</c:v>
                </c:pt>
                <c:pt idx="18">
                  <c:v>0.13560590428957284</c:v>
                </c:pt>
                <c:pt idx="19">
                  <c:v>0.13282065942717095</c:v>
                </c:pt>
                <c:pt idx="20">
                  <c:v>0.12860516796220214</c:v>
                </c:pt>
                <c:pt idx="21">
                  <c:v>0.1278170586725571</c:v>
                </c:pt>
                <c:pt idx="22">
                  <c:v>0.1404940331793449</c:v>
                </c:pt>
                <c:pt idx="23">
                  <c:v>0.11550840205380865</c:v>
                </c:pt>
                <c:pt idx="24">
                  <c:v>0.1091822801577297</c:v>
                </c:pt>
                <c:pt idx="25">
                  <c:v>0.11409785454295554</c:v>
                </c:pt>
                <c:pt idx="26">
                  <c:v>0.112615005022912</c:v>
                </c:pt>
                <c:pt idx="27">
                  <c:v>0.13515797559533058</c:v>
                </c:pt>
                <c:pt idx="28">
                  <c:v>0.14694032202821394</c:v>
                </c:pt>
                <c:pt idx="29">
                  <c:v>0.14613735860981888</c:v>
                </c:pt>
                <c:pt idx="30">
                  <c:v>0.14739548883297418</c:v>
                </c:pt>
                <c:pt idx="31">
                  <c:v>0.13940419000951687</c:v>
                </c:pt>
                <c:pt idx="32">
                  <c:v>0.1390954703946755</c:v>
                </c:pt>
                <c:pt idx="33">
                  <c:v>0.1492575851480146</c:v>
                </c:pt>
                <c:pt idx="34">
                  <c:v>0.15856340329942753</c:v>
                </c:pt>
                <c:pt idx="35">
                  <c:v>0.15241443965439794</c:v>
                </c:pt>
                <c:pt idx="36">
                  <c:v>0.12463808492523694</c:v>
                </c:pt>
                <c:pt idx="37">
                  <c:v>0.13198768410403855</c:v>
                </c:pt>
                <c:pt idx="38">
                  <c:v>0.13054782174231155</c:v>
                </c:pt>
                <c:pt idx="39">
                  <c:v>0.14629581684152446</c:v>
                </c:pt>
                <c:pt idx="40">
                  <c:v>0.1531773762264283</c:v>
                </c:pt>
                <c:pt idx="41">
                  <c:v>0.15455926452728785</c:v>
                </c:pt>
                <c:pt idx="42">
                  <c:v>0.15383329269668444</c:v>
                </c:pt>
                <c:pt idx="43">
                  <c:v>0.15857229960072858</c:v>
                </c:pt>
                <c:pt idx="44">
                  <c:v>0.1608158850749754</c:v>
                </c:pt>
                <c:pt idx="45">
                  <c:v>0.16538652143286087</c:v>
                </c:pt>
                <c:pt idx="46">
                  <c:v>0.15538088323264226</c:v>
                </c:pt>
                <c:pt idx="47">
                  <c:v>0.15832371941625784</c:v>
                </c:pt>
                <c:pt idx="48">
                  <c:v>0.15581171808933736</c:v>
                </c:pt>
                <c:pt idx="49">
                  <c:v>0.14830559776475694</c:v>
                </c:pt>
                <c:pt idx="50">
                  <c:v>0.15168049104610945</c:v>
                </c:pt>
                <c:pt idx="51">
                  <c:v>0.14163357104978075</c:v>
                </c:pt>
                <c:pt idx="52">
                  <c:v>0.08064811034495893</c:v>
                </c:pt>
                <c:pt idx="53">
                  <c:v>-0.12977198975474974</c:v>
                </c:pt>
                <c:pt idx="54">
                  <c:v>0.14374945447789328</c:v>
                </c:pt>
              </c:numCache>
            </c:numRef>
          </c:xVal>
          <c:yVal>
            <c:numRef>
              <c:f>Sheet1!$B$187:$B$241</c:f>
              <c:numCache>
                <c:formatCode>General</c:formatCode>
                <c:ptCount val="55"/>
                <c:pt idx="0">
                  <c:v>0.11856489012602742</c:v>
                </c:pt>
                <c:pt idx="1">
                  <c:v>0.11537253489193657</c:v>
                </c:pt>
                <c:pt idx="2">
                  <c:v>0.1139809106244116</c:v>
                </c:pt>
                <c:pt idx="3">
                  <c:v>0.11305049975173642</c:v>
                </c:pt>
                <c:pt idx="4">
                  <c:v>0.11292793494135302</c:v>
                </c:pt>
                <c:pt idx="5">
                  <c:v>0.11526388504723756</c:v>
                </c:pt>
                <c:pt idx="6">
                  <c:v>0.11879750126675354</c:v>
                </c:pt>
                <c:pt idx="7">
                  <c:v>0.12205244431244475</c:v>
                </c:pt>
                <c:pt idx="8">
                  <c:v>0.11923069907857825</c:v>
                </c:pt>
                <c:pt idx="9">
                  <c:v>0.12310786468341754</c:v>
                </c:pt>
                <c:pt idx="10">
                  <c:v>0.12190388284739238</c:v>
                </c:pt>
                <c:pt idx="11">
                  <c:v>0.11584039387883371</c:v>
                </c:pt>
                <c:pt idx="12">
                  <c:v>0.11665084328100969</c:v>
                </c:pt>
                <c:pt idx="13">
                  <c:v>0.12133429957417907</c:v>
                </c:pt>
                <c:pt idx="14">
                  <c:v>0.11743494244501834</c:v>
                </c:pt>
                <c:pt idx="15">
                  <c:v>0.12131598284498428</c:v>
                </c:pt>
                <c:pt idx="16">
                  <c:v>0.11944117596742428</c:v>
                </c:pt>
                <c:pt idx="17">
                  <c:v>0.12152778280012569</c:v>
                </c:pt>
                <c:pt idx="18">
                  <c:v>0.12402498671709453</c:v>
                </c:pt>
                <c:pt idx="19">
                  <c:v>0.1248269118450386</c:v>
                </c:pt>
                <c:pt idx="20">
                  <c:v>0.1260406322536195</c:v>
                </c:pt>
                <c:pt idx="21">
                  <c:v>0.12626754395228698</c:v>
                </c:pt>
                <c:pt idx="22">
                  <c:v>0.12261760116250553</c:v>
                </c:pt>
                <c:pt idx="23">
                  <c:v>0.12981144099597366</c:v>
                </c:pt>
                <c:pt idx="24">
                  <c:v>0.13163285216860862</c:v>
                </c:pt>
                <c:pt idx="25">
                  <c:v>0.13021756453232106</c:v>
                </c:pt>
                <c:pt idx="26">
                  <c:v>0.1306445051963664</c:v>
                </c:pt>
                <c:pt idx="27">
                  <c:v>0.12415395393297166</c:v>
                </c:pt>
                <c:pt idx="28">
                  <c:v>0.12076159163182612</c:v>
                </c:pt>
                <c:pt idx="29">
                  <c:v>0.12099278011752199</c:v>
                </c:pt>
                <c:pt idx="30">
                  <c:v>0.12063054042585478</c:v>
                </c:pt>
                <c:pt idx="31">
                  <c:v>0.12293138780123203</c:v>
                </c:pt>
                <c:pt idx="32">
                  <c:v>0.12302027406756087</c:v>
                </c:pt>
                <c:pt idx="33">
                  <c:v>0.12009440737491892</c:v>
                </c:pt>
                <c:pt idx="34">
                  <c:v>0.11741508480890914</c:v>
                </c:pt>
                <c:pt idx="35">
                  <c:v>0.11918548874154992</c:v>
                </c:pt>
                <c:pt idx="36">
                  <c:v>0.1271828311370741</c:v>
                </c:pt>
                <c:pt idx="37">
                  <c:v>0.1250667413306233</c:v>
                </c:pt>
                <c:pt idx="38">
                  <c:v>0.12548130517175501</c:v>
                </c:pt>
                <c:pt idx="39">
                  <c:v>0.12094715696982333</c:v>
                </c:pt>
                <c:pt idx="40">
                  <c:v>0.11896582474848504</c:v>
                </c:pt>
                <c:pt idx="41">
                  <c:v>0.11856795274540535</c:v>
                </c:pt>
                <c:pt idx="42">
                  <c:v>0.11877697388426436</c:v>
                </c:pt>
                <c:pt idx="43">
                  <c:v>0.1174125233940564</c:v>
                </c:pt>
                <c:pt idx="44">
                  <c:v>0.11676655233679815</c:v>
                </c:pt>
                <c:pt idx="45">
                  <c:v>0.1154505789387098</c:v>
                </c:pt>
                <c:pt idx="46">
                  <c:v>0.11833139304672077</c:v>
                </c:pt>
                <c:pt idx="47">
                  <c:v>0.11748409437114607</c:v>
                </c:pt>
                <c:pt idx="48">
                  <c:v>0.11820734747275999</c:v>
                </c:pt>
                <c:pt idx="49">
                  <c:v>0.1203685027029188</c:v>
                </c:pt>
                <c:pt idx="50">
                  <c:v>0.11939680654687157</c:v>
                </c:pt>
                <c:pt idx="51">
                  <c:v>0.12228950647148495</c:v>
                </c:pt>
                <c:pt idx="52">
                  <c:v>0.13984838398298255</c:v>
                </c:pt>
                <c:pt idx="53">
                  <c:v>0.20043234483048536</c:v>
                </c:pt>
                <c:pt idx="54">
                  <c:v>0.121680303269386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60087479496993"/>
          <c:min val="0.05963714747619902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28.1039</c:v>
                </c:pt>
                <c:pt idx="1">
                  <c:v>1074.7644</c:v>
                </c:pt>
                <c:pt idx="2">
                  <c:v>1065.9468</c:v>
                </c:pt>
                <c:pt idx="3">
                  <c:v>1089.8385</c:v>
                </c:pt>
                <c:pt idx="4">
                  <c:v>1130.3286</c:v>
                </c:pt>
                <c:pt idx="5">
                  <c:v>1165.895</c:v>
                </c:pt>
                <c:pt idx="6">
                  <c:v>1195.0515</c:v>
                </c:pt>
                <c:pt idx="7">
                  <c:v>1191.4977</c:v>
                </c:pt>
                <c:pt idx="8">
                  <c:v>1143.263</c:v>
                </c:pt>
                <c:pt idx="9">
                  <c:v>1068.9916</c:v>
                </c:pt>
                <c:pt idx="10">
                  <c:v>972.7592</c:v>
                </c:pt>
                <c:pt idx="11">
                  <c:v>934.9211</c:v>
                </c:pt>
                <c:pt idx="12">
                  <c:v>929.3058</c:v>
                </c:pt>
                <c:pt idx="13">
                  <c:v>943.7008</c:v>
                </c:pt>
                <c:pt idx="14">
                  <c:v>1121.9025</c:v>
                </c:pt>
                <c:pt idx="15">
                  <c:v>1120.6211</c:v>
                </c:pt>
                <c:pt idx="16">
                  <c:v>1147.8455</c:v>
                </c:pt>
                <c:pt idx="17">
                  <c:v>1171.2417</c:v>
                </c:pt>
                <c:pt idx="18">
                  <c:v>1181.7719</c:v>
                </c:pt>
                <c:pt idx="19">
                  <c:v>1211.8711</c:v>
                </c:pt>
                <c:pt idx="20">
                  <c:v>1232.0824</c:v>
                </c:pt>
                <c:pt idx="21">
                  <c:v>1210.5558</c:v>
                </c:pt>
                <c:pt idx="22">
                  <c:v>1217.8216</c:v>
                </c:pt>
                <c:pt idx="23">
                  <c:v>1228.5534</c:v>
                </c:pt>
                <c:pt idx="24">
                  <c:v>1235.3683</c:v>
                </c:pt>
                <c:pt idx="25">
                  <c:v>1241.0491</c:v>
                </c:pt>
                <c:pt idx="26">
                  <c:v>1226.9452</c:v>
                </c:pt>
                <c:pt idx="27">
                  <c:v>1245.0605</c:v>
                </c:pt>
                <c:pt idx="28">
                  <c:v>1241.427</c:v>
                </c:pt>
                <c:pt idx="29">
                  <c:v>1280.5768</c:v>
                </c:pt>
                <c:pt idx="30">
                  <c:v>1278.5209</c:v>
                </c:pt>
                <c:pt idx="31">
                  <c:v>1243.6552</c:v>
                </c:pt>
                <c:pt idx="32">
                  <c:v>1258.7143</c:v>
                </c:pt>
                <c:pt idx="33">
                  <c:v>1243.206</c:v>
                </c:pt>
                <c:pt idx="34">
                  <c:v>1229.0321</c:v>
                </c:pt>
                <c:pt idx="35">
                  <c:v>1257.1453</c:v>
                </c:pt>
                <c:pt idx="36">
                  <c:v>1285.7768</c:v>
                </c:pt>
                <c:pt idx="37">
                  <c:v>1299.4018</c:v>
                </c:pt>
                <c:pt idx="38">
                  <c:v>1324.1826</c:v>
                </c:pt>
                <c:pt idx="39">
                  <c:v>1401.1857</c:v>
                </c:pt>
                <c:pt idx="40">
                  <c:v>1461.2873</c:v>
                </c:pt>
                <c:pt idx="41">
                  <c:v>1456.67</c:v>
                </c:pt>
                <c:pt idx="42">
                  <c:v>1467.856</c:v>
                </c:pt>
                <c:pt idx="43">
                  <c:v>1459.2824</c:v>
                </c:pt>
                <c:pt idx="44">
                  <c:v>1419.1153</c:v>
                </c:pt>
                <c:pt idx="45">
                  <c:v>1402.4595</c:v>
                </c:pt>
                <c:pt idx="46">
                  <c:v>1356.5221</c:v>
                </c:pt>
                <c:pt idx="47">
                  <c:v>1359.1597</c:v>
                </c:pt>
                <c:pt idx="48">
                  <c:v>1232.3686</c:v>
                </c:pt>
                <c:pt idx="49">
                  <c:v>1190.0325</c:v>
                </c:pt>
                <c:pt idx="50">
                  <c:v>1247.7174</c:v>
                </c:pt>
                <c:pt idx="51">
                  <c:v>1217.9342</c:v>
                </c:pt>
                <c:pt idx="52">
                  <c:v>1181.1353</c:v>
                </c:pt>
                <c:pt idx="53">
                  <c:v>1417.0464</c:v>
                </c:pt>
                <c:pt idx="54">
                  <c:v>1429.5342</c:v>
                </c:pt>
                <c:pt idx="55">
                  <c:v>1430.7923</c:v>
                </c:pt>
                <c:pt idx="56">
                  <c:v>1422.9691</c:v>
                </c:pt>
                <c:pt idx="57">
                  <c:v>1449.6622</c:v>
                </c:pt>
                <c:pt idx="58">
                  <c:v>1464.1089</c:v>
                </c:pt>
                <c:pt idx="59">
                  <c:v>1451.413</c:v>
                </c:pt>
                <c:pt idx="60">
                  <c:v>1447.5135</c:v>
                </c:pt>
                <c:pt idx="61">
                  <c:v>1397.3818</c:v>
                </c:pt>
                <c:pt idx="62">
                  <c:v>1298.491</c:v>
                </c:pt>
                <c:pt idx="63">
                  <c:v>1271.1723</c:v>
                </c:pt>
                <c:pt idx="64">
                  <c:v>1245.1506</c:v>
                </c:pt>
                <c:pt idx="65">
                  <c:v>1244.3566</c:v>
                </c:pt>
                <c:pt idx="66">
                  <c:v>1410.5458</c:v>
                </c:pt>
                <c:pt idx="67">
                  <c:v>1435.0383</c:v>
                </c:pt>
                <c:pt idx="68">
                  <c:v>1401.2105</c:v>
                </c:pt>
                <c:pt idx="69">
                  <c:v>1454.6418</c:v>
                </c:pt>
                <c:pt idx="70">
                  <c:v>1503.6866</c:v>
                </c:pt>
                <c:pt idx="71">
                  <c:v>1452.3846</c:v>
                </c:pt>
                <c:pt idx="72">
                  <c:v>1459.3456</c:v>
                </c:pt>
                <c:pt idx="73">
                  <c:v>1473.1546</c:v>
                </c:pt>
                <c:pt idx="74">
                  <c:v>1427.4359</c:v>
                </c:pt>
                <c:pt idx="75">
                  <c:v>1430.4468</c:v>
                </c:pt>
                <c:pt idx="76">
                  <c:v>1365.7045</c:v>
                </c:pt>
                <c:pt idx="77">
                  <c:v>1363.2413</c:v>
                </c:pt>
                <c:pt idx="78">
                  <c:v>1395.7454</c:v>
                </c:pt>
                <c:pt idx="79">
                  <c:v>1449.2674</c:v>
                </c:pt>
                <c:pt idx="80">
                  <c:v>1459.3038</c:v>
                </c:pt>
                <c:pt idx="81">
                  <c:v>1484.6092</c:v>
                </c:pt>
                <c:pt idx="82">
                  <c:v>1490.2531</c:v>
                </c:pt>
                <c:pt idx="83">
                  <c:v>1459.1358</c:v>
                </c:pt>
                <c:pt idx="84">
                  <c:v>1503.4386</c:v>
                </c:pt>
                <c:pt idx="85">
                  <c:v>1487.7489</c:v>
                </c:pt>
                <c:pt idx="86">
                  <c:v>1474.9319</c:v>
                </c:pt>
                <c:pt idx="87">
                  <c:v>1477.5015</c:v>
                </c:pt>
                <c:pt idx="88">
                  <c:v>1489.1782</c:v>
                </c:pt>
                <c:pt idx="89">
                  <c:v>1518.9004</c:v>
                </c:pt>
                <c:pt idx="90">
                  <c:v>1481.2639</c:v>
                </c:pt>
                <c:pt idx="91">
                  <c:v>1490.4301</c:v>
                </c:pt>
                <c:pt idx="92">
                  <c:v>1508.5852</c:v>
                </c:pt>
                <c:pt idx="93">
                  <c:v>1499.6901</c:v>
                </c:pt>
                <c:pt idx="94">
                  <c:v>1495.8633</c:v>
                </c:pt>
                <c:pt idx="95">
                  <c:v>1486.7574</c:v>
                </c:pt>
                <c:pt idx="96">
                  <c:v>1359.4829</c:v>
                </c:pt>
                <c:pt idx="97">
                  <c:v>1412.217</c:v>
                </c:pt>
                <c:pt idx="98">
                  <c:v>1352.3726</c:v>
                </c:pt>
                <c:pt idx="99">
                  <c:v>1353.0869</c:v>
                </c:pt>
                <c:pt idx="100">
                  <c:v>1242.0566</c:v>
                </c:pt>
                <c:pt idx="101">
                  <c:v>1469.8479</c:v>
                </c:pt>
                <c:pt idx="102">
                  <c:v>1479.352</c:v>
                </c:pt>
                <c:pt idx="103">
                  <c:v>1356.714</c:v>
                </c:pt>
                <c:pt idx="104">
                  <c:v>1339.6409</c:v>
                </c:pt>
              </c:numCache>
            </c:numRef>
          </c:xVal>
          <c:yVal>
            <c:numRef>
              <c:f>Sheet1!$B$2:$B$106</c:f>
              <c:numCache>
                <c:formatCode>General</c:formatCode>
                <c:ptCount val="105"/>
                <c:pt idx="0">
                  <c:v>0.22448371723590152</c:v>
                </c:pt>
                <c:pt idx="1">
                  <c:v>0.24133406232914162</c:v>
                </c:pt>
                <c:pt idx="2">
                  <c:v>0.23332979963956324</c:v>
                </c:pt>
                <c:pt idx="3">
                  <c:v>0.23139421514462138</c:v>
                </c:pt>
                <c:pt idx="4">
                  <c:v>0.19582013932868905</c:v>
                </c:pt>
                <c:pt idx="5">
                  <c:v>0.17259762761562042</c:v>
                </c:pt>
                <c:pt idx="6">
                  <c:v>0.16975070675918788</c:v>
                </c:pt>
                <c:pt idx="7">
                  <c:v>0.15738773197336733</c:v>
                </c:pt>
                <c:pt idx="8">
                  <c:v>0.17779310344827587</c:v>
                </c:pt>
                <c:pt idx="9">
                  <c:v>0.17002608489447474</c:v>
                </c:pt>
                <c:pt idx="10">
                  <c:v>0.1884892086330935</c:v>
                </c:pt>
                <c:pt idx="11">
                  <c:v>0.19222038794882376</c:v>
                </c:pt>
                <c:pt idx="12">
                  <c:v>0.20531622364802934</c:v>
                </c:pt>
                <c:pt idx="13">
                  <c:v>0.20160450093769536</c:v>
                </c:pt>
                <c:pt idx="14">
                  <c:v>0.2092632051138275</c:v>
                </c:pt>
                <c:pt idx="15">
                  <c:v>0.20393467918220393</c:v>
                </c:pt>
                <c:pt idx="16">
                  <c:v>0.18072637823759224</c:v>
                </c:pt>
                <c:pt idx="17">
                  <c:v>0.1883616543764027</c:v>
                </c:pt>
                <c:pt idx="18">
                  <c:v>0.17104289940828402</c:v>
                </c:pt>
                <c:pt idx="19">
                  <c:v>0.15219611848825332</c:v>
                </c:pt>
                <c:pt idx="20">
                  <c:v>0.17140454163162322</c:v>
                </c:pt>
                <c:pt idx="21">
                  <c:v>0.15215292527514965</c:v>
                </c:pt>
                <c:pt idx="22">
                  <c:v>0.14718339686573487</c:v>
                </c:pt>
                <c:pt idx="23">
                  <c:v>0.1319324090121317</c:v>
                </c:pt>
                <c:pt idx="24">
                  <c:v>0.13997555012224938</c:v>
                </c:pt>
                <c:pt idx="25">
                  <c:v>0.13502398903358465</c:v>
                </c:pt>
                <c:pt idx="26">
                  <c:v>0.13708920187793427</c:v>
                </c:pt>
                <c:pt idx="27">
                  <c:v>0.14551024315527475</c:v>
                </c:pt>
                <c:pt idx="28">
                  <c:v>0.13824264564506825</c:v>
                </c:pt>
                <c:pt idx="29">
                  <c:v>0.12891566265060242</c:v>
                </c:pt>
                <c:pt idx="30">
                  <c:v>0.1285806590566444</c:v>
                </c:pt>
                <c:pt idx="31">
                  <c:v>0.11854561101549053</c:v>
                </c:pt>
                <c:pt idx="32">
                  <c:v>0.12651531849239586</c:v>
                </c:pt>
                <c:pt idx="33">
                  <c:v>0.12749762131303521</c:v>
                </c:pt>
                <c:pt idx="34">
                  <c:v>0.13592741231896702</c:v>
                </c:pt>
                <c:pt idx="35">
                  <c:v>0.16326530612244897</c:v>
                </c:pt>
                <c:pt idx="36">
                  <c:v>0.1483993061031383</c:v>
                </c:pt>
                <c:pt idx="37">
                  <c:v>0.13065134099616857</c:v>
                </c:pt>
                <c:pt idx="38">
                  <c:v>0.12106135986733002</c:v>
                </c:pt>
                <c:pt idx="39">
                  <c:v>0.11412268188302425</c:v>
                </c:pt>
                <c:pt idx="40">
                  <c:v>0.12351464435146443</c:v>
                </c:pt>
                <c:pt idx="41">
                  <c:v>0.11146025878003697</c:v>
                </c:pt>
                <c:pt idx="42">
                  <c:v>0.1186148542776559</c:v>
                </c:pt>
                <c:pt idx="43">
                  <c:v>0.12918266593527153</c:v>
                </c:pt>
                <c:pt idx="44">
                  <c:v>0.12321068815608101</c:v>
                </c:pt>
                <c:pt idx="45">
                  <c:v>0.12288388767177853</c:v>
                </c:pt>
                <c:pt idx="46">
                  <c:v>0.12596350863498879</c:v>
                </c:pt>
                <c:pt idx="47">
                  <c:v>0.12216108054027014</c:v>
                </c:pt>
                <c:pt idx="48">
                  <c:v>0.14051724137931035</c:v>
                </c:pt>
                <c:pt idx="49">
                  <c:v>0.15955766192733017</c:v>
                </c:pt>
                <c:pt idx="50">
                  <c:v>0.13523473802275277</c:v>
                </c:pt>
                <c:pt idx="51">
                  <c:v>0.1332080873143675</c:v>
                </c:pt>
                <c:pt idx="52">
                  <c:v>0.15420489296636086</c:v>
                </c:pt>
                <c:pt idx="53">
                  <c:v>0.13901018922852984</c:v>
                </c:pt>
                <c:pt idx="54">
                  <c:v>0.12896668548842463</c:v>
                </c:pt>
                <c:pt idx="55">
                  <c:v>0.13509353540137342</c:v>
                </c:pt>
                <c:pt idx="56">
                  <c:v>0.1511111111111111</c:v>
                </c:pt>
                <c:pt idx="57">
                  <c:v>0.13788172811765909</c:v>
                </c:pt>
                <c:pt idx="58">
                  <c:v>0.13929468688936447</c:v>
                </c:pt>
                <c:pt idx="59">
                  <c:v>0.14055045871559632</c:v>
                </c:pt>
                <c:pt idx="60">
                  <c:v>0.13874262513480937</c:v>
                </c:pt>
                <c:pt idx="61">
                  <c:v>0.13651385475807135</c:v>
                </c:pt>
                <c:pt idx="62">
                  <c:v>0.15360724110391338</c:v>
                </c:pt>
                <c:pt idx="63">
                  <c:v>0.17145026575550493</c:v>
                </c:pt>
                <c:pt idx="64">
                  <c:v>0.1735080058224163</c:v>
                </c:pt>
                <c:pt idx="65">
                  <c:v>0.17927461139896372</c:v>
                </c:pt>
                <c:pt idx="66">
                  <c:v>0.16198160680201285</c:v>
                </c:pt>
                <c:pt idx="67">
                  <c:v>0.16129898013955984</c:v>
                </c:pt>
                <c:pt idx="68">
                  <c:v>0.149209586945436</c:v>
                </c:pt>
                <c:pt idx="69">
                  <c:v>0.1345599340930935</c:v>
                </c:pt>
                <c:pt idx="70">
                  <c:v>0.12999611951882034</c:v>
                </c:pt>
                <c:pt idx="71">
                  <c:v>0.13277464973157</c:v>
                </c:pt>
                <c:pt idx="72">
                  <c:v>0.13692269076305222</c:v>
                </c:pt>
                <c:pt idx="73">
                  <c:v>0.13843606724401428</c:v>
                </c:pt>
                <c:pt idx="74">
                  <c:v>0.1334024090143764</c:v>
                </c:pt>
                <c:pt idx="75">
                  <c:v>0.12423124231242312</c:v>
                </c:pt>
                <c:pt idx="76">
                  <c:v>0.1265984654731458</c:v>
                </c:pt>
                <c:pt idx="77">
                  <c:v>0.12413903572000641</c:v>
                </c:pt>
                <c:pt idx="78">
                  <c:v>0.1281081081081081</c:v>
                </c:pt>
                <c:pt idx="79">
                  <c:v>0.12422018348623853</c:v>
                </c:pt>
                <c:pt idx="80">
                  <c:v>0.1149718028015281</c:v>
                </c:pt>
                <c:pt idx="81">
                  <c:v>0.11181403560394292</c:v>
                </c:pt>
                <c:pt idx="82">
                  <c:v>0.11991117690599556</c:v>
                </c:pt>
                <c:pt idx="83">
                  <c:v>0.11128921456377376</c:v>
                </c:pt>
                <c:pt idx="84">
                  <c:v>0.10470723306544202</c:v>
                </c:pt>
                <c:pt idx="85">
                  <c:v>0.09626110307787647</c:v>
                </c:pt>
                <c:pt idx="86">
                  <c:v>0.10553686142551238</c:v>
                </c:pt>
                <c:pt idx="87">
                  <c:v>0.13872750460535638</c:v>
                </c:pt>
                <c:pt idx="88">
                  <c:v>0.1283394447354636</c:v>
                </c:pt>
                <c:pt idx="89">
                  <c:v>0.1038374717832957</c:v>
                </c:pt>
                <c:pt idx="90">
                  <c:v>0.09375604098202203</c:v>
                </c:pt>
                <c:pt idx="91">
                  <c:v>0.11692364170337739</c:v>
                </c:pt>
                <c:pt idx="92">
                  <c:v>0.11284459254771281</c:v>
                </c:pt>
                <c:pt idx="93">
                  <c:v>0.0997663872474921</c:v>
                </c:pt>
                <c:pt idx="94">
                  <c:v>0.09807723380190661</c:v>
                </c:pt>
                <c:pt idx="95">
                  <c:v>0.11604618284637135</c:v>
                </c:pt>
                <c:pt idx="96">
                  <c:v>0.11735426438211927</c:v>
                </c:pt>
                <c:pt idx="97">
                  <c:v>0.11509605078736912</c:v>
                </c:pt>
                <c:pt idx="98">
                  <c:v>0.1338440413384404</c:v>
                </c:pt>
                <c:pt idx="99">
                  <c:v>0.12846264933700932</c:v>
                </c:pt>
                <c:pt idx="100">
                  <c:v>0.16684229012996135</c:v>
                </c:pt>
                <c:pt idx="101">
                  <c:v>0.12691529343740965</c:v>
                </c:pt>
                <c:pt idx="102">
                  <c:v>0.10615406684837182</c:v>
                </c:pt>
                <c:pt idx="103">
                  <c:v>0.12080640196983687</c:v>
                </c:pt>
                <c:pt idx="104">
                  <c:v>0.1377315785061614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64.1386</c:v>
                </c:pt>
                <c:pt idx="1">
                  <c:v>1484.823</c:v>
                </c:pt>
                <c:pt idx="2">
                  <c:v>1523.7021</c:v>
                </c:pt>
                <c:pt idx="3">
                  <c:v>1548.3225</c:v>
                </c:pt>
                <c:pt idx="4">
                  <c:v>1540.5525</c:v>
                </c:pt>
                <c:pt idx="5">
                  <c:v>1565.997</c:v>
                </c:pt>
                <c:pt idx="6">
                  <c:v>1489.9349</c:v>
                </c:pt>
                <c:pt idx="7">
                  <c:v>1424.1393</c:v>
                </c:pt>
                <c:pt idx="8">
                  <c:v>1528.7067</c:v>
                </c:pt>
                <c:pt idx="9">
                  <c:v>1367.4549</c:v>
                </c:pt>
                <c:pt idx="10">
                  <c:v>1375.1845</c:v>
                </c:pt>
                <c:pt idx="11">
                  <c:v>1519.5668</c:v>
                </c:pt>
                <c:pt idx="12">
                  <c:v>1506.1422</c:v>
                </c:pt>
                <c:pt idx="13">
                  <c:v>1404.5298</c:v>
                </c:pt>
                <c:pt idx="14">
                  <c:v>1518.3497</c:v>
                </c:pt>
                <c:pt idx="15">
                  <c:v>1427.008</c:v>
                </c:pt>
                <c:pt idx="16">
                  <c:v>1467.6968</c:v>
                </c:pt>
                <c:pt idx="17">
                  <c:v>1401.7245</c:v>
                </c:pt>
                <c:pt idx="18">
                  <c:v>1356.2709</c:v>
                </c:pt>
                <c:pt idx="19">
                  <c:v>1322.1065</c:v>
                </c:pt>
                <c:pt idx="20">
                  <c:v>1310.2031</c:v>
                </c:pt>
                <c:pt idx="21">
                  <c:v>1335.378</c:v>
                </c:pt>
                <c:pt idx="22">
                  <c:v>1360.2242</c:v>
                </c:pt>
                <c:pt idx="23">
                  <c:v>1177.1189</c:v>
                </c:pt>
                <c:pt idx="24">
                  <c:v>1153.3404</c:v>
                </c:pt>
                <c:pt idx="25">
                  <c:v>1160.1934</c:v>
                </c:pt>
                <c:pt idx="26">
                  <c:v>1195.3475</c:v>
                </c:pt>
                <c:pt idx="27">
                  <c:v>1353.4877</c:v>
                </c:pt>
                <c:pt idx="28">
                  <c:v>1483.9581</c:v>
                </c:pt>
                <c:pt idx="29">
                  <c:v>1483.4773</c:v>
                </c:pt>
                <c:pt idx="30">
                  <c:v>1526.8333</c:v>
                </c:pt>
                <c:pt idx="31">
                  <c:v>1504.0407</c:v>
                </c:pt>
                <c:pt idx="32">
                  <c:v>1520.2482</c:v>
                </c:pt>
                <c:pt idx="33">
                  <c:v>1547.463</c:v>
                </c:pt>
                <c:pt idx="34">
                  <c:v>1588.1573</c:v>
                </c:pt>
                <c:pt idx="35">
                  <c:v>1565.0665</c:v>
                </c:pt>
                <c:pt idx="36">
                  <c:v>1379.7953</c:v>
                </c:pt>
                <c:pt idx="37">
                  <c:v>1452.4555</c:v>
                </c:pt>
                <c:pt idx="38">
                  <c:v>1426.8873</c:v>
                </c:pt>
                <c:pt idx="39">
                  <c:v>1523.2745</c:v>
                </c:pt>
                <c:pt idx="40">
                  <c:v>1556.646</c:v>
                </c:pt>
                <c:pt idx="41">
                  <c:v>1579.3025</c:v>
                </c:pt>
                <c:pt idx="42">
                  <c:v>1585.2117</c:v>
                </c:pt>
                <c:pt idx="43">
                  <c:v>1543.5117</c:v>
                </c:pt>
                <c:pt idx="44">
                  <c:v>1492.4405</c:v>
                </c:pt>
                <c:pt idx="45">
                  <c:v>1446.6449</c:v>
                </c:pt>
                <c:pt idx="46">
                  <c:v>1422.8</c:v>
                </c:pt>
                <c:pt idx="47">
                  <c:v>1450.4487</c:v>
                </c:pt>
                <c:pt idx="48">
                  <c:v>1376.7436</c:v>
                </c:pt>
                <c:pt idx="49">
                  <c:v>1305.0429</c:v>
                </c:pt>
                <c:pt idx="50">
                  <c:v>1233.4253</c:v>
                </c:pt>
                <c:pt idx="51">
                  <c:v>1292.8735</c:v>
                </c:pt>
              </c:numCache>
            </c:numRef>
          </c:xVal>
          <c:yVal>
            <c:numRef>
              <c:f>Sheet1!$B$109:$B$160</c:f>
              <c:numCache>
                <c:formatCode>General</c:formatCode>
                <c:ptCount val="52"/>
                <c:pt idx="0">
                  <c:v>0.14336483321217997</c:v>
                </c:pt>
                <c:pt idx="1">
                  <c:v>0.12556862071925157</c:v>
                </c:pt>
                <c:pt idx="2">
                  <c:v>0.12529719448407037</c:v>
                </c:pt>
                <c:pt idx="3">
                  <c:v>0.12469530773918343</c:v>
                </c:pt>
                <c:pt idx="4">
                  <c:v>0.11146315703956454</c:v>
                </c:pt>
                <c:pt idx="5">
                  <c:v>0.10427997162449752</c:v>
                </c:pt>
                <c:pt idx="6">
                  <c:v>0.1140157202154906</c:v>
                </c:pt>
                <c:pt idx="7">
                  <c:v>0.11868263473053892</c:v>
                </c:pt>
                <c:pt idx="8">
                  <c:v>0.11646000486263068</c:v>
                </c:pt>
                <c:pt idx="9">
                  <c:v>0.13877505814597407</c:v>
                </c:pt>
                <c:pt idx="10">
                  <c:v>0.13127373498922304</c:v>
                </c:pt>
                <c:pt idx="11">
                  <c:v>0.1301484148590498</c:v>
                </c:pt>
                <c:pt idx="12">
                  <c:v>0.1295238095238095</c:v>
                </c:pt>
                <c:pt idx="13">
                  <c:v>0.1356489295549436</c:v>
                </c:pt>
                <c:pt idx="14">
                  <c:v>0.12824051256776736</c:v>
                </c:pt>
                <c:pt idx="15">
                  <c:v>0.12660419637400694</c:v>
                </c:pt>
                <c:pt idx="16">
                  <c:v>0.12258501864196136</c:v>
                </c:pt>
                <c:pt idx="17">
                  <c:v>0.11914942794406565</c:v>
                </c:pt>
                <c:pt idx="18">
                  <c:v>0.1174842380439797</c:v>
                </c:pt>
                <c:pt idx="19">
                  <c:v>0.12796027501909854</c:v>
                </c:pt>
                <c:pt idx="20">
                  <c:v>0.11959573273441887</c:v>
                </c:pt>
                <c:pt idx="21">
                  <c:v>0.11869860564890955</c:v>
                </c:pt>
                <c:pt idx="22">
                  <c:v>0.12056226347089566</c:v>
                </c:pt>
                <c:pt idx="23">
                  <c:v>0.14345403899721448</c:v>
                </c:pt>
                <c:pt idx="24">
                  <c:v>0.15373328985979784</c:v>
                </c:pt>
                <c:pt idx="25">
                  <c:v>0.16974358974358975</c:v>
                </c:pt>
                <c:pt idx="26">
                  <c:v>0.15250470165840316</c:v>
                </c:pt>
                <c:pt idx="27">
                  <c:v>0.11452776906181361</c:v>
                </c:pt>
                <c:pt idx="28">
                  <c:v>0.09462517680339462</c:v>
                </c:pt>
                <c:pt idx="29">
                  <c:v>0.08973487423521415</c:v>
                </c:pt>
                <c:pt idx="30">
                  <c:v>0.100355871886121</c:v>
                </c:pt>
                <c:pt idx="31">
                  <c:v>0.08408770871052103</c:v>
                </c:pt>
                <c:pt idx="32">
                  <c:v>0.07454643434524878</c:v>
                </c:pt>
                <c:pt idx="33">
                  <c:v>0.09710483725948571</c:v>
                </c:pt>
                <c:pt idx="34">
                  <c:v>0.12246913580246914</c:v>
                </c:pt>
                <c:pt idx="35">
                  <c:v>0.1352124183006536</c:v>
                </c:pt>
                <c:pt idx="36">
                  <c:v>0.1067675493905002</c:v>
                </c:pt>
                <c:pt idx="37">
                  <c:v>0.10979885587746817</c:v>
                </c:pt>
                <c:pt idx="38">
                  <c:v>0.10317625077849284</c:v>
                </c:pt>
                <c:pt idx="39">
                  <c:v>0.11921954217237671</c:v>
                </c:pt>
                <c:pt idx="40">
                  <c:v>0.10393300433677284</c:v>
                </c:pt>
                <c:pt idx="41">
                  <c:v>0.10541913632514818</c:v>
                </c:pt>
                <c:pt idx="42">
                  <c:v>0.10004638936137313</c:v>
                </c:pt>
                <c:pt idx="43">
                  <c:v>0.11023710529272952</c:v>
                </c:pt>
                <c:pt idx="44">
                  <c:v>0.10979367005881804</c:v>
                </c:pt>
                <c:pt idx="45">
                  <c:v>0.13148866348448687</c:v>
                </c:pt>
                <c:pt idx="46">
                  <c:v>0.118609783008459</c:v>
                </c:pt>
                <c:pt idx="47">
                  <c:v>0.12370311252992817</c:v>
                </c:pt>
                <c:pt idx="48">
                  <c:v>0.11707317073170732</c:v>
                </c:pt>
                <c:pt idx="49">
                  <c:v>0.12843571880937302</c:v>
                </c:pt>
                <c:pt idx="50">
                  <c:v>0.17207911871903026</c:v>
                </c:pt>
                <c:pt idx="51">
                  <c:v>0.141805527671819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91.9933293541437</c:v>
                </c:pt>
              </c:numCache>
            </c:numRef>
          </c:xVal>
          <c:yVal>
            <c:numRef>
              <c:f>Sheet1!$B$163:$B$164</c:f>
              <c:numCache>
                <c:formatCode>General</c:formatCode>
                <c:ptCount val="2"/>
                <c:pt idx="0">
                  <c:v>0.20043234483048536</c:v>
                </c:pt>
                <c:pt idx="1">
                  <c:v>0.2004323448304853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91.9933293541437</c:v>
                </c:pt>
                <c:pt idx="1">
                  <c:v>691.9933293541437</c:v>
                </c:pt>
              </c:numCache>
            </c:numRef>
          </c:xVal>
          <c:yVal>
            <c:numRef>
              <c:f>Sheet1!$B$167:$B$168</c:f>
              <c:numCache>
                <c:formatCode>General</c:formatCode>
                <c:ptCount val="2"/>
                <c:pt idx="0">
                  <c:v>0.200432344830485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56.8098863513553</c:v>
                </c:pt>
              </c:numCache>
            </c:numRef>
          </c:xVal>
          <c:yVal>
            <c:numRef>
              <c:f>Sheet1!$B$171:$B$172</c:f>
              <c:numCache>
                <c:formatCode>General</c:formatCode>
                <c:ptCount val="2"/>
                <c:pt idx="0">
                  <c:v>0.13984838398298255</c:v>
                </c:pt>
                <c:pt idx="1">
                  <c:v>0.1398483839829825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56.8098863513553</c:v>
                </c:pt>
                <c:pt idx="1">
                  <c:v>1256.8098863513553</c:v>
                </c:pt>
              </c:numCache>
            </c:numRef>
          </c:xVal>
          <c:yVal>
            <c:numRef>
              <c:f>Sheet1!$B$175:$B$176</c:f>
              <c:numCache>
                <c:formatCode>General</c:formatCode>
                <c:ptCount val="2"/>
                <c:pt idx="0">
                  <c:v>0.1398483839829825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26.188590753509</c:v>
                </c:pt>
              </c:numCache>
            </c:numRef>
          </c:xVal>
          <c:yVal>
            <c:numRef>
              <c:f>Sheet1!$B$179:$B$180</c:f>
              <c:numCache>
                <c:formatCode>General</c:formatCode>
                <c:ptCount val="2"/>
                <c:pt idx="0">
                  <c:v>0.12168030326938636</c:v>
                </c:pt>
                <c:pt idx="1">
                  <c:v>0.1216803032693863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26.188590753509</c:v>
                </c:pt>
                <c:pt idx="1">
                  <c:v>1426.188590753509</c:v>
                </c:pt>
              </c:numCache>
            </c:numRef>
          </c:xVal>
          <c:yVal>
            <c:numRef>
              <c:f>Sheet1!$B$183:$B$184</c:f>
              <c:numCache>
                <c:formatCode>General</c:formatCode>
                <c:ptCount val="2"/>
                <c:pt idx="0">
                  <c:v>0.121680303269386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64.1386</c:v>
                </c:pt>
                <c:pt idx="1">
                  <c:v>1484.823</c:v>
                </c:pt>
                <c:pt idx="2">
                  <c:v>1523.7021</c:v>
                </c:pt>
                <c:pt idx="3">
                  <c:v>1548.3225</c:v>
                </c:pt>
                <c:pt idx="4">
                  <c:v>1540.5525</c:v>
                </c:pt>
                <c:pt idx="5">
                  <c:v>1565.997</c:v>
                </c:pt>
                <c:pt idx="6">
                  <c:v>1489.9349</c:v>
                </c:pt>
                <c:pt idx="7">
                  <c:v>1424.1393</c:v>
                </c:pt>
                <c:pt idx="8">
                  <c:v>1528.7067</c:v>
                </c:pt>
                <c:pt idx="9">
                  <c:v>1367.4549</c:v>
                </c:pt>
                <c:pt idx="10">
                  <c:v>1375.1845</c:v>
                </c:pt>
                <c:pt idx="11">
                  <c:v>1519.5668</c:v>
                </c:pt>
                <c:pt idx="12">
                  <c:v>1506.1422</c:v>
                </c:pt>
                <c:pt idx="13">
                  <c:v>1404.5298</c:v>
                </c:pt>
                <c:pt idx="14">
                  <c:v>1518.3497</c:v>
                </c:pt>
                <c:pt idx="15">
                  <c:v>1427.008</c:v>
                </c:pt>
                <c:pt idx="16">
                  <c:v>1467.6968</c:v>
                </c:pt>
                <c:pt idx="17">
                  <c:v>1401.7245</c:v>
                </c:pt>
                <c:pt idx="18">
                  <c:v>1356.2709</c:v>
                </c:pt>
                <c:pt idx="19">
                  <c:v>1322.1065</c:v>
                </c:pt>
                <c:pt idx="20">
                  <c:v>1310.2031</c:v>
                </c:pt>
                <c:pt idx="21">
                  <c:v>1335.378</c:v>
                </c:pt>
                <c:pt idx="22">
                  <c:v>1360.2242</c:v>
                </c:pt>
                <c:pt idx="23">
                  <c:v>1177.1189</c:v>
                </c:pt>
                <c:pt idx="24">
                  <c:v>1153.3404</c:v>
                </c:pt>
                <c:pt idx="25">
                  <c:v>1160.1934</c:v>
                </c:pt>
                <c:pt idx="26">
                  <c:v>1195.3475</c:v>
                </c:pt>
                <c:pt idx="27">
                  <c:v>1353.4877</c:v>
                </c:pt>
                <c:pt idx="28">
                  <c:v>1483.9581</c:v>
                </c:pt>
                <c:pt idx="29">
                  <c:v>1483.4773</c:v>
                </c:pt>
                <c:pt idx="30">
                  <c:v>1526.8333</c:v>
                </c:pt>
                <c:pt idx="31">
                  <c:v>1504.0407</c:v>
                </c:pt>
                <c:pt idx="32">
                  <c:v>1520.2482</c:v>
                </c:pt>
                <c:pt idx="33">
                  <c:v>1547.463</c:v>
                </c:pt>
                <c:pt idx="34">
                  <c:v>1588.1573</c:v>
                </c:pt>
                <c:pt idx="35">
                  <c:v>1565.0665</c:v>
                </c:pt>
                <c:pt idx="36">
                  <c:v>1379.7953</c:v>
                </c:pt>
                <c:pt idx="37">
                  <c:v>1452.4555</c:v>
                </c:pt>
                <c:pt idx="38">
                  <c:v>1426.8873</c:v>
                </c:pt>
                <c:pt idx="39">
                  <c:v>1523.2745</c:v>
                </c:pt>
                <c:pt idx="40">
                  <c:v>1556.646</c:v>
                </c:pt>
                <c:pt idx="41">
                  <c:v>1579.3025</c:v>
                </c:pt>
                <c:pt idx="42">
                  <c:v>1585.2117</c:v>
                </c:pt>
                <c:pt idx="43">
                  <c:v>1543.5117</c:v>
                </c:pt>
                <c:pt idx="44">
                  <c:v>1492.4405</c:v>
                </c:pt>
                <c:pt idx="45">
                  <c:v>1446.6449</c:v>
                </c:pt>
                <c:pt idx="46">
                  <c:v>1422.8</c:v>
                </c:pt>
                <c:pt idx="47">
                  <c:v>1450.4487</c:v>
                </c:pt>
                <c:pt idx="48">
                  <c:v>1376.7436</c:v>
                </c:pt>
                <c:pt idx="49">
                  <c:v>1305.0429</c:v>
                </c:pt>
                <c:pt idx="50">
                  <c:v>1233.4253</c:v>
                </c:pt>
                <c:pt idx="51">
                  <c:v>1292.8735</c:v>
                </c:pt>
                <c:pt idx="52">
                  <c:v>1256.8098863513553</c:v>
                </c:pt>
                <c:pt idx="53">
                  <c:v>691.9933293541437</c:v>
                </c:pt>
                <c:pt idx="54">
                  <c:v>1426.188590753509</c:v>
                </c:pt>
              </c:numCache>
            </c:numRef>
          </c:xVal>
          <c:yVal>
            <c:numRef>
              <c:f>Sheet1!$B$187:$B$241</c:f>
              <c:numCache>
                <c:formatCode>General</c:formatCode>
                <c:ptCount val="55"/>
                <c:pt idx="0">
                  <c:v>0.11760966857238841</c:v>
                </c:pt>
                <c:pt idx="1">
                  <c:v>0.11539099621898521</c:v>
                </c:pt>
                <c:pt idx="2">
                  <c:v>0.11122070439059292</c:v>
                </c:pt>
                <c:pt idx="3">
                  <c:v>0.10857984457306244</c:v>
                </c:pt>
                <c:pt idx="4">
                  <c:v>0.10941327866764303</c:v>
                </c:pt>
                <c:pt idx="5">
                  <c:v>0.10668402334981086</c:v>
                </c:pt>
                <c:pt idx="6">
                  <c:v>0.11484267810468837</c:v>
                </c:pt>
                <c:pt idx="7">
                  <c:v>0.12190011649765961</c:v>
                </c:pt>
                <c:pt idx="8">
                  <c:v>0.11068389560426886</c:v>
                </c:pt>
                <c:pt idx="9">
                  <c:v>0.1279802595595443</c:v>
                </c:pt>
                <c:pt idx="10">
                  <c:v>0.12715115889320322</c:v>
                </c:pt>
                <c:pt idx="11">
                  <c:v>0.11166426938561469</c:v>
                </c:pt>
                <c:pt idx="12">
                  <c:v>0.11310423326542249</c:v>
                </c:pt>
                <c:pt idx="13">
                  <c:v>0.12400349177149206</c:v>
                </c:pt>
                <c:pt idx="14">
                  <c:v>0.11179481927448393</c:v>
                </c:pt>
                <c:pt idx="15">
                  <c:v>0.12159241091373127</c:v>
                </c:pt>
                <c:pt idx="16">
                  <c:v>0.11722800509808512</c:v>
                </c:pt>
                <c:pt idx="17">
                  <c:v>0.12430439687645048</c:v>
                </c:pt>
                <c:pt idx="18">
                  <c:v>0.12917988979297923</c:v>
                </c:pt>
                <c:pt idx="19">
                  <c:v>0.13284446840055825</c:v>
                </c:pt>
                <c:pt idx="20">
                  <c:v>0.13412126369031768</c:v>
                </c:pt>
                <c:pt idx="21">
                  <c:v>0.13142092649756903</c:v>
                </c:pt>
                <c:pt idx="22">
                  <c:v>0.12875584667765033</c:v>
                </c:pt>
                <c:pt idx="23">
                  <c:v>0.1483962842475869</c:v>
                </c:pt>
                <c:pt idx="24">
                  <c:v>0.15094683928207656</c:v>
                </c:pt>
                <c:pt idx="25">
                  <c:v>0.150211765427487</c:v>
                </c:pt>
                <c:pt idx="26">
                  <c:v>0.1464410285543473</c:v>
                </c:pt>
                <c:pt idx="27">
                  <c:v>0.12947842438397494</c:v>
                </c:pt>
                <c:pt idx="28">
                  <c:v>0.11548376805275648</c:v>
                </c:pt>
                <c:pt idx="29">
                  <c:v>0.11553534013932976</c:v>
                </c:pt>
                <c:pt idx="30">
                  <c:v>0.11088484224941522</c:v>
                </c:pt>
                <c:pt idx="31">
                  <c:v>0.1133296466180301</c:v>
                </c:pt>
                <c:pt idx="32">
                  <c:v>0.11159118032614915</c:v>
                </c:pt>
                <c:pt idx="33">
                  <c:v>0.10867203718622742</c:v>
                </c:pt>
                <c:pt idx="34">
                  <c:v>0.10430704142366745</c:v>
                </c:pt>
                <c:pt idx="35">
                  <c:v>0.1067838316413176</c:v>
                </c:pt>
                <c:pt idx="36">
                  <c:v>0.12665659030590695</c:v>
                </c:pt>
                <c:pt idx="37">
                  <c:v>0.11886283380667342</c:v>
                </c:pt>
                <c:pt idx="38">
                  <c:v>0.12160535756691221</c:v>
                </c:pt>
                <c:pt idx="39">
                  <c:v>0.11126657008156365</c:v>
                </c:pt>
                <c:pt idx="40">
                  <c:v>0.10768704036633894</c:v>
                </c:pt>
                <c:pt idx="41">
                  <c:v>0.10525683450226364</c:v>
                </c:pt>
                <c:pt idx="42">
                  <c:v>0.10462299553808144</c:v>
                </c:pt>
                <c:pt idx="43">
                  <c:v>0.10909586577540584</c:v>
                </c:pt>
                <c:pt idx="44">
                  <c:v>0.11457391974337808</c:v>
                </c:pt>
                <c:pt idx="45">
                  <c:v>0.11948609663163737</c:v>
                </c:pt>
                <c:pt idx="46">
                  <c:v>0.12204377393432267</c:v>
                </c:pt>
                <c:pt idx="47">
                  <c:v>0.11907808934605621</c:v>
                </c:pt>
                <c:pt idx="48">
                  <c:v>0.12698392503260342</c:v>
                </c:pt>
                <c:pt idx="49">
                  <c:v>0.1346747626111484</c:v>
                </c:pt>
                <c:pt idx="50">
                  <c:v>0.14235668662814127</c:v>
                </c:pt>
                <c:pt idx="51">
                  <c:v>0.13598008987892046</c:v>
                </c:pt>
                <c:pt idx="52">
                  <c:v>0.13984838398298255</c:v>
                </c:pt>
                <c:pt idx="53">
                  <c:v>0.20043234483048536</c:v>
                </c:pt>
                <c:pt idx="54">
                  <c:v>0.121680303269386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06.0"/>
          <c:min val="55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60087479496993"/>
          <c:min val="0.05963714747619902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0.6593630241965018</c:v>
                </c:pt>
                <c:pt idx="1">
                  <c:v>1.1518680100516847</c:v>
                </c:pt>
                <c:pt idx="2">
                  <c:v>1.1546220866287324</c:v>
                </c:pt>
                <c:pt idx="3">
                  <c:v>1.3897784203487513</c:v>
                </c:pt>
                <c:pt idx="4">
                  <c:v>1.062298922307349</c:v>
                </c:pt>
                <c:pt idx="5">
                  <c:v>0.8123726862375293</c:v>
                </c:pt>
                <c:pt idx="6">
                  <c:v>1.070433805591621</c:v>
                </c:pt>
                <c:pt idx="7">
                  <c:v>0.6456259301125604</c:v>
                </c:pt>
                <c:pt idx="8">
                  <c:v>0.9458313208929685</c:v>
                </c:pt>
                <c:pt idx="9">
                  <c:v>0.8902207923846459</c:v>
                </c:pt>
                <c:pt idx="10">
                  <c:v>1.3330064878525578</c:v>
                </c:pt>
                <c:pt idx="11">
                  <c:v>0.8700561353340357</c:v>
                </c:pt>
                <c:pt idx="12">
                  <c:v>1.1797804436674029</c:v>
                </c:pt>
                <c:pt idx="13">
                  <c:v>1.0367398851254452</c:v>
                </c:pt>
                <c:pt idx="14">
                  <c:v>1.1432710966819306</c:v>
                </c:pt>
                <c:pt idx="15">
                  <c:v>0.7000795414363356</c:v>
                </c:pt>
                <c:pt idx="16">
                  <c:v>0.3857111854004411</c:v>
                </c:pt>
                <c:pt idx="17">
                  <c:v>0.7667267103222597</c:v>
                </c:pt>
                <c:pt idx="18">
                  <c:v>0.6019525366986681</c:v>
                </c:pt>
                <c:pt idx="19">
                  <c:v>0.6356418420338333</c:v>
                </c:pt>
                <c:pt idx="20">
                  <c:v>0.5336404509977409</c:v>
                </c:pt>
                <c:pt idx="21">
                  <c:v>0.6592042834973055</c:v>
                </c:pt>
                <c:pt idx="22">
                  <c:v>0.9895200460054941</c:v>
                </c:pt>
                <c:pt idx="23">
                  <c:v>0.7531117349171879</c:v>
                </c:pt>
                <c:pt idx="24">
                  <c:v>0.5617562796757503</c:v>
                </c:pt>
                <c:pt idx="25">
                  <c:v>0.9567362784886525</c:v>
                </c:pt>
                <c:pt idx="26">
                  <c:v>1.11820753557372</c:v>
                </c:pt>
                <c:pt idx="27">
                  <c:v>0.4747581321168044</c:v>
                </c:pt>
                <c:pt idx="28">
                  <c:v>1.0154308443878513</c:v>
                </c:pt>
                <c:pt idx="29">
                  <c:v>0.5191303469990144</c:v>
                </c:pt>
                <c:pt idx="30">
                  <c:v>0.654491620646235</c:v>
                </c:pt>
                <c:pt idx="31">
                  <c:v>0.7641930316904136</c:v>
                </c:pt>
                <c:pt idx="32">
                  <c:v>0.4663222765849501</c:v>
                </c:pt>
                <c:pt idx="33">
                  <c:v>0.4987644083004832</c:v>
                </c:pt>
                <c:pt idx="34">
                  <c:v>0.5659620823530634</c:v>
                </c:pt>
                <c:pt idx="35">
                  <c:v>0.9029010239145515</c:v>
                </c:pt>
                <c:pt idx="36">
                  <c:v>0.582250615964384</c:v>
                </c:pt>
                <c:pt idx="37">
                  <c:v>0.9824846689825423</c:v>
                </c:pt>
                <c:pt idx="38">
                  <c:v>0.712277196869653</c:v>
                </c:pt>
                <c:pt idx="39">
                  <c:v>0.7773605781924586</c:v>
                </c:pt>
                <c:pt idx="40">
                  <c:v>0.6891914913272374</c:v>
                </c:pt>
                <c:pt idx="41">
                  <c:v>1.4084300192866928</c:v>
                </c:pt>
                <c:pt idx="42">
                  <c:v>0.7631614110063994</c:v>
                </c:pt>
                <c:pt idx="43">
                  <c:v>0.5830606784248723</c:v>
                </c:pt>
                <c:pt idx="44">
                  <c:v>0.6991501933335076</c:v>
                </c:pt>
                <c:pt idx="45">
                  <c:v>0.6506799302664708</c:v>
                </c:pt>
                <c:pt idx="46">
                  <c:v>0.5872913121931779</c:v>
                </c:pt>
                <c:pt idx="47">
                  <c:v>0.7846391053157014</c:v>
                </c:pt>
                <c:pt idx="48">
                  <c:v>0.6309511513174553</c:v>
                </c:pt>
                <c:pt idx="49">
                  <c:v>0.6220493004117846</c:v>
                </c:pt>
                <c:pt idx="50">
                  <c:v>0.6611976210874101</c:v>
                </c:pt>
                <c:pt idx="51">
                  <c:v>0.7296523387282194</c:v>
                </c:pt>
                <c:pt idx="52">
                  <c:v>0.5540563752043274</c:v>
                </c:pt>
                <c:pt idx="53">
                  <c:v>0.5230096199396719</c:v>
                </c:pt>
                <c:pt idx="54">
                  <c:v>0.6447757148964547</c:v>
                </c:pt>
                <c:pt idx="55">
                  <c:v>2.3453052718272374</c:v>
                </c:pt>
                <c:pt idx="56">
                  <c:v>0.9554059626605014</c:v>
                </c:pt>
                <c:pt idx="57">
                  <c:v>1.7323898398840343</c:v>
                </c:pt>
                <c:pt idx="58">
                  <c:v>0.8819437894957488</c:v>
                </c:pt>
                <c:pt idx="59">
                  <c:v>0.7368020641157169</c:v>
                </c:pt>
                <c:pt idx="60">
                  <c:v>0.7007914950930962</c:v>
                </c:pt>
                <c:pt idx="61">
                  <c:v>0.6812703410170703</c:v>
                </c:pt>
                <c:pt idx="62">
                  <c:v>0.6329324794929968</c:v>
                </c:pt>
                <c:pt idx="63">
                  <c:v>0.5436736385239097</c:v>
                </c:pt>
                <c:pt idx="64">
                  <c:v>0.5610918669792222</c:v>
                </c:pt>
                <c:pt idx="65">
                  <c:v>1.188252957752792</c:v>
                </c:pt>
                <c:pt idx="66">
                  <c:v>1.7763196006045703</c:v>
                </c:pt>
                <c:pt idx="67">
                  <c:v>0.8894548618769961</c:v>
                </c:pt>
                <c:pt idx="68">
                  <c:v>2.835284812320067</c:v>
                </c:pt>
                <c:pt idx="69">
                  <c:v>0.9029305902319952</c:v>
                </c:pt>
                <c:pt idx="70">
                  <c:v>0.8830140627295553</c:v>
                </c:pt>
                <c:pt idx="71">
                  <c:v>0.9194504163899427</c:v>
                </c:pt>
                <c:pt idx="72">
                  <c:v>0.9034967570474944</c:v>
                </c:pt>
                <c:pt idx="73">
                  <c:v>0.8829179836779175</c:v>
                </c:pt>
                <c:pt idx="74">
                  <c:v>0.8177888508977417</c:v>
                </c:pt>
                <c:pt idx="75">
                  <c:v>1.1329504043352514</c:v>
                </c:pt>
                <c:pt idx="76">
                  <c:v>1.1215530976132977</c:v>
                </c:pt>
                <c:pt idx="77">
                  <c:v>0.6017512064212491</c:v>
                </c:pt>
                <c:pt idx="78">
                  <c:v>2.9106730043634244</c:v>
                </c:pt>
                <c:pt idx="79">
                  <c:v>2.278694795627389</c:v>
                </c:pt>
                <c:pt idx="80">
                  <c:v>2.2159930549115074</c:v>
                </c:pt>
                <c:pt idx="81">
                  <c:v>1.9516402157271153</c:v>
                </c:pt>
                <c:pt idx="82">
                  <c:v>2.65367705521549</c:v>
                </c:pt>
                <c:pt idx="83">
                  <c:v>3.476850290652538</c:v>
                </c:pt>
                <c:pt idx="84">
                  <c:v>1.1710000203456645</c:v>
                </c:pt>
                <c:pt idx="85">
                  <c:v>2.1014901975334146</c:v>
                </c:pt>
                <c:pt idx="86">
                  <c:v>1.0056684829912337</c:v>
                </c:pt>
                <c:pt idx="87">
                  <c:v>1.8215376811886486</c:v>
                </c:pt>
              </c:numCache>
            </c:numRef>
          </c:xVal>
          <c:yVal>
            <c:numRef>
              <c:f>Sheet1!$B$2:$B$89</c:f>
              <c:numCache>
                <c:formatCode>General</c:formatCode>
                <c:ptCount val="88"/>
                <c:pt idx="0">
                  <c:v>0.0013899920571882446</c:v>
                </c:pt>
                <c:pt idx="1">
                  <c:v>0.0003280481137233461</c:v>
                </c:pt>
                <c:pt idx="2">
                  <c:v>0.0003180324393088095</c:v>
                </c:pt>
                <c:pt idx="3">
                  <c:v>0.00021666125013541327</c:v>
                </c:pt>
                <c:pt idx="4">
                  <c:v>0.000253324889170361</c:v>
                </c:pt>
                <c:pt idx="5">
                  <c:v>0.0006664001066240171</c:v>
                </c:pt>
                <c:pt idx="6">
                  <c:v>0.0007710100231303007</c:v>
                </c:pt>
                <c:pt idx="7">
                  <c:v>0.0009916418756197763</c:v>
                </c:pt>
                <c:pt idx="8">
                  <c:v>0.0005517241379310345</c:v>
                </c:pt>
                <c:pt idx="9">
                  <c:v>0.0007114062129475931</c:v>
                </c:pt>
                <c:pt idx="10">
                  <c:v>0.0003320420586607637</c:v>
                </c:pt>
                <c:pt idx="11">
                  <c:v>0.0007222451506397028</c:v>
                </c:pt>
                <c:pt idx="12">
                  <c:v>0.0005499541704857929</c:v>
                </c:pt>
                <c:pt idx="13">
                  <c:v>0.000625130235465722</c:v>
                </c:pt>
                <c:pt idx="14">
                  <c:v>0.000224290680722216</c:v>
                </c:pt>
                <c:pt idx="15">
                  <c:v>0.0006429214350006429</c:v>
                </c:pt>
                <c:pt idx="16">
                  <c:v>0.0005787874403125452</c:v>
                </c:pt>
                <c:pt idx="17">
                  <c:v>0.0004809233728759218</c:v>
                </c:pt>
                <c:pt idx="18">
                  <c:v>0.0006128702757916241</c:v>
                </c:pt>
                <c:pt idx="19">
                  <c:v>0.000672834314550042</c:v>
                </c:pt>
                <c:pt idx="20">
                  <c:v>0.0003861749372465727</c:v>
                </c:pt>
                <c:pt idx="21">
                  <c:v>0.0010588733587462938</c:v>
                </c:pt>
                <c:pt idx="22">
                  <c:v>0.0006499133448873484</c:v>
                </c:pt>
                <c:pt idx="23">
                  <c:v>0.0010187449062754685</c:v>
                </c:pt>
                <c:pt idx="24">
                  <c:v>0.0015992689056431345</c:v>
                </c:pt>
                <c:pt idx="25">
                  <c:v>0.0009389671361502347</c:v>
                </c:pt>
                <c:pt idx="26">
                  <c:v>0.0003829216925138809</c:v>
                </c:pt>
                <c:pt idx="27">
                  <c:v>0.0009613535858488752</c:v>
                </c:pt>
                <c:pt idx="28">
                  <c:v>0.0006884681583476765</c:v>
                </c:pt>
                <c:pt idx="29">
                  <c:v>0.0008615119534783546</c:v>
                </c:pt>
                <c:pt idx="30">
                  <c:v>0.0008605851979345956</c:v>
                </c:pt>
                <c:pt idx="31">
                  <c:v>0.0006612298875909191</c:v>
                </c:pt>
                <c:pt idx="32">
                  <c:v>0.0019029495718363464</c:v>
                </c:pt>
                <c:pt idx="33">
                  <c:v>0.0020938754144128424</c:v>
                </c:pt>
                <c:pt idx="34">
                  <c:v>0.0019305019305019305</c:v>
                </c:pt>
                <c:pt idx="35">
                  <c:v>0.0006308153288124901</c:v>
                </c:pt>
                <c:pt idx="36">
                  <c:v>0.0007662835249042146</c:v>
                </c:pt>
                <c:pt idx="37">
                  <c:v>0.0003685277317118113</c:v>
                </c:pt>
                <c:pt idx="38">
                  <c:v>0.0008151620134501732</c:v>
                </c:pt>
                <c:pt idx="39">
                  <c:v>0.0005020920502092051</c:v>
                </c:pt>
                <c:pt idx="40">
                  <c:v>0.00055452865064695</c:v>
                </c:pt>
                <c:pt idx="41">
                  <c:v>0.00015669069257286117</c:v>
                </c:pt>
                <c:pt idx="42">
                  <c:v>0.0005485463521667581</c:v>
                </c:pt>
                <c:pt idx="43">
                  <c:v>0.0007422330611812109</c:v>
                </c:pt>
                <c:pt idx="44">
                  <c:v>0.0004979087831109341</c:v>
                </c:pt>
                <c:pt idx="45">
                  <c:v>0.0010732754415064885</c:v>
                </c:pt>
                <c:pt idx="46">
                  <c:v>0.0013006503251625813</c:v>
                </c:pt>
                <c:pt idx="47">
                  <c:v>0.0007183908045977011</c:v>
                </c:pt>
                <c:pt idx="48">
                  <c:v>0.0008392575039494471</c:v>
                </c:pt>
                <c:pt idx="49">
                  <c:v>0.0009613843935266784</c:v>
                </c:pt>
                <c:pt idx="50">
                  <c:v>0.0008946144211844695</c:v>
                </c:pt>
                <c:pt idx="51">
                  <c:v>0.0003058103975535168</c:v>
                </c:pt>
                <c:pt idx="52">
                  <c:v>0.0005198585984612185</c:v>
                </c:pt>
                <c:pt idx="53">
                  <c:v>0.001129305477131564</c:v>
                </c:pt>
                <c:pt idx="54">
                  <c:v>0.0005919962112242482</c:v>
                </c:pt>
                <c:pt idx="55">
                  <c:v>0.00011396011396011396</c:v>
                </c:pt>
                <c:pt idx="56">
                  <c:v>0.0002042692268409764</c:v>
                </c:pt>
                <c:pt idx="57">
                  <c:v>9.304922303898763e-05</c:v>
                </c:pt>
                <c:pt idx="58">
                  <c:v>0.00024464831804281347</c:v>
                </c:pt>
                <c:pt idx="59">
                  <c:v>0.00025375880225845333</c:v>
                </c:pt>
                <c:pt idx="60">
                  <c:v>0.00042369290738073043</c:v>
                </c:pt>
                <c:pt idx="61">
                  <c:v>0.0003549560741858195</c:v>
                </c:pt>
                <c:pt idx="62">
                  <c:v>0.00045558086560364467</c:v>
                </c:pt>
                <c:pt idx="63">
                  <c:v>0.0006550218340611354</c:v>
                </c:pt>
                <c:pt idx="64">
                  <c:v>0.00039856516540454366</c:v>
                </c:pt>
                <c:pt idx="65">
                  <c:v>8.676036786395974e-05</c:v>
                </c:pt>
                <c:pt idx="66">
                  <c:v>8.946144211844694e-05</c:v>
                </c:pt>
                <c:pt idx="67">
                  <c:v>0.0002586987453110852</c:v>
                </c:pt>
                <c:pt idx="68">
                  <c:v>0.0001255020080321285</c:v>
                </c:pt>
                <c:pt idx="69">
                  <c:v>0.0006367804381049414</c:v>
                </c:pt>
                <c:pt idx="70">
                  <c:v>0.0009066183136899365</c:v>
                </c:pt>
                <c:pt idx="71">
                  <c:v>0.0007687576875768758</c:v>
                </c:pt>
                <c:pt idx="72">
                  <c:v>0.00079923273657289</c:v>
                </c:pt>
                <c:pt idx="73">
                  <c:v>0.0008008970046452026</c:v>
                </c:pt>
                <c:pt idx="74">
                  <c:v>0.0012612612612612612</c:v>
                </c:pt>
                <c:pt idx="75">
                  <c:v>0.0009174311926605505</c:v>
                </c:pt>
                <c:pt idx="76">
                  <c:v>0.0007276696379843551</c:v>
                </c:pt>
                <c:pt idx="77">
                  <c:v>0.0016183610416360158</c:v>
                </c:pt>
                <c:pt idx="78">
                  <c:v>0.0001850481125092524</c:v>
                </c:pt>
                <c:pt idx="79">
                  <c:v>0.0002289901534234028</c:v>
                </c:pt>
                <c:pt idx="80">
                  <c:v>0.0002296211251435132</c:v>
                </c:pt>
                <c:pt idx="81">
                  <c:v>8.244702778464837e-05</c:v>
                </c:pt>
                <c:pt idx="82">
                  <c:v>6.564264145989234e-05</c:v>
                </c:pt>
                <c:pt idx="83">
                  <c:v>4.390586582367404e-05</c:v>
                </c:pt>
                <c:pt idx="84">
                  <c:v>0.00014455044810638914</c:v>
                </c:pt>
                <c:pt idx="85">
                  <c:v>7.172572084349448e-05</c:v>
                </c:pt>
                <c:pt idx="86">
                  <c:v>0.00023084025854108956</c:v>
                </c:pt>
                <c:pt idx="87">
                  <c:v>8.382932349735938e-05</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947122463243624</c:v>
                </c:pt>
                <c:pt idx="21">
                  <c:v>1.061367763887824</c:v>
                </c:pt>
                <c:pt idx="22">
                  <c:v>0.0</c:v>
                </c:pt>
                <c:pt idx="23">
                  <c:v>0.0</c:v>
                </c:pt>
                <c:pt idx="24">
                  <c:v>1.5367525210306048</c:v>
                </c:pt>
                <c:pt idx="25">
                  <c:v>0.0</c:v>
                </c:pt>
                <c:pt idx="26">
                  <c:v>0.8239675932648869</c:v>
                </c:pt>
                <c:pt idx="27">
                  <c:v>1.2511552025620791</c:v>
                </c:pt>
                <c:pt idx="28">
                  <c:v>1.524883017228131</c:v>
                </c:pt>
                <c:pt idx="29">
                  <c:v>0.0</c:v>
                </c:pt>
                <c:pt idx="30">
                  <c:v>0.0</c:v>
                </c:pt>
                <c:pt idx="31">
                  <c:v>2.2455006877745163</c:v>
                </c:pt>
                <c:pt idx="32">
                  <c:v>1.8630201591585918</c:v>
                </c:pt>
                <c:pt idx="33">
                  <c:v>1.7131171162732897</c:v>
                </c:pt>
                <c:pt idx="34">
                  <c:v>0.0</c:v>
                </c:pt>
                <c:pt idx="35">
                  <c:v>0.0</c:v>
                </c:pt>
                <c:pt idx="36">
                  <c:v>1.777133631343406</c:v>
                </c:pt>
                <c:pt idx="37">
                  <c:v>0.0</c:v>
                </c:pt>
                <c:pt idx="38">
                  <c:v>0.9342125399153389</c:v>
                </c:pt>
                <c:pt idx="39">
                  <c:v>0.7509426202127689</c:v>
                </c:pt>
                <c:pt idx="40">
                  <c:v>0.8248064003631735</c:v>
                </c:pt>
                <c:pt idx="41">
                  <c:v>1.4505690132035487</c:v>
                </c:pt>
                <c:pt idx="42">
                  <c:v>0.642940847615439</c:v>
                </c:pt>
                <c:pt idx="43">
                  <c:v>0.5294861617588247</c:v>
                </c:pt>
                <c:pt idx="44">
                  <c:v>0.5894101247441538</c:v>
                </c:pt>
                <c:pt idx="45">
                  <c:v>0.9419683181399864</c:v>
                </c:pt>
                <c:pt idx="46">
                  <c:v>0.687427516124962</c:v>
                </c:pt>
                <c:pt idx="47">
                  <c:v>0.8088399974767335</c:v>
                </c:pt>
                <c:pt idx="48">
                  <c:v>0.0</c:v>
                </c:pt>
                <c:pt idx="49">
                  <c:v>0.6970772876415939</c:v>
                </c:pt>
                <c:pt idx="50">
                  <c:v>0.284667636686498</c:v>
                </c:pt>
                <c:pt idx="51">
                  <c:v>0.27640772765083393</c:v>
                </c:pt>
                <c:pt idx="52">
                  <c:v>0.48100419295627433</c:v>
                </c:pt>
                <c:pt idx="53">
                  <c:v>0.0</c:v>
                </c:pt>
                <c:pt idx="54">
                  <c:v>0.0</c:v>
                </c:pt>
                <c:pt idx="55">
                  <c:v>0.0</c:v>
                </c:pt>
                <c:pt idx="56">
                  <c:v>0.0</c:v>
                </c:pt>
                <c:pt idx="57">
                  <c:v>1.6741216893254285</c:v>
                </c:pt>
                <c:pt idx="58">
                  <c:v>1.2689261539374557</c:v>
                </c:pt>
                <c:pt idx="59">
                  <c:v>1.5603948915717598</c:v>
                </c:pt>
                <c:pt idx="60">
                  <c:v>0.0</c:v>
                </c:pt>
                <c:pt idx="61">
                  <c:v>0.0</c:v>
                </c:pt>
                <c:pt idx="62">
                  <c:v>0.0</c:v>
                </c:pt>
                <c:pt idx="63">
                  <c:v>0.0</c:v>
                </c:pt>
                <c:pt idx="64">
                  <c:v>0.0</c:v>
                </c:pt>
                <c:pt idx="65">
                  <c:v>0.0</c:v>
                </c:pt>
                <c:pt idx="66">
                  <c:v>0.0</c:v>
                </c:pt>
                <c:pt idx="67">
                  <c:v>0.8460093737838614</c:v>
                </c:pt>
                <c:pt idx="68">
                  <c:v>2.3198606390673793</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7.617306520414382e-05</c:v>
                </c:pt>
                <c:pt idx="21">
                  <c:v>0.00016248273620927777</c:v>
                </c:pt>
                <c:pt idx="22">
                  <c:v>0.0</c:v>
                </c:pt>
                <c:pt idx="23">
                  <c:v>0.0</c:v>
                </c:pt>
                <c:pt idx="24">
                  <c:v>0.00011976047904191617</c:v>
                </c:pt>
                <c:pt idx="25">
                  <c:v>0.0</c:v>
                </c:pt>
                <c:pt idx="26">
                  <c:v>0.00022150847269908073</c:v>
                </c:pt>
                <c:pt idx="27">
                  <c:v>0.00010263779123473263</c:v>
                </c:pt>
                <c:pt idx="28">
                  <c:v>0.0001756388864494599</c:v>
                </c:pt>
                <c:pt idx="29">
                  <c:v>0.0</c:v>
                </c:pt>
                <c:pt idx="30">
                  <c:v>0.0</c:v>
                </c:pt>
                <c:pt idx="31">
                  <c:v>9.857072449482504e-05</c:v>
                </c:pt>
                <c:pt idx="32">
                  <c:v>0.00010185373803218578</c:v>
                </c:pt>
                <c:pt idx="33">
                  <c:v>0.00022596316800361542</c:v>
                </c:pt>
                <c:pt idx="34">
                  <c:v>0.0</c:v>
                </c:pt>
                <c:pt idx="35">
                  <c:v>0.0</c:v>
                </c:pt>
                <c:pt idx="36">
                  <c:v>0.00012732365673542143</c:v>
                </c:pt>
                <c:pt idx="37">
                  <c:v>0.0</c:v>
                </c:pt>
                <c:pt idx="38">
                  <c:v>0.0003575259206292456</c:v>
                </c:pt>
                <c:pt idx="39">
                  <c:v>0.0003604253018561903</c:v>
                </c:pt>
                <c:pt idx="40">
                  <c:v>0.00017409470752089137</c:v>
                </c:pt>
                <c:pt idx="41">
                  <c:v>0.00016302575806977502</c:v>
                </c:pt>
                <c:pt idx="42">
                  <c:v>0.0005128205128205128</c:v>
                </c:pt>
                <c:pt idx="43">
                  <c:v>0.0008548469823901521</c:v>
                </c:pt>
                <c:pt idx="44">
                  <c:v>0.00031377470975839345</c:v>
                </c:pt>
                <c:pt idx="45">
                  <c:v>0.0002828854314002829</c:v>
                </c:pt>
                <c:pt idx="46">
                  <c:v>0.0003399048266485384</c:v>
                </c:pt>
                <c:pt idx="47">
                  <c:v>0.00017793594306049823</c:v>
                </c:pt>
                <c:pt idx="48">
                  <c:v>0.0</c:v>
                </c:pt>
                <c:pt idx="49">
                  <c:v>0.00017962996227770793</c:v>
                </c:pt>
                <c:pt idx="50">
                  <c:v>0.0007192950908110052</c:v>
                </c:pt>
                <c:pt idx="51">
                  <c:v>0.0006172839506172839</c:v>
                </c:pt>
                <c:pt idx="52">
                  <c:v>0.0006808278867102397</c:v>
                </c:pt>
                <c:pt idx="53">
                  <c:v>0.0</c:v>
                </c:pt>
                <c:pt idx="54">
                  <c:v>0.0</c:v>
                </c:pt>
                <c:pt idx="55">
                  <c:v>0.0</c:v>
                </c:pt>
                <c:pt idx="56">
                  <c:v>0.0</c:v>
                </c:pt>
                <c:pt idx="57">
                  <c:v>0.00014954389113204725</c:v>
                </c:pt>
                <c:pt idx="58">
                  <c:v>0.00014112334180073385</c:v>
                </c:pt>
                <c:pt idx="59">
                  <c:v>0.00015463120457708364</c:v>
                </c:pt>
                <c:pt idx="60">
                  <c:v>0.0</c:v>
                </c:pt>
                <c:pt idx="61">
                  <c:v>0.0</c:v>
                </c:pt>
                <c:pt idx="62">
                  <c:v>0.0</c:v>
                </c:pt>
                <c:pt idx="63">
                  <c:v>0.0</c:v>
                </c:pt>
                <c:pt idx="64">
                  <c:v>0.0</c:v>
                </c:pt>
                <c:pt idx="65">
                  <c:v>0.0</c:v>
                </c:pt>
                <c:pt idx="66">
                  <c:v>0.0</c:v>
                </c:pt>
                <c:pt idx="67">
                  <c:v>0.00016380687169826775</c:v>
                </c:pt>
                <c:pt idx="68">
                  <c:v>6.692096633875393e-0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343519208362778</c:v>
                </c:pt>
              </c:numCache>
            </c:numRef>
          </c:xVal>
          <c:yVal>
            <c:numRef>
              <c:f>Sheet1!$B$163:$B$164</c:f>
              <c:numCache>
                <c:formatCode>General</c:formatCode>
                <c:ptCount val="2"/>
                <c:pt idx="0">
                  <c:v>0.0010522048548973822</c:v>
                </c:pt>
                <c:pt idx="1">
                  <c:v>0.00105220485489738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343519208362778</c:v>
                </c:pt>
                <c:pt idx="1">
                  <c:v>11.343519208362778</c:v>
                </c:pt>
              </c:numCache>
            </c:numRef>
          </c:xVal>
          <c:yVal>
            <c:numRef>
              <c:f>Sheet1!$B$167:$B$168</c:f>
              <c:numCache>
                <c:formatCode>General</c:formatCode>
                <c:ptCount val="2"/>
                <c:pt idx="0">
                  <c:v>0.00105220485489738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3.3500959171548543</c:v>
                </c:pt>
              </c:numCache>
            </c:numRef>
          </c:xVal>
          <c:yVal>
            <c:numRef>
              <c:f>Sheet1!$B$171:$B$172</c:f>
              <c:numCache>
                <c:formatCode>General</c:formatCode>
                <c:ptCount val="2"/>
                <c:pt idx="0">
                  <c:v>0.00036122485978701784</c:v>
                </c:pt>
                <c:pt idx="1">
                  <c:v>0.000361224859787017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3.3500959171548543</c:v>
                </c:pt>
                <c:pt idx="1">
                  <c:v>3.3500959171548543</c:v>
                </c:pt>
              </c:numCache>
            </c:numRef>
          </c:xVal>
          <c:yVal>
            <c:numRef>
              <c:f>Sheet1!$B$175:$B$176</c:f>
              <c:numCache>
                <c:formatCode>General</c:formatCode>
                <c:ptCount val="2"/>
                <c:pt idx="0">
                  <c:v>0.000361224859787017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270684836361749</c:v>
                </c:pt>
              </c:numCache>
            </c:numRef>
          </c:xVal>
          <c:yVal>
            <c:numRef>
              <c:f>Sheet1!$B$179:$B$180</c:f>
              <c:numCache>
                <c:formatCode>General</c:formatCode>
                <c:ptCount val="2"/>
                <c:pt idx="0">
                  <c:v>5.200202119591434e-05</c:v>
                </c:pt>
                <c:pt idx="1">
                  <c:v>5.200202119591434e-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270684836361749</c:v>
                </c:pt>
                <c:pt idx="1">
                  <c:v>-0.2270684836361749</c:v>
                </c:pt>
              </c:numCache>
            </c:numRef>
          </c:xVal>
          <c:yVal>
            <c:numRef>
              <c:f>Sheet1!$B$183:$B$184</c:f>
              <c:numCache>
                <c:formatCode>General</c:formatCode>
                <c:ptCount val="2"/>
                <c:pt idx="0">
                  <c:v>5.200202119591434e-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947122463243624</c:v>
                </c:pt>
                <c:pt idx="21">
                  <c:v>1.061367763887824</c:v>
                </c:pt>
                <c:pt idx="22">
                  <c:v>0.0</c:v>
                </c:pt>
                <c:pt idx="23">
                  <c:v>0.0</c:v>
                </c:pt>
                <c:pt idx="24">
                  <c:v>1.5367525210306048</c:v>
                </c:pt>
                <c:pt idx="25">
                  <c:v>0.0</c:v>
                </c:pt>
                <c:pt idx="26">
                  <c:v>0.8239675932648869</c:v>
                </c:pt>
                <c:pt idx="27">
                  <c:v>1.2511552025620791</c:v>
                </c:pt>
                <c:pt idx="28">
                  <c:v>1.524883017228131</c:v>
                </c:pt>
                <c:pt idx="29">
                  <c:v>0.0</c:v>
                </c:pt>
                <c:pt idx="30">
                  <c:v>0.0</c:v>
                </c:pt>
                <c:pt idx="31">
                  <c:v>2.2455006877745163</c:v>
                </c:pt>
                <c:pt idx="32">
                  <c:v>1.8630201591585918</c:v>
                </c:pt>
                <c:pt idx="33">
                  <c:v>1.7131171162732897</c:v>
                </c:pt>
                <c:pt idx="34">
                  <c:v>0.0</c:v>
                </c:pt>
                <c:pt idx="35">
                  <c:v>0.0</c:v>
                </c:pt>
                <c:pt idx="36">
                  <c:v>1.777133631343406</c:v>
                </c:pt>
                <c:pt idx="37">
                  <c:v>0.0</c:v>
                </c:pt>
                <c:pt idx="38">
                  <c:v>0.9342125399153389</c:v>
                </c:pt>
                <c:pt idx="39">
                  <c:v>0.7509426202127689</c:v>
                </c:pt>
                <c:pt idx="40">
                  <c:v>0.8248064003631735</c:v>
                </c:pt>
                <c:pt idx="41">
                  <c:v>1.4505690132035487</c:v>
                </c:pt>
                <c:pt idx="42">
                  <c:v>0.642940847615439</c:v>
                </c:pt>
                <c:pt idx="43">
                  <c:v>0.5294861617588247</c:v>
                </c:pt>
                <c:pt idx="44">
                  <c:v>0.5894101247441538</c:v>
                </c:pt>
                <c:pt idx="45">
                  <c:v>0.9419683181399864</c:v>
                </c:pt>
                <c:pt idx="46">
                  <c:v>0.687427516124962</c:v>
                </c:pt>
                <c:pt idx="47">
                  <c:v>0.8088399974767335</c:v>
                </c:pt>
                <c:pt idx="48">
                  <c:v>0.0</c:v>
                </c:pt>
                <c:pt idx="49">
                  <c:v>0.6970772876415939</c:v>
                </c:pt>
                <c:pt idx="50">
                  <c:v>0.284667636686498</c:v>
                </c:pt>
                <c:pt idx="51">
                  <c:v>0.27640772765083393</c:v>
                </c:pt>
                <c:pt idx="52">
                  <c:v>0.48100419295627433</c:v>
                </c:pt>
                <c:pt idx="53">
                  <c:v>0.0</c:v>
                </c:pt>
                <c:pt idx="54">
                  <c:v>0.0</c:v>
                </c:pt>
                <c:pt idx="55">
                  <c:v>0.0</c:v>
                </c:pt>
                <c:pt idx="56">
                  <c:v>0.0</c:v>
                </c:pt>
                <c:pt idx="57">
                  <c:v>1.6741216893254285</c:v>
                </c:pt>
                <c:pt idx="58">
                  <c:v>1.2689261539374557</c:v>
                </c:pt>
                <c:pt idx="59">
                  <c:v>1.5603948915717598</c:v>
                </c:pt>
                <c:pt idx="60">
                  <c:v>0.0</c:v>
                </c:pt>
                <c:pt idx="61">
                  <c:v>0.0</c:v>
                </c:pt>
                <c:pt idx="62">
                  <c:v>0.0</c:v>
                </c:pt>
                <c:pt idx="63">
                  <c:v>0.0</c:v>
                </c:pt>
                <c:pt idx="64">
                  <c:v>0.0</c:v>
                </c:pt>
                <c:pt idx="65">
                  <c:v>0.0</c:v>
                </c:pt>
                <c:pt idx="66">
                  <c:v>0.0</c:v>
                </c:pt>
                <c:pt idx="67">
                  <c:v>0.8460093737838614</c:v>
                </c:pt>
                <c:pt idx="68">
                  <c:v>2.3198606390673793</c:v>
                </c:pt>
                <c:pt idx="69">
                  <c:v>3.3500959171548543</c:v>
                </c:pt>
                <c:pt idx="70">
                  <c:v>11.343519208362778</c:v>
                </c:pt>
                <c:pt idx="71">
                  <c:v>-0.2270684836361749</c:v>
                </c:pt>
              </c:numCache>
            </c:numRef>
          </c:xVal>
          <c:yVal>
            <c:numRef>
              <c:f>Sheet1!$B$187:$B$258</c:f>
              <c:numCache>
                <c:formatCode>General</c:formatCode>
                <c:ptCount val="72"/>
                <c:pt idx="0">
                  <c:v>7.163063011560188e-05</c:v>
                </c:pt>
                <c:pt idx="1">
                  <c:v>7.163063011560188e-05</c:v>
                </c:pt>
                <c:pt idx="2">
                  <c:v>7.163063011560188e-05</c:v>
                </c:pt>
                <c:pt idx="3">
                  <c:v>7.163063011560188e-05</c:v>
                </c:pt>
                <c:pt idx="4">
                  <c:v>7.163063011560188e-05</c:v>
                </c:pt>
                <c:pt idx="5">
                  <c:v>7.163063011560188e-05</c:v>
                </c:pt>
                <c:pt idx="6">
                  <c:v>7.163063011560188e-05</c:v>
                </c:pt>
                <c:pt idx="7">
                  <c:v>7.163063011560188e-05</c:v>
                </c:pt>
                <c:pt idx="8">
                  <c:v>7.163063011560188e-05</c:v>
                </c:pt>
                <c:pt idx="9">
                  <c:v>7.163063011560188e-05</c:v>
                </c:pt>
                <c:pt idx="10">
                  <c:v>7.163063011560188e-05</c:v>
                </c:pt>
                <c:pt idx="11">
                  <c:v>7.163063011560188e-05</c:v>
                </c:pt>
                <c:pt idx="12">
                  <c:v>7.163063011560188e-05</c:v>
                </c:pt>
                <c:pt idx="13">
                  <c:v>7.163063011560188e-05</c:v>
                </c:pt>
                <c:pt idx="14">
                  <c:v>7.163063011560188e-05</c:v>
                </c:pt>
                <c:pt idx="15">
                  <c:v>7.163063011560188e-05</c:v>
                </c:pt>
                <c:pt idx="16">
                  <c:v>7.163063011560188e-05</c:v>
                </c:pt>
                <c:pt idx="17">
                  <c:v>7.163063011560188e-05</c:v>
                </c:pt>
                <c:pt idx="18">
                  <c:v>7.163063011560188e-05</c:v>
                </c:pt>
                <c:pt idx="19">
                  <c:v>7.163063011560188e-05</c:v>
                </c:pt>
                <c:pt idx="20">
                  <c:v>0.0002399468347148515</c:v>
                </c:pt>
                <c:pt idx="21">
                  <c:v>0.00016337904197665849</c:v>
                </c:pt>
                <c:pt idx="22">
                  <c:v>7.163063011560188e-05</c:v>
                </c:pt>
                <c:pt idx="23">
                  <c:v>7.163063011560188e-05</c:v>
                </c:pt>
                <c:pt idx="24">
                  <c:v>0.00020447299449226735</c:v>
                </c:pt>
                <c:pt idx="25">
                  <c:v>7.163063011560188e-05</c:v>
                </c:pt>
                <c:pt idx="26">
                  <c:v>0.00014285732521524723</c:v>
                </c:pt>
                <c:pt idx="27">
                  <c:v>0.00017978494451298323</c:v>
                </c:pt>
                <c:pt idx="28">
                  <c:v>0.00020344695228474195</c:v>
                </c:pt>
                <c:pt idx="29">
                  <c:v>7.163063011560188e-05</c:v>
                </c:pt>
                <c:pt idx="30">
                  <c:v>7.163063011560188e-05</c:v>
                </c:pt>
                <c:pt idx="31">
                  <c:v>0.0002657397117609311</c:v>
                </c:pt>
                <c:pt idx="32">
                  <c:v>0.00023267673183798205</c:v>
                </c:pt>
                <c:pt idx="33">
                  <c:v>0.00021971857860795808</c:v>
                </c:pt>
                <c:pt idx="34">
                  <c:v>7.163063011560188e-05</c:v>
                </c:pt>
                <c:pt idx="35">
                  <c:v>7.163063011560188e-05</c:v>
                </c:pt>
                <c:pt idx="36">
                  <c:v>0.00022525239430351687</c:v>
                </c:pt>
                <c:pt idx="37">
                  <c:v>7.163063011560188e-05</c:v>
                </c:pt>
                <c:pt idx="38">
                  <c:v>0.00015238729127888104</c:v>
                </c:pt>
                <c:pt idx="39">
                  <c:v>0.00013654478630867046</c:v>
                </c:pt>
                <c:pt idx="40">
                  <c:v>0.00014292983469004383</c:v>
                </c:pt>
                <c:pt idx="41">
                  <c:v>0.0001970229849472412</c:v>
                </c:pt>
                <c:pt idx="42">
                  <c:v>0.00012720872820409126</c:v>
                </c:pt>
                <c:pt idx="43">
                  <c:v>0.00011740130084506739</c:v>
                </c:pt>
                <c:pt idx="44">
                  <c:v>0.00012258134175396554</c:v>
                </c:pt>
                <c:pt idx="45">
                  <c:v>0.00015305772838755243</c:v>
                </c:pt>
                <c:pt idx="46">
                  <c:v>0.00013105431436527922</c:v>
                </c:pt>
                <c:pt idx="47">
                  <c:v>0.0001415496419257576</c:v>
                </c:pt>
                <c:pt idx="48">
                  <c:v>7.163063011560188e-05</c:v>
                </c:pt>
                <c:pt idx="49">
                  <c:v>0.00013188847500365206</c:v>
                </c:pt>
                <c:pt idx="50">
                  <c:v>9.623831508858062e-05</c:v>
                </c:pt>
                <c:pt idx="51">
                  <c:v>9.552429911605568e-05</c:v>
                </c:pt>
                <c:pt idx="52">
                  <c:v>0.00011321034668867055</c:v>
                </c:pt>
                <c:pt idx="53">
                  <c:v>7.163063011560188e-05</c:v>
                </c:pt>
                <c:pt idx="54">
                  <c:v>7.163063011560188e-05</c:v>
                </c:pt>
                <c:pt idx="55">
                  <c:v>7.163063011560188e-05</c:v>
                </c:pt>
                <c:pt idx="56">
                  <c:v>7.163063011560188e-05</c:v>
                </c:pt>
                <c:pt idx="57">
                  <c:v>0.00021634767493626124</c:v>
                </c:pt>
                <c:pt idx="58">
                  <c:v>0.0001813211288794449</c:v>
                </c:pt>
                <c:pt idx="59">
                  <c:v>0.00020651672525514255</c:v>
                </c:pt>
                <c:pt idx="60">
                  <c:v>7.163063011560188e-05</c:v>
                </c:pt>
                <c:pt idx="61">
                  <c:v>7.163063011560188e-05</c:v>
                </c:pt>
                <c:pt idx="62">
                  <c:v>7.163063011560188e-05</c:v>
                </c:pt>
                <c:pt idx="63">
                  <c:v>7.163063011560188e-05</c:v>
                </c:pt>
                <c:pt idx="64">
                  <c:v>7.163063011560188e-05</c:v>
                </c:pt>
                <c:pt idx="65">
                  <c:v>7.163063011560188e-05</c:v>
                </c:pt>
                <c:pt idx="66">
                  <c:v>7.163063011560188e-05</c:v>
                </c:pt>
                <c:pt idx="67">
                  <c:v>0.0001447626952726514</c:v>
                </c:pt>
                <c:pt idx="68">
                  <c:v>0.00027216765094404235</c:v>
                </c:pt>
                <c:pt idx="69">
                  <c:v>0.00036122485978701784</c:v>
                </c:pt>
                <c:pt idx="70">
                  <c:v>0.0010522048548973822</c:v>
                </c:pt>
                <c:pt idx="71">
                  <c:v>5.200202119591434e-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51265049729541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34.3125</c:v>
                </c:pt>
                <c:pt idx="1">
                  <c:v>3740.2</c:v>
                </c:pt>
                <c:pt idx="2">
                  <c:v>3175.8333</c:v>
                </c:pt>
                <c:pt idx="3">
                  <c:v>3027.4</c:v>
                </c:pt>
                <c:pt idx="4">
                  <c:v>3982.3333</c:v>
                </c:pt>
                <c:pt idx="5">
                  <c:v>3848.6667</c:v>
                </c:pt>
                <c:pt idx="6">
                  <c:v>3216.6364</c:v>
                </c:pt>
                <c:pt idx="7">
                  <c:v>3208.875</c:v>
                </c:pt>
                <c:pt idx="8">
                  <c:v>3023.0</c:v>
                </c:pt>
                <c:pt idx="9">
                  <c:v>3233.3333</c:v>
                </c:pt>
                <c:pt idx="10">
                  <c:v>3528.3333</c:v>
                </c:pt>
                <c:pt idx="11">
                  <c:v>3129.7</c:v>
                </c:pt>
                <c:pt idx="12">
                  <c:v>3208.4545</c:v>
                </c:pt>
                <c:pt idx="13">
                  <c:v>3153.0</c:v>
                </c:pt>
                <c:pt idx="14">
                  <c:v>3951.0</c:v>
                </c:pt>
                <c:pt idx="15">
                  <c:v>3128.3333</c:v>
                </c:pt>
                <c:pt idx="16">
                  <c:v>4342.0</c:v>
                </c:pt>
                <c:pt idx="17">
                  <c:v>3291.5</c:v>
                </c:pt>
                <c:pt idx="18">
                  <c:v>4434.0</c:v>
                </c:pt>
                <c:pt idx="19">
                  <c:v>3808.0</c:v>
                </c:pt>
                <c:pt idx="20">
                  <c:v>3044.2</c:v>
                </c:pt>
                <c:pt idx="21">
                  <c:v>6720.0</c:v>
                </c:pt>
                <c:pt idx="22">
                  <c:v>3122.1429</c:v>
                </c:pt>
                <c:pt idx="23">
                  <c:v>3924.6</c:v>
                </c:pt>
                <c:pt idx="24">
                  <c:v>2808.3333</c:v>
                </c:pt>
                <c:pt idx="25">
                  <c:v>2765.0</c:v>
                </c:pt>
                <c:pt idx="26">
                  <c:v>3202.0</c:v>
                </c:pt>
                <c:pt idx="27">
                  <c:v>3106.4</c:v>
                </c:pt>
                <c:pt idx="28">
                  <c:v>3346.6</c:v>
                </c:pt>
                <c:pt idx="29">
                  <c:v>3119.6667</c:v>
                </c:pt>
                <c:pt idx="30">
                  <c:v>3099.8</c:v>
                </c:pt>
                <c:pt idx="31">
                  <c:v>3342.0</c:v>
                </c:pt>
                <c:pt idx="32">
                  <c:v>4329.0</c:v>
                </c:pt>
                <c:pt idx="33">
                  <c:v>2663.4615</c:v>
                </c:pt>
                <c:pt idx="34">
                  <c:v>3005.3571</c:v>
                </c:pt>
                <c:pt idx="35">
                  <c:v>2884.4444</c:v>
                </c:pt>
                <c:pt idx="36">
                  <c:v>2882.1111</c:v>
                </c:pt>
                <c:pt idx="37">
                  <c:v>3050.0</c:v>
                </c:pt>
                <c:pt idx="38">
                  <c:v>3066.2</c:v>
                </c:pt>
                <c:pt idx="39">
                  <c:v>3735.1667</c:v>
                </c:pt>
                <c:pt idx="40">
                  <c:v>4272.75</c:v>
                </c:pt>
                <c:pt idx="41">
                  <c:v>4003.25</c:v>
                </c:pt>
                <c:pt idx="42">
                  <c:v>3549.6667</c:v>
                </c:pt>
                <c:pt idx="43">
                  <c:v>3104.1429</c:v>
                </c:pt>
                <c:pt idx="44">
                  <c:v>3004.2222</c:v>
                </c:pt>
                <c:pt idx="45">
                  <c:v>3138.1429</c:v>
                </c:pt>
                <c:pt idx="46">
                  <c:v>2995.8667</c:v>
                </c:pt>
                <c:pt idx="47">
                  <c:v>2660.1667</c:v>
                </c:pt>
                <c:pt idx="48">
                  <c:v>3669.0</c:v>
                </c:pt>
                <c:pt idx="49">
                  <c:v>3025.0556</c:v>
                </c:pt>
                <c:pt idx="50">
                  <c:v>3099.3571</c:v>
                </c:pt>
                <c:pt idx="51">
                  <c:v>2739.4667</c:v>
                </c:pt>
                <c:pt idx="52">
                  <c:v>3202.5</c:v>
                </c:pt>
                <c:pt idx="53">
                  <c:v>3334.5</c:v>
                </c:pt>
                <c:pt idx="54">
                  <c:v>2909.6923</c:v>
                </c:pt>
                <c:pt idx="55">
                  <c:v>3116.0</c:v>
                </c:pt>
                <c:pt idx="56">
                  <c:v>2599.75</c:v>
                </c:pt>
                <c:pt idx="57">
                  <c:v>2696.8333</c:v>
                </c:pt>
                <c:pt idx="58">
                  <c:v>2451.5714</c:v>
                </c:pt>
                <c:pt idx="59">
                  <c:v>2641.6154</c:v>
                </c:pt>
                <c:pt idx="60">
                  <c:v>2559.1905</c:v>
                </c:pt>
                <c:pt idx="61">
                  <c:v>2616.8125</c:v>
                </c:pt>
                <c:pt idx="62">
                  <c:v>2355.3889</c:v>
                </c:pt>
                <c:pt idx="63">
                  <c:v>2616.8235</c:v>
                </c:pt>
                <c:pt idx="64">
                  <c:v>2307.1667</c:v>
                </c:pt>
                <c:pt idx="65">
                  <c:v>2335.0625</c:v>
                </c:pt>
                <c:pt idx="66">
                  <c:v>2205.0588</c:v>
                </c:pt>
                <c:pt idx="67">
                  <c:v>2366.9167</c:v>
                </c:pt>
                <c:pt idx="68">
                  <c:v>1907.25</c:v>
                </c:pt>
                <c:pt idx="69">
                  <c:v>1806.8462</c:v>
                </c:pt>
                <c:pt idx="70">
                  <c:v>2093.8182</c:v>
                </c:pt>
                <c:pt idx="71">
                  <c:v>1689.1818</c:v>
                </c:pt>
                <c:pt idx="72">
                  <c:v>2030.4375</c:v>
                </c:pt>
                <c:pt idx="73">
                  <c:v>1540.12</c:v>
                </c:pt>
                <c:pt idx="74">
                  <c:v>1899.0714</c:v>
                </c:pt>
                <c:pt idx="75">
                  <c:v>2853.48</c:v>
                </c:pt>
                <c:pt idx="76">
                  <c:v>2875.1212</c:v>
                </c:pt>
                <c:pt idx="77">
                  <c:v>3425.6333</c:v>
                </c:pt>
                <c:pt idx="78">
                  <c:v>2855.7568</c:v>
                </c:pt>
                <c:pt idx="79">
                  <c:v>3978.3</c:v>
                </c:pt>
                <c:pt idx="80">
                  <c:v>3440.1333</c:v>
                </c:pt>
                <c:pt idx="81">
                  <c:v>3386.2927</c:v>
                </c:pt>
                <c:pt idx="82">
                  <c:v>3334.303</c:v>
                </c:pt>
                <c:pt idx="83">
                  <c:v>3918.6087</c:v>
                </c:pt>
                <c:pt idx="84">
                  <c:v>3499.875</c:v>
                </c:pt>
                <c:pt idx="85">
                  <c:v>3327.3478</c:v>
                </c:pt>
                <c:pt idx="86">
                  <c:v>4500.5714</c:v>
                </c:pt>
                <c:pt idx="87">
                  <c:v>4381.2143</c:v>
                </c:pt>
                <c:pt idx="88">
                  <c:v>3936.9063</c:v>
                </c:pt>
                <c:pt idx="89">
                  <c:v>3929.9118</c:v>
                </c:pt>
                <c:pt idx="90">
                  <c:v>4465.6207</c:v>
                </c:pt>
                <c:pt idx="91">
                  <c:v>3604.8857</c:v>
                </c:pt>
                <c:pt idx="92">
                  <c:v>4148.6286</c:v>
                </c:pt>
                <c:pt idx="93">
                  <c:v>4459.8824</c:v>
                </c:pt>
                <c:pt idx="94">
                  <c:v>4274.8824</c:v>
                </c:pt>
                <c:pt idx="95">
                  <c:v>4202.5714</c:v>
                </c:pt>
                <c:pt idx="96">
                  <c:v>3518.4405</c:v>
                </c:pt>
                <c:pt idx="97">
                  <c:v>3508.6293</c:v>
                </c:pt>
                <c:pt idx="98">
                  <c:v>3336.811</c:v>
                </c:pt>
                <c:pt idx="99">
                  <c:v>3491.1985</c:v>
                </c:pt>
                <c:pt idx="100">
                  <c:v>3901.069</c:v>
                </c:pt>
                <c:pt idx="101">
                  <c:v>3699.9652</c:v>
                </c:pt>
                <c:pt idx="102">
                  <c:v>3851.6974</c:v>
                </c:pt>
                <c:pt idx="103">
                  <c:v>3939.1392</c:v>
                </c:pt>
                <c:pt idx="104">
                  <c:v>4226.3208</c:v>
                </c:pt>
              </c:numCache>
            </c:numRef>
          </c:xVal>
          <c:yVal>
            <c:numRef>
              <c:f>Sheet1!$B$2:$B$106</c:f>
              <c:numCache>
                <c:formatCode>General</c:formatCode>
                <c:ptCount val="105"/>
                <c:pt idx="0">
                  <c:v>0.00036313292934794946</c:v>
                </c:pt>
                <c:pt idx="1">
                  <c:v>0.0001180052394326308</c:v>
                </c:pt>
                <c:pt idx="2">
                  <c:v>0.0001380738695201933</c:v>
                </c:pt>
                <c:pt idx="3">
                  <c:v>0.00012080796366096453</c:v>
                </c:pt>
                <c:pt idx="4">
                  <c:v>8.474336883138894e-05</c:v>
                </c:pt>
                <c:pt idx="5">
                  <c:v>0.0001727364329926587</c:v>
                </c:pt>
                <c:pt idx="6">
                  <c:v>0.0003101649513604963</c:v>
                </c:pt>
                <c:pt idx="7">
                  <c:v>0.0002557299491736726</c:v>
                </c:pt>
                <c:pt idx="8">
                  <c:v>0.00023386342376052386</c:v>
                </c:pt>
                <c:pt idx="9">
                  <c:v>0.00023664904945965134</c:v>
                </c:pt>
                <c:pt idx="10">
                  <c:v>0.0001504664459825459</c:v>
                </c:pt>
                <c:pt idx="11">
                  <c:v>0.0002527358657467081</c:v>
                </c:pt>
                <c:pt idx="12">
                  <c:v>0.00025539818899465987</c:v>
                </c:pt>
                <c:pt idx="13">
                  <c:v>0.0002448340025462736</c:v>
                </c:pt>
                <c:pt idx="14">
                  <c:v>7.259879486000533e-05</c:v>
                </c:pt>
                <c:pt idx="15">
                  <c:v>0.00017333025190663278</c:v>
                </c:pt>
                <c:pt idx="16">
                  <c:v>6.557377049180328e-05</c:v>
                </c:pt>
                <c:pt idx="17">
                  <c:v>0.00014304616815077065</c:v>
                </c:pt>
                <c:pt idx="18">
                  <c:v>7.897958377759349e-05</c:v>
                </c:pt>
                <c:pt idx="19">
                  <c:v>0.0001392757660167131</c:v>
                </c:pt>
                <c:pt idx="20">
                  <c:v>0.0001914168676543777</c:v>
                </c:pt>
                <c:pt idx="21">
                  <c:v>4.517323937299544e-05</c:v>
                </c:pt>
                <c:pt idx="22">
                  <c:v>0.0003266753780100803</c:v>
                </c:pt>
                <c:pt idx="23">
                  <c:v>0.0002457968734637695</c:v>
                </c:pt>
                <c:pt idx="24">
                  <c:v>0.0004160118332254784</c:v>
                </c:pt>
                <c:pt idx="25">
                  <c:v>0.0005229578495973225</c:v>
                </c:pt>
                <c:pt idx="26">
                  <c:v>0.0004661787329262039</c:v>
                </c:pt>
                <c:pt idx="27">
                  <c:v>0.00022744848291861893</c:v>
                </c:pt>
                <c:pt idx="28">
                  <c:v>0.0002318141777551115</c:v>
                </c:pt>
                <c:pt idx="29">
                  <c:v>0.00036586853124110735</c:v>
                </c:pt>
                <c:pt idx="30">
                  <c:v>0.00026104207998329333</c:v>
                </c:pt>
                <c:pt idx="31">
                  <c:v>0.0003045221539867025</c:v>
                </c:pt>
                <c:pt idx="32">
                  <c:v>0.00020004000800160032</c:v>
                </c:pt>
                <c:pt idx="33">
                  <c:v>0.0005195428023339461</c:v>
                </c:pt>
                <c:pt idx="34">
                  <c:v>0.0005066406108638222</c:v>
                </c:pt>
                <c:pt idx="35">
                  <c:v>0.0005345687811831789</c:v>
                </c:pt>
                <c:pt idx="36">
                  <c:v>0.00033811706364114506</c:v>
                </c:pt>
                <c:pt idx="37">
                  <c:v>0.00026327336551118914</c:v>
                </c:pt>
                <c:pt idx="38">
                  <c:v>0.00021714583514288196</c:v>
                </c:pt>
                <c:pt idx="39">
                  <c:v>0.00027820280984837946</c:v>
                </c:pt>
                <c:pt idx="40">
                  <c:v>0.00015428527347064721</c:v>
                </c:pt>
                <c:pt idx="41">
                  <c:v>0.00016618196925633567</c:v>
                </c:pt>
                <c:pt idx="42">
                  <c:v>0.00010635280771412365</c:v>
                </c:pt>
                <c:pt idx="43">
                  <c:v>0.00022198262193188305</c:v>
                </c:pt>
                <c:pt idx="44">
                  <c:v>0.00019422085068732602</c:v>
                </c:pt>
                <c:pt idx="45">
                  <c:v>0.0001392065228199264</c:v>
                </c:pt>
                <c:pt idx="46">
                  <c:v>0.0002866479390013186</c:v>
                </c:pt>
                <c:pt idx="47">
                  <c:v>0.0003465937536103516</c:v>
                </c:pt>
                <c:pt idx="48">
                  <c:v>0.00017395085888236573</c:v>
                </c:pt>
                <c:pt idx="49">
                  <c:v>0.0001764757786993735</c:v>
                </c:pt>
                <c:pt idx="50">
                  <c:v>0.0002607124899905026</c:v>
                </c:pt>
                <c:pt idx="51">
                  <c:v>0.00033724537973829757</c:v>
                </c:pt>
                <c:pt idx="52">
                  <c:v>0.00011712573447595994</c:v>
                </c:pt>
                <c:pt idx="53">
                  <c:v>0.00014421690222094028</c:v>
                </c:pt>
                <c:pt idx="54">
                  <c:v>0.00034161082643542243</c:v>
                </c:pt>
                <c:pt idx="55">
                  <c:v>0.0002166553825321598</c:v>
                </c:pt>
                <c:pt idx="56">
                  <c:v>0.00021784119376974185</c:v>
                </c:pt>
                <c:pt idx="57">
                  <c:v>0.00014241633040588654</c:v>
                </c:pt>
                <c:pt idx="58">
                  <c:v>0.00015347848012453683</c:v>
                </c:pt>
                <c:pt idx="59">
                  <c:v>0.0001909798736594682</c:v>
                </c:pt>
                <c:pt idx="60">
                  <c:v>0.00033729521362030194</c:v>
                </c:pt>
                <c:pt idx="61">
                  <c:v>0.00034526661056084244</c:v>
                </c:pt>
                <c:pt idx="62">
                  <c:v>0.00037922679869377434</c:v>
                </c:pt>
                <c:pt idx="63">
                  <c:v>0.0003265902061360536</c:v>
                </c:pt>
                <c:pt idx="64">
                  <c:v>0.00044982569254413917</c:v>
                </c:pt>
                <c:pt idx="65">
                  <c:v>0.0003264639869414405</c:v>
                </c:pt>
                <c:pt idx="66">
                  <c:v>0.00035840026985432084</c:v>
                </c:pt>
                <c:pt idx="67">
                  <c:v>0.00026140943252369025</c:v>
                </c:pt>
                <c:pt idx="68">
                  <c:v>0.00042267659956675646</c:v>
                </c:pt>
                <c:pt idx="69">
                  <c:v>0.00044499212706236737</c:v>
                </c:pt>
                <c:pt idx="70">
                  <c:v>0.00035560728025086475</c:v>
                </c:pt>
                <c:pt idx="71">
                  <c:v>0.00037821482602118004</c:v>
                </c:pt>
                <c:pt idx="72">
                  <c:v>0.0005287857756626346</c:v>
                </c:pt>
                <c:pt idx="73">
                  <c:v>0.0008655011251514627</c:v>
                </c:pt>
                <c:pt idx="74">
                  <c:v>0.0009342052582410249</c:v>
                </c:pt>
                <c:pt idx="75">
                  <c:v>0.0009785118791342127</c:v>
                </c:pt>
                <c:pt idx="76">
                  <c:v>0.001377582968065122</c:v>
                </c:pt>
                <c:pt idx="77">
                  <c:v>0.0012530804895367778</c:v>
                </c:pt>
                <c:pt idx="78">
                  <c:v>0.0017800442605599924</c:v>
                </c:pt>
                <c:pt idx="79">
                  <c:v>0.0012622012790306295</c:v>
                </c:pt>
                <c:pt idx="80">
                  <c:v>0.001277737552706674</c:v>
                </c:pt>
                <c:pt idx="81">
                  <c:v>0.001474607970076248</c:v>
                </c:pt>
                <c:pt idx="82">
                  <c:v>0.0015154298310066127</c:v>
                </c:pt>
                <c:pt idx="83">
                  <c:v>0.0012142329215499947</c:v>
                </c:pt>
                <c:pt idx="84">
                  <c:v>0.0013257471137380545</c:v>
                </c:pt>
                <c:pt idx="85">
                  <c:v>0.0011378252696151183</c:v>
                </c:pt>
                <c:pt idx="86">
                  <c:v>0.0010361927318481238</c:v>
                </c:pt>
                <c:pt idx="87">
                  <c:v>0.0009866450544416647</c:v>
                </c:pt>
                <c:pt idx="88">
                  <c:v>0.001400131262305841</c:v>
                </c:pt>
                <c:pt idx="89">
                  <c:v>0.0016241520970669723</c:v>
                </c:pt>
                <c:pt idx="90">
                  <c:v>0.0014310387367382185</c:v>
                </c:pt>
                <c:pt idx="91">
                  <c:v>0.0016291193446285608</c:v>
                </c:pt>
                <c:pt idx="92">
                  <c:v>0.001333790632978926</c:v>
                </c:pt>
                <c:pt idx="93">
                  <c:v>0.001266577261212934</c:v>
                </c:pt>
                <c:pt idx="94">
                  <c:v>0.0014334499768118387</c:v>
                </c:pt>
                <c:pt idx="95">
                  <c:v>0.0014944036109670927</c:v>
                </c:pt>
                <c:pt idx="96">
                  <c:v>0.0018807514049660793</c:v>
                </c:pt>
                <c:pt idx="97">
                  <c:v>0.002286209818876998</c:v>
                </c:pt>
                <c:pt idx="98">
                  <c:v>0.002183143382668936</c:v>
                </c:pt>
                <c:pt idx="99">
                  <c:v>0.0020329456784956203</c:v>
                </c:pt>
                <c:pt idx="100">
                  <c:v>0.0015614231564438318</c:v>
                </c:pt>
                <c:pt idx="101">
                  <c:v>0.0020515565070020514</c:v>
                </c:pt>
                <c:pt idx="102">
                  <c:v>0.0016952933303591344</c:v>
                </c:pt>
                <c:pt idx="103">
                  <c:v>0.001670790770467187</c:v>
                </c:pt>
                <c:pt idx="104">
                  <c:v>0.001277385457087079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109:$B$160</c:f>
              <c:numCache>
                <c:formatCode>General</c:formatCode>
                <c:ptCount val="52"/>
                <c:pt idx="0">
                  <c:v>0.0012644154258681956</c:v>
                </c:pt>
                <c:pt idx="1">
                  <c:v>0.0014919806042521448</c:v>
                </c:pt>
                <c:pt idx="2">
                  <c:v>0.0014490927419354839</c:v>
                </c:pt>
                <c:pt idx="3">
                  <c:v>0.0015493812943615083</c:v>
                </c:pt>
                <c:pt idx="4">
                  <c:v>0.001476399322593252</c:v>
                </c:pt>
                <c:pt idx="5">
                  <c:v>0.0012921877395475152</c:v>
                </c:pt>
                <c:pt idx="6">
                  <c:v>0.0015012792590869686</c:v>
                </c:pt>
                <c:pt idx="7">
                  <c:v>0.0017356665243989187</c:v>
                </c:pt>
                <c:pt idx="8">
                  <c:v>0.0020275117751645403</c:v>
                </c:pt>
                <c:pt idx="9">
                  <c:v>0.0020895351499885507</c:v>
                </c:pt>
                <c:pt idx="10">
                  <c:v>0.001986152106148796</c:v>
                </c:pt>
                <c:pt idx="11">
                  <c:v>0.0020591538749532012</c:v>
                </c:pt>
                <c:pt idx="12">
                  <c:v>0.002066261241165559</c:v>
                </c:pt>
                <c:pt idx="13">
                  <c:v>0.0030296420174992125</c:v>
                </c:pt>
                <c:pt idx="14">
                  <c:v>0.0029944086705355486</c:v>
                </c:pt>
                <c:pt idx="15">
                  <c:v>0.002915286858566132</c:v>
                </c:pt>
                <c:pt idx="16">
                  <c:v>0.002708645358656512</c:v>
                </c:pt>
                <c:pt idx="17">
                  <c:v>0.003584471797646422</c:v>
                </c:pt>
                <c:pt idx="18">
                  <c:v>0.0019437920142544747</c:v>
                </c:pt>
                <c:pt idx="19">
                  <c:v>0.0016996748448122967</c:v>
                </c:pt>
                <c:pt idx="20">
                  <c:v>0.0019800379844021497</c:v>
                </c:pt>
                <c:pt idx="21">
                  <c:v>0.0025989026855327752</c:v>
                </c:pt>
                <c:pt idx="22">
                  <c:v>0.0022795615481618005</c:v>
                </c:pt>
                <c:pt idx="23">
                  <c:v>0.0023307661126874745</c:v>
                </c:pt>
                <c:pt idx="24">
                  <c:v>0.002144286667302011</c:v>
                </c:pt>
                <c:pt idx="25">
                  <c:v>0.0024474301982917936</c:v>
                </c:pt>
                <c:pt idx="26">
                  <c:v>0.002500480861704174</c:v>
                </c:pt>
                <c:pt idx="27">
                  <c:v>0.0023867365639517538</c:v>
                </c:pt>
                <c:pt idx="28">
                  <c:v>0.0020089021940363177</c:v>
                </c:pt>
                <c:pt idx="29">
                  <c:v>0.002370329057445622</c:v>
                </c:pt>
                <c:pt idx="30">
                  <c:v>0.0022742669118358655</c:v>
                </c:pt>
                <c:pt idx="31">
                  <c:v>0.002381854598603367</c:v>
                </c:pt>
                <c:pt idx="32">
                  <c:v>0.002019619157530294</c:v>
                </c:pt>
                <c:pt idx="33">
                  <c:v>0.002039265864288856</c:v>
                </c:pt>
                <c:pt idx="34">
                  <c:v>0.001879817031142302</c:v>
                </c:pt>
                <c:pt idx="35">
                  <c:v>0.002231652886514963</c:v>
                </c:pt>
                <c:pt idx="36">
                  <c:v>0.002580228995323335</c:v>
                </c:pt>
                <c:pt idx="37">
                  <c:v>0.0026268424380989446</c:v>
                </c:pt>
                <c:pt idx="38">
                  <c:v>0.0029482712409541678</c:v>
                </c:pt>
                <c:pt idx="39">
                  <c:v>0.0028929206099929743</c:v>
                </c:pt>
                <c:pt idx="40">
                  <c:v>0.0027341358906345643</c:v>
                </c:pt>
                <c:pt idx="41">
                  <c:v>0.002220265666271102</c:v>
                </c:pt>
                <c:pt idx="42">
                  <c:v>0.002547987090198743</c:v>
                </c:pt>
                <c:pt idx="43">
                  <c:v>0.0018642923724727588</c:v>
                </c:pt>
                <c:pt idx="44">
                  <c:v>0.0014157873647655938</c:v>
                </c:pt>
                <c:pt idx="45">
                  <c:v>0.0011778802217664141</c:v>
                </c:pt>
                <c:pt idx="46">
                  <c:v>0.0012631169840652933</c:v>
                </c:pt>
                <c:pt idx="47">
                  <c:v>0.0013494659317033004</c:v>
                </c:pt>
                <c:pt idx="48">
                  <c:v>0.0014849957571549796</c:v>
                </c:pt>
                <c:pt idx="49">
                  <c:v>0.0013695022386094285</c:v>
                </c:pt>
                <c:pt idx="50">
                  <c:v>0.0011507750117426023</c:v>
                </c:pt>
                <c:pt idx="51">
                  <c:v>0.001245896452161531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88.2263941464134</c:v>
                </c:pt>
              </c:numCache>
            </c:numRef>
          </c:xVal>
          <c:yVal>
            <c:numRef>
              <c:f>Sheet1!$B$163:$B$164</c:f>
              <c:numCache>
                <c:formatCode>General</c:formatCode>
                <c:ptCount val="2"/>
                <c:pt idx="0">
                  <c:v>0.0024350742003201257</c:v>
                </c:pt>
                <c:pt idx="1">
                  <c:v>0.002435074200320125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88.2263941464134</c:v>
                </c:pt>
                <c:pt idx="1">
                  <c:v>3588.2263941464134</c:v>
                </c:pt>
              </c:numCache>
            </c:numRef>
          </c:xVal>
          <c:yVal>
            <c:numRef>
              <c:f>Sheet1!$B$167:$B$168</c:f>
              <c:numCache>
                <c:formatCode>General</c:formatCode>
                <c:ptCount val="2"/>
                <c:pt idx="0">
                  <c:v>0.002435074200320125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88.2263941464134</c:v>
                </c:pt>
              </c:numCache>
            </c:numRef>
          </c:xVal>
          <c:yVal>
            <c:numRef>
              <c:f>Sheet1!$B$171:$B$172</c:f>
              <c:numCache>
                <c:formatCode>General</c:formatCode>
                <c:ptCount val="2"/>
                <c:pt idx="0">
                  <c:v>0.0024350742003201257</c:v>
                </c:pt>
                <c:pt idx="1">
                  <c:v>0.002435074200320125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88.2263941464134</c:v>
                </c:pt>
                <c:pt idx="1">
                  <c:v>3588.2263941464134</c:v>
                </c:pt>
              </c:numCache>
            </c:numRef>
          </c:xVal>
          <c:yVal>
            <c:numRef>
              <c:f>Sheet1!$B$175:$B$176</c:f>
              <c:numCache>
                <c:formatCode>General</c:formatCode>
                <c:ptCount val="2"/>
                <c:pt idx="0">
                  <c:v>0.002435074200320125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39.55957973419</c:v>
                </c:pt>
              </c:numCache>
            </c:numRef>
          </c:xVal>
          <c:yVal>
            <c:numRef>
              <c:f>Sheet1!$B$179:$B$180</c:f>
              <c:numCache>
                <c:formatCode>General</c:formatCode>
                <c:ptCount val="2"/>
                <c:pt idx="0">
                  <c:v>0.0017474631993491757</c:v>
                </c:pt>
                <c:pt idx="1">
                  <c:v>0.001747463199349175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39.55957973419</c:v>
                </c:pt>
                <c:pt idx="1">
                  <c:v>4239.55957973419</c:v>
                </c:pt>
              </c:numCache>
            </c:numRef>
          </c:xVal>
          <c:yVal>
            <c:numRef>
              <c:f>Sheet1!$B$183:$B$184</c:f>
              <c:numCache>
                <c:formatCode>General</c:formatCode>
                <c:ptCount val="2"/>
                <c:pt idx="0">
                  <c:v>0.001747463199349175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588.2263941464134</c:v>
                </c:pt>
                <c:pt idx="53">
                  <c:v>3588.2263941464134</c:v>
                </c:pt>
                <c:pt idx="54">
                  <c:v>4239.55957973419</c:v>
                </c:pt>
              </c:numCache>
            </c:numRef>
          </c:xVal>
          <c:yVal>
            <c:numRef>
              <c:f>Sheet1!$B$187:$B$241</c:f>
              <c:numCache>
                <c:formatCode>General</c:formatCode>
                <c:ptCount val="55"/>
                <c:pt idx="0">
                  <c:v>0.001572007261874969</c:v>
                </c:pt>
                <c:pt idx="1">
                  <c:v>0.0020973744197537655</c:v>
                </c:pt>
                <c:pt idx="2">
                  <c:v>0.001687251877096986</c:v>
                </c:pt>
                <c:pt idx="3">
                  <c:v>0.0023238087150076817</c:v>
                </c:pt>
                <c:pt idx="4">
                  <c:v>0.0014441527588966814</c:v>
                </c:pt>
                <c:pt idx="5">
                  <c:v>0.001128699281642772</c:v>
                </c:pt>
                <c:pt idx="6">
                  <c:v>0.0015664144917222301</c:v>
                </c:pt>
                <c:pt idx="7">
                  <c:v>0.001700374517267171</c:v>
                </c:pt>
                <c:pt idx="8">
                  <c:v>0.0018212219317708788</c:v>
                </c:pt>
                <c:pt idx="9">
                  <c:v>0.0018967771665069685</c:v>
                </c:pt>
                <c:pt idx="10">
                  <c:v>0.0017885516747142768</c:v>
                </c:pt>
                <c:pt idx="11">
                  <c:v>0.0019093731190524864</c:v>
                </c:pt>
                <c:pt idx="12">
                  <c:v>0.0021624032918809944</c:v>
                </c:pt>
                <c:pt idx="13">
                  <c:v>0.00261979850334904</c:v>
                </c:pt>
                <c:pt idx="14">
                  <c:v>0.0025753286065857395</c:v>
                </c:pt>
                <c:pt idx="15">
                  <c:v>0.0023780288253687073</c:v>
                </c:pt>
                <c:pt idx="16">
                  <c:v>0.0021324024722421814</c:v>
                </c:pt>
                <c:pt idx="17">
                  <c:v>0.0031518631135422346</c:v>
                </c:pt>
                <c:pt idx="18">
                  <c:v>0.0019041872148258783</c:v>
                </c:pt>
                <c:pt idx="19">
                  <c:v>0.0015733588717484152</c:v>
                </c:pt>
                <c:pt idx="20">
                  <c:v>0.0017286851647530625</c:v>
                </c:pt>
                <c:pt idx="21">
                  <c:v>0.0023443863762223956</c:v>
                </c:pt>
                <c:pt idx="22">
                  <c:v>0.0021276783302264964</c:v>
                </c:pt>
                <c:pt idx="23">
                  <c:v>0.0029033544943245734</c:v>
                </c:pt>
                <c:pt idx="24">
                  <c:v>0.0019399093886075785</c:v>
                </c:pt>
                <c:pt idx="25">
                  <c:v>0.002413186623114834</c:v>
                </c:pt>
                <c:pt idx="26">
                  <c:v>0.002191853037276319</c:v>
                </c:pt>
                <c:pt idx="27">
                  <c:v>0.002305141866782842</c:v>
                </c:pt>
                <c:pt idx="28">
                  <c:v>0.0021971809328549365</c:v>
                </c:pt>
                <c:pt idx="29">
                  <c:v>0.002440219137293078</c:v>
                </c:pt>
                <c:pt idx="30">
                  <c:v>0.002456674193089693</c:v>
                </c:pt>
                <c:pt idx="31">
                  <c:v>0.002125273978522387</c:v>
                </c:pt>
                <c:pt idx="32">
                  <c:v>0.0015162780315310575</c:v>
                </c:pt>
                <c:pt idx="33">
                  <c:v>0.0018164258967360717</c:v>
                </c:pt>
                <c:pt idx="34">
                  <c:v>0.0016764072216061097</c:v>
                </c:pt>
                <c:pt idx="35">
                  <c:v>0.0019838207156731204</c:v>
                </c:pt>
                <c:pt idx="36">
                  <c:v>0.0018162124346440536</c:v>
                </c:pt>
                <c:pt idx="37">
                  <c:v>0.0018516296173358227</c:v>
                </c:pt>
                <c:pt idx="38">
                  <c:v>0.002418652392824102</c:v>
                </c:pt>
                <c:pt idx="39">
                  <c:v>0.002754797546653447</c:v>
                </c:pt>
                <c:pt idx="40">
                  <c:v>0.002822108309541789</c:v>
                </c:pt>
                <c:pt idx="41">
                  <c:v>0.0024947052834957874</c:v>
                </c:pt>
                <c:pt idx="42">
                  <c:v>0.0027320698513308996</c:v>
                </c:pt>
                <c:pt idx="43">
                  <c:v>0.0023506753790639872</c:v>
                </c:pt>
                <c:pt idx="44">
                  <c:v>0.0018648977326607063</c:v>
                </c:pt>
                <c:pt idx="45">
                  <c:v>0.0016863866271928409</c:v>
                </c:pt>
                <c:pt idx="46">
                  <c:v>0.001606204691346572</c:v>
                </c:pt>
                <c:pt idx="47">
                  <c:v>0.0016928535151111137</c:v>
                </c:pt>
                <c:pt idx="48">
                  <c:v>0.0020451712200099522</c:v>
                </c:pt>
                <c:pt idx="49">
                  <c:v>0.0021358468974035424</c:v>
                </c:pt>
                <c:pt idx="50">
                  <c:v>0.0019873741944156165</c:v>
                </c:pt>
                <c:pt idx="51">
                  <c:v>0.0017517740142876737</c:v>
                </c:pt>
                <c:pt idx="52">
                  <c:v>0.0024350742003201257</c:v>
                </c:pt>
                <c:pt idx="53">
                  <c:v>0.0024350742003201257</c:v>
                </c:pt>
                <c:pt idx="54">
                  <c:v>0.00174746319934917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64.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3013661571757065"/>
          <c:min val="3.6138591498396357e-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4387.0</c:v>
                </c:pt>
                <c:pt idx="18">
                  <c:v>3807.0</c:v>
                </c:pt>
                <c:pt idx="19">
                  <c:v>3804.25</c:v>
                </c:pt>
                <c:pt idx="20">
                  <c:v>3359.5</c:v>
                </c:pt>
                <c:pt idx="21">
                  <c:v>4369.8</c:v>
                </c:pt>
                <c:pt idx="22">
                  <c:v>6539.0</c:v>
                </c:pt>
                <c:pt idx="23">
                  <c:v>5053.4</c:v>
                </c:pt>
                <c:pt idx="24">
                  <c:v>3948.1429</c:v>
                </c:pt>
                <c:pt idx="25">
                  <c:v>6402.2</c:v>
                </c:pt>
                <c:pt idx="26">
                  <c:v>7763.5</c:v>
                </c:pt>
                <c:pt idx="27">
                  <c:v>3345.6</c:v>
                </c:pt>
                <c:pt idx="28">
                  <c:v>7017.25</c:v>
                </c:pt>
                <c:pt idx="29">
                  <c:v>3873.25</c:v>
                </c:pt>
                <c:pt idx="30">
                  <c:v>5011.5</c:v>
                </c:pt>
                <c:pt idx="31">
                  <c:v>5771.0</c:v>
                </c:pt>
                <c:pt idx="32">
                  <c:v>3461.5</c:v>
                </c:pt>
                <c:pt idx="33">
                  <c:v>3505.5833</c:v>
                </c:pt>
                <c:pt idx="34">
                  <c:v>3707.6429</c:v>
                </c:pt>
                <c:pt idx="35">
                  <c:v>6483.0</c:v>
                </c:pt>
                <c:pt idx="36">
                  <c:v>4574.5</c:v>
                </c:pt>
                <c:pt idx="37">
                  <c:v>7663.0</c:v>
                </c:pt>
                <c:pt idx="38">
                  <c:v>5601.0</c:v>
                </c:pt>
                <c:pt idx="39">
                  <c:v>5694.6667</c:v>
                </c:pt>
                <c:pt idx="40">
                  <c:v>5335.6667</c:v>
                </c:pt>
                <c:pt idx="41">
                  <c:v>10645.0</c:v>
                </c:pt>
                <c:pt idx="42">
                  <c:v>5430.5</c:v>
                </c:pt>
                <c:pt idx="43">
                  <c:v>3861.5714</c:v>
                </c:pt>
                <c:pt idx="44">
                  <c:v>4392.6</c:v>
                </c:pt>
                <c:pt idx="45">
                  <c:v>4084.4545</c:v>
                </c:pt>
                <c:pt idx="46">
                  <c:v>3682.6154</c:v>
                </c:pt>
                <c:pt idx="47">
                  <c:v>4401.9</c:v>
                </c:pt>
                <c:pt idx="48">
                  <c:v>3202.1176</c:v>
                </c:pt>
                <c:pt idx="49">
                  <c:v>3614.8333</c:v>
                </c:pt>
                <c:pt idx="50">
                  <c:v>4083.9</c:v>
                </c:pt>
                <c:pt idx="51">
                  <c:v>4174.75</c:v>
                </c:pt>
                <c:pt idx="52">
                  <c:v>3479.2</c:v>
                </c:pt>
                <c:pt idx="53">
                  <c:v>3423.5</c:v>
                </c:pt>
                <c:pt idx="54">
                  <c:v>4202.4</c:v>
                </c:pt>
                <c:pt idx="55">
                  <c:v>15202.0</c:v>
                </c:pt>
                <c:pt idx="56">
                  <c:v>6202.5</c:v>
                </c:pt>
                <c:pt idx="57">
                  <c:v>10480.0</c:v>
                </c:pt>
                <c:pt idx="58">
                  <c:v>4706.5</c:v>
                </c:pt>
                <c:pt idx="59">
                  <c:v>3925.25</c:v>
                </c:pt>
                <c:pt idx="60">
                  <c:v>3984.0</c:v>
                </c:pt>
                <c:pt idx="61">
                  <c:v>3894.25</c:v>
                </c:pt>
                <c:pt idx="62">
                  <c:v>3523.6667</c:v>
                </c:pt>
                <c:pt idx="63">
                  <c:v>2920.0</c:v>
                </c:pt>
                <c:pt idx="64">
                  <c:v>3077.6</c:v>
                </c:pt>
                <c:pt idx="65">
                  <c:v>6638.0</c:v>
                </c:pt>
                <c:pt idx="66">
                  <c:v>10119.0</c:v>
                </c:pt>
                <c:pt idx="67">
                  <c:v>5730.5</c:v>
                </c:pt>
                <c:pt idx="68">
                  <c:v>17630.0</c:v>
                </c:pt>
                <c:pt idx="69">
                  <c:v>5701.0</c:v>
                </c:pt>
                <c:pt idx="70">
                  <c:v>5620.2857</c:v>
                </c:pt>
                <c:pt idx="71">
                  <c:v>6033.2</c:v>
                </c:pt>
                <c:pt idx="72">
                  <c:v>5945.6</c:v>
                </c:pt>
                <c:pt idx="73">
                  <c:v>5831.6</c:v>
                </c:pt>
                <c:pt idx="74">
                  <c:v>5610.1429</c:v>
                </c:pt>
                <c:pt idx="75">
                  <c:v>8324.4</c:v>
                </c:pt>
                <c:pt idx="76">
                  <c:v>8366.5</c:v>
                </c:pt>
                <c:pt idx="77">
                  <c:v>4291.4545</c:v>
                </c:pt>
                <c:pt idx="78">
                  <c:v>22182.0</c:v>
                </c:pt>
                <c:pt idx="79">
                  <c:v>18169.0</c:v>
                </c:pt>
                <c:pt idx="80">
                  <c:v>17887.0</c:v>
                </c:pt>
                <c:pt idx="81">
                  <c:v>11855.0</c:v>
                </c:pt>
                <c:pt idx="82">
                  <c:v>14450.0</c:v>
                </c:pt>
                <c:pt idx="83">
                  <c:v>17175.0</c:v>
                </c:pt>
                <c:pt idx="84">
                  <c:v>6509.5</c:v>
                </c:pt>
                <c:pt idx="85">
                  <c:v>11668.0</c:v>
                </c:pt>
                <c:pt idx="86">
                  <c:v>5744.6667</c:v>
                </c:pt>
                <c:pt idx="87">
                  <c:v>10423.0</c:v>
                </c:pt>
              </c:numCache>
            </c:numRef>
          </c:xVal>
          <c:yVal>
            <c:numRef>
              <c:f>Sheet1!$B$2:$B$89</c:f>
              <c:numCache>
                <c:formatCode>General</c:formatCode>
                <c:ptCount val="88"/>
                <c:pt idx="0">
                  <c:v>0.0013899920571882446</c:v>
                </c:pt>
                <c:pt idx="1">
                  <c:v>0.0003280481137233461</c:v>
                </c:pt>
                <c:pt idx="2">
                  <c:v>0.0003180324393088095</c:v>
                </c:pt>
                <c:pt idx="3">
                  <c:v>0.00021666125013541327</c:v>
                </c:pt>
                <c:pt idx="4">
                  <c:v>0.000253324889170361</c:v>
                </c:pt>
                <c:pt idx="5">
                  <c:v>0.0006664001066240171</c:v>
                </c:pt>
                <c:pt idx="6">
                  <c:v>0.0007710100231303007</c:v>
                </c:pt>
                <c:pt idx="7">
                  <c:v>0.0009916418756197763</c:v>
                </c:pt>
                <c:pt idx="8">
                  <c:v>0.0005517241379310345</c:v>
                </c:pt>
                <c:pt idx="9">
                  <c:v>0.0007114062129475931</c:v>
                </c:pt>
                <c:pt idx="10">
                  <c:v>0.0003320420586607637</c:v>
                </c:pt>
                <c:pt idx="11">
                  <c:v>0.0007222451506397028</c:v>
                </c:pt>
                <c:pt idx="12">
                  <c:v>0.0005499541704857929</c:v>
                </c:pt>
                <c:pt idx="13">
                  <c:v>0.000625130235465722</c:v>
                </c:pt>
                <c:pt idx="14">
                  <c:v>0.000224290680722216</c:v>
                </c:pt>
                <c:pt idx="15">
                  <c:v>0.0006429214350006429</c:v>
                </c:pt>
                <c:pt idx="16">
                  <c:v>0.0005787874403125452</c:v>
                </c:pt>
                <c:pt idx="17">
                  <c:v>0.0004809233728759218</c:v>
                </c:pt>
                <c:pt idx="18">
                  <c:v>0.0006128702757916241</c:v>
                </c:pt>
                <c:pt idx="19">
                  <c:v>0.000672834314550042</c:v>
                </c:pt>
                <c:pt idx="20">
                  <c:v>0.0003861749372465727</c:v>
                </c:pt>
                <c:pt idx="21">
                  <c:v>0.0010588733587462938</c:v>
                </c:pt>
                <c:pt idx="22">
                  <c:v>0.0006499133448873484</c:v>
                </c:pt>
                <c:pt idx="23">
                  <c:v>0.0010187449062754685</c:v>
                </c:pt>
                <c:pt idx="24">
                  <c:v>0.0015992689056431345</c:v>
                </c:pt>
                <c:pt idx="25">
                  <c:v>0.0009389671361502347</c:v>
                </c:pt>
                <c:pt idx="26">
                  <c:v>0.0003829216925138809</c:v>
                </c:pt>
                <c:pt idx="27">
                  <c:v>0.0009613535858488752</c:v>
                </c:pt>
                <c:pt idx="28">
                  <c:v>0.0006884681583476765</c:v>
                </c:pt>
                <c:pt idx="29">
                  <c:v>0.0008615119534783546</c:v>
                </c:pt>
                <c:pt idx="30">
                  <c:v>0.0008605851979345956</c:v>
                </c:pt>
                <c:pt idx="31">
                  <c:v>0.0006612298875909191</c:v>
                </c:pt>
                <c:pt idx="32">
                  <c:v>0.0019029495718363464</c:v>
                </c:pt>
                <c:pt idx="33">
                  <c:v>0.0020938754144128424</c:v>
                </c:pt>
                <c:pt idx="34">
                  <c:v>0.0019305019305019305</c:v>
                </c:pt>
                <c:pt idx="35">
                  <c:v>0.0006308153288124901</c:v>
                </c:pt>
                <c:pt idx="36">
                  <c:v>0.0007662835249042146</c:v>
                </c:pt>
                <c:pt idx="37">
                  <c:v>0.0003685277317118113</c:v>
                </c:pt>
                <c:pt idx="38">
                  <c:v>0.0008151620134501732</c:v>
                </c:pt>
                <c:pt idx="39">
                  <c:v>0.0005020920502092051</c:v>
                </c:pt>
                <c:pt idx="40">
                  <c:v>0.00055452865064695</c:v>
                </c:pt>
                <c:pt idx="41">
                  <c:v>0.00015669069257286117</c:v>
                </c:pt>
                <c:pt idx="42">
                  <c:v>0.0005485463521667581</c:v>
                </c:pt>
                <c:pt idx="43">
                  <c:v>0.0007422330611812109</c:v>
                </c:pt>
                <c:pt idx="44">
                  <c:v>0.0004979087831109341</c:v>
                </c:pt>
                <c:pt idx="45">
                  <c:v>0.0010732754415064885</c:v>
                </c:pt>
                <c:pt idx="46">
                  <c:v>0.0013006503251625813</c:v>
                </c:pt>
                <c:pt idx="47">
                  <c:v>0.0007183908045977011</c:v>
                </c:pt>
                <c:pt idx="48">
                  <c:v>0.0008392575039494471</c:v>
                </c:pt>
                <c:pt idx="49">
                  <c:v>0.0009613843935266784</c:v>
                </c:pt>
                <c:pt idx="50">
                  <c:v>0.0008946144211844695</c:v>
                </c:pt>
                <c:pt idx="51">
                  <c:v>0.0003058103975535168</c:v>
                </c:pt>
                <c:pt idx="52">
                  <c:v>0.0005198585984612185</c:v>
                </c:pt>
                <c:pt idx="53">
                  <c:v>0.001129305477131564</c:v>
                </c:pt>
                <c:pt idx="54">
                  <c:v>0.0005919962112242482</c:v>
                </c:pt>
                <c:pt idx="55">
                  <c:v>0.00011396011396011396</c:v>
                </c:pt>
                <c:pt idx="56">
                  <c:v>0.0002042692268409764</c:v>
                </c:pt>
                <c:pt idx="57">
                  <c:v>9.304922303898763e-05</c:v>
                </c:pt>
                <c:pt idx="58">
                  <c:v>0.00024464831804281347</c:v>
                </c:pt>
                <c:pt idx="59">
                  <c:v>0.00025375880225845333</c:v>
                </c:pt>
                <c:pt idx="60">
                  <c:v>0.00042369290738073043</c:v>
                </c:pt>
                <c:pt idx="61">
                  <c:v>0.0003549560741858195</c:v>
                </c:pt>
                <c:pt idx="62">
                  <c:v>0.00045558086560364467</c:v>
                </c:pt>
                <c:pt idx="63">
                  <c:v>0.0006550218340611354</c:v>
                </c:pt>
                <c:pt idx="64">
                  <c:v>0.00039856516540454366</c:v>
                </c:pt>
                <c:pt idx="65">
                  <c:v>8.676036786395974e-05</c:v>
                </c:pt>
                <c:pt idx="66">
                  <c:v>8.946144211844694e-05</c:v>
                </c:pt>
                <c:pt idx="67">
                  <c:v>0.0002586987453110852</c:v>
                </c:pt>
                <c:pt idx="68">
                  <c:v>0.0001255020080321285</c:v>
                </c:pt>
                <c:pt idx="69">
                  <c:v>0.0006367804381049414</c:v>
                </c:pt>
                <c:pt idx="70">
                  <c:v>0.0009066183136899365</c:v>
                </c:pt>
                <c:pt idx="71">
                  <c:v>0.0007687576875768758</c:v>
                </c:pt>
                <c:pt idx="72">
                  <c:v>0.00079923273657289</c:v>
                </c:pt>
                <c:pt idx="73">
                  <c:v>0.0008008970046452026</c:v>
                </c:pt>
                <c:pt idx="74">
                  <c:v>0.0012612612612612612</c:v>
                </c:pt>
                <c:pt idx="75">
                  <c:v>0.0009174311926605505</c:v>
                </c:pt>
                <c:pt idx="76">
                  <c:v>0.0007276696379843551</c:v>
                </c:pt>
                <c:pt idx="77">
                  <c:v>0.0016183610416360158</c:v>
                </c:pt>
                <c:pt idx="78">
                  <c:v>0.0001850481125092524</c:v>
                </c:pt>
                <c:pt idx="79">
                  <c:v>0.0002289901534234028</c:v>
                </c:pt>
                <c:pt idx="80">
                  <c:v>0.0002296211251435132</c:v>
                </c:pt>
                <c:pt idx="81">
                  <c:v>8.244702778464837e-05</c:v>
                </c:pt>
                <c:pt idx="82">
                  <c:v>6.564264145989234e-05</c:v>
                </c:pt>
                <c:pt idx="83">
                  <c:v>4.390586582367404e-05</c:v>
                </c:pt>
                <c:pt idx="84">
                  <c:v>0.00014455044810638914</c:v>
                </c:pt>
                <c:pt idx="85">
                  <c:v>7.172572084349448e-05</c:v>
                </c:pt>
                <c:pt idx="86">
                  <c:v>0.00023084025854108956</c:v>
                </c:pt>
                <c:pt idx="87">
                  <c:v>8.382932349735938e-05</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7.617306520414382e-05</c:v>
                </c:pt>
                <c:pt idx="21">
                  <c:v>0.00016248273620927777</c:v>
                </c:pt>
                <c:pt idx="22">
                  <c:v>0.0</c:v>
                </c:pt>
                <c:pt idx="23">
                  <c:v>0.0</c:v>
                </c:pt>
                <c:pt idx="24">
                  <c:v>0.00011976047904191617</c:v>
                </c:pt>
                <c:pt idx="25">
                  <c:v>0.0</c:v>
                </c:pt>
                <c:pt idx="26">
                  <c:v>0.00022150847269908073</c:v>
                </c:pt>
                <c:pt idx="27">
                  <c:v>0.00010263779123473263</c:v>
                </c:pt>
                <c:pt idx="28">
                  <c:v>0.0001756388864494599</c:v>
                </c:pt>
                <c:pt idx="29">
                  <c:v>0.0</c:v>
                </c:pt>
                <c:pt idx="30">
                  <c:v>0.0</c:v>
                </c:pt>
                <c:pt idx="31">
                  <c:v>9.857072449482504e-05</c:v>
                </c:pt>
                <c:pt idx="32">
                  <c:v>0.00010185373803218578</c:v>
                </c:pt>
                <c:pt idx="33">
                  <c:v>0.00022596316800361542</c:v>
                </c:pt>
                <c:pt idx="34">
                  <c:v>0.0</c:v>
                </c:pt>
                <c:pt idx="35">
                  <c:v>0.0</c:v>
                </c:pt>
                <c:pt idx="36">
                  <c:v>0.00012732365673542143</c:v>
                </c:pt>
                <c:pt idx="37">
                  <c:v>0.0</c:v>
                </c:pt>
                <c:pt idx="38">
                  <c:v>0.0003575259206292456</c:v>
                </c:pt>
                <c:pt idx="39">
                  <c:v>0.0003604253018561903</c:v>
                </c:pt>
                <c:pt idx="40">
                  <c:v>0.00017409470752089137</c:v>
                </c:pt>
                <c:pt idx="41">
                  <c:v>0.00016302575806977502</c:v>
                </c:pt>
                <c:pt idx="42">
                  <c:v>0.0005128205128205128</c:v>
                </c:pt>
                <c:pt idx="43">
                  <c:v>0.0008548469823901521</c:v>
                </c:pt>
                <c:pt idx="44">
                  <c:v>0.00031377470975839345</c:v>
                </c:pt>
                <c:pt idx="45">
                  <c:v>0.0002828854314002829</c:v>
                </c:pt>
                <c:pt idx="46">
                  <c:v>0.0003399048266485384</c:v>
                </c:pt>
                <c:pt idx="47">
                  <c:v>0.00017793594306049823</c:v>
                </c:pt>
                <c:pt idx="48">
                  <c:v>0.0</c:v>
                </c:pt>
                <c:pt idx="49">
                  <c:v>0.00017962996227770793</c:v>
                </c:pt>
                <c:pt idx="50">
                  <c:v>0.0007192950908110052</c:v>
                </c:pt>
                <c:pt idx="51">
                  <c:v>0.0006172839506172839</c:v>
                </c:pt>
                <c:pt idx="52">
                  <c:v>0.0006808278867102397</c:v>
                </c:pt>
                <c:pt idx="53">
                  <c:v>0.0</c:v>
                </c:pt>
                <c:pt idx="54">
                  <c:v>0.0</c:v>
                </c:pt>
                <c:pt idx="55">
                  <c:v>0.0</c:v>
                </c:pt>
                <c:pt idx="56">
                  <c:v>0.0</c:v>
                </c:pt>
                <c:pt idx="57">
                  <c:v>0.00014954389113204725</c:v>
                </c:pt>
                <c:pt idx="58">
                  <c:v>0.00014112334180073385</c:v>
                </c:pt>
                <c:pt idx="59">
                  <c:v>0.00015463120457708364</c:v>
                </c:pt>
                <c:pt idx="60">
                  <c:v>0.0</c:v>
                </c:pt>
                <c:pt idx="61">
                  <c:v>0.0</c:v>
                </c:pt>
                <c:pt idx="62">
                  <c:v>0.0</c:v>
                </c:pt>
                <c:pt idx="63">
                  <c:v>0.0</c:v>
                </c:pt>
                <c:pt idx="64">
                  <c:v>0.0</c:v>
                </c:pt>
                <c:pt idx="65">
                  <c:v>0.0</c:v>
                </c:pt>
                <c:pt idx="66">
                  <c:v>0.0</c:v>
                </c:pt>
                <c:pt idx="67">
                  <c:v>0.00016380687169826775</c:v>
                </c:pt>
                <c:pt idx="68">
                  <c:v>6.692096633875393e-0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5374.4848340766</c:v>
                </c:pt>
              </c:numCache>
            </c:numRef>
          </c:xVal>
          <c:yVal>
            <c:numRef>
              <c:f>Sheet1!$B$163:$B$164</c:f>
              <c:numCache>
                <c:formatCode>General</c:formatCode>
                <c:ptCount val="2"/>
                <c:pt idx="0">
                  <c:v>0.0010522048548973822</c:v>
                </c:pt>
                <c:pt idx="1">
                  <c:v>0.00105220485489738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5374.4848340766</c:v>
                </c:pt>
                <c:pt idx="1">
                  <c:v>65374.4848340766</c:v>
                </c:pt>
              </c:numCache>
            </c:numRef>
          </c:xVal>
          <c:yVal>
            <c:numRef>
              <c:f>Sheet1!$B$167:$B$168</c:f>
              <c:numCache>
                <c:formatCode>General</c:formatCode>
                <c:ptCount val="2"/>
                <c:pt idx="0">
                  <c:v>0.00105220485489738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9655.917770424614</c:v>
                </c:pt>
              </c:numCache>
            </c:numRef>
          </c:xVal>
          <c:yVal>
            <c:numRef>
              <c:f>Sheet1!$B$171:$B$172</c:f>
              <c:numCache>
                <c:formatCode>General</c:formatCode>
                <c:ptCount val="2"/>
                <c:pt idx="0">
                  <c:v>0.00036122485978701784</c:v>
                </c:pt>
                <c:pt idx="1">
                  <c:v>0.000361224859787017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9655.917770424614</c:v>
                </c:pt>
                <c:pt idx="1">
                  <c:v>19655.917770424614</c:v>
                </c:pt>
              </c:numCache>
            </c:numRef>
          </c:xVal>
          <c:yVal>
            <c:numRef>
              <c:f>Sheet1!$B$175:$B$176</c:f>
              <c:numCache>
                <c:formatCode>General</c:formatCode>
                <c:ptCount val="2"/>
                <c:pt idx="0">
                  <c:v>0.000361224859787017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03.7557132949481</c:v>
                </c:pt>
              </c:numCache>
            </c:numRef>
          </c:xVal>
          <c:yVal>
            <c:numRef>
              <c:f>Sheet1!$B$179:$B$180</c:f>
              <c:numCache>
                <c:formatCode>General</c:formatCode>
                <c:ptCount val="2"/>
                <c:pt idx="0">
                  <c:v>5.200202119591434e-05</c:v>
                </c:pt>
                <c:pt idx="1">
                  <c:v>5.200202119591434e-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03.7557132949481</c:v>
                </c:pt>
                <c:pt idx="1">
                  <c:v>-803.7557132949481</c:v>
                </c:pt>
              </c:numCache>
            </c:numRef>
          </c:xVal>
          <c:yVal>
            <c:numRef>
              <c:f>Sheet1!$B$183:$B$184</c:f>
              <c:numCache>
                <c:formatCode>General</c:formatCode>
                <c:ptCount val="2"/>
                <c:pt idx="0">
                  <c:v>5.200202119591434e-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pt idx="69">
                  <c:v>19655.917770424614</c:v>
                </c:pt>
                <c:pt idx="70">
                  <c:v>65374.4848340766</c:v>
                </c:pt>
                <c:pt idx="71">
                  <c:v>-803.7557132949481</c:v>
                </c:pt>
              </c:numCache>
            </c:numRef>
          </c:xVal>
          <c:yVal>
            <c:numRef>
              <c:f>Sheet1!$B$187:$B$258</c:f>
              <c:numCache>
                <c:formatCode>General</c:formatCode>
                <c:ptCount val="72"/>
                <c:pt idx="0">
                  <c:v>6.414980172607051e-05</c:v>
                </c:pt>
                <c:pt idx="1">
                  <c:v>6.414980172607051e-05</c:v>
                </c:pt>
                <c:pt idx="2">
                  <c:v>6.414980172607051e-05</c:v>
                </c:pt>
                <c:pt idx="3">
                  <c:v>6.414980172607051e-05</c:v>
                </c:pt>
                <c:pt idx="4">
                  <c:v>6.414980172607051e-05</c:v>
                </c:pt>
                <c:pt idx="5">
                  <c:v>6.414980172607051e-05</c:v>
                </c:pt>
                <c:pt idx="6">
                  <c:v>6.414980172607051e-05</c:v>
                </c:pt>
                <c:pt idx="7">
                  <c:v>6.414980172607051e-05</c:v>
                </c:pt>
                <c:pt idx="8">
                  <c:v>6.414980172607051e-05</c:v>
                </c:pt>
                <c:pt idx="9">
                  <c:v>6.414980172607051e-05</c:v>
                </c:pt>
                <c:pt idx="10">
                  <c:v>6.414980172607051e-05</c:v>
                </c:pt>
                <c:pt idx="11">
                  <c:v>6.414980172607051e-05</c:v>
                </c:pt>
                <c:pt idx="12">
                  <c:v>6.414980172607051e-05</c:v>
                </c:pt>
                <c:pt idx="13">
                  <c:v>6.414980172607051e-05</c:v>
                </c:pt>
                <c:pt idx="14">
                  <c:v>6.414980172607051e-05</c:v>
                </c:pt>
                <c:pt idx="15">
                  <c:v>6.414980172607051e-05</c:v>
                </c:pt>
                <c:pt idx="16">
                  <c:v>6.414980172607051e-05</c:v>
                </c:pt>
                <c:pt idx="17">
                  <c:v>6.414980172607051e-05</c:v>
                </c:pt>
                <c:pt idx="18">
                  <c:v>6.414980172607051e-05</c:v>
                </c:pt>
                <c:pt idx="19">
                  <c:v>6.414980172607051e-05</c:v>
                </c:pt>
                <c:pt idx="20">
                  <c:v>0.00023318222687962066</c:v>
                </c:pt>
                <c:pt idx="21">
                  <c:v>0.0001588149121471418</c:v>
                </c:pt>
                <c:pt idx="22">
                  <c:v>6.414980172607051e-05</c:v>
                </c:pt>
                <c:pt idx="23">
                  <c:v>6.414980172607051e-05</c:v>
                </c:pt>
                <c:pt idx="24">
                  <c:v>0.00020753415593133967</c:v>
                </c:pt>
                <c:pt idx="25">
                  <c:v>6.414980172607051e-05</c:v>
                </c:pt>
                <c:pt idx="26">
                  <c:v>0.00013914433799323036</c:v>
                </c:pt>
                <c:pt idx="27">
                  <c:v>0.00017384555832160583</c:v>
                </c:pt>
                <c:pt idx="28">
                  <c:v>0.00019461943782567902</c:v>
                </c:pt>
                <c:pt idx="29">
                  <c:v>6.414980172607051e-05</c:v>
                </c:pt>
                <c:pt idx="30">
                  <c:v>6.414980172607051e-05</c:v>
                </c:pt>
                <c:pt idx="31">
                  <c:v>0.00026934948308423846</c:v>
                </c:pt>
                <c:pt idx="32">
                  <c:v>0.00024182730441787447</c:v>
                </c:pt>
                <c:pt idx="33">
                  <c:v>0.00023266080174837983</c:v>
                </c:pt>
                <c:pt idx="34">
                  <c:v>6.414980172607051e-05</c:v>
                </c:pt>
                <c:pt idx="35">
                  <c:v>6.414980172607051e-05</c:v>
                </c:pt>
                <c:pt idx="36">
                  <c:v>0.00023995319669979146</c:v>
                </c:pt>
                <c:pt idx="37">
                  <c:v>6.414980172607051e-05</c:v>
                </c:pt>
                <c:pt idx="38">
                  <c:v>0.00016688566635243468</c:v>
                </c:pt>
                <c:pt idx="39">
                  <c:v>0.00014462308031423912</c:v>
                </c:pt>
                <c:pt idx="40">
                  <c:v>0.00016054543903198457</c:v>
                </c:pt>
                <c:pt idx="41">
                  <c:v>0.00023390768793178182</c:v>
                </c:pt>
                <c:pt idx="42">
                  <c:v>0.00014003101311633084</c:v>
                </c:pt>
                <c:pt idx="43">
                  <c:v>0.00012599535642280935</c:v>
                </c:pt>
                <c:pt idx="44">
                  <c:v>0.00013349934418110135</c:v>
                </c:pt>
                <c:pt idx="45">
                  <c:v>0.00017346771402360523</c:v>
                </c:pt>
                <c:pt idx="46">
                  <c:v>0.0001471168526810431</c:v>
                </c:pt>
                <c:pt idx="47">
                  <c:v>0.00016371933113518963</c:v>
                </c:pt>
                <c:pt idx="48">
                  <c:v>6.414980172607051e-05</c:v>
                </c:pt>
                <c:pt idx="49">
                  <c:v>0.0001527467327212521</c:v>
                </c:pt>
                <c:pt idx="50">
                  <c:v>9.817090231804488e-05</c:v>
                </c:pt>
                <c:pt idx="51">
                  <c:v>9.454359705723909e-05</c:v>
                </c:pt>
                <c:pt idx="52">
                  <c:v>0.00011737446091962757</c:v>
                </c:pt>
                <c:pt idx="53">
                  <c:v>6.414980172607051e-05</c:v>
                </c:pt>
                <c:pt idx="54">
                  <c:v>6.414980172607051e-05</c:v>
                </c:pt>
                <c:pt idx="55">
                  <c:v>6.414980172607051e-05</c:v>
                </c:pt>
                <c:pt idx="56">
                  <c:v>6.414980172607051e-05</c:v>
                </c:pt>
                <c:pt idx="57">
                  <c:v>0.000254689124321815</c:v>
                </c:pt>
                <c:pt idx="58">
                  <c:v>0.0002051764075118159</c:v>
                </c:pt>
                <c:pt idx="59">
                  <c:v>0.00024282481336459607</c:v>
                </c:pt>
                <c:pt idx="60">
                  <c:v>6.414980172607051e-05</c:v>
                </c:pt>
                <c:pt idx="61">
                  <c:v>6.414980172607051e-05</c:v>
                </c:pt>
                <c:pt idx="62">
                  <c:v>6.414980172607051e-05</c:v>
                </c:pt>
                <c:pt idx="63">
                  <c:v>6.414980172607051e-05</c:v>
                </c:pt>
                <c:pt idx="64">
                  <c:v>6.414980172607051e-05</c:v>
                </c:pt>
                <c:pt idx="65">
                  <c:v>6.414980172607051e-05</c:v>
                </c:pt>
                <c:pt idx="66">
                  <c:v>6.414980172607051e-05</c:v>
                </c:pt>
                <c:pt idx="67">
                  <c:v>0.00013374872141778174</c:v>
                </c:pt>
                <c:pt idx="68">
                  <c:v>0.00027622624930784945</c:v>
                </c:pt>
                <c:pt idx="69">
                  <c:v>0.00036122485978701784</c:v>
                </c:pt>
                <c:pt idx="70">
                  <c:v>0.0010522048548973822</c:v>
                </c:pt>
                <c:pt idx="71">
                  <c:v>5.200202119591434e-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844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51265049729541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0.4081368487822606</c:v>
                </c:pt>
                <c:pt idx="1">
                  <c:v>0.7176624386595886</c:v>
                </c:pt>
                <c:pt idx="2">
                  <c:v>0.7158446125739171</c:v>
                </c:pt>
                <c:pt idx="3">
                  <c:v>0.8569541369494941</c:v>
                </c:pt>
                <c:pt idx="4">
                  <c:v>0.6532739955184879</c:v>
                </c:pt>
                <c:pt idx="5">
                  <c:v>0.5043584904899757</c:v>
                </c:pt>
                <c:pt idx="6">
                  <c:v>0.6670063003667446</c:v>
                </c:pt>
                <c:pt idx="7">
                  <c:v>0.40897129061700715</c:v>
                </c:pt>
                <c:pt idx="8">
                  <c:v>0.5911056573193277</c:v>
                </c:pt>
                <c:pt idx="9">
                  <c:v>0.5627461949308942</c:v>
                </c:pt>
                <c:pt idx="10">
                  <c:v>0.7834411766286903</c:v>
                </c:pt>
                <c:pt idx="11">
                  <c:v>0.5028208197987958</c:v>
                </c:pt>
                <c:pt idx="12">
                  <c:v>0.6414498899823075</c:v>
                </c:pt>
                <c:pt idx="13">
                  <c:v>0.5649873651947487</c:v>
                </c:pt>
                <c:pt idx="14">
                  <c:v>0.6077638662706438</c:v>
                </c:pt>
                <c:pt idx="15">
                  <c:v>0.36330222400743534</c:v>
                </c:pt>
                <c:pt idx="16">
                  <c:v>0.20750976029723142</c:v>
                </c:pt>
                <c:pt idx="17">
                  <c:v>0.40329326318598446</c:v>
                </c:pt>
                <c:pt idx="18">
                  <c:v>0.3602023434535495</c:v>
                </c:pt>
                <c:pt idx="19">
                  <c:v>0.3606306644218409</c:v>
                </c:pt>
                <c:pt idx="20">
                  <c:v>0.30861009015272833</c:v>
                </c:pt>
                <c:pt idx="21">
                  <c:v>0.38925037235461873</c:v>
                </c:pt>
                <c:pt idx="22">
                  <c:v>0.5976010453439641</c:v>
                </c:pt>
                <c:pt idx="23">
                  <c:v>0.4407100554643729</c:v>
                </c:pt>
                <c:pt idx="24">
                  <c:v>0.34999856610387464</c:v>
                </c:pt>
                <c:pt idx="25">
                  <c:v>0.623037576877219</c:v>
                </c:pt>
                <c:pt idx="26">
                  <c:v>0.7352787899956359</c:v>
                </c:pt>
                <c:pt idx="27">
                  <c:v>0.3192121550905079</c:v>
                </c:pt>
                <c:pt idx="28">
                  <c:v>0.6644929861935549</c:v>
                </c:pt>
                <c:pt idx="29">
                  <c:v>0.3495503392377807</c:v>
                </c:pt>
                <c:pt idx="30">
                  <c:v>0.4619641241509571</c:v>
                </c:pt>
                <c:pt idx="31">
                  <c:v>0.517793849714458</c:v>
                </c:pt>
                <c:pt idx="32">
                  <c:v>0.333301407394681</c:v>
                </c:pt>
                <c:pt idx="33">
                  <c:v>0.32737618708285976</c:v>
                </c:pt>
                <c:pt idx="34">
                  <c:v>0.36498132514467885</c:v>
                </c:pt>
                <c:pt idx="35">
                  <c:v>0.6091466712995515</c:v>
                </c:pt>
                <c:pt idx="36">
                  <c:v>0.43497502737480553</c:v>
                </c:pt>
                <c:pt idx="37">
                  <c:v>0.7378239360483522</c:v>
                </c:pt>
                <c:pt idx="38">
                  <c:v>0.5330413955417734</c:v>
                </c:pt>
                <c:pt idx="39">
                  <c:v>0.5517368491178126</c:v>
                </c:pt>
                <c:pt idx="40">
                  <c:v>0.5207174818676574</c:v>
                </c:pt>
                <c:pt idx="41">
                  <c:v>1.0061392547389962</c:v>
                </c:pt>
                <c:pt idx="42">
                  <c:v>0.5256958291696587</c:v>
                </c:pt>
                <c:pt idx="43">
                  <c:v>0.3831106099497249</c:v>
                </c:pt>
                <c:pt idx="44">
                  <c:v>0.4563140485295798</c:v>
                </c:pt>
                <c:pt idx="45">
                  <c:v>0.4235002705423897</c:v>
                </c:pt>
                <c:pt idx="46">
                  <c:v>0.36896800303541194</c:v>
                </c:pt>
                <c:pt idx="47">
                  <c:v>0.4666849803865403</c:v>
                </c:pt>
                <c:pt idx="48">
                  <c:v>0.3770010047496615</c:v>
                </c:pt>
                <c:pt idx="49">
                  <c:v>0.37621523776114607</c:v>
                </c:pt>
                <c:pt idx="50">
                  <c:v>0.42300578470431843</c:v>
                </c:pt>
                <c:pt idx="51">
                  <c:v>0.4401054418738756</c:v>
                </c:pt>
                <c:pt idx="52">
                  <c:v>0.3587215987881</c:v>
                </c:pt>
                <c:pt idx="53">
                  <c:v>0.34988537996146996</c:v>
                </c:pt>
                <c:pt idx="54">
                  <c:v>0.4233565007783951</c:v>
                </c:pt>
                <c:pt idx="55">
                  <c:v>1.5250921448294195</c:v>
                </c:pt>
                <c:pt idx="56">
                  <c:v>0.6161718236531242</c:v>
                </c:pt>
                <c:pt idx="57">
                  <c:v>1.036961636703835</c:v>
                </c:pt>
                <c:pt idx="58">
                  <c:v>0.4747851842932688</c:v>
                </c:pt>
                <c:pt idx="59">
                  <c:v>0.3935305374233079</c:v>
                </c:pt>
                <c:pt idx="60">
                  <c:v>0.39086675468101695</c:v>
                </c:pt>
                <c:pt idx="61">
                  <c:v>0.37963768239425216</c:v>
                </c:pt>
                <c:pt idx="62">
                  <c:v>0.3485469061157182</c:v>
                </c:pt>
                <c:pt idx="63">
                  <c:v>0.2994754799784283</c:v>
                </c:pt>
                <c:pt idx="64">
                  <c:v>0.3136553435110497</c:v>
                </c:pt>
                <c:pt idx="65">
                  <c:v>0.6685824168283423</c:v>
                </c:pt>
                <c:pt idx="66">
                  <c:v>0.9954349485081048</c:v>
                </c:pt>
                <c:pt idx="67">
                  <c:v>0.5359124113844911</c:v>
                </c:pt>
                <c:pt idx="68">
                  <c:v>1.6630346229470367</c:v>
                </c:pt>
                <c:pt idx="69">
                  <c:v>0.5237517514815303</c:v>
                </c:pt>
                <c:pt idx="70">
                  <c:v>0.5199233327833713</c:v>
                </c:pt>
                <c:pt idx="71">
                  <c:v>0.5412813323810639</c:v>
                </c:pt>
                <c:pt idx="72">
                  <c:v>0.5305600197717847</c:v>
                </c:pt>
                <c:pt idx="73">
                  <c:v>0.5244158443547875</c:v>
                </c:pt>
                <c:pt idx="74">
                  <c:v>0.4939227653363867</c:v>
                </c:pt>
                <c:pt idx="75">
                  <c:v>0.727392028958109</c:v>
                </c:pt>
                <c:pt idx="76">
                  <c:v>0.7308179185914349</c:v>
                </c:pt>
                <c:pt idx="77">
                  <c:v>0.3857074579374659</c:v>
                </c:pt>
                <c:pt idx="78">
                  <c:v>1.9238516915896613</c:v>
                </c:pt>
                <c:pt idx="79">
                  <c:v>1.592322427544575</c:v>
                </c:pt>
                <c:pt idx="80">
                  <c:v>1.5692138542133742</c:v>
                </c:pt>
                <c:pt idx="81">
                  <c:v>1.0550449477181398</c:v>
                </c:pt>
                <c:pt idx="82">
                  <c:v>1.3344835935447048</c:v>
                </c:pt>
                <c:pt idx="83">
                  <c:v>1.6380791728157027</c:v>
                </c:pt>
                <c:pt idx="84">
                  <c:v>0.593216178628687</c:v>
                </c:pt>
                <c:pt idx="85">
                  <c:v>1.0717384499652916</c:v>
                </c:pt>
                <c:pt idx="86">
                  <c:v>0.523737784349592</c:v>
                </c:pt>
                <c:pt idx="87">
                  <c:v>0.9470666520849478</c:v>
                </c:pt>
              </c:numCache>
            </c:numRef>
          </c:xVal>
          <c:yVal>
            <c:numRef>
              <c:f>Sheet1!$B$2:$B$89</c:f>
              <c:numCache>
                <c:formatCode>General</c:formatCode>
                <c:ptCount val="88"/>
                <c:pt idx="0">
                  <c:v>0.0013899920571882446</c:v>
                </c:pt>
                <c:pt idx="1">
                  <c:v>0.0003280481137233461</c:v>
                </c:pt>
                <c:pt idx="2">
                  <c:v>0.0003180324393088095</c:v>
                </c:pt>
                <c:pt idx="3">
                  <c:v>0.00021666125013541327</c:v>
                </c:pt>
                <c:pt idx="4">
                  <c:v>0.000253324889170361</c:v>
                </c:pt>
                <c:pt idx="5">
                  <c:v>0.0006664001066240171</c:v>
                </c:pt>
                <c:pt idx="6">
                  <c:v>0.0007710100231303007</c:v>
                </c:pt>
                <c:pt idx="7">
                  <c:v>0.0009916418756197763</c:v>
                </c:pt>
                <c:pt idx="8">
                  <c:v>0.0005517241379310345</c:v>
                </c:pt>
                <c:pt idx="9">
                  <c:v>0.0007114062129475931</c:v>
                </c:pt>
                <c:pt idx="10">
                  <c:v>0.0003320420586607637</c:v>
                </c:pt>
                <c:pt idx="11">
                  <c:v>0.0007222451506397028</c:v>
                </c:pt>
                <c:pt idx="12">
                  <c:v>0.0005499541704857929</c:v>
                </c:pt>
                <c:pt idx="13">
                  <c:v>0.000625130235465722</c:v>
                </c:pt>
                <c:pt idx="14">
                  <c:v>0.000224290680722216</c:v>
                </c:pt>
                <c:pt idx="15">
                  <c:v>0.0006429214350006429</c:v>
                </c:pt>
                <c:pt idx="16">
                  <c:v>0.0005787874403125452</c:v>
                </c:pt>
                <c:pt idx="17">
                  <c:v>0.0004809233728759218</c:v>
                </c:pt>
                <c:pt idx="18">
                  <c:v>0.0006128702757916241</c:v>
                </c:pt>
                <c:pt idx="19">
                  <c:v>0.000672834314550042</c:v>
                </c:pt>
                <c:pt idx="20">
                  <c:v>0.0003861749372465727</c:v>
                </c:pt>
                <c:pt idx="21">
                  <c:v>0.0010588733587462938</c:v>
                </c:pt>
                <c:pt idx="22">
                  <c:v>0.0006499133448873484</c:v>
                </c:pt>
                <c:pt idx="23">
                  <c:v>0.0010187449062754685</c:v>
                </c:pt>
                <c:pt idx="24">
                  <c:v>0.0015992689056431345</c:v>
                </c:pt>
                <c:pt idx="25">
                  <c:v>0.0009389671361502347</c:v>
                </c:pt>
                <c:pt idx="26">
                  <c:v>0.0003829216925138809</c:v>
                </c:pt>
                <c:pt idx="27">
                  <c:v>0.0009613535858488752</c:v>
                </c:pt>
                <c:pt idx="28">
                  <c:v>0.0006884681583476765</c:v>
                </c:pt>
                <c:pt idx="29">
                  <c:v>0.0008615119534783546</c:v>
                </c:pt>
                <c:pt idx="30">
                  <c:v>0.0008605851979345956</c:v>
                </c:pt>
                <c:pt idx="31">
                  <c:v>0.0006612298875909191</c:v>
                </c:pt>
                <c:pt idx="32">
                  <c:v>0.0019029495718363464</c:v>
                </c:pt>
                <c:pt idx="33">
                  <c:v>0.0020938754144128424</c:v>
                </c:pt>
                <c:pt idx="34">
                  <c:v>0.0019305019305019305</c:v>
                </c:pt>
                <c:pt idx="35">
                  <c:v>0.0006308153288124901</c:v>
                </c:pt>
                <c:pt idx="36">
                  <c:v>0.0007662835249042146</c:v>
                </c:pt>
                <c:pt idx="37">
                  <c:v>0.0003685277317118113</c:v>
                </c:pt>
                <c:pt idx="38">
                  <c:v>0.0008151620134501732</c:v>
                </c:pt>
                <c:pt idx="39">
                  <c:v>0.0005020920502092051</c:v>
                </c:pt>
                <c:pt idx="40">
                  <c:v>0.00055452865064695</c:v>
                </c:pt>
                <c:pt idx="41">
                  <c:v>0.00015669069257286117</c:v>
                </c:pt>
                <c:pt idx="42">
                  <c:v>0.0005485463521667581</c:v>
                </c:pt>
                <c:pt idx="43">
                  <c:v>0.0007422330611812109</c:v>
                </c:pt>
                <c:pt idx="44">
                  <c:v>0.0004979087831109341</c:v>
                </c:pt>
                <c:pt idx="45">
                  <c:v>0.0010732754415064885</c:v>
                </c:pt>
                <c:pt idx="46">
                  <c:v>0.0013006503251625813</c:v>
                </c:pt>
                <c:pt idx="47">
                  <c:v>0.0007183908045977011</c:v>
                </c:pt>
                <c:pt idx="48">
                  <c:v>0.0008392575039494471</c:v>
                </c:pt>
                <c:pt idx="49">
                  <c:v>0.0009613843935266784</c:v>
                </c:pt>
                <c:pt idx="50">
                  <c:v>0.0008946144211844695</c:v>
                </c:pt>
                <c:pt idx="51">
                  <c:v>0.0003058103975535168</c:v>
                </c:pt>
                <c:pt idx="52">
                  <c:v>0.0005198585984612185</c:v>
                </c:pt>
                <c:pt idx="53">
                  <c:v>0.001129305477131564</c:v>
                </c:pt>
                <c:pt idx="54">
                  <c:v>0.0005919962112242482</c:v>
                </c:pt>
                <c:pt idx="55">
                  <c:v>0.00011396011396011396</c:v>
                </c:pt>
                <c:pt idx="56">
                  <c:v>0.0002042692268409764</c:v>
                </c:pt>
                <c:pt idx="57">
                  <c:v>9.304922303898763e-05</c:v>
                </c:pt>
                <c:pt idx="58">
                  <c:v>0.00024464831804281347</c:v>
                </c:pt>
                <c:pt idx="59">
                  <c:v>0.00025375880225845333</c:v>
                </c:pt>
                <c:pt idx="60">
                  <c:v>0.00042369290738073043</c:v>
                </c:pt>
                <c:pt idx="61">
                  <c:v>0.0003549560741858195</c:v>
                </c:pt>
                <c:pt idx="62">
                  <c:v>0.00045558086560364467</c:v>
                </c:pt>
                <c:pt idx="63">
                  <c:v>0.0006550218340611354</c:v>
                </c:pt>
                <c:pt idx="64">
                  <c:v>0.00039856516540454366</c:v>
                </c:pt>
                <c:pt idx="65">
                  <c:v>8.676036786395974e-05</c:v>
                </c:pt>
                <c:pt idx="66">
                  <c:v>8.946144211844694e-05</c:v>
                </c:pt>
                <c:pt idx="67">
                  <c:v>0.0002586987453110852</c:v>
                </c:pt>
                <c:pt idx="68">
                  <c:v>0.0001255020080321285</c:v>
                </c:pt>
                <c:pt idx="69">
                  <c:v>0.0006367804381049414</c:v>
                </c:pt>
                <c:pt idx="70">
                  <c:v>0.0009066183136899365</c:v>
                </c:pt>
                <c:pt idx="71">
                  <c:v>0.0007687576875768758</c:v>
                </c:pt>
                <c:pt idx="72">
                  <c:v>0.00079923273657289</c:v>
                </c:pt>
                <c:pt idx="73">
                  <c:v>0.0008008970046452026</c:v>
                </c:pt>
                <c:pt idx="74">
                  <c:v>0.0012612612612612612</c:v>
                </c:pt>
                <c:pt idx="75">
                  <c:v>0.0009174311926605505</c:v>
                </c:pt>
                <c:pt idx="76">
                  <c:v>0.0007276696379843551</c:v>
                </c:pt>
                <c:pt idx="77">
                  <c:v>0.0016183610416360158</c:v>
                </c:pt>
                <c:pt idx="78">
                  <c:v>0.0001850481125092524</c:v>
                </c:pt>
                <c:pt idx="79">
                  <c:v>0.0002289901534234028</c:v>
                </c:pt>
                <c:pt idx="80">
                  <c:v>0.0002296211251435132</c:v>
                </c:pt>
                <c:pt idx="81">
                  <c:v>8.244702778464837e-05</c:v>
                </c:pt>
                <c:pt idx="82">
                  <c:v>6.564264145989234e-05</c:v>
                </c:pt>
                <c:pt idx="83">
                  <c:v>4.390586582367404e-05</c:v>
                </c:pt>
                <c:pt idx="84">
                  <c:v>0.00014455044810638914</c:v>
                </c:pt>
                <c:pt idx="85">
                  <c:v>7.172572084349448e-05</c:v>
                </c:pt>
                <c:pt idx="86">
                  <c:v>0.00023084025854108956</c:v>
                </c:pt>
                <c:pt idx="87">
                  <c:v>8.382932349735938e-05</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051929075111771</c:v>
                </c:pt>
                <c:pt idx="21">
                  <c:v>0.5947963453304299</c:v>
                </c:pt>
                <c:pt idx="22">
                  <c:v>0.0</c:v>
                </c:pt>
                <c:pt idx="23">
                  <c:v>0.0</c:v>
                </c:pt>
                <c:pt idx="24">
                  <c:v>0.8793368945226265</c:v>
                </c:pt>
                <c:pt idx="25">
                  <c:v>0.0</c:v>
                </c:pt>
                <c:pt idx="26">
                  <c:v>0.4563100674912201</c:v>
                </c:pt>
                <c:pt idx="27">
                  <c:v>0.6724960404919336</c:v>
                </c:pt>
                <c:pt idx="28">
                  <c:v>0.8128072549127667</c:v>
                </c:pt>
                <c:pt idx="29">
                  <c:v>0.0</c:v>
                </c:pt>
                <c:pt idx="30">
                  <c:v>0.0</c:v>
                </c:pt>
                <c:pt idx="31">
                  <c:v>1.2341674191327638</c:v>
                </c:pt>
                <c:pt idx="32">
                  <c:v>1.0392354981983682</c:v>
                </c:pt>
                <c:pt idx="33">
                  <c:v>0.9862805496187355</c:v>
                </c:pt>
                <c:pt idx="34">
                  <c:v>0.0</c:v>
                </c:pt>
                <c:pt idx="35">
                  <c:v>0.0</c:v>
                </c:pt>
                <c:pt idx="36">
                  <c:v>1.041757896235128</c:v>
                </c:pt>
                <c:pt idx="37">
                  <c:v>0.0</c:v>
                </c:pt>
                <c:pt idx="38">
                  <c:v>0.6085049830627484</c:v>
                </c:pt>
                <c:pt idx="39">
                  <c:v>0.4831973158677234</c:v>
                </c:pt>
                <c:pt idx="40">
                  <c:v>0.5833047160698446</c:v>
                </c:pt>
                <c:pt idx="41">
                  <c:v>0.9945631962030921</c:v>
                </c:pt>
                <c:pt idx="42">
                  <c:v>0.43578129350453204</c:v>
                </c:pt>
                <c:pt idx="43">
                  <c:v>0.3580792085210391</c:v>
                </c:pt>
                <c:pt idx="44">
                  <c:v>0.4052979280279562</c:v>
                </c:pt>
                <c:pt idx="45">
                  <c:v>0.6269888073265996</c:v>
                </c:pt>
                <c:pt idx="46">
                  <c:v>0.4786431468193363</c:v>
                </c:pt>
                <c:pt idx="47">
                  <c:v>0.5771350347580188</c:v>
                </c:pt>
                <c:pt idx="48">
                  <c:v>0.0</c:v>
                </c:pt>
                <c:pt idx="49">
                  <c:v>0.5023490387792805</c:v>
                </c:pt>
                <c:pt idx="50">
                  <c:v>0.1957621214192338</c:v>
                </c:pt>
                <c:pt idx="51">
                  <c:v>0.17644934845529694</c:v>
                </c:pt>
                <c:pt idx="52">
                  <c:v>0.3118369695496282</c:v>
                </c:pt>
                <c:pt idx="53">
                  <c:v>0.0</c:v>
                </c:pt>
                <c:pt idx="54">
                  <c:v>0.0</c:v>
                </c:pt>
                <c:pt idx="55">
                  <c:v>0.0</c:v>
                </c:pt>
                <c:pt idx="56">
                  <c:v>0.0</c:v>
                </c:pt>
                <c:pt idx="57">
                  <c:v>1.1313193139475797</c:v>
                </c:pt>
                <c:pt idx="58">
                  <c:v>0.8278349572300945</c:v>
                </c:pt>
                <c:pt idx="59">
                  <c:v>1.0473858553189268</c:v>
                </c:pt>
                <c:pt idx="60">
                  <c:v>0.0</c:v>
                </c:pt>
                <c:pt idx="61">
                  <c:v>0.0</c:v>
                </c:pt>
                <c:pt idx="62">
                  <c:v>0.0</c:v>
                </c:pt>
                <c:pt idx="63">
                  <c:v>0.0</c:v>
                </c:pt>
                <c:pt idx="64">
                  <c:v>0.0</c:v>
                </c:pt>
                <c:pt idx="65">
                  <c:v>0.0</c:v>
                </c:pt>
                <c:pt idx="66">
                  <c:v>0.0</c:v>
                </c:pt>
                <c:pt idx="67">
                  <c:v>0.45931439471863256</c:v>
                </c:pt>
                <c:pt idx="68">
                  <c:v>1.3392814661398256</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7.617306520414382e-05</c:v>
                </c:pt>
                <c:pt idx="21">
                  <c:v>0.00016248273620927777</c:v>
                </c:pt>
                <c:pt idx="22">
                  <c:v>0.0</c:v>
                </c:pt>
                <c:pt idx="23">
                  <c:v>0.0</c:v>
                </c:pt>
                <c:pt idx="24">
                  <c:v>0.00011976047904191617</c:v>
                </c:pt>
                <c:pt idx="25">
                  <c:v>0.0</c:v>
                </c:pt>
                <c:pt idx="26">
                  <c:v>0.00022150847269908073</c:v>
                </c:pt>
                <c:pt idx="27">
                  <c:v>0.00010263779123473263</c:v>
                </c:pt>
                <c:pt idx="28">
                  <c:v>0.0001756388864494599</c:v>
                </c:pt>
                <c:pt idx="29">
                  <c:v>0.0</c:v>
                </c:pt>
                <c:pt idx="30">
                  <c:v>0.0</c:v>
                </c:pt>
                <c:pt idx="31">
                  <c:v>9.857072449482504e-05</c:v>
                </c:pt>
                <c:pt idx="32">
                  <c:v>0.00010185373803218578</c:v>
                </c:pt>
                <c:pt idx="33">
                  <c:v>0.00022596316800361542</c:v>
                </c:pt>
                <c:pt idx="34">
                  <c:v>0.0</c:v>
                </c:pt>
                <c:pt idx="35">
                  <c:v>0.0</c:v>
                </c:pt>
                <c:pt idx="36">
                  <c:v>0.00012732365673542143</c:v>
                </c:pt>
                <c:pt idx="37">
                  <c:v>0.0</c:v>
                </c:pt>
                <c:pt idx="38">
                  <c:v>0.0003575259206292456</c:v>
                </c:pt>
                <c:pt idx="39">
                  <c:v>0.0003604253018561903</c:v>
                </c:pt>
                <c:pt idx="40">
                  <c:v>0.00017409470752089137</c:v>
                </c:pt>
                <c:pt idx="41">
                  <c:v>0.00016302575806977502</c:v>
                </c:pt>
                <c:pt idx="42">
                  <c:v>0.0005128205128205128</c:v>
                </c:pt>
                <c:pt idx="43">
                  <c:v>0.0008548469823901521</c:v>
                </c:pt>
                <c:pt idx="44">
                  <c:v>0.00031377470975839345</c:v>
                </c:pt>
                <c:pt idx="45">
                  <c:v>0.0002828854314002829</c:v>
                </c:pt>
                <c:pt idx="46">
                  <c:v>0.0003399048266485384</c:v>
                </c:pt>
                <c:pt idx="47">
                  <c:v>0.00017793594306049823</c:v>
                </c:pt>
                <c:pt idx="48">
                  <c:v>0.0</c:v>
                </c:pt>
                <c:pt idx="49">
                  <c:v>0.00017962996227770793</c:v>
                </c:pt>
                <c:pt idx="50">
                  <c:v>0.0007192950908110052</c:v>
                </c:pt>
                <c:pt idx="51">
                  <c:v>0.0006172839506172839</c:v>
                </c:pt>
                <c:pt idx="52">
                  <c:v>0.0006808278867102397</c:v>
                </c:pt>
                <c:pt idx="53">
                  <c:v>0.0</c:v>
                </c:pt>
                <c:pt idx="54">
                  <c:v>0.0</c:v>
                </c:pt>
                <c:pt idx="55">
                  <c:v>0.0</c:v>
                </c:pt>
                <c:pt idx="56">
                  <c:v>0.0</c:v>
                </c:pt>
                <c:pt idx="57">
                  <c:v>0.00014954389113204725</c:v>
                </c:pt>
                <c:pt idx="58">
                  <c:v>0.00014112334180073385</c:v>
                </c:pt>
                <c:pt idx="59">
                  <c:v>0.00015463120457708364</c:v>
                </c:pt>
                <c:pt idx="60">
                  <c:v>0.0</c:v>
                </c:pt>
                <c:pt idx="61">
                  <c:v>0.0</c:v>
                </c:pt>
                <c:pt idx="62">
                  <c:v>0.0</c:v>
                </c:pt>
                <c:pt idx="63">
                  <c:v>0.0</c:v>
                </c:pt>
                <c:pt idx="64">
                  <c:v>0.0</c:v>
                </c:pt>
                <c:pt idx="65">
                  <c:v>0.0</c:v>
                </c:pt>
                <c:pt idx="66">
                  <c:v>0.0</c:v>
                </c:pt>
                <c:pt idx="67">
                  <c:v>0.00016380687169826775</c:v>
                </c:pt>
                <c:pt idx="68">
                  <c:v>6.692096633875393e-0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6.0955807778934545</c:v>
                </c:pt>
              </c:numCache>
            </c:numRef>
          </c:xVal>
          <c:yVal>
            <c:numRef>
              <c:f>Sheet1!$B$163:$B$164</c:f>
              <c:numCache>
                <c:formatCode>General</c:formatCode>
                <c:ptCount val="2"/>
                <c:pt idx="0">
                  <c:v>0.0010522048548973822</c:v>
                </c:pt>
                <c:pt idx="1">
                  <c:v>0.00105220485489738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6.0955807778934545</c:v>
                </c:pt>
                <c:pt idx="1">
                  <c:v>6.0955807778934545</c:v>
                </c:pt>
              </c:numCache>
            </c:numRef>
          </c:xVal>
          <c:yVal>
            <c:numRef>
              <c:f>Sheet1!$B$167:$B$168</c:f>
              <c:numCache>
                <c:formatCode>General</c:formatCode>
                <c:ptCount val="2"/>
                <c:pt idx="0">
                  <c:v>0.00105220485489738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8259321037188907</c:v>
                </c:pt>
              </c:numCache>
            </c:numRef>
          </c:xVal>
          <c:yVal>
            <c:numRef>
              <c:f>Sheet1!$B$171:$B$172</c:f>
              <c:numCache>
                <c:formatCode>General</c:formatCode>
                <c:ptCount val="2"/>
                <c:pt idx="0">
                  <c:v>0.00036122485978701784</c:v>
                </c:pt>
                <c:pt idx="1">
                  <c:v>0.000361224859787017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8259321037188907</c:v>
                </c:pt>
                <c:pt idx="1">
                  <c:v>1.8259321037188907</c:v>
                </c:pt>
              </c:numCache>
            </c:numRef>
          </c:xVal>
          <c:yVal>
            <c:numRef>
              <c:f>Sheet1!$B$175:$B$176</c:f>
              <c:numCache>
                <c:formatCode>General</c:formatCode>
                <c:ptCount val="2"/>
                <c:pt idx="0">
                  <c:v>0.000361224859787017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8479308681882396</c:v>
                </c:pt>
              </c:numCache>
            </c:numRef>
          </c:xVal>
          <c:yVal>
            <c:numRef>
              <c:f>Sheet1!$B$179:$B$180</c:f>
              <c:numCache>
                <c:formatCode>General</c:formatCode>
                <c:ptCount val="2"/>
                <c:pt idx="0">
                  <c:v>5.200202119591434e-05</c:v>
                </c:pt>
                <c:pt idx="1">
                  <c:v>5.200202119591434e-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8479308681882396</c:v>
                </c:pt>
                <c:pt idx="1">
                  <c:v>-0.08479308681882396</c:v>
                </c:pt>
              </c:numCache>
            </c:numRef>
          </c:xVal>
          <c:yVal>
            <c:numRef>
              <c:f>Sheet1!$B$183:$B$184</c:f>
              <c:numCache>
                <c:formatCode>General</c:formatCode>
                <c:ptCount val="2"/>
                <c:pt idx="0">
                  <c:v>5.200202119591434e-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051929075111771</c:v>
                </c:pt>
                <c:pt idx="21">
                  <c:v>0.5947963453304299</c:v>
                </c:pt>
                <c:pt idx="22">
                  <c:v>0.0</c:v>
                </c:pt>
                <c:pt idx="23">
                  <c:v>0.0</c:v>
                </c:pt>
                <c:pt idx="24">
                  <c:v>0.8793368945226265</c:v>
                </c:pt>
                <c:pt idx="25">
                  <c:v>0.0</c:v>
                </c:pt>
                <c:pt idx="26">
                  <c:v>0.4563100674912201</c:v>
                </c:pt>
                <c:pt idx="27">
                  <c:v>0.6724960404919336</c:v>
                </c:pt>
                <c:pt idx="28">
                  <c:v>0.8128072549127667</c:v>
                </c:pt>
                <c:pt idx="29">
                  <c:v>0.0</c:v>
                </c:pt>
                <c:pt idx="30">
                  <c:v>0.0</c:v>
                </c:pt>
                <c:pt idx="31">
                  <c:v>1.2341674191327638</c:v>
                </c:pt>
                <c:pt idx="32">
                  <c:v>1.0392354981983682</c:v>
                </c:pt>
                <c:pt idx="33">
                  <c:v>0.9862805496187355</c:v>
                </c:pt>
                <c:pt idx="34">
                  <c:v>0.0</c:v>
                </c:pt>
                <c:pt idx="35">
                  <c:v>0.0</c:v>
                </c:pt>
                <c:pt idx="36">
                  <c:v>1.041757896235128</c:v>
                </c:pt>
                <c:pt idx="37">
                  <c:v>0.0</c:v>
                </c:pt>
                <c:pt idx="38">
                  <c:v>0.6085049830627484</c:v>
                </c:pt>
                <c:pt idx="39">
                  <c:v>0.4831973158677234</c:v>
                </c:pt>
                <c:pt idx="40">
                  <c:v>0.5833047160698446</c:v>
                </c:pt>
                <c:pt idx="41">
                  <c:v>0.9945631962030921</c:v>
                </c:pt>
                <c:pt idx="42">
                  <c:v>0.43578129350453204</c:v>
                </c:pt>
                <c:pt idx="43">
                  <c:v>0.3580792085210391</c:v>
                </c:pt>
                <c:pt idx="44">
                  <c:v>0.4052979280279562</c:v>
                </c:pt>
                <c:pt idx="45">
                  <c:v>0.6269888073265996</c:v>
                </c:pt>
                <c:pt idx="46">
                  <c:v>0.4786431468193363</c:v>
                </c:pt>
                <c:pt idx="47">
                  <c:v>0.5771350347580188</c:v>
                </c:pt>
                <c:pt idx="48">
                  <c:v>0.0</c:v>
                </c:pt>
                <c:pt idx="49">
                  <c:v>0.5023490387792805</c:v>
                </c:pt>
                <c:pt idx="50">
                  <c:v>0.1957621214192338</c:v>
                </c:pt>
                <c:pt idx="51">
                  <c:v>0.17644934845529694</c:v>
                </c:pt>
                <c:pt idx="52">
                  <c:v>0.3118369695496282</c:v>
                </c:pt>
                <c:pt idx="53">
                  <c:v>0.0</c:v>
                </c:pt>
                <c:pt idx="54">
                  <c:v>0.0</c:v>
                </c:pt>
                <c:pt idx="55">
                  <c:v>0.0</c:v>
                </c:pt>
                <c:pt idx="56">
                  <c:v>0.0</c:v>
                </c:pt>
                <c:pt idx="57">
                  <c:v>1.1313193139475797</c:v>
                </c:pt>
                <c:pt idx="58">
                  <c:v>0.8278349572300945</c:v>
                </c:pt>
                <c:pt idx="59">
                  <c:v>1.0473858553189268</c:v>
                </c:pt>
                <c:pt idx="60">
                  <c:v>0.0</c:v>
                </c:pt>
                <c:pt idx="61">
                  <c:v>0.0</c:v>
                </c:pt>
                <c:pt idx="62">
                  <c:v>0.0</c:v>
                </c:pt>
                <c:pt idx="63">
                  <c:v>0.0</c:v>
                </c:pt>
                <c:pt idx="64">
                  <c:v>0.0</c:v>
                </c:pt>
                <c:pt idx="65">
                  <c:v>0.0</c:v>
                </c:pt>
                <c:pt idx="66">
                  <c:v>0.0</c:v>
                </c:pt>
                <c:pt idx="67">
                  <c:v>0.45931439471863256</c:v>
                </c:pt>
                <c:pt idx="68">
                  <c:v>1.3392814661398256</c:v>
                </c:pt>
                <c:pt idx="69">
                  <c:v>1.8259321037188907</c:v>
                </c:pt>
                <c:pt idx="70">
                  <c:v>6.0955807778934545</c:v>
                </c:pt>
                <c:pt idx="71">
                  <c:v>-0.08479308681882396</c:v>
                </c:pt>
              </c:numCache>
            </c:numRef>
          </c:xVal>
          <c:yVal>
            <c:numRef>
              <c:f>Sheet1!$B$187:$B$258</c:f>
              <c:numCache>
                <c:formatCode>General</c:formatCode>
                <c:ptCount val="72"/>
                <c:pt idx="0">
                  <c:v>6.572453824277435e-05</c:v>
                </c:pt>
                <c:pt idx="1">
                  <c:v>6.572453824277435e-05</c:v>
                </c:pt>
                <c:pt idx="2">
                  <c:v>6.572453824277435e-05</c:v>
                </c:pt>
                <c:pt idx="3">
                  <c:v>6.572453824277435e-05</c:v>
                </c:pt>
                <c:pt idx="4">
                  <c:v>6.572453824277435e-05</c:v>
                </c:pt>
                <c:pt idx="5">
                  <c:v>6.572453824277435e-05</c:v>
                </c:pt>
                <c:pt idx="6">
                  <c:v>6.572453824277435e-05</c:v>
                </c:pt>
                <c:pt idx="7">
                  <c:v>6.572453824277435e-05</c:v>
                </c:pt>
                <c:pt idx="8">
                  <c:v>6.572453824277435e-05</c:v>
                </c:pt>
                <c:pt idx="9">
                  <c:v>6.572453824277435e-05</c:v>
                </c:pt>
                <c:pt idx="10">
                  <c:v>6.572453824277435e-05</c:v>
                </c:pt>
                <c:pt idx="11">
                  <c:v>6.572453824277435e-05</c:v>
                </c:pt>
                <c:pt idx="12">
                  <c:v>6.572453824277435e-05</c:v>
                </c:pt>
                <c:pt idx="13">
                  <c:v>6.572453824277435e-05</c:v>
                </c:pt>
                <c:pt idx="14">
                  <c:v>6.572453824277435e-05</c:v>
                </c:pt>
                <c:pt idx="15">
                  <c:v>6.572453824277435e-05</c:v>
                </c:pt>
                <c:pt idx="16">
                  <c:v>6.572453824277435e-05</c:v>
                </c:pt>
                <c:pt idx="17">
                  <c:v>6.572453824277435e-05</c:v>
                </c:pt>
                <c:pt idx="18">
                  <c:v>6.572453824277435e-05</c:v>
                </c:pt>
                <c:pt idx="19">
                  <c:v>6.572453824277435e-05</c:v>
                </c:pt>
                <c:pt idx="20">
                  <c:v>0.00023596382551099512</c:v>
                </c:pt>
                <c:pt idx="21">
                  <c:v>0.00016198360008877943</c:v>
                </c:pt>
                <c:pt idx="22">
                  <c:v>6.572453824277435e-05</c:v>
                </c:pt>
                <c:pt idx="23">
                  <c:v>6.572453824277435e-05</c:v>
                </c:pt>
                <c:pt idx="24">
                  <c:v>0.00020803231329526704</c:v>
                </c:pt>
                <c:pt idx="25">
                  <c:v>6.572453824277435e-05</c:v>
                </c:pt>
                <c:pt idx="26">
                  <c:v>0.00013957162784314982</c:v>
                </c:pt>
                <c:pt idx="27">
                  <c:v>0.00017455815576768483</c:v>
                </c:pt>
                <c:pt idx="28">
                  <c:v>0.00019726546722421352</c:v>
                </c:pt>
                <c:pt idx="29">
                  <c:v>6.572453824277435e-05</c:v>
                </c:pt>
                <c:pt idx="30">
                  <c:v>6.572453824277435e-05</c:v>
                </c:pt>
                <c:pt idx="31">
                  <c:v>0.000265456427753003</c:v>
                </c:pt>
                <c:pt idx="32">
                  <c:v>0.0002339095563233197</c:v>
                </c:pt>
                <c:pt idx="33">
                  <c:v>0.00022533957483234884</c:v>
                </c:pt>
                <c:pt idx="34">
                  <c:v>6.572453824277435e-05</c:v>
                </c:pt>
                <c:pt idx="35">
                  <c:v>6.572453824277435e-05</c:v>
                </c:pt>
                <c:pt idx="36">
                  <c:v>0.00023431776943781994</c:v>
                </c:pt>
                <c:pt idx="37">
                  <c:v>6.572453824277435e-05</c:v>
                </c:pt>
                <c:pt idx="38">
                  <c:v>0.00016420214197737605</c:v>
                </c:pt>
                <c:pt idx="39">
                  <c:v>0.0001439229345125022</c:v>
                </c:pt>
                <c:pt idx="40">
                  <c:v>0.00016012384849415335</c:v>
                </c:pt>
                <c:pt idx="41">
                  <c:v>0.0002266799996619084</c:v>
                </c:pt>
                <c:pt idx="42">
                  <c:v>0.00013624934696445764</c:v>
                </c:pt>
                <c:pt idx="43">
                  <c:v>0.00012367440452792594</c:v>
                </c:pt>
                <c:pt idx="44">
                  <c:v>0.00013131606150344158</c:v>
                </c:pt>
                <c:pt idx="45">
                  <c:v>0.0001671934777462203</c:v>
                </c:pt>
                <c:pt idx="46">
                  <c:v>0.00014318590906920982</c:v>
                </c:pt>
                <c:pt idx="47">
                  <c:v>0.0001591253760932591</c:v>
                </c:pt>
                <c:pt idx="48">
                  <c:v>6.572453824277435e-05</c:v>
                </c:pt>
                <c:pt idx="49">
                  <c:v>0.0001470223598783003</c:v>
                </c:pt>
                <c:pt idx="50">
                  <c:v>9.740576544051504e-05</c:v>
                </c:pt>
                <c:pt idx="51">
                  <c:v>9.428027648660984e-05</c:v>
                </c:pt>
                <c:pt idx="52">
                  <c:v>0.00011619077660049814</c:v>
                </c:pt>
                <c:pt idx="53">
                  <c:v>6.572453824277435e-05</c:v>
                </c:pt>
                <c:pt idx="54">
                  <c:v>6.572453824277435e-05</c:v>
                </c:pt>
                <c:pt idx="55">
                  <c:v>6.572453824277435e-05</c:v>
                </c:pt>
                <c:pt idx="56">
                  <c:v>6.572453824277435e-05</c:v>
                </c:pt>
                <c:pt idx="57">
                  <c:v>0.0002488119708805162</c:v>
                </c:pt>
                <c:pt idx="58">
                  <c:v>0.00019969748036303568</c:v>
                </c:pt>
                <c:pt idx="59">
                  <c:v>0.0002352285720440687</c:v>
                </c:pt>
                <c:pt idx="60">
                  <c:v>6.572453824277435e-05</c:v>
                </c:pt>
                <c:pt idx="61">
                  <c:v>6.572453824277435e-05</c:v>
                </c:pt>
                <c:pt idx="62">
                  <c:v>6.572453824277435e-05</c:v>
                </c:pt>
                <c:pt idx="63">
                  <c:v>6.572453824277435e-05</c:v>
                </c:pt>
                <c:pt idx="64">
                  <c:v>6.572453824277435e-05</c:v>
                </c:pt>
                <c:pt idx="65">
                  <c:v>6.572453824277435e-05</c:v>
                </c:pt>
                <c:pt idx="66">
                  <c:v>6.572453824277435e-05</c:v>
                </c:pt>
                <c:pt idx="67">
                  <c:v>0.00014005783412645922</c:v>
                </c:pt>
                <c:pt idx="68">
                  <c:v>0.00028246759406424794</c:v>
                </c:pt>
                <c:pt idx="69">
                  <c:v>0.0003612248597870178</c:v>
                </c:pt>
                <c:pt idx="70">
                  <c:v>0.0010522048548973822</c:v>
                </c:pt>
                <c:pt idx="71">
                  <c:v>5.200202119591434e-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51265049729541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4387.0</c:v>
                </c:pt>
                <c:pt idx="18">
                  <c:v>3807.0</c:v>
                </c:pt>
                <c:pt idx="19">
                  <c:v>3804.25</c:v>
                </c:pt>
                <c:pt idx="20">
                  <c:v>3359.5</c:v>
                </c:pt>
                <c:pt idx="21">
                  <c:v>4369.8</c:v>
                </c:pt>
                <c:pt idx="22">
                  <c:v>6539.0</c:v>
                </c:pt>
                <c:pt idx="23">
                  <c:v>5053.4</c:v>
                </c:pt>
                <c:pt idx="24">
                  <c:v>3948.1429</c:v>
                </c:pt>
                <c:pt idx="25">
                  <c:v>6402.2</c:v>
                </c:pt>
                <c:pt idx="26">
                  <c:v>7763.5</c:v>
                </c:pt>
                <c:pt idx="27">
                  <c:v>3345.6</c:v>
                </c:pt>
                <c:pt idx="28">
                  <c:v>7017.25</c:v>
                </c:pt>
                <c:pt idx="29">
                  <c:v>3873.25</c:v>
                </c:pt>
                <c:pt idx="30">
                  <c:v>5011.5</c:v>
                </c:pt>
                <c:pt idx="31">
                  <c:v>5771.0</c:v>
                </c:pt>
                <c:pt idx="32">
                  <c:v>3461.5</c:v>
                </c:pt>
                <c:pt idx="33">
                  <c:v>3505.5833</c:v>
                </c:pt>
                <c:pt idx="34">
                  <c:v>3707.6429</c:v>
                </c:pt>
                <c:pt idx="35">
                  <c:v>6483.0</c:v>
                </c:pt>
                <c:pt idx="36">
                  <c:v>4574.5</c:v>
                </c:pt>
                <c:pt idx="37">
                  <c:v>7663.0</c:v>
                </c:pt>
                <c:pt idx="38">
                  <c:v>5601.0</c:v>
                </c:pt>
                <c:pt idx="39">
                  <c:v>5694.6667</c:v>
                </c:pt>
                <c:pt idx="40">
                  <c:v>5335.6667</c:v>
                </c:pt>
                <c:pt idx="41">
                  <c:v>10645.0</c:v>
                </c:pt>
                <c:pt idx="42">
                  <c:v>5430.5</c:v>
                </c:pt>
                <c:pt idx="43">
                  <c:v>3861.5714</c:v>
                </c:pt>
                <c:pt idx="44">
                  <c:v>4392.6</c:v>
                </c:pt>
                <c:pt idx="45">
                  <c:v>4084.4545</c:v>
                </c:pt>
                <c:pt idx="46">
                  <c:v>3682.6154</c:v>
                </c:pt>
                <c:pt idx="47">
                  <c:v>4401.9</c:v>
                </c:pt>
                <c:pt idx="48">
                  <c:v>3202.1176</c:v>
                </c:pt>
                <c:pt idx="49">
                  <c:v>3614.8333</c:v>
                </c:pt>
                <c:pt idx="50">
                  <c:v>4083.9</c:v>
                </c:pt>
                <c:pt idx="51">
                  <c:v>4174.75</c:v>
                </c:pt>
                <c:pt idx="52">
                  <c:v>3479.2</c:v>
                </c:pt>
                <c:pt idx="53">
                  <c:v>3423.5</c:v>
                </c:pt>
                <c:pt idx="54">
                  <c:v>4202.4</c:v>
                </c:pt>
                <c:pt idx="55">
                  <c:v>15202.0</c:v>
                </c:pt>
                <c:pt idx="56">
                  <c:v>6202.5</c:v>
                </c:pt>
                <c:pt idx="57">
                  <c:v>10480.0</c:v>
                </c:pt>
                <c:pt idx="58">
                  <c:v>4706.5</c:v>
                </c:pt>
                <c:pt idx="59">
                  <c:v>3925.25</c:v>
                </c:pt>
                <c:pt idx="60">
                  <c:v>3984.0</c:v>
                </c:pt>
                <c:pt idx="61">
                  <c:v>3894.25</c:v>
                </c:pt>
                <c:pt idx="62">
                  <c:v>3523.6667</c:v>
                </c:pt>
                <c:pt idx="63">
                  <c:v>2920.0</c:v>
                </c:pt>
                <c:pt idx="64">
                  <c:v>3077.6</c:v>
                </c:pt>
                <c:pt idx="65">
                  <c:v>6638.0</c:v>
                </c:pt>
                <c:pt idx="66">
                  <c:v>10119.0</c:v>
                </c:pt>
                <c:pt idx="67">
                  <c:v>5730.5</c:v>
                </c:pt>
                <c:pt idx="68">
                  <c:v>17630.0</c:v>
                </c:pt>
                <c:pt idx="69">
                  <c:v>5701.0</c:v>
                </c:pt>
                <c:pt idx="70">
                  <c:v>5620.2857</c:v>
                </c:pt>
                <c:pt idx="71">
                  <c:v>6033.2</c:v>
                </c:pt>
                <c:pt idx="72">
                  <c:v>5945.6</c:v>
                </c:pt>
                <c:pt idx="73">
                  <c:v>5831.6</c:v>
                </c:pt>
                <c:pt idx="74">
                  <c:v>5610.1429</c:v>
                </c:pt>
                <c:pt idx="75">
                  <c:v>8324.4</c:v>
                </c:pt>
                <c:pt idx="76">
                  <c:v>8366.5</c:v>
                </c:pt>
                <c:pt idx="77">
                  <c:v>4291.4545</c:v>
                </c:pt>
                <c:pt idx="78">
                  <c:v>22182.0</c:v>
                </c:pt>
                <c:pt idx="79">
                  <c:v>18169.0</c:v>
                </c:pt>
                <c:pt idx="80">
                  <c:v>17887.0</c:v>
                </c:pt>
                <c:pt idx="81">
                  <c:v>11855.0</c:v>
                </c:pt>
                <c:pt idx="82">
                  <c:v>14450.0</c:v>
                </c:pt>
                <c:pt idx="83">
                  <c:v>17175.0</c:v>
                </c:pt>
                <c:pt idx="84">
                  <c:v>6509.5</c:v>
                </c:pt>
                <c:pt idx="85">
                  <c:v>11668.0</c:v>
                </c:pt>
                <c:pt idx="86">
                  <c:v>5744.6667</c:v>
                </c:pt>
                <c:pt idx="87">
                  <c:v>10423.0</c:v>
                </c:pt>
              </c:numCache>
            </c:numRef>
          </c:xVal>
          <c:yVal>
            <c:numRef>
              <c:f>Sheet1!$B$2:$B$89</c:f>
              <c:numCache>
                <c:formatCode>General</c:formatCode>
                <c:ptCount val="88"/>
                <c:pt idx="0">
                  <c:v>0.0013899920571882446</c:v>
                </c:pt>
                <c:pt idx="1">
                  <c:v>0.0003280481137233461</c:v>
                </c:pt>
                <c:pt idx="2">
                  <c:v>0.0003180324393088095</c:v>
                </c:pt>
                <c:pt idx="3">
                  <c:v>0.00021666125013541327</c:v>
                </c:pt>
                <c:pt idx="4">
                  <c:v>0.000253324889170361</c:v>
                </c:pt>
                <c:pt idx="5">
                  <c:v>0.0006664001066240171</c:v>
                </c:pt>
                <c:pt idx="6">
                  <c:v>0.0007710100231303007</c:v>
                </c:pt>
                <c:pt idx="7">
                  <c:v>0.0009916418756197763</c:v>
                </c:pt>
                <c:pt idx="8">
                  <c:v>0.0005517241379310345</c:v>
                </c:pt>
                <c:pt idx="9">
                  <c:v>0.0007114062129475931</c:v>
                </c:pt>
                <c:pt idx="10">
                  <c:v>0.0003320420586607637</c:v>
                </c:pt>
                <c:pt idx="11">
                  <c:v>0.0007222451506397028</c:v>
                </c:pt>
                <c:pt idx="12">
                  <c:v>0.0005499541704857929</c:v>
                </c:pt>
                <c:pt idx="13">
                  <c:v>0.000625130235465722</c:v>
                </c:pt>
                <c:pt idx="14">
                  <c:v>0.000224290680722216</c:v>
                </c:pt>
                <c:pt idx="15">
                  <c:v>0.0006429214350006429</c:v>
                </c:pt>
                <c:pt idx="16">
                  <c:v>0.0005787874403125452</c:v>
                </c:pt>
                <c:pt idx="17">
                  <c:v>0.0004809233728759218</c:v>
                </c:pt>
                <c:pt idx="18">
                  <c:v>0.0006128702757916241</c:v>
                </c:pt>
                <c:pt idx="19">
                  <c:v>0.000672834314550042</c:v>
                </c:pt>
                <c:pt idx="20">
                  <c:v>0.0003861749372465727</c:v>
                </c:pt>
                <c:pt idx="21">
                  <c:v>0.0010588733587462938</c:v>
                </c:pt>
                <c:pt idx="22">
                  <c:v>0.0006499133448873484</c:v>
                </c:pt>
                <c:pt idx="23">
                  <c:v>0.0010187449062754685</c:v>
                </c:pt>
                <c:pt idx="24">
                  <c:v>0.0015992689056431345</c:v>
                </c:pt>
                <c:pt idx="25">
                  <c:v>0.0009389671361502347</c:v>
                </c:pt>
                <c:pt idx="26">
                  <c:v>0.0003829216925138809</c:v>
                </c:pt>
                <c:pt idx="27">
                  <c:v>0.0009613535858488752</c:v>
                </c:pt>
                <c:pt idx="28">
                  <c:v>0.0006884681583476765</c:v>
                </c:pt>
                <c:pt idx="29">
                  <c:v>0.0008615119534783546</c:v>
                </c:pt>
                <c:pt idx="30">
                  <c:v>0.0008605851979345956</c:v>
                </c:pt>
                <c:pt idx="31">
                  <c:v>0.0006612298875909191</c:v>
                </c:pt>
                <c:pt idx="32">
                  <c:v>0.0019029495718363464</c:v>
                </c:pt>
                <c:pt idx="33">
                  <c:v>0.0020938754144128424</c:v>
                </c:pt>
                <c:pt idx="34">
                  <c:v>0.0019305019305019305</c:v>
                </c:pt>
                <c:pt idx="35">
                  <c:v>0.0006308153288124901</c:v>
                </c:pt>
                <c:pt idx="36">
                  <c:v>0.0007662835249042146</c:v>
                </c:pt>
                <c:pt idx="37">
                  <c:v>0.0003685277317118113</c:v>
                </c:pt>
                <c:pt idx="38">
                  <c:v>0.0008151620134501732</c:v>
                </c:pt>
                <c:pt idx="39">
                  <c:v>0.0005020920502092051</c:v>
                </c:pt>
                <c:pt idx="40">
                  <c:v>0.00055452865064695</c:v>
                </c:pt>
                <c:pt idx="41">
                  <c:v>0.00015669069257286117</c:v>
                </c:pt>
                <c:pt idx="42">
                  <c:v>0.0005485463521667581</c:v>
                </c:pt>
                <c:pt idx="43">
                  <c:v>0.0007422330611812109</c:v>
                </c:pt>
                <c:pt idx="44">
                  <c:v>0.0004979087831109341</c:v>
                </c:pt>
                <c:pt idx="45">
                  <c:v>0.0010732754415064885</c:v>
                </c:pt>
                <c:pt idx="46">
                  <c:v>0.0013006503251625813</c:v>
                </c:pt>
                <c:pt idx="47">
                  <c:v>0.0007183908045977011</c:v>
                </c:pt>
                <c:pt idx="48">
                  <c:v>0.0008392575039494471</c:v>
                </c:pt>
                <c:pt idx="49">
                  <c:v>0.0009613843935266784</c:v>
                </c:pt>
                <c:pt idx="50">
                  <c:v>0.0008946144211844695</c:v>
                </c:pt>
                <c:pt idx="51">
                  <c:v>0.0003058103975535168</c:v>
                </c:pt>
                <c:pt idx="52">
                  <c:v>0.0005198585984612185</c:v>
                </c:pt>
                <c:pt idx="53">
                  <c:v>0.001129305477131564</c:v>
                </c:pt>
                <c:pt idx="54">
                  <c:v>0.0005919962112242482</c:v>
                </c:pt>
                <c:pt idx="55">
                  <c:v>0.00011396011396011396</c:v>
                </c:pt>
                <c:pt idx="56">
                  <c:v>0.0002042692268409764</c:v>
                </c:pt>
                <c:pt idx="57">
                  <c:v>9.304922303898763e-05</c:v>
                </c:pt>
                <c:pt idx="58">
                  <c:v>0.00024464831804281347</c:v>
                </c:pt>
                <c:pt idx="59">
                  <c:v>0.00025375880225845333</c:v>
                </c:pt>
                <c:pt idx="60">
                  <c:v>0.00042369290738073043</c:v>
                </c:pt>
                <c:pt idx="61">
                  <c:v>0.0003549560741858195</c:v>
                </c:pt>
                <c:pt idx="62">
                  <c:v>0.00045558086560364467</c:v>
                </c:pt>
                <c:pt idx="63">
                  <c:v>0.0006550218340611354</c:v>
                </c:pt>
                <c:pt idx="64">
                  <c:v>0.00039856516540454366</c:v>
                </c:pt>
                <c:pt idx="65">
                  <c:v>8.676036786395974e-05</c:v>
                </c:pt>
                <c:pt idx="66">
                  <c:v>8.946144211844694e-05</c:v>
                </c:pt>
                <c:pt idx="67">
                  <c:v>0.0002586987453110852</c:v>
                </c:pt>
                <c:pt idx="68">
                  <c:v>0.0001255020080321285</c:v>
                </c:pt>
                <c:pt idx="69">
                  <c:v>0.0006367804381049414</c:v>
                </c:pt>
                <c:pt idx="70">
                  <c:v>0.0009066183136899365</c:v>
                </c:pt>
                <c:pt idx="71">
                  <c:v>0.0007687576875768758</c:v>
                </c:pt>
                <c:pt idx="72">
                  <c:v>0.00079923273657289</c:v>
                </c:pt>
                <c:pt idx="73">
                  <c:v>0.0008008970046452026</c:v>
                </c:pt>
                <c:pt idx="74">
                  <c:v>0.0012612612612612612</c:v>
                </c:pt>
                <c:pt idx="75">
                  <c:v>0.0009174311926605505</c:v>
                </c:pt>
                <c:pt idx="76">
                  <c:v>0.0007276696379843551</c:v>
                </c:pt>
                <c:pt idx="77">
                  <c:v>0.0016183610416360158</c:v>
                </c:pt>
                <c:pt idx="78">
                  <c:v>0.0001850481125092524</c:v>
                </c:pt>
                <c:pt idx="79">
                  <c:v>0.0002289901534234028</c:v>
                </c:pt>
                <c:pt idx="80">
                  <c:v>0.0002296211251435132</c:v>
                </c:pt>
                <c:pt idx="81">
                  <c:v>8.244702778464837e-05</c:v>
                </c:pt>
                <c:pt idx="82">
                  <c:v>6.564264145989234e-05</c:v>
                </c:pt>
                <c:pt idx="83">
                  <c:v>4.390586582367404e-05</c:v>
                </c:pt>
                <c:pt idx="84">
                  <c:v>0.00014455044810638914</c:v>
                </c:pt>
                <c:pt idx="85">
                  <c:v>7.172572084349448e-05</c:v>
                </c:pt>
                <c:pt idx="86">
                  <c:v>0.00023084025854108956</c:v>
                </c:pt>
                <c:pt idx="87">
                  <c:v>8.382932349735938e-05</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7.617306520414382e-05</c:v>
                </c:pt>
                <c:pt idx="21">
                  <c:v>0.00016248273620927777</c:v>
                </c:pt>
                <c:pt idx="22">
                  <c:v>0.0</c:v>
                </c:pt>
                <c:pt idx="23">
                  <c:v>0.0</c:v>
                </c:pt>
                <c:pt idx="24">
                  <c:v>0.00011976047904191617</c:v>
                </c:pt>
                <c:pt idx="25">
                  <c:v>0.0</c:v>
                </c:pt>
                <c:pt idx="26">
                  <c:v>0.00022150847269908073</c:v>
                </c:pt>
                <c:pt idx="27">
                  <c:v>0.00010263779123473263</c:v>
                </c:pt>
                <c:pt idx="28">
                  <c:v>0.0001756388864494599</c:v>
                </c:pt>
                <c:pt idx="29">
                  <c:v>0.0</c:v>
                </c:pt>
                <c:pt idx="30">
                  <c:v>0.0</c:v>
                </c:pt>
                <c:pt idx="31">
                  <c:v>9.857072449482504e-05</c:v>
                </c:pt>
                <c:pt idx="32">
                  <c:v>0.00010185373803218578</c:v>
                </c:pt>
                <c:pt idx="33">
                  <c:v>0.00022596316800361542</c:v>
                </c:pt>
                <c:pt idx="34">
                  <c:v>0.0</c:v>
                </c:pt>
                <c:pt idx="35">
                  <c:v>0.0</c:v>
                </c:pt>
                <c:pt idx="36">
                  <c:v>0.00012732365673542143</c:v>
                </c:pt>
                <c:pt idx="37">
                  <c:v>0.0</c:v>
                </c:pt>
                <c:pt idx="38">
                  <c:v>0.0003575259206292456</c:v>
                </c:pt>
                <c:pt idx="39">
                  <c:v>0.0003604253018561903</c:v>
                </c:pt>
                <c:pt idx="40">
                  <c:v>0.00017409470752089137</c:v>
                </c:pt>
                <c:pt idx="41">
                  <c:v>0.00016302575806977502</c:v>
                </c:pt>
                <c:pt idx="42">
                  <c:v>0.0005128205128205128</c:v>
                </c:pt>
                <c:pt idx="43">
                  <c:v>0.0008548469823901521</c:v>
                </c:pt>
                <c:pt idx="44">
                  <c:v>0.00031377470975839345</c:v>
                </c:pt>
                <c:pt idx="45">
                  <c:v>0.0002828854314002829</c:v>
                </c:pt>
                <c:pt idx="46">
                  <c:v>0.0003399048266485384</c:v>
                </c:pt>
                <c:pt idx="47">
                  <c:v>0.00017793594306049823</c:v>
                </c:pt>
                <c:pt idx="48">
                  <c:v>0.0</c:v>
                </c:pt>
                <c:pt idx="49">
                  <c:v>0.00017962996227770793</c:v>
                </c:pt>
                <c:pt idx="50">
                  <c:v>0.0007192950908110052</c:v>
                </c:pt>
                <c:pt idx="51">
                  <c:v>0.0006172839506172839</c:v>
                </c:pt>
                <c:pt idx="52">
                  <c:v>0.0006808278867102397</c:v>
                </c:pt>
                <c:pt idx="53">
                  <c:v>0.0</c:v>
                </c:pt>
                <c:pt idx="54">
                  <c:v>0.0</c:v>
                </c:pt>
                <c:pt idx="55">
                  <c:v>0.0</c:v>
                </c:pt>
                <c:pt idx="56">
                  <c:v>0.0</c:v>
                </c:pt>
                <c:pt idx="57">
                  <c:v>0.00014954389113204725</c:v>
                </c:pt>
                <c:pt idx="58">
                  <c:v>0.00014112334180073385</c:v>
                </c:pt>
                <c:pt idx="59">
                  <c:v>0.00015463120457708364</c:v>
                </c:pt>
                <c:pt idx="60">
                  <c:v>0.0</c:v>
                </c:pt>
                <c:pt idx="61">
                  <c:v>0.0</c:v>
                </c:pt>
                <c:pt idx="62">
                  <c:v>0.0</c:v>
                </c:pt>
                <c:pt idx="63">
                  <c:v>0.0</c:v>
                </c:pt>
                <c:pt idx="64">
                  <c:v>0.0</c:v>
                </c:pt>
                <c:pt idx="65">
                  <c:v>0.0</c:v>
                </c:pt>
                <c:pt idx="66">
                  <c:v>0.0</c:v>
                </c:pt>
                <c:pt idx="67">
                  <c:v>0.00016380687169826775</c:v>
                </c:pt>
                <c:pt idx="68">
                  <c:v>6.692096633875393e-0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5374.4848340766</c:v>
                </c:pt>
              </c:numCache>
            </c:numRef>
          </c:xVal>
          <c:yVal>
            <c:numRef>
              <c:f>Sheet1!$B$163:$B$164</c:f>
              <c:numCache>
                <c:formatCode>General</c:formatCode>
                <c:ptCount val="2"/>
                <c:pt idx="0">
                  <c:v>0.0010522048548973822</c:v>
                </c:pt>
                <c:pt idx="1">
                  <c:v>0.00105220485489738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5374.4848340766</c:v>
                </c:pt>
                <c:pt idx="1">
                  <c:v>65374.4848340766</c:v>
                </c:pt>
              </c:numCache>
            </c:numRef>
          </c:xVal>
          <c:yVal>
            <c:numRef>
              <c:f>Sheet1!$B$167:$B$168</c:f>
              <c:numCache>
                <c:formatCode>General</c:formatCode>
                <c:ptCount val="2"/>
                <c:pt idx="0">
                  <c:v>0.00105220485489738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9655.917770424614</c:v>
                </c:pt>
              </c:numCache>
            </c:numRef>
          </c:xVal>
          <c:yVal>
            <c:numRef>
              <c:f>Sheet1!$B$171:$B$172</c:f>
              <c:numCache>
                <c:formatCode>General</c:formatCode>
                <c:ptCount val="2"/>
                <c:pt idx="0">
                  <c:v>0.00036122485978701784</c:v>
                </c:pt>
                <c:pt idx="1">
                  <c:v>0.000361224859787017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9655.917770424614</c:v>
                </c:pt>
                <c:pt idx="1">
                  <c:v>19655.917770424614</c:v>
                </c:pt>
              </c:numCache>
            </c:numRef>
          </c:xVal>
          <c:yVal>
            <c:numRef>
              <c:f>Sheet1!$B$175:$B$176</c:f>
              <c:numCache>
                <c:formatCode>General</c:formatCode>
                <c:ptCount val="2"/>
                <c:pt idx="0">
                  <c:v>0.000361224859787017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03.7557132949481</c:v>
                </c:pt>
              </c:numCache>
            </c:numRef>
          </c:xVal>
          <c:yVal>
            <c:numRef>
              <c:f>Sheet1!$B$179:$B$180</c:f>
              <c:numCache>
                <c:formatCode>General</c:formatCode>
                <c:ptCount val="2"/>
                <c:pt idx="0">
                  <c:v>5.200202119591434e-05</c:v>
                </c:pt>
                <c:pt idx="1">
                  <c:v>5.200202119591434e-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03.7557132949481</c:v>
                </c:pt>
                <c:pt idx="1">
                  <c:v>-803.7557132949481</c:v>
                </c:pt>
              </c:numCache>
            </c:numRef>
          </c:xVal>
          <c:yVal>
            <c:numRef>
              <c:f>Sheet1!$B$183:$B$184</c:f>
              <c:numCache>
                <c:formatCode>General</c:formatCode>
                <c:ptCount val="2"/>
                <c:pt idx="0">
                  <c:v>5.200202119591434e-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pt idx="69">
                  <c:v>19655.917770424614</c:v>
                </c:pt>
                <c:pt idx="70">
                  <c:v>65374.4848340766</c:v>
                </c:pt>
                <c:pt idx="71">
                  <c:v>-803.7557132949481</c:v>
                </c:pt>
              </c:numCache>
            </c:numRef>
          </c:xVal>
          <c:yVal>
            <c:numRef>
              <c:f>Sheet1!$B$187:$B$258</c:f>
              <c:numCache>
                <c:formatCode>General</c:formatCode>
                <c:ptCount val="72"/>
                <c:pt idx="0">
                  <c:v>6.414980172607051e-05</c:v>
                </c:pt>
                <c:pt idx="1">
                  <c:v>6.414980172607051e-05</c:v>
                </c:pt>
                <c:pt idx="2">
                  <c:v>6.414980172607051e-05</c:v>
                </c:pt>
                <c:pt idx="3">
                  <c:v>6.414980172607051e-05</c:v>
                </c:pt>
                <c:pt idx="4">
                  <c:v>6.414980172607051e-05</c:v>
                </c:pt>
                <c:pt idx="5">
                  <c:v>6.414980172607051e-05</c:v>
                </c:pt>
                <c:pt idx="6">
                  <c:v>6.414980172607051e-05</c:v>
                </c:pt>
                <c:pt idx="7">
                  <c:v>6.414980172607051e-05</c:v>
                </c:pt>
                <c:pt idx="8">
                  <c:v>6.414980172607051e-05</c:v>
                </c:pt>
                <c:pt idx="9">
                  <c:v>6.414980172607051e-05</c:v>
                </c:pt>
                <c:pt idx="10">
                  <c:v>6.414980172607051e-05</c:v>
                </c:pt>
                <c:pt idx="11">
                  <c:v>6.414980172607051e-05</c:v>
                </c:pt>
                <c:pt idx="12">
                  <c:v>6.414980172607051e-05</c:v>
                </c:pt>
                <c:pt idx="13">
                  <c:v>6.414980172607051e-05</c:v>
                </c:pt>
                <c:pt idx="14">
                  <c:v>6.414980172607051e-05</c:v>
                </c:pt>
                <c:pt idx="15">
                  <c:v>6.414980172607051e-05</c:v>
                </c:pt>
                <c:pt idx="16">
                  <c:v>6.414980172607051e-05</c:v>
                </c:pt>
                <c:pt idx="17">
                  <c:v>6.414980172607051e-05</c:v>
                </c:pt>
                <c:pt idx="18">
                  <c:v>6.414980172607051e-05</c:v>
                </c:pt>
                <c:pt idx="19">
                  <c:v>6.414980172607051e-05</c:v>
                </c:pt>
                <c:pt idx="20">
                  <c:v>0.00023318222687962066</c:v>
                </c:pt>
                <c:pt idx="21">
                  <c:v>0.0001588149121471418</c:v>
                </c:pt>
                <c:pt idx="22">
                  <c:v>6.414980172607051e-05</c:v>
                </c:pt>
                <c:pt idx="23">
                  <c:v>6.414980172607051e-05</c:v>
                </c:pt>
                <c:pt idx="24">
                  <c:v>0.00020753415593133967</c:v>
                </c:pt>
                <c:pt idx="25">
                  <c:v>6.414980172607051e-05</c:v>
                </c:pt>
                <c:pt idx="26">
                  <c:v>0.00013914433799323036</c:v>
                </c:pt>
                <c:pt idx="27">
                  <c:v>0.00017384555832160583</c:v>
                </c:pt>
                <c:pt idx="28">
                  <c:v>0.00019461943782567902</c:v>
                </c:pt>
                <c:pt idx="29">
                  <c:v>6.414980172607051e-05</c:v>
                </c:pt>
                <c:pt idx="30">
                  <c:v>6.414980172607051e-05</c:v>
                </c:pt>
                <c:pt idx="31">
                  <c:v>0.00026934948308423846</c:v>
                </c:pt>
                <c:pt idx="32">
                  <c:v>0.00024182730441787447</c:v>
                </c:pt>
                <c:pt idx="33">
                  <c:v>0.00023266080174837983</c:v>
                </c:pt>
                <c:pt idx="34">
                  <c:v>6.414980172607051e-05</c:v>
                </c:pt>
                <c:pt idx="35">
                  <c:v>6.414980172607051e-05</c:v>
                </c:pt>
                <c:pt idx="36">
                  <c:v>0.00023995319669979146</c:v>
                </c:pt>
                <c:pt idx="37">
                  <c:v>6.414980172607051e-05</c:v>
                </c:pt>
                <c:pt idx="38">
                  <c:v>0.00016688566635243468</c:v>
                </c:pt>
                <c:pt idx="39">
                  <c:v>0.00014462308031423912</c:v>
                </c:pt>
                <c:pt idx="40">
                  <c:v>0.00016054543903198457</c:v>
                </c:pt>
                <c:pt idx="41">
                  <c:v>0.00023390768793178182</c:v>
                </c:pt>
                <c:pt idx="42">
                  <c:v>0.00014003101311633084</c:v>
                </c:pt>
                <c:pt idx="43">
                  <c:v>0.00012599535642280935</c:v>
                </c:pt>
                <c:pt idx="44">
                  <c:v>0.00013349934418110135</c:v>
                </c:pt>
                <c:pt idx="45">
                  <c:v>0.00017346771402360523</c:v>
                </c:pt>
                <c:pt idx="46">
                  <c:v>0.0001471168526810431</c:v>
                </c:pt>
                <c:pt idx="47">
                  <c:v>0.00016371933113518963</c:v>
                </c:pt>
                <c:pt idx="48">
                  <c:v>6.414980172607051e-05</c:v>
                </c:pt>
                <c:pt idx="49">
                  <c:v>0.0001527467327212521</c:v>
                </c:pt>
                <c:pt idx="50">
                  <c:v>9.817090231804488e-05</c:v>
                </c:pt>
                <c:pt idx="51">
                  <c:v>9.454359705723909e-05</c:v>
                </c:pt>
                <c:pt idx="52">
                  <c:v>0.00011737446091962757</c:v>
                </c:pt>
                <c:pt idx="53">
                  <c:v>6.414980172607051e-05</c:v>
                </c:pt>
                <c:pt idx="54">
                  <c:v>6.414980172607051e-05</c:v>
                </c:pt>
                <c:pt idx="55">
                  <c:v>6.414980172607051e-05</c:v>
                </c:pt>
                <c:pt idx="56">
                  <c:v>6.414980172607051e-05</c:v>
                </c:pt>
                <c:pt idx="57">
                  <c:v>0.000254689124321815</c:v>
                </c:pt>
                <c:pt idx="58">
                  <c:v>0.0002051764075118159</c:v>
                </c:pt>
                <c:pt idx="59">
                  <c:v>0.00024282481336459607</c:v>
                </c:pt>
                <c:pt idx="60">
                  <c:v>6.414980172607051e-05</c:v>
                </c:pt>
                <c:pt idx="61">
                  <c:v>6.414980172607051e-05</c:v>
                </c:pt>
                <c:pt idx="62">
                  <c:v>6.414980172607051e-05</c:v>
                </c:pt>
                <c:pt idx="63">
                  <c:v>6.414980172607051e-05</c:v>
                </c:pt>
                <c:pt idx="64">
                  <c:v>6.414980172607051e-05</c:v>
                </c:pt>
                <c:pt idx="65">
                  <c:v>6.414980172607051e-05</c:v>
                </c:pt>
                <c:pt idx="66">
                  <c:v>6.414980172607051e-05</c:v>
                </c:pt>
                <c:pt idx="67">
                  <c:v>0.00013374872141778174</c:v>
                </c:pt>
                <c:pt idx="68">
                  <c:v>0.00027622624930784945</c:v>
                </c:pt>
                <c:pt idx="69">
                  <c:v>0.00036122485978701784</c:v>
                </c:pt>
                <c:pt idx="70">
                  <c:v>0.0010522048548973822</c:v>
                </c:pt>
                <c:pt idx="71">
                  <c:v>5.200202119591434e-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844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51265049729541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0.46986670169756395</c:v>
                </c:pt>
                <c:pt idx="1">
                  <c:v>0.8456557571056225</c:v>
                </c:pt>
                <c:pt idx="2">
                  <c:v>0.8434192016784259</c:v>
                </c:pt>
                <c:pt idx="3">
                  <c:v>1.029242064837516</c:v>
                </c:pt>
                <c:pt idx="4">
                  <c:v>0.7767166364340684</c:v>
                </c:pt>
                <c:pt idx="5">
                  <c:v>0.5704607359509433</c:v>
                </c:pt>
                <c:pt idx="6">
                  <c:v>0.7421860188370424</c:v>
                </c:pt>
                <c:pt idx="7">
                  <c:v>0.4487810233348259</c:v>
                </c:pt>
                <c:pt idx="8">
                  <c:v>0.6577977173747477</c:v>
                </c:pt>
                <c:pt idx="9">
                  <c:v>0.5986489279053443</c:v>
                </c:pt>
                <c:pt idx="10">
                  <c:v>0.8242506554890144</c:v>
                </c:pt>
                <c:pt idx="11">
                  <c:v>0.5413057853317608</c:v>
                </c:pt>
                <c:pt idx="12">
                  <c:v>0.7225648906671989</c:v>
                </c:pt>
                <c:pt idx="13">
                  <c:v>0.6405276165698273</c:v>
                </c:pt>
                <c:pt idx="14">
                  <c:v>0.7460539359201651</c:v>
                </c:pt>
                <c:pt idx="15">
                  <c:v>0.4575921266258803</c:v>
                </c:pt>
                <c:pt idx="16">
                  <c:v>0.26191321664114453</c:v>
                </c:pt>
                <c:pt idx="17">
                  <c:v>0.5386117398427457</c:v>
                </c:pt>
                <c:pt idx="18">
                  <c:v>0.45343587550820963</c:v>
                </c:pt>
                <c:pt idx="19">
                  <c:v>0.46449887906106085</c:v>
                </c:pt>
                <c:pt idx="20">
                  <c:v>0.37113219247035917</c:v>
                </c:pt>
                <c:pt idx="21">
                  <c:v>0.46637640930699814</c:v>
                </c:pt>
                <c:pt idx="22">
                  <c:v>0.7319258090718416</c:v>
                </c:pt>
                <c:pt idx="23">
                  <c:v>0.5462897661497331</c:v>
                </c:pt>
                <c:pt idx="24">
                  <c:v>0.4240529850278733</c:v>
                </c:pt>
                <c:pt idx="25">
                  <c:v>0.7312263388225221</c:v>
                </c:pt>
                <c:pt idx="26">
                  <c:v>0.8484322712533541</c:v>
                </c:pt>
                <c:pt idx="27">
                  <c:v>0.35781094140854386</c:v>
                </c:pt>
                <c:pt idx="28">
                  <c:v>0.7468503716185259</c:v>
                </c:pt>
                <c:pt idx="29">
                  <c:v>0.4073048121361302</c:v>
                </c:pt>
                <c:pt idx="30">
                  <c:v>0.5311175988155871</c:v>
                </c:pt>
                <c:pt idx="31">
                  <c:v>0.6060086932792376</c:v>
                </c:pt>
                <c:pt idx="32">
                  <c:v>0.3594295152178968</c:v>
                </c:pt>
                <c:pt idx="33">
                  <c:v>0.3840352764636632</c:v>
                </c:pt>
                <c:pt idx="34">
                  <c:v>0.40982015032607494</c:v>
                </c:pt>
                <c:pt idx="35">
                  <c:v>0.71742663944658</c:v>
                </c:pt>
                <c:pt idx="36">
                  <c:v>0.4914503063273306</c:v>
                </c:pt>
                <c:pt idx="37">
                  <c:v>0.8234469020956127</c:v>
                </c:pt>
                <c:pt idx="38">
                  <c:v>0.5886506329276492</c:v>
                </c:pt>
                <c:pt idx="39">
                  <c:v>0.6274683302495967</c:v>
                </c:pt>
                <c:pt idx="40">
                  <c:v>0.5634890306988272</c:v>
                </c:pt>
                <c:pt idx="41">
                  <c:v>1.1677149170529149</c:v>
                </c:pt>
                <c:pt idx="42">
                  <c:v>0.6072972108188346</c:v>
                </c:pt>
                <c:pt idx="43">
                  <c:v>0.4600007197392099</c:v>
                </c:pt>
                <c:pt idx="44">
                  <c:v>0.5286971037049251</c:v>
                </c:pt>
                <c:pt idx="45">
                  <c:v>0.5010618470796675</c:v>
                </c:pt>
                <c:pt idx="46">
                  <c:v>0.43981298627146925</c:v>
                </c:pt>
                <c:pt idx="47">
                  <c:v>0.5585404552098999</c:v>
                </c:pt>
                <c:pt idx="48">
                  <c:v>0.4358125990265077</c:v>
                </c:pt>
                <c:pt idx="49">
                  <c:v>0.44393367543633505</c:v>
                </c:pt>
                <c:pt idx="50">
                  <c:v>0.4987046184475551</c:v>
                </c:pt>
                <c:pt idx="51">
                  <c:v>0.5137960216194684</c:v>
                </c:pt>
                <c:pt idx="52">
                  <c:v>0.41203731145180555</c:v>
                </c:pt>
                <c:pt idx="53">
                  <c:v>0.39596033253543306</c:v>
                </c:pt>
                <c:pt idx="54">
                  <c:v>0.4592197227046769</c:v>
                </c:pt>
                <c:pt idx="55">
                  <c:v>1.6609307087831147</c:v>
                </c:pt>
                <c:pt idx="56">
                  <c:v>0.7023683271144624</c:v>
                </c:pt>
                <c:pt idx="57">
                  <c:v>1.2387649896030621</c:v>
                </c:pt>
                <c:pt idx="58">
                  <c:v>0.5854804359905429</c:v>
                </c:pt>
                <c:pt idx="59">
                  <c:v>0.49848943825939235</c:v>
                </c:pt>
                <c:pt idx="60">
                  <c:v>0.48974059827124516</c:v>
                </c:pt>
                <c:pt idx="61">
                  <c:v>0.46518107277032655</c:v>
                </c:pt>
                <c:pt idx="62">
                  <c:v>0.43483727754516327</c:v>
                </c:pt>
                <c:pt idx="63">
                  <c:v>0.35521013343468666</c:v>
                </c:pt>
                <c:pt idx="64">
                  <c:v>0.3725539540768662</c:v>
                </c:pt>
                <c:pt idx="65">
                  <c:v>0.7609234993099532</c:v>
                </c:pt>
                <c:pt idx="66">
                  <c:v>1.125335945141791</c:v>
                </c:pt>
                <c:pt idx="67">
                  <c:v>0.5834975290933925</c:v>
                </c:pt>
                <c:pt idx="68">
                  <c:v>1.8919409400641374</c:v>
                </c:pt>
                <c:pt idx="69">
                  <c:v>0.5877718605948661</c:v>
                </c:pt>
                <c:pt idx="70">
                  <c:v>0.5798966649846735</c:v>
                </c:pt>
                <c:pt idx="71">
                  <c:v>0.5948582484897185</c:v>
                </c:pt>
                <c:pt idx="72">
                  <c:v>0.5926562754385989</c:v>
                </c:pt>
                <c:pt idx="73">
                  <c:v>0.5781898511301924</c:v>
                </c:pt>
                <c:pt idx="74">
                  <c:v>0.5520844781495844</c:v>
                </c:pt>
                <c:pt idx="75">
                  <c:v>0.7807019306026097</c:v>
                </c:pt>
                <c:pt idx="76">
                  <c:v>0.8001644227186443</c:v>
                </c:pt>
                <c:pt idx="77">
                  <c:v>0.41216833123514074</c:v>
                </c:pt>
                <c:pt idx="78">
                  <c:v>2.0711204190045978</c:v>
                </c:pt>
                <c:pt idx="79">
                  <c:v>1.6900927782704878</c:v>
                </c:pt>
                <c:pt idx="80">
                  <c:v>1.6554379563519863</c:v>
                </c:pt>
                <c:pt idx="81">
                  <c:v>1.2669968888413132</c:v>
                </c:pt>
                <c:pt idx="82">
                  <c:v>1.6391651433585475</c:v>
                </c:pt>
                <c:pt idx="83">
                  <c:v>2.085530451300654</c:v>
                </c:pt>
                <c:pt idx="84">
                  <c:v>0.6790901512701348</c:v>
                </c:pt>
                <c:pt idx="85">
                  <c:v>1.2151920333560007</c:v>
                </c:pt>
                <c:pt idx="86">
                  <c:v>0.6053813845267491</c:v>
                </c:pt>
                <c:pt idx="87">
                  <c:v>1.082238564004926</c:v>
                </c:pt>
              </c:numCache>
            </c:numRef>
          </c:xVal>
          <c:yVal>
            <c:numRef>
              <c:f>Sheet1!$B$2:$B$89</c:f>
              <c:numCache>
                <c:formatCode>General</c:formatCode>
                <c:ptCount val="88"/>
                <c:pt idx="0">
                  <c:v>0.0013899920571882446</c:v>
                </c:pt>
                <c:pt idx="1">
                  <c:v>0.0003280481137233461</c:v>
                </c:pt>
                <c:pt idx="2">
                  <c:v>0.0003180324393088095</c:v>
                </c:pt>
                <c:pt idx="3">
                  <c:v>0.00021666125013541327</c:v>
                </c:pt>
                <c:pt idx="4">
                  <c:v>0.000253324889170361</c:v>
                </c:pt>
                <c:pt idx="5">
                  <c:v>0.0006664001066240171</c:v>
                </c:pt>
                <c:pt idx="6">
                  <c:v>0.0007710100231303007</c:v>
                </c:pt>
                <c:pt idx="7">
                  <c:v>0.0009916418756197763</c:v>
                </c:pt>
                <c:pt idx="8">
                  <c:v>0.0005517241379310345</c:v>
                </c:pt>
                <c:pt idx="9">
                  <c:v>0.0007114062129475931</c:v>
                </c:pt>
                <c:pt idx="10">
                  <c:v>0.0003320420586607637</c:v>
                </c:pt>
                <c:pt idx="11">
                  <c:v>0.0007222451506397028</c:v>
                </c:pt>
                <c:pt idx="12">
                  <c:v>0.0005499541704857929</c:v>
                </c:pt>
                <c:pt idx="13">
                  <c:v>0.000625130235465722</c:v>
                </c:pt>
                <c:pt idx="14">
                  <c:v>0.000224290680722216</c:v>
                </c:pt>
                <c:pt idx="15">
                  <c:v>0.0006429214350006429</c:v>
                </c:pt>
                <c:pt idx="16">
                  <c:v>0.0005787874403125452</c:v>
                </c:pt>
                <c:pt idx="17">
                  <c:v>0.0004809233728759218</c:v>
                </c:pt>
                <c:pt idx="18">
                  <c:v>0.0006128702757916241</c:v>
                </c:pt>
                <c:pt idx="19">
                  <c:v>0.000672834314550042</c:v>
                </c:pt>
                <c:pt idx="20">
                  <c:v>0.0003861749372465727</c:v>
                </c:pt>
                <c:pt idx="21">
                  <c:v>0.0010588733587462938</c:v>
                </c:pt>
                <c:pt idx="22">
                  <c:v>0.0006499133448873484</c:v>
                </c:pt>
                <c:pt idx="23">
                  <c:v>0.0010187449062754685</c:v>
                </c:pt>
                <c:pt idx="24">
                  <c:v>0.0015992689056431345</c:v>
                </c:pt>
                <c:pt idx="25">
                  <c:v>0.0009389671361502347</c:v>
                </c:pt>
                <c:pt idx="26">
                  <c:v>0.0003829216925138809</c:v>
                </c:pt>
                <c:pt idx="27">
                  <c:v>0.0009613535858488752</c:v>
                </c:pt>
                <c:pt idx="28">
                  <c:v>0.0006884681583476765</c:v>
                </c:pt>
                <c:pt idx="29">
                  <c:v>0.0008615119534783546</c:v>
                </c:pt>
                <c:pt idx="30">
                  <c:v>0.0008605851979345956</c:v>
                </c:pt>
                <c:pt idx="31">
                  <c:v>0.0006612298875909191</c:v>
                </c:pt>
                <c:pt idx="32">
                  <c:v>0.0019029495718363464</c:v>
                </c:pt>
                <c:pt idx="33">
                  <c:v>0.0020938754144128424</c:v>
                </c:pt>
                <c:pt idx="34">
                  <c:v>0.0019305019305019305</c:v>
                </c:pt>
                <c:pt idx="35">
                  <c:v>0.0006308153288124901</c:v>
                </c:pt>
                <c:pt idx="36">
                  <c:v>0.0007662835249042146</c:v>
                </c:pt>
                <c:pt idx="37">
                  <c:v>0.0003685277317118113</c:v>
                </c:pt>
                <c:pt idx="38">
                  <c:v>0.0008151620134501732</c:v>
                </c:pt>
                <c:pt idx="39">
                  <c:v>0.0005020920502092051</c:v>
                </c:pt>
                <c:pt idx="40">
                  <c:v>0.00055452865064695</c:v>
                </c:pt>
                <c:pt idx="41">
                  <c:v>0.00015669069257286117</c:v>
                </c:pt>
                <c:pt idx="42">
                  <c:v>0.0005485463521667581</c:v>
                </c:pt>
                <c:pt idx="43">
                  <c:v>0.0007422330611812109</c:v>
                </c:pt>
                <c:pt idx="44">
                  <c:v>0.0004979087831109341</c:v>
                </c:pt>
                <c:pt idx="45">
                  <c:v>0.0010732754415064885</c:v>
                </c:pt>
                <c:pt idx="46">
                  <c:v>0.0013006503251625813</c:v>
                </c:pt>
                <c:pt idx="47">
                  <c:v>0.0007183908045977011</c:v>
                </c:pt>
                <c:pt idx="48">
                  <c:v>0.0008392575039494471</c:v>
                </c:pt>
                <c:pt idx="49">
                  <c:v>0.0009613843935266784</c:v>
                </c:pt>
                <c:pt idx="50">
                  <c:v>0.0008946144211844695</c:v>
                </c:pt>
                <c:pt idx="51">
                  <c:v>0.0003058103975535168</c:v>
                </c:pt>
                <c:pt idx="52">
                  <c:v>0.0005198585984612185</c:v>
                </c:pt>
                <c:pt idx="53">
                  <c:v>0.001129305477131564</c:v>
                </c:pt>
                <c:pt idx="54">
                  <c:v>0.0005919962112242482</c:v>
                </c:pt>
                <c:pt idx="55">
                  <c:v>0.00011396011396011396</c:v>
                </c:pt>
                <c:pt idx="56">
                  <c:v>0.0002042692268409764</c:v>
                </c:pt>
                <c:pt idx="57">
                  <c:v>9.304922303898763e-05</c:v>
                </c:pt>
                <c:pt idx="58">
                  <c:v>0.00024464831804281347</c:v>
                </c:pt>
                <c:pt idx="59">
                  <c:v>0.00025375880225845333</c:v>
                </c:pt>
                <c:pt idx="60">
                  <c:v>0.00042369290738073043</c:v>
                </c:pt>
                <c:pt idx="61">
                  <c:v>0.0003549560741858195</c:v>
                </c:pt>
                <c:pt idx="62">
                  <c:v>0.00045558086560364467</c:v>
                </c:pt>
                <c:pt idx="63">
                  <c:v>0.0006550218340611354</c:v>
                </c:pt>
                <c:pt idx="64">
                  <c:v>0.00039856516540454366</c:v>
                </c:pt>
                <c:pt idx="65">
                  <c:v>8.676036786395974e-05</c:v>
                </c:pt>
                <c:pt idx="66">
                  <c:v>8.946144211844694e-05</c:v>
                </c:pt>
                <c:pt idx="67">
                  <c:v>0.0002586987453110852</c:v>
                </c:pt>
                <c:pt idx="68">
                  <c:v>0.0001255020080321285</c:v>
                </c:pt>
                <c:pt idx="69">
                  <c:v>0.0006367804381049414</c:v>
                </c:pt>
                <c:pt idx="70">
                  <c:v>0.0009066183136899365</c:v>
                </c:pt>
                <c:pt idx="71">
                  <c:v>0.0007687576875768758</c:v>
                </c:pt>
                <c:pt idx="72">
                  <c:v>0.00079923273657289</c:v>
                </c:pt>
                <c:pt idx="73">
                  <c:v>0.0008008970046452026</c:v>
                </c:pt>
                <c:pt idx="74">
                  <c:v>0.0012612612612612612</c:v>
                </c:pt>
                <c:pt idx="75">
                  <c:v>0.0009174311926605505</c:v>
                </c:pt>
                <c:pt idx="76">
                  <c:v>0.0007276696379843551</c:v>
                </c:pt>
                <c:pt idx="77">
                  <c:v>0.0016183610416360158</c:v>
                </c:pt>
                <c:pt idx="78">
                  <c:v>0.0001850481125092524</c:v>
                </c:pt>
                <c:pt idx="79">
                  <c:v>0.0002289901534234028</c:v>
                </c:pt>
                <c:pt idx="80">
                  <c:v>0.0002296211251435132</c:v>
                </c:pt>
                <c:pt idx="81">
                  <c:v>8.244702778464837e-05</c:v>
                </c:pt>
                <c:pt idx="82">
                  <c:v>6.564264145989234e-05</c:v>
                </c:pt>
                <c:pt idx="83">
                  <c:v>4.390586582367404e-05</c:v>
                </c:pt>
                <c:pt idx="84">
                  <c:v>0.00014455044810638914</c:v>
                </c:pt>
                <c:pt idx="85">
                  <c:v>7.172572084349448e-05</c:v>
                </c:pt>
                <c:pt idx="86">
                  <c:v>0.00023084025854108956</c:v>
                </c:pt>
                <c:pt idx="87">
                  <c:v>8.382932349735938e-05</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254849766017755</c:v>
                </c:pt>
                <c:pt idx="21">
                  <c:v>0.708042747265546</c:v>
                </c:pt>
                <c:pt idx="22">
                  <c:v>0.0</c:v>
                </c:pt>
                <c:pt idx="23">
                  <c:v>0.0</c:v>
                </c:pt>
                <c:pt idx="24">
                  <c:v>0.948986480038594</c:v>
                </c:pt>
                <c:pt idx="25">
                  <c:v>0.0</c:v>
                </c:pt>
                <c:pt idx="26">
                  <c:v>0.503623327264141</c:v>
                </c:pt>
                <c:pt idx="27">
                  <c:v>0.7545877960717436</c:v>
                </c:pt>
                <c:pt idx="28">
                  <c:v>0.9318521340811783</c:v>
                </c:pt>
                <c:pt idx="29">
                  <c:v>0.0</c:v>
                </c:pt>
                <c:pt idx="30">
                  <c:v>0.0</c:v>
                </c:pt>
                <c:pt idx="31">
                  <c:v>1.41724856113832</c:v>
                </c:pt>
                <c:pt idx="32">
                  <c:v>1.1946633263245945</c:v>
                </c:pt>
                <c:pt idx="33">
                  <c:v>1.1510847844896108</c:v>
                </c:pt>
                <c:pt idx="34">
                  <c:v>0.0</c:v>
                </c:pt>
                <c:pt idx="35">
                  <c:v>0.0</c:v>
                </c:pt>
                <c:pt idx="36">
                  <c:v>1.1685669123151974</c:v>
                </c:pt>
                <c:pt idx="37">
                  <c:v>0.0</c:v>
                </c:pt>
                <c:pt idx="38">
                  <c:v>0.6506296017507455</c:v>
                </c:pt>
                <c:pt idx="39">
                  <c:v>0.5499538088378533</c:v>
                </c:pt>
                <c:pt idx="40">
                  <c:v>0.6258608100670133</c:v>
                </c:pt>
                <c:pt idx="41">
                  <c:v>1.0632900492617963</c:v>
                </c:pt>
                <c:pt idx="42">
                  <c:v>0.4937515580120181</c:v>
                </c:pt>
                <c:pt idx="43">
                  <c:v>0.38551182861365074</c:v>
                </c:pt>
                <c:pt idx="44">
                  <c:v>0.45820318206007665</c:v>
                </c:pt>
                <c:pt idx="45">
                  <c:v>0.7162057670159766</c:v>
                </c:pt>
                <c:pt idx="46">
                  <c:v>0.5407706812154125</c:v>
                </c:pt>
                <c:pt idx="47">
                  <c:v>0.635983954785132</c:v>
                </c:pt>
                <c:pt idx="48">
                  <c:v>0.0</c:v>
                </c:pt>
                <c:pt idx="49">
                  <c:v>0.5363450832920491</c:v>
                </c:pt>
                <c:pt idx="50">
                  <c:v>0.21711590142586987</c:v>
                </c:pt>
                <c:pt idx="51">
                  <c:v>0.20078049197969794</c:v>
                </c:pt>
                <c:pt idx="52">
                  <c:v>0.34295200279791804</c:v>
                </c:pt>
                <c:pt idx="53">
                  <c:v>0.0</c:v>
                </c:pt>
                <c:pt idx="54">
                  <c:v>0.0</c:v>
                </c:pt>
                <c:pt idx="55">
                  <c:v>0.0</c:v>
                </c:pt>
                <c:pt idx="56">
                  <c:v>0.0</c:v>
                </c:pt>
                <c:pt idx="57">
                  <c:v>1.2405564155797668</c:v>
                </c:pt>
                <c:pt idx="58">
                  <c:v>0.9131831915064549</c:v>
                </c:pt>
                <c:pt idx="59">
                  <c:v>1.1472393158971785</c:v>
                </c:pt>
                <c:pt idx="60">
                  <c:v>0.0</c:v>
                </c:pt>
                <c:pt idx="61">
                  <c:v>0.0</c:v>
                </c:pt>
                <c:pt idx="62">
                  <c:v>0.0</c:v>
                </c:pt>
                <c:pt idx="63">
                  <c:v>0.0</c:v>
                </c:pt>
                <c:pt idx="64">
                  <c:v>0.0</c:v>
                </c:pt>
                <c:pt idx="65">
                  <c:v>0.0</c:v>
                </c:pt>
                <c:pt idx="66">
                  <c:v>0.0</c:v>
                </c:pt>
                <c:pt idx="67">
                  <c:v>0.566299930176018</c:v>
                </c:pt>
                <c:pt idx="68">
                  <c:v>1.5371977760937352</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7.617306520414382e-05</c:v>
                </c:pt>
                <c:pt idx="21">
                  <c:v>0.00016248273620927777</c:v>
                </c:pt>
                <c:pt idx="22">
                  <c:v>0.0</c:v>
                </c:pt>
                <c:pt idx="23">
                  <c:v>0.0</c:v>
                </c:pt>
                <c:pt idx="24">
                  <c:v>0.00011976047904191617</c:v>
                </c:pt>
                <c:pt idx="25">
                  <c:v>0.0</c:v>
                </c:pt>
                <c:pt idx="26">
                  <c:v>0.00022150847269908073</c:v>
                </c:pt>
                <c:pt idx="27">
                  <c:v>0.00010263779123473263</c:v>
                </c:pt>
                <c:pt idx="28">
                  <c:v>0.0001756388864494599</c:v>
                </c:pt>
                <c:pt idx="29">
                  <c:v>0.0</c:v>
                </c:pt>
                <c:pt idx="30">
                  <c:v>0.0</c:v>
                </c:pt>
                <c:pt idx="31">
                  <c:v>9.857072449482504e-05</c:v>
                </c:pt>
                <c:pt idx="32">
                  <c:v>0.00010185373803218578</c:v>
                </c:pt>
                <c:pt idx="33">
                  <c:v>0.00022596316800361542</c:v>
                </c:pt>
                <c:pt idx="34">
                  <c:v>0.0</c:v>
                </c:pt>
                <c:pt idx="35">
                  <c:v>0.0</c:v>
                </c:pt>
                <c:pt idx="36">
                  <c:v>0.00012732365673542143</c:v>
                </c:pt>
                <c:pt idx="37">
                  <c:v>0.0</c:v>
                </c:pt>
                <c:pt idx="38">
                  <c:v>0.0003575259206292456</c:v>
                </c:pt>
                <c:pt idx="39">
                  <c:v>0.0003604253018561903</c:v>
                </c:pt>
                <c:pt idx="40">
                  <c:v>0.00017409470752089137</c:v>
                </c:pt>
                <c:pt idx="41">
                  <c:v>0.00016302575806977502</c:v>
                </c:pt>
                <c:pt idx="42">
                  <c:v>0.0005128205128205128</c:v>
                </c:pt>
                <c:pt idx="43">
                  <c:v>0.0008548469823901521</c:v>
                </c:pt>
                <c:pt idx="44">
                  <c:v>0.00031377470975839345</c:v>
                </c:pt>
                <c:pt idx="45">
                  <c:v>0.0002828854314002829</c:v>
                </c:pt>
                <c:pt idx="46">
                  <c:v>0.0003399048266485384</c:v>
                </c:pt>
                <c:pt idx="47">
                  <c:v>0.00017793594306049823</c:v>
                </c:pt>
                <c:pt idx="48">
                  <c:v>0.0</c:v>
                </c:pt>
                <c:pt idx="49">
                  <c:v>0.00017962996227770793</c:v>
                </c:pt>
                <c:pt idx="50">
                  <c:v>0.0007192950908110052</c:v>
                </c:pt>
                <c:pt idx="51">
                  <c:v>0.0006172839506172839</c:v>
                </c:pt>
                <c:pt idx="52">
                  <c:v>0.0006808278867102397</c:v>
                </c:pt>
                <c:pt idx="53">
                  <c:v>0.0</c:v>
                </c:pt>
                <c:pt idx="54">
                  <c:v>0.0</c:v>
                </c:pt>
                <c:pt idx="55">
                  <c:v>0.0</c:v>
                </c:pt>
                <c:pt idx="56">
                  <c:v>0.0</c:v>
                </c:pt>
                <c:pt idx="57">
                  <c:v>0.00014954389113204725</c:v>
                </c:pt>
                <c:pt idx="58">
                  <c:v>0.00014112334180073385</c:v>
                </c:pt>
                <c:pt idx="59">
                  <c:v>0.00015463120457708364</c:v>
                </c:pt>
                <c:pt idx="60">
                  <c:v>0.0</c:v>
                </c:pt>
                <c:pt idx="61">
                  <c:v>0.0</c:v>
                </c:pt>
                <c:pt idx="62">
                  <c:v>0.0</c:v>
                </c:pt>
                <c:pt idx="63">
                  <c:v>0.0</c:v>
                </c:pt>
                <c:pt idx="64">
                  <c:v>0.0</c:v>
                </c:pt>
                <c:pt idx="65">
                  <c:v>0.0</c:v>
                </c:pt>
                <c:pt idx="66">
                  <c:v>0.0</c:v>
                </c:pt>
                <c:pt idx="67">
                  <c:v>0.00016380687169826775</c:v>
                </c:pt>
                <c:pt idx="68">
                  <c:v>6.692096633875393e-0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6.997165250657415</c:v>
                </c:pt>
              </c:numCache>
            </c:numRef>
          </c:xVal>
          <c:yVal>
            <c:numRef>
              <c:f>Sheet1!$B$163:$B$164</c:f>
              <c:numCache>
                <c:formatCode>General</c:formatCode>
                <c:ptCount val="2"/>
                <c:pt idx="0">
                  <c:v>0.0010522048548973822</c:v>
                </c:pt>
                <c:pt idx="1">
                  <c:v>0.00105220485489738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6.997165250657415</c:v>
                </c:pt>
                <c:pt idx="1">
                  <c:v>6.997165250657415</c:v>
                </c:pt>
              </c:numCache>
            </c:numRef>
          </c:xVal>
          <c:yVal>
            <c:numRef>
              <c:f>Sheet1!$B$167:$B$168</c:f>
              <c:numCache>
                <c:formatCode>General</c:formatCode>
                <c:ptCount val="2"/>
                <c:pt idx="0">
                  <c:v>0.00105220485489738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091083124911929</c:v>
                </c:pt>
              </c:numCache>
            </c:numRef>
          </c:xVal>
          <c:yVal>
            <c:numRef>
              <c:f>Sheet1!$B$171:$B$172</c:f>
              <c:numCache>
                <c:formatCode>General</c:formatCode>
                <c:ptCount val="2"/>
                <c:pt idx="0">
                  <c:v>0.00036122485978701784</c:v>
                </c:pt>
                <c:pt idx="1">
                  <c:v>0.000361224859787017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091083124911929</c:v>
                </c:pt>
                <c:pt idx="1">
                  <c:v>2.091083124911929</c:v>
                </c:pt>
              </c:numCache>
            </c:numRef>
          </c:xVal>
          <c:yVal>
            <c:numRef>
              <c:f>Sheet1!$B$175:$B$176</c:f>
              <c:numCache>
                <c:formatCode>General</c:formatCode>
                <c:ptCount val="2"/>
                <c:pt idx="0">
                  <c:v>0.000361224859787017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0445459256104178</c:v>
                </c:pt>
              </c:numCache>
            </c:numRef>
          </c:xVal>
          <c:yVal>
            <c:numRef>
              <c:f>Sheet1!$B$179:$B$180</c:f>
              <c:numCache>
                <c:formatCode>General</c:formatCode>
                <c:ptCount val="2"/>
                <c:pt idx="0">
                  <c:v>5.200202119591434e-05</c:v>
                </c:pt>
                <c:pt idx="1">
                  <c:v>5.200202119591434e-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0445459256104178</c:v>
                </c:pt>
                <c:pt idx="1">
                  <c:v>-0.10445459256104178</c:v>
                </c:pt>
              </c:numCache>
            </c:numRef>
          </c:xVal>
          <c:yVal>
            <c:numRef>
              <c:f>Sheet1!$B$183:$B$184</c:f>
              <c:numCache>
                <c:formatCode>General</c:formatCode>
                <c:ptCount val="2"/>
                <c:pt idx="0">
                  <c:v>5.200202119591434e-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254849766017755</c:v>
                </c:pt>
                <c:pt idx="21">
                  <c:v>0.708042747265546</c:v>
                </c:pt>
                <c:pt idx="22">
                  <c:v>0.0</c:v>
                </c:pt>
                <c:pt idx="23">
                  <c:v>0.0</c:v>
                </c:pt>
                <c:pt idx="24">
                  <c:v>0.948986480038594</c:v>
                </c:pt>
                <c:pt idx="25">
                  <c:v>0.0</c:v>
                </c:pt>
                <c:pt idx="26">
                  <c:v>0.503623327264141</c:v>
                </c:pt>
                <c:pt idx="27">
                  <c:v>0.7545877960717436</c:v>
                </c:pt>
                <c:pt idx="28">
                  <c:v>0.9318521340811783</c:v>
                </c:pt>
                <c:pt idx="29">
                  <c:v>0.0</c:v>
                </c:pt>
                <c:pt idx="30">
                  <c:v>0.0</c:v>
                </c:pt>
                <c:pt idx="31">
                  <c:v>1.41724856113832</c:v>
                </c:pt>
                <c:pt idx="32">
                  <c:v>1.1946633263245945</c:v>
                </c:pt>
                <c:pt idx="33">
                  <c:v>1.1510847844896108</c:v>
                </c:pt>
                <c:pt idx="34">
                  <c:v>0.0</c:v>
                </c:pt>
                <c:pt idx="35">
                  <c:v>0.0</c:v>
                </c:pt>
                <c:pt idx="36">
                  <c:v>1.1685669123151974</c:v>
                </c:pt>
                <c:pt idx="37">
                  <c:v>0.0</c:v>
                </c:pt>
                <c:pt idx="38">
                  <c:v>0.6506296017507455</c:v>
                </c:pt>
                <c:pt idx="39">
                  <c:v>0.5499538088378533</c:v>
                </c:pt>
                <c:pt idx="40">
                  <c:v>0.6258608100670133</c:v>
                </c:pt>
                <c:pt idx="41">
                  <c:v>1.0632900492617963</c:v>
                </c:pt>
                <c:pt idx="42">
                  <c:v>0.4937515580120181</c:v>
                </c:pt>
                <c:pt idx="43">
                  <c:v>0.38551182861365074</c:v>
                </c:pt>
                <c:pt idx="44">
                  <c:v>0.45820318206007665</c:v>
                </c:pt>
                <c:pt idx="45">
                  <c:v>0.7162057670159766</c:v>
                </c:pt>
                <c:pt idx="46">
                  <c:v>0.5407706812154125</c:v>
                </c:pt>
                <c:pt idx="47">
                  <c:v>0.635983954785132</c:v>
                </c:pt>
                <c:pt idx="48">
                  <c:v>0.0</c:v>
                </c:pt>
                <c:pt idx="49">
                  <c:v>0.5363450832920491</c:v>
                </c:pt>
                <c:pt idx="50">
                  <c:v>0.21711590142586987</c:v>
                </c:pt>
                <c:pt idx="51">
                  <c:v>0.20078049197969794</c:v>
                </c:pt>
                <c:pt idx="52">
                  <c:v>0.34295200279791804</c:v>
                </c:pt>
                <c:pt idx="53">
                  <c:v>0.0</c:v>
                </c:pt>
                <c:pt idx="54">
                  <c:v>0.0</c:v>
                </c:pt>
                <c:pt idx="55">
                  <c:v>0.0</c:v>
                </c:pt>
                <c:pt idx="56">
                  <c:v>0.0</c:v>
                </c:pt>
                <c:pt idx="57">
                  <c:v>1.2405564155797668</c:v>
                </c:pt>
                <c:pt idx="58">
                  <c:v>0.9131831915064549</c:v>
                </c:pt>
                <c:pt idx="59">
                  <c:v>1.1472393158971785</c:v>
                </c:pt>
                <c:pt idx="60">
                  <c:v>0.0</c:v>
                </c:pt>
                <c:pt idx="61">
                  <c:v>0.0</c:v>
                </c:pt>
                <c:pt idx="62">
                  <c:v>0.0</c:v>
                </c:pt>
                <c:pt idx="63">
                  <c:v>0.0</c:v>
                </c:pt>
                <c:pt idx="64">
                  <c:v>0.0</c:v>
                </c:pt>
                <c:pt idx="65">
                  <c:v>0.0</c:v>
                </c:pt>
                <c:pt idx="66">
                  <c:v>0.0</c:v>
                </c:pt>
                <c:pt idx="67">
                  <c:v>0.566299930176018</c:v>
                </c:pt>
                <c:pt idx="68">
                  <c:v>1.5371977760937352</c:v>
                </c:pt>
                <c:pt idx="69">
                  <c:v>2.091083124911929</c:v>
                </c:pt>
                <c:pt idx="70">
                  <c:v>6.997165250657415</c:v>
                </c:pt>
                <c:pt idx="71">
                  <c:v>-0.10445459256104178</c:v>
                </c:pt>
              </c:numCache>
            </c:numRef>
          </c:xVal>
          <c:yVal>
            <c:numRef>
              <c:f>Sheet1!$B$187:$B$258</c:f>
              <c:numCache>
                <c:formatCode>General</c:formatCode>
                <c:ptCount val="72"/>
                <c:pt idx="0">
                  <c:v>6.67135633199909e-05</c:v>
                </c:pt>
                <c:pt idx="1">
                  <c:v>6.67135633199909e-05</c:v>
                </c:pt>
                <c:pt idx="2">
                  <c:v>6.67135633199909e-05</c:v>
                </c:pt>
                <c:pt idx="3">
                  <c:v>6.67135633199909e-05</c:v>
                </c:pt>
                <c:pt idx="4">
                  <c:v>6.67135633199909e-05</c:v>
                </c:pt>
                <c:pt idx="5">
                  <c:v>6.67135633199909e-05</c:v>
                </c:pt>
                <c:pt idx="6">
                  <c:v>6.67135633199909e-05</c:v>
                </c:pt>
                <c:pt idx="7">
                  <c:v>6.67135633199909e-05</c:v>
                </c:pt>
                <c:pt idx="8">
                  <c:v>6.67135633199909e-05</c:v>
                </c:pt>
                <c:pt idx="9">
                  <c:v>6.67135633199909e-05</c:v>
                </c:pt>
                <c:pt idx="10">
                  <c:v>6.67135633199909e-05</c:v>
                </c:pt>
                <c:pt idx="11">
                  <c:v>6.67135633199909e-05</c:v>
                </c:pt>
                <c:pt idx="12">
                  <c:v>6.67135633199909e-05</c:v>
                </c:pt>
                <c:pt idx="13">
                  <c:v>6.67135633199909e-05</c:v>
                </c:pt>
                <c:pt idx="14">
                  <c:v>6.67135633199909e-05</c:v>
                </c:pt>
                <c:pt idx="15">
                  <c:v>6.67135633199909e-05</c:v>
                </c:pt>
                <c:pt idx="16">
                  <c:v>6.67135633199909e-05</c:v>
                </c:pt>
                <c:pt idx="17">
                  <c:v>6.67135633199909e-05</c:v>
                </c:pt>
                <c:pt idx="18">
                  <c:v>6.67135633199909e-05</c:v>
                </c:pt>
                <c:pt idx="19">
                  <c:v>6.67135633199909e-05</c:v>
                </c:pt>
                <c:pt idx="20">
                  <c:v>0.00024344849415962438</c:v>
                </c:pt>
                <c:pt idx="21">
                  <c:v>0.00016643537015157442</c:v>
                </c:pt>
                <c:pt idx="22">
                  <c:v>6.67135633199909e-05</c:v>
                </c:pt>
                <c:pt idx="23">
                  <c:v>6.67135633199909e-05</c:v>
                </c:pt>
                <c:pt idx="24">
                  <c:v>0.00020037024833466144</c:v>
                </c:pt>
                <c:pt idx="25">
                  <c:v>6.67135633199909e-05</c:v>
                </c:pt>
                <c:pt idx="26">
                  <c:v>0.000137644631184568</c:v>
                </c:pt>
                <c:pt idx="27">
                  <c:v>0.00017299084492190984</c:v>
                </c:pt>
                <c:pt idx="28">
                  <c:v>0.00019795702124583128</c:v>
                </c:pt>
                <c:pt idx="29">
                  <c:v>6.67135633199909e-05</c:v>
                </c:pt>
                <c:pt idx="30">
                  <c:v>6.67135633199909e-05</c:v>
                </c:pt>
                <c:pt idx="31">
                  <c:v>0.00026632098503568893</c:v>
                </c:pt>
                <c:pt idx="32">
                  <c:v>0.00023497174535294372</c:v>
                </c:pt>
                <c:pt idx="33">
                  <c:v>0.0002288340778919698</c:v>
                </c:pt>
                <c:pt idx="34">
                  <c:v>6.67135633199909e-05</c:v>
                </c:pt>
                <c:pt idx="35">
                  <c:v>6.67135633199909e-05</c:v>
                </c:pt>
                <c:pt idx="36">
                  <c:v>0.00023129628710286983</c:v>
                </c:pt>
                <c:pt idx="37">
                  <c:v>6.67135633199909e-05</c:v>
                </c:pt>
                <c:pt idx="38">
                  <c:v>0.0001583492162735328</c:v>
                </c:pt>
                <c:pt idx="39">
                  <c:v>0.00014416988598274364</c:v>
                </c:pt>
                <c:pt idx="40">
                  <c:v>0.00015486074235119418</c:v>
                </c:pt>
                <c:pt idx="41">
                  <c:v>0.0002164689351643166</c:v>
                </c:pt>
                <c:pt idx="42">
                  <c:v>0.0001362542763362936</c:v>
                </c:pt>
                <c:pt idx="43">
                  <c:v>0.00012100962983966235</c:v>
                </c:pt>
                <c:pt idx="44">
                  <c:v>0.00013124758953165282</c:v>
                </c:pt>
                <c:pt idx="45">
                  <c:v>0.0001675850621466674</c:v>
                </c:pt>
                <c:pt idx="46">
                  <c:v>0.00014287652045868245</c:v>
                </c:pt>
                <c:pt idx="47">
                  <c:v>0.00015628650129866884</c:v>
                </c:pt>
                <c:pt idx="48">
                  <c:v>6.67135633199909e-05</c:v>
                </c:pt>
                <c:pt idx="49">
                  <c:v>0.00014225321258224094</c:v>
                </c:pt>
                <c:pt idx="50">
                  <c:v>9.729249385161827e-05</c:v>
                </c:pt>
                <c:pt idx="51">
                  <c:v>9.499179018422368e-05</c:v>
                </c:pt>
                <c:pt idx="52">
                  <c:v>0.0001150154398770179</c:v>
                </c:pt>
                <c:pt idx="53">
                  <c:v>6.67135633199909e-05</c:v>
                </c:pt>
                <c:pt idx="54">
                  <c:v>6.67135633199909e-05</c:v>
                </c:pt>
                <c:pt idx="55">
                  <c:v>6.67135633199909e-05</c:v>
                </c:pt>
                <c:pt idx="56">
                  <c:v>6.67135633199909e-05</c:v>
                </c:pt>
                <c:pt idx="57">
                  <c:v>0.00024143539715826688</c:v>
                </c:pt>
                <c:pt idx="58">
                  <c:v>0.00019532765925832932</c:v>
                </c:pt>
                <c:pt idx="59">
                  <c:v>0.00022829247630416674</c:v>
                </c:pt>
                <c:pt idx="60">
                  <c:v>6.67135633199909e-05</c:v>
                </c:pt>
                <c:pt idx="61">
                  <c:v>6.67135633199909e-05</c:v>
                </c:pt>
                <c:pt idx="62">
                  <c:v>6.67135633199909e-05</c:v>
                </c:pt>
                <c:pt idx="63">
                  <c:v>6.67135633199909e-05</c:v>
                </c:pt>
                <c:pt idx="64">
                  <c:v>6.67135633199909e-05</c:v>
                </c:pt>
                <c:pt idx="65">
                  <c:v>6.67135633199909e-05</c:v>
                </c:pt>
                <c:pt idx="66">
                  <c:v>6.67135633199909e-05</c:v>
                </c:pt>
                <c:pt idx="67">
                  <c:v>0.0001464720983291385</c:v>
                </c:pt>
                <c:pt idx="68">
                  <c:v>0.0002832148131125662</c:v>
                </c:pt>
                <c:pt idx="69">
                  <c:v>0.00036122485978701784</c:v>
                </c:pt>
                <c:pt idx="70">
                  <c:v>0.0010522048548973822</c:v>
                </c:pt>
                <c:pt idx="71">
                  <c:v>5.200202119591434e-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51265049729541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4387.0</c:v>
                </c:pt>
                <c:pt idx="18">
                  <c:v>3807.0</c:v>
                </c:pt>
                <c:pt idx="19">
                  <c:v>3804.25</c:v>
                </c:pt>
                <c:pt idx="20">
                  <c:v>3359.5</c:v>
                </c:pt>
                <c:pt idx="21">
                  <c:v>4369.8</c:v>
                </c:pt>
                <c:pt idx="22">
                  <c:v>6539.0</c:v>
                </c:pt>
                <c:pt idx="23">
                  <c:v>5053.4</c:v>
                </c:pt>
                <c:pt idx="24">
                  <c:v>3948.1429</c:v>
                </c:pt>
                <c:pt idx="25">
                  <c:v>6402.2</c:v>
                </c:pt>
                <c:pt idx="26">
                  <c:v>7763.5</c:v>
                </c:pt>
                <c:pt idx="27">
                  <c:v>3345.6</c:v>
                </c:pt>
                <c:pt idx="28">
                  <c:v>7017.25</c:v>
                </c:pt>
                <c:pt idx="29">
                  <c:v>3873.25</c:v>
                </c:pt>
                <c:pt idx="30">
                  <c:v>5011.5</c:v>
                </c:pt>
                <c:pt idx="31">
                  <c:v>5771.0</c:v>
                </c:pt>
                <c:pt idx="32">
                  <c:v>3461.5</c:v>
                </c:pt>
                <c:pt idx="33">
                  <c:v>3505.5833</c:v>
                </c:pt>
                <c:pt idx="34">
                  <c:v>3707.6429</c:v>
                </c:pt>
                <c:pt idx="35">
                  <c:v>6483.0</c:v>
                </c:pt>
                <c:pt idx="36">
                  <c:v>4574.5</c:v>
                </c:pt>
                <c:pt idx="37">
                  <c:v>7663.0</c:v>
                </c:pt>
                <c:pt idx="38">
                  <c:v>5601.0</c:v>
                </c:pt>
                <c:pt idx="39">
                  <c:v>5694.6667</c:v>
                </c:pt>
                <c:pt idx="40">
                  <c:v>5335.6667</c:v>
                </c:pt>
                <c:pt idx="41">
                  <c:v>10645.0</c:v>
                </c:pt>
                <c:pt idx="42">
                  <c:v>5430.5</c:v>
                </c:pt>
                <c:pt idx="43">
                  <c:v>3861.5714</c:v>
                </c:pt>
                <c:pt idx="44">
                  <c:v>4392.6</c:v>
                </c:pt>
                <c:pt idx="45">
                  <c:v>4084.4545</c:v>
                </c:pt>
                <c:pt idx="46">
                  <c:v>3682.6154</c:v>
                </c:pt>
                <c:pt idx="47">
                  <c:v>4401.9</c:v>
                </c:pt>
                <c:pt idx="48">
                  <c:v>3202.1176</c:v>
                </c:pt>
                <c:pt idx="49">
                  <c:v>3614.8333</c:v>
                </c:pt>
                <c:pt idx="50">
                  <c:v>4083.9</c:v>
                </c:pt>
                <c:pt idx="51">
                  <c:v>4174.75</c:v>
                </c:pt>
                <c:pt idx="52">
                  <c:v>3479.2</c:v>
                </c:pt>
                <c:pt idx="53">
                  <c:v>3423.5</c:v>
                </c:pt>
                <c:pt idx="54">
                  <c:v>4202.4</c:v>
                </c:pt>
                <c:pt idx="55">
                  <c:v>15202.0</c:v>
                </c:pt>
                <c:pt idx="56">
                  <c:v>6202.5</c:v>
                </c:pt>
                <c:pt idx="57">
                  <c:v>10480.0</c:v>
                </c:pt>
                <c:pt idx="58">
                  <c:v>4706.5</c:v>
                </c:pt>
                <c:pt idx="59">
                  <c:v>3925.25</c:v>
                </c:pt>
                <c:pt idx="60">
                  <c:v>3984.0</c:v>
                </c:pt>
                <c:pt idx="61">
                  <c:v>3894.25</c:v>
                </c:pt>
                <c:pt idx="62">
                  <c:v>3523.6667</c:v>
                </c:pt>
                <c:pt idx="63">
                  <c:v>2920.0</c:v>
                </c:pt>
                <c:pt idx="64">
                  <c:v>3077.6</c:v>
                </c:pt>
                <c:pt idx="65">
                  <c:v>6638.0</c:v>
                </c:pt>
                <c:pt idx="66">
                  <c:v>10119.0</c:v>
                </c:pt>
                <c:pt idx="67">
                  <c:v>5730.5</c:v>
                </c:pt>
                <c:pt idx="68">
                  <c:v>17630.0</c:v>
                </c:pt>
                <c:pt idx="69">
                  <c:v>5701.0</c:v>
                </c:pt>
                <c:pt idx="70">
                  <c:v>5620.2857</c:v>
                </c:pt>
                <c:pt idx="71">
                  <c:v>6033.2</c:v>
                </c:pt>
                <c:pt idx="72">
                  <c:v>5945.6</c:v>
                </c:pt>
                <c:pt idx="73">
                  <c:v>5831.6</c:v>
                </c:pt>
                <c:pt idx="74">
                  <c:v>5610.1429</c:v>
                </c:pt>
                <c:pt idx="75">
                  <c:v>8324.4</c:v>
                </c:pt>
                <c:pt idx="76">
                  <c:v>8366.5</c:v>
                </c:pt>
                <c:pt idx="77">
                  <c:v>4291.4545</c:v>
                </c:pt>
                <c:pt idx="78">
                  <c:v>22182.0</c:v>
                </c:pt>
                <c:pt idx="79">
                  <c:v>18169.0</c:v>
                </c:pt>
                <c:pt idx="80">
                  <c:v>17887.0</c:v>
                </c:pt>
                <c:pt idx="81">
                  <c:v>11855.0</c:v>
                </c:pt>
                <c:pt idx="82">
                  <c:v>14450.0</c:v>
                </c:pt>
                <c:pt idx="83">
                  <c:v>17175.0</c:v>
                </c:pt>
                <c:pt idx="84">
                  <c:v>6509.5</c:v>
                </c:pt>
                <c:pt idx="85">
                  <c:v>11668.0</c:v>
                </c:pt>
                <c:pt idx="86">
                  <c:v>5744.6667</c:v>
                </c:pt>
                <c:pt idx="87">
                  <c:v>10423.0</c:v>
                </c:pt>
              </c:numCache>
            </c:numRef>
          </c:xVal>
          <c:yVal>
            <c:numRef>
              <c:f>Sheet1!$B$2:$B$89</c:f>
              <c:numCache>
                <c:formatCode>General</c:formatCode>
                <c:ptCount val="88"/>
                <c:pt idx="0">
                  <c:v>0.0013899920571882446</c:v>
                </c:pt>
                <c:pt idx="1">
                  <c:v>0.0003280481137233461</c:v>
                </c:pt>
                <c:pt idx="2">
                  <c:v>0.0003180324393088095</c:v>
                </c:pt>
                <c:pt idx="3">
                  <c:v>0.00021666125013541327</c:v>
                </c:pt>
                <c:pt idx="4">
                  <c:v>0.000253324889170361</c:v>
                </c:pt>
                <c:pt idx="5">
                  <c:v>0.0006664001066240171</c:v>
                </c:pt>
                <c:pt idx="6">
                  <c:v>0.0007710100231303007</c:v>
                </c:pt>
                <c:pt idx="7">
                  <c:v>0.0009916418756197763</c:v>
                </c:pt>
                <c:pt idx="8">
                  <c:v>0.0005517241379310345</c:v>
                </c:pt>
                <c:pt idx="9">
                  <c:v>0.0007114062129475931</c:v>
                </c:pt>
                <c:pt idx="10">
                  <c:v>0.0003320420586607637</c:v>
                </c:pt>
                <c:pt idx="11">
                  <c:v>0.0007222451506397028</c:v>
                </c:pt>
                <c:pt idx="12">
                  <c:v>0.0005499541704857929</c:v>
                </c:pt>
                <c:pt idx="13">
                  <c:v>0.000625130235465722</c:v>
                </c:pt>
                <c:pt idx="14">
                  <c:v>0.000224290680722216</c:v>
                </c:pt>
                <c:pt idx="15">
                  <c:v>0.0006429214350006429</c:v>
                </c:pt>
                <c:pt idx="16">
                  <c:v>0.0005787874403125452</c:v>
                </c:pt>
                <c:pt idx="17">
                  <c:v>0.0004809233728759218</c:v>
                </c:pt>
                <c:pt idx="18">
                  <c:v>0.0006128702757916241</c:v>
                </c:pt>
                <c:pt idx="19">
                  <c:v>0.000672834314550042</c:v>
                </c:pt>
                <c:pt idx="20">
                  <c:v>0.0003861749372465727</c:v>
                </c:pt>
                <c:pt idx="21">
                  <c:v>0.0010588733587462938</c:v>
                </c:pt>
                <c:pt idx="22">
                  <c:v>0.0006499133448873484</c:v>
                </c:pt>
                <c:pt idx="23">
                  <c:v>0.0010187449062754685</c:v>
                </c:pt>
                <c:pt idx="24">
                  <c:v>0.0015992689056431345</c:v>
                </c:pt>
                <c:pt idx="25">
                  <c:v>0.0009389671361502347</c:v>
                </c:pt>
                <c:pt idx="26">
                  <c:v>0.0003829216925138809</c:v>
                </c:pt>
                <c:pt idx="27">
                  <c:v>0.0009613535858488752</c:v>
                </c:pt>
                <c:pt idx="28">
                  <c:v>0.0006884681583476765</c:v>
                </c:pt>
                <c:pt idx="29">
                  <c:v>0.0008615119534783546</c:v>
                </c:pt>
                <c:pt idx="30">
                  <c:v>0.0008605851979345956</c:v>
                </c:pt>
                <c:pt idx="31">
                  <c:v>0.0006612298875909191</c:v>
                </c:pt>
                <c:pt idx="32">
                  <c:v>0.0019029495718363464</c:v>
                </c:pt>
                <c:pt idx="33">
                  <c:v>0.0020938754144128424</c:v>
                </c:pt>
                <c:pt idx="34">
                  <c:v>0.0019305019305019305</c:v>
                </c:pt>
                <c:pt idx="35">
                  <c:v>0.0006308153288124901</c:v>
                </c:pt>
                <c:pt idx="36">
                  <c:v>0.0007662835249042146</c:v>
                </c:pt>
                <c:pt idx="37">
                  <c:v>0.0003685277317118113</c:v>
                </c:pt>
                <c:pt idx="38">
                  <c:v>0.0008151620134501732</c:v>
                </c:pt>
                <c:pt idx="39">
                  <c:v>0.0005020920502092051</c:v>
                </c:pt>
                <c:pt idx="40">
                  <c:v>0.00055452865064695</c:v>
                </c:pt>
                <c:pt idx="41">
                  <c:v>0.00015669069257286117</c:v>
                </c:pt>
                <c:pt idx="42">
                  <c:v>0.0005485463521667581</c:v>
                </c:pt>
                <c:pt idx="43">
                  <c:v>0.0007422330611812109</c:v>
                </c:pt>
                <c:pt idx="44">
                  <c:v>0.0004979087831109341</c:v>
                </c:pt>
                <c:pt idx="45">
                  <c:v>0.0010732754415064885</c:v>
                </c:pt>
                <c:pt idx="46">
                  <c:v>0.0013006503251625813</c:v>
                </c:pt>
                <c:pt idx="47">
                  <c:v>0.0007183908045977011</c:v>
                </c:pt>
                <c:pt idx="48">
                  <c:v>0.0008392575039494471</c:v>
                </c:pt>
                <c:pt idx="49">
                  <c:v>0.0009613843935266784</c:v>
                </c:pt>
                <c:pt idx="50">
                  <c:v>0.0008946144211844695</c:v>
                </c:pt>
                <c:pt idx="51">
                  <c:v>0.0003058103975535168</c:v>
                </c:pt>
                <c:pt idx="52">
                  <c:v>0.0005198585984612185</c:v>
                </c:pt>
                <c:pt idx="53">
                  <c:v>0.001129305477131564</c:v>
                </c:pt>
                <c:pt idx="54">
                  <c:v>0.0005919962112242482</c:v>
                </c:pt>
                <c:pt idx="55">
                  <c:v>0.00011396011396011396</c:v>
                </c:pt>
                <c:pt idx="56">
                  <c:v>0.0002042692268409764</c:v>
                </c:pt>
                <c:pt idx="57">
                  <c:v>9.304922303898763e-05</c:v>
                </c:pt>
                <c:pt idx="58">
                  <c:v>0.00024464831804281347</c:v>
                </c:pt>
                <c:pt idx="59">
                  <c:v>0.00025375880225845333</c:v>
                </c:pt>
                <c:pt idx="60">
                  <c:v>0.00042369290738073043</c:v>
                </c:pt>
                <c:pt idx="61">
                  <c:v>0.0003549560741858195</c:v>
                </c:pt>
                <c:pt idx="62">
                  <c:v>0.00045558086560364467</c:v>
                </c:pt>
                <c:pt idx="63">
                  <c:v>0.0006550218340611354</c:v>
                </c:pt>
                <c:pt idx="64">
                  <c:v>0.00039856516540454366</c:v>
                </c:pt>
                <c:pt idx="65">
                  <c:v>8.676036786395974e-05</c:v>
                </c:pt>
                <c:pt idx="66">
                  <c:v>8.946144211844694e-05</c:v>
                </c:pt>
                <c:pt idx="67">
                  <c:v>0.0002586987453110852</c:v>
                </c:pt>
                <c:pt idx="68">
                  <c:v>0.0001255020080321285</c:v>
                </c:pt>
                <c:pt idx="69">
                  <c:v>0.0006367804381049414</c:v>
                </c:pt>
                <c:pt idx="70">
                  <c:v>0.0009066183136899365</c:v>
                </c:pt>
                <c:pt idx="71">
                  <c:v>0.0007687576875768758</c:v>
                </c:pt>
                <c:pt idx="72">
                  <c:v>0.00079923273657289</c:v>
                </c:pt>
                <c:pt idx="73">
                  <c:v>0.0008008970046452026</c:v>
                </c:pt>
                <c:pt idx="74">
                  <c:v>0.0012612612612612612</c:v>
                </c:pt>
                <c:pt idx="75">
                  <c:v>0.0009174311926605505</c:v>
                </c:pt>
                <c:pt idx="76">
                  <c:v>0.0007276696379843551</c:v>
                </c:pt>
                <c:pt idx="77">
                  <c:v>0.0016183610416360158</c:v>
                </c:pt>
                <c:pt idx="78">
                  <c:v>0.0001850481125092524</c:v>
                </c:pt>
                <c:pt idx="79">
                  <c:v>0.0002289901534234028</c:v>
                </c:pt>
                <c:pt idx="80">
                  <c:v>0.0002296211251435132</c:v>
                </c:pt>
                <c:pt idx="81">
                  <c:v>8.244702778464837e-05</c:v>
                </c:pt>
                <c:pt idx="82">
                  <c:v>6.564264145989234e-05</c:v>
                </c:pt>
                <c:pt idx="83">
                  <c:v>4.390586582367404e-05</c:v>
                </c:pt>
                <c:pt idx="84">
                  <c:v>0.00014455044810638914</c:v>
                </c:pt>
                <c:pt idx="85">
                  <c:v>7.172572084349448e-05</c:v>
                </c:pt>
                <c:pt idx="86">
                  <c:v>0.00023084025854108956</c:v>
                </c:pt>
                <c:pt idx="87">
                  <c:v>8.382932349735938e-05</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7.617306520414382e-05</c:v>
                </c:pt>
                <c:pt idx="21">
                  <c:v>0.00016248273620927777</c:v>
                </c:pt>
                <c:pt idx="22">
                  <c:v>0.0</c:v>
                </c:pt>
                <c:pt idx="23">
                  <c:v>0.0</c:v>
                </c:pt>
                <c:pt idx="24">
                  <c:v>0.00011976047904191617</c:v>
                </c:pt>
                <c:pt idx="25">
                  <c:v>0.0</c:v>
                </c:pt>
                <c:pt idx="26">
                  <c:v>0.00022150847269908073</c:v>
                </c:pt>
                <c:pt idx="27">
                  <c:v>0.00010263779123473263</c:v>
                </c:pt>
                <c:pt idx="28">
                  <c:v>0.0001756388864494599</c:v>
                </c:pt>
                <c:pt idx="29">
                  <c:v>0.0</c:v>
                </c:pt>
                <c:pt idx="30">
                  <c:v>0.0</c:v>
                </c:pt>
                <c:pt idx="31">
                  <c:v>9.857072449482504e-05</c:v>
                </c:pt>
                <c:pt idx="32">
                  <c:v>0.00010185373803218578</c:v>
                </c:pt>
                <c:pt idx="33">
                  <c:v>0.00022596316800361542</c:v>
                </c:pt>
                <c:pt idx="34">
                  <c:v>0.0</c:v>
                </c:pt>
                <c:pt idx="35">
                  <c:v>0.0</c:v>
                </c:pt>
                <c:pt idx="36">
                  <c:v>0.00012732365673542143</c:v>
                </c:pt>
                <c:pt idx="37">
                  <c:v>0.0</c:v>
                </c:pt>
                <c:pt idx="38">
                  <c:v>0.0003575259206292456</c:v>
                </c:pt>
                <c:pt idx="39">
                  <c:v>0.0003604253018561903</c:v>
                </c:pt>
                <c:pt idx="40">
                  <c:v>0.00017409470752089137</c:v>
                </c:pt>
                <c:pt idx="41">
                  <c:v>0.00016302575806977502</c:v>
                </c:pt>
                <c:pt idx="42">
                  <c:v>0.0005128205128205128</c:v>
                </c:pt>
                <c:pt idx="43">
                  <c:v>0.0008548469823901521</c:v>
                </c:pt>
                <c:pt idx="44">
                  <c:v>0.00031377470975839345</c:v>
                </c:pt>
                <c:pt idx="45">
                  <c:v>0.0002828854314002829</c:v>
                </c:pt>
                <c:pt idx="46">
                  <c:v>0.0003399048266485384</c:v>
                </c:pt>
                <c:pt idx="47">
                  <c:v>0.00017793594306049823</c:v>
                </c:pt>
                <c:pt idx="48">
                  <c:v>0.0</c:v>
                </c:pt>
                <c:pt idx="49">
                  <c:v>0.00017962996227770793</c:v>
                </c:pt>
                <c:pt idx="50">
                  <c:v>0.0007192950908110052</c:v>
                </c:pt>
                <c:pt idx="51">
                  <c:v>0.0006172839506172839</c:v>
                </c:pt>
                <c:pt idx="52">
                  <c:v>0.0006808278867102397</c:v>
                </c:pt>
                <c:pt idx="53">
                  <c:v>0.0</c:v>
                </c:pt>
                <c:pt idx="54">
                  <c:v>0.0</c:v>
                </c:pt>
                <c:pt idx="55">
                  <c:v>0.0</c:v>
                </c:pt>
                <c:pt idx="56">
                  <c:v>0.0</c:v>
                </c:pt>
                <c:pt idx="57">
                  <c:v>0.00014954389113204725</c:v>
                </c:pt>
                <c:pt idx="58">
                  <c:v>0.00014112334180073385</c:v>
                </c:pt>
                <c:pt idx="59">
                  <c:v>0.00015463120457708364</c:v>
                </c:pt>
                <c:pt idx="60">
                  <c:v>0.0</c:v>
                </c:pt>
                <c:pt idx="61">
                  <c:v>0.0</c:v>
                </c:pt>
                <c:pt idx="62">
                  <c:v>0.0</c:v>
                </c:pt>
                <c:pt idx="63">
                  <c:v>0.0</c:v>
                </c:pt>
                <c:pt idx="64">
                  <c:v>0.0</c:v>
                </c:pt>
                <c:pt idx="65">
                  <c:v>0.0</c:v>
                </c:pt>
                <c:pt idx="66">
                  <c:v>0.0</c:v>
                </c:pt>
                <c:pt idx="67">
                  <c:v>0.00016380687169826775</c:v>
                </c:pt>
                <c:pt idx="68">
                  <c:v>6.692096633875393e-0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5374.4848340766</c:v>
                </c:pt>
              </c:numCache>
            </c:numRef>
          </c:xVal>
          <c:yVal>
            <c:numRef>
              <c:f>Sheet1!$B$163:$B$164</c:f>
              <c:numCache>
                <c:formatCode>General</c:formatCode>
                <c:ptCount val="2"/>
                <c:pt idx="0">
                  <c:v>0.0010522048548973822</c:v>
                </c:pt>
                <c:pt idx="1">
                  <c:v>0.00105220485489738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5374.4848340766</c:v>
                </c:pt>
                <c:pt idx="1">
                  <c:v>65374.4848340766</c:v>
                </c:pt>
              </c:numCache>
            </c:numRef>
          </c:xVal>
          <c:yVal>
            <c:numRef>
              <c:f>Sheet1!$B$167:$B$168</c:f>
              <c:numCache>
                <c:formatCode>General</c:formatCode>
                <c:ptCount val="2"/>
                <c:pt idx="0">
                  <c:v>0.00105220485489738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9655.917770424614</c:v>
                </c:pt>
              </c:numCache>
            </c:numRef>
          </c:xVal>
          <c:yVal>
            <c:numRef>
              <c:f>Sheet1!$B$171:$B$172</c:f>
              <c:numCache>
                <c:formatCode>General</c:formatCode>
                <c:ptCount val="2"/>
                <c:pt idx="0">
                  <c:v>0.00036122485978701784</c:v>
                </c:pt>
                <c:pt idx="1">
                  <c:v>0.000361224859787017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9655.917770424614</c:v>
                </c:pt>
                <c:pt idx="1">
                  <c:v>19655.917770424614</c:v>
                </c:pt>
              </c:numCache>
            </c:numRef>
          </c:xVal>
          <c:yVal>
            <c:numRef>
              <c:f>Sheet1!$B$175:$B$176</c:f>
              <c:numCache>
                <c:formatCode>General</c:formatCode>
                <c:ptCount val="2"/>
                <c:pt idx="0">
                  <c:v>0.000361224859787017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03.7557132949481</c:v>
                </c:pt>
              </c:numCache>
            </c:numRef>
          </c:xVal>
          <c:yVal>
            <c:numRef>
              <c:f>Sheet1!$B$179:$B$180</c:f>
              <c:numCache>
                <c:formatCode>General</c:formatCode>
                <c:ptCount val="2"/>
                <c:pt idx="0">
                  <c:v>5.200202119591434e-05</c:v>
                </c:pt>
                <c:pt idx="1">
                  <c:v>5.200202119591434e-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03.7557132949481</c:v>
                </c:pt>
                <c:pt idx="1">
                  <c:v>-803.7557132949481</c:v>
                </c:pt>
              </c:numCache>
            </c:numRef>
          </c:xVal>
          <c:yVal>
            <c:numRef>
              <c:f>Sheet1!$B$183:$B$184</c:f>
              <c:numCache>
                <c:formatCode>General</c:formatCode>
                <c:ptCount val="2"/>
                <c:pt idx="0">
                  <c:v>5.200202119591434e-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pt idx="69">
                  <c:v>19655.917770424614</c:v>
                </c:pt>
                <c:pt idx="70">
                  <c:v>65374.4848340766</c:v>
                </c:pt>
                <c:pt idx="71">
                  <c:v>-803.7557132949481</c:v>
                </c:pt>
              </c:numCache>
            </c:numRef>
          </c:xVal>
          <c:yVal>
            <c:numRef>
              <c:f>Sheet1!$B$187:$B$258</c:f>
              <c:numCache>
                <c:formatCode>General</c:formatCode>
                <c:ptCount val="72"/>
                <c:pt idx="0">
                  <c:v>6.414980172607051e-05</c:v>
                </c:pt>
                <c:pt idx="1">
                  <c:v>6.414980172607051e-05</c:v>
                </c:pt>
                <c:pt idx="2">
                  <c:v>6.414980172607051e-05</c:v>
                </c:pt>
                <c:pt idx="3">
                  <c:v>6.414980172607051e-05</c:v>
                </c:pt>
                <c:pt idx="4">
                  <c:v>6.414980172607051e-05</c:v>
                </c:pt>
                <c:pt idx="5">
                  <c:v>6.414980172607051e-05</c:v>
                </c:pt>
                <c:pt idx="6">
                  <c:v>6.414980172607051e-05</c:v>
                </c:pt>
                <c:pt idx="7">
                  <c:v>6.414980172607051e-05</c:v>
                </c:pt>
                <c:pt idx="8">
                  <c:v>6.414980172607051e-05</c:v>
                </c:pt>
                <c:pt idx="9">
                  <c:v>6.414980172607051e-05</c:v>
                </c:pt>
                <c:pt idx="10">
                  <c:v>6.414980172607051e-05</c:v>
                </c:pt>
                <c:pt idx="11">
                  <c:v>6.414980172607051e-05</c:v>
                </c:pt>
                <c:pt idx="12">
                  <c:v>6.414980172607051e-05</c:v>
                </c:pt>
                <c:pt idx="13">
                  <c:v>6.414980172607051e-05</c:v>
                </c:pt>
                <c:pt idx="14">
                  <c:v>6.414980172607051e-05</c:v>
                </c:pt>
                <c:pt idx="15">
                  <c:v>6.414980172607051e-05</c:v>
                </c:pt>
                <c:pt idx="16">
                  <c:v>6.414980172607051e-05</c:v>
                </c:pt>
                <c:pt idx="17">
                  <c:v>6.414980172607051e-05</c:v>
                </c:pt>
                <c:pt idx="18">
                  <c:v>6.414980172607051e-05</c:v>
                </c:pt>
                <c:pt idx="19">
                  <c:v>6.414980172607051e-05</c:v>
                </c:pt>
                <c:pt idx="20">
                  <c:v>0.00023318222687962066</c:v>
                </c:pt>
                <c:pt idx="21">
                  <c:v>0.0001588149121471418</c:v>
                </c:pt>
                <c:pt idx="22">
                  <c:v>6.414980172607051e-05</c:v>
                </c:pt>
                <c:pt idx="23">
                  <c:v>6.414980172607051e-05</c:v>
                </c:pt>
                <c:pt idx="24">
                  <c:v>0.00020753415593133967</c:v>
                </c:pt>
                <c:pt idx="25">
                  <c:v>6.414980172607051e-05</c:v>
                </c:pt>
                <c:pt idx="26">
                  <c:v>0.00013914433799323036</c:v>
                </c:pt>
                <c:pt idx="27">
                  <c:v>0.00017384555832160583</c:v>
                </c:pt>
                <c:pt idx="28">
                  <c:v>0.00019461943782567902</c:v>
                </c:pt>
                <c:pt idx="29">
                  <c:v>6.414980172607051e-05</c:v>
                </c:pt>
                <c:pt idx="30">
                  <c:v>6.414980172607051e-05</c:v>
                </c:pt>
                <c:pt idx="31">
                  <c:v>0.00026934948308423846</c:v>
                </c:pt>
                <c:pt idx="32">
                  <c:v>0.00024182730441787447</c:v>
                </c:pt>
                <c:pt idx="33">
                  <c:v>0.00023266080174837983</c:v>
                </c:pt>
                <c:pt idx="34">
                  <c:v>6.414980172607051e-05</c:v>
                </c:pt>
                <c:pt idx="35">
                  <c:v>6.414980172607051e-05</c:v>
                </c:pt>
                <c:pt idx="36">
                  <c:v>0.00023995319669979146</c:v>
                </c:pt>
                <c:pt idx="37">
                  <c:v>6.414980172607051e-05</c:v>
                </c:pt>
                <c:pt idx="38">
                  <c:v>0.00016688566635243468</c:v>
                </c:pt>
                <c:pt idx="39">
                  <c:v>0.00014462308031423912</c:v>
                </c:pt>
                <c:pt idx="40">
                  <c:v>0.00016054543903198457</c:v>
                </c:pt>
                <c:pt idx="41">
                  <c:v>0.00023390768793178182</c:v>
                </c:pt>
                <c:pt idx="42">
                  <c:v>0.00014003101311633084</c:v>
                </c:pt>
                <c:pt idx="43">
                  <c:v>0.00012599535642280935</c:v>
                </c:pt>
                <c:pt idx="44">
                  <c:v>0.00013349934418110135</c:v>
                </c:pt>
                <c:pt idx="45">
                  <c:v>0.00017346771402360523</c:v>
                </c:pt>
                <c:pt idx="46">
                  <c:v>0.0001471168526810431</c:v>
                </c:pt>
                <c:pt idx="47">
                  <c:v>0.00016371933113518963</c:v>
                </c:pt>
                <c:pt idx="48">
                  <c:v>6.414980172607051e-05</c:v>
                </c:pt>
                <c:pt idx="49">
                  <c:v>0.0001527467327212521</c:v>
                </c:pt>
                <c:pt idx="50">
                  <c:v>9.817090231804488e-05</c:v>
                </c:pt>
                <c:pt idx="51">
                  <c:v>9.454359705723909e-05</c:v>
                </c:pt>
                <c:pt idx="52">
                  <c:v>0.00011737446091962757</c:v>
                </c:pt>
                <c:pt idx="53">
                  <c:v>6.414980172607051e-05</c:v>
                </c:pt>
                <c:pt idx="54">
                  <c:v>6.414980172607051e-05</c:v>
                </c:pt>
                <c:pt idx="55">
                  <c:v>6.414980172607051e-05</c:v>
                </c:pt>
                <c:pt idx="56">
                  <c:v>6.414980172607051e-05</c:v>
                </c:pt>
                <c:pt idx="57">
                  <c:v>0.000254689124321815</c:v>
                </c:pt>
                <c:pt idx="58">
                  <c:v>0.0002051764075118159</c:v>
                </c:pt>
                <c:pt idx="59">
                  <c:v>0.00024282481336459607</c:v>
                </c:pt>
                <c:pt idx="60">
                  <c:v>6.414980172607051e-05</c:v>
                </c:pt>
                <c:pt idx="61">
                  <c:v>6.414980172607051e-05</c:v>
                </c:pt>
                <c:pt idx="62">
                  <c:v>6.414980172607051e-05</c:v>
                </c:pt>
                <c:pt idx="63">
                  <c:v>6.414980172607051e-05</c:v>
                </c:pt>
                <c:pt idx="64">
                  <c:v>6.414980172607051e-05</c:v>
                </c:pt>
                <c:pt idx="65">
                  <c:v>6.414980172607051e-05</c:v>
                </c:pt>
                <c:pt idx="66">
                  <c:v>6.414980172607051e-05</c:v>
                </c:pt>
                <c:pt idx="67">
                  <c:v>0.00013374872141778174</c:v>
                </c:pt>
                <c:pt idx="68">
                  <c:v>0.00027622624930784945</c:v>
                </c:pt>
                <c:pt idx="69">
                  <c:v>0.00036122485978701784</c:v>
                </c:pt>
                <c:pt idx="70">
                  <c:v>0.0010522048548973822</c:v>
                </c:pt>
                <c:pt idx="71">
                  <c:v>5.200202119591434e-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844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51265049729541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7</c:f>
              <c:numCache>
                <c:formatCode>General</c:formatCode>
                <c:ptCount val="66"/>
                <c:pt idx="0">
                  <c:v>0.5071582710641587</c:v>
                </c:pt>
                <c:pt idx="1">
                  <c:v>0.5739445921587571</c:v>
                </c:pt>
                <c:pt idx="2">
                  <c:v>1.3585501423195427</c:v>
                </c:pt>
                <c:pt idx="3">
                  <c:v>1.8840716302429925</c:v>
                </c:pt>
                <c:pt idx="4">
                  <c:v>1.1597627222713167</c:v>
                </c:pt>
                <c:pt idx="5">
                  <c:v>0.6065086411103211</c:v>
                </c:pt>
                <c:pt idx="6">
                  <c:v>1.33493985719449</c:v>
                </c:pt>
                <c:pt idx="7">
                  <c:v>1.1424309290916939</c:v>
                </c:pt>
                <c:pt idx="8">
                  <c:v>0.1572361710497458</c:v>
                </c:pt>
                <c:pt idx="9">
                  <c:v>3.555115346534653</c:v>
                </c:pt>
                <c:pt idx="10">
                  <c:v>0.7203599331488734</c:v>
                </c:pt>
                <c:pt idx="11">
                  <c:v>0.4819435148159293</c:v>
                </c:pt>
                <c:pt idx="12">
                  <c:v>0.8744278501850733</c:v>
                </c:pt>
                <c:pt idx="13">
                  <c:v>0.43869678592376643</c:v>
                </c:pt>
                <c:pt idx="14">
                  <c:v>1.186281553775976</c:v>
                </c:pt>
                <c:pt idx="15">
                  <c:v>0.8237409130719002</c:v>
                </c:pt>
                <c:pt idx="16">
                  <c:v>1.1762396655636993</c:v>
                </c:pt>
                <c:pt idx="17">
                  <c:v>0.6282469637329217</c:v>
                </c:pt>
                <c:pt idx="18">
                  <c:v>0.08696291746730477</c:v>
                </c:pt>
                <c:pt idx="19">
                  <c:v>1.0918559325478199</c:v>
                </c:pt>
                <c:pt idx="20">
                  <c:v>1.0618351750011896</c:v>
                </c:pt>
                <c:pt idx="21">
                  <c:v>1.3614504467424908</c:v>
                </c:pt>
                <c:pt idx="22">
                  <c:v>1.14037919315579</c:v>
                </c:pt>
                <c:pt idx="23">
                  <c:v>0.7628660828119546</c:v>
                </c:pt>
                <c:pt idx="24">
                  <c:v>1.215433825692832</c:v>
                </c:pt>
                <c:pt idx="25">
                  <c:v>1.731630011328372</c:v>
                </c:pt>
                <c:pt idx="26">
                  <c:v>0.6363221181850821</c:v>
                </c:pt>
                <c:pt idx="27">
                  <c:v>0.38293867506080986</c:v>
                </c:pt>
                <c:pt idx="28">
                  <c:v>0.6405511636317215</c:v>
                </c:pt>
                <c:pt idx="29">
                  <c:v>0.6104183372238755</c:v>
                </c:pt>
                <c:pt idx="30">
                  <c:v>0.826687223489573</c:v>
                </c:pt>
                <c:pt idx="31">
                  <c:v>0.4474106323142455</c:v>
                </c:pt>
                <c:pt idx="32">
                  <c:v>0.8458970675103747</c:v>
                </c:pt>
                <c:pt idx="33">
                  <c:v>0.7157944568268234</c:v>
                </c:pt>
                <c:pt idx="34">
                  <c:v>0.6141526268439195</c:v>
                </c:pt>
                <c:pt idx="35">
                  <c:v>0.569276432917999</c:v>
                </c:pt>
                <c:pt idx="36">
                  <c:v>0.7953713304015829</c:v>
                </c:pt>
                <c:pt idx="37">
                  <c:v>3.852141143206809</c:v>
                </c:pt>
                <c:pt idx="38">
                  <c:v>0.7797992983151094</c:v>
                </c:pt>
                <c:pt idx="39">
                  <c:v>2.8347068891345493</c:v>
                </c:pt>
                <c:pt idx="40">
                  <c:v>1.3467134977917805</c:v>
                </c:pt>
                <c:pt idx="41">
                  <c:v>0.8284723925182129</c:v>
                </c:pt>
                <c:pt idx="42">
                  <c:v>1.0895503146228591</c:v>
                </c:pt>
                <c:pt idx="43">
                  <c:v>0.49561791937871635</c:v>
                </c:pt>
                <c:pt idx="44">
                  <c:v>0.8311626864684943</c:v>
                </c:pt>
                <c:pt idx="45">
                  <c:v>0.7512912433151238</c:v>
                </c:pt>
                <c:pt idx="46">
                  <c:v>0.3186403342534174</c:v>
                </c:pt>
                <c:pt idx="47">
                  <c:v>0.8103443189056</c:v>
                </c:pt>
                <c:pt idx="48">
                  <c:v>0.44150229784845785</c:v>
                </c:pt>
                <c:pt idx="49">
                  <c:v>1.5879683336261432</c:v>
                </c:pt>
                <c:pt idx="50">
                  <c:v>0.7523819931616583</c:v>
                </c:pt>
                <c:pt idx="51">
                  <c:v>0.9468160349091951</c:v>
                </c:pt>
                <c:pt idx="52">
                  <c:v>0.7373960859881613</c:v>
                </c:pt>
                <c:pt idx="53">
                  <c:v>0.5941407507521668</c:v>
                </c:pt>
                <c:pt idx="54">
                  <c:v>0.8482298359089759</c:v>
                </c:pt>
                <c:pt idx="55">
                  <c:v>1.0729827173156528</c:v>
                </c:pt>
                <c:pt idx="56">
                  <c:v>0.785904152616578</c:v>
                </c:pt>
                <c:pt idx="57">
                  <c:v>0.8441600639157039</c:v>
                </c:pt>
                <c:pt idx="58">
                  <c:v>0.6639918001904691</c:v>
                </c:pt>
                <c:pt idx="59">
                  <c:v>1.092483615992633</c:v>
                </c:pt>
                <c:pt idx="60">
                  <c:v>0.8083784987123908</c:v>
                </c:pt>
                <c:pt idx="61">
                  <c:v>0.4344497095552685</c:v>
                </c:pt>
                <c:pt idx="62">
                  <c:v>0.7930069995522907</c:v>
                </c:pt>
                <c:pt idx="63">
                  <c:v>0.5688565887541087</c:v>
                </c:pt>
                <c:pt idx="64">
                  <c:v>1.0290618534819296</c:v>
                </c:pt>
                <c:pt idx="65">
                  <c:v>1.1762948209203918</c:v>
                </c:pt>
              </c:numCache>
            </c:numRef>
          </c:xVal>
          <c:yVal>
            <c:numRef>
              <c:f>Sheet1!$B$2:$B$67</c:f>
              <c:numCache>
                <c:formatCode>General</c:formatCode>
                <c:ptCount val="66"/>
                <c:pt idx="0">
                  <c:v>0.01330671989354624</c:v>
                </c:pt>
                <c:pt idx="1">
                  <c:v>0.011824324324324325</c:v>
                </c:pt>
                <c:pt idx="2">
                  <c:v>0.23372781065088757</c:v>
                </c:pt>
                <c:pt idx="3">
                  <c:v>0.05628517823639775</c:v>
                </c:pt>
                <c:pt idx="4">
                  <c:v>0.20408163265306123</c:v>
                </c:pt>
                <c:pt idx="5">
                  <c:v>0.046583850931677016</c:v>
                </c:pt>
                <c:pt idx="6">
                  <c:v>0.0472972972972973</c:v>
                </c:pt>
                <c:pt idx="7">
                  <c:v>0.057803468208092484</c:v>
                </c:pt>
                <c:pt idx="8">
                  <c:v>0.7692307692307693</c:v>
                </c:pt>
                <c:pt idx="9">
                  <c:v>0.06342494714587738</c:v>
                </c:pt>
                <c:pt idx="10">
                  <c:v>0.04032258064516129</c:v>
                </c:pt>
                <c:pt idx="11">
                  <c:v>0.30078125</c:v>
                </c:pt>
                <c:pt idx="12">
                  <c:v>0.1978021978021978</c:v>
                </c:pt>
                <c:pt idx="13">
                  <c:v>0.12</c:v>
                </c:pt>
                <c:pt idx="14">
                  <c:v>0.2503871966959215</c:v>
                </c:pt>
                <c:pt idx="15">
                  <c:v>0.09417040358744394</c:v>
                </c:pt>
                <c:pt idx="16">
                  <c:v>0.027649769585253458</c:v>
                </c:pt>
                <c:pt idx="17">
                  <c:v>0.016203703703703703</c:v>
                </c:pt>
                <c:pt idx="18">
                  <c:v>0.09876543209876543</c:v>
                </c:pt>
                <c:pt idx="19">
                  <c:v>0.029723991507430998</c:v>
                </c:pt>
                <c:pt idx="20">
                  <c:v>0.00392156862745098</c:v>
                </c:pt>
                <c:pt idx="21">
                  <c:v>0.06790123456790123</c:v>
                </c:pt>
                <c:pt idx="22">
                  <c:v>0.04994192799070848</c:v>
                </c:pt>
                <c:pt idx="23">
                  <c:v>0.0863905325443787</c:v>
                </c:pt>
                <c:pt idx="24">
                  <c:v>0.0254841997961264</c:v>
                </c:pt>
                <c:pt idx="25">
                  <c:v>0.00949367088607595</c:v>
                </c:pt>
                <c:pt idx="26">
                  <c:v>0.07239819004524888</c:v>
                </c:pt>
                <c:pt idx="27">
                  <c:v>0.059961315280464215</c:v>
                </c:pt>
                <c:pt idx="28">
                  <c:v>0.00909090909090909</c:v>
                </c:pt>
                <c:pt idx="29">
                  <c:v>0.1600633914421553</c:v>
                </c:pt>
                <c:pt idx="30">
                  <c:v>0.04914744232698094</c:v>
                </c:pt>
                <c:pt idx="31">
                  <c:v>0.052489905787348586</c:v>
                </c:pt>
                <c:pt idx="32">
                  <c:v>0.006517690875232775</c:v>
                </c:pt>
                <c:pt idx="33">
                  <c:v>0.035246727089627394</c:v>
                </c:pt>
                <c:pt idx="34">
                  <c:v>0.19066666666666668</c:v>
                </c:pt>
                <c:pt idx="35">
                  <c:v>0.23780487804878048</c:v>
                </c:pt>
                <c:pt idx="36">
                  <c:v>0.026272577996715927</c:v>
                </c:pt>
                <c:pt idx="37">
                  <c:v>0.00228310502283105</c:v>
                </c:pt>
                <c:pt idx="38">
                  <c:v>0.07785888077858881</c:v>
                </c:pt>
                <c:pt idx="39">
                  <c:v>0.0016339869281045752</c:v>
                </c:pt>
                <c:pt idx="40">
                  <c:v>0.009510869565217392</c:v>
                </c:pt>
                <c:pt idx="41">
                  <c:v>0.01437125748502994</c:v>
                </c:pt>
                <c:pt idx="42">
                  <c:v>0.08888888888888889</c:v>
                </c:pt>
                <c:pt idx="43">
                  <c:v>0.11895910780669144</c:v>
                </c:pt>
                <c:pt idx="44">
                  <c:v>0.0730050933786078</c:v>
                </c:pt>
                <c:pt idx="45">
                  <c:v>0.02881844380403458</c:v>
                </c:pt>
                <c:pt idx="46">
                  <c:v>0.07571801566579635</c:v>
                </c:pt>
                <c:pt idx="47">
                  <c:v>0.008915304606240713</c:v>
                </c:pt>
                <c:pt idx="48">
                  <c:v>0.016361886429258902</c:v>
                </c:pt>
                <c:pt idx="49">
                  <c:v>0.022494887525562373</c:v>
                </c:pt>
                <c:pt idx="50">
                  <c:v>0.02666666666666667</c:v>
                </c:pt>
                <c:pt idx="51">
                  <c:v>0.00975609756097561</c:v>
                </c:pt>
                <c:pt idx="52">
                  <c:v>0.2540045766590389</c:v>
                </c:pt>
                <c:pt idx="53">
                  <c:v>0.002621231979030144</c:v>
                </c:pt>
                <c:pt idx="54">
                  <c:v>0.15236686390532544</c:v>
                </c:pt>
                <c:pt idx="55">
                  <c:v>0.42081447963800905</c:v>
                </c:pt>
                <c:pt idx="56">
                  <c:v>0.030211480362537766</c:v>
                </c:pt>
                <c:pt idx="57">
                  <c:v>0.13602941176470587</c:v>
                </c:pt>
                <c:pt idx="58">
                  <c:v>0.008438818565400843</c:v>
                </c:pt>
                <c:pt idx="59">
                  <c:v>0.04391891891891892</c:v>
                </c:pt>
                <c:pt idx="60">
                  <c:v>0.026905829596412557</c:v>
                </c:pt>
                <c:pt idx="61">
                  <c:v>0.09256449165402124</c:v>
                </c:pt>
                <c:pt idx="62">
                  <c:v>0.025252525252525252</c:v>
                </c:pt>
                <c:pt idx="63">
                  <c:v>0.2010928961748634</c:v>
                </c:pt>
                <c:pt idx="64">
                  <c:v>0.05411255411255411</c:v>
                </c:pt>
                <c:pt idx="65">
                  <c:v>0.02278481012658228</c:v>
                </c:pt>
              </c:numCache>
            </c:numRef>
          </c:yVal>
          <c:smooth val="0"/>
          <c:extLst>
            <c:ext xmlns:c16="http://schemas.microsoft.com/office/drawing/2014/chart" uri="{C3380CC4-5D6E-409C-BE32-E72D297353CC}">
              <c16:uniqueId val="{00000000-096C-4121-9522-6AB7243CCAAE}"/>
            </c:ext>
          </c:extLst>
        </c:ser>
        <c:ser>
          <c:idx val="1"/>
          <c:order val="1"/>
          <c:tx>
            <c:strRef>
              <c:f>Sheet1!$B$6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0:$A$97</c:f>
              <c:numCache>
                <c:formatCode>General</c:formatCode>
                <c:ptCount val="28"/>
                <c:pt idx="0">
                  <c:v>0.5062190665323414</c:v>
                </c:pt>
                <c:pt idx="1">
                  <c:v>1.1250381846931512</c:v>
                </c:pt>
                <c:pt idx="2">
                  <c:v>0.5743411812804949</c:v>
                </c:pt>
                <c:pt idx="3">
                  <c:v>0.5894957036065545</c:v>
                </c:pt>
                <c:pt idx="4">
                  <c:v>0.5955250007772035</c:v>
                </c:pt>
                <c:pt idx="5">
                  <c:v>0.5088805722851449</c:v>
                </c:pt>
                <c:pt idx="6">
                  <c:v>0.5173892295043354</c:v>
                </c:pt>
                <c:pt idx="7">
                  <c:v>0.26116290404040404</c:v>
                </c:pt>
                <c:pt idx="8">
                  <c:v>0.8520012462323313</c:v>
                </c:pt>
                <c:pt idx="9">
                  <c:v>0.7015888795207962</c:v>
                </c:pt>
                <c:pt idx="10">
                  <c:v>0.46443640898614647</c:v>
                </c:pt>
                <c:pt idx="11">
                  <c:v>0.4610301812175941</c:v>
                </c:pt>
                <c:pt idx="12">
                  <c:v>0.59934849809264</c:v>
                </c:pt>
                <c:pt idx="13">
                  <c:v>0.7200037725817506</c:v>
                </c:pt>
                <c:pt idx="14">
                  <c:v>0.8354192117059582</c:v>
                </c:pt>
                <c:pt idx="15">
                  <c:v>0.49117602287367507</c:v>
                </c:pt>
                <c:pt idx="16">
                  <c:v>0.5790584309155461</c:v>
                </c:pt>
                <c:pt idx="17">
                  <c:v>0.7982730129368906</c:v>
                </c:pt>
                <c:pt idx="18">
                  <c:v>0.4945246699621219</c:v>
                </c:pt>
                <c:pt idx="19">
                  <c:v>0.7273594435149309</c:v>
                </c:pt>
                <c:pt idx="20">
                  <c:v>0.8849279927400899</c:v>
                </c:pt>
                <c:pt idx="21">
                  <c:v>0.7597088582149558</c:v>
                </c:pt>
                <c:pt idx="22">
                  <c:v>0.7142909976278693</c:v>
                </c:pt>
                <c:pt idx="23">
                  <c:v>0.3245592763301997</c:v>
                </c:pt>
                <c:pt idx="24">
                  <c:v>0.7178989459564737</c:v>
                </c:pt>
                <c:pt idx="25">
                  <c:v>0.6795692287496449</c:v>
                </c:pt>
                <c:pt idx="26">
                  <c:v>0.799673802064837</c:v>
                </c:pt>
                <c:pt idx="27">
                  <c:v>0.6308031786311622</c:v>
                </c:pt>
              </c:numCache>
            </c:numRef>
          </c:xVal>
          <c:yVal>
            <c:numRef>
              <c:f>Sheet1!$B$70:$B$97</c:f>
              <c:numCache>
                <c:formatCode>General</c:formatCode>
                <c:ptCount val="28"/>
                <c:pt idx="0">
                  <c:v>0.08333333333333333</c:v>
                </c:pt>
                <c:pt idx="1">
                  <c:v>0.21608040201005024</c:v>
                </c:pt>
                <c:pt idx="2">
                  <c:v>0.024714828897338403</c:v>
                </c:pt>
                <c:pt idx="3">
                  <c:v>0.18594687232219365</c:v>
                </c:pt>
                <c:pt idx="4">
                  <c:v>0.006896551724137931</c:v>
                </c:pt>
                <c:pt idx="5">
                  <c:v>0.013333333333333334</c:v>
                </c:pt>
                <c:pt idx="6">
                  <c:v>0.013015184381778741</c:v>
                </c:pt>
                <c:pt idx="7">
                  <c:v>0.21666666666666667</c:v>
                </c:pt>
                <c:pt idx="8">
                  <c:v>0.020761245674740483</c:v>
                </c:pt>
                <c:pt idx="9">
                  <c:v>0.0380952380952381</c:v>
                </c:pt>
                <c:pt idx="10">
                  <c:v>0.06153846153846154</c:v>
                </c:pt>
                <c:pt idx="11">
                  <c:v>0.09719934102141681</c:v>
                </c:pt>
                <c:pt idx="12">
                  <c:v>0.1332518337408313</c:v>
                </c:pt>
                <c:pt idx="13">
                  <c:v>0.01090909090909091</c:v>
                </c:pt>
                <c:pt idx="14">
                  <c:v>0.03783102143757881</c:v>
                </c:pt>
                <c:pt idx="15">
                  <c:v>0.04588607594936709</c:v>
                </c:pt>
                <c:pt idx="16">
                  <c:v>0.0681265206812652</c:v>
                </c:pt>
                <c:pt idx="17">
                  <c:v>0.24915824915824916</c:v>
                </c:pt>
                <c:pt idx="18">
                  <c:v>0.026128266033254157</c:v>
                </c:pt>
                <c:pt idx="19">
                  <c:v>0.12180746561886051</c:v>
                </c:pt>
                <c:pt idx="20">
                  <c:v>0.02127659574468085</c:v>
                </c:pt>
                <c:pt idx="21">
                  <c:v>0.10401459854014598</c:v>
                </c:pt>
                <c:pt idx="22">
                  <c:v>0.04664723032069971</c:v>
                </c:pt>
                <c:pt idx="23">
                  <c:v>0.22491349480968859</c:v>
                </c:pt>
                <c:pt idx="24">
                  <c:v>0.16913319238900634</c:v>
                </c:pt>
                <c:pt idx="25">
                  <c:v>0.01870503597122302</c:v>
                </c:pt>
                <c:pt idx="26">
                  <c:v>0.04660194174757282</c:v>
                </c:pt>
                <c:pt idx="27">
                  <c:v>0.1286549707602339</c:v>
                </c:pt>
              </c:numCache>
            </c:numRef>
          </c:yVal>
          <c:smooth val="0"/>
          <c:extLst>
            <c:ext xmlns:c16="http://schemas.microsoft.com/office/drawing/2014/chart" uri="{C3380CC4-5D6E-409C-BE32-E72D297353CC}">
              <c16:uniqueId val="{00000002-096C-4121-9522-6AB7243CCAAE}"/>
            </c:ext>
          </c:extLst>
        </c:ser>
        <c:ser>
          <c:idx val="2"/>
          <c:order val="2"/>
          <c:tx>
            <c:strRef>
              <c:f>Sheet1!$B$9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0:$A$101</c:f>
              <c:numCache>
                <c:formatCode>General</c:formatCode>
                <c:ptCount val="2"/>
                <c:pt idx="0">
                  <c:v>0</c:v>
                </c:pt>
                <c:pt idx="1">
                  <c:v>-8.662692382419161</c:v>
                </c:pt>
              </c:numCache>
            </c:numRef>
          </c:xVal>
          <c:yVal>
            <c:numRef>
              <c:f>Sheet1!$B$100:$B$101</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5-096C-4121-9522-6AB7243CCAAE}"/>
            </c:ext>
          </c:extLst>
        </c:ser>
        <c:ser>
          <c:idx val="3"/>
          <c:order val="3"/>
          <c:tx>
            <c:strRef>
              <c:f>Sheet1!$B$10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4:$A$105</c:f>
              <c:numCache>
                <c:formatCode>General</c:formatCode>
                <c:ptCount val="2"/>
                <c:pt idx="0">
                  <c:v>-8.662692382419161</c:v>
                </c:pt>
                <c:pt idx="1">
                  <c:v>-8.662692382419161</c:v>
                </c:pt>
              </c:numCache>
            </c:numRef>
          </c:xVal>
          <c:yVal>
            <c:numRef>
              <c:f>Sheet1!$B$104:$B$105</c:f>
              <c:numCache>
                <c:formatCode>General</c:formatCode>
                <c:ptCount val="2"/>
                <c:pt idx="0">
                  <c:v>0.2491582491582491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08:$A$109</c:f>
              <c:numCache>
                <c:formatCode>General</c:formatCode>
                <c:ptCount val="2"/>
                <c:pt idx="0">
                  <c:v>0</c:v>
                </c:pt>
                <c:pt idx="1">
                  <c:v>-8.662692382419161</c:v>
                </c:pt>
              </c:numCache>
            </c:numRef>
          </c:xVal>
          <c:yVal>
            <c:numRef>
              <c:f>Sheet1!$B$108:$B$109</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D-096C-4121-9522-6AB7243CCAAE}"/>
            </c:ext>
          </c:extLst>
        </c:ser>
        <c:ser>
          <c:idx val="5"/>
          <c:order val="5"/>
          <c:tx>
            <c:strRef>
              <c:f>Sheet1!$B$11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8.662692382419161</c:v>
                </c:pt>
                <c:pt idx="1">
                  <c:v>-8.662692382419161</c:v>
                </c:pt>
              </c:numCache>
            </c:numRef>
          </c:xVal>
          <c:yVal>
            <c:numRef>
              <c:f>Sheet1!$B$112:$B$113</c:f>
              <c:numCache>
                <c:formatCode>General</c:formatCode>
                <c:ptCount val="2"/>
                <c:pt idx="0">
                  <c:v>0.2491582491582491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6:$A$117</c:f>
              <c:numCache>
                <c:formatCode>General</c:formatCode>
                <c:ptCount val="2"/>
                <c:pt idx="0">
                  <c:v>0</c:v>
                </c:pt>
                <c:pt idx="1">
                  <c:v>0.1707688049787331</c:v>
                </c:pt>
              </c:numCache>
            </c:numRef>
          </c:xVal>
          <c:yVal>
            <c:numRef>
              <c:f>Sheet1!$B$116:$B$117</c:f>
              <c:numCache>
                <c:formatCode>General</c:formatCode>
                <c:ptCount val="2"/>
                <c:pt idx="0">
                  <c:v>0.0949933825354064</c:v>
                </c:pt>
                <c:pt idx="1">
                  <c:v>0.0949933825354064</c:v>
                </c:pt>
              </c:numCache>
            </c:numRef>
          </c:yVal>
          <c:smooth val="0"/>
          <c:extLst>
            <c:ext xmlns:c16="http://schemas.microsoft.com/office/drawing/2014/chart" uri="{C3380CC4-5D6E-409C-BE32-E72D297353CC}">
              <c16:uniqueId val="{00000015-096C-4121-9522-6AB7243CCAAE}"/>
            </c:ext>
          </c:extLst>
        </c:ser>
        <c:ser>
          <c:idx val="7"/>
          <c:order val="7"/>
          <c:tx>
            <c:strRef>
              <c:f>Sheet1!$B$11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0.1707688049787331</c:v>
                </c:pt>
                <c:pt idx="1">
                  <c:v>0.1707688049787331</c:v>
                </c:pt>
              </c:numCache>
            </c:numRef>
          </c:xVal>
          <c:yVal>
            <c:numRef>
              <c:f>Sheet1!$B$120:$B$121</c:f>
              <c:numCache>
                <c:formatCode>General</c:formatCode>
                <c:ptCount val="2"/>
                <c:pt idx="0">
                  <c:v>0.09499338253540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4:$A$154</c:f>
              <c:numCache>
                <c:formatCode>General</c:formatCode>
                <c:ptCount val="31"/>
                <c:pt idx="0">
                  <c:v>0.5062190665323414</c:v>
                </c:pt>
                <c:pt idx="1">
                  <c:v>1.1250381846931512</c:v>
                </c:pt>
                <c:pt idx="2">
                  <c:v>0.5743411812804949</c:v>
                </c:pt>
                <c:pt idx="3">
                  <c:v>0.5894957036065545</c:v>
                </c:pt>
                <c:pt idx="4">
                  <c:v>0.5955250007772035</c:v>
                </c:pt>
                <c:pt idx="5">
                  <c:v>0.5088805722851449</c:v>
                </c:pt>
                <c:pt idx="6">
                  <c:v>0.5173892295043354</c:v>
                </c:pt>
                <c:pt idx="7">
                  <c:v>0.26116290404040404</c:v>
                </c:pt>
                <c:pt idx="8">
                  <c:v>0.8520012462323313</c:v>
                </c:pt>
                <c:pt idx="9">
                  <c:v>0.7015888795207962</c:v>
                </c:pt>
                <c:pt idx="10">
                  <c:v>0.46443640898614647</c:v>
                </c:pt>
                <c:pt idx="11">
                  <c:v>0.4610301812175941</c:v>
                </c:pt>
                <c:pt idx="12">
                  <c:v>0.59934849809264</c:v>
                </c:pt>
                <c:pt idx="13">
                  <c:v>0.7200037725817506</c:v>
                </c:pt>
                <c:pt idx="14">
                  <c:v>0.8354192117059582</c:v>
                </c:pt>
                <c:pt idx="15">
                  <c:v>0.49117602287367507</c:v>
                </c:pt>
                <c:pt idx="16">
                  <c:v>0.5790584309155461</c:v>
                </c:pt>
                <c:pt idx="17">
                  <c:v>0.7982730129368906</c:v>
                </c:pt>
                <c:pt idx="18">
                  <c:v>0.4945246699621219</c:v>
                </c:pt>
                <c:pt idx="19">
                  <c:v>0.7273594435149309</c:v>
                </c:pt>
                <c:pt idx="20">
                  <c:v>0.8849279927400899</c:v>
                </c:pt>
                <c:pt idx="21">
                  <c:v>0.7597088582149558</c:v>
                </c:pt>
                <c:pt idx="22">
                  <c:v>0.7142909976278693</c:v>
                </c:pt>
                <c:pt idx="23">
                  <c:v>0.3245592763301997</c:v>
                </c:pt>
                <c:pt idx="24">
                  <c:v>0.7178989459564737</c:v>
                </c:pt>
                <c:pt idx="25">
                  <c:v>0.6795692287496449</c:v>
                </c:pt>
                <c:pt idx="26">
                  <c:v>0.799673802064837</c:v>
                </c:pt>
                <c:pt idx="27">
                  <c:v>0.6308031786311622</c:v>
                </c:pt>
                <c:pt idx="28">
                  <c:v>-8.662692382419161</c:v>
                </c:pt>
                <c:pt idx="29">
                  <c:v>-8.662692382419161</c:v>
                </c:pt>
                <c:pt idx="30">
                  <c:v>0.1707688049787331</c:v>
                </c:pt>
              </c:numCache>
            </c:numRef>
          </c:xVal>
          <c:yVal>
            <c:numRef>
              <c:f>Sheet1!$B$124:$B$154</c:f>
              <c:numCache>
                <c:formatCode>General</c:formatCode>
                <c:ptCount val="31"/>
                <c:pt idx="0">
                  <c:v>0.08913897917822773</c:v>
                </c:pt>
                <c:pt idx="1">
                  <c:v>0.07833911661121634</c:v>
                </c:pt>
                <c:pt idx="2">
                  <c:v>0.08795008656734518</c:v>
                </c:pt>
                <c:pt idx="3">
                  <c:v>0.08768560417889446</c:v>
                </c:pt>
                <c:pt idx="4">
                  <c:v>0.08758037863089876</c:v>
                </c:pt>
                <c:pt idx="5">
                  <c:v>0.08909252958494913</c:v>
                </c:pt>
                <c:pt idx="6">
                  <c:v>0.08894403331859237</c:v>
                </c:pt>
                <c:pt idx="7">
                  <c:v>0.09341579092893447</c:v>
                </c:pt>
                <c:pt idx="8">
                  <c:v>0.08310425932344928</c:v>
                </c:pt>
                <c:pt idx="9">
                  <c:v>0.08572931217199649</c:v>
                </c:pt>
                <c:pt idx="10">
                  <c:v>0.08986818573623542</c:v>
                </c:pt>
                <c:pt idx="11">
                  <c:v>0.08992763249651271</c:v>
                </c:pt>
                <c:pt idx="12">
                  <c:v>0.08751364952651236</c:v>
                </c:pt>
                <c:pt idx="13">
                  <c:v>0.08540792857474175</c:v>
                </c:pt>
                <c:pt idx="14">
                  <c:v>0.08339365518842923</c:v>
                </c:pt>
                <c:pt idx="15">
                  <c:v>0.08940151599930397</c:v>
                </c:pt>
                <c:pt idx="16">
                  <c:v>0.08786775936338896</c:v>
                </c:pt>
                <c:pt idx="17">
                  <c:v>0.0840419445347331</c:v>
                </c:pt>
                <c:pt idx="18">
                  <c:v>0.08934307415857977</c:v>
                </c:pt>
                <c:pt idx="19">
                  <c:v>0.08527955465603897</c:v>
                </c:pt>
                <c:pt idx="20">
                  <c:v>0.08252960943525658</c:v>
                </c:pt>
                <c:pt idx="21">
                  <c:v>0.08471498057836359</c:v>
                </c:pt>
                <c:pt idx="22">
                  <c:v>0.08550763005869325</c:v>
                </c:pt>
                <c:pt idx="23">
                  <c:v>0.09230937374193515</c:v>
                </c:pt>
                <c:pt idx="24">
                  <c:v>0.08544466279579804</c:v>
                </c:pt>
                <c:pt idx="25">
                  <c:v>0.0861136073482813</c:v>
                </c:pt>
                <c:pt idx="26">
                  <c:v>0.08401749743925205</c:v>
                </c:pt>
                <c:pt idx="27">
                  <c:v>0.08696469068387847</c:v>
                </c:pt>
                <c:pt idx="28">
                  <c:v>0.2491582491582492</c:v>
                </c:pt>
                <c:pt idx="29">
                  <c:v>0.2491582491582492</c:v>
                </c:pt>
                <c:pt idx="30">
                  <c:v>0.094993382535406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30769230769231"/>
          <c:min val="0.001307189542483660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7</c:f>
              <c:numCache>
                <c:formatCode>General</c:formatCode>
                <c:ptCount val="66"/>
                <c:pt idx="0">
                  <c:v>629.85</c:v>
                </c:pt>
                <c:pt idx="1">
                  <c:v>599.8571</c:v>
                </c:pt>
                <c:pt idx="2">
                  <c:v>1419.8861</c:v>
                </c:pt>
                <c:pt idx="3">
                  <c:v>1810.5333</c:v>
                </c:pt>
                <c:pt idx="4">
                  <c:v>1305.5667</c:v>
                </c:pt>
                <c:pt idx="5">
                  <c:v>703.6</c:v>
                </c:pt>
                <c:pt idx="6">
                  <c:v>1517.2857</c:v>
                </c:pt>
                <c:pt idx="7">
                  <c:v>1697.7</c:v>
                </c:pt>
                <c:pt idx="8">
                  <c:v>718.15</c:v>
                </c:pt>
                <c:pt idx="9">
                  <c:v>718.1333</c:v>
                </c:pt>
                <c:pt idx="10">
                  <c:v>714.0333</c:v>
                </c:pt>
                <c:pt idx="11">
                  <c:v>678.1299</c:v>
                </c:pt>
                <c:pt idx="12">
                  <c:v>925.4167</c:v>
                </c:pt>
                <c:pt idx="13">
                  <c:v>925.4167</c:v>
                </c:pt>
                <c:pt idx="14">
                  <c:v>1304.3588</c:v>
                </c:pt>
                <c:pt idx="15">
                  <c:v>1108.1429</c:v>
                </c:pt>
                <c:pt idx="16">
                  <c:v>1524.5</c:v>
                </c:pt>
                <c:pt idx="17">
                  <c:v>1269.0</c:v>
                </c:pt>
                <c:pt idx="18">
                  <c:v>146.375</c:v>
                </c:pt>
                <c:pt idx="19">
                  <c:v>1773.0714</c:v>
                </c:pt>
                <c:pt idx="20">
                  <c:v>3436.5</c:v>
                </c:pt>
                <c:pt idx="21">
                  <c:v>1666.8182</c:v>
                </c:pt>
                <c:pt idx="22">
                  <c:v>1546.7093</c:v>
                </c:pt>
                <c:pt idx="23">
                  <c:v>1180.3151</c:v>
                </c:pt>
                <c:pt idx="24">
                  <c:v>1639.58</c:v>
                </c:pt>
                <c:pt idx="25">
                  <c:v>2228.6667</c:v>
                </c:pt>
                <c:pt idx="26">
                  <c:v>800.7321</c:v>
                </c:pt>
                <c:pt idx="27">
                  <c:v>1505.4516</c:v>
                </c:pt>
                <c:pt idx="28">
                  <c:v>984.4545</c:v>
                </c:pt>
                <c:pt idx="29">
                  <c:v>873.5297</c:v>
                </c:pt>
                <c:pt idx="30">
                  <c:v>1894.9184</c:v>
                </c:pt>
                <c:pt idx="31">
                  <c:v>1117.3077</c:v>
                </c:pt>
                <c:pt idx="32">
                  <c:v>1129.8571</c:v>
                </c:pt>
                <c:pt idx="33">
                  <c:v>1160.4857</c:v>
                </c:pt>
                <c:pt idx="34">
                  <c:v>1310.4895</c:v>
                </c:pt>
                <c:pt idx="35">
                  <c:v>1116.6154</c:v>
                </c:pt>
                <c:pt idx="36">
                  <c:v>1335.625</c:v>
                </c:pt>
                <c:pt idx="37">
                  <c:v>7344.0</c:v>
                </c:pt>
                <c:pt idx="38">
                  <c:v>1130.75</c:v>
                </c:pt>
                <c:pt idx="39">
                  <c:v>7044.0</c:v>
                </c:pt>
                <c:pt idx="40">
                  <c:v>2083.1429</c:v>
                </c:pt>
                <c:pt idx="41">
                  <c:v>1374.3333</c:v>
                </c:pt>
                <c:pt idx="42">
                  <c:v>1366.5833</c:v>
                </c:pt>
                <c:pt idx="43">
                  <c:v>1101.4063</c:v>
                </c:pt>
                <c:pt idx="44">
                  <c:v>1129.0233</c:v>
                </c:pt>
                <c:pt idx="45">
                  <c:v>1097.4</c:v>
                </c:pt>
                <c:pt idx="46">
                  <c:v>1128.2069</c:v>
                </c:pt>
                <c:pt idx="47">
                  <c:v>1214.0</c:v>
                </c:pt>
                <c:pt idx="48">
                  <c:v>1160.4706</c:v>
                </c:pt>
                <c:pt idx="49">
                  <c:v>2249.7273</c:v>
                </c:pt>
                <c:pt idx="50">
                  <c:v>1615.8571</c:v>
                </c:pt>
                <c:pt idx="51">
                  <c:v>4285.75</c:v>
                </c:pt>
                <c:pt idx="52">
                  <c:v>1443.1216</c:v>
                </c:pt>
                <c:pt idx="53">
                  <c:v>2792.0</c:v>
                </c:pt>
                <c:pt idx="54">
                  <c:v>1790.6796</c:v>
                </c:pt>
                <c:pt idx="55">
                  <c:v>1830.7097</c:v>
                </c:pt>
                <c:pt idx="56">
                  <c:v>1145.8</c:v>
                </c:pt>
                <c:pt idx="57">
                  <c:v>1147.036</c:v>
                </c:pt>
                <c:pt idx="58">
                  <c:v>1141.8333</c:v>
                </c:pt>
                <c:pt idx="59">
                  <c:v>1423.6154</c:v>
                </c:pt>
                <c:pt idx="60">
                  <c:v>1112.6111</c:v>
                </c:pt>
                <c:pt idx="61">
                  <c:v>597.5082</c:v>
                </c:pt>
                <c:pt idx="62">
                  <c:v>1016.7</c:v>
                </c:pt>
                <c:pt idx="63">
                  <c:v>796.3098</c:v>
                </c:pt>
                <c:pt idx="64">
                  <c:v>1397.76</c:v>
                </c:pt>
                <c:pt idx="65">
                  <c:v>1729.2222</c:v>
                </c:pt>
              </c:numCache>
            </c:numRef>
          </c:xVal>
          <c:yVal>
            <c:numRef>
              <c:f>Sheet1!$B$2:$B$67</c:f>
              <c:numCache>
                <c:formatCode>General</c:formatCode>
                <c:ptCount val="66"/>
                <c:pt idx="0">
                  <c:v>0.01330671989354624</c:v>
                </c:pt>
                <c:pt idx="1">
                  <c:v>0.011824324324324325</c:v>
                </c:pt>
                <c:pt idx="2">
                  <c:v>0.23372781065088757</c:v>
                </c:pt>
                <c:pt idx="3">
                  <c:v>0.05628517823639775</c:v>
                </c:pt>
                <c:pt idx="4">
                  <c:v>0.20408163265306123</c:v>
                </c:pt>
                <c:pt idx="5">
                  <c:v>0.046583850931677016</c:v>
                </c:pt>
                <c:pt idx="6">
                  <c:v>0.0472972972972973</c:v>
                </c:pt>
                <c:pt idx="7">
                  <c:v>0.057803468208092484</c:v>
                </c:pt>
                <c:pt idx="8">
                  <c:v>0.7692307692307693</c:v>
                </c:pt>
                <c:pt idx="9">
                  <c:v>0.06342494714587738</c:v>
                </c:pt>
                <c:pt idx="10">
                  <c:v>0.04032258064516129</c:v>
                </c:pt>
                <c:pt idx="11">
                  <c:v>0.30078125</c:v>
                </c:pt>
                <c:pt idx="12">
                  <c:v>0.1978021978021978</c:v>
                </c:pt>
                <c:pt idx="13">
                  <c:v>0.12</c:v>
                </c:pt>
                <c:pt idx="14">
                  <c:v>0.2503871966959215</c:v>
                </c:pt>
                <c:pt idx="15">
                  <c:v>0.09417040358744394</c:v>
                </c:pt>
                <c:pt idx="16">
                  <c:v>0.027649769585253458</c:v>
                </c:pt>
                <c:pt idx="17">
                  <c:v>0.016203703703703703</c:v>
                </c:pt>
                <c:pt idx="18">
                  <c:v>0.09876543209876543</c:v>
                </c:pt>
                <c:pt idx="19">
                  <c:v>0.029723991507430998</c:v>
                </c:pt>
                <c:pt idx="20">
                  <c:v>0.00392156862745098</c:v>
                </c:pt>
                <c:pt idx="21">
                  <c:v>0.06790123456790123</c:v>
                </c:pt>
                <c:pt idx="22">
                  <c:v>0.04994192799070848</c:v>
                </c:pt>
                <c:pt idx="23">
                  <c:v>0.0863905325443787</c:v>
                </c:pt>
                <c:pt idx="24">
                  <c:v>0.0254841997961264</c:v>
                </c:pt>
                <c:pt idx="25">
                  <c:v>0.00949367088607595</c:v>
                </c:pt>
                <c:pt idx="26">
                  <c:v>0.07239819004524888</c:v>
                </c:pt>
                <c:pt idx="27">
                  <c:v>0.059961315280464215</c:v>
                </c:pt>
                <c:pt idx="28">
                  <c:v>0.00909090909090909</c:v>
                </c:pt>
                <c:pt idx="29">
                  <c:v>0.1600633914421553</c:v>
                </c:pt>
                <c:pt idx="30">
                  <c:v>0.04914744232698094</c:v>
                </c:pt>
                <c:pt idx="31">
                  <c:v>0.052489905787348586</c:v>
                </c:pt>
                <c:pt idx="32">
                  <c:v>0.006517690875232775</c:v>
                </c:pt>
                <c:pt idx="33">
                  <c:v>0.035246727089627394</c:v>
                </c:pt>
                <c:pt idx="34">
                  <c:v>0.19066666666666668</c:v>
                </c:pt>
                <c:pt idx="35">
                  <c:v>0.23780487804878048</c:v>
                </c:pt>
                <c:pt idx="36">
                  <c:v>0.026272577996715927</c:v>
                </c:pt>
                <c:pt idx="37">
                  <c:v>0.00228310502283105</c:v>
                </c:pt>
                <c:pt idx="38">
                  <c:v>0.07785888077858881</c:v>
                </c:pt>
                <c:pt idx="39">
                  <c:v>0.0016339869281045752</c:v>
                </c:pt>
                <c:pt idx="40">
                  <c:v>0.009510869565217392</c:v>
                </c:pt>
                <c:pt idx="41">
                  <c:v>0.01437125748502994</c:v>
                </c:pt>
                <c:pt idx="42">
                  <c:v>0.08888888888888889</c:v>
                </c:pt>
                <c:pt idx="43">
                  <c:v>0.11895910780669144</c:v>
                </c:pt>
                <c:pt idx="44">
                  <c:v>0.0730050933786078</c:v>
                </c:pt>
                <c:pt idx="45">
                  <c:v>0.02881844380403458</c:v>
                </c:pt>
                <c:pt idx="46">
                  <c:v>0.07571801566579635</c:v>
                </c:pt>
                <c:pt idx="47">
                  <c:v>0.008915304606240713</c:v>
                </c:pt>
                <c:pt idx="48">
                  <c:v>0.016361886429258902</c:v>
                </c:pt>
                <c:pt idx="49">
                  <c:v>0.022494887525562373</c:v>
                </c:pt>
                <c:pt idx="50">
                  <c:v>0.02666666666666667</c:v>
                </c:pt>
                <c:pt idx="51">
                  <c:v>0.00975609756097561</c:v>
                </c:pt>
                <c:pt idx="52">
                  <c:v>0.2540045766590389</c:v>
                </c:pt>
                <c:pt idx="53">
                  <c:v>0.002621231979030144</c:v>
                </c:pt>
                <c:pt idx="54">
                  <c:v>0.15236686390532544</c:v>
                </c:pt>
                <c:pt idx="55">
                  <c:v>0.42081447963800905</c:v>
                </c:pt>
                <c:pt idx="56">
                  <c:v>0.030211480362537766</c:v>
                </c:pt>
                <c:pt idx="57">
                  <c:v>0.13602941176470587</c:v>
                </c:pt>
                <c:pt idx="58">
                  <c:v>0.008438818565400843</c:v>
                </c:pt>
                <c:pt idx="59">
                  <c:v>0.04391891891891892</c:v>
                </c:pt>
                <c:pt idx="60">
                  <c:v>0.026905829596412557</c:v>
                </c:pt>
                <c:pt idx="61">
                  <c:v>0.09256449165402124</c:v>
                </c:pt>
                <c:pt idx="62">
                  <c:v>0.025252525252525252</c:v>
                </c:pt>
                <c:pt idx="63">
                  <c:v>0.2010928961748634</c:v>
                </c:pt>
                <c:pt idx="64">
                  <c:v>0.05411255411255411</c:v>
                </c:pt>
                <c:pt idx="65">
                  <c:v>0.02278481012658228</c:v>
                </c:pt>
              </c:numCache>
            </c:numRef>
          </c:yVal>
          <c:smooth val="0"/>
          <c:extLst>
            <c:ext xmlns:c16="http://schemas.microsoft.com/office/drawing/2014/chart" uri="{C3380CC4-5D6E-409C-BE32-E72D297353CC}">
              <c16:uniqueId val="{00000000-F32D-48B7-BC20-E66FC6253BAD}"/>
            </c:ext>
          </c:extLst>
        </c:ser>
        <c:ser>
          <c:idx val="1"/>
          <c:order val="1"/>
          <c:tx>
            <c:strRef>
              <c:f>Sheet1!$B$6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0:$A$97</c:f>
              <c:numCache>
                <c:formatCode>General</c:formatCode>
                <c:ptCount val="28"/>
                <c:pt idx="0">
                  <c:v>1247.0568</c:v>
                </c:pt>
                <c:pt idx="1">
                  <c:v>1592.1105</c:v>
                </c:pt>
                <c:pt idx="2">
                  <c:v>881.2308</c:v>
                </c:pt>
                <c:pt idx="3">
                  <c:v>1093.129</c:v>
                </c:pt>
                <c:pt idx="4">
                  <c:v>2398.3333</c:v>
                </c:pt>
                <c:pt idx="5">
                  <c:v>737.4167</c:v>
                </c:pt>
                <c:pt idx="6">
                  <c:v>825.5</c:v>
                </c:pt>
                <c:pt idx="7">
                  <c:v>1034.2051</c:v>
                </c:pt>
                <c:pt idx="8">
                  <c:v>2360.0</c:v>
                </c:pt>
                <c:pt idx="9">
                  <c:v>1066.5357</c:v>
                </c:pt>
                <c:pt idx="10">
                  <c:v>768.5</c:v>
                </c:pt>
                <c:pt idx="11">
                  <c:v>1055.8983</c:v>
                </c:pt>
                <c:pt idx="12">
                  <c:v>838.0183</c:v>
                </c:pt>
                <c:pt idx="13">
                  <c:v>1452.0</c:v>
                </c:pt>
                <c:pt idx="14">
                  <c:v>792.7333</c:v>
                </c:pt>
                <c:pt idx="15">
                  <c:v>817.9655</c:v>
                </c:pt>
                <c:pt idx="16">
                  <c:v>774.6071</c:v>
                </c:pt>
                <c:pt idx="17">
                  <c:v>1034.3514</c:v>
                </c:pt>
                <c:pt idx="18">
                  <c:v>723.1818</c:v>
                </c:pt>
                <c:pt idx="19">
                  <c:v>1033.2258</c:v>
                </c:pt>
                <c:pt idx="20">
                  <c:v>1345.6923</c:v>
                </c:pt>
                <c:pt idx="21">
                  <c:v>1133.7895</c:v>
                </c:pt>
                <c:pt idx="22">
                  <c:v>907.75</c:v>
                </c:pt>
                <c:pt idx="23">
                  <c:v>1001.5231</c:v>
                </c:pt>
                <c:pt idx="24">
                  <c:v>1051.7875</c:v>
                </c:pt>
                <c:pt idx="25">
                  <c:v>973.2308</c:v>
                </c:pt>
                <c:pt idx="26">
                  <c:v>1008.7917</c:v>
                </c:pt>
                <c:pt idx="27">
                  <c:v>1067.1515</c:v>
                </c:pt>
              </c:numCache>
            </c:numRef>
          </c:xVal>
          <c:yVal>
            <c:numRef>
              <c:f>Sheet1!$B$70:$B$97</c:f>
              <c:numCache>
                <c:formatCode>General</c:formatCode>
                <c:ptCount val="28"/>
                <c:pt idx="0">
                  <c:v>0.08333333333333333</c:v>
                </c:pt>
                <c:pt idx="1">
                  <c:v>0.21608040201005024</c:v>
                </c:pt>
                <c:pt idx="2">
                  <c:v>0.024714828897338403</c:v>
                </c:pt>
                <c:pt idx="3">
                  <c:v>0.18594687232219365</c:v>
                </c:pt>
                <c:pt idx="4">
                  <c:v>0.006896551724137931</c:v>
                </c:pt>
                <c:pt idx="5">
                  <c:v>0.013333333333333334</c:v>
                </c:pt>
                <c:pt idx="6">
                  <c:v>0.013015184381778741</c:v>
                </c:pt>
                <c:pt idx="7">
                  <c:v>0.21666666666666667</c:v>
                </c:pt>
                <c:pt idx="8">
                  <c:v>0.020761245674740483</c:v>
                </c:pt>
                <c:pt idx="9">
                  <c:v>0.0380952380952381</c:v>
                </c:pt>
                <c:pt idx="10">
                  <c:v>0.06153846153846154</c:v>
                </c:pt>
                <c:pt idx="11">
                  <c:v>0.09719934102141681</c:v>
                </c:pt>
                <c:pt idx="12">
                  <c:v>0.1332518337408313</c:v>
                </c:pt>
                <c:pt idx="13">
                  <c:v>0.01090909090909091</c:v>
                </c:pt>
                <c:pt idx="14">
                  <c:v>0.03783102143757881</c:v>
                </c:pt>
                <c:pt idx="15">
                  <c:v>0.04588607594936709</c:v>
                </c:pt>
                <c:pt idx="16">
                  <c:v>0.0681265206812652</c:v>
                </c:pt>
                <c:pt idx="17">
                  <c:v>0.24915824915824916</c:v>
                </c:pt>
                <c:pt idx="18">
                  <c:v>0.026128266033254157</c:v>
                </c:pt>
                <c:pt idx="19">
                  <c:v>0.12180746561886051</c:v>
                </c:pt>
                <c:pt idx="20">
                  <c:v>0.02127659574468085</c:v>
                </c:pt>
                <c:pt idx="21">
                  <c:v>0.10401459854014598</c:v>
                </c:pt>
                <c:pt idx="22">
                  <c:v>0.04664723032069971</c:v>
                </c:pt>
                <c:pt idx="23">
                  <c:v>0.22491349480968859</c:v>
                </c:pt>
                <c:pt idx="24">
                  <c:v>0.16913319238900634</c:v>
                </c:pt>
                <c:pt idx="25">
                  <c:v>0.01870503597122302</c:v>
                </c:pt>
                <c:pt idx="26">
                  <c:v>0.04660194174757282</c:v>
                </c:pt>
                <c:pt idx="27">
                  <c:v>0.1286549707602339</c:v>
                </c:pt>
              </c:numCache>
            </c:numRef>
          </c:yVal>
          <c:smooth val="0"/>
          <c:extLst>
            <c:ext xmlns:c16="http://schemas.microsoft.com/office/drawing/2014/chart" uri="{C3380CC4-5D6E-409C-BE32-E72D297353CC}">
              <c16:uniqueId val="{00000002-F32D-48B7-BC20-E66FC6253BAD}"/>
            </c:ext>
          </c:extLst>
        </c:ser>
        <c:ser>
          <c:idx val="2"/>
          <c:order val="2"/>
          <c:tx>
            <c:strRef>
              <c:f>Sheet1!$B$99</c:f>
              <c:strCache>
                <c:ptCount val="1"/>
                <c:pt idx="0">
                  <c:v>Custom Linep3yQ</c:v>
                </c:pt>
              </c:strCache>
            </c:strRef>
          </c:tx>
          <c:spPr>
            <a:ln w="19050" cap="rnd">
              <a:solidFill>
                <a:srgbClr val="C00000"/>
              </a:solidFill>
              <a:prstDash val="sysDot"/>
              <a:round/>
            </a:ln>
            <a:effectLst/>
          </c:spPr>
          <c:marker>
            <c:symbol val="none"/>
          </c:marker>
          <c:xVal>
            <c:numRef>
              <c:f>Sheet1!$A$100:$A$101</c:f>
              <c:numCache>
                <c:formatCode>General</c:formatCode>
                <c:ptCount val="2"/>
                <c:pt idx="0">
                  <c:v>0</c:v>
                </c:pt>
                <c:pt idx="1">
                  <c:v>-9151.439379109283</c:v>
                </c:pt>
              </c:numCache>
            </c:numRef>
          </c:xVal>
          <c:yVal>
            <c:numRef>
              <c:f>Sheet1!$B$100:$B$101</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3-F32D-48B7-BC20-E66FC6253BAD}"/>
            </c:ext>
          </c:extLst>
        </c:ser>
        <c:ser>
          <c:idx val="3"/>
          <c:order val="3"/>
          <c:tx>
            <c:strRef>
              <c:f>Sheet1!$B$10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4:$A$105</c:f>
              <c:numCache>
                <c:formatCode>General</c:formatCode>
                <c:ptCount val="2"/>
                <c:pt idx="0">
                  <c:v>-9151.439379109283</c:v>
                </c:pt>
                <c:pt idx="1">
                  <c:v>-9151.439379109283</c:v>
                </c:pt>
              </c:numCache>
            </c:numRef>
          </c:xVal>
          <c:yVal>
            <c:numRef>
              <c:f>Sheet1!$B$104:$B$105</c:f>
              <c:numCache>
                <c:formatCode>General</c:formatCode>
                <c:ptCount val="2"/>
                <c:pt idx="0">
                  <c:v>0.2491582491582491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08:$A$109</c:f>
              <c:numCache>
                <c:formatCode>General</c:formatCode>
                <c:ptCount val="2"/>
                <c:pt idx="0">
                  <c:v>0</c:v>
                </c:pt>
                <c:pt idx="1">
                  <c:v>-9151.439379109283</c:v>
                </c:pt>
              </c:numCache>
            </c:numRef>
          </c:xVal>
          <c:yVal>
            <c:numRef>
              <c:f>Sheet1!$B$108:$B$109</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A-F32D-48B7-BC20-E66FC6253BAD}"/>
            </c:ext>
          </c:extLst>
        </c:ser>
        <c:ser>
          <c:idx val="5"/>
          <c:order val="5"/>
          <c:tx>
            <c:strRef>
              <c:f>Sheet1!$B$11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9151.439379109283</c:v>
                </c:pt>
                <c:pt idx="1">
                  <c:v>-9151.439379109283</c:v>
                </c:pt>
              </c:numCache>
            </c:numRef>
          </c:xVal>
          <c:yVal>
            <c:numRef>
              <c:f>Sheet1!$B$112:$B$113</c:f>
              <c:numCache>
                <c:formatCode>General</c:formatCode>
                <c:ptCount val="2"/>
                <c:pt idx="0">
                  <c:v>0.2491582491582491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6:$A$117</c:f>
              <c:numCache>
                <c:formatCode>General</c:formatCode>
                <c:ptCount val="2"/>
                <c:pt idx="0">
                  <c:v>0</c:v>
                </c:pt>
                <c:pt idx="1">
                  <c:v>590.4646739974775</c:v>
                </c:pt>
              </c:numCache>
            </c:numRef>
          </c:xVal>
          <c:yVal>
            <c:numRef>
              <c:f>Sheet1!$B$116:$B$117</c:f>
              <c:numCache>
                <c:formatCode>General</c:formatCode>
                <c:ptCount val="2"/>
                <c:pt idx="0">
                  <c:v>0.0949933825354064</c:v>
                </c:pt>
                <c:pt idx="1">
                  <c:v>0.0949933825354064</c:v>
                </c:pt>
              </c:numCache>
            </c:numRef>
          </c:yVal>
          <c:smooth val="0"/>
          <c:extLst>
            <c:ext xmlns:c16="http://schemas.microsoft.com/office/drawing/2014/chart" uri="{C3380CC4-5D6E-409C-BE32-E72D297353CC}">
              <c16:uniqueId val="{00000011-F32D-48B7-BC20-E66FC6253BAD}"/>
            </c:ext>
          </c:extLst>
        </c:ser>
        <c:ser>
          <c:idx val="7"/>
          <c:order val="7"/>
          <c:tx>
            <c:strRef>
              <c:f>Sheet1!$B$11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590.4646739974775</c:v>
                </c:pt>
                <c:pt idx="1">
                  <c:v>590.4646739974775</c:v>
                </c:pt>
              </c:numCache>
            </c:numRef>
          </c:xVal>
          <c:yVal>
            <c:numRef>
              <c:f>Sheet1!$B$120:$B$121</c:f>
              <c:numCache>
                <c:formatCode>General</c:formatCode>
                <c:ptCount val="2"/>
                <c:pt idx="0">
                  <c:v>0.09499338253540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4:$A$154</c:f>
              <c:numCache>
                <c:formatCode>General</c:formatCode>
                <c:ptCount val="31"/>
                <c:pt idx="0">
                  <c:v>1247.0568</c:v>
                </c:pt>
                <c:pt idx="1">
                  <c:v>1592.1105</c:v>
                </c:pt>
                <c:pt idx="2">
                  <c:v>881.2308</c:v>
                </c:pt>
                <c:pt idx="3">
                  <c:v>1093.129</c:v>
                </c:pt>
                <c:pt idx="4">
                  <c:v>2398.3333</c:v>
                </c:pt>
                <c:pt idx="5">
                  <c:v>737.4167</c:v>
                </c:pt>
                <c:pt idx="6">
                  <c:v>825.5</c:v>
                </c:pt>
                <c:pt idx="7">
                  <c:v>1034.2051</c:v>
                </c:pt>
                <c:pt idx="8">
                  <c:v>2360.0</c:v>
                </c:pt>
                <c:pt idx="9">
                  <c:v>1066.5357</c:v>
                </c:pt>
                <c:pt idx="10">
                  <c:v>768.5</c:v>
                </c:pt>
                <c:pt idx="11">
                  <c:v>1055.8983</c:v>
                </c:pt>
                <c:pt idx="12">
                  <c:v>838.0183</c:v>
                </c:pt>
                <c:pt idx="13">
                  <c:v>1452.0</c:v>
                </c:pt>
                <c:pt idx="14">
                  <c:v>792.7333</c:v>
                </c:pt>
                <c:pt idx="15">
                  <c:v>817.9655</c:v>
                </c:pt>
                <c:pt idx="16">
                  <c:v>774.6071</c:v>
                </c:pt>
                <c:pt idx="17">
                  <c:v>1034.3514</c:v>
                </c:pt>
                <c:pt idx="18">
                  <c:v>723.1818</c:v>
                </c:pt>
                <c:pt idx="19">
                  <c:v>1033.2258</c:v>
                </c:pt>
                <c:pt idx="20">
                  <c:v>1345.6923</c:v>
                </c:pt>
                <c:pt idx="21">
                  <c:v>1133.7895</c:v>
                </c:pt>
                <c:pt idx="22">
                  <c:v>907.75</c:v>
                </c:pt>
                <c:pt idx="23">
                  <c:v>1001.5231</c:v>
                </c:pt>
                <c:pt idx="24">
                  <c:v>1051.7875</c:v>
                </c:pt>
                <c:pt idx="25">
                  <c:v>973.2308</c:v>
                </c:pt>
                <c:pt idx="26">
                  <c:v>1008.7917</c:v>
                </c:pt>
                <c:pt idx="27">
                  <c:v>1067.1515</c:v>
                </c:pt>
                <c:pt idx="28">
                  <c:v>-9151.439379109283</c:v>
                </c:pt>
                <c:pt idx="29">
                  <c:v>-9151.439379109283</c:v>
                </c:pt>
                <c:pt idx="30">
                  <c:v>590.4646739974775</c:v>
                </c:pt>
              </c:numCache>
            </c:numRef>
          </c:xVal>
          <c:yVal>
            <c:numRef>
              <c:f>Sheet1!$B$124:$B$154</c:f>
              <c:numCache>
                <c:formatCode>General</c:formatCode>
                <c:ptCount val="31"/>
                <c:pt idx="0">
                  <c:v>0.0846028637026422</c:v>
                </c:pt>
                <c:pt idx="1">
                  <c:v>0.07914241599670795</c:v>
                </c:pt>
                <c:pt idx="2">
                  <c:v>0.09039203142485791</c:v>
                </c:pt>
                <c:pt idx="3">
                  <c:v>0.0870387590499157</c:v>
                </c:pt>
                <c:pt idx="4">
                  <c:v>0.0663840034982131</c:v>
                </c:pt>
                <c:pt idx="5">
                  <c:v>0.09266787826384558</c:v>
                </c:pt>
                <c:pt idx="6">
                  <c:v>0.09127396695839916</c:v>
                </c:pt>
                <c:pt idx="7">
                  <c:v>0.08797122514020744</c:v>
                </c:pt>
                <c:pt idx="8">
                  <c:v>0.06699062496045476</c:v>
                </c:pt>
                <c:pt idx="9">
                  <c:v>0.08745959593408249</c:v>
                </c:pt>
                <c:pt idx="10">
                  <c:v>0.09217598748227197</c:v>
                </c:pt>
                <c:pt idx="11">
                  <c:v>0.08762793195374292</c:v>
                </c:pt>
                <c:pt idx="12">
                  <c:v>0.09107586584394307</c:v>
                </c:pt>
                <c:pt idx="13">
                  <c:v>0.08135965365653394</c:v>
                </c:pt>
                <c:pt idx="14">
                  <c:v>0.09179249741277781</c:v>
                </c:pt>
                <c:pt idx="15">
                  <c:v>0.09139319982922582</c:v>
                </c:pt>
                <c:pt idx="16">
                  <c:v>0.09207934310435366</c:v>
                </c:pt>
                <c:pt idx="17">
                  <c:v>0.08796890995419618</c:v>
                </c:pt>
                <c:pt idx="18">
                  <c:v>0.09289314443849957</c:v>
                </c:pt>
                <c:pt idx="19">
                  <c:v>0.08798672248580444</c:v>
                </c:pt>
                <c:pt idx="20">
                  <c:v>0.08304196466084471</c:v>
                </c:pt>
                <c:pt idx="21">
                  <c:v>0.08639530983042569</c:v>
                </c:pt>
                <c:pt idx="22">
                  <c:v>0.08997236716737217</c:v>
                </c:pt>
                <c:pt idx="23">
                  <c:v>0.08848841522373746</c:v>
                </c:pt>
                <c:pt idx="24">
                  <c:v>0.08769298504092778</c:v>
                </c:pt>
                <c:pt idx="25">
                  <c:v>0.08893613864948426</c:v>
                </c:pt>
                <c:pt idx="26">
                  <c:v>0.08837339019953007</c:v>
                </c:pt>
                <c:pt idx="27">
                  <c:v>0.08744985094744037</c:v>
                </c:pt>
                <c:pt idx="28">
                  <c:v>0.2491582491582492</c:v>
                </c:pt>
                <c:pt idx="29">
                  <c:v>0.2491582491582492</c:v>
                </c:pt>
                <c:pt idx="30">
                  <c:v>0.09499338253540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81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30769230769231"/>
          <c:min val="0.001307189542483660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2</c:f>
              <c:numCache>
                <c:formatCode>General</c:formatCode>
                <c:ptCount val="61"/>
                <c:pt idx="0">
                  <c:v>0.671397701098455</c:v>
                </c:pt>
                <c:pt idx="1">
                  <c:v>0.5975547811835777</c:v>
                </c:pt>
                <c:pt idx="2">
                  <c:v>1.5053488167698283</c:v>
                </c:pt>
                <c:pt idx="3">
                  <c:v>0.6992729185345967</c:v>
                </c:pt>
                <c:pt idx="4">
                  <c:v>1.4936866602498309</c:v>
                </c:pt>
                <c:pt idx="5">
                  <c:v>1.017530034415044</c:v>
                </c:pt>
                <c:pt idx="6">
                  <c:v>1.1638871851077492</c:v>
                </c:pt>
                <c:pt idx="7">
                  <c:v>1.2916268541220943</c:v>
                </c:pt>
                <c:pt idx="8">
                  <c:v>0.7636136662932905</c:v>
                </c:pt>
                <c:pt idx="9">
                  <c:v>0.6863662955465587</c:v>
                </c:pt>
                <c:pt idx="10">
                  <c:v>0.7330447836812316</c:v>
                </c:pt>
                <c:pt idx="11">
                  <c:v>1.245938319761189</c:v>
                </c:pt>
                <c:pt idx="12">
                  <c:v>1.1532792219274979</c:v>
                </c:pt>
                <c:pt idx="13">
                  <c:v>1.3087466945453892</c:v>
                </c:pt>
                <c:pt idx="14">
                  <c:v>0.9976113144374167</c:v>
                </c:pt>
                <c:pt idx="15">
                  <c:v>0.15222478538775175</c:v>
                </c:pt>
                <c:pt idx="16">
                  <c:v>1.9185083370600093</c:v>
                </c:pt>
                <c:pt idx="17">
                  <c:v>3.9568221070811744</c:v>
                </c:pt>
                <c:pt idx="18">
                  <c:v>1.5463760559599407</c:v>
                </c:pt>
                <c:pt idx="19">
                  <c:v>1.2335440040265506</c:v>
                </c:pt>
                <c:pt idx="20">
                  <c:v>1.2725790258628686</c:v>
                </c:pt>
                <c:pt idx="21">
                  <c:v>1.979994269684633</c:v>
                </c:pt>
                <c:pt idx="22">
                  <c:v>0.44916865059765304</c:v>
                </c:pt>
                <c:pt idx="23">
                  <c:v>1.6984582850649554</c:v>
                </c:pt>
                <c:pt idx="24">
                  <c:v>0.9005644041711277</c:v>
                </c:pt>
                <c:pt idx="25">
                  <c:v>1.0034529785400468</c:v>
                </c:pt>
                <c:pt idx="26">
                  <c:v>1.8171214348723783</c:v>
                </c:pt>
                <c:pt idx="27">
                  <c:v>1.0759600611924596</c:v>
                </c:pt>
                <c:pt idx="28">
                  <c:v>1.2692392419773653</c:v>
                </c:pt>
                <c:pt idx="29">
                  <c:v>1.2467404399452608</c:v>
                </c:pt>
                <c:pt idx="30">
                  <c:v>0.9208446683158384</c:v>
                </c:pt>
                <c:pt idx="31">
                  <c:v>0.9410369197250787</c:v>
                </c:pt>
                <c:pt idx="32">
                  <c:v>1.117316262595192</c:v>
                </c:pt>
                <c:pt idx="33">
                  <c:v>7.233449028463287</c:v>
                </c:pt>
                <c:pt idx="34">
                  <c:v>1.0752264869623975</c:v>
                </c:pt>
                <c:pt idx="35">
                  <c:v>8.138477041846144</c:v>
                </c:pt>
                <c:pt idx="36">
                  <c:v>1.6725820462440821</c:v>
                </c:pt>
                <c:pt idx="37">
                  <c:v>1.2331255084624027</c:v>
                </c:pt>
                <c:pt idx="38">
                  <c:v>1.796953714661407</c:v>
                </c:pt>
                <c:pt idx="39">
                  <c:v>0.7252057942386831</c:v>
                </c:pt>
                <c:pt idx="40">
                  <c:v>0.8070495214380883</c:v>
                </c:pt>
                <c:pt idx="41">
                  <c:v>0.921421952059358</c:v>
                </c:pt>
                <c:pt idx="42">
                  <c:v>1.106886282387479</c:v>
                </c:pt>
                <c:pt idx="43">
                  <c:v>0.4731753348427214</c:v>
                </c:pt>
                <c:pt idx="44">
                  <c:v>2.6940667304219996</c:v>
                </c:pt>
                <c:pt idx="45">
                  <c:v>1.8923323430891146</c:v>
                </c:pt>
                <c:pt idx="46">
                  <c:v>5.028618214445414</c:v>
                </c:pt>
                <c:pt idx="47">
                  <c:v>1.5892112769211233</c:v>
                </c:pt>
                <c:pt idx="48">
                  <c:v>1.3732433662188723</c:v>
                </c:pt>
                <c:pt idx="49">
                  <c:v>1.55105750203878</c:v>
                </c:pt>
                <c:pt idx="50">
                  <c:v>1.4137656193360286</c:v>
                </c:pt>
                <c:pt idx="51">
                  <c:v>0.9807304190512662</c:v>
                </c:pt>
                <c:pt idx="52">
                  <c:v>0.9894544033263948</c:v>
                </c:pt>
                <c:pt idx="53">
                  <c:v>1.003105865345091</c:v>
                </c:pt>
                <c:pt idx="54">
                  <c:v>1.3406816382658568</c:v>
                </c:pt>
                <c:pt idx="55">
                  <c:v>1.0772773717560367</c:v>
                </c:pt>
                <c:pt idx="56">
                  <c:v>0.4682103631280035</c:v>
                </c:pt>
                <c:pt idx="57">
                  <c:v>0.7268645699098658</c:v>
                </c:pt>
                <c:pt idx="58">
                  <c:v>0.7730056883121774</c:v>
                </c:pt>
                <c:pt idx="59">
                  <c:v>0.8825516106680547</c:v>
                </c:pt>
                <c:pt idx="60">
                  <c:v>1.5316670217067523</c:v>
                </c:pt>
              </c:numCache>
            </c:numRef>
          </c:xVal>
          <c:yVal>
            <c:numRef>
              <c:f>Sheet1!$B$2:$B$62</c:f>
              <c:numCache>
                <c:formatCode>General</c:formatCode>
                <c:ptCount val="61"/>
                <c:pt idx="0">
                  <c:v>0.01330671989354624</c:v>
                </c:pt>
                <c:pt idx="1">
                  <c:v>0.011824324324324325</c:v>
                </c:pt>
                <c:pt idx="2">
                  <c:v>0.23372781065088757</c:v>
                </c:pt>
                <c:pt idx="3">
                  <c:v>0.06280193236714976</c:v>
                </c:pt>
                <c:pt idx="4">
                  <c:v>0.05628517823639775</c:v>
                </c:pt>
                <c:pt idx="5">
                  <c:v>0.05263157894736842</c:v>
                </c:pt>
                <c:pt idx="6">
                  <c:v>0.0472972972972973</c:v>
                </c:pt>
                <c:pt idx="7">
                  <c:v>0.057803468208092484</c:v>
                </c:pt>
                <c:pt idx="8">
                  <c:v>0.04032258064516129</c:v>
                </c:pt>
                <c:pt idx="9">
                  <c:v>0.30078125</c:v>
                </c:pt>
                <c:pt idx="10">
                  <c:v>0.1978021978021978</c:v>
                </c:pt>
                <c:pt idx="11">
                  <c:v>0.12</c:v>
                </c:pt>
                <c:pt idx="12">
                  <c:v>0.2503871966959215</c:v>
                </c:pt>
                <c:pt idx="13">
                  <c:v>0.027649769585253458</c:v>
                </c:pt>
                <c:pt idx="14">
                  <c:v>0.016203703703703703</c:v>
                </c:pt>
                <c:pt idx="15">
                  <c:v>0.09876543209876543</c:v>
                </c:pt>
                <c:pt idx="16">
                  <c:v>0.029723991507430998</c:v>
                </c:pt>
                <c:pt idx="17">
                  <c:v>0.00392156862745098</c:v>
                </c:pt>
                <c:pt idx="18">
                  <c:v>0.04994192799070848</c:v>
                </c:pt>
                <c:pt idx="19">
                  <c:v>0.0863905325443787</c:v>
                </c:pt>
                <c:pt idx="20">
                  <c:v>0.0254841997961264</c:v>
                </c:pt>
                <c:pt idx="21">
                  <c:v>0.00949367088607595</c:v>
                </c:pt>
                <c:pt idx="22">
                  <c:v>0.07239819004524888</c:v>
                </c:pt>
                <c:pt idx="23">
                  <c:v>0.059961315280464215</c:v>
                </c:pt>
                <c:pt idx="24">
                  <c:v>0.00909090909090909</c:v>
                </c:pt>
                <c:pt idx="25">
                  <c:v>0.1600633914421553</c:v>
                </c:pt>
                <c:pt idx="26">
                  <c:v>0.04914744232698094</c:v>
                </c:pt>
                <c:pt idx="27">
                  <c:v>0.052489905787348586</c:v>
                </c:pt>
                <c:pt idx="28">
                  <c:v>0.006517690875232775</c:v>
                </c:pt>
                <c:pt idx="29">
                  <c:v>0.035246727089627394</c:v>
                </c:pt>
                <c:pt idx="30">
                  <c:v>0.19066666666666668</c:v>
                </c:pt>
                <c:pt idx="31">
                  <c:v>0.23780487804878048</c:v>
                </c:pt>
                <c:pt idx="32">
                  <c:v>0.026272577996715927</c:v>
                </c:pt>
                <c:pt idx="33">
                  <c:v>0.00228310502283105</c:v>
                </c:pt>
                <c:pt idx="34">
                  <c:v>0.07785888077858881</c:v>
                </c:pt>
                <c:pt idx="35">
                  <c:v>0.0016339869281045752</c:v>
                </c:pt>
                <c:pt idx="36">
                  <c:v>0.009510869565217392</c:v>
                </c:pt>
                <c:pt idx="37">
                  <c:v>0.01437125748502994</c:v>
                </c:pt>
                <c:pt idx="38">
                  <c:v>0.08888888888888889</c:v>
                </c:pt>
                <c:pt idx="39">
                  <c:v>0.11895910780669144</c:v>
                </c:pt>
                <c:pt idx="40">
                  <c:v>0.0730050933786078</c:v>
                </c:pt>
                <c:pt idx="41">
                  <c:v>0.02881844380403458</c:v>
                </c:pt>
                <c:pt idx="42">
                  <c:v>0.008915304606240713</c:v>
                </c:pt>
                <c:pt idx="43">
                  <c:v>0.016361886429258902</c:v>
                </c:pt>
                <c:pt idx="44">
                  <c:v>0.022494887525562373</c:v>
                </c:pt>
                <c:pt idx="45">
                  <c:v>0.02666666666666667</c:v>
                </c:pt>
                <c:pt idx="46">
                  <c:v>0.00975609756097561</c:v>
                </c:pt>
                <c:pt idx="47">
                  <c:v>0.2540045766590389</c:v>
                </c:pt>
                <c:pt idx="48">
                  <c:v>0.002621231979030144</c:v>
                </c:pt>
                <c:pt idx="49">
                  <c:v>0.15236686390532544</c:v>
                </c:pt>
                <c:pt idx="50">
                  <c:v>0.42081447963800905</c:v>
                </c:pt>
                <c:pt idx="51">
                  <c:v>0.030211480362537766</c:v>
                </c:pt>
                <c:pt idx="52">
                  <c:v>0.13602941176470587</c:v>
                </c:pt>
                <c:pt idx="53">
                  <c:v>0.008438818565400843</c:v>
                </c:pt>
                <c:pt idx="54">
                  <c:v>0.04391891891891892</c:v>
                </c:pt>
                <c:pt idx="55">
                  <c:v>0.026905829596412557</c:v>
                </c:pt>
                <c:pt idx="56">
                  <c:v>0.09256449165402124</c:v>
                </c:pt>
                <c:pt idx="57">
                  <c:v>0.025252525252525252</c:v>
                </c:pt>
                <c:pt idx="58">
                  <c:v>0.2010928961748634</c:v>
                </c:pt>
                <c:pt idx="59">
                  <c:v>0.05411255411255411</c:v>
                </c:pt>
                <c:pt idx="60">
                  <c:v>0.02278481012658228</c:v>
                </c:pt>
              </c:numCache>
            </c:numRef>
          </c:yVal>
          <c:smooth val="0"/>
          <c:extLst>
            <c:ext xmlns:c16="http://schemas.microsoft.com/office/drawing/2014/chart" uri="{C3380CC4-5D6E-409C-BE32-E72D297353CC}">
              <c16:uniqueId val="{00000000-096C-4121-9522-6AB7243CCAAE}"/>
            </c:ext>
          </c:extLst>
        </c:ser>
        <c:ser>
          <c:idx val="1"/>
          <c:order val="1"/>
          <c:tx>
            <c:strRef>
              <c:f>Sheet1!$B$6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5:$A$93</c:f>
              <c:numCache>
                <c:formatCode>General</c:formatCode>
                <c:ptCount val="29"/>
                <c:pt idx="0">
                  <c:v>0.9502077256065281</c:v>
                </c:pt>
                <c:pt idx="1">
                  <c:v>1.4614852837177605</c:v>
                </c:pt>
                <c:pt idx="2">
                  <c:v>0.6984404762385968</c:v>
                </c:pt>
                <c:pt idx="3">
                  <c:v>0.8673665083691386</c:v>
                </c:pt>
                <c:pt idx="4">
                  <c:v>1.6307292909332831</c:v>
                </c:pt>
                <c:pt idx="5">
                  <c:v>0.6626337739140092</c:v>
                </c:pt>
                <c:pt idx="6">
                  <c:v>0.7667952306544205</c:v>
                </c:pt>
                <c:pt idx="7">
                  <c:v>1.058179966036499</c:v>
                </c:pt>
                <c:pt idx="8">
                  <c:v>1.37851908615166</c:v>
                </c:pt>
                <c:pt idx="9">
                  <c:v>1.1031114562435207</c:v>
                </c:pt>
                <c:pt idx="10">
                  <c:v>0.731232932942467</c:v>
                </c:pt>
                <c:pt idx="11">
                  <c:v>0.9053016432378729</c:v>
                </c:pt>
                <c:pt idx="12">
                  <c:v>0.4962058254712875</c:v>
                </c:pt>
                <c:pt idx="13">
                  <c:v>1.0887508937954995</c:v>
                </c:pt>
                <c:pt idx="14">
                  <c:v>0.5837710511797026</c:v>
                </c:pt>
                <c:pt idx="15">
                  <c:v>0.8187452729980034</c:v>
                </c:pt>
                <c:pt idx="16">
                  <c:v>0.5525320802349688</c:v>
                </c:pt>
                <c:pt idx="17">
                  <c:v>0.7218019770515641</c:v>
                </c:pt>
                <c:pt idx="18">
                  <c:v>0.765700051902048</c:v>
                </c:pt>
                <c:pt idx="19">
                  <c:v>2.354404385930151</c:v>
                </c:pt>
                <c:pt idx="20">
                  <c:v>0.929755704959851</c:v>
                </c:pt>
                <c:pt idx="21">
                  <c:v>1.0955803010327025</c:v>
                </c:pt>
                <c:pt idx="22">
                  <c:v>1.361976058406226</c:v>
                </c:pt>
                <c:pt idx="23">
                  <c:v>0.8312084979497011</c:v>
                </c:pt>
                <c:pt idx="24">
                  <c:v>0.8633633757893148</c:v>
                </c:pt>
                <c:pt idx="25">
                  <c:v>0.629393441939201</c:v>
                </c:pt>
                <c:pt idx="26">
                  <c:v>0.9880907962945534</c:v>
                </c:pt>
                <c:pt idx="27">
                  <c:v>0.8357228565122964</c:v>
                </c:pt>
                <c:pt idx="28">
                  <c:v>0.8166097493187977</c:v>
                </c:pt>
              </c:numCache>
            </c:numRef>
          </c:xVal>
          <c:yVal>
            <c:numRef>
              <c:f>Sheet1!$B$65:$B$93</c:f>
              <c:numCache>
                <c:formatCode>General</c:formatCode>
                <c:ptCount val="29"/>
                <c:pt idx="0">
                  <c:v>0.08333333333333333</c:v>
                </c:pt>
                <c:pt idx="1">
                  <c:v>0.21608040201005024</c:v>
                </c:pt>
                <c:pt idx="2">
                  <c:v>0.024714828897338403</c:v>
                </c:pt>
                <c:pt idx="3">
                  <c:v>0.18594687232219365</c:v>
                </c:pt>
                <c:pt idx="4">
                  <c:v>0.006896551724137931</c:v>
                </c:pt>
                <c:pt idx="5">
                  <c:v>0.013333333333333334</c:v>
                </c:pt>
                <c:pt idx="6">
                  <c:v>0.013015184381778741</c:v>
                </c:pt>
                <c:pt idx="7">
                  <c:v>0.21666666666666667</c:v>
                </c:pt>
                <c:pt idx="8">
                  <c:v>0.020761245674740483</c:v>
                </c:pt>
                <c:pt idx="9">
                  <c:v>0.0380952380952381</c:v>
                </c:pt>
                <c:pt idx="10">
                  <c:v>0.06153846153846154</c:v>
                </c:pt>
                <c:pt idx="11">
                  <c:v>0.09719934102141681</c:v>
                </c:pt>
                <c:pt idx="12">
                  <c:v>0.1332518337408313</c:v>
                </c:pt>
                <c:pt idx="13">
                  <c:v>0.01090909090909091</c:v>
                </c:pt>
                <c:pt idx="14">
                  <c:v>0.03783102143757881</c:v>
                </c:pt>
                <c:pt idx="15">
                  <c:v>0.04588607594936709</c:v>
                </c:pt>
                <c:pt idx="16">
                  <c:v>0.0681265206812652</c:v>
                </c:pt>
                <c:pt idx="17">
                  <c:v>0.24915824915824916</c:v>
                </c:pt>
                <c:pt idx="18">
                  <c:v>0.026128266033254157</c:v>
                </c:pt>
                <c:pt idx="19">
                  <c:v>0.7531380753138075</c:v>
                </c:pt>
                <c:pt idx="20">
                  <c:v>0.12180746561886051</c:v>
                </c:pt>
                <c:pt idx="21">
                  <c:v>0.02127659574468085</c:v>
                </c:pt>
                <c:pt idx="22">
                  <c:v>0.10401459854014598</c:v>
                </c:pt>
                <c:pt idx="23">
                  <c:v>0.04664723032069971</c:v>
                </c:pt>
                <c:pt idx="24">
                  <c:v>0.22491349480968859</c:v>
                </c:pt>
                <c:pt idx="25">
                  <c:v>0.16913319238900634</c:v>
                </c:pt>
                <c:pt idx="26">
                  <c:v>0.01870503597122302</c:v>
                </c:pt>
                <c:pt idx="27">
                  <c:v>0.04660194174757282</c:v>
                </c:pt>
                <c:pt idx="28">
                  <c:v>0.1286549707602339</c:v>
                </c:pt>
              </c:numCache>
            </c:numRef>
          </c:yVal>
          <c:smooth val="0"/>
          <c:extLst>
            <c:ext xmlns:c16="http://schemas.microsoft.com/office/drawing/2014/chart" uri="{C3380CC4-5D6E-409C-BE32-E72D297353CC}">
              <c16:uniqueId val="{00000002-096C-4121-9522-6AB7243CCAAE}"/>
            </c:ext>
          </c:extLst>
        </c:ser>
        <c:ser>
          <c:idx val="2"/>
          <c:order val="2"/>
          <c:tx>
            <c:strRef>
              <c:f>Sheet1!$B$9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96:$A$97</c:f>
              <c:numCache>
                <c:formatCode>General</c:formatCode>
                <c:ptCount val="2"/>
                <c:pt idx="0">
                  <c:v>0</c:v>
                </c:pt>
                <c:pt idx="1">
                  <c:v>1.603342025606308</c:v>
                </c:pt>
              </c:numCache>
            </c:numRef>
          </c:xVal>
          <c:yVal>
            <c:numRef>
              <c:f>Sheet1!$B$96:$B$97</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5-096C-4121-9522-6AB7243CCAAE}"/>
            </c:ext>
          </c:extLst>
        </c:ser>
        <c:ser>
          <c:idx val="3"/>
          <c:order val="3"/>
          <c:tx>
            <c:strRef>
              <c:f>Sheet1!$B$9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0:$A$101</c:f>
              <c:numCache>
                <c:formatCode>General</c:formatCode>
                <c:ptCount val="2"/>
                <c:pt idx="0">
                  <c:v>1.603342025606308</c:v>
                </c:pt>
                <c:pt idx="1">
                  <c:v>1.603342025606308</c:v>
                </c:pt>
              </c:numCache>
            </c:numRef>
          </c:xVal>
          <c:yVal>
            <c:numRef>
              <c:f>Sheet1!$B$100:$B$101</c:f>
              <c:numCache>
                <c:formatCode>General</c:formatCode>
                <c:ptCount val="2"/>
                <c:pt idx="0">
                  <c:v>0.2491582491582491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04:$A$105</c:f>
              <c:numCache>
                <c:formatCode>General</c:formatCode>
                <c:ptCount val="2"/>
                <c:pt idx="0">
                  <c:v>0</c:v>
                </c:pt>
                <c:pt idx="1">
                  <c:v>1.603342025606308</c:v>
                </c:pt>
              </c:numCache>
            </c:numRef>
          </c:xVal>
          <c:yVal>
            <c:numRef>
              <c:f>Sheet1!$B$104:$B$105</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D-096C-4121-9522-6AB7243CCAAE}"/>
            </c:ext>
          </c:extLst>
        </c:ser>
        <c:ser>
          <c:idx val="5"/>
          <c:order val="5"/>
          <c:tx>
            <c:strRef>
              <c:f>Sheet1!$B$10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8:$A$109</c:f>
              <c:numCache>
                <c:formatCode>General</c:formatCode>
                <c:ptCount val="2"/>
                <c:pt idx="0">
                  <c:v>1.603342025606308</c:v>
                </c:pt>
                <c:pt idx="1">
                  <c:v>1.603342025606308</c:v>
                </c:pt>
              </c:numCache>
            </c:numRef>
          </c:xVal>
          <c:yVal>
            <c:numRef>
              <c:f>Sheet1!$B$108:$B$109</c:f>
              <c:numCache>
                <c:formatCode>General</c:formatCode>
                <c:ptCount val="2"/>
                <c:pt idx="0">
                  <c:v>0.2491582491582491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2:$A$113</c:f>
              <c:numCache>
                <c:formatCode>General</c:formatCode>
                <c:ptCount val="2"/>
                <c:pt idx="0">
                  <c:v>0</c:v>
                </c:pt>
                <c:pt idx="1">
                  <c:v>0.8958271129645706</c:v>
                </c:pt>
              </c:numCache>
            </c:numRef>
          </c:xVal>
          <c:yVal>
            <c:numRef>
              <c:f>Sheet1!$B$112:$B$113</c:f>
              <c:numCache>
                <c:formatCode>General</c:formatCode>
                <c:ptCount val="2"/>
                <c:pt idx="0">
                  <c:v>0.0949933825354064</c:v>
                </c:pt>
                <c:pt idx="1">
                  <c:v>0.0949933825354064</c:v>
                </c:pt>
              </c:numCache>
            </c:numRef>
          </c:yVal>
          <c:smooth val="0"/>
          <c:extLst>
            <c:ext xmlns:c16="http://schemas.microsoft.com/office/drawing/2014/chart" uri="{C3380CC4-5D6E-409C-BE32-E72D297353CC}">
              <c16:uniqueId val="{00000015-096C-4121-9522-6AB7243CCAAE}"/>
            </c:ext>
          </c:extLst>
        </c:ser>
        <c:ser>
          <c:idx val="7"/>
          <c:order val="7"/>
          <c:tx>
            <c:strRef>
              <c:f>Sheet1!$B$11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0.8958271129645706</c:v>
                </c:pt>
                <c:pt idx="1">
                  <c:v>0.8958271129645706</c:v>
                </c:pt>
              </c:numCache>
            </c:numRef>
          </c:xVal>
          <c:yVal>
            <c:numRef>
              <c:f>Sheet1!$B$116:$B$117</c:f>
              <c:numCache>
                <c:formatCode>General</c:formatCode>
                <c:ptCount val="2"/>
                <c:pt idx="0">
                  <c:v>0.09499338253540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1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0:$A$151</c:f>
              <c:numCache>
                <c:formatCode>General</c:formatCode>
                <c:ptCount val="32"/>
                <c:pt idx="0">
                  <c:v>0.9502077256065281</c:v>
                </c:pt>
                <c:pt idx="1">
                  <c:v>1.4614852837177605</c:v>
                </c:pt>
                <c:pt idx="2">
                  <c:v>0.6984404762385968</c:v>
                </c:pt>
                <c:pt idx="3">
                  <c:v>0.8673665083691386</c:v>
                </c:pt>
                <c:pt idx="4">
                  <c:v>1.6307292909332831</c:v>
                </c:pt>
                <c:pt idx="5">
                  <c:v>0.6626337739140092</c:v>
                </c:pt>
                <c:pt idx="6">
                  <c:v>0.7667952306544205</c:v>
                </c:pt>
                <c:pt idx="7">
                  <c:v>1.058179966036499</c:v>
                </c:pt>
                <c:pt idx="8">
                  <c:v>1.37851908615166</c:v>
                </c:pt>
                <c:pt idx="9">
                  <c:v>1.1031114562435207</c:v>
                </c:pt>
                <c:pt idx="10">
                  <c:v>0.731232932942467</c:v>
                </c:pt>
                <c:pt idx="11">
                  <c:v>0.9053016432378729</c:v>
                </c:pt>
                <c:pt idx="12">
                  <c:v>0.4962058254712875</c:v>
                </c:pt>
                <c:pt idx="13">
                  <c:v>1.0887508937954995</c:v>
                </c:pt>
                <c:pt idx="14">
                  <c:v>0.5837710511797026</c:v>
                </c:pt>
                <c:pt idx="15">
                  <c:v>0.8187452729980034</c:v>
                </c:pt>
                <c:pt idx="16">
                  <c:v>0.5525320802349688</c:v>
                </c:pt>
                <c:pt idx="17">
                  <c:v>0.7218019770515641</c:v>
                </c:pt>
                <c:pt idx="18">
                  <c:v>0.765700051902048</c:v>
                </c:pt>
                <c:pt idx="19">
                  <c:v>2.354404385930151</c:v>
                </c:pt>
                <c:pt idx="20">
                  <c:v>0.929755704959851</c:v>
                </c:pt>
                <c:pt idx="21">
                  <c:v>1.0955803010327025</c:v>
                </c:pt>
                <c:pt idx="22">
                  <c:v>1.361976058406226</c:v>
                </c:pt>
                <c:pt idx="23">
                  <c:v>0.8312084979497011</c:v>
                </c:pt>
                <c:pt idx="24">
                  <c:v>0.8633633757893148</c:v>
                </c:pt>
                <c:pt idx="25">
                  <c:v>0.629393441939201</c:v>
                </c:pt>
                <c:pt idx="26">
                  <c:v>0.9880907962945534</c:v>
                </c:pt>
                <c:pt idx="27">
                  <c:v>0.8357228565122964</c:v>
                </c:pt>
                <c:pt idx="28">
                  <c:v>0.8166097493187977</c:v>
                </c:pt>
                <c:pt idx="29">
                  <c:v>1.603342025606308</c:v>
                </c:pt>
                <c:pt idx="30">
                  <c:v>1.603342025606308</c:v>
                </c:pt>
                <c:pt idx="31">
                  <c:v>0.8958271129645706</c:v>
                </c:pt>
              </c:numCache>
            </c:numRef>
          </c:xVal>
          <c:yVal>
            <c:numRef>
              <c:f>Sheet1!$B$120:$B$151</c:f>
              <c:numCache>
                <c:formatCode>General</c:formatCode>
                <c:ptCount val="32"/>
                <c:pt idx="0">
                  <c:v>0.10684271566608632</c:v>
                </c:pt>
                <c:pt idx="1">
                  <c:v>0.21824819298552106</c:v>
                </c:pt>
                <c:pt idx="2">
                  <c:v>0.05198356891837512</c:v>
                </c:pt>
                <c:pt idx="3">
                  <c:v>0.08879192270316395</c:v>
                </c:pt>
                <c:pt idx="4">
                  <c:v>0.2551258323580615</c:v>
                </c:pt>
                <c:pt idx="5">
                  <c:v>0.044181421727635825</c:v>
                </c:pt>
                <c:pt idx="6">
                  <c:v>0.06687781554026744</c:v>
                </c:pt>
                <c:pt idx="7">
                  <c:v>0.13036946506378377</c:v>
                </c:pt>
                <c:pt idx="8">
                  <c:v>0.20017016727405595</c:v>
                </c:pt>
                <c:pt idx="9">
                  <c:v>0.14015986957846377</c:v>
                </c:pt>
                <c:pt idx="10">
                  <c:v>0.05912892320512979</c:v>
                </c:pt>
                <c:pt idx="11">
                  <c:v>0.0970578474248374</c:v>
                </c:pt>
                <c:pt idx="12">
                  <c:v>0.007917391082422273</c:v>
                </c:pt>
                <c:pt idx="13">
                  <c:v>0.13703075646032198</c:v>
                </c:pt>
                <c:pt idx="14">
                  <c:v>0.026997527911951744</c:v>
                </c:pt>
                <c:pt idx="15">
                  <c:v>0.07819753644769785</c:v>
                </c:pt>
                <c:pt idx="16">
                  <c:v>0.020190672391199788</c:v>
                </c:pt>
                <c:pt idx="17">
                  <c:v>0.05707395301147229</c:v>
                </c:pt>
                <c:pt idx="18">
                  <c:v>0.06663918016556238</c:v>
                </c:pt>
                <c:pt idx="19">
                  <c:v>0.41281194257996484</c:v>
                </c:pt>
                <c:pt idx="20">
                  <c:v>0.10238629647431279</c:v>
                </c:pt>
                <c:pt idx="21">
                  <c:v>0.1385188588833583</c:v>
                </c:pt>
                <c:pt idx="22">
                  <c:v>0.1965655030891128</c:v>
                </c:pt>
                <c:pt idx="23">
                  <c:v>0.08091322678586306</c:v>
                </c:pt>
                <c:pt idx="24">
                  <c:v>0.08791965501068834</c:v>
                </c:pt>
                <c:pt idx="25">
                  <c:v>0.03693847708600083</c:v>
                </c:pt>
                <c:pt idx="26">
                  <c:v>0.11509729579652726</c:v>
                </c:pt>
                <c:pt idx="27">
                  <c:v>0.08189688871758351</c:v>
                </c:pt>
                <c:pt idx="28">
                  <c:v>0.07773221378482224</c:v>
                </c:pt>
                <c:pt idx="29">
                  <c:v>0.2491582491582492</c:v>
                </c:pt>
                <c:pt idx="30">
                  <c:v>0.2491582491582492</c:v>
                </c:pt>
                <c:pt idx="31">
                  <c:v>0.094993382535406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765690376569"/>
          <c:min val="0.001307189542483660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2</c:f>
              <c:numCache>
                <c:formatCode>General</c:formatCode>
                <c:ptCount val="61"/>
                <c:pt idx="0">
                  <c:v>629.85</c:v>
                </c:pt>
                <c:pt idx="1">
                  <c:v>599.8571</c:v>
                </c:pt>
                <c:pt idx="2">
                  <c:v>1419.8861</c:v>
                </c:pt>
                <c:pt idx="3">
                  <c:v>646.0</c:v>
                </c:pt>
                <c:pt idx="4">
                  <c:v>1810.5333</c:v>
                </c:pt>
                <c:pt idx="5">
                  <c:v>1285.6667</c:v>
                </c:pt>
                <c:pt idx="6">
                  <c:v>1517.2857</c:v>
                </c:pt>
                <c:pt idx="7">
                  <c:v>1697.7</c:v>
                </c:pt>
                <c:pt idx="8">
                  <c:v>714.0333</c:v>
                </c:pt>
                <c:pt idx="9">
                  <c:v>678.1299</c:v>
                </c:pt>
                <c:pt idx="10">
                  <c:v>925.4167</c:v>
                </c:pt>
                <c:pt idx="11">
                  <c:v>925.4167</c:v>
                </c:pt>
                <c:pt idx="12">
                  <c:v>1304.3588</c:v>
                </c:pt>
                <c:pt idx="13">
                  <c:v>1524.5</c:v>
                </c:pt>
                <c:pt idx="14">
                  <c:v>1269.0</c:v>
                </c:pt>
                <c:pt idx="15">
                  <c:v>146.375</c:v>
                </c:pt>
                <c:pt idx="16">
                  <c:v>1773.0714</c:v>
                </c:pt>
                <c:pt idx="17">
                  <c:v>3436.5</c:v>
                </c:pt>
                <c:pt idx="18">
                  <c:v>1546.7093</c:v>
                </c:pt>
                <c:pt idx="19">
                  <c:v>1180.3151</c:v>
                </c:pt>
                <c:pt idx="20">
                  <c:v>1639.58</c:v>
                </c:pt>
                <c:pt idx="21">
                  <c:v>2228.6667</c:v>
                </c:pt>
                <c:pt idx="22">
                  <c:v>800.7321</c:v>
                </c:pt>
                <c:pt idx="23">
                  <c:v>1505.4516</c:v>
                </c:pt>
                <c:pt idx="24">
                  <c:v>984.4545</c:v>
                </c:pt>
                <c:pt idx="25">
                  <c:v>873.5297</c:v>
                </c:pt>
                <c:pt idx="26">
                  <c:v>1894.9184</c:v>
                </c:pt>
                <c:pt idx="27">
                  <c:v>1117.3077</c:v>
                </c:pt>
                <c:pt idx="28">
                  <c:v>1129.8571</c:v>
                </c:pt>
                <c:pt idx="29">
                  <c:v>1160.4857</c:v>
                </c:pt>
                <c:pt idx="30">
                  <c:v>1310.4895</c:v>
                </c:pt>
                <c:pt idx="31">
                  <c:v>1116.6154</c:v>
                </c:pt>
                <c:pt idx="32">
                  <c:v>1335.625</c:v>
                </c:pt>
                <c:pt idx="33">
                  <c:v>7344.0</c:v>
                </c:pt>
                <c:pt idx="34">
                  <c:v>1130.75</c:v>
                </c:pt>
                <c:pt idx="35">
                  <c:v>7044.0</c:v>
                </c:pt>
                <c:pt idx="36">
                  <c:v>2083.1429</c:v>
                </c:pt>
                <c:pt idx="37">
                  <c:v>1374.3333</c:v>
                </c:pt>
                <c:pt idx="38">
                  <c:v>1366.5833</c:v>
                </c:pt>
                <c:pt idx="39">
                  <c:v>1101.4063</c:v>
                </c:pt>
                <c:pt idx="40">
                  <c:v>1129.0233</c:v>
                </c:pt>
                <c:pt idx="41">
                  <c:v>1097.4</c:v>
                </c:pt>
                <c:pt idx="42">
                  <c:v>1214.0</c:v>
                </c:pt>
                <c:pt idx="43">
                  <c:v>1160.4706</c:v>
                </c:pt>
                <c:pt idx="44">
                  <c:v>2249.7273</c:v>
                </c:pt>
                <c:pt idx="45">
                  <c:v>1615.8571</c:v>
                </c:pt>
                <c:pt idx="46">
                  <c:v>4285.75</c:v>
                </c:pt>
                <c:pt idx="47">
                  <c:v>1443.1216</c:v>
                </c:pt>
                <c:pt idx="48">
                  <c:v>2792.0</c:v>
                </c:pt>
                <c:pt idx="49">
                  <c:v>1790.6796</c:v>
                </c:pt>
                <c:pt idx="50">
                  <c:v>1830.7097</c:v>
                </c:pt>
                <c:pt idx="51">
                  <c:v>1145.8</c:v>
                </c:pt>
                <c:pt idx="52">
                  <c:v>1147.036</c:v>
                </c:pt>
                <c:pt idx="53">
                  <c:v>1141.8333</c:v>
                </c:pt>
                <c:pt idx="54">
                  <c:v>1423.6154</c:v>
                </c:pt>
                <c:pt idx="55">
                  <c:v>1112.6111</c:v>
                </c:pt>
                <c:pt idx="56">
                  <c:v>597.5082</c:v>
                </c:pt>
                <c:pt idx="57">
                  <c:v>1016.7</c:v>
                </c:pt>
                <c:pt idx="58">
                  <c:v>796.3098</c:v>
                </c:pt>
                <c:pt idx="59">
                  <c:v>1397.76</c:v>
                </c:pt>
                <c:pt idx="60">
                  <c:v>1729.2222</c:v>
                </c:pt>
              </c:numCache>
            </c:numRef>
          </c:xVal>
          <c:yVal>
            <c:numRef>
              <c:f>Sheet1!$B$2:$B$62</c:f>
              <c:numCache>
                <c:formatCode>General</c:formatCode>
                <c:ptCount val="61"/>
                <c:pt idx="0">
                  <c:v>0.01330671989354624</c:v>
                </c:pt>
                <c:pt idx="1">
                  <c:v>0.011824324324324325</c:v>
                </c:pt>
                <c:pt idx="2">
                  <c:v>0.23372781065088757</c:v>
                </c:pt>
                <c:pt idx="3">
                  <c:v>0.06280193236714976</c:v>
                </c:pt>
                <c:pt idx="4">
                  <c:v>0.05628517823639775</c:v>
                </c:pt>
                <c:pt idx="5">
                  <c:v>0.05263157894736842</c:v>
                </c:pt>
                <c:pt idx="6">
                  <c:v>0.0472972972972973</c:v>
                </c:pt>
                <c:pt idx="7">
                  <c:v>0.057803468208092484</c:v>
                </c:pt>
                <c:pt idx="8">
                  <c:v>0.04032258064516129</c:v>
                </c:pt>
                <c:pt idx="9">
                  <c:v>0.30078125</c:v>
                </c:pt>
                <c:pt idx="10">
                  <c:v>0.1978021978021978</c:v>
                </c:pt>
                <c:pt idx="11">
                  <c:v>0.12</c:v>
                </c:pt>
                <c:pt idx="12">
                  <c:v>0.2503871966959215</c:v>
                </c:pt>
                <c:pt idx="13">
                  <c:v>0.027649769585253458</c:v>
                </c:pt>
                <c:pt idx="14">
                  <c:v>0.016203703703703703</c:v>
                </c:pt>
                <c:pt idx="15">
                  <c:v>0.09876543209876543</c:v>
                </c:pt>
                <c:pt idx="16">
                  <c:v>0.029723991507430998</c:v>
                </c:pt>
                <c:pt idx="17">
                  <c:v>0.00392156862745098</c:v>
                </c:pt>
                <c:pt idx="18">
                  <c:v>0.04994192799070848</c:v>
                </c:pt>
                <c:pt idx="19">
                  <c:v>0.0863905325443787</c:v>
                </c:pt>
                <c:pt idx="20">
                  <c:v>0.0254841997961264</c:v>
                </c:pt>
                <c:pt idx="21">
                  <c:v>0.00949367088607595</c:v>
                </c:pt>
                <c:pt idx="22">
                  <c:v>0.07239819004524888</c:v>
                </c:pt>
                <c:pt idx="23">
                  <c:v>0.059961315280464215</c:v>
                </c:pt>
                <c:pt idx="24">
                  <c:v>0.00909090909090909</c:v>
                </c:pt>
                <c:pt idx="25">
                  <c:v>0.1600633914421553</c:v>
                </c:pt>
                <c:pt idx="26">
                  <c:v>0.04914744232698094</c:v>
                </c:pt>
                <c:pt idx="27">
                  <c:v>0.052489905787348586</c:v>
                </c:pt>
                <c:pt idx="28">
                  <c:v>0.006517690875232775</c:v>
                </c:pt>
                <c:pt idx="29">
                  <c:v>0.035246727089627394</c:v>
                </c:pt>
                <c:pt idx="30">
                  <c:v>0.19066666666666668</c:v>
                </c:pt>
                <c:pt idx="31">
                  <c:v>0.23780487804878048</c:v>
                </c:pt>
                <c:pt idx="32">
                  <c:v>0.026272577996715927</c:v>
                </c:pt>
                <c:pt idx="33">
                  <c:v>0.00228310502283105</c:v>
                </c:pt>
                <c:pt idx="34">
                  <c:v>0.07785888077858881</c:v>
                </c:pt>
                <c:pt idx="35">
                  <c:v>0.0016339869281045752</c:v>
                </c:pt>
                <c:pt idx="36">
                  <c:v>0.009510869565217392</c:v>
                </c:pt>
                <c:pt idx="37">
                  <c:v>0.01437125748502994</c:v>
                </c:pt>
                <c:pt idx="38">
                  <c:v>0.08888888888888889</c:v>
                </c:pt>
                <c:pt idx="39">
                  <c:v>0.11895910780669144</c:v>
                </c:pt>
                <c:pt idx="40">
                  <c:v>0.0730050933786078</c:v>
                </c:pt>
                <c:pt idx="41">
                  <c:v>0.02881844380403458</c:v>
                </c:pt>
                <c:pt idx="42">
                  <c:v>0.008915304606240713</c:v>
                </c:pt>
                <c:pt idx="43">
                  <c:v>0.016361886429258902</c:v>
                </c:pt>
                <c:pt idx="44">
                  <c:v>0.022494887525562373</c:v>
                </c:pt>
                <c:pt idx="45">
                  <c:v>0.02666666666666667</c:v>
                </c:pt>
                <c:pt idx="46">
                  <c:v>0.00975609756097561</c:v>
                </c:pt>
                <c:pt idx="47">
                  <c:v>0.2540045766590389</c:v>
                </c:pt>
                <c:pt idx="48">
                  <c:v>0.002621231979030144</c:v>
                </c:pt>
                <c:pt idx="49">
                  <c:v>0.15236686390532544</c:v>
                </c:pt>
                <c:pt idx="50">
                  <c:v>0.42081447963800905</c:v>
                </c:pt>
                <c:pt idx="51">
                  <c:v>0.030211480362537766</c:v>
                </c:pt>
                <c:pt idx="52">
                  <c:v>0.13602941176470587</c:v>
                </c:pt>
                <c:pt idx="53">
                  <c:v>0.008438818565400843</c:v>
                </c:pt>
                <c:pt idx="54">
                  <c:v>0.04391891891891892</c:v>
                </c:pt>
                <c:pt idx="55">
                  <c:v>0.026905829596412557</c:v>
                </c:pt>
                <c:pt idx="56">
                  <c:v>0.09256449165402124</c:v>
                </c:pt>
                <c:pt idx="57">
                  <c:v>0.025252525252525252</c:v>
                </c:pt>
                <c:pt idx="58">
                  <c:v>0.2010928961748634</c:v>
                </c:pt>
                <c:pt idx="59">
                  <c:v>0.05411255411255411</c:v>
                </c:pt>
                <c:pt idx="60">
                  <c:v>0.02278481012658228</c:v>
                </c:pt>
              </c:numCache>
            </c:numRef>
          </c:yVal>
          <c:smooth val="0"/>
          <c:extLst>
            <c:ext xmlns:c16="http://schemas.microsoft.com/office/drawing/2014/chart" uri="{C3380CC4-5D6E-409C-BE32-E72D297353CC}">
              <c16:uniqueId val="{00000000-F32D-48B7-BC20-E66FC6253BAD}"/>
            </c:ext>
          </c:extLst>
        </c:ser>
        <c:ser>
          <c:idx val="1"/>
          <c:order val="1"/>
          <c:tx>
            <c:strRef>
              <c:f>Sheet1!$B$6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5:$A$93</c:f>
              <c:numCache>
                <c:formatCode>General</c:formatCode>
                <c:ptCount val="29"/>
                <c:pt idx="0">
                  <c:v>1247.0568</c:v>
                </c:pt>
                <c:pt idx="1">
                  <c:v>1592.1105</c:v>
                </c:pt>
                <c:pt idx="2">
                  <c:v>881.2308</c:v>
                </c:pt>
                <c:pt idx="3">
                  <c:v>1093.129</c:v>
                </c:pt>
                <c:pt idx="4">
                  <c:v>2398.3333</c:v>
                </c:pt>
                <c:pt idx="5">
                  <c:v>737.4167</c:v>
                </c:pt>
                <c:pt idx="6">
                  <c:v>825.5</c:v>
                </c:pt>
                <c:pt idx="7">
                  <c:v>1034.2051</c:v>
                </c:pt>
                <c:pt idx="8">
                  <c:v>2360.0</c:v>
                </c:pt>
                <c:pt idx="9">
                  <c:v>1066.5357</c:v>
                </c:pt>
                <c:pt idx="10">
                  <c:v>768.5</c:v>
                </c:pt>
                <c:pt idx="11">
                  <c:v>1055.8983</c:v>
                </c:pt>
                <c:pt idx="12">
                  <c:v>838.0183</c:v>
                </c:pt>
                <c:pt idx="13">
                  <c:v>1452.0</c:v>
                </c:pt>
                <c:pt idx="14">
                  <c:v>792.7333</c:v>
                </c:pt>
                <c:pt idx="15">
                  <c:v>817.9655</c:v>
                </c:pt>
                <c:pt idx="16">
                  <c:v>774.6071</c:v>
                </c:pt>
                <c:pt idx="17">
                  <c:v>1034.3514</c:v>
                </c:pt>
                <c:pt idx="18">
                  <c:v>723.1818</c:v>
                </c:pt>
                <c:pt idx="19">
                  <c:v>1057.5556</c:v>
                </c:pt>
                <c:pt idx="20">
                  <c:v>1033.2258</c:v>
                </c:pt>
                <c:pt idx="21">
                  <c:v>1345.6923</c:v>
                </c:pt>
                <c:pt idx="22">
                  <c:v>1133.7895</c:v>
                </c:pt>
                <c:pt idx="23">
                  <c:v>907.75</c:v>
                </c:pt>
                <c:pt idx="24">
                  <c:v>1001.5231</c:v>
                </c:pt>
                <c:pt idx="25">
                  <c:v>1051.7875</c:v>
                </c:pt>
                <c:pt idx="26">
                  <c:v>973.2308</c:v>
                </c:pt>
                <c:pt idx="27">
                  <c:v>1008.7917</c:v>
                </c:pt>
                <c:pt idx="28">
                  <c:v>1067.1515</c:v>
                </c:pt>
              </c:numCache>
            </c:numRef>
          </c:xVal>
          <c:yVal>
            <c:numRef>
              <c:f>Sheet1!$B$65:$B$93</c:f>
              <c:numCache>
                <c:formatCode>General</c:formatCode>
                <c:ptCount val="29"/>
                <c:pt idx="0">
                  <c:v>0.08333333333333333</c:v>
                </c:pt>
                <c:pt idx="1">
                  <c:v>0.21608040201005024</c:v>
                </c:pt>
                <c:pt idx="2">
                  <c:v>0.024714828897338403</c:v>
                </c:pt>
                <c:pt idx="3">
                  <c:v>0.18594687232219365</c:v>
                </c:pt>
                <c:pt idx="4">
                  <c:v>0.006896551724137931</c:v>
                </c:pt>
                <c:pt idx="5">
                  <c:v>0.013333333333333334</c:v>
                </c:pt>
                <c:pt idx="6">
                  <c:v>0.013015184381778741</c:v>
                </c:pt>
                <c:pt idx="7">
                  <c:v>0.21666666666666667</c:v>
                </c:pt>
                <c:pt idx="8">
                  <c:v>0.020761245674740483</c:v>
                </c:pt>
                <c:pt idx="9">
                  <c:v>0.0380952380952381</c:v>
                </c:pt>
                <c:pt idx="10">
                  <c:v>0.06153846153846154</c:v>
                </c:pt>
                <c:pt idx="11">
                  <c:v>0.09719934102141681</c:v>
                </c:pt>
                <c:pt idx="12">
                  <c:v>0.1332518337408313</c:v>
                </c:pt>
                <c:pt idx="13">
                  <c:v>0.01090909090909091</c:v>
                </c:pt>
                <c:pt idx="14">
                  <c:v>0.03783102143757881</c:v>
                </c:pt>
                <c:pt idx="15">
                  <c:v>0.04588607594936709</c:v>
                </c:pt>
                <c:pt idx="16">
                  <c:v>0.0681265206812652</c:v>
                </c:pt>
                <c:pt idx="17">
                  <c:v>0.24915824915824916</c:v>
                </c:pt>
                <c:pt idx="18">
                  <c:v>0.026128266033254157</c:v>
                </c:pt>
                <c:pt idx="19">
                  <c:v>0.7531380753138075</c:v>
                </c:pt>
                <c:pt idx="20">
                  <c:v>0.12180746561886051</c:v>
                </c:pt>
                <c:pt idx="21">
                  <c:v>0.02127659574468085</c:v>
                </c:pt>
                <c:pt idx="22">
                  <c:v>0.10401459854014598</c:v>
                </c:pt>
                <c:pt idx="23">
                  <c:v>0.04664723032069971</c:v>
                </c:pt>
                <c:pt idx="24">
                  <c:v>0.22491349480968859</c:v>
                </c:pt>
                <c:pt idx="25">
                  <c:v>0.16913319238900634</c:v>
                </c:pt>
                <c:pt idx="26">
                  <c:v>0.01870503597122302</c:v>
                </c:pt>
                <c:pt idx="27">
                  <c:v>0.04660194174757282</c:v>
                </c:pt>
                <c:pt idx="28">
                  <c:v>0.1286549707602339</c:v>
                </c:pt>
              </c:numCache>
            </c:numRef>
          </c:yVal>
          <c:smooth val="0"/>
          <c:extLst>
            <c:ext xmlns:c16="http://schemas.microsoft.com/office/drawing/2014/chart" uri="{C3380CC4-5D6E-409C-BE32-E72D297353CC}">
              <c16:uniqueId val="{00000002-F32D-48B7-BC20-E66FC6253BAD}"/>
            </c:ext>
          </c:extLst>
        </c:ser>
        <c:ser>
          <c:idx val="2"/>
          <c:order val="2"/>
          <c:tx>
            <c:strRef>
              <c:f>Sheet1!$B$95</c:f>
              <c:strCache>
                <c:ptCount val="1"/>
                <c:pt idx="0">
                  <c:v>Custom Linep3yQ</c:v>
                </c:pt>
              </c:strCache>
            </c:strRef>
          </c:tx>
          <c:spPr>
            <a:ln w="19050" cap="rnd">
              <a:solidFill>
                <a:srgbClr val="C00000"/>
              </a:solidFill>
              <a:prstDash val="sysDot"/>
              <a:round/>
            </a:ln>
            <a:effectLst/>
          </c:spPr>
          <c:marker>
            <c:symbol val="none"/>
          </c:marker>
          <c:xVal>
            <c:numRef>
              <c:f>Sheet1!$A$96:$A$97</c:f>
              <c:numCache>
                <c:formatCode>General</c:formatCode>
                <c:ptCount val="2"/>
                <c:pt idx="0">
                  <c:v>0</c:v>
                </c:pt>
                <c:pt idx="1">
                  <c:v>-5026.555037051931</c:v>
                </c:pt>
              </c:numCache>
            </c:numRef>
          </c:xVal>
          <c:yVal>
            <c:numRef>
              <c:f>Sheet1!$B$96:$B$97</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3-F32D-48B7-BC20-E66FC6253BAD}"/>
            </c:ext>
          </c:extLst>
        </c:ser>
        <c:ser>
          <c:idx val="3"/>
          <c:order val="3"/>
          <c:tx>
            <c:strRef>
              <c:f>Sheet1!$B$9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0:$A$101</c:f>
              <c:numCache>
                <c:formatCode>General</c:formatCode>
                <c:ptCount val="2"/>
                <c:pt idx="0">
                  <c:v>-5026.555037051931</c:v>
                </c:pt>
                <c:pt idx="1">
                  <c:v>-5026.555037051931</c:v>
                </c:pt>
              </c:numCache>
            </c:numRef>
          </c:xVal>
          <c:yVal>
            <c:numRef>
              <c:f>Sheet1!$B$100:$B$101</c:f>
              <c:numCache>
                <c:formatCode>General</c:formatCode>
                <c:ptCount val="2"/>
                <c:pt idx="0">
                  <c:v>0.2491582491582491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04:$A$105</c:f>
              <c:numCache>
                <c:formatCode>General</c:formatCode>
                <c:ptCount val="2"/>
                <c:pt idx="0">
                  <c:v>0</c:v>
                </c:pt>
                <c:pt idx="1">
                  <c:v>-5026.555037051931</c:v>
                </c:pt>
              </c:numCache>
            </c:numRef>
          </c:xVal>
          <c:yVal>
            <c:numRef>
              <c:f>Sheet1!$B$104:$B$105</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A-F32D-48B7-BC20-E66FC6253BAD}"/>
            </c:ext>
          </c:extLst>
        </c:ser>
        <c:ser>
          <c:idx val="5"/>
          <c:order val="5"/>
          <c:tx>
            <c:strRef>
              <c:f>Sheet1!$B$10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8:$A$109</c:f>
              <c:numCache>
                <c:formatCode>General</c:formatCode>
                <c:ptCount val="2"/>
                <c:pt idx="0">
                  <c:v>-5026.555037051931</c:v>
                </c:pt>
                <c:pt idx="1">
                  <c:v>-5026.555037051931</c:v>
                </c:pt>
              </c:numCache>
            </c:numRef>
          </c:xVal>
          <c:yVal>
            <c:numRef>
              <c:f>Sheet1!$B$108:$B$109</c:f>
              <c:numCache>
                <c:formatCode>General</c:formatCode>
                <c:ptCount val="2"/>
                <c:pt idx="0">
                  <c:v>0.2491582491582491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2:$A$113</c:f>
              <c:numCache>
                <c:formatCode>General</c:formatCode>
                <c:ptCount val="2"/>
                <c:pt idx="0">
                  <c:v>0</c:v>
                </c:pt>
                <c:pt idx="1">
                  <c:v>1756.8175930995599</c:v>
                </c:pt>
              </c:numCache>
            </c:numRef>
          </c:xVal>
          <c:yVal>
            <c:numRef>
              <c:f>Sheet1!$B$112:$B$113</c:f>
              <c:numCache>
                <c:formatCode>General</c:formatCode>
                <c:ptCount val="2"/>
                <c:pt idx="0">
                  <c:v>0.0949933825354064</c:v>
                </c:pt>
                <c:pt idx="1">
                  <c:v>0.0949933825354064</c:v>
                </c:pt>
              </c:numCache>
            </c:numRef>
          </c:yVal>
          <c:smooth val="0"/>
          <c:extLst>
            <c:ext xmlns:c16="http://schemas.microsoft.com/office/drawing/2014/chart" uri="{C3380CC4-5D6E-409C-BE32-E72D297353CC}">
              <c16:uniqueId val="{00000011-F32D-48B7-BC20-E66FC6253BAD}"/>
            </c:ext>
          </c:extLst>
        </c:ser>
        <c:ser>
          <c:idx val="7"/>
          <c:order val="7"/>
          <c:tx>
            <c:strRef>
              <c:f>Sheet1!$B$11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1756.8175930995599</c:v>
                </c:pt>
                <c:pt idx="1">
                  <c:v>1756.8175930995599</c:v>
                </c:pt>
              </c:numCache>
            </c:numRef>
          </c:xVal>
          <c:yVal>
            <c:numRef>
              <c:f>Sheet1!$B$116:$B$117</c:f>
              <c:numCache>
                <c:formatCode>General</c:formatCode>
                <c:ptCount val="2"/>
                <c:pt idx="0">
                  <c:v>0.09499338253540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1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0:$A$151</c:f>
              <c:numCache>
                <c:formatCode>General</c:formatCode>
                <c:ptCount val="32"/>
                <c:pt idx="0">
                  <c:v>1247.0568</c:v>
                </c:pt>
                <c:pt idx="1">
                  <c:v>1592.1105</c:v>
                </c:pt>
                <c:pt idx="2">
                  <c:v>881.2308</c:v>
                </c:pt>
                <c:pt idx="3">
                  <c:v>1093.129</c:v>
                </c:pt>
                <c:pt idx="4">
                  <c:v>2398.3333</c:v>
                </c:pt>
                <c:pt idx="5">
                  <c:v>737.4167</c:v>
                </c:pt>
                <c:pt idx="6">
                  <c:v>825.5</c:v>
                </c:pt>
                <c:pt idx="7">
                  <c:v>1034.2051</c:v>
                </c:pt>
                <c:pt idx="8">
                  <c:v>2360.0</c:v>
                </c:pt>
                <c:pt idx="9">
                  <c:v>1066.5357</c:v>
                </c:pt>
                <c:pt idx="10">
                  <c:v>768.5</c:v>
                </c:pt>
                <c:pt idx="11">
                  <c:v>1055.8983</c:v>
                </c:pt>
                <c:pt idx="12">
                  <c:v>838.0183</c:v>
                </c:pt>
                <c:pt idx="13">
                  <c:v>1452.0</c:v>
                </c:pt>
                <c:pt idx="14">
                  <c:v>792.7333</c:v>
                </c:pt>
                <c:pt idx="15">
                  <c:v>817.9655</c:v>
                </c:pt>
                <c:pt idx="16">
                  <c:v>774.6071</c:v>
                </c:pt>
                <c:pt idx="17">
                  <c:v>1034.3514</c:v>
                </c:pt>
                <c:pt idx="18">
                  <c:v>723.1818</c:v>
                </c:pt>
                <c:pt idx="19">
                  <c:v>1057.5556</c:v>
                </c:pt>
                <c:pt idx="20">
                  <c:v>1033.2258</c:v>
                </c:pt>
                <c:pt idx="21">
                  <c:v>1345.6923</c:v>
                </c:pt>
                <c:pt idx="22">
                  <c:v>1133.7895</c:v>
                </c:pt>
                <c:pt idx="23">
                  <c:v>907.75</c:v>
                </c:pt>
                <c:pt idx="24">
                  <c:v>1001.5231</c:v>
                </c:pt>
                <c:pt idx="25">
                  <c:v>1051.7875</c:v>
                </c:pt>
                <c:pt idx="26">
                  <c:v>973.2308</c:v>
                </c:pt>
                <c:pt idx="27">
                  <c:v>1008.7917</c:v>
                </c:pt>
                <c:pt idx="28">
                  <c:v>1067.1515</c:v>
                </c:pt>
                <c:pt idx="29">
                  <c:v>-5026.555037051931</c:v>
                </c:pt>
                <c:pt idx="30">
                  <c:v>-5026.555037051931</c:v>
                </c:pt>
                <c:pt idx="31">
                  <c:v>1756.8175930995599</c:v>
                </c:pt>
              </c:numCache>
            </c:numRef>
          </c:xVal>
          <c:yVal>
            <c:numRef>
              <c:f>Sheet1!$B$120:$B$151</c:f>
              <c:numCache>
                <c:formatCode>General</c:formatCode>
                <c:ptCount val="32"/>
                <c:pt idx="0">
                  <c:v>0.10657865271921364</c:v>
                </c:pt>
                <c:pt idx="1">
                  <c:v>0.09873666016793162</c:v>
                </c:pt>
                <c:pt idx="2">
                  <c:v>0.1148927347506925</c:v>
                </c:pt>
                <c:pt idx="3">
                  <c:v>0.11007695069728266</c:v>
                </c:pt>
                <c:pt idx="4">
                  <c:v>0.08041373480218784</c:v>
                </c:pt>
                <c:pt idx="5">
                  <c:v>0.1181611799259488</c:v>
                </c:pt>
                <c:pt idx="6">
                  <c:v>0.11615932171520554</c:v>
                </c:pt>
                <c:pt idx="7">
                  <c:v>0.11141610684860775</c:v>
                </c:pt>
                <c:pt idx="8">
                  <c:v>0.08128493094663161</c:v>
                </c:pt>
                <c:pt idx="9">
                  <c:v>0.11068133332095546</c:v>
                </c:pt>
                <c:pt idx="10">
                  <c:v>0.11745475363036273</c:v>
                </c:pt>
                <c:pt idx="11">
                  <c:v>0.11092308818857463</c:v>
                </c:pt>
                <c:pt idx="12">
                  <c:v>0.11587481986707375</c:v>
                </c:pt>
                <c:pt idx="13">
                  <c:v>0.10192093408632866</c:v>
                </c:pt>
                <c:pt idx="14">
                  <c:v>0.11690400643335258</c:v>
                </c:pt>
                <c:pt idx="15">
                  <c:v>0.11633055736020119</c:v>
                </c:pt>
                <c:pt idx="16">
                  <c:v>0.11731595832774772</c:v>
                </c:pt>
                <c:pt idx="17">
                  <c:v>0.11141278190669218</c:v>
                </c:pt>
                <c:pt idx="18">
                  <c:v>0.11848469472891496</c:v>
                </c:pt>
                <c:pt idx="19">
                  <c:v>0.11088542293746954</c:v>
                </c:pt>
                <c:pt idx="20">
                  <c:v>0.11143836327798519</c:v>
                </c:pt>
                <c:pt idx="21">
                  <c:v>0.10433697597066123</c:v>
                </c:pt>
                <c:pt idx="22">
                  <c:v>0.10915286456769933</c:v>
                </c:pt>
                <c:pt idx="23">
                  <c:v>0.11429003618850941</c:v>
                </c:pt>
                <c:pt idx="24">
                  <c:v>0.11215886660038263</c:v>
                </c:pt>
                <c:pt idx="25">
                  <c:v>0.11101651382922074</c:v>
                </c:pt>
                <c:pt idx="26">
                  <c:v>0.1128018621858774</c:v>
                </c:pt>
                <c:pt idx="27">
                  <c:v>0.1119936740316368</c:v>
                </c:pt>
                <c:pt idx="28">
                  <c:v>0.11066733811089662</c:v>
                </c:pt>
                <c:pt idx="29">
                  <c:v>0.24915824915824916</c:v>
                </c:pt>
                <c:pt idx="30">
                  <c:v>0.24915824915824916</c:v>
                </c:pt>
                <c:pt idx="31">
                  <c:v>0.09499338253540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81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765690376569"/>
          <c:min val="0.001307189542483660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9</c:f>
              <c:numCache>
                <c:formatCode>General</c:formatCode>
                <c:ptCount val="58"/>
                <c:pt idx="0">
                  <c:v>0.8723950037258754</c:v>
                </c:pt>
                <c:pt idx="1">
                  <c:v>0.933632633875903</c:v>
                </c:pt>
                <c:pt idx="2">
                  <c:v>2.1125956509771537</c:v>
                </c:pt>
                <c:pt idx="3">
                  <c:v>1.1285191104055052</c:v>
                </c:pt>
                <c:pt idx="4">
                  <c:v>1.2091372588424436</c:v>
                </c:pt>
                <c:pt idx="5">
                  <c:v>2.621561625619216</c:v>
                </c:pt>
                <c:pt idx="6">
                  <c:v>1.0061490061490062</c:v>
                </c:pt>
                <c:pt idx="7">
                  <c:v>1.0779685955070264</c:v>
                </c:pt>
                <c:pt idx="8">
                  <c:v>1.0217555087439734</c:v>
                </c:pt>
                <c:pt idx="9">
                  <c:v>0.9916734398539507</c:v>
                </c:pt>
                <c:pt idx="10">
                  <c:v>1.596096412556054</c:v>
                </c:pt>
                <c:pt idx="11">
                  <c:v>2.790227477891819</c:v>
                </c:pt>
                <c:pt idx="12">
                  <c:v>2.032409635460608</c:v>
                </c:pt>
                <c:pt idx="13">
                  <c:v>2.1248784589034986</c:v>
                </c:pt>
                <c:pt idx="14">
                  <c:v>1.6759329426080791</c:v>
                </c:pt>
                <c:pt idx="15">
                  <c:v>0.311336807401893</c:v>
                </c:pt>
                <c:pt idx="16">
                  <c:v>2.363176082049155</c:v>
                </c:pt>
                <c:pt idx="17">
                  <c:v>6.096173185601288</c:v>
                </c:pt>
                <c:pt idx="18">
                  <c:v>3.0926795508353186</c:v>
                </c:pt>
                <c:pt idx="19">
                  <c:v>2.368373681090839</c:v>
                </c:pt>
                <c:pt idx="20">
                  <c:v>1.3388582791892722</c:v>
                </c:pt>
                <c:pt idx="21">
                  <c:v>2.509721923521123</c:v>
                </c:pt>
                <c:pt idx="22">
                  <c:v>4.010969455382225</c:v>
                </c:pt>
                <c:pt idx="23">
                  <c:v>1.5524568627397757</c:v>
                </c:pt>
                <c:pt idx="24">
                  <c:v>2.9447591968246045</c:v>
                </c:pt>
                <c:pt idx="25">
                  <c:v>1.3924291352353755</c:v>
                </c:pt>
                <c:pt idx="26">
                  <c:v>1.312848828681082</c:v>
                </c:pt>
                <c:pt idx="27">
                  <c:v>3.098803597710548</c:v>
                </c:pt>
                <c:pt idx="28">
                  <c:v>1.193479755153008</c:v>
                </c:pt>
                <c:pt idx="29">
                  <c:v>1.3553458542343901</c:v>
                </c:pt>
                <c:pt idx="30">
                  <c:v>1.841129289335259</c:v>
                </c:pt>
                <c:pt idx="31">
                  <c:v>1.5317083676268861</c:v>
                </c:pt>
                <c:pt idx="32">
                  <c:v>3.5535446849347796</c:v>
                </c:pt>
                <c:pt idx="33">
                  <c:v>11.12025180465606</c:v>
                </c:pt>
                <c:pt idx="34">
                  <c:v>1.6888269034195627</c:v>
                </c:pt>
                <c:pt idx="35">
                  <c:v>9.928118393234673</c:v>
                </c:pt>
                <c:pt idx="36">
                  <c:v>3.7920499110940886</c:v>
                </c:pt>
                <c:pt idx="37">
                  <c:v>1.467236045367808</c:v>
                </c:pt>
                <c:pt idx="38">
                  <c:v>1.1450604733549818</c:v>
                </c:pt>
                <c:pt idx="39">
                  <c:v>2.7800649571302642</c:v>
                </c:pt>
                <c:pt idx="40">
                  <c:v>2.301691955425116</c:v>
                </c:pt>
                <c:pt idx="41">
                  <c:v>1.610327528796097</c:v>
                </c:pt>
                <c:pt idx="42">
                  <c:v>1.4667295242021245</c:v>
                </c:pt>
                <c:pt idx="43">
                  <c:v>2.308594375560627</c:v>
                </c:pt>
                <c:pt idx="44">
                  <c:v>3.2956330206204187</c:v>
                </c:pt>
                <c:pt idx="45">
                  <c:v>2.56603739726804</c:v>
                </c:pt>
                <c:pt idx="46">
                  <c:v>5.76671432175595</c:v>
                </c:pt>
                <c:pt idx="47">
                  <c:v>2.155891107242885</c:v>
                </c:pt>
                <c:pt idx="48">
                  <c:v>5.847067764625366</c:v>
                </c:pt>
                <c:pt idx="49">
                  <c:v>2.6855475492955887</c:v>
                </c:pt>
                <c:pt idx="50">
                  <c:v>2.0585635042370773</c:v>
                </c:pt>
                <c:pt idx="51">
                  <c:v>2.4534978769958795</c:v>
                </c:pt>
                <c:pt idx="52">
                  <c:v>1.9579902133142713</c:v>
                </c:pt>
                <c:pt idx="53">
                  <c:v>0.7873431742632051</c:v>
                </c:pt>
                <c:pt idx="54">
                  <c:v>1.1674792438565238</c:v>
                </c:pt>
                <c:pt idx="55">
                  <c:v>0.8186171164225134</c:v>
                </c:pt>
                <c:pt idx="56">
                  <c:v>1.4922463530304528</c:v>
                </c:pt>
                <c:pt idx="57">
                  <c:v>3.1581942417938134</c:v>
                </c:pt>
              </c:numCache>
            </c:numRef>
          </c:xVal>
          <c:yVal>
            <c:numRef>
              <c:f>Sheet1!$B$2:$B$59</c:f>
              <c:numCache>
                <c:formatCode>General</c:formatCode>
                <c:ptCount val="58"/>
                <c:pt idx="0">
                  <c:v>0.01330671989354624</c:v>
                </c:pt>
                <c:pt idx="1">
                  <c:v>0.011824324324324325</c:v>
                </c:pt>
                <c:pt idx="2">
                  <c:v>0.23372781065088757</c:v>
                </c:pt>
                <c:pt idx="3">
                  <c:v>0.06280193236714976</c:v>
                </c:pt>
                <c:pt idx="4">
                  <c:v>0.039473684210526314</c:v>
                </c:pt>
                <c:pt idx="5">
                  <c:v>0.05628517823639775</c:v>
                </c:pt>
                <c:pt idx="6">
                  <c:v>0.046583850931677016</c:v>
                </c:pt>
                <c:pt idx="7">
                  <c:v>0.06342494714587738</c:v>
                </c:pt>
                <c:pt idx="8">
                  <c:v>0.04032258064516129</c:v>
                </c:pt>
                <c:pt idx="9">
                  <c:v>0.30078125</c:v>
                </c:pt>
                <c:pt idx="10">
                  <c:v>0.12</c:v>
                </c:pt>
                <c:pt idx="11">
                  <c:v>0.2503871966959215</c:v>
                </c:pt>
                <c:pt idx="12">
                  <c:v>0.09417040358744394</c:v>
                </c:pt>
                <c:pt idx="13">
                  <c:v>0.027649769585253458</c:v>
                </c:pt>
                <c:pt idx="14">
                  <c:v>0.016203703703703703</c:v>
                </c:pt>
                <c:pt idx="15">
                  <c:v>0.09876543209876543</c:v>
                </c:pt>
                <c:pt idx="16">
                  <c:v>0.029723991507430998</c:v>
                </c:pt>
                <c:pt idx="17">
                  <c:v>0.00392156862745098</c:v>
                </c:pt>
                <c:pt idx="18">
                  <c:v>0.06790123456790123</c:v>
                </c:pt>
                <c:pt idx="19">
                  <c:v>0.04994192799070848</c:v>
                </c:pt>
                <c:pt idx="20">
                  <c:v>0.0863905325443787</c:v>
                </c:pt>
                <c:pt idx="21">
                  <c:v>0.0254841997961264</c:v>
                </c:pt>
                <c:pt idx="22">
                  <c:v>0.00949367088607595</c:v>
                </c:pt>
                <c:pt idx="23">
                  <c:v>0.07239819004524888</c:v>
                </c:pt>
                <c:pt idx="24">
                  <c:v>0.059961315280464215</c:v>
                </c:pt>
                <c:pt idx="25">
                  <c:v>0.00909090909090909</c:v>
                </c:pt>
                <c:pt idx="26">
                  <c:v>0.1600633914421553</c:v>
                </c:pt>
                <c:pt idx="27">
                  <c:v>0.04914744232698094</c:v>
                </c:pt>
                <c:pt idx="28">
                  <c:v>0.052489905787348586</c:v>
                </c:pt>
                <c:pt idx="29">
                  <c:v>0.006517690875232775</c:v>
                </c:pt>
                <c:pt idx="30">
                  <c:v>0.19066666666666668</c:v>
                </c:pt>
                <c:pt idx="31">
                  <c:v>0.23780487804878048</c:v>
                </c:pt>
                <c:pt idx="32">
                  <c:v>0.026272577996715927</c:v>
                </c:pt>
                <c:pt idx="33">
                  <c:v>0.00228310502283105</c:v>
                </c:pt>
                <c:pt idx="34">
                  <c:v>0.07785888077858881</c:v>
                </c:pt>
                <c:pt idx="35">
                  <c:v>0.0016339869281045752</c:v>
                </c:pt>
                <c:pt idx="36">
                  <c:v>0.009510869565217392</c:v>
                </c:pt>
                <c:pt idx="37">
                  <c:v>0.01437125748502994</c:v>
                </c:pt>
                <c:pt idx="38">
                  <c:v>0.08888888888888889</c:v>
                </c:pt>
                <c:pt idx="39">
                  <c:v>0.0730050933786078</c:v>
                </c:pt>
                <c:pt idx="40">
                  <c:v>0.02881844380403458</c:v>
                </c:pt>
                <c:pt idx="41">
                  <c:v>0.07571801566579635</c:v>
                </c:pt>
                <c:pt idx="42">
                  <c:v>0.008915304606240713</c:v>
                </c:pt>
                <c:pt idx="43">
                  <c:v>0.016361886429258902</c:v>
                </c:pt>
                <c:pt idx="44">
                  <c:v>0.022494887525562373</c:v>
                </c:pt>
                <c:pt idx="45">
                  <c:v>0.02666666666666667</c:v>
                </c:pt>
                <c:pt idx="46">
                  <c:v>0.00975609756097561</c:v>
                </c:pt>
                <c:pt idx="47">
                  <c:v>0.2540045766590389</c:v>
                </c:pt>
                <c:pt idx="48">
                  <c:v>0.002621231979030144</c:v>
                </c:pt>
                <c:pt idx="49">
                  <c:v>0.15236686390532544</c:v>
                </c:pt>
                <c:pt idx="50">
                  <c:v>0.008438818565400843</c:v>
                </c:pt>
                <c:pt idx="51">
                  <c:v>0.04391891891891892</c:v>
                </c:pt>
                <c:pt idx="52">
                  <c:v>0.026905829596412557</c:v>
                </c:pt>
                <c:pt idx="53">
                  <c:v>0.09256449165402124</c:v>
                </c:pt>
                <c:pt idx="54">
                  <c:v>0.025252525252525252</c:v>
                </c:pt>
                <c:pt idx="55">
                  <c:v>0.2010928961748634</c:v>
                </c:pt>
                <c:pt idx="56">
                  <c:v>0.05411255411255411</c:v>
                </c:pt>
                <c:pt idx="57">
                  <c:v>0.02278481012658228</c:v>
                </c:pt>
              </c:numCache>
            </c:numRef>
          </c:yVal>
          <c:smooth val="0"/>
          <c:extLst>
            <c:ext xmlns:c16="http://schemas.microsoft.com/office/drawing/2014/chart" uri="{C3380CC4-5D6E-409C-BE32-E72D297353CC}">
              <c16:uniqueId val="{00000000-096C-4121-9522-6AB7243CCAAE}"/>
            </c:ext>
          </c:extLst>
        </c:ser>
        <c:ser>
          <c:idx val="1"/>
          <c:order val="1"/>
          <c:tx>
            <c:strRef>
              <c:f>Sheet1!$B$6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2:$A$85</c:f>
              <c:numCache>
                <c:formatCode>General</c:formatCode>
                <c:ptCount val="24"/>
                <c:pt idx="0">
                  <c:v>1.991447227535079</c:v>
                </c:pt>
                <c:pt idx="1">
                  <c:v>1.7425018247390285</c:v>
                </c:pt>
                <c:pt idx="2">
                  <c:v>0.9712137543395603</c:v>
                </c:pt>
                <c:pt idx="3">
                  <c:v>1.2892192475527773</c:v>
                </c:pt>
                <c:pt idx="4">
                  <c:v>4.171988866269113</c:v>
                </c:pt>
                <c:pt idx="5">
                  <c:v>1.015918565815324</c:v>
                </c:pt>
                <c:pt idx="6">
                  <c:v>3.3713707765009744</c:v>
                </c:pt>
                <c:pt idx="7">
                  <c:v>1.3047715973760103</c:v>
                </c:pt>
                <c:pt idx="8">
                  <c:v>0.8393005399263512</c:v>
                </c:pt>
                <c:pt idx="9">
                  <c:v>1.3919928969885367</c:v>
                </c:pt>
                <c:pt idx="10">
                  <c:v>1.6708382879186274</c:v>
                </c:pt>
                <c:pt idx="11">
                  <c:v>3.033425972602648</c:v>
                </c:pt>
                <c:pt idx="12">
                  <c:v>1.0758304425647796</c:v>
                </c:pt>
                <c:pt idx="13">
                  <c:v>1.7608055702355339</c:v>
                </c:pt>
                <c:pt idx="14">
                  <c:v>1.691184763844347</c:v>
                </c:pt>
                <c:pt idx="15">
                  <c:v>2.20947791796052</c:v>
                </c:pt>
                <c:pt idx="16">
                  <c:v>1.4799266722642035</c:v>
                </c:pt>
                <c:pt idx="17">
                  <c:v>1.3148054570444618</c:v>
                </c:pt>
                <c:pt idx="18">
                  <c:v>1.5621238633232297</c:v>
                </c:pt>
                <c:pt idx="19">
                  <c:v>1.3466166876923313</c:v>
                </c:pt>
                <c:pt idx="20">
                  <c:v>1.1591702546296296</c:v>
                </c:pt>
                <c:pt idx="21">
                  <c:v>1.6825002005382723</c:v>
                </c:pt>
                <c:pt idx="22">
                  <c:v>1.287662589800781</c:v>
                </c:pt>
                <c:pt idx="23">
                  <c:v>0.9219323169673406</c:v>
                </c:pt>
              </c:numCache>
            </c:numRef>
          </c:xVal>
          <c:yVal>
            <c:numRef>
              <c:f>Sheet1!$B$62:$B$85</c:f>
              <c:numCache>
                <c:formatCode>General</c:formatCode>
                <c:ptCount val="24"/>
                <c:pt idx="0">
                  <c:v>0.08333333333333333</c:v>
                </c:pt>
                <c:pt idx="1">
                  <c:v>0.21608040201005024</c:v>
                </c:pt>
                <c:pt idx="2">
                  <c:v>0.024714828897338403</c:v>
                </c:pt>
                <c:pt idx="3">
                  <c:v>0.18594687232219365</c:v>
                </c:pt>
                <c:pt idx="4">
                  <c:v>0.006896551724137931</c:v>
                </c:pt>
                <c:pt idx="5">
                  <c:v>0.21666666666666667</c:v>
                </c:pt>
                <c:pt idx="6">
                  <c:v>0.020761245674740483</c:v>
                </c:pt>
                <c:pt idx="7">
                  <c:v>0.0380952380952381</c:v>
                </c:pt>
                <c:pt idx="8">
                  <c:v>0.06153846153846154</c:v>
                </c:pt>
                <c:pt idx="9">
                  <c:v>0.09719934102141681</c:v>
                </c:pt>
                <c:pt idx="10">
                  <c:v>0.1332518337408313</c:v>
                </c:pt>
                <c:pt idx="11">
                  <c:v>0.01090909090909091</c:v>
                </c:pt>
                <c:pt idx="12">
                  <c:v>0.03783102143757881</c:v>
                </c:pt>
                <c:pt idx="13">
                  <c:v>0.04588607594936709</c:v>
                </c:pt>
                <c:pt idx="14">
                  <c:v>0.0681265206812652</c:v>
                </c:pt>
                <c:pt idx="15">
                  <c:v>0.24915824915824916</c:v>
                </c:pt>
                <c:pt idx="16">
                  <c:v>0.7531380753138075</c:v>
                </c:pt>
                <c:pt idx="17">
                  <c:v>0.12180746561886051</c:v>
                </c:pt>
                <c:pt idx="18">
                  <c:v>0.10401459854014598</c:v>
                </c:pt>
                <c:pt idx="19">
                  <c:v>0.04664723032069971</c:v>
                </c:pt>
                <c:pt idx="20">
                  <c:v>0.22491349480968859</c:v>
                </c:pt>
                <c:pt idx="21">
                  <c:v>0.01870503597122302</c:v>
                </c:pt>
                <c:pt idx="22">
                  <c:v>0.04660194174757282</c:v>
                </c:pt>
                <c:pt idx="23">
                  <c:v>0.1286549707602339</c:v>
                </c:pt>
              </c:numCache>
            </c:numRef>
          </c:yVal>
          <c:smooth val="0"/>
          <c:extLst>
            <c:ext xmlns:c16="http://schemas.microsoft.com/office/drawing/2014/chart" uri="{C3380CC4-5D6E-409C-BE32-E72D297353CC}">
              <c16:uniqueId val="{00000002-096C-4121-9522-6AB7243CCAAE}"/>
            </c:ext>
          </c:extLst>
        </c:ser>
        <c:ser>
          <c:idx val="2"/>
          <c:order val="2"/>
          <c:tx>
            <c:strRef>
              <c:f>Sheet1!$B$8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88:$A$89</c:f>
              <c:numCache>
                <c:formatCode>General</c:formatCode>
                <c:ptCount val="2"/>
                <c:pt idx="0">
                  <c:v>0</c:v>
                </c:pt>
                <c:pt idx="1">
                  <c:v>-1.728023094753784</c:v>
                </c:pt>
              </c:numCache>
            </c:numRef>
          </c:xVal>
          <c:yVal>
            <c:numRef>
              <c:f>Sheet1!$B$88:$B$89</c:f>
              <c:numCache>
                <c:formatCode>General</c:formatCode>
                <c:ptCount val="2"/>
                <c:pt idx="0">
                  <c:v>0.25010417292064047</c:v>
                </c:pt>
                <c:pt idx="1">
                  <c:v>0.25010417292064047</c:v>
                </c:pt>
              </c:numCache>
            </c:numRef>
          </c:yVal>
          <c:smooth val="0"/>
          <c:extLst>
            <c:ext xmlns:c16="http://schemas.microsoft.com/office/drawing/2014/chart" uri="{C3380CC4-5D6E-409C-BE32-E72D297353CC}">
              <c16:uniqueId val="{00000005-096C-4121-9522-6AB7243CCAAE}"/>
            </c:ext>
          </c:extLst>
        </c:ser>
        <c:ser>
          <c:idx val="3"/>
          <c:order val="3"/>
          <c:tx>
            <c:strRef>
              <c:f>Sheet1!$B$9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92:$A$93</c:f>
              <c:numCache>
                <c:formatCode>General</c:formatCode>
                <c:ptCount val="2"/>
                <c:pt idx="0">
                  <c:v>-1.728023094753784</c:v>
                </c:pt>
                <c:pt idx="1">
                  <c:v>-1.728023094753784</c:v>
                </c:pt>
              </c:numCache>
            </c:numRef>
          </c:xVal>
          <c:yVal>
            <c:numRef>
              <c:f>Sheet1!$B$92:$B$93</c:f>
              <c:numCache>
                <c:formatCode>General</c:formatCode>
                <c:ptCount val="2"/>
                <c:pt idx="0">
                  <c:v>0.250104172920640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9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96:$A$97</c:f>
              <c:numCache>
                <c:formatCode>General</c:formatCode>
                <c:ptCount val="2"/>
                <c:pt idx="0">
                  <c:v>0</c:v>
                </c:pt>
                <c:pt idx="1">
                  <c:v>-1.728023094753784</c:v>
                </c:pt>
              </c:numCache>
            </c:numRef>
          </c:xVal>
          <c:yVal>
            <c:numRef>
              <c:f>Sheet1!$B$96:$B$97</c:f>
              <c:numCache>
                <c:formatCode>General</c:formatCode>
                <c:ptCount val="2"/>
                <c:pt idx="0">
                  <c:v>0.25010417292064047</c:v>
                </c:pt>
                <c:pt idx="1">
                  <c:v>0.25010417292064047</c:v>
                </c:pt>
              </c:numCache>
            </c:numRef>
          </c:yVal>
          <c:smooth val="0"/>
          <c:extLst>
            <c:ext xmlns:c16="http://schemas.microsoft.com/office/drawing/2014/chart" uri="{C3380CC4-5D6E-409C-BE32-E72D297353CC}">
              <c16:uniqueId val="{0000000D-096C-4121-9522-6AB7243CCAAE}"/>
            </c:ext>
          </c:extLst>
        </c:ser>
        <c:ser>
          <c:idx val="5"/>
          <c:order val="5"/>
          <c:tx>
            <c:strRef>
              <c:f>Sheet1!$B$9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0:$A$101</c:f>
              <c:numCache>
                <c:formatCode>General</c:formatCode>
                <c:ptCount val="2"/>
                <c:pt idx="0">
                  <c:v>-1.728023094753784</c:v>
                </c:pt>
                <c:pt idx="1">
                  <c:v>-1.728023094753784</c:v>
                </c:pt>
              </c:numCache>
            </c:numRef>
          </c:xVal>
          <c:yVal>
            <c:numRef>
              <c:f>Sheet1!$B$100:$B$101</c:f>
              <c:numCache>
                <c:formatCode>General</c:formatCode>
                <c:ptCount val="2"/>
                <c:pt idx="0">
                  <c:v>0.250104172920640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0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04:$A$105</c:f>
              <c:numCache>
                <c:formatCode>General</c:formatCode>
                <c:ptCount val="2"/>
                <c:pt idx="0">
                  <c:v>0</c:v>
                </c:pt>
                <c:pt idx="1">
                  <c:v>2.4159907608399696</c:v>
                </c:pt>
              </c:numCache>
            </c:numRef>
          </c:xVal>
          <c:yVal>
            <c:numRef>
              <c:f>Sheet1!$B$104:$B$105</c:f>
              <c:numCache>
                <c:formatCode>General</c:formatCode>
                <c:ptCount val="2"/>
                <c:pt idx="0">
                  <c:v>0.09492287869159399</c:v>
                </c:pt>
                <c:pt idx="1">
                  <c:v>0.09492287869159399</c:v>
                </c:pt>
              </c:numCache>
            </c:numRef>
          </c:yVal>
          <c:smooth val="0"/>
          <c:extLst>
            <c:ext xmlns:c16="http://schemas.microsoft.com/office/drawing/2014/chart" uri="{C3380CC4-5D6E-409C-BE32-E72D297353CC}">
              <c16:uniqueId val="{00000015-096C-4121-9522-6AB7243CCAAE}"/>
            </c:ext>
          </c:extLst>
        </c:ser>
        <c:ser>
          <c:idx val="7"/>
          <c:order val="7"/>
          <c:tx>
            <c:strRef>
              <c:f>Sheet1!$B$10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8:$A$109</c:f>
              <c:numCache>
                <c:formatCode>General</c:formatCode>
                <c:ptCount val="2"/>
                <c:pt idx="0">
                  <c:v>2.4159907608399696</c:v>
                </c:pt>
                <c:pt idx="1">
                  <c:v>2.4159907608399696</c:v>
                </c:pt>
              </c:numCache>
            </c:numRef>
          </c:xVal>
          <c:yVal>
            <c:numRef>
              <c:f>Sheet1!$B$108:$B$109</c:f>
              <c:numCache>
                <c:formatCode>General</c:formatCode>
                <c:ptCount val="2"/>
                <c:pt idx="0">
                  <c:v>0.0949228786915939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1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12:$A$138</c:f>
              <c:numCache>
                <c:formatCode>General</c:formatCode>
                <c:ptCount val="27"/>
                <c:pt idx="0">
                  <c:v>1.991447227535079</c:v>
                </c:pt>
                <c:pt idx="1">
                  <c:v>1.7425018247390285</c:v>
                </c:pt>
                <c:pt idx="2">
                  <c:v>0.9712137543395603</c:v>
                </c:pt>
                <c:pt idx="3">
                  <c:v>1.2892192475527773</c:v>
                </c:pt>
                <c:pt idx="4">
                  <c:v>4.171988866269113</c:v>
                </c:pt>
                <c:pt idx="5">
                  <c:v>1.015918565815324</c:v>
                </c:pt>
                <c:pt idx="6">
                  <c:v>3.3713707765009744</c:v>
                </c:pt>
                <c:pt idx="7">
                  <c:v>1.3047715973760103</c:v>
                </c:pt>
                <c:pt idx="8">
                  <c:v>0.8393005399263512</c:v>
                </c:pt>
                <c:pt idx="9">
                  <c:v>1.3919928969885367</c:v>
                </c:pt>
                <c:pt idx="10">
                  <c:v>1.6708382879186274</c:v>
                </c:pt>
                <c:pt idx="11">
                  <c:v>3.033425972602648</c:v>
                </c:pt>
                <c:pt idx="12">
                  <c:v>1.0758304425647796</c:v>
                </c:pt>
                <c:pt idx="13">
                  <c:v>1.7608055702355339</c:v>
                </c:pt>
                <c:pt idx="14">
                  <c:v>1.691184763844347</c:v>
                </c:pt>
                <c:pt idx="15">
                  <c:v>2.20947791796052</c:v>
                </c:pt>
                <c:pt idx="16">
                  <c:v>1.4799266722642035</c:v>
                </c:pt>
                <c:pt idx="17">
                  <c:v>1.3148054570444618</c:v>
                </c:pt>
                <c:pt idx="18">
                  <c:v>1.5621238633232297</c:v>
                </c:pt>
                <c:pt idx="19">
                  <c:v>1.3466166876923313</c:v>
                </c:pt>
                <c:pt idx="20">
                  <c:v>1.1591702546296296</c:v>
                </c:pt>
                <c:pt idx="21">
                  <c:v>1.6825002005382723</c:v>
                </c:pt>
                <c:pt idx="22">
                  <c:v>1.287662589800781</c:v>
                </c:pt>
                <c:pt idx="23">
                  <c:v>0.9219323169673406</c:v>
                </c:pt>
                <c:pt idx="24">
                  <c:v>-1.728023094753784</c:v>
                </c:pt>
                <c:pt idx="25">
                  <c:v>-1.728023094753784</c:v>
                </c:pt>
                <c:pt idx="26">
                  <c:v>2.4159907608399696</c:v>
                </c:pt>
              </c:numCache>
            </c:numRef>
          </c:xVal>
          <c:yVal>
            <c:numRef>
              <c:f>Sheet1!$B$112:$B$138</c:f>
              <c:numCache>
                <c:formatCode>General</c:formatCode>
                <c:ptCount val="27"/>
                <c:pt idx="0">
                  <c:v>0.11082080211815208</c:v>
                </c:pt>
                <c:pt idx="1">
                  <c:v>0.12014308508931441</c:v>
                </c:pt>
                <c:pt idx="2">
                  <c:v>0.1490255852832874</c:v>
                </c:pt>
                <c:pt idx="3">
                  <c:v>0.13711720231729885</c:v>
                </c:pt>
                <c:pt idx="4">
                  <c:v>0.029165845013625125</c:v>
                </c:pt>
                <c:pt idx="5">
                  <c:v>0.14735151981323347</c:v>
                </c:pt>
                <c:pt idx="6">
                  <c:v>0.05914666932619381</c:v>
                </c:pt>
                <c:pt idx="7">
                  <c:v>0.13653481194458944</c:v>
                </c:pt>
                <c:pt idx="8">
                  <c:v>0.1539653523911902</c:v>
                </c:pt>
                <c:pt idx="9">
                  <c:v>0.133268627363681</c:v>
                </c:pt>
                <c:pt idx="10">
                  <c:v>0.12282667659753521</c:v>
                </c:pt>
                <c:pt idx="11">
                  <c:v>0.07180172161954806</c:v>
                </c:pt>
                <c:pt idx="12">
                  <c:v>0.1451079938749401</c:v>
                </c:pt>
                <c:pt idx="13">
                  <c:v>0.11945766293235113</c:v>
                </c:pt>
                <c:pt idx="14">
                  <c:v>0.12206476011337788</c:v>
                </c:pt>
                <c:pt idx="15">
                  <c:v>0.10265618542021279</c:v>
                </c:pt>
                <c:pt idx="16">
                  <c:v>0.1299757626365748</c:v>
                </c:pt>
                <c:pt idx="17">
                  <c:v>0.1361590730152031</c:v>
                </c:pt>
                <c:pt idx="18">
                  <c:v>0.12689771634256586</c:v>
                </c:pt>
                <c:pt idx="19">
                  <c:v>0.134967834733919</c:v>
                </c:pt>
                <c:pt idx="20">
                  <c:v>0.14198715973980042</c:v>
                </c:pt>
                <c:pt idx="21">
                  <c:v>0.12238997180923927</c:v>
                </c:pt>
                <c:pt idx="22">
                  <c:v>0.13717549463316558</c:v>
                </c:pt>
                <c:pt idx="23">
                  <c:v>0.1508710321131926</c:v>
                </c:pt>
                <c:pt idx="24">
                  <c:v>0.25010417292064047</c:v>
                </c:pt>
                <c:pt idx="25">
                  <c:v>0.25010417292064047</c:v>
                </c:pt>
                <c:pt idx="26">
                  <c:v>0.0949228786915939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765690376569"/>
          <c:min val="0.001307189542483660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747989472508397</c:v>
                </c:pt>
                <c:pt idx="1">
                  <c:v>0.6957575235362742</c:v>
                </c:pt>
                <c:pt idx="2">
                  <c:v>0.5806034307346711</c:v>
                </c:pt>
                <c:pt idx="3">
                  <c:v>0.5556109094644375</c:v>
                </c:pt>
                <c:pt idx="4">
                  <c:v>0.7026871936025456</c:v>
                </c:pt>
                <c:pt idx="5">
                  <c:v>0.6734247163549818</c:v>
                </c:pt>
                <c:pt idx="6">
                  <c:v>0.5858446803560975</c:v>
                </c:pt>
                <c:pt idx="7">
                  <c:v>0.5628067023576135</c:v>
                </c:pt>
                <c:pt idx="8">
                  <c:v>0.5272544137717528</c:v>
                </c:pt>
                <c:pt idx="9">
                  <c:v>0.5965846439037271</c:v>
                </c:pt>
                <c:pt idx="10">
                  <c:v>0.6617079206082517</c:v>
                </c:pt>
                <c:pt idx="11">
                  <c:v>0.5979862592513568</c:v>
                </c:pt>
                <c:pt idx="12">
                  <c:v>0.6349979705901423</c:v>
                </c:pt>
                <c:pt idx="13">
                  <c:v>0.6070302886551275</c:v>
                </c:pt>
                <c:pt idx="14">
                  <c:v>0.7896356631842355</c:v>
                </c:pt>
                <c:pt idx="15">
                  <c:v>0.6106191955878953</c:v>
                </c:pt>
                <c:pt idx="16">
                  <c:v>0.779057904402777</c:v>
                </c:pt>
                <c:pt idx="17">
                  <c:v>0.5545520042830319</c:v>
                </c:pt>
                <c:pt idx="18">
                  <c:v>0.6923989971551521</c:v>
                </c:pt>
                <c:pt idx="19">
                  <c:v>0.6056254525292862</c:v>
                </c:pt>
                <c:pt idx="20">
                  <c:v>0.5025582479817726</c:v>
                </c:pt>
                <c:pt idx="21">
                  <c:v>1.04173592518265</c:v>
                </c:pt>
                <c:pt idx="22">
                  <c:v>0.4504958199595201</c:v>
                </c:pt>
                <c:pt idx="23">
                  <c:v>0.5672442259131142</c:v>
                </c:pt>
                <c:pt idx="24">
                  <c:v>0.41505690600212786</c:v>
                </c:pt>
                <c:pt idx="25">
                  <c:v>0.3946222394051386</c:v>
                </c:pt>
                <c:pt idx="26">
                  <c:v>0.48095466105598955</c:v>
                </c:pt>
                <c:pt idx="27">
                  <c:v>0.44948022554693157</c:v>
                </c:pt>
                <c:pt idx="28">
                  <c:v>0.4691137003152086</c:v>
                </c:pt>
                <c:pt idx="29">
                  <c:v>0.45446164032292075</c:v>
                </c:pt>
                <c:pt idx="30">
                  <c:v>0.4353946799821011</c:v>
                </c:pt>
                <c:pt idx="31">
                  <c:v>0.43832270923200745</c:v>
                </c:pt>
                <c:pt idx="32">
                  <c:v>0.573108699259178</c:v>
                </c:pt>
                <c:pt idx="33">
                  <c:v>0.3685069071381823</c:v>
                </c:pt>
                <c:pt idx="34">
                  <c:v>0.4474293992288008</c:v>
                </c:pt>
                <c:pt idx="35">
                  <c:v>0.4390831912380779</c:v>
                </c:pt>
                <c:pt idx="36">
                  <c:v>0.39880092297407294</c:v>
                </c:pt>
                <c:pt idx="37">
                  <c:v>0.3909201026215256</c:v>
                </c:pt>
                <c:pt idx="38">
                  <c:v>0.4068274946604388</c:v>
                </c:pt>
                <c:pt idx="39">
                  <c:v>0.49031784279019075</c:v>
                </c:pt>
                <c:pt idx="40">
                  <c:v>0.5895497794847191</c:v>
                </c:pt>
                <c:pt idx="41">
                  <c:v>0.5374652805752697</c:v>
                </c:pt>
                <c:pt idx="42">
                  <c:v>0.47663478052076347</c:v>
                </c:pt>
                <c:pt idx="43">
                  <c:v>0.4440459611043944</c:v>
                </c:pt>
                <c:pt idx="44">
                  <c:v>0.4983389239983022</c:v>
                </c:pt>
                <c:pt idx="45">
                  <c:v>0.5096998712619772</c:v>
                </c:pt>
                <c:pt idx="46">
                  <c:v>0.5099930051585466</c:v>
                </c:pt>
                <c:pt idx="47">
                  <c:v>0.4316831731047988</c:v>
                </c:pt>
                <c:pt idx="48">
                  <c:v>0.6765224063612504</c:v>
                </c:pt>
                <c:pt idx="49">
                  <c:v>0.615212637475889</c:v>
                </c:pt>
                <c:pt idx="50">
                  <c:v>0.5346880896105064</c:v>
                </c:pt>
                <c:pt idx="51">
                  <c:v>0.4543160089424806</c:v>
                </c:pt>
                <c:pt idx="52">
                  <c:v>0.565997620070585</c:v>
                </c:pt>
                <c:pt idx="53">
                  <c:v>0.5489458437144515</c:v>
                </c:pt>
                <c:pt idx="54">
                  <c:v>0.48695990979009074</c:v>
                </c:pt>
                <c:pt idx="55">
                  <c:v>0.4831894947780877</c:v>
                </c:pt>
                <c:pt idx="56">
                  <c:v>0.4071989038404429</c:v>
                </c:pt>
                <c:pt idx="57">
                  <c:v>0.4293734323597284</c:v>
                </c:pt>
                <c:pt idx="58">
                  <c:v>0.4073158813045478</c:v>
                </c:pt>
                <c:pt idx="59">
                  <c:v>0.5056967122324519</c:v>
                </c:pt>
                <c:pt idx="60">
                  <c:v>0.47971464220787724</c:v>
                </c:pt>
                <c:pt idx="61">
                  <c:v>0.46902708209802374</c:v>
                </c:pt>
                <c:pt idx="62">
                  <c:v>0.43664930127533</c:v>
                </c:pt>
                <c:pt idx="63">
                  <c:v>0.48690288041922986</c:v>
                </c:pt>
                <c:pt idx="64">
                  <c:v>0.44177942174313756</c:v>
                </c:pt>
                <c:pt idx="65">
                  <c:v>0.44101607535170845</c:v>
                </c:pt>
                <c:pt idx="66">
                  <c:v>0.4019808797834312</c:v>
                </c:pt>
                <c:pt idx="67">
                  <c:v>0.43072318091983836</c:v>
                </c:pt>
                <c:pt idx="68">
                  <c:v>0.3285810410574092</c:v>
                </c:pt>
                <c:pt idx="69">
                  <c:v>0.2858948245973769</c:v>
                </c:pt>
                <c:pt idx="70">
                  <c:v>0.3234269738810043</c:v>
                </c:pt>
                <c:pt idx="71">
                  <c:v>0.2622308074810356</c:v>
                </c:pt>
                <c:pt idx="72">
                  <c:v>0.3303595341645634</c:v>
                </c:pt>
                <c:pt idx="73">
                  <c:v>0.24538476384186067</c:v>
                </c:pt>
                <c:pt idx="74">
                  <c:v>0.29575029808297787</c:v>
                </c:pt>
                <c:pt idx="75">
                  <c:v>0.43507788871253217</c:v>
                </c:pt>
                <c:pt idx="76">
                  <c:v>0.42045348771793073</c:v>
                </c:pt>
                <c:pt idx="77">
                  <c:v>0.4920914479055389</c:v>
                </c:pt>
                <c:pt idx="78">
                  <c:v>0.4132823650262374</c:v>
                </c:pt>
                <c:pt idx="79">
                  <c:v>0.5614815525513241</c:v>
                </c:pt>
                <c:pt idx="80">
                  <c:v>0.4610311623815078</c:v>
                </c:pt>
                <c:pt idx="81">
                  <c:v>0.4838575580176655</c:v>
                </c:pt>
                <c:pt idx="82">
                  <c:v>0.4602534070737501</c:v>
                </c:pt>
                <c:pt idx="83">
                  <c:v>0.5058388657265679</c:v>
                </c:pt>
                <c:pt idx="84">
                  <c:v>0.4434823630902043</c:v>
                </c:pt>
                <c:pt idx="85">
                  <c:v>0.42271199035895624</c:v>
                </c:pt>
                <c:pt idx="86">
                  <c:v>0.5927771477649403</c:v>
                </c:pt>
                <c:pt idx="87">
                  <c:v>0.6398344199447181</c:v>
                </c:pt>
                <c:pt idx="88">
                  <c:v>0.5156192340164973</c:v>
                </c:pt>
                <c:pt idx="89">
                  <c:v>0.5005087601060144</c:v>
                </c:pt>
                <c:pt idx="90">
                  <c:v>0.5742802006025928</c:v>
                </c:pt>
                <c:pt idx="91">
                  <c:v>0.48006340660118896</c:v>
                </c:pt>
                <c:pt idx="92">
                  <c:v>0.5857047877062082</c:v>
                </c:pt>
                <c:pt idx="93">
                  <c:v>0.6172877173916985</c:v>
                </c:pt>
                <c:pt idx="94">
                  <c:v>0.5773763695811771</c:v>
                </c:pt>
                <c:pt idx="95">
                  <c:v>0.6031860398382505</c:v>
                </c:pt>
                <c:pt idx="96">
                  <c:v>0.5321799301049969</c:v>
                </c:pt>
                <c:pt idx="97">
                  <c:v>0.561040311575451</c:v>
                </c:pt>
                <c:pt idx="98">
                  <c:v>0.5647489338935017</c:v>
                </c:pt>
                <c:pt idx="99">
                  <c:v>0.6297366681540666</c:v>
                </c:pt>
                <c:pt idx="100">
                  <c:v>0.7651430827561845</c:v>
                </c:pt>
                <c:pt idx="101">
                  <c:v>0.6673163623687458</c:v>
                </c:pt>
                <c:pt idx="102">
                  <c:v>0.6573813528858321</c:v>
                </c:pt>
                <c:pt idx="103">
                  <c:v>0.6634495804473918</c:v>
                </c:pt>
                <c:pt idx="104">
                  <c:v>0.73976559647432</c:v>
                </c:pt>
              </c:numCache>
            </c:numRef>
          </c:xVal>
          <c:yVal>
            <c:numRef>
              <c:f>Sheet1!$B$2:$B$106</c:f>
              <c:numCache>
                <c:formatCode>General</c:formatCode>
                <c:ptCount val="105"/>
                <c:pt idx="0">
                  <c:v>0.00036313292934794946</c:v>
                </c:pt>
                <c:pt idx="1">
                  <c:v>0.0001180052394326308</c:v>
                </c:pt>
                <c:pt idx="2">
                  <c:v>0.0001380738695201933</c:v>
                </c:pt>
                <c:pt idx="3">
                  <c:v>0.00012080796366096453</c:v>
                </c:pt>
                <c:pt idx="4">
                  <c:v>8.474336883138894e-05</c:v>
                </c:pt>
                <c:pt idx="5">
                  <c:v>0.0001727364329926587</c:v>
                </c:pt>
                <c:pt idx="6">
                  <c:v>0.0003101649513604963</c:v>
                </c:pt>
                <c:pt idx="7">
                  <c:v>0.0002557299491736726</c:v>
                </c:pt>
                <c:pt idx="8">
                  <c:v>0.00023386342376052386</c:v>
                </c:pt>
                <c:pt idx="9">
                  <c:v>0.00023664904945965134</c:v>
                </c:pt>
                <c:pt idx="10">
                  <c:v>0.0001504664459825459</c:v>
                </c:pt>
                <c:pt idx="11">
                  <c:v>0.0002527358657467081</c:v>
                </c:pt>
                <c:pt idx="12">
                  <c:v>0.00025539818899465987</c:v>
                </c:pt>
                <c:pt idx="13">
                  <c:v>0.0002448340025462736</c:v>
                </c:pt>
                <c:pt idx="14">
                  <c:v>7.259879486000533e-05</c:v>
                </c:pt>
                <c:pt idx="15">
                  <c:v>0.00017333025190663278</c:v>
                </c:pt>
                <c:pt idx="16">
                  <c:v>6.557377049180328e-05</c:v>
                </c:pt>
                <c:pt idx="17">
                  <c:v>0.00014304616815077065</c:v>
                </c:pt>
                <c:pt idx="18">
                  <c:v>7.897958377759349e-05</c:v>
                </c:pt>
                <c:pt idx="19">
                  <c:v>0.0001392757660167131</c:v>
                </c:pt>
                <c:pt idx="20">
                  <c:v>0.0001914168676543777</c:v>
                </c:pt>
                <c:pt idx="21">
                  <c:v>4.517323937299544e-05</c:v>
                </c:pt>
                <c:pt idx="22">
                  <c:v>0.0003266753780100803</c:v>
                </c:pt>
                <c:pt idx="23">
                  <c:v>0.0002457968734637695</c:v>
                </c:pt>
                <c:pt idx="24">
                  <c:v>0.0004160118332254784</c:v>
                </c:pt>
                <c:pt idx="25">
                  <c:v>0.0005229578495973225</c:v>
                </c:pt>
                <c:pt idx="26">
                  <c:v>0.0004661787329262039</c:v>
                </c:pt>
                <c:pt idx="27">
                  <c:v>0.00022744848291861893</c:v>
                </c:pt>
                <c:pt idx="28">
                  <c:v>0.0002318141777551115</c:v>
                </c:pt>
                <c:pt idx="29">
                  <c:v>0.00036586853124110735</c:v>
                </c:pt>
                <c:pt idx="30">
                  <c:v>0.00026104207998329333</c:v>
                </c:pt>
                <c:pt idx="31">
                  <c:v>0.0003045221539867025</c:v>
                </c:pt>
                <c:pt idx="32">
                  <c:v>0.00020004000800160032</c:v>
                </c:pt>
                <c:pt idx="33">
                  <c:v>0.0005195428023339461</c:v>
                </c:pt>
                <c:pt idx="34">
                  <c:v>0.0005066406108638222</c:v>
                </c:pt>
                <c:pt idx="35">
                  <c:v>0.0005345687811831789</c:v>
                </c:pt>
                <c:pt idx="36">
                  <c:v>0.00033811706364114506</c:v>
                </c:pt>
                <c:pt idx="37">
                  <c:v>0.00026327336551118914</c:v>
                </c:pt>
                <c:pt idx="38">
                  <c:v>0.00021714583514288196</c:v>
                </c:pt>
                <c:pt idx="39">
                  <c:v>0.00027820280984837946</c:v>
                </c:pt>
                <c:pt idx="40">
                  <c:v>0.00015428527347064721</c:v>
                </c:pt>
                <c:pt idx="41">
                  <c:v>0.00016618196925633567</c:v>
                </c:pt>
                <c:pt idx="42">
                  <c:v>0.00010635280771412365</c:v>
                </c:pt>
                <c:pt idx="43">
                  <c:v>0.00022198262193188305</c:v>
                </c:pt>
                <c:pt idx="44">
                  <c:v>0.00019422085068732602</c:v>
                </c:pt>
                <c:pt idx="45">
                  <c:v>0.0001392065228199264</c:v>
                </c:pt>
                <c:pt idx="46">
                  <c:v>0.0002866479390013186</c:v>
                </c:pt>
                <c:pt idx="47">
                  <c:v>0.0003465937536103516</c:v>
                </c:pt>
                <c:pt idx="48">
                  <c:v>0.00017395085888236573</c:v>
                </c:pt>
                <c:pt idx="49">
                  <c:v>0.0001764757786993735</c:v>
                </c:pt>
                <c:pt idx="50">
                  <c:v>0.0002607124899905026</c:v>
                </c:pt>
                <c:pt idx="51">
                  <c:v>0.00033724537973829757</c:v>
                </c:pt>
                <c:pt idx="52">
                  <c:v>0.00011712573447595994</c:v>
                </c:pt>
                <c:pt idx="53">
                  <c:v>0.00014421690222094028</c:v>
                </c:pt>
                <c:pt idx="54">
                  <c:v>0.00034161082643542243</c:v>
                </c:pt>
                <c:pt idx="55">
                  <c:v>0.0002166553825321598</c:v>
                </c:pt>
                <c:pt idx="56">
                  <c:v>0.00021784119376974185</c:v>
                </c:pt>
                <c:pt idx="57">
                  <c:v>0.00014241633040588654</c:v>
                </c:pt>
                <c:pt idx="58">
                  <c:v>0.00015347848012453683</c:v>
                </c:pt>
                <c:pt idx="59">
                  <c:v>0.0001909798736594682</c:v>
                </c:pt>
                <c:pt idx="60">
                  <c:v>0.00033729521362030194</c:v>
                </c:pt>
                <c:pt idx="61">
                  <c:v>0.00034526661056084244</c:v>
                </c:pt>
                <c:pt idx="62">
                  <c:v>0.00037922679869377434</c:v>
                </c:pt>
                <c:pt idx="63">
                  <c:v>0.0003265902061360536</c:v>
                </c:pt>
                <c:pt idx="64">
                  <c:v>0.00044982569254413917</c:v>
                </c:pt>
                <c:pt idx="65">
                  <c:v>0.0003264639869414405</c:v>
                </c:pt>
                <c:pt idx="66">
                  <c:v>0.00035840026985432084</c:v>
                </c:pt>
                <c:pt idx="67">
                  <c:v>0.00026140943252369025</c:v>
                </c:pt>
                <c:pt idx="68">
                  <c:v>0.00042267659956675646</c:v>
                </c:pt>
                <c:pt idx="69">
                  <c:v>0.00044499212706236737</c:v>
                </c:pt>
                <c:pt idx="70">
                  <c:v>0.00035560728025086475</c:v>
                </c:pt>
                <c:pt idx="71">
                  <c:v>0.00037821482602118004</c:v>
                </c:pt>
                <c:pt idx="72">
                  <c:v>0.0005287857756626346</c:v>
                </c:pt>
                <c:pt idx="73">
                  <c:v>0.0008655011251514627</c:v>
                </c:pt>
                <c:pt idx="74">
                  <c:v>0.0009342052582410249</c:v>
                </c:pt>
                <c:pt idx="75">
                  <c:v>0.0009785118791342127</c:v>
                </c:pt>
                <c:pt idx="76">
                  <c:v>0.001377582968065122</c:v>
                </c:pt>
                <c:pt idx="77">
                  <c:v>0.0012530804895367778</c:v>
                </c:pt>
                <c:pt idx="78">
                  <c:v>0.0017800442605599924</c:v>
                </c:pt>
                <c:pt idx="79">
                  <c:v>0.0012622012790306295</c:v>
                </c:pt>
                <c:pt idx="80">
                  <c:v>0.001277737552706674</c:v>
                </c:pt>
                <c:pt idx="81">
                  <c:v>0.001474607970076248</c:v>
                </c:pt>
                <c:pt idx="82">
                  <c:v>0.0015154298310066127</c:v>
                </c:pt>
                <c:pt idx="83">
                  <c:v>0.0012142329215499947</c:v>
                </c:pt>
                <c:pt idx="84">
                  <c:v>0.0013257471137380545</c:v>
                </c:pt>
                <c:pt idx="85">
                  <c:v>0.0011378252696151183</c:v>
                </c:pt>
                <c:pt idx="86">
                  <c:v>0.0010361927318481238</c:v>
                </c:pt>
                <c:pt idx="87">
                  <c:v>0.0009866450544416647</c:v>
                </c:pt>
                <c:pt idx="88">
                  <c:v>0.001400131262305841</c:v>
                </c:pt>
                <c:pt idx="89">
                  <c:v>0.0016241520970669723</c:v>
                </c:pt>
                <c:pt idx="90">
                  <c:v>0.0014310387367382185</c:v>
                </c:pt>
                <c:pt idx="91">
                  <c:v>0.0016291193446285608</c:v>
                </c:pt>
                <c:pt idx="92">
                  <c:v>0.001333790632978926</c:v>
                </c:pt>
                <c:pt idx="93">
                  <c:v>0.001266577261212934</c:v>
                </c:pt>
                <c:pt idx="94">
                  <c:v>0.0014334499768118387</c:v>
                </c:pt>
                <c:pt idx="95">
                  <c:v>0.0014944036109670927</c:v>
                </c:pt>
                <c:pt idx="96">
                  <c:v>0.0018807514049660793</c:v>
                </c:pt>
                <c:pt idx="97">
                  <c:v>0.002286209818876998</c:v>
                </c:pt>
                <c:pt idx="98">
                  <c:v>0.002183143382668936</c:v>
                </c:pt>
                <c:pt idx="99">
                  <c:v>0.0020329456784956203</c:v>
                </c:pt>
                <c:pt idx="100">
                  <c:v>0.0015614231564438318</c:v>
                </c:pt>
                <c:pt idx="101">
                  <c:v>0.0020515565070020514</c:v>
                </c:pt>
                <c:pt idx="102">
                  <c:v>0.0016952933303591344</c:v>
                </c:pt>
                <c:pt idx="103">
                  <c:v>0.001670790770467187</c:v>
                </c:pt>
                <c:pt idx="104">
                  <c:v>0.001277385457087079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570901701869049</c:v>
                </c:pt>
                <c:pt idx="1">
                  <c:v>0.6878278211701246</c:v>
                </c:pt>
                <c:pt idx="2">
                  <c:v>0.7321423964525585</c:v>
                </c:pt>
                <c:pt idx="3">
                  <c:v>0.6311194615900372</c:v>
                </c:pt>
                <c:pt idx="4">
                  <c:v>0.7537313749686164</c:v>
                </c:pt>
                <c:pt idx="5">
                  <c:v>0.803258136519184</c:v>
                </c:pt>
                <c:pt idx="6">
                  <c:v>0.733405950292105</c:v>
                </c:pt>
                <c:pt idx="7">
                  <c:v>0.6751452196149667</c:v>
                </c:pt>
                <c:pt idx="8">
                  <c:v>0.6706781379642341</c:v>
                </c:pt>
                <c:pt idx="9">
                  <c:v>0.6826295170583118</c:v>
                </c:pt>
                <c:pt idx="10">
                  <c:v>0.7070705865231366</c:v>
                </c:pt>
                <c:pt idx="11">
                  <c:v>0.7073224760220113</c:v>
                </c:pt>
                <c:pt idx="12">
                  <c:v>0.640090916104257</c:v>
                </c:pt>
                <c:pt idx="13">
                  <c:v>0.556846885313277</c:v>
                </c:pt>
                <c:pt idx="14">
                  <c:v>0.5542192333709371</c:v>
                </c:pt>
                <c:pt idx="15">
                  <c:v>0.5593285831090409</c:v>
                </c:pt>
                <c:pt idx="16">
                  <c:v>0.573660284891846</c:v>
                </c:pt>
                <c:pt idx="17">
                  <c:v>0.4206542713737571</c:v>
                </c:pt>
                <c:pt idx="18">
                  <c:v>0.5740862683605752</c:v>
                </c:pt>
                <c:pt idx="19">
                  <c:v>0.6365397312946541</c:v>
                </c:pt>
                <c:pt idx="20">
                  <c:v>0.5732789483120787</c:v>
                </c:pt>
                <c:pt idx="21">
                  <c:v>0.48193186526552306</c:v>
                </c:pt>
                <c:pt idx="22">
                  <c:v>0.5426885694153993</c:v>
                </c:pt>
                <c:pt idx="23">
                  <c:v>0.40587991306471755</c:v>
                </c:pt>
                <c:pt idx="24">
                  <c:v>0.5164542427306748</c:v>
                </c:pt>
                <c:pt idx="25">
                  <c:v>0.4648040508085898</c:v>
                </c:pt>
                <c:pt idx="26">
                  <c:v>0.48197466087698615</c:v>
                </c:pt>
                <c:pt idx="27">
                  <c:v>0.47635137762871893</c:v>
                </c:pt>
                <c:pt idx="28">
                  <c:v>0.500586076186557</c:v>
                </c:pt>
                <c:pt idx="29">
                  <c:v>0.45214909159285127</c:v>
                </c:pt>
                <c:pt idx="30">
                  <c:v>0.43745680704323203</c:v>
                </c:pt>
                <c:pt idx="31">
                  <c:v>0.48371869051077726</c:v>
                </c:pt>
                <c:pt idx="32">
                  <c:v>0.5403735250753909</c:v>
                </c:pt>
                <c:pt idx="33">
                  <c:v>0.5328300683439222</c:v>
                </c:pt>
                <c:pt idx="34">
                  <c:v>0.5988717529912254</c:v>
                </c:pt>
                <c:pt idx="35">
                  <c:v>0.5362376059875177</c:v>
                </c:pt>
                <c:pt idx="36">
                  <c:v>0.49659324439400937</c:v>
                </c:pt>
                <c:pt idx="37">
                  <c:v>0.5272807292453757</c:v>
                </c:pt>
                <c:pt idx="38">
                  <c:v>0.43399694247260673</c:v>
                </c:pt>
                <c:pt idx="39">
                  <c:v>0.42721277801499746</c:v>
                </c:pt>
                <c:pt idx="40">
                  <c:v>0.4111992646840807</c:v>
                </c:pt>
                <c:pt idx="41">
                  <c:v>0.4686551262993973</c:v>
                </c:pt>
                <c:pt idx="42">
                  <c:v>0.4315372805394643</c:v>
                </c:pt>
                <c:pt idx="43">
                  <c:v>0.4957682264345494</c:v>
                </c:pt>
                <c:pt idx="44">
                  <c:v>0.5909511256264609</c:v>
                </c:pt>
                <c:pt idx="45">
                  <c:v>0.644107508383308</c:v>
                </c:pt>
                <c:pt idx="46">
                  <c:v>0.6212747882738747</c:v>
                </c:pt>
                <c:pt idx="47">
                  <c:v>0.6111341914727624</c:v>
                </c:pt>
                <c:pt idx="48">
                  <c:v>0.5886042806300649</c:v>
                </c:pt>
                <c:pt idx="49">
                  <c:v>0.6235936647608807</c:v>
                </c:pt>
                <c:pt idx="50">
                  <c:v>0.7184439940963163</c:v>
                </c:pt>
                <c:pt idx="51">
                  <c:v>0.6740791331810876</c:v>
                </c:pt>
              </c:numCache>
            </c:numRef>
          </c:xVal>
          <c:yVal>
            <c:numRef>
              <c:f>Sheet1!$B$109:$B$160</c:f>
              <c:numCache>
                <c:formatCode>General</c:formatCode>
                <c:ptCount val="52"/>
                <c:pt idx="0">
                  <c:v>0.0012644154258681956</c:v>
                </c:pt>
                <c:pt idx="1">
                  <c:v>0.0014919806042521448</c:v>
                </c:pt>
                <c:pt idx="2">
                  <c:v>0.0014490927419354839</c:v>
                </c:pt>
                <c:pt idx="3">
                  <c:v>0.0015493812943615083</c:v>
                </c:pt>
                <c:pt idx="4">
                  <c:v>0.001476399322593252</c:v>
                </c:pt>
                <c:pt idx="5">
                  <c:v>0.0012921877395475152</c:v>
                </c:pt>
                <c:pt idx="6">
                  <c:v>0.0015012792590869686</c:v>
                </c:pt>
                <c:pt idx="7">
                  <c:v>0.0017356665243989187</c:v>
                </c:pt>
                <c:pt idx="8">
                  <c:v>0.0020275117751645403</c:v>
                </c:pt>
                <c:pt idx="9">
                  <c:v>0.0020895351499885507</c:v>
                </c:pt>
                <c:pt idx="10">
                  <c:v>0.001986152106148796</c:v>
                </c:pt>
                <c:pt idx="11">
                  <c:v>0.0020591538749532012</c:v>
                </c:pt>
                <c:pt idx="12">
                  <c:v>0.002066261241165559</c:v>
                </c:pt>
                <c:pt idx="13">
                  <c:v>0.0030296420174992125</c:v>
                </c:pt>
                <c:pt idx="14">
                  <c:v>0.0029944086705355486</c:v>
                </c:pt>
                <c:pt idx="15">
                  <c:v>0.002915286858566132</c:v>
                </c:pt>
                <c:pt idx="16">
                  <c:v>0.002708645358656512</c:v>
                </c:pt>
                <c:pt idx="17">
                  <c:v>0.003584471797646422</c:v>
                </c:pt>
                <c:pt idx="18">
                  <c:v>0.0019437920142544747</c:v>
                </c:pt>
                <c:pt idx="19">
                  <c:v>0.0016996748448122967</c:v>
                </c:pt>
                <c:pt idx="20">
                  <c:v>0.0019800379844021497</c:v>
                </c:pt>
                <c:pt idx="21">
                  <c:v>0.0025989026855327752</c:v>
                </c:pt>
                <c:pt idx="22">
                  <c:v>0.0022795615481618005</c:v>
                </c:pt>
                <c:pt idx="23">
                  <c:v>0.0023307661126874745</c:v>
                </c:pt>
                <c:pt idx="24">
                  <c:v>0.002144286667302011</c:v>
                </c:pt>
                <c:pt idx="25">
                  <c:v>0.0024474301982917936</c:v>
                </c:pt>
                <c:pt idx="26">
                  <c:v>0.002500480861704174</c:v>
                </c:pt>
                <c:pt idx="27">
                  <c:v>0.0023867365639517538</c:v>
                </c:pt>
                <c:pt idx="28">
                  <c:v>0.0020089021940363177</c:v>
                </c:pt>
                <c:pt idx="29">
                  <c:v>0.002370329057445622</c:v>
                </c:pt>
                <c:pt idx="30">
                  <c:v>0.0022742669118358655</c:v>
                </c:pt>
                <c:pt idx="31">
                  <c:v>0.002381854598603367</c:v>
                </c:pt>
                <c:pt idx="32">
                  <c:v>0.002019619157530294</c:v>
                </c:pt>
                <c:pt idx="33">
                  <c:v>0.002039265864288856</c:v>
                </c:pt>
                <c:pt idx="34">
                  <c:v>0.001879817031142302</c:v>
                </c:pt>
                <c:pt idx="35">
                  <c:v>0.002231652886514963</c:v>
                </c:pt>
                <c:pt idx="36">
                  <c:v>0.002580228995323335</c:v>
                </c:pt>
                <c:pt idx="37">
                  <c:v>0.0026268424380989446</c:v>
                </c:pt>
                <c:pt idx="38">
                  <c:v>0.0029482712409541678</c:v>
                </c:pt>
                <c:pt idx="39">
                  <c:v>0.0028929206099929743</c:v>
                </c:pt>
                <c:pt idx="40">
                  <c:v>0.0027341358906345643</c:v>
                </c:pt>
                <c:pt idx="41">
                  <c:v>0.002220265666271102</c:v>
                </c:pt>
                <c:pt idx="42">
                  <c:v>0.002547987090198743</c:v>
                </c:pt>
                <c:pt idx="43">
                  <c:v>0.0018642923724727588</c:v>
                </c:pt>
                <c:pt idx="44">
                  <c:v>0.0014157873647655938</c:v>
                </c:pt>
                <c:pt idx="45">
                  <c:v>0.0011778802217664141</c:v>
                </c:pt>
                <c:pt idx="46">
                  <c:v>0.0012631169840652933</c:v>
                </c:pt>
                <c:pt idx="47">
                  <c:v>0.0013494659317033004</c:v>
                </c:pt>
                <c:pt idx="48">
                  <c:v>0.0014849957571549796</c:v>
                </c:pt>
                <c:pt idx="49">
                  <c:v>0.0013695022386094285</c:v>
                </c:pt>
                <c:pt idx="50">
                  <c:v>0.0011507750117426023</c:v>
                </c:pt>
                <c:pt idx="51">
                  <c:v>0.001245896452161531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8293895122508174</c:v>
                </c:pt>
              </c:numCache>
            </c:numRef>
          </c:xVal>
          <c:yVal>
            <c:numRef>
              <c:f>Sheet1!$B$163:$B$164</c:f>
              <c:numCache>
                <c:formatCode>General</c:formatCode>
                <c:ptCount val="2"/>
                <c:pt idx="0">
                  <c:v>0.0024350742003201257</c:v>
                </c:pt>
                <c:pt idx="1">
                  <c:v>0.002435074200320125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8293895122508174</c:v>
                </c:pt>
                <c:pt idx="1">
                  <c:v>0.48293895122508174</c:v>
                </c:pt>
              </c:numCache>
            </c:numRef>
          </c:xVal>
          <c:yVal>
            <c:numRef>
              <c:f>Sheet1!$B$167:$B$168</c:f>
              <c:numCache>
                <c:formatCode>General</c:formatCode>
                <c:ptCount val="2"/>
                <c:pt idx="0">
                  <c:v>0.002435074200320125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8293895122508174</c:v>
                </c:pt>
              </c:numCache>
            </c:numRef>
          </c:xVal>
          <c:yVal>
            <c:numRef>
              <c:f>Sheet1!$B$171:$B$172</c:f>
              <c:numCache>
                <c:formatCode>General</c:formatCode>
                <c:ptCount val="2"/>
                <c:pt idx="0">
                  <c:v>0.0024350742003201257</c:v>
                </c:pt>
                <c:pt idx="1">
                  <c:v>0.002435074200320125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8293895122508174</c:v>
                </c:pt>
                <c:pt idx="1">
                  <c:v>0.48293895122508174</c:v>
                </c:pt>
              </c:numCache>
            </c:numRef>
          </c:xVal>
          <c:yVal>
            <c:numRef>
              <c:f>Sheet1!$B$175:$B$176</c:f>
              <c:numCache>
                <c:formatCode>General</c:formatCode>
                <c:ptCount val="2"/>
                <c:pt idx="0">
                  <c:v>0.002435074200320125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541502144340359</c:v>
                </c:pt>
              </c:numCache>
            </c:numRef>
          </c:xVal>
          <c:yVal>
            <c:numRef>
              <c:f>Sheet1!$B$179:$B$180</c:f>
              <c:numCache>
                <c:formatCode>General</c:formatCode>
                <c:ptCount val="2"/>
                <c:pt idx="0">
                  <c:v>0.0017474631993491757</c:v>
                </c:pt>
                <c:pt idx="1">
                  <c:v>0.001747463199349175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541502144340359</c:v>
                </c:pt>
                <c:pt idx="1">
                  <c:v>0.6541502144340359</c:v>
                </c:pt>
              </c:numCache>
            </c:numRef>
          </c:xVal>
          <c:yVal>
            <c:numRef>
              <c:f>Sheet1!$B$183:$B$184</c:f>
              <c:numCache>
                <c:formatCode>General</c:formatCode>
                <c:ptCount val="2"/>
                <c:pt idx="0">
                  <c:v>0.001747463199349175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570901701869049</c:v>
                </c:pt>
                <c:pt idx="1">
                  <c:v>0.6878278211701246</c:v>
                </c:pt>
                <c:pt idx="2">
                  <c:v>0.7321423964525585</c:v>
                </c:pt>
                <c:pt idx="3">
                  <c:v>0.6311194615900372</c:v>
                </c:pt>
                <c:pt idx="4">
                  <c:v>0.7537313749686164</c:v>
                </c:pt>
                <c:pt idx="5">
                  <c:v>0.803258136519184</c:v>
                </c:pt>
                <c:pt idx="6">
                  <c:v>0.733405950292105</c:v>
                </c:pt>
                <c:pt idx="7">
                  <c:v>0.6751452196149667</c:v>
                </c:pt>
                <c:pt idx="8">
                  <c:v>0.6706781379642341</c:v>
                </c:pt>
                <c:pt idx="9">
                  <c:v>0.6826295170583118</c:v>
                </c:pt>
                <c:pt idx="10">
                  <c:v>0.7070705865231366</c:v>
                </c:pt>
                <c:pt idx="11">
                  <c:v>0.7073224760220113</c:v>
                </c:pt>
                <c:pt idx="12">
                  <c:v>0.640090916104257</c:v>
                </c:pt>
                <c:pt idx="13">
                  <c:v>0.556846885313277</c:v>
                </c:pt>
                <c:pt idx="14">
                  <c:v>0.5542192333709371</c:v>
                </c:pt>
                <c:pt idx="15">
                  <c:v>0.5593285831090409</c:v>
                </c:pt>
                <c:pt idx="16">
                  <c:v>0.573660284891846</c:v>
                </c:pt>
                <c:pt idx="17">
                  <c:v>0.4206542713737571</c:v>
                </c:pt>
                <c:pt idx="18">
                  <c:v>0.5740862683605752</c:v>
                </c:pt>
                <c:pt idx="19">
                  <c:v>0.6365397312946541</c:v>
                </c:pt>
                <c:pt idx="20">
                  <c:v>0.5732789483120787</c:v>
                </c:pt>
                <c:pt idx="21">
                  <c:v>0.48193186526552306</c:v>
                </c:pt>
                <c:pt idx="22">
                  <c:v>0.5426885694153993</c:v>
                </c:pt>
                <c:pt idx="23">
                  <c:v>0.40587991306471755</c:v>
                </c:pt>
                <c:pt idx="24">
                  <c:v>0.5164542427306748</c:v>
                </c:pt>
                <c:pt idx="25">
                  <c:v>0.4648040508085898</c:v>
                </c:pt>
                <c:pt idx="26">
                  <c:v>0.48197466087698615</c:v>
                </c:pt>
                <c:pt idx="27">
                  <c:v>0.47635137762871893</c:v>
                </c:pt>
                <c:pt idx="28">
                  <c:v>0.500586076186557</c:v>
                </c:pt>
                <c:pt idx="29">
                  <c:v>0.45214909159285127</c:v>
                </c:pt>
                <c:pt idx="30">
                  <c:v>0.43745680704323203</c:v>
                </c:pt>
                <c:pt idx="31">
                  <c:v>0.48371869051077726</c:v>
                </c:pt>
                <c:pt idx="32">
                  <c:v>0.5403735250753909</c:v>
                </c:pt>
                <c:pt idx="33">
                  <c:v>0.5328300683439222</c:v>
                </c:pt>
                <c:pt idx="34">
                  <c:v>0.5988717529912254</c:v>
                </c:pt>
                <c:pt idx="35">
                  <c:v>0.5362376059875177</c:v>
                </c:pt>
                <c:pt idx="36">
                  <c:v>0.49659324439400937</c:v>
                </c:pt>
                <c:pt idx="37">
                  <c:v>0.5272807292453757</c:v>
                </c:pt>
                <c:pt idx="38">
                  <c:v>0.43399694247260673</c:v>
                </c:pt>
                <c:pt idx="39">
                  <c:v>0.42721277801499746</c:v>
                </c:pt>
                <c:pt idx="40">
                  <c:v>0.4111992646840807</c:v>
                </c:pt>
                <c:pt idx="41">
                  <c:v>0.4686551262993973</c:v>
                </c:pt>
                <c:pt idx="42">
                  <c:v>0.4315372805394643</c:v>
                </c:pt>
                <c:pt idx="43">
                  <c:v>0.4957682264345494</c:v>
                </c:pt>
                <c:pt idx="44">
                  <c:v>0.5909511256264609</c:v>
                </c:pt>
                <c:pt idx="45">
                  <c:v>0.644107508383308</c:v>
                </c:pt>
                <c:pt idx="46">
                  <c:v>0.6212747882738747</c:v>
                </c:pt>
                <c:pt idx="47">
                  <c:v>0.6111341914727624</c:v>
                </c:pt>
                <c:pt idx="48">
                  <c:v>0.5886042806300649</c:v>
                </c:pt>
                <c:pt idx="49">
                  <c:v>0.6235936647608807</c:v>
                </c:pt>
                <c:pt idx="50">
                  <c:v>0.7184439940963163</c:v>
                </c:pt>
                <c:pt idx="51">
                  <c:v>0.6740791331810876</c:v>
                </c:pt>
                <c:pt idx="52">
                  <c:v>0.48293895122508174</c:v>
                </c:pt>
                <c:pt idx="53">
                  <c:v>0.48293895122508174</c:v>
                </c:pt>
                <c:pt idx="54">
                  <c:v>0.6541502144340359</c:v>
                </c:pt>
              </c:numCache>
            </c:numRef>
          </c:xVal>
          <c:yVal>
            <c:numRef>
              <c:f>Sheet1!$B$187:$B$241</c:f>
              <c:numCache>
                <c:formatCode>General</c:formatCode>
                <c:ptCount val="55"/>
                <c:pt idx="0">
                  <c:v>0.0013340403632081375</c:v>
                </c:pt>
                <c:pt idx="1">
                  <c:v>0.001612208704731926</c:v>
                </c:pt>
                <c:pt idx="2">
                  <c:v>0.0014342344938275391</c:v>
                </c:pt>
                <c:pt idx="3">
                  <c:v>0.0018399582765968054</c:v>
                </c:pt>
                <c:pt idx="4">
                  <c:v>0.00134752980601007</c:v>
                </c:pt>
                <c:pt idx="5">
                  <c:v>0.001148622646245278</c:v>
                </c:pt>
                <c:pt idx="6">
                  <c:v>0.0014291598655343592</c:v>
                </c:pt>
                <c:pt idx="7">
                  <c:v>0.0016631440006161387</c:v>
                </c:pt>
                <c:pt idx="8">
                  <c:v>0.001681084493710512</c:v>
                </c:pt>
                <c:pt idx="9">
                  <c:v>0.001633085900698366</c:v>
                </c:pt>
                <c:pt idx="10">
                  <c:v>0.0015349267730538373</c:v>
                </c:pt>
                <c:pt idx="11">
                  <c:v>0.0015339151457390856</c:v>
                </c:pt>
                <c:pt idx="12">
                  <c:v>0.0018039275231109251</c:v>
                </c:pt>
                <c:pt idx="13">
                  <c:v>0.00213824846826501</c:v>
                </c:pt>
                <c:pt idx="14">
                  <c:v>0.0021488015262146522</c:v>
                </c:pt>
                <c:pt idx="15">
                  <c:v>0.0021282815848166353</c:v>
                </c:pt>
                <c:pt idx="16">
                  <c:v>0.0020707232465169835</c:v>
                </c:pt>
                <c:pt idx="17">
                  <c:v>0.0026852191397068277</c:v>
                </c:pt>
                <c:pt idx="18">
                  <c:v>0.0020690124308040446</c:v>
                </c:pt>
                <c:pt idx="19">
                  <c:v>0.0018181896323658736</c:v>
                </c:pt>
                <c:pt idx="20">
                  <c:v>0.0020722547533957134</c:v>
                </c:pt>
                <c:pt idx="21">
                  <c:v>0.0024391188138095476</c:v>
                </c:pt>
                <c:pt idx="22">
                  <c:v>0.00219511046194542</c:v>
                </c:pt>
                <c:pt idx="23">
                  <c:v>0.002744555255305622</c:v>
                </c:pt>
                <c:pt idx="24">
                  <c:v>0.0023004715888560174</c:v>
                </c:pt>
                <c:pt idx="25">
                  <c:v>0.0025079067744988104</c:v>
                </c:pt>
                <c:pt idx="26">
                  <c:v>0.0024389469399930487</c:v>
                </c:pt>
                <c:pt idx="27">
                  <c:v>0.002461530918118163</c:v>
                </c:pt>
                <c:pt idx="28">
                  <c:v>0.002364200608059959</c:v>
                </c:pt>
                <c:pt idx="29">
                  <c:v>0.00255873105445848</c:v>
                </c:pt>
                <c:pt idx="30">
                  <c:v>0.002617737549103543</c:v>
                </c:pt>
                <c:pt idx="31">
                  <c:v>0.002431942646351745</c:v>
                </c:pt>
                <c:pt idx="32">
                  <c:v>0.00220440803925482</c:v>
                </c:pt>
                <c:pt idx="33">
                  <c:v>0.0022347037320538145</c:v>
                </c:pt>
                <c:pt idx="34">
                  <c:v>0.0019694700784085033</c:v>
                </c:pt>
                <c:pt idx="35">
                  <c:v>0.0022210185321081817</c:v>
                </c:pt>
                <c:pt idx="36">
                  <c:v>0.002380236440131542</c:v>
                </c:pt>
                <c:pt idx="37">
                  <c:v>0.0022569907389992736</c:v>
                </c:pt>
                <c:pt idx="38">
                  <c:v>0.0026316329021080246</c:v>
                </c:pt>
                <c:pt idx="39">
                  <c:v>0.002658879159311063</c:v>
                </c:pt>
                <c:pt idx="40">
                  <c:v>0.0027231919137651606</c:v>
                </c:pt>
                <c:pt idx="41">
                  <c:v>0.002492440257732229</c:v>
                </c:pt>
                <c:pt idx="42">
                  <c:v>0.0026415112861126687</c:v>
                </c:pt>
                <c:pt idx="43">
                  <c:v>0.002383549840279936</c:v>
                </c:pt>
                <c:pt idx="44">
                  <c:v>0.0020012805469987426</c:v>
                </c:pt>
                <c:pt idx="45">
                  <c:v>0.0017877962652384813</c:v>
                </c:pt>
                <c:pt idx="46">
                  <c:v>0.0018794960122941171</c:v>
                </c:pt>
                <c:pt idx="47">
                  <c:v>0.0019202222226272873</c:v>
                </c:pt>
                <c:pt idx="48">
                  <c:v>0.002010705840678902</c:v>
                </c:pt>
                <c:pt idx="49">
                  <c:v>0.0018701830444877161</c:v>
                </c:pt>
                <c:pt idx="50">
                  <c:v>0.0014892494033570771</c:v>
                </c:pt>
                <c:pt idx="51">
                  <c:v>0.0016674255691659047</c:v>
                </c:pt>
                <c:pt idx="52">
                  <c:v>0.0024350742003201257</c:v>
                </c:pt>
                <c:pt idx="53">
                  <c:v>0.0024350742003201257</c:v>
                </c:pt>
                <c:pt idx="54">
                  <c:v>0.001747463199349175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3013661571757065"/>
          <c:min val="3.6138591498396357e-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9</c:f>
              <c:numCache>
                <c:formatCode>General</c:formatCode>
                <c:ptCount val="58"/>
                <c:pt idx="0">
                  <c:v>629.85</c:v>
                </c:pt>
                <c:pt idx="1">
                  <c:v>599.8571</c:v>
                </c:pt>
                <c:pt idx="2">
                  <c:v>1419.8861</c:v>
                </c:pt>
                <c:pt idx="3">
                  <c:v>646.0</c:v>
                </c:pt>
                <c:pt idx="4">
                  <c:v>601.6667</c:v>
                </c:pt>
                <c:pt idx="5">
                  <c:v>1810.5333</c:v>
                </c:pt>
                <c:pt idx="6">
                  <c:v>703.6</c:v>
                </c:pt>
                <c:pt idx="7">
                  <c:v>718.1333</c:v>
                </c:pt>
                <c:pt idx="8">
                  <c:v>714.0333</c:v>
                </c:pt>
                <c:pt idx="9">
                  <c:v>678.1299</c:v>
                </c:pt>
                <c:pt idx="10">
                  <c:v>925.4167</c:v>
                </c:pt>
                <c:pt idx="11">
                  <c:v>1304.3588</c:v>
                </c:pt>
                <c:pt idx="12">
                  <c:v>1108.1429</c:v>
                </c:pt>
                <c:pt idx="13">
                  <c:v>1524.5</c:v>
                </c:pt>
                <c:pt idx="14">
                  <c:v>1269.0</c:v>
                </c:pt>
                <c:pt idx="15">
                  <c:v>146.375</c:v>
                </c:pt>
                <c:pt idx="16">
                  <c:v>1773.0714</c:v>
                </c:pt>
                <c:pt idx="17">
                  <c:v>3436.5</c:v>
                </c:pt>
                <c:pt idx="18">
                  <c:v>1666.8182</c:v>
                </c:pt>
                <c:pt idx="19">
                  <c:v>1546.7093</c:v>
                </c:pt>
                <c:pt idx="20">
                  <c:v>1180.3151</c:v>
                </c:pt>
                <c:pt idx="21">
                  <c:v>1639.58</c:v>
                </c:pt>
                <c:pt idx="22">
                  <c:v>2228.6667</c:v>
                </c:pt>
                <c:pt idx="23">
                  <c:v>800.7321</c:v>
                </c:pt>
                <c:pt idx="24">
                  <c:v>1505.4516</c:v>
                </c:pt>
                <c:pt idx="25">
                  <c:v>984.4545</c:v>
                </c:pt>
                <c:pt idx="26">
                  <c:v>873.5297</c:v>
                </c:pt>
                <c:pt idx="27">
                  <c:v>1894.9184</c:v>
                </c:pt>
                <c:pt idx="28">
                  <c:v>1117.3077</c:v>
                </c:pt>
                <c:pt idx="29">
                  <c:v>1129.8571</c:v>
                </c:pt>
                <c:pt idx="30">
                  <c:v>1310.4895</c:v>
                </c:pt>
                <c:pt idx="31">
                  <c:v>1116.6154</c:v>
                </c:pt>
                <c:pt idx="32">
                  <c:v>1335.625</c:v>
                </c:pt>
                <c:pt idx="33">
                  <c:v>7344.0</c:v>
                </c:pt>
                <c:pt idx="34">
                  <c:v>1130.75</c:v>
                </c:pt>
                <c:pt idx="35">
                  <c:v>7044.0</c:v>
                </c:pt>
                <c:pt idx="36">
                  <c:v>2083.1429</c:v>
                </c:pt>
                <c:pt idx="37">
                  <c:v>1374.3333</c:v>
                </c:pt>
                <c:pt idx="38">
                  <c:v>1366.5833</c:v>
                </c:pt>
                <c:pt idx="39">
                  <c:v>1129.0233</c:v>
                </c:pt>
                <c:pt idx="40">
                  <c:v>1097.4</c:v>
                </c:pt>
                <c:pt idx="41">
                  <c:v>1128.2069</c:v>
                </c:pt>
                <c:pt idx="42">
                  <c:v>1214.0</c:v>
                </c:pt>
                <c:pt idx="43">
                  <c:v>1160.4706</c:v>
                </c:pt>
                <c:pt idx="44">
                  <c:v>2249.7273</c:v>
                </c:pt>
                <c:pt idx="45">
                  <c:v>1615.8571</c:v>
                </c:pt>
                <c:pt idx="46">
                  <c:v>4285.75</c:v>
                </c:pt>
                <c:pt idx="47">
                  <c:v>1443.1216</c:v>
                </c:pt>
                <c:pt idx="48">
                  <c:v>2792.0</c:v>
                </c:pt>
                <c:pt idx="49">
                  <c:v>1790.6796</c:v>
                </c:pt>
                <c:pt idx="50">
                  <c:v>1141.8333</c:v>
                </c:pt>
                <c:pt idx="51">
                  <c:v>1423.6154</c:v>
                </c:pt>
                <c:pt idx="52">
                  <c:v>1112.6111</c:v>
                </c:pt>
                <c:pt idx="53">
                  <c:v>597.5082</c:v>
                </c:pt>
                <c:pt idx="54">
                  <c:v>1016.7</c:v>
                </c:pt>
                <c:pt idx="55">
                  <c:v>796.3098</c:v>
                </c:pt>
                <c:pt idx="56">
                  <c:v>1397.76</c:v>
                </c:pt>
                <c:pt idx="57">
                  <c:v>1729.2222</c:v>
                </c:pt>
              </c:numCache>
            </c:numRef>
          </c:xVal>
          <c:yVal>
            <c:numRef>
              <c:f>Sheet1!$B$2:$B$59</c:f>
              <c:numCache>
                <c:formatCode>General</c:formatCode>
                <c:ptCount val="58"/>
                <c:pt idx="0">
                  <c:v>0.01330671989354624</c:v>
                </c:pt>
                <c:pt idx="1">
                  <c:v>0.011824324324324325</c:v>
                </c:pt>
                <c:pt idx="2">
                  <c:v>0.23372781065088757</c:v>
                </c:pt>
                <c:pt idx="3">
                  <c:v>0.06280193236714976</c:v>
                </c:pt>
                <c:pt idx="4">
                  <c:v>0.039473684210526314</c:v>
                </c:pt>
                <c:pt idx="5">
                  <c:v>0.05628517823639775</c:v>
                </c:pt>
                <c:pt idx="6">
                  <c:v>0.046583850931677016</c:v>
                </c:pt>
                <c:pt idx="7">
                  <c:v>0.06342494714587738</c:v>
                </c:pt>
                <c:pt idx="8">
                  <c:v>0.04032258064516129</c:v>
                </c:pt>
                <c:pt idx="9">
                  <c:v>0.30078125</c:v>
                </c:pt>
                <c:pt idx="10">
                  <c:v>0.12</c:v>
                </c:pt>
                <c:pt idx="11">
                  <c:v>0.2503871966959215</c:v>
                </c:pt>
                <c:pt idx="12">
                  <c:v>0.09417040358744394</c:v>
                </c:pt>
                <c:pt idx="13">
                  <c:v>0.027649769585253458</c:v>
                </c:pt>
                <c:pt idx="14">
                  <c:v>0.016203703703703703</c:v>
                </c:pt>
                <c:pt idx="15">
                  <c:v>0.09876543209876543</c:v>
                </c:pt>
                <c:pt idx="16">
                  <c:v>0.029723991507430998</c:v>
                </c:pt>
                <c:pt idx="17">
                  <c:v>0.00392156862745098</c:v>
                </c:pt>
                <c:pt idx="18">
                  <c:v>0.06790123456790123</c:v>
                </c:pt>
                <c:pt idx="19">
                  <c:v>0.04994192799070848</c:v>
                </c:pt>
                <c:pt idx="20">
                  <c:v>0.0863905325443787</c:v>
                </c:pt>
                <c:pt idx="21">
                  <c:v>0.0254841997961264</c:v>
                </c:pt>
                <c:pt idx="22">
                  <c:v>0.00949367088607595</c:v>
                </c:pt>
                <c:pt idx="23">
                  <c:v>0.07239819004524888</c:v>
                </c:pt>
                <c:pt idx="24">
                  <c:v>0.059961315280464215</c:v>
                </c:pt>
                <c:pt idx="25">
                  <c:v>0.00909090909090909</c:v>
                </c:pt>
                <c:pt idx="26">
                  <c:v>0.1600633914421553</c:v>
                </c:pt>
                <c:pt idx="27">
                  <c:v>0.04914744232698094</c:v>
                </c:pt>
                <c:pt idx="28">
                  <c:v>0.052489905787348586</c:v>
                </c:pt>
                <c:pt idx="29">
                  <c:v>0.006517690875232775</c:v>
                </c:pt>
                <c:pt idx="30">
                  <c:v>0.19066666666666668</c:v>
                </c:pt>
                <c:pt idx="31">
                  <c:v>0.23780487804878048</c:v>
                </c:pt>
                <c:pt idx="32">
                  <c:v>0.026272577996715927</c:v>
                </c:pt>
                <c:pt idx="33">
                  <c:v>0.00228310502283105</c:v>
                </c:pt>
                <c:pt idx="34">
                  <c:v>0.07785888077858881</c:v>
                </c:pt>
                <c:pt idx="35">
                  <c:v>0.0016339869281045752</c:v>
                </c:pt>
                <c:pt idx="36">
                  <c:v>0.009510869565217392</c:v>
                </c:pt>
                <c:pt idx="37">
                  <c:v>0.01437125748502994</c:v>
                </c:pt>
                <c:pt idx="38">
                  <c:v>0.08888888888888889</c:v>
                </c:pt>
                <c:pt idx="39">
                  <c:v>0.0730050933786078</c:v>
                </c:pt>
                <c:pt idx="40">
                  <c:v>0.02881844380403458</c:v>
                </c:pt>
                <c:pt idx="41">
                  <c:v>0.07571801566579635</c:v>
                </c:pt>
                <c:pt idx="42">
                  <c:v>0.008915304606240713</c:v>
                </c:pt>
                <c:pt idx="43">
                  <c:v>0.016361886429258902</c:v>
                </c:pt>
                <c:pt idx="44">
                  <c:v>0.022494887525562373</c:v>
                </c:pt>
                <c:pt idx="45">
                  <c:v>0.02666666666666667</c:v>
                </c:pt>
                <c:pt idx="46">
                  <c:v>0.00975609756097561</c:v>
                </c:pt>
                <c:pt idx="47">
                  <c:v>0.2540045766590389</c:v>
                </c:pt>
                <c:pt idx="48">
                  <c:v>0.002621231979030144</c:v>
                </c:pt>
                <c:pt idx="49">
                  <c:v>0.15236686390532544</c:v>
                </c:pt>
                <c:pt idx="50">
                  <c:v>0.008438818565400843</c:v>
                </c:pt>
                <c:pt idx="51">
                  <c:v>0.04391891891891892</c:v>
                </c:pt>
                <c:pt idx="52">
                  <c:v>0.026905829596412557</c:v>
                </c:pt>
                <c:pt idx="53">
                  <c:v>0.09256449165402124</c:v>
                </c:pt>
                <c:pt idx="54">
                  <c:v>0.025252525252525252</c:v>
                </c:pt>
                <c:pt idx="55">
                  <c:v>0.2010928961748634</c:v>
                </c:pt>
                <c:pt idx="56">
                  <c:v>0.05411255411255411</c:v>
                </c:pt>
                <c:pt idx="57">
                  <c:v>0.02278481012658228</c:v>
                </c:pt>
              </c:numCache>
            </c:numRef>
          </c:yVal>
          <c:smooth val="0"/>
          <c:extLst>
            <c:ext xmlns:c16="http://schemas.microsoft.com/office/drawing/2014/chart" uri="{C3380CC4-5D6E-409C-BE32-E72D297353CC}">
              <c16:uniqueId val="{00000000-F32D-48B7-BC20-E66FC6253BAD}"/>
            </c:ext>
          </c:extLst>
        </c:ser>
        <c:ser>
          <c:idx val="1"/>
          <c:order val="1"/>
          <c:tx>
            <c:strRef>
              <c:f>Sheet1!$B$6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2:$A$85</c:f>
              <c:numCache>
                <c:formatCode>General</c:formatCode>
                <c:ptCount val="24"/>
                <c:pt idx="0">
                  <c:v>1247.0568</c:v>
                </c:pt>
                <c:pt idx="1">
                  <c:v>1592.1105</c:v>
                </c:pt>
                <c:pt idx="2">
                  <c:v>881.2308</c:v>
                </c:pt>
                <c:pt idx="3">
                  <c:v>1093.129</c:v>
                </c:pt>
                <c:pt idx="4">
                  <c:v>2398.3333</c:v>
                </c:pt>
                <c:pt idx="5">
                  <c:v>1034.2051</c:v>
                </c:pt>
                <c:pt idx="6">
                  <c:v>2360.0</c:v>
                </c:pt>
                <c:pt idx="7">
                  <c:v>1066.5357</c:v>
                </c:pt>
                <c:pt idx="8">
                  <c:v>768.5</c:v>
                </c:pt>
                <c:pt idx="9">
                  <c:v>1055.8983</c:v>
                </c:pt>
                <c:pt idx="10">
                  <c:v>838.0183</c:v>
                </c:pt>
                <c:pt idx="11">
                  <c:v>1452.0</c:v>
                </c:pt>
                <c:pt idx="12">
                  <c:v>792.7333</c:v>
                </c:pt>
                <c:pt idx="13">
                  <c:v>817.9655</c:v>
                </c:pt>
                <c:pt idx="14">
                  <c:v>774.6071</c:v>
                </c:pt>
                <c:pt idx="15">
                  <c:v>1034.3514</c:v>
                </c:pt>
                <c:pt idx="16">
                  <c:v>1057.5556</c:v>
                </c:pt>
                <c:pt idx="17">
                  <c:v>1033.2258</c:v>
                </c:pt>
                <c:pt idx="18">
                  <c:v>1133.7895</c:v>
                </c:pt>
                <c:pt idx="19">
                  <c:v>907.75</c:v>
                </c:pt>
                <c:pt idx="20">
                  <c:v>1001.5231</c:v>
                </c:pt>
                <c:pt idx="21">
                  <c:v>973.2308</c:v>
                </c:pt>
                <c:pt idx="22">
                  <c:v>1008.7917</c:v>
                </c:pt>
                <c:pt idx="23">
                  <c:v>1067.1515</c:v>
                </c:pt>
              </c:numCache>
            </c:numRef>
          </c:xVal>
          <c:yVal>
            <c:numRef>
              <c:f>Sheet1!$B$62:$B$85</c:f>
              <c:numCache>
                <c:formatCode>General</c:formatCode>
                <c:ptCount val="24"/>
                <c:pt idx="0">
                  <c:v>0.08333333333333333</c:v>
                </c:pt>
                <c:pt idx="1">
                  <c:v>0.21608040201005024</c:v>
                </c:pt>
                <c:pt idx="2">
                  <c:v>0.024714828897338403</c:v>
                </c:pt>
                <c:pt idx="3">
                  <c:v>0.18594687232219365</c:v>
                </c:pt>
                <c:pt idx="4">
                  <c:v>0.006896551724137931</c:v>
                </c:pt>
                <c:pt idx="5">
                  <c:v>0.21666666666666667</c:v>
                </c:pt>
                <c:pt idx="6">
                  <c:v>0.020761245674740483</c:v>
                </c:pt>
                <c:pt idx="7">
                  <c:v>0.0380952380952381</c:v>
                </c:pt>
                <c:pt idx="8">
                  <c:v>0.06153846153846154</c:v>
                </c:pt>
                <c:pt idx="9">
                  <c:v>0.09719934102141681</c:v>
                </c:pt>
                <c:pt idx="10">
                  <c:v>0.1332518337408313</c:v>
                </c:pt>
                <c:pt idx="11">
                  <c:v>0.01090909090909091</c:v>
                </c:pt>
                <c:pt idx="12">
                  <c:v>0.03783102143757881</c:v>
                </c:pt>
                <c:pt idx="13">
                  <c:v>0.04588607594936709</c:v>
                </c:pt>
                <c:pt idx="14">
                  <c:v>0.0681265206812652</c:v>
                </c:pt>
                <c:pt idx="15">
                  <c:v>0.24915824915824916</c:v>
                </c:pt>
                <c:pt idx="16">
                  <c:v>0.7531380753138075</c:v>
                </c:pt>
                <c:pt idx="17">
                  <c:v>0.12180746561886051</c:v>
                </c:pt>
                <c:pt idx="18">
                  <c:v>0.10401459854014598</c:v>
                </c:pt>
                <c:pt idx="19">
                  <c:v>0.04664723032069971</c:v>
                </c:pt>
                <c:pt idx="20">
                  <c:v>0.22491349480968859</c:v>
                </c:pt>
                <c:pt idx="21">
                  <c:v>0.01870503597122302</c:v>
                </c:pt>
                <c:pt idx="22">
                  <c:v>0.04660194174757282</c:v>
                </c:pt>
                <c:pt idx="23">
                  <c:v>0.1286549707602339</c:v>
                </c:pt>
              </c:numCache>
            </c:numRef>
          </c:yVal>
          <c:smooth val="0"/>
          <c:extLst>
            <c:ext xmlns:c16="http://schemas.microsoft.com/office/drawing/2014/chart" uri="{C3380CC4-5D6E-409C-BE32-E72D297353CC}">
              <c16:uniqueId val="{00000002-F32D-48B7-BC20-E66FC6253BAD}"/>
            </c:ext>
          </c:extLst>
        </c:ser>
        <c:ser>
          <c:idx val="2"/>
          <c:order val="2"/>
          <c:tx>
            <c:strRef>
              <c:f>Sheet1!$B$87</c:f>
              <c:strCache>
                <c:ptCount val="1"/>
                <c:pt idx="0">
                  <c:v>Custom Linep3yQ</c:v>
                </c:pt>
              </c:strCache>
            </c:strRef>
          </c:tx>
          <c:spPr>
            <a:ln w="19050" cap="rnd">
              <a:solidFill>
                <a:srgbClr val="C00000"/>
              </a:solidFill>
              <a:prstDash val="sysDot"/>
              <a:round/>
            </a:ln>
            <a:effectLst/>
          </c:spPr>
          <c:marker>
            <c:symbol val="none"/>
          </c:marker>
          <c:xVal>
            <c:numRef>
              <c:f>Sheet1!$A$88:$A$89</c:f>
              <c:numCache>
                <c:formatCode>General</c:formatCode>
                <c:ptCount val="2"/>
                <c:pt idx="0">
                  <c:v>0</c:v>
                </c:pt>
                <c:pt idx="1">
                  <c:v>-1733.1705025026715</c:v>
                </c:pt>
              </c:numCache>
            </c:numRef>
          </c:xVal>
          <c:yVal>
            <c:numRef>
              <c:f>Sheet1!$B$88:$B$89</c:f>
              <c:numCache>
                <c:formatCode>General</c:formatCode>
                <c:ptCount val="2"/>
                <c:pt idx="0">
                  <c:v>0.25010417292064047</c:v>
                </c:pt>
                <c:pt idx="1">
                  <c:v>0.25010417292064047</c:v>
                </c:pt>
              </c:numCache>
            </c:numRef>
          </c:yVal>
          <c:smooth val="0"/>
          <c:extLst>
            <c:ext xmlns:c16="http://schemas.microsoft.com/office/drawing/2014/chart" uri="{C3380CC4-5D6E-409C-BE32-E72D297353CC}">
              <c16:uniqueId val="{00000003-F32D-48B7-BC20-E66FC6253BAD}"/>
            </c:ext>
          </c:extLst>
        </c:ser>
        <c:ser>
          <c:idx val="3"/>
          <c:order val="3"/>
          <c:tx>
            <c:strRef>
              <c:f>Sheet1!$B$9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92:$A$93</c:f>
              <c:numCache>
                <c:formatCode>General</c:formatCode>
                <c:ptCount val="2"/>
                <c:pt idx="0">
                  <c:v>-1733.1705025026715</c:v>
                </c:pt>
                <c:pt idx="1">
                  <c:v>-1733.1705025026715</c:v>
                </c:pt>
              </c:numCache>
            </c:numRef>
          </c:xVal>
          <c:yVal>
            <c:numRef>
              <c:f>Sheet1!$B$92:$B$93</c:f>
              <c:numCache>
                <c:formatCode>General</c:formatCode>
                <c:ptCount val="2"/>
                <c:pt idx="0">
                  <c:v>0.250104172920640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9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96:$A$97</c:f>
              <c:numCache>
                <c:formatCode>General</c:formatCode>
                <c:ptCount val="2"/>
                <c:pt idx="0">
                  <c:v>0</c:v>
                </c:pt>
                <c:pt idx="1">
                  <c:v>-1733.1705025026715</c:v>
                </c:pt>
              </c:numCache>
            </c:numRef>
          </c:xVal>
          <c:yVal>
            <c:numRef>
              <c:f>Sheet1!$B$96:$B$97</c:f>
              <c:numCache>
                <c:formatCode>General</c:formatCode>
                <c:ptCount val="2"/>
                <c:pt idx="0">
                  <c:v>0.25010417292064047</c:v>
                </c:pt>
                <c:pt idx="1">
                  <c:v>0.25010417292064047</c:v>
                </c:pt>
              </c:numCache>
            </c:numRef>
          </c:yVal>
          <c:smooth val="0"/>
          <c:extLst>
            <c:ext xmlns:c16="http://schemas.microsoft.com/office/drawing/2014/chart" uri="{C3380CC4-5D6E-409C-BE32-E72D297353CC}">
              <c16:uniqueId val="{0000000A-F32D-48B7-BC20-E66FC6253BAD}"/>
            </c:ext>
          </c:extLst>
        </c:ser>
        <c:ser>
          <c:idx val="5"/>
          <c:order val="5"/>
          <c:tx>
            <c:strRef>
              <c:f>Sheet1!$B$9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0:$A$101</c:f>
              <c:numCache>
                <c:formatCode>General</c:formatCode>
                <c:ptCount val="2"/>
                <c:pt idx="0">
                  <c:v>-1733.1705025026715</c:v>
                </c:pt>
                <c:pt idx="1">
                  <c:v>-1733.1705025026715</c:v>
                </c:pt>
              </c:numCache>
            </c:numRef>
          </c:xVal>
          <c:yVal>
            <c:numRef>
              <c:f>Sheet1!$B$100:$B$101</c:f>
              <c:numCache>
                <c:formatCode>General</c:formatCode>
                <c:ptCount val="2"/>
                <c:pt idx="0">
                  <c:v>0.250104172920640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0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04:$A$105</c:f>
              <c:numCache>
                <c:formatCode>General</c:formatCode>
                <c:ptCount val="2"/>
                <c:pt idx="0">
                  <c:v>0</c:v>
                </c:pt>
                <c:pt idx="1">
                  <c:v>1763.4416885899916</c:v>
                </c:pt>
              </c:numCache>
            </c:numRef>
          </c:xVal>
          <c:yVal>
            <c:numRef>
              <c:f>Sheet1!$B$104:$B$105</c:f>
              <c:numCache>
                <c:formatCode>General</c:formatCode>
                <c:ptCount val="2"/>
                <c:pt idx="0">
                  <c:v>0.09492287869159399</c:v>
                </c:pt>
                <c:pt idx="1">
                  <c:v>0.09492287869159399</c:v>
                </c:pt>
              </c:numCache>
            </c:numRef>
          </c:yVal>
          <c:smooth val="0"/>
          <c:extLst>
            <c:ext xmlns:c16="http://schemas.microsoft.com/office/drawing/2014/chart" uri="{C3380CC4-5D6E-409C-BE32-E72D297353CC}">
              <c16:uniqueId val="{00000011-F32D-48B7-BC20-E66FC6253BAD}"/>
            </c:ext>
          </c:extLst>
        </c:ser>
        <c:ser>
          <c:idx val="7"/>
          <c:order val="7"/>
          <c:tx>
            <c:strRef>
              <c:f>Sheet1!$B$10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8:$A$109</c:f>
              <c:numCache>
                <c:formatCode>General</c:formatCode>
                <c:ptCount val="2"/>
                <c:pt idx="0">
                  <c:v>1763.4416885899916</c:v>
                </c:pt>
                <c:pt idx="1">
                  <c:v>1763.4416885899916</c:v>
                </c:pt>
              </c:numCache>
            </c:numRef>
          </c:xVal>
          <c:yVal>
            <c:numRef>
              <c:f>Sheet1!$B$108:$B$109</c:f>
              <c:numCache>
                <c:formatCode>General</c:formatCode>
                <c:ptCount val="2"/>
                <c:pt idx="0">
                  <c:v>0.0949228786915939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1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12:$A$138</c:f>
              <c:numCache>
                <c:formatCode>General</c:formatCode>
                <c:ptCount val="27"/>
                <c:pt idx="0">
                  <c:v>1247.0568</c:v>
                </c:pt>
                <c:pt idx="1">
                  <c:v>1592.1105</c:v>
                </c:pt>
                <c:pt idx="2">
                  <c:v>881.2308</c:v>
                </c:pt>
                <c:pt idx="3">
                  <c:v>1093.129</c:v>
                </c:pt>
                <c:pt idx="4">
                  <c:v>2398.3333</c:v>
                </c:pt>
                <c:pt idx="5">
                  <c:v>1034.2051</c:v>
                </c:pt>
                <c:pt idx="6">
                  <c:v>2360.0</c:v>
                </c:pt>
                <c:pt idx="7">
                  <c:v>1066.5357</c:v>
                </c:pt>
                <c:pt idx="8">
                  <c:v>768.5</c:v>
                </c:pt>
                <c:pt idx="9">
                  <c:v>1055.8983</c:v>
                </c:pt>
                <c:pt idx="10">
                  <c:v>838.0183</c:v>
                </c:pt>
                <c:pt idx="11">
                  <c:v>1452.0</c:v>
                </c:pt>
                <c:pt idx="12">
                  <c:v>792.7333</c:v>
                </c:pt>
                <c:pt idx="13">
                  <c:v>817.9655</c:v>
                </c:pt>
                <c:pt idx="14">
                  <c:v>774.6071</c:v>
                </c:pt>
                <c:pt idx="15">
                  <c:v>1034.3514</c:v>
                </c:pt>
                <c:pt idx="16">
                  <c:v>1057.5556</c:v>
                </c:pt>
                <c:pt idx="17">
                  <c:v>1033.2258</c:v>
                </c:pt>
                <c:pt idx="18">
                  <c:v>1133.7895</c:v>
                </c:pt>
                <c:pt idx="19">
                  <c:v>907.75</c:v>
                </c:pt>
                <c:pt idx="20">
                  <c:v>1001.5231</c:v>
                </c:pt>
                <c:pt idx="21">
                  <c:v>973.2308</c:v>
                </c:pt>
                <c:pt idx="22">
                  <c:v>1008.7917</c:v>
                </c:pt>
                <c:pt idx="23">
                  <c:v>1067.1515</c:v>
                </c:pt>
                <c:pt idx="24">
                  <c:v>-1733.1705025026715</c:v>
                </c:pt>
                <c:pt idx="25">
                  <c:v>-1733.1705025026715</c:v>
                </c:pt>
                <c:pt idx="26">
                  <c:v>1763.4416885899916</c:v>
                </c:pt>
              </c:numCache>
            </c:numRef>
          </c:xVal>
          <c:yVal>
            <c:numRef>
              <c:f>Sheet1!$B$112:$B$138</c:f>
              <c:numCache>
                <c:formatCode>General</c:formatCode>
                <c:ptCount val="27"/>
                <c:pt idx="0">
                  <c:v>0.1178402830110807</c:v>
                </c:pt>
                <c:pt idx="1">
                  <c:v>0.10252663745412562</c:v>
                </c:pt>
                <c:pt idx="2">
                  <c:v>0.13407581301559493</c:v>
                </c:pt>
                <c:pt idx="3">
                  <c:v>0.12467167119953332</c:v>
                </c:pt>
                <c:pt idx="4">
                  <c:v>0.06674609025484654</c:v>
                </c:pt>
                <c:pt idx="5">
                  <c:v>0.12728674160577289</c:v>
                </c:pt>
                <c:pt idx="6">
                  <c:v>0.06844734014501849</c:v>
                </c:pt>
                <c:pt idx="7">
                  <c:v>0.12585189436592675</c:v>
                </c:pt>
                <c:pt idx="8">
                  <c:v>0.13907885896047828</c:v>
                </c:pt>
                <c:pt idx="9">
                  <c:v>0.12632398718292176</c:v>
                </c:pt>
                <c:pt idx="10">
                  <c:v>0.13599360409747557</c:v>
                </c:pt>
                <c:pt idx="11">
                  <c:v>0.10874480736741088</c:v>
                </c:pt>
                <c:pt idx="12">
                  <c:v>0.13800337370448662</c:v>
                </c:pt>
                <c:pt idx="13">
                  <c:v>0.13688355679650333</c:v>
                </c:pt>
                <c:pt idx="14">
                  <c:v>0.13880782298903127</c:v>
                </c:pt>
                <c:pt idx="15">
                  <c:v>0.12728024874293736</c:v>
                </c:pt>
                <c:pt idx="16">
                  <c:v>0.12625043542914682</c:v>
                </c:pt>
                <c:pt idx="17">
                  <c:v>0.12733020340054257</c:v>
                </c:pt>
                <c:pt idx="18">
                  <c:v>0.12286713907839225</c:v>
                </c:pt>
                <c:pt idx="19">
                  <c:v>0.13289887844206622</c:v>
                </c:pt>
                <c:pt idx="20">
                  <c:v>0.12873718414295596</c:v>
                </c:pt>
                <c:pt idx="21">
                  <c:v>0.1299928097287446</c:v>
                </c:pt>
                <c:pt idx="22">
                  <c:v>0.12841460025501247</c:v>
                </c:pt>
                <c:pt idx="23">
                  <c:v>0.12582456487218718</c:v>
                </c:pt>
                <c:pt idx="24">
                  <c:v>0.25010417292064047</c:v>
                </c:pt>
                <c:pt idx="25">
                  <c:v>0.25010417292064047</c:v>
                </c:pt>
                <c:pt idx="26">
                  <c:v>0.0949228786915939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81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765690376569"/>
          <c:min val="0.001307189542483660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0</c:f>
              <c:numCache>
                <c:formatCode>General</c:formatCode>
                <c:ptCount val="79"/>
                <c:pt idx="0">
                  <c:v>0.7705597880138664</c:v>
                </c:pt>
                <c:pt idx="1">
                  <c:v>0.8303684617366657</c:v>
                </c:pt>
                <c:pt idx="2">
                  <c:v>0.9852524249912523</c:v>
                </c:pt>
                <c:pt idx="3">
                  <c:v>0.8495720367285745</c:v>
                </c:pt>
                <c:pt idx="4">
                  <c:v>1.214204811307873</c:v>
                </c:pt>
                <c:pt idx="5">
                  <c:v>1.0851541749092302</c:v>
                </c:pt>
                <c:pt idx="6">
                  <c:v>1.1995890980944797</c:v>
                </c:pt>
                <c:pt idx="7">
                  <c:v>1.3909746411117003</c:v>
                </c:pt>
                <c:pt idx="8">
                  <c:v>0.4229317137858102</c:v>
                </c:pt>
                <c:pt idx="9">
                  <c:v>0.8909035998114994</c:v>
                </c:pt>
                <c:pt idx="10">
                  <c:v>8.09429504950495</c:v>
                </c:pt>
                <c:pt idx="11">
                  <c:v>1.0809688167298113</c:v>
                </c:pt>
                <c:pt idx="12">
                  <c:v>0.7534747364432899</c:v>
                </c:pt>
                <c:pt idx="13">
                  <c:v>0.6873623032839985</c:v>
                </c:pt>
                <c:pt idx="14">
                  <c:v>0.21764560077102318</c:v>
                </c:pt>
                <c:pt idx="15">
                  <c:v>0.855585302755018</c:v>
                </c:pt>
                <c:pt idx="16">
                  <c:v>0.1482735792076284</c:v>
                </c:pt>
                <c:pt idx="17">
                  <c:v>0.6292167924638049</c:v>
                </c:pt>
                <c:pt idx="18">
                  <c:v>0.7734288003044195</c:v>
                </c:pt>
                <c:pt idx="19">
                  <c:v>0.9009202687009348</c:v>
                </c:pt>
                <c:pt idx="20">
                  <c:v>0.9140754030964461</c:v>
                </c:pt>
                <c:pt idx="21">
                  <c:v>0.8752027754950811</c:v>
                </c:pt>
                <c:pt idx="22">
                  <c:v>0.7567473278947764</c:v>
                </c:pt>
                <c:pt idx="23">
                  <c:v>0.8665427057804238</c:v>
                </c:pt>
                <c:pt idx="24">
                  <c:v>1.0509539423595229</c:v>
                </c:pt>
                <c:pt idx="25">
                  <c:v>0.5059148128032042</c:v>
                </c:pt>
                <c:pt idx="26">
                  <c:v>0.5507964459034141</c:v>
                </c:pt>
                <c:pt idx="27">
                  <c:v>1.0665647087440218</c:v>
                </c:pt>
                <c:pt idx="28">
                  <c:v>0.8305152489317719</c:v>
                </c:pt>
                <c:pt idx="29">
                  <c:v>0.6650514596777145</c:v>
                </c:pt>
                <c:pt idx="30">
                  <c:v>0.5665993731944053</c:v>
                </c:pt>
                <c:pt idx="31">
                  <c:v>0.4928838709777674</c:v>
                </c:pt>
                <c:pt idx="32">
                  <c:v>0.7470894615390606</c:v>
                </c:pt>
                <c:pt idx="33">
                  <c:v>0.142021653073878</c:v>
                </c:pt>
                <c:pt idx="34">
                  <c:v>0.6554789403460216</c:v>
                </c:pt>
                <c:pt idx="35">
                  <c:v>0.3443638151281468</c:v>
                </c:pt>
                <c:pt idx="36">
                  <c:v>0.8164409211655439</c:v>
                </c:pt>
                <c:pt idx="37">
                  <c:v>0.3169307657941011</c:v>
                </c:pt>
                <c:pt idx="38">
                  <c:v>0.8993863850246802</c:v>
                </c:pt>
                <c:pt idx="39">
                  <c:v>0.12382189766241224</c:v>
                </c:pt>
                <c:pt idx="40">
                  <c:v>0.6085877889080407</c:v>
                </c:pt>
                <c:pt idx="41">
                  <c:v>0.5367381734134408</c:v>
                </c:pt>
                <c:pt idx="42">
                  <c:v>0.4010877485764079</c:v>
                </c:pt>
                <c:pt idx="43">
                  <c:v>0.3063945740921631</c:v>
                </c:pt>
                <c:pt idx="44">
                  <c:v>0.2789817758685388</c:v>
                </c:pt>
                <c:pt idx="45">
                  <c:v>1.1149433475723571</c:v>
                </c:pt>
                <c:pt idx="46">
                  <c:v>0.2469654672014674</c:v>
                </c:pt>
                <c:pt idx="47">
                  <c:v>0.7417826535417978</c:v>
                </c:pt>
                <c:pt idx="48">
                  <c:v>0.3285567869914841</c:v>
                </c:pt>
                <c:pt idx="49">
                  <c:v>0.7655467319628825</c:v>
                </c:pt>
                <c:pt idx="50">
                  <c:v>0.25446734180534836</c:v>
                </c:pt>
                <c:pt idx="51">
                  <c:v>0.38179034490110253</c:v>
                </c:pt>
                <c:pt idx="52">
                  <c:v>0.3403430116222168</c:v>
                </c:pt>
                <c:pt idx="53">
                  <c:v>0.13347991301584428</c:v>
                </c:pt>
                <c:pt idx="54">
                  <c:v>1.2877224959192421</c:v>
                </c:pt>
                <c:pt idx="55">
                  <c:v>0.4443015427900182</c:v>
                </c:pt>
                <c:pt idx="56">
                  <c:v>0.41231917753983627</c:v>
                </c:pt>
                <c:pt idx="57">
                  <c:v>0.3668167497277961</c:v>
                </c:pt>
                <c:pt idx="58">
                  <c:v>0.1878429992003732</c:v>
                </c:pt>
                <c:pt idx="59">
                  <c:v>0.8329783263674096</c:v>
                </c:pt>
                <c:pt idx="60">
                  <c:v>0.17524624069782427</c:v>
                </c:pt>
                <c:pt idx="61">
                  <c:v>0.19860299179170782</c:v>
                </c:pt>
                <c:pt idx="62">
                  <c:v>0.23690063982941795</c:v>
                </c:pt>
                <c:pt idx="63">
                  <c:v>0.7630401716749586</c:v>
                </c:pt>
                <c:pt idx="64">
                  <c:v>0.43582583516640105</c:v>
                </c:pt>
                <c:pt idx="65">
                  <c:v>0.7639308571350858</c:v>
                </c:pt>
                <c:pt idx="66">
                  <c:v>0.7651596781035047</c:v>
                </c:pt>
                <c:pt idx="67">
                  <c:v>0.8939747796090456</c:v>
                </c:pt>
                <c:pt idx="68">
                  <c:v>1.1607713109454678</c:v>
                </c:pt>
                <c:pt idx="69">
                  <c:v>0.8250940524497646</c:v>
                </c:pt>
                <c:pt idx="70">
                  <c:v>0.4294214688026289</c:v>
                </c:pt>
                <c:pt idx="71">
                  <c:v>0.8142761875527589</c:v>
                </c:pt>
                <c:pt idx="72">
                  <c:v>1.6169992324622269</c:v>
                </c:pt>
                <c:pt idx="73">
                  <c:v>0.6969700491099882</c:v>
                </c:pt>
                <c:pt idx="74">
                  <c:v>0.7405613914822414</c:v>
                </c:pt>
                <c:pt idx="75">
                  <c:v>0.39371725053467715</c:v>
                </c:pt>
                <c:pt idx="76">
                  <c:v>2.7291159407327736</c:v>
                </c:pt>
                <c:pt idx="77">
                  <c:v>1.4151149496751678</c:v>
                </c:pt>
                <c:pt idx="78">
                  <c:v>1.1768239155108453</c:v>
                </c:pt>
              </c:numCache>
            </c:numRef>
          </c:xVal>
          <c:yVal>
            <c:numRef>
              <c:f>Sheet1!$B$2:$B$80</c:f>
              <c:numCache>
                <c:formatCode>General</c:formatCode>
                <c:ptCount val="79"/>
                <c:pt idx="0">
                  <c:v>0.2413793103448276</c:v>
                </c:pt>
                <c:pt idx="1">
                  <c:v>0.1430472388556221</c:v>
                </c:pt>
                <c:pt idx="2">
                  <c:v>0.16554054054054054</c:v>
                </c:pt>
                <c:pt idx="3">
                  <c:v>0.13806706114398423</c:v>
                </c:pt>
                <c:pt idx="4">
                  <c:v>0.020361990950226245</c:v>
                </c:pt>
                <c:pt idx="5">
                  <c:v>0.21818181818181817</c:v>
                </c:pt>
                <c:pt idx="6">
                  <c:v>0.20408163265306123</c:v>
                </c:pt>
                <c:pt idx="7">
                  <c:v>0.19254658385093168</c:v>
                </c:pt>
                <c:pt idx="8">
                  <c:v>0.6501650165016502</c:v>
                </c:pt>
                <c:pt idx="9">
                  <c:v>0.649325626204239</c:v>
                </c:pt>
                <c:pt idx="10">
                  <c:v>0.08879492600422834</c:v>
                </c:pt>
                <c:pt idx="11">
                  <c:v>0.2970430107526882</c:v>
                </c:pt>
                <c:pt idx="12">
                  <c:v>0.11940298507462686</c:v>
                </c:pt>
                <c:pt idx="13">
                  <c:v>0.2711864406779661</c:v>
                </c:pt>
                <c:pt idx="14">
                  <c:v>0.2066115702479339</c:v>
                </c:pt>
                <c:pt idx="15">
                  <c:v>0.2389937106918239</c:v>
                </c:pt>
                <c:pt idx="16">
                  <c:v>0.17901234567901234</c:v>
                </c:pt>
                <c:pt idx="17">
                  <c:v>0.16</c:v>
                </c:pt>
                <c:pt idx="18">
                  <c:v>0.38926174496644295</c:v>
                </c:pt>
                <c:pt idx="19">
                  <c:v>0.5154894671623296</c:v>
                </c:pt>
                <c:pt idx="20">
                  <c:v>0.016129032258064516</c:v>
                </c:pt>
                <c:pt idx="21">
                  <c:v>0.06712962962962964</c:v>
                </c:pt>
                <c:pt idx="22">
                  <c:v>0.16901408450704225</c:v>
                </c:pt>
                <c:pt idx="23">
                  <c:v>0.18609022556390978</c:v>
                </c:pt>
                <c:pt idx="24">
                  <c:v>0.3559670781893004</c:v>
                </c:pt>
                <c:pt idx="25">
                  <c:v>0.09129511677282377</c:v>
                </c:pt>
                <c:pt idx="26">
                  <c:v>0.3784313725490196</c:v>
                </c:pt>
                <c:pt idx="27">
                  <c:v>0.3148148148148148</c:v>
                </c:pt>
                <c:pt idx="28">
                  <c:v>0.1527293844367015</c:v>
                </c:pt>
                <c:pt idx="29">
                  <c:v>0.38224852071005916</c:v>
                </c:pt>
                <c:pt idx="30">
                  <c:v>0.23139653414882771</c:v>
                </c:pt>
                <c:pt idx="31">
                  <c:v>0.24287974683544303</c:v>
                </c:pt>
                <c:pt idx="32">
                  <c:v>0.28248222365869424</c:v>
                </c:pt>
                <c:pt idx="33">
                  <c:v>0.35880077369439073</c:v>
                </c:pt>
                <c:pt idx="34">
                  <c:v>0.10413223140495868</c:v>
                </c:pt>
                <c:pt idx="35">
                  <c:v>0.089540412044374</c:v>
                </c:pt>
                <c:pt idx="36">
                  <c:v>0.12537612838515547</c:v>
                </c:pt>
                <c:pt idx="37">
                  <c:v>0.423956931359354</c:v>
                </c:pt>
                <c:pt idx="38">
                  <c:v>0.24022346368715083</c:v>
                </c:pt>
                <c:pt idx="39">
                  <c:v>0.343042071197411</c:v>
                </c:pt>
                <c:pt idx="40">
                  <c:v>0.2799597180261833</c:v>
                </c:pt>
                <c:pt idx="41">
                  <c:v>0.22133333333333333</c:v>
                </c:pt>
                <c:pt idx="42">
                  <c:v>0.2780487804878049</c:v>
                </c:pt>
                <c:pt idx="43">
                  <c:v>0.4039408866995074</c:v>
                </c:pt>
                <c:pt idx="44">
                  <c:v>0.2831050228310502</c:v>
                </c:pt>
                <c:pt idx="45">
                  <c:v>0.2846715328467153</c:v>
                </c:pt>
                <c:pt idx="46">
                  <c:v>0.46568627450980393</c:v>
                </c:pt>
                <c:pt idx="47">
                  <c:v>0.4157608695652174</c:v>
                </c:pt>
                <c:pt idx="48">
                  <c:v>0.27305389221556886</c:v>
                </c:pt>
                <c:pt idx="49">
                  <c:v>0.37530864197530867</c:v>
                </c:pt>
                <c:pt idx="50">
                  <c:v>0.022304832713754646</c:v>
                </c:pt>
                <c:pt idx="51">
                  <c:v>0.030560271646859084</c:v>
                </c:pt>
                <c:pt idx="52">
                  <c:v>0.13976945244956773</c:v>
                </c:pt>
                <c:pt idx="53">
                  <c:v>0.04699738903394256</c:v>
                </c:pt>
                <c:pt idx="54">
                  <c:v>0.17087667161961367</c:v>
                </c:pt>
                <c:pt idx="55">
                  <c:v>0.2858517805582291</c:v>
                </c:pt>
                <c:pt idx="56">
                  <c:v>0.24726477024070023</c:v>
                </c:pt>
                <c:pt idx="57">
                  <c:v>0.32666666666666666</c:v>
                </c:pt>
                <c:pt idx="58">
                  <c:v>0.22682926829268293</c:v>
                </c:pt>
                <c:pt idx="59">
                  <c:v>0.10755148741418764</c:v>
                </c:pt>
                <c:pt idx="60">
                  <c:v>0.30930537352555704</c:v>
                </c:pt>
                <c:pt idx="61">
                  <c:v>0.5105708245243129</c:v>
                </c:pt>
                <c:pt idx="62">
                  <c:v>0.14053254437869822</c:v>
                </c:pt>
                <c:pt idx="63">
                  <c:v>0.2050561797752809</c:v>
                </c:pt>
                <c:pt idx="64">
                  <c:v>0.24172185430463577</c:v>
                </c:pt>
                <c:pt idx="65">
                  <c:v>0.45364238410596025</c:v>
                </c:pt>
                <c:pt idx="66">
                  <c:v>0.05714285714285714</c:v>
                </c:pt>
                <c:pt idx="67">
                  <c:v>0.34549878345498786</c:v>
                </c:pt>
                <c:pt idx="68">
                  <c:v>0.00906344410876133</c:v>
                </c:pt>
                <c:pt idx="69">
                  <c:v>0.14215686274509803</c:v>
                </c:pt>
                <c:pt idx="70">
                  <c:v>0.030942334739803096</c:v>
                </c:pt>
                <c:pt idx="71">
                  <c:v>0.02027027027027027</c:v>
                </c:pt>
                <c:pt idx="72">
                  <c:v>0.013452914798206279</c:v>
                </c:pt>
                <c:pt idx="73">
                  <c:v>0.125</c:v>
                </c:pt>
                <c:pt idx="74">
                  <c:v>0.11001517450682853</c:v>
                </c:pt>
                <c:pt idx="75">
                  <c:v>0.045454545454545456</c:v>
                </c:pt>
                <c:pt idx="76">
                  <c:v>0.003278688524590164</c:v>
                </c:pt>
                <c:pt idx="77">
                  <c:v>0.049783549783549784</c:v>
                </c:pt>
                <c:pt idx="78">
                  <c:v>0.005063291139240506</c:v>
                </c:pt>
              </c:numCache>
            </c:numRef>
          </c:yVal>
          <c:smooth val="0"/>
          <c:extLst>
            <c:ext xmlns:c16="http://schemas.microsoft.com/office/drawing/2014/chart" uri="{C3380CC4-5D6E-409C-BE32-E72D297353CC}">
              <c16:uniqueId val="{00000000-096C-4121-9522-6AB7243CCAAE}"/>
            </c:ext>
          </c:extLst>
        </c:ser>
        <c:ser>
          <c:idx val="1"/>
          <c:order val="1"/>
          <c:tx>
            <c:strRef>
              <c:f>Sheet1!$B$8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3:$A$107</c:f>
              <c:numCache>
                <c:formatCode>General</c:formatCode>
                <c:ptCount val="25"/>
                <c:pt idx="0">
                  <c:v>0.47322097270332947</c:v>
                </c:pt>
                <c:pt idx="1">
                  <c:v>0.8080974232407288</c:v>
                </c:pt>
                <c:pt idx="2">
                  <c:v>1.2319707325385878</c:v>
                </c:pt>
                <c:pt idx="3">
                  <c:v>3.527026991590204</c:v>
                </c:pt>
                <c:pt idx="4">
                  <c:v>0.6897504786242097</c:v>
                </c:pt>
                <c:pt idx="5">
                  <c:v>0.24258765151515152</c:v>
                </c:pt>
                <c:pt idx="6">
                  <c:v>3.4515444015444015</c:v>
                </c:pt>
                <c:pt idx="7">
                  <c:v>0.30336299611479156</c:v>
                </c:pt>
                <c:pt idx="8">
                  <c:v>0.6824593981772719</c:v>
                </c:pt>
                <c:pt idx="9">
                  <c:v>0.5253346731275907</c:v>
                </c:pt>
                <c:pt idx="10">
                  <c:v>0.7284695905938384</c:v>
                </c:pt>
                <c:pt idx="11">
                  <c:v>1.0726376344602746</c:v>
                </c:pt>
                <c:pt idx="12">
                  <c:v>0.3862119634028405</c:v>
                </c:pt>
                <c:pt idx="13">
                  <c:v>0.5606816121582886</c:v>
                </c:pt>
                <c:pt idx="14">
                  <c:v>0.9151355261650005</c:v>
                </c:pt>
                <c:pt idx="15">
                  <c:v>1.0175032596674898</c:v>
                </c:pt>
                <c:pt idx="16">
                  <c:v>1.0125103248440206</c:v>
                </c:pt>
                <c:pt idx="17">
                  <c:v>1.5818695277471153</c:v>
                </c:pt>
                <c:pt idx="18">
                  <c:v>0.7481354709768558</c:v>
                </c:pt>
                <c:pt idx="19">
                  <c:v>1.1325863184514415</c:v>
                </c:pt>
                <c:pt idx="20">
                  <c:v>1.6633411246469303</c:v>
                </c:pt>
                <c:pt idx="21">
                  <c:v>1.0344315867059768</c:v>
                </c:pt>
                <c:pt idx="22">
                  <c:v>2.9285555560626566</c:v>
                </c:pt>
                <c:pt idx="23">
                  <c:v>0.22494478811791102</c:v>
                </c:pt>
                <c:pt idx="24">
                  <c:v>0.8291888095479683</c:v>
                </c:pt>
              </c:numCache>
            </c:numRef>
          </c:xVal>
          <c:yVal>
            <c:numRef>
              <c:f>Sheet1!$B$83:$B$107</c:f>
              <c:numCache>
                <c:formatCode>General</c:formatCode>
                <c:ptCount val="25"/>
                <c:pt idx="0">
                  <c:v>0.1543560606060606</c:v>
                </c:pt>
                <c:pt idx="1">
                  <c:v>0.02135678391959799</c:v>
                </c:pt>
                <c:pt idx="2">
                  <c:v>0.013710368466152529</c:v>
                </c:pt>
                <c:pt idx="3">
                  <c:v>0.0011111111111111111</c:v>
                </c:pt>
                <c:pt idx="4">
                  <c:v>0.25813449023861174</c:v>
                </c:pt>
                <c:pt idx="5">
                  <c:v>0.18888888888888888</c:v>
                </c:pt>
                <c:pt idx="6">
                  <c:v>0.029850746268656716</c:v>
                </c:pt>
                <c:pt idx="7">
                  <c:v>0.28117359413202936</c:v>
                </c:pt>
                <c:pt idx="8">
                  <c:v>0.582312925170068</c:v>
                </c:pt>
                <c:pt idx="9">
                  <c:v>0.13179571663920922</c:v>
                </c:pt>
                <c:pt idx="10">
                  <c:v>0.2982885085574572</c:v>
                </c:pt>
                <c:pt idx="11">
                  <c:v>0.544766708701135</c:v>
                </c:pt>
                <c:pt idx="12">
                  <c:v>0.00949367088607595</c:v>
                </c:pt>
                <c:pt idx="13">
                  <c:v>0.04572564612326044</c:v>
                </c:pt>
                <c:pt idx="14">
                  <c:v>0.10948905109489052</c:v>
                </c:pt>
                <c:pt idx="15">
                  <c:v>0.11191335740072202</c:v>
                </c:pt>
                <c:pt idx="16">
                  <c:v>0.2049469964664311</c:v>
                </c:pt>
                <c:pt idx="17">
                  <c:v>0.006430868167202572</c:v>
                </c:pt>
                <c:pt idx="18">
                  <c:v>0.2948960302457467</c:v>
                </c:pt>
                <c:pt idx="19">
                  <c:v>0.0412573673870334</c:v>
                </c:pt>
                <c:pt idx="20">
                  <c:v>0.004761904761904762</c:v>
                </c:pt>
                <c:pt idx="21">
                  <c:v>0.025547445255474453</c:v>
                </c:pt>
                <c:pt idx="22">
                  <c:v>0.03206997084548105</c:v>
                </c:pt>
                <c:pt idx="23">
                  <c:v>0.05190311418685121</c:v>
                </c:pt>
                <c:pt idx="24">
                  <c:v>0.1553398058252427</c:v>
                </c:pt>
              </c:numCache>
            </c:numRef>
          </c:yVal>
          <c:smooth val="0"/>
          <c:extLst>
            <c:ext xmlns:c16="http://schemas.microsoft.com/office/drawing/2014/chart" uri="{C3380CC4-5D6E-409C-BE32-E72D297353CC}">
              <c16:uniqueId val="{00000002-096C-4121-9522-6AB7243CCAAE}"/>
            </c:ext>
          </c:extLst>
        </c:ser>
        <c:ser>
          <c:idx val="2"/>
          <c:order val="2"/>
          <c:tx>
            <c:strRef>
              <c:f>Sheet1!$B$10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0:$A$111</c:f>
              <c:numCache>
                <c:formatCode>General</c:formatCode>
                <c:ptCount val="2"/>
                <c:pt idx="0">
                  <c:v>0</c:v>
                </c:pt>
                <c:pt idx="1">
                  <c:v>-1.9111536261806</c:v>
                </c:pt>
              </c:numCache>
            </c:numRef>
          </c:xVal>
          <c:yVal>
            <c:numRef>
              <c:f>Sheet1!$B$110:$B$111</c:f>
              <c:numCache>
                <c:formatCode>General</c:formatCode>
                <c:ptCount val="2"/>
                <c:pt idx="0">
                  <c:v>0.32859123059265954</c:v>
                </c:pt>
                <c:pt idx="1">
                  <c:v>0.32859123059265954</c:v>
                </c:pt>
              </c:numCache>
            </c:numRef>
          </c:yVal>
          <c:smooth val="0"/>
          <c:extLst>
            <c:ext xmlns:c16="http://schemas.microsoft.com/office/drawing/2014/chart" uri="{C3380CC4-5D6E-409C-BE32-E72D297353CC}">
              <c16:uniqueId val="{00000005-096C-4121-9522-6AB7243CCAAE}"/>
            </c:ext>
          </c:extLst>
        </c:ser>
        <c:ser>
          <c:idx val="3"/>
          <c:order val="3"/>
          <c:tx>
            <c:strRef>
              <c:f>Sheet1!$B$1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9111536261806</c:v>
                </c:pt>
                <c:pt idx="1">
                  <c:v>-1.9111536261806</c:v>
                </c:pt>
              </c:numCache>
            </c:numRef>
          </c:xVal>
          <c:yVal>
            <c:numRef>
              <c:f>Sheet1!$B$114:$B$115</c:f>
              <c:numCache>
                <c:formatCode>General</c:formatCode>
                <c:ptCount val="2"/>
                <c:pt idx="0">
                  <c:v>0.328591230592659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8:$A$119</c:f>
              <c:numCache>
                <c:formatCode>General</c:formatCode>
                <c:ptCount val="2"/>
                <c:pt idx="0">
                  <c:v>0</c:v>
                </c:pt>
                <c:pt idx="1">
                  <c:v>-0.3790193383217343</c:v>
                </c:pt>
              </c:numCache>
            </c:numRef>
          </c:xVal>
          <c:yVal>
            <c:numRef>
              <c:f>Sheet1!$B$118:$B$119</c:f>
              <c:numCache>
                <c:formatCode>General</c:formatCode>
                <c:ptCount val="2"/>
                <c:pt idx="0">
                  <c:v>0.23499546430053864</c:v>
                </c:pt>
                <c:pt idx="1">
                  <c:v>0.23499546430053864</c:v>
                </c:pt>
              </c:numCache>
            </c:numRef>
          </c:yVal>
          <c:smooth val="0"/>
          <c:extLst>
            <c:ext xmlns:c16="http://schemas.microsoft.com/office/drawing/2014/chart" uri="{C3380CC4-5D6E-409C-BE32-E72D297353CC}">
              <c16:uniqueId val="{0000000D-096C-4121-9522-6AB7243CCAAE}"/>
            </c:ext>
          </c:extLst>
        </c:ser>
        <c:ser>
          <c:idx val="5"/>
          <c:order val="5"/>
          <c:tx>
            <c:strRef>
              <c:f>Sheet1!$B$1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3790193383217343</c:v>
                </c:pt>
                <c:pt idx="1">
                  <c:v>-0.3790193383217343</c:v>
                </c:pt>
              </c:numCache>
            </c:numRef>
          </c:xVal>
          <c:yVal>
            <c:numRef>
              <c:f>Sheet1!$B$122:$B$123</c:f>
              <c:numCache>
                <c:formatCode>General</c:formatCode>
                <c:ptCount val="2"/>
                <c:pt idx="0">
                  <c:v>0.234995464300538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6:$A$127</c:f>
              <c:numCache>
                <c:formatCode>General</c:formatCode>
                <c:ptCount val="2"/>
                <c:pt idx="0">
                  <c:v>0</c:v>
                </c:pt>
                <c:pt idx="1">
                  <c:v>2.5850582405457576</c:v>
                </c:pt>
              </c:numCache>
            </c:numRef>
          </c:xVal>
          <c:yVal>
            <c:numRef>
              <c:f>Sheet1!$B$126:$B$127</c:f>
              <c:numCache>
                <c:formatCode>General</c:formatCode>
                <c:ptCount val="2"/>
                <c:pt idx="0">
                  <c:v>0.053924448174990834</c:v>
                </c:pt>
                <c:pt idx="1">
                  <c:v>0.053924448174990834</c:v>
                </c:pt>
              </c:numCache>
            </c:numRef>
          </c:yVal>
          <c:smooth val="0"/>
          <c:extLst>
            <c:ext xmlns:c16="http://schemas.microsoft.com/office/drawing/2014/chart" uri="{C3380CC4-5D6E-409C-BE32-E72D297353CC}">
              <c16:uniqueId val="{00000015-096C-4121-9522-6AB7243CCAAE}"/>
            </c:ext>
          </c:extLst>
        </c:ser>
        <c:ser>
          <c:idx val="7"/>
          <c:order val="7"/>
          <c:tx>
            <c:strRef>
              <c:f>Sheet1!$B$1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0:$A$131</c:f>
              <c:numCache>
                <c:formatCode>General</c:formatCode>
                <c:ptCount val="2"/>
                <c:pt idx="0">
                  <c:v>2.5850582405457576</c:v>
                </c:pt>
                <c:pt idx="1">
                  <c:v>2.5850582405457576</c:v>
                </c:pt>
              </c:numCache>
            </c:numRef>
          </c:xVal>
          <c:yVal>
            <c:numRef>
              <c:f>Sheet1!$B$130:$B$131</c:f>
              <c:numCache>
                <c:formatCode>General</c:formatCode>
                <c:ptCount val="2"/>
                <c:pt idx="0">
                  <c:v>0.05392444817499083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4:$A$161</c:f>
              <c:numCache>
                <c:formatCode>General</c:formatCode>
                <c:ptCount val="28"/>
                <c:pt idx="0">
                  <c:v>0.47322097270332947</c:v>
                </c:pt>
                <c:pt idx="1">
                  <c:v>0.8080974232407288</c:v>
                </c:pt>
                <c:pt idx="2">
                  <c:v>1.2319707325385878</c:v>
                </c:pt>
                <c:pt idx="3">
                  <c:v>3.527026991590204</c:v>
                </c:pt>
                <c:pt idx="4">
                  <c:v>0.6897504786242097</c:v>
                </c:pt>
                <c:pt idx="5">
                  <c:v>0.24258765151515152</c:v>
                </c:pt>
                <c:pt idx="6">
                  <c:v>3.4515444015444015</c:v>
                </c:pt>
                <c:pt idx="7">
                  <c:v>0.30336299611479156</c:v>
                </c:pt>
                <c:pt idx="8">
                  <c:v>0.6824593981772719</c:v>
                </c:pt>
                <c:pt idx="9">
                  <c:v>0.5253346731275907</c:v>
                </c:pt>
                <c:pt idx="10">
                  <c:v>0.7284695905938384</c:v>
                </c:pt>
                <c:pt idx="11">
                  <c:v>1.0726376344602746</c:v>
                </c:pt>
                <c:pt idx="12">
                  <c:v>0.3862119634028405</c:v>
                </c:pt>
                <c:pt idx="13">
                  <c:v>0.5606816121582886</c:v>
                </c:pt>
                <c:pt idx="14">
                  <c:v>0.9151355261650005</c:v>
                </c:pt>
                <c:pt idx="15">
                  <c:v>1.0175032596674898</c:v>
                </c:pt>
                <c:pt idx="16">
                  <c:v>1.0125103248440206</c:v>
                </c:pt>
                <c:pt idx="17">
                  <c:v>1.5818695277471153</c:v>
                </c:pt>
                <c:pt idx="18">
                  <c:v>0.7481354709768558</c:v>
                </c:pt>
                <c:pt idx="19">
                  <c:v>1.1325863184514415</c:v>
                </c:pt>
                <c:pt idx="20">
                  <c:v>1.6633411246469303</c:v>
                </c:pt>
                <c:pt idx="21">
                  <c:v>1.0344315867059768</c:v>
                </c:pt>
                <c:pt idx="22">
                  <c:v>2.9285555560626566</c:v>
                </c:pt>
                <c:pt idx="23">
                  <c:v>0.22494478811791102</c:v>
                </c:pt>
                <c:pt idx="24">
                  <c:v>0.8291888095479683</c:v>
                </c:pt>
                <c:pt idx="25">
                  <c:v>-0.3790193383217343</c:v>
                </c:pt>
                <c:pt idx="26">
                  <c:v>-1.9111536261806</c:v>
                </c:pt>
                <c:pt idx="27">
                  <c:v>2.5850582405457576</c:v>
                </c:pt>
              </c:numCache>
            </c:numRef>
          </c:xVal>
          <c:yVal>
            <c:numRef>
              <c:f>Sheet1!$B$134:$B$161</c:f>
              <c:numCache>
                <c:formatCode>General</c:formatCode>
                <c:ptCount val="28"/>
                <c:pt idx="0">
                  <c:v>0.18293339271352507</c:v>
                </c:pt>
                <c:pt idx="1">
                  <c:v>0.16247629685084142</c:v>
                </c:pt>
                <c:pt idx="2">
                  <c:v>0.136582517494234</c:v>
                </c:pt>
                <c:pt idx="3">
                  <c:v>-0.003618998098537357</c:v>
                </c:pt>
                <c:pt idx="4">
                  <c:v>0.16970593269770565</c:v>
                </c:pt>
                <c:pt idx="5">
                  <c:v>0.19702243347200252</c:v>
                </c:pt>
                <c:pt idx="6">
                  <c:v>0.0009921191599399914</c:v>
                </c:pt>
                <c:pt idx="7">
                  <c:v>0.19330975959312185</c:v>
                </c:pt>
                <c:pt idx="8">
                  <c:v>0.1701513337744496</c:v>
                </c:pt>
                <c:pt idx="9">
                  <c:v>0.17974984557658114</c:v>
                </c:pt>
                <c:pt idx="10">
                  <c:v>0.16734064071013957</c:v>
                </c:pt>
                <c:pt idx="11">
                  <c:v>0.14631593546452035</c:v>
                </c:pt>
                <c:pt idx="12">
                  <c:v>0.18824864149056159</c:v>
                </c:pt>
                <c:pt idx="13">
                  <c:v>0.17759055453344263</c:v>
                </c:pt>
                <c:pt idx="14">
                  <c:v>0.15593750103833298</c:v>
                </c:pt>
                <c:pt idx="15">
                  <c:v>0.14968401102986728</c:v>
                </c:pt>
                <c:pt idx="16">
                  <c:v>0.14998902186641888</c:v>
                </c:pt>
                <c:pt idx="17">
                  <c:v>0.11520772931688805</c:v>
                </c:pt>
                <c:pt idx="18">
                  <c:v>0.16613928182218599</c:v>
                </c:pt>
                <c:pt idx="19">
                  <c:v>0.1426537610318871</c:v>
                </c:pt>
                <c:pt idx="20">
                  <c:v>0.11023075268807223</c:v>
                </c:pt>
                <c:pt idx="21">
                  <c:v>0.14864988513518151</c:v>
                </c:pt>
                <c:pt idx="22">
                  <c:v>0.0329407167097682</c:v>
                </c:pt>
                <c:pt idx="23">
                  <c:v>0.19810020931210828</c:v>
                </c:pt>
                <c:pt idx="24">
                  <c:v>0.16118785596205484</c:v>
                </c:pt>
                <c:pt idx="25">
                  <c:v>0.23499546430053864</c:v>
                </c:pt>
                <c:pt idx="26">
                  <c:v>0.32859123059265954</c:v>
                </c:pt>
                <c:pt idx="27">
                  <c:v>0.0539244481749908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801980198019801"/>
          <c:min val="0.000888888888888888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0</c:f>
              <c:numCache>
                <c:formatCode>General</c:formatCode>
                <c:ptCount val="79"/>
                <c:pt idx="0">
                  <c:v>889.3714</c:v>
                </c:pt>
                <c:pt idx="1">
                  <c:v>1031.2512</c:v>
                </c:pt>
                <c:pt idx="2">
                  <c:v>1029.7347</c:v>
                </c:pt>
                <c:pt idx="3">
                  <c:v>887.9286</c:v>
                </c:pt>
                <c:pt idx="4">
                  <c:v>1437.8889</c:v>
                </c:pt>
                <c:pt idx="5">
                  <c:v>1368.9667</c:v>
                </c:pt>
                <c:pt idx="6">
                  <c:v>1350.4</c:v>
                </c:pt>
                <c:pt idx="7">
                  <c:v>1613.6452</c:v>
                </c:pt>
                <c:pt idx="8">
                  <c:v>1931.6701</c:v>
                </c:pt>
                <c:pt idx="9">
                  <c:v>1323.9199</c:v>
                </c:pt>
                <c:pt idx="10">
                  <c:v>1635.0476</c:v>
                </c:pt>
                <c:pt idx="11">
                  <c:v>1071.4751</c:v>
                </c:pt>
                <c:pt idx="12">
                  <c:v>832.875</c:v>
                </c:pt>
                <c:pt idx="13">
                  <c:v>1091.9375</c:v>
                </c:pt>
                <c:pt idx="14">
                  <c:v>994.06</c:v>
                </c:pt>
                <c:pt idx="15">
                  <c:v>1396.1974</c:v>
                </c:pt>
                <c:pt idx="16">
                  <c:v>695.9138</c:v>
                </c:pt>
                <c:pt idx="17">
                  <c:v>1327.3125</c:v>
                </c:pt>
                <c:pt idx="18">
                  <c:v>850.4125</c:v>
                </c:pt>
                <c:pt idx="19">
                  <c:v>1204.9423</c:v>
                </c:pt>
                <c:pt idx="20">
                  <c:v>1184.7143</c:v>
                </c:pt>
                <c:pt idx="21">
                  <c:v>1767.8276</c:v>
                </c:pt>
                <c:pt idx="22">
                  <c:v>1331.2083</c:v>
                </c:pt>
                <c:pt idx="23">
                  <c:v>1173.697</c:v>
                </c:pt>
                <c:pt idx="24">
                  <c:v>1768.9538</c:v>
                </c:pt>
                <c:pt idx="25">
                  <c:v>821.5581</c:v>
                </c:pt>
                <c:pt idx="26">
                  <c:v>1782.5855</c:v>
                </c:pt>
                <c:pt idx="27">
                  <c:v>1305.7908</c:v>
                </c:pt>
                <c:pt idx="28">
                  <c:v>1126.4373</c:v>
                </c:pt>
                <c:pt idx="29">
                  <c:v>1028.9752</c:v>
                </c:pt>
                <c:pt idx="30">
                  <c:v>764.3238</c:v>
                </c:pt>
                <c:pt idx="31">
                  <c:v>634.3583</c:v>
                </c:pt>
                <c:pt idx="32">
                  <c:v>940.119</c:v>
                </c:pt>
                <c:pt idx="33">
                  <c:v>558.3315</c:v>
                </c:pt>
                <c:pt idx="34">
                  <c:v>1007.3968</c:v>
                </c:pt>
                <c:pt idx="35">
                  <c:v>492.7965</c:v>
                </c:pt>
                <c:pt idx="36">
                  <c:v>1871.432</c:v>
                </c:pt>
                <c:pt idx="37">
                  <c:v>791.4635</c:v>
                </c:pt>
                <c:pt idx="38">
                  <c:v>1201.3023</c:v>
                </c:pt>
                <c:pt idx="39">
                  <c:v>504.3491</c:v>
                </c:pt>
                <c:pt idx="40">
                  <c:v>986.6763</c:v>
                </c:pt>
                <c:pt idx="41">
                  <c:v>1145.3012</c:v>
                </c:pt>
                <c:pt idx="42">
                  <c:v>786.7193</c:v>
                </c:pt>
                <c:pt idx="43">
                  <c:v>514.5122</c:v>
                </c:pt>
                <c:pt idx="44">
                  <c:v>531.871</c:v>
                </c:pt>
                <c:pt idx="45">
                  <c:v>1616.7265</c:v>
                </c:pt>
                <c:pt idx="46">
                  <c:v>613.6877</c:v>
                </c:pt>
                <c:pt idx="47">
                  <c:v>1147.415</c:v>
                </c:pt>
                <c:pt idx="48">
                  <c:v>545.0351</c:v>
                </c:pt>
                <c:pt idx="49">
                  <c:v>960.1974</c:v>
                </c:pt>
                <c:pt idx="50">
                  <c:v>565.5</c:v>
                </c:pt>
                <c:pt idx="51">
                  <c:v>518.6111</c:v>
                </c:pt>
                <c:pt idx="52">
                  <c:v>497.134</c:v>
                </c:pt>
                <c:pt idx="53">
                  <c:v>472.6111</c:v>
                </c:pt>
                <c:pt idx="54">
                  <c:v>1929.1739</c:v>
                </c:pt>
                <c:pt idx="55">
                  <c:v>1167.8283</c:v>
                </c:pt>
                <c:pt idx="56">
                  <c:v>1918.1947</c:v>
                </c:pt>
                <c:pt idx="57">
                  <c:v>787.7959</c:v>
                </c:pt>
                <c:pt idx="58">
                  <c:v>850.2688</c:v>
                </c:pt>
                <c:pt idx="59">
                  <c:v>1630.1809</c:v>
                </c:pt>
                <c:pt idx="60">
                  <c:v>823.5212</c:v>
                </c:pt>
                <c:pt idx="61">
                  <c:v>916.5197</c:v>
                </c:pt>
                <c:pt idx="62">
                  <c:v>500.1158</c:v>
                </c:pt>
                <c:pt idx="63">
                  <c:v>1219.3356</c:v>
                </c:pt>
                <c:pt idx="64">
                  <c:v>1167.7466</c:v>
                </c:pt>
                <c:pt idx="65">
                  <c:v>1162.7664</c:v>
                </c:pt>
                <c:pt idx="66">
                  <c:v>1095.5</c:v>
                </c:pt>
                <c:pt idx="67">
                  <c:v>1166.1901</c:v>
                </c:pt>
                <c:pt idx="68">
                  <c:v>1692.3333</c:v>
                </c:pt>
                <c:pt idx="69">
                  <c:v>1121.1293</c:v>
                </c:pt>
                <c:pt idx="70">
                  <c:v>738.4545</c:v>
                </c:pt>
                <c:pt idx="71">
                  <c:v>1061.0833</c:v>
                </c:pt>
                <c:pt idx="72">
                  <c:v>2225.5556</c:v>
                </c:pt>
                <c:pt idx="73">
                  <c:v>923.6452</c:v>
                </c:pt>
                <c:pt idx="74">
                  <c:v>1018.5103</c:v>
                </c:pt>
                <c:pt idx="75">
                  <c:v>504.7778</c:v>
                </c:pt>
                <c:pt idx="76">
                  <c:v>3820.3333</c:v>
                </c:pt>
                <c:pt idx="77">
                  <c:v>1922.1304</c:v>
                </c:pt>
                <c:pt idx="78">
                  <c:v>1730.0</c:v>
                </c:pt>
              </c:numCache>
            </c:numRef>
          </c:xVal>
          <c:yVal>
            <c:numRef>
              <c:f>Sheet1!$B$2:$B$80</c:f>
              <c:numCache>
                <c:formatCode>General</c:formatCode>
                <c:ptCount val="79"/>
                <c:pt idx="0">
                  <c:v>0.2413793103448276</c:v>
                </c:pt>
                <c:pt idx="1">
                  <c:v>0.1430472388556221</c:v>
                </c:pt>
                <c:pt idx="2">
                  <c:v>0.16554054054054054</c:v>
                </c:pt>
                <c:pt idx="3">
                  <c:v>0.13806706114398423</c:v>
                </c:pt>
                <c:pt idx="4">
                  <c:v>0.020361990950226245</c:v>
                </c:pt>
                <c:pt idx="5">
                  <c:v>0.21818181818181817</c:v>
                </c:pt>
                <c:pt idx="6">
                  <c:v>0.20408163265306123</c:v>
                </c:pt>
                <c:pt idx="7">
                  <c:v>0.19254658385093168</c:v>
                </c:pt>
                <c:pt idx="8">
                  <c:v>0.6501650165016502</c:v>
                </c:pt>
                <c:pt idx="9">
                  <c:v>0.649325626204239</c:v>
                </c:pt>
                <c:pt idx="10">
                  <c:v>0.08879492600422834</c:v>
                </c:pt>
                <c:pt idx="11">
                  <c:v>0.2970430107526882</c:v>
                </c:pt>
                <c:pt idx="12">
                  <c:v>0.11940298507462686</c:v>
                </c:pt>
                <c:pt idx="13">
                  <c:v>0.2711864406779661</c:v>
                </c:pt>
                <c:pt idx="14">
                  <c:v>0.2066115702479339</c:v>
                </c:pt>
                <c:pt idx="15">
                  <c:v>0.2389937106918239</c:v>
                </c:pt>
                <c:pt idx="16">
                  <c:v>0.17901234567901234</c:v>
                </c:pt>
                <c:pt idx="17">
                  <c:v>0.16</c:v>
                </c:pt>
                <c:pt idx="18">
                  <c:v>0.38926174496644295</c:v>
                </c:pt>
                <c:pt idx="19">
                  <c:v>0.5154894671623296</c:v>
                </c:pt>
                <c:pt idx="20">
                  <c:v>0.016129032258064516</c:v>
                </c:pt>
                <c:pt idx="21">
                  <c:v>0.06712962962962964</c:v>
                </c:pt>
                <c:pt idx="22">
                  <c:v>0.16901408450704225</c:v>
                </c:pt>
                <c:pt idx="23">
                  <c:v>0.18609022556390978</c:v>
                </c:pt>
                <c:pt idx="24">
                  <c:v>0.3559670781893004</c:v>
                </c:pt>
                <c:pt idx="25">
                  <c:v>0.09129511677282377</c:v>
                </c:pt>
                <c:pt idx="26">
                  <c:v>0.3784313725490196</c:v>
                </c:pt>
                <c:pt idx="27">
                  <c:v>0.3148148148148148</c:v>
                </c:pt>
                <c:pt idx="28">
                  <c:v>0.1527293844367015</c:v>
                </c:pt>
                <c:pt idx="29">
                  <c:v>0.38224852071005916</c:v>
                </c:pt>
                <c:pt idx="30">
                  <c:v>0.23139653414882771</c:v>
                </c:pt>
                <c:pt idx="31">
                  <c:v>0.24287974683544303</c:v>
                </c:pt>
                <c:pt idx="32">
                  <c:v>0.28248222365869424</c:v>
                </c:pt>
                <c:pt idx="33">
                  <c:v>0.35880077369439073</c:v>
                </c:pt>
                <c:pt idx="34">
                  <c:v>0.10413223140495868</c:v>
                </c:pt>
                <c:pt idx="35">
                  <c:v>0.089540412044374</c:v>
                </c:pt>
                <c:pt idx="36">
                  <c:v>0.12537612838515547</c:v>
                </c:pt>
                <c:pt idx="37">
                  <c:v>0.423956931359354</c:v>
                </c:pt>
                <c:pt idx="38">
                  <c:v>0.24022346368715083</c:v>
                </c:pt>
                <c:pt idx="39">
                  <c:v>0.343042071197411</c:v>
                </c:pt>
                <c:pt idx="40">
                  <c:v>0.2799597180261833</c:v>
                </c:pt>
                <c:pt idx="41">
                  <c:v>0.22133333333333333</c:v>
                </c:pt>
                <c:pt idx="42">
                  <c:v>0.2780487804878049</c:v>
                </c:pt>
                <c:pt idx="43">
                  <c:v>0.4039408866995074</c:v>
                </c:pt>
                <c:pt idx="44">
                  <c:v>0.2831050228310502</c:v>
                </c:pt>
                <c:pt idx="45">
                  <c:v>0.2846715328467153</c:v>
                </c:pt>
                <c:pt idx="46">
                  <c:v>0.46568627450980393</c:v>
                </c:pt>
                <c:pt idx="47">
                  <c:v>0.4157608695652174</c:v>
                </c:pt>
                <c:pt idx="48">
                  <c:v>0.27305389221556886</c:v>
                </c:pt>
                <c:pt idx="49">
                  <c:v>0.37530864197530867</c:v>
                </c:pt>
                <c:pt idx="50">
                  <c:v>0.022304832713754646</c:v>
                </c:pt>
                <c:pt idx="51">
                  <c:v>0.030560271646859084</c:v>
                </c:pt>
                <c:pt idx="52">
                  <c:v>0.13976945244956773</c:v>
                </c:pt>
                <c:pt idx="53">
                  <c:v>0.04699738903394256</c:v>
                </c:pt>
                <c:pt idx="54">
                  <c:v>0.17087667161961367</c:v>
                </c:pt>
                <c:pt idx="55">
                  <c:v>0.2858517805582291</c:v>
                </c:pt>
                <c:pt idx="56">
                  <c:v>0.24726477024070023</c:v>
                </c:pt>
                <c:pt idx="57">
                  <c:v>0.32666666666666666</c:v>
                </c:pt>
                <c:pt idx="58">
                  <c:v>0.22682926829268293</c:v>
                </c:pt>
                <c:pt idx="59">
                  <c:v>0.10755148741418764</c:v>
                </c:pt>
                <c:pt idx="60">
                  <c:v>0.30930537352555704</c:v>
                </c:pt>
                <c:pt idx="61">
                  <c:v>0.5105708245243129</c:v>
                </c:pt>
                <c:pt idx="62">
                  <c:v>0.14053254437869822</c:v>
                </c:pt>
                <c:pt idx="63">
                  <c:v>0.2050561797752809</c:v>
                </c:pt>
                <c:pt idx="64">
                  <c:v>0.24172185430463577</c:v>
                </c:pt>
                <c:pt idx="65">
                  <c:v>0.45364238410596025</c:v>
                </c:pt>
                <c:pt idx="66">
                  <c:v>0.05714285714285714</c:v>
                </c:pt>
                <c:pt idx="67">
                  <c:v>0.34549878345498786</c:v>
                </c:pt>
                <c:pt idx="68">
                  <c:v>0.00906344410876133</c:v>
                </c:pt>
                <c:pt idx="69">
                  <c:v>0.14215686274509803</c:v>
                </c:pt>
                <c:pt idx="70">
                  <c:v>0.030942334739803096</c:v>
                </c:pt>
                <c:pt idx="71">
                  <c:v>0.02027027027027027</c:v>
                </c:pt>
                <c:pt idx="72">
                  <c:v>0.013452914798206279</c:v>
                </c:pt>
                <c:pt idx="73">
                  <c:v>0.125</c:v>
                </c:pt>
                <c:pt idx="74">
                  <c:v>0.11001517450682853</c:v>
                </c:pt>
                <c:pt idx="75">
                  <c:v>0.045454545454545456</c:v>
                </c:pt>
                <c:pt idx="76">
                  <c:v>0.003278688524590164</c:v>
                </c:pt>
                <c:pt idx="77">
                  <c:v>0.049783549783549784</c:v>
                </c:pt>
                <c:pt idx="78">
                  <c:v>0.005063291139240506</c:v>
                </c:pt>
              </c:numCache>
            </c:numRef>
          </c:yVal>
          <c:smooth val="0"/>
          <c:extLst>
            <c:ext xmlns:c16="http://schemas.microsoft.com/office/drawing/2014/chart" uri="{C3380CC4-5D6E-409C-BE32-E72D297353CC}">
              <c16:uniqueId val="{00000000-F32D-48B7-BC20-E66FC6253BAD}"/>
            </c:ext>
          </c:extLst>
        </c:ser>
        <c:ser>
          <c:idx val="1"/>
          <c:order val="1"/>
          <c:tx>
            <c:strRef>
              <c:f>Sheet1!$B$8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3:$A$107</c:f>
              <c:numCache>
                <c:formatCode>General</c:formatCode>
                <c:ptCount val="25"/>
                <c:pt idx="0">
                  <c:v>1165.7669</c:v>
                </c:pt>
                <c:pt idx="1">
                  <c:v>1143.5882</c:v>
                </c:pt>
                <c:pt idx="2">
                  <c:v>2284.5</c:v>
                </c:pt>
                <c:pt idx="3">
                  <c:v>5111.0</c:v>
                </c:pt>
                <c:pt idx="4">
                  <c:v>1100.5042</c:v>
                </c:pt>
                <c:pt idx="5">
                  <c:v>960.6471</c:v>
                </c:pt>
                <c:pt idx="6">
                  <c:v>4469.75</c:v>
                </c:pt>
                <c:pt idx="7">
                  <c:v>1082.3739</c:v>
                </c:pt>
                <c:pt idx="8">
                  <c:v>1037.4556</c:v>
                </c:pt>
                <c:pt idx="9">
                  <c:v>1203.175</c:v>
                </c:pt>
                <c:pt idx="10">
                  <c:v>1018.5574</c:v>
                </c:pt>
                <c:pt idx="11">
                  <c:v>1017.831</c:v>
                </c:pt>
                <c:pt idx="12">
                  <c:v>643.1667</c:v>
                </c:pt>
                <c:pt idx="13">
                  <c:v>708.5652</c:v>
                </c:pt>
                <c:pt idx="14">
                  <c:v>1224.1778</c:v>
                </c:pt>
                <c:pt idx="15">
                  <c:v>1495.7419</c:v>
                </c:pt>
                <c:pt idx="16">
                  <c:v>1634.1379</c:v>
                </c:pt>
                <c:pt idx="17">
                  <c:v>2379.0</c:v>
                </c:pt>
                <c:pt idx="18">
                  <c:v>1219.2372</c:v>
                </c:pt>
                <c:pt idx="19">
                  <c:v>1608.8571</c:v>
                </c:pt>
                <c:pt idx="20">
                  <c:v>3695.6667</c:v>
                </c:pt>
                <c:pt idx="21">
                  <c:v>1543.7857</c:v>
                </c:pt>
                <c:pt idx="22">
                  <c:v>3721.7273</c:v>
                </c:pt>
                <c:pt idx="23">
                  <c:v>694.1333</c:v>
                </c:pt>
                <c:pt idx="24">
                  <c:v>1046.025</c:v>
                </c:pt>
              </c:numCache>
            </c:numRef>
          </c:xVal>
          <c:yVal>
            <c:numRef>
              <c:f>Sheet1!$B$83:$B$107</c:f>
              <c:numCache>
                <c:formatCode>General</c:formatCode>
                <c:ptCount val="25"/>
                <c:pt idx="0">
                  <c:v>0.1543560606060606</c:v>
                </c:pt>
                <c:pt idx="1">
                  <c:v>0.02135678391959799</c:v>
                </c:pt>
                <c:pt idx="2">
                  <c:v>0.013710368466152529</c:v>
                </c:pt>
                <c:pt idx="3">
                  <c:v>0.0011111111111111111</c:v>
                </c:pt>
                <c:pt idx="4">
                  <c:v>0.25813449023861174</c:v>
                </c:pt>
                <c:pt idx="5">
                  <c:v>0.18888888888888888</c:v>
                </c:pt>
                <c:pt idx="6">
                  <c:v>0.029850746268656716</c:v>
                </c:pt>
                <c:pt idx="7">
                  <c:v>0.28117359413202936</c:v>
                </c:pt>
                <c:pt idx="8">
                  <c:v>0.582312925170068</c:v>
                </c:pt>
                <c:pt idx="9">
                  <c:v>0.13179571663920922</c:v>
                </c:pt>
                <c:pt idx="10">
                  <c:v>0.2982885085574572</c:v>
                </c:pt>
                <c:pt idx="11">
                  <c:v>0.544766708701135</c:v>
                </c:pt>
                <c:pt idx="12">
                  <c:v>0.00949367088607595</c:v>
                </c:pt>
                <c:pt idx="13">
                  <c:v>0.04572564612326044</c:v>
                </c:pt>
                <c:pt idx="14">
                  <c:v>0.10948905109489052</c:v>
                </c:pt>
                <c:pt idx="15">
                  <c:v>0.11191335740072202</c:v>
                </c:pt>
                <c:pt idx="16">
                  <c:v>0.2049469964664311</c:v>
                </c:pt>
                <c:pt idx="17">
                  <c:v>0.006430868167202572</c:v>
                </c:pt>
                <c:pt idx="18">
                  <c:v>0.2948960302457467</c:v>
                </c:pt>
                <c:pt idx="19">
                  <c:v>0.0412573673870334</c:v>
                </c:pt>
                <c:pt idx="20">
                  <c:v>0.004761904761904762</c:v>
                </c:pt>
                <c:pt idx="21">
                  <c:v>0.025547445255474453</c:v>
                </c:pt>
                <c:pt idx="22">
                  <c:v>0.03206997084548105</c:v>
                </c:pt>
                <c:pt idx="23">
                  <c:v>0.05190311418685121</c:v>
                </c:pt>
                <c:pt idx="24">
                  <c:v>0.1553398058252427</c:v>
                </c:pt>
              </c:numCache>
            </c:numRef>
          </c:yVal>
          <c:smooth val="0"/>
          <c:extLst>
            <c:ext xmlns:c16="http://schemas.microsoft.com/office/drawing/2014/chart" uri="{C3380CC4-5D6E-409C-BE32-E72D297353CC}">
              <c16:uniqueId val="{00000002-F32D-48B7-BC20-E66FC6253BAD}"/>
            </c:ext>
          </c:extLst>
        </c:ser>
        <c:ser>
          <c:idx val="2"/>
          <c:order val="2"/>
          <c:tx>
            <c:strRef>
              <c:f>Sheet1!$B$109</c:f>
              <c:strCache>
                <c:ptCount val="1"/>
                <c:pt idx="0">
                  <c:v>Custom Linep3yQ</c:v>
                </c:pt>
              </c:strCache>
            </c:strRef>
          </c:tx>
          <c:spPr>
            <a:ln w="19050" cap="rnd">
              <a:solidFill>
                <a:srgbClr val="C00000"/>
              </a:solidFill>
              <a:prstDash val="sysDot"/>
              <a:round/>
            </a:ln>
            <a:effectLst/>
          </c:spPr>
          <c:marker>
            <c:symbol val="none"/>
          </c:marker>
          <c:xVal>
            <c:numRef>
              <c:f>Sheet1!$A$110:$A$111</c:f>
              <c:numCache>
                <c:formatCode>General</c:formatCode>
                <c:ptCount val="2"/>
                <c:pt idx="0">
                  <c:v>0</c:v>
                </c:pt>
                <c:pt idx="1">
                  <c:v>-1629.232933416683</c:v>
                </c:pt>
              </c:numCache>
            </c:numRef>
          </c:xVal>
          <c:yVal>
            <c:numRef>
              <c:f>Sheet1!$B$110:$B$111</c:f>
              <c:numCache>
                <c:formatCode>General</c:formatCode>
                <c:ptCount val="2"/>
                <c:pt idx="0">
                  <c:v>0.32859123059265954</c:v>
                </c:pt>
                <c:pt idx="1">
                  <c:v>0.32859123059265954</c:v>
                </c:pt>
              </c:numCache>
            </c:numRef>
          </c:yVal>
          <c:smooth val="0"/>
          <c:extLst>
            <c:ext xmlns:c16="http://schemas.microsoft.com/office/drawing/2014/chart" uri="{C3380CC4-5D6E-409C-BE32-E72D297353CC}">
              <c16:uniqueId val="{00000003-F32D-48B7-BC20-E66FC6253BAD}"/>
            </c:ext>
          </c:extLst>
        </c:ser>
        <c:ser>
          <c:idx val="3"/>
          <c:order val="3"/>
          <c:tx>
            <c:strRef>
              <c:f>Sheet1!$B$1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1629.232933416683</c:v>
                </c:pt>
                <c:pt idx="1">
                  <c:v>-1629.232933416683</c:v>
                </c:pt>
              </c:numCache>
            </c:numRef>
          </c:xVal>
          <c:yVal>
            <c:numRef>
              <c:f>Sheet1!$B$114:$B$115</c:f>
              <c:numCache>
                <c:formatCode>General</c:formatCode>
                <c:ptCount val="2"/>
                <c:pt idx="0">
                  <c:v>0.328591230592659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8:$A$119</c:f>
              <c:numCache>
                <c:formatCode>General</c:formatCode>
                <c:ptCount val="2"/>
                <c:pt idx="0">
                  <c:v>0</c:v>
                </c:pt>
                <c:pt idx="1">
                  <c:v>73.04330775407618</c:v>
                </c:pt>
              </c:numCache>
            </c:numRef>
          </c:xVal>
          <c:yVal>
            <c:numRef>
              <c:f>Sheet1!$B$118:$B$119</c:f>
              <c:numCache>
                <c:formatCode>General</c:formatCode>
                <c:ptCount val="2"/>
                <c:pt idx="0">
                  <c:v>0.23499546430053864</c:v>
                </c:pt>
                <c:pt idx="1">
                  <c:v>0.23499546430053864</c:v>
                </c:pt>
              </c:numCache>
            </c:numRef>
          </c:yVal>
          <c:smooth val="0"/>
          <c:extLst>
            <c:ext xmlns:c16="http://schemas.microsoft.com/office/drawing/2014/chart" uri="{C3380CC4-5D6E-409C-BE32-E72D297353CC}">
              <c16:uniqueId val="{0000000A-F32D-48B7-BC20-E66FC6253BAD}"/>
            </c:ext>
          </c:extLst>
        </c:ser>
        <c:ser>
          <c:idx val="5"/>
          <c:order val="5"/>
          <c:tx>
            <c:strRef>
              <c:f>Sheet1!$B$1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73.04330775407618</c:v>
                </c:pt>
                <c:pt idx="1">
                  <c:v>73.04330775407618</c:v>
                </c:pt>
              </c:numCache>
            </c:numRef>
          </c:xVal>
          <c:yVal>
            <c:numRef>
              <c:f>Sheet1!$B$122:$B$123</c:f>
              <c:numCache>
                <c:formatCode>General</c:formatCode>
                <c:ptCount val="2"/>
                <c:pt idx="0">
                  <c:v>0.234995464300538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6:$A$127</c:f>
              <c:numCache>
                <c:formatCode>General</c:formatCode>
                <c:ptCount val="2"/>
                <c:pt idx="0">
                  <c:v>0</c:v>
                </c:pt>
                <c:pt idx="1">
                  <c:v>3366.2786850161683</c:v>
                </c:pt>
              </c:numCache>
            </c:numRef>
          </c:xVal>
          <c:yVal>
            <c:numRef>
              <c:f>Sheet1!$B$126:$B$127</c:f>
              <c:numCache>
                <c:formatCode>General</c:formatCode>
                <c:ptCount val="2"/>
                <c:pt idx="0">
                  <c:v>0.053924448174990834</c:v>
                </c:pt>
                <c:pt idx="1">
                  <c:v>0.053924448174990834</c:v>
                </c:pt>
              </c:numCache>
            </c:numRef>
          </c:yVal>
          <c:smooth val="0"/>
          <c:extLst>
            <c:ext xmlns:c16="http://schemas.microsoft.com/office/drawing/2014/chart" uri="{C3380CC4-5D6E-409C-BE32-E72D297353CC}">
              <c16:uniqueId val="{00000011-F32D-48B7-BC20-E66FC6253BAD}"/>
            </c:ext>
          </c:extLst>
        </c:ser>
        <c:ser>
          <c:idx val="7"/>
          <c:order val="7"/>
          <c:tx>
            <c:strRef>
              <c:f>Sheet1!$B$1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0:$A$131</c:f>
              <c:numCache>
                <c:formatCode>General</c:formatCode>
                <c:ptCount val="2"/>
                <c:pt idx="0">
                  <c:v>3366.2786850161683</c:v>
                </c:pt>
                <c:pt idx="1">
                  <c:v>3366.2786850161683</c:v>
                </c:pt>
              </c:numCache>
            </c:numRef>
          </c:xVal>
          <c:yVal>
            <c:numRef>
              <c:f>Sheet1!$B$130:$B$131</c:f>
              <c:numCache>
                <c:formatCode>General</c:formatCode>
                <c:ptCount val="2"/>
                <c:pt idx="0">
                  <c:v>0.05392444817499083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4:$A$161</c:f>
              <c:numCache>
                <c:formatCode>General</c:formatCode>
                <c:ptCount val="28"/>
                <c:pt idx="0">
                  <c:v>1165.7669</c:v>
                </c:pt>
                <c:pt idx="1">
                  <c:v>1143.5882</c:v>
                </c:pt>
                <c:pt idx="2">
                  <c:v>2284.5</c:v>
                </c:pt>
                <c:pt idx="3">
                  <c:v>5111.0</c:v>
                </c:pt>
                <c:pt idx="4">
                  <c:v>1100.5042</c:v>
                </c:pt>
                <c:pt idx="5">
                  <c:v>960.6471</c:v>
                </c:pt>
                <c:pt idx="6">
                  <c:v>4469.75</c:v>
                </c:pt>
                <c:pt idx="7">
                  <c:v>1082.3739</c:v>
                </c:pt>
                <c:pt idx="8">
                  <c:v>1037.4556</c:v>
                </c:pt>
                <c:pt idx="9">
                  <c:v>1203.175</c:v>
                </c:pt>
                <c:pt idx="10">
                  <c:v>1018.5574</c:v>
                </c:pt>
                <c:pt idx="11">
                  <c:v>1017.831</c:v>
                </c:pt>
                <c:pt idx="12">
                  <c:v>643.1667</c:v>
                </c:pt>
                <c:pt idx="13">
                  <c:v>708.5652</c:v>
                </c:pt>
                <c:pt idx="14">
                  <c:v>1224.1778</c:v>
                </c:pt>
                <c:pt idx="15">
                  <c:v>1495.7419</c:v>
                </c:pt>
                <c:pt idx="16">
                  <c:v>1634.1379</c:v>
                </c:pt>
                <c:pt idx="17">
                  <c:v>2379.0</c:v>
                </c:pt>
                <c:pt idx="18">
                  <c:v>1219.2372</c:v>
                </c:pt>
                <c:pt idx="19">
                  <c:v>1608.8571</c:v>
                </c:pt>
                <c:pt idx="20">
                  <c:v>3695.6667</c:v>
                </c:pt>
                <c:pt idx="21">
                  <c:v>1543.7857</c:v>
                </c:pt>
                <c:pt idx="22">
                  <c:v>3721.7273</c:v>
                </c:pt>
                <c:pt idx="23">
                  <c:v>694.1333</c:v>
                </c:pt>
                <c:pt idx="24">
                  <c:v>1046.025</c:v>
                </c:pt>
                <c:pt idx="25">
                  <c:v>73.04330775407618</c:v>
                </c:pt>
                <c:pt idx="26">
                  <c:v>-1629.232933416683</c:v>
                </c:pt>
                <c:pt idx="27">
                  <c:v>3366.2786850161683</c:v>
                </c:pt>
              </c:numCache>
            </c:numRef>
          </c:xVal>
          <c:yVal>
            <c:numRef>
              <c:f>Sheet1!$B$134:$B$161</c:f>
              <c:numCache>
                <c:formatCode>General</c:formatCode>
                <c:ptCount val="28"/>
                <c:pt idx="0">
                  <c:v>0.1749145564618696</c:v>
                </c:pt>
                <c:pt idx="1">
                  <c:v>0.17613400156229314</c:v>
                </c:pt>
                <c:pt idx="2">
                  <c:v>0.1134035753188529</c:v>
                </c:pt>
                <c:pt idx="3">
                  <c:v>-0.042005063435767626</c:v>
                </c:pt>
                <c:pt idx="4">
                  <c:v>0.1785028767761987</c:v>
                </c:pt>
                <c:pt idx="5">
                  <c:v>0.18619259958927806</c:v>
                </c:pt>
                <c:pt idx="6">
                  <c:v>-0.006747398620129741</c:v>
                </c:pt>
                <c:pt idx="7">
                  <c:v>0.179499729860654</c:v>
                </c:pt>
                <c:pt idx="8">
                  <c:v>0.18196945986531404</c:v>
                </c:pt>
                <c:pt idx="9">
                  <c:v>0.1728577576296047</c:v>
                </c:pt>
                <c:pt idx="10">
                  <c:v>0.18300853417520707</c:v>
                </c:pt>
                <c:pt idx="11">
                  <c:v>0.18304847361804852</c:v>
                </c:pt>
                <c:pt idx="12">
                  <c:v>0.20364853335728528</c:v>
                </c:pt>
                <c:pt idx="13">
                  <c:v>0.20005274639050868</c:v>
                </c:pt>
                <c:pt idx="14">
                  <c:v>0.1717029667015893</c:v>
                </c:pt>
                <c:pt idx="15">
                  <c:v>0.15677163568597863</c:v>
                </c:pt>
                <c:pt idx="16">
                  <c:v>0.1491622481151014</c:v>
                </c:pt>
                <c:pt idx="17">
                  <c:v>0.10820770892496942</c:v>
                </c:pt>
                <c:pt idx="18">
                  <c:v>0.17197461429424138</c:v>
                </c:pt>
                <c:pt idx="19">
                  <c:v>0.1505522550900272</c:v>
                </c:pt>
                <c:pt idx="20">
                  <c:v>0.035813801427874686</c:v>
                </c:pt>
                <c:pt idx="21">
                  <c:v>0.15413005721132828</c:v>
                </c:pt>
                <c:pt idx="22">
                  <c:v>0.034380918933224536</c:v>
                </c:pt>
                <c:pt idx="23">
                  <c:v>0.20084625140860274</c:v>
                </c:pt>
                <c:pt idx="24">
                  <c:v>0.18149829100313686</c:v>
                </c:pt>
                <c:pt idx="25">
                  <c:v>0.23499546430053864</c:v>
                </c:pt>
                <c:pt idx="26">
                  <c:v>0.32859123059265954</c:v>
                </c:pt>
                <c:pt idx="27">
                  <c:v>0.0539244481749908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3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801980198019801"/>
          <c:min val="0.000888888888888888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4</c:f>
              <c:numCache>
                <c:formatCode>General</c:formatCode>
                <c:ptCount val="73"/>
                <c:pt idx="0">
                  <c:v>1.0477574336445095</c:v>
                </c:pt>
                <c:pt idx="1">
                  <c:v>1.099277105556915</c:v>
                </c:pt>
                <c:pt idx="2">
                  <c:v>1.0257824627492733</c:v>
                </c:pt>
                <c:pt idx="3">
                  <c:v>0.9413728801106583</c:v>
                </c:pt>
                <c:pt idx="4">
                  <c:v>1.0602335939586285</c:v>
                </c:pt>
                <c:pt idx="5">
                  <c:v>1.1934153081684247</c:v>
                </c:pt>
                <c:pt idx="6">
                  <c:v>0.8287269061315509</c:v>
                </c:pt>
                <c:pt idx="7">
                  <c:v>1.6641808243116656</c:v>
                </c:pt>
                <c:pt idx="8">
                  <c:v>1.0072512785219048</c:v>
                </c:pt>
                <c:pt idx="9">
                  <c:v>1.1458751706019457</c:v>
                </c:pt>
                <c:pt idx="10">
                  <c:v>0.6343757749990707</c:v>
                </c:pt>
                <c:pt idx="11">
                  <c:v>1.6956387624800613</c:v>
                </c:pt>
                <c:pt idx="12">
                  <c:v>1.086869171482843</c:v>
                </c:pt>
                <c:pt idx="13">
                  <c:v>1.4113067084904278</c:v>
                </c:pt>
                <c:pt idx="14">
                  <c:v>1.7870322699471743</c:v>
                </c:pt>
                <c:pt idx="15">
                  <c:v>0.7519120247568524</c:v>
                </c:pt>
                <c:pt idx="16">
                  <c:v>1.3243655023745746</c:v>
                </c:pt>
                <c:pt idx="17">
                  <c:v>1.0170488186983633</c:v>
                </c:pt>
                <c:pt idx="18">
                  <c:v>1.3897595080652039</c:v>
                </c:pt>
                <c:pt idx="19">
                  <c:v>1.3412049094830067</c:v>
                </c:pt>
                <c:pt idx="20">
                  <c:v>1.8396489329861516</c:v>
                </c:pt>
                <c:pt idx="21">
                  <c:v>0.8889467532041748</c:v>
                </c:pt>
                <c:pt idx="22">
                  <c:v>2.052487622337363</c:v>
                </c:pt>
                <c:pt idx="23">
                  <c:v>1.126194605062609</c:v>
                </c:pt>
                <c:pt idx="24">
                  <c:v>1.0753790985576823</c:v>
                </c:pt>
                <c:pt idx="25">
                  <c:v>0.5932387787407788</c:v>
                </c:pt>
                <c:pt idx="26">
                  <c:v>0.5635772271048359</c:v>
                </c:pt>
                <c:pt idx="27">
                  <c:v>0.5273573803663111</c:v>
                </c:pt>
                <c:pt idx="28">
                  <c:v>0.6299124873810251</c:v>
                </c:pt>
                <c:pt idx="29">
                  <c:v>0.9215516806067733</c:v>
                </c:pt>
                <c:pt idx="30">
                  <c:v>0.5660919322366602</c:v>
                </c:pt>
                <c:pt idx="31">
                  <c:v>1.7945992825369603</c:v>
                </c:pt>
                <c:pt idx="32">
                  <c:v>0.762174212073897</c:v>
                </c:pt>
                <c:pt idx="33">
                  <c:v>1.3494981096615366</c:v>
                </c:pt>
                <c:pt idx="34">
                  <c:v>0.3422459490249078</c:v>
                </c:pt>
                <c:pt idx="35">
                  <c:v>1.0600124106187283</c:v>
                </c:pt>
                <c:pt idx="36">
                  <c:v>0.8047714259715412</c:v>
                </c:pt>
                <c:pt idx="37">
                  <c:v>0.6630142363792136</c:v>
                </c:pt>
                <c:pt idx="38">
                  <c:v>0.43041486073084134</c:v>
                </c:pt>
                <c:pt idx="39">
                  <c:v>0.5238646198553645</c:v>
                </c:pt>
                <c:pt idx="40">
                  <c:v>1.5373399557585785</c:v>
                </c:pt>
                <c:pt idx="41">
                  <c:v>0.7090407804249523</c:v>
                </c:pt>
                <c:pt idx="42">
                  <c:v>0.9212741615523129</c:v>
                </c:pt>
                <c:pt idx="43">
                  <c:v>0.4890347085509436</c:v>
                </c:pt>
                <c:pt idx="44">
                  <c:v>1.2625869822485207</c:v>
                </c:pt>
                <c:pt idx="45">
                  <c:v>0.37234567901234567</c:v>
                </c:pt>
                <c:pt idx="46">
                  <c:v>0.3707140854112404</c:v>
                </c:pt>
                <c:pt idx="47">
                  <c:v>0.4174140520458145</c:v>
                </c:pt>
                <c:pt idx="48">
                  <c:v>1.7589589178335703</c:v>
                </c:pt>
                <c:pt idx="49">
                  <c:v>0.47617539547430676</c:v>
                </c:pt>
                <c:pt idx="50">
                  <c:v>2.011069509891927</c:v>
                </c:pt>
                <c:pt idx="51">
                  <c:v>0.9225887990485035</c:v>
                </c:pt>
                <c:pt idx="52">
                  <c:v>0.9976496937186361</c:v>
                </c:pt>
                <c:pt idx="53">
                  <c:v>1.7952069109778597</c:v>
                </c:pt>
                <c:pt idx="54">
                  <c:v>0.405048361332595</c:v>
                </c:pt>
                <c:pt idx="55">
                  <c:v>0.7545889797303561</c:v>
                </c:pt>
                <c:pt idx="56">
                  <c:v>0.43319215982475373</c:v>
                </c:pt>
                <c:pt idx="57">
                  <c:v>1.3751507710171837</c:v>
                </c:pt>
                <c:pt idx="58">
                  <c:v>1.2692372196325348</c:v>
                </c:pt>
                <c:pt idx="59">
                  <c:v>1.2719075116687868</c:v>
                </c:pt>
                <c:pt idx="60">
                  <c:v>0.8984045876286039</c:v>
                </c:pt>
                <c:pt idx="61">
                  <c:v>1.0479221321289884</c:v>
                </c:pt>
                <c:pt idx="62">
                  <c:v>1.4485274450021053</c:v>
                </c:pt>
                <c:pt idx="63">
                  <c:v>0.9671068062233781</c:v>
                </c:pt>
                <c:pt idx="64">
                  <c:v>0.6487357132082912</c:v>
                </c:pt>
                <c:pt idx="65">
                  <c:v>0.9992691122760696</c:v>
                </c:pt>
                <c:pt idx="66">
                  <c:v>2.154877555567196</c:v>
                </c:pt>
                <c:pt idx="67">
                  <c:v>0.8956733221492781</c:v>
                </c:pt>
                <c:pt idx="68">
                  <c:v>0.7981096785158962</c:v>
                </c:pt>
                <c:pt idx="69">
                  <c:v>0.36087842873713805</c:v>
                </c:pt>
                <c:pt idx="70">
                  <c:v>3.708530740358127</c:v>
                </c:pt>
                <c:pt idx="71">
                  <c:v>1.2136413121237066</c:v>
                </c:pt>
                <c:pt idx="72">
                  <c:v>1.532355961861166</c:v>
                </c:pt>
              </c:numCache>
            </c:numRef>
          </c:xVal>
          <c:yVal>
            <c:numRef>
              <c:f>Sheet1!$B$2:$B$74</c:f>
              <c:numCache>
                <c:formatCode>General</c:formatCode>
                <c:ptCount val="73"/>
                <c:pt idx="0">
                  <c:v>0.2413793103448276</c:v>
                </c:pt>
                <c:pt idx="1">
                  <c:v>0.1430472388556221</c:v>
                </c:pt>
                <c:pt idx="2">
                  <c:v>0.16554054054054054</c:v>
                </c:pt>
                <c:pt idx="3">
                  <c:v>0.13806706114398423</c:v>
                </c:pt>
                <c:pt idx="4">
                  <c:v>0.18840579710144928</c:v>
                </c:pt>
                <c:pt idx="5">
                  <c:v>0.21818181818181817</c:v>
                </c:pt>
                <c:pt idx="6">
                  <c:v>0.7694235588972431</c:v>
                </c:pt>
                <c:pt idx="7">
                  <c:v>0.6501650165016502</c:v>
                </c:pt>
                <c:pt idx="8">
                  <c:v>0.649325626204239</c:v>
                </c:pt>
                <c:pt idx="9">
                  <c:v>0.2970430107526882</c:v>
                </c:pt>
                <c:pt idx="10">
                  <c:v>0.11940298507462686</c:v>
                </c:pt>
                <c:pt idx="11">
                  <c:v>0.5182926829268293</c:v>
                </c:pt>
                <c:pt idx="12">
                  <c:v>0.2066115702479339</c:v>
                </c:pt>
                <c:pt idx="13">
                  <c:v>0.2389937106918239</c:v>
                </c:pt>
                <c:pt idx="14">
                  <c:v>0.16</c:v>
                </c:pt>
                <c:pt idx="15">
                  <c:v>0.38926174496644295</c:v>
                </c:pt>
                <c:pt idx="16">
                  <c:v>0.5154894671623296</c:v>
                </c:pt>
                <c:pt idx="17">
                  <c:v>0.016129032258064516</c:v>
                </c:pt>
                <c:pt idx="18">
                  <c:v>0.06712962962962964</c:v>
                </c:pt>
                <c:pt idx="19">
                  <c:v>0.18609022556390978</c:v>
                </c:pt>
                <c:pt idx="20">
                  <c:v>0.3559670781893004</c:v>
                </c:pt>
                <c:pt idx="21">
                  <c:v>0.09129511677282377</c:v>
                </c:pt>
                <c:pt idx="22">
                  <c:v>0.3784313725490196</c:v>
                </c:pt>
                <c:pt idx="23">
                  <c:v>0.1527293844367015</c:v>
                </c:pt>
                <c:pt idx="24">
                  <c:v>0.38224852071005916</c:v>
                </c:pt>
                <c:pt idx="25">
                  <c:v>0.23139653414882771</c:v>
                </c:pt>
                <c:pt idx="26">
                  <c:v>0.24287974683544303</c:v>
                </c:pt>
                <c:pt idx="27">
                  <c:v>0.28248222365869424</c:v>
                </c:pt>
                <c:pt idx="28">
                  <c:v>0.35880077369439073</c:v>
                </c:pt>
                <c:pt idx="29">
                  <c:v>0.10413223140495868</c:v>
                </c:pt>
                <c:pt idx="30">
                  <c:v>0.089540412044374</c:v>
                </c:pt>
                <c:pt idx="31">
                  <c:v>0.12537612838515547</c:v>
                </c:pt>
                <c:pt idx="32">
                  <c:v>0.423956931359354</c:v>
                </c:pt>
                <c:pt idx="33">
                  <c:v>0.24022346368715083</c:v>
                </c:pt>
                <c:pt idx="34">
                  <c:v>0.343042071197411</c:v>
                </c:pt>
                <c:pt idx="35">
                  <c:v>0.2799597180261833</c:v>
                </c:pt>
                <c:pt idx="36">
                  <c:v>0.22133333333333333</c:v>
                </c:pt>
                <c:pt idx="37">
                  <c:v>0.2780487804878049</c:v>
                </c:pt>
                <c:pt idx="38">
                  <c:v>0.4039408866995074</c:v>
                </c:pt>
                <c:pt idx="39">
                  <c:v>0.2831050228310502</c:v>
                </c:pt>
                <c:pt idx="40">
                  <c:v>0.2846715328467153</c:v>
                </c:pt>
                <c:pt idx="41">
                  <c:v>0.46568627450980393</c:v>
                </c:pt>
                <c:pt idx="42">
                  <c:v>0.4157608695652174</c:v>
                </c:pt>
                <c:pt idx="43">
                  <c:v>0.27305389221556886</c:v>
                </c:pt>
                <c:pt idx="44">
                  <c:v>0.37530864197530867</c:v>
                </c:pt>
                <c:pt idx="45">
                  <c:v>0.022304832713754646</c:v>
                </c:pt>
                <c:pt idx="46">
                  <c:v>0.030560271646859084</c:v>
                </c:pt>
                <c:pt idx="47">
                  <c:v>0.13976945244956773</c:v>
                </c:pt>
                <c:pt idx="48">
                  <c:v>0.17087667161961367</c:v>
                </c:pt>
                <c:pt idx="49">
                  <c:v>0.2858517805582291</c:v>
                </c:pt>
                <c:pt idx="50">
                  <c:v>0.24726477024070023</c:v>
                </c:pt>
                <c:pt idx="51">
                  <c:v>0.32666666666666666</c:v>
                </c:pt>
                <c:pt idx="52">
                  <c:v>0.22682926829268293</c:v>
                </c:pt>
                <c:pt idx="53">
                  <c:v>0.10755148741418764</c:v>
                </c:pt>
                <c:pt idx="54">
                  <c:v>0.30930537352555704</c:v>
                </c:pt>
                <c:pt idx="55">
                  <c:v>0.5105708245243129</c:v>
                </c:pt>
                <c:pt idx="56">
                  <c:v>0.14053254437869822</c:v>
                </c:pt>
                <c:pt idx="57">
                  <c:v>0.2050561797752809</c:v>
                </c:pt>
                <c:pt idx="58">
                  <c:v>0.24172185430463577</c:v>
                </c:pt>
                <c:pt idx="59">
                  <c:v>0.45364238410596025</c:v>
                </c:pt>
                <c:pt idx="60">
                  <c:v>0.05714285714285714</c:v>
                </c:pt>
                <c:pt idx="61">
                  <c:v>0.34549878345498786</c:v>
                </c:pt>
                <c:pt idx="62">
                  <c:v>0.00906344410876133</c:v>
                </c:pt>
                <c:pt idx="63">
                  <c:v>0.14215686274509803</c:v>
                </c:pt>
                <c:pt idx="64">
                  <c:v>0.030942334739803096</c:v>
                </c:pt>
                <c:pt idx="65">
                  <c:v>0.02027027027027027</c:v>
                </c:pt>
                <c:pt idx="66">
                  <c:v>0.013452914798206279</c:v>
                </c:pt>
                <c:pt idx="67">
                  <c:v>0.125</c:v>
                </c:pt>
                <c:pt idx="68">
                  <c:v>0.11001517450682853</c:v>
                </c:pt>
                <c:pt idx="69">
                  <c:v>0.045454545454545456</c:v>
                </c:pt>
                <c:pt idx="70">
                  <c:v>0.003278688524590164</c:v>
                </c:pt>
                <c:pt idx="71">
                  <c:v>0.049783549783549784</c:v>
                </c:pt>
                <c:pt idx="72">
                  <c:v>0.005063291139240506</c:v>
                </c:pt>
              </c:numCache>
            </c:numRef>
          </c:yVal>
          <c:smooth val="0"/>
          <c:extLst>
            <c:ext xmlns:c16="http://schemas.microsoft.com/office/drawing/2014/chart" uri="{C3380CC4-5D6E-409C-BE32-E72D297353CC}">
              <c16:uniqueId val="{00000000-096C-4121-9522-6AB7243CCAAE}"/>
            </c:ext>
          </c:extLst>
        </c:ser>
        <c:ser>
          <c:idx val="1"/>
          <c:order val="1"/>
          <c:tx>
            <c:strRef>
              <c:f>Sheet1!$B$7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7:$A$103</c:f>
              <c:numCache>
                <c:formatCode>General</c:formatCode>
                <c:ptCount val="27"/>
                <c:pt idx="0">
                  <c:v>0.8882680521339308</c:v>
                </c:pt>
                <c:pt idx="1">
                  <c:v>1.049762139583454</c:v>
                </c:pt>
                <c:pt idx="2">
                  <c:v>1.8126852259607944</c:v>
                </c:pt>
                <c:pt idx="3">
                  <c:v>4.592683103697681</c:v>
                </c:pt>
                <c:pt idx="4">
                  <c:v>1.0222427278923785</c:v>
                </c:pt>
                <c:pt idx="5">
                  <c:v>0.982916749928096</c:v>
                </c:pt>
                <c:pt idx="6">
                  <c:v>5.277242513718351</c:v>
                </c:pt>
                <c:pt idx="7">
                  <c:v>0.7578124513184428</c:v>
                </c:pt>
                <c:pt idx="8">
                  <c:v>1.073034083813599</c:v>
                </c:pt>
                <c:pt idx="9">
                  <c:v>1.0315731208230259</c:v>
                </c:pt>
                <c:pt idx="10">
                  <c:v>0.6031062990592072</c:v>
                </c:pt>
                <c:pt idx="11">
                  <c:v>0.7495336360832678</c:v>
                </c:pt>
                <c:pt idx="12">
                  <c:v>0.6437798359157262</c:v>
                </c:pt>
                <c:pt idx="13">
                  <c:v>0.5351835510666545</c:v>
                </c:pt>
                <c:pt idx="14">
                  <c:v>0.8732136671758722</c:v>
                </c:pt>
                <c:pt idx="15">
                  <c:v>1.4129874632403996</c:v>
                </c:pt>
                <c:pt idx="16">
                  <c:v>1.3880456038979554</c:v>
                </c:pt>
                <c:pt idx="17">
                  <c:v>1.730780605333787</c:v>
                </c:pt>
                <c:pt idx="18">
                  <c:v>0.9253264879072199</c:v>
                </c:pt>
                <c:pt idx="19">
                  <c:v>7.158571429207505</c:v>
                </c:pt>
                <c:pt idx="20">
                  <c:v>1.447741691303258</c:v>
                </c:pt>
                <c:pt idx="21">
                  <c:v>1.697802803547962</c:v>
                </c:pt>
                <c:pt idx="22">
                  <c:v>3.0609131935020297</c:v>
                </c:pt>
                <c:pt idx="23">
                  <c:v>1.8544881238624065</c:v>
                </c:pt>
                <c:pt idx="24">
                  <c:v>3.407911163658933</c:v>
                </c:pt>
                <c:pt idx="25">
                  <c:v>0.5983778797870735</c:v>
                </c:pt>
                <c:pt idx="26">
                  <c:v>0.8665683916543672</c:v>
                </c:pt>
              </c:numCache>
            </c:numRef>
          </c:xVal>
          <c:yVal>
            <c:numRef>
              <c:f>Sheet1!$B$77:$B$103</c:f>
              <c:numCache>
                <c:formatCode>General</c:formatCode>
                <c:ptCount val="27"/>
                <c:pt idx="0">
                  <c:v>0.1543560606060606</c:v>
                </c:pt>
                <c:pt idx="1">
                  <c:v>0.02135678391959799</c:v>
                </c:pt>
                <c:pt idx="2">
                  <c:v>0.013710368466152529</c:v>
                </c:pt>
                <c:pt idx="3">
                  <c:v>0.0011111111111111111</c:v>
                </c:pt>
                <c:pt idx="4">
                  <c:v>0.25813449023861174</c:v>
                </c:pt>
                <c:pt idx="5">
                  <c:v>0.18888888888888888</c:v>
                </c:pt>
                <c:pt idx="6">
                  <c:v>0.029850746268656716</c:v>
                </c:pt>
                <c:pt idx="7">
                  <c:v>0.28117359413202936</c:v>
                </c:pt>
                <c:pt idx="8">
                  <c:v>0.582312925170068</c:v>
                </c:pt>
                <c:pt idx="9">
                  <c:v>0.13179571663920922</c:v>
                </c:pt>
                <c:pt idx="10">
                  <c:v>0.2982885085574572</c:v>
                </c:pt>
                <c:pt idx="11">
                  <c:v>0.544766708701135</c:v>
                </c:pt>
                <c:pt idx="12">
                  <c:v>0.00949367088607595</c:v>
                </c:pt>
                <c:pt idx="13">
                  <c:v>0.04572564612326044</c:v>
                </c:pt>
                <c:pt idx="14">
                  <c:v>0.10948905109489052</c:v>
                </c:pt>
                <c:pt idx="15">
                  <c:v>0.11191335740072202</c:v>
                </c:pt>
                <c:pt idx="16">
                  <c:v>0.2049469964664311</c:v>
                </c:pt>
                <c:pt idx="17">
                  <c:v>0.006430868167202572</c:v>
                </c:pt>
                <c:pt idx="18">
                  <c:v>0.2948960302457467</c:v>
                </c:pt>
                <c:pt idx="19">
                  <c:v>0.008368200836820083</c:v>
                </c:pt>
                <c:pt idx="20">
                  <c:v>0.0412573673870334</c:v>
                </c:pt>
                <c:pt idx="21">
                  <c:v>0.006289308176100629</c:v>
                </c:pt>
                <c:pt idx="22">
                  <c:v>0.004761904761904762</c:v>
                </c:pt>
                <c:pt idx="23">
                  <c:v>0.025547445255474453</c:v>
                </c:pt>
                <c:pt idx="24">
                  <c:v>0.03206997084548105</c:v>
                </c:pt>
                <c:pt idx="25">
                  <c:v>0.05190311418685121</c:v>
                </c:pt>
                <c:pt idx="26">
                  <c:v>0.1553398058252427</c:v>
                </c:pt>
              </c:numCache>
            </c:numRef>
          </c:yVal>
          <c:smooth val="0"/>
          <c:extLst>
            <c:ext xmlns:c16="http://schemas.microsoft.com/office/drawing/2014/chart" uri="{C3380CC4-5D6E-409C-BE32-E72D297353CC}">
              <c16:uniqueId val="{00000002-096C-4121-9522-6AB7243CCAAE}"/>
            </c:ext>
          </c:extLst>
        </c:ser>
        <c:ser>
          <c:idx val="2"/>
          <c:order val="2"/>
          <c:tx>
            <c:strRef>
              <c:f>Sheet1!$B$10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6:$A$107</c:f>
              <c:numCache>
                <c:formatCode>General</c:formatCode>
                <c:ptCount val="2"/>
                <c:pt idx="0">
                  <c:v>0</c:v>
                </c:pt>
                <c:pt idx="1">
                  <c:v>-7.9142918844589785</c:v>
                </c:pt>
              </c:numCache>
            </c:numRef>
          </c:xVal>
          <c:yVal>
            <c:numRef>
              <c:f>Sheet1!$B$106:$B$107</c:f>
              <c:numCache>
                <c:formatCode>General</c:formatCode>
                <c:ptCount val="2"/>
                <c:pt idx="0">
                  <c:v>0.5168278061075278</c:v>
                </c:pt>
                <c:pt idx="1">
                  <c:v>0.5168278061075278</c:v>
                </c:pt>
              </c:numCache>
            </c:numRef>
          </c:yVal>
          <c:smooth val="0"/>
          <c:extLst>
            <c:ext xmlns:c16="http://schemas.microsoft.com/office/drawing/2014/chart" uri="{C3380CC4-5D6E-409C-BE32-E72D297353CC}">
              <c16:uniqueId val="{00000005-096C-4121-9522-6AB7243CCAAE}"/>
            </c:ext>
          </c:extLst>
        </c:ser>
        <c:ser>
          <c:idx val="3"/>
          <c:order val="3"/>
          <c:tx>
            <c:strRef>
              <c:f>Sheet1!$B$10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0:$A$111</c:f>
              <c:numCache>
                <c:formatCode>General</c:formatCode>
                <c:ptCount val="2"/>
                <c:pt idx="0">
                  <c:v>-7.9142918844589785</c:v>
                </c:pt>
                <c:pt idx="1">
                  <c:v>-7.9142918844589785</c:v>
                </c:pt>
              </c:numCache>
            </c:numRef>
          </c:xVal>
          <c:yVal>
            <c:numRef>
              <c:f>Sheet1!$B$110:$B$111</c:f>
              <c:numCache>
                <c:formatCode>General</c:formatCode>
                <c:ptCount val="2"/>
                <c:pt idx="0">
                  <c:v>0.516827806107527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4:$A$115</c:f>
              <c:numCache>
                <c:formatCode>General</c:formatCode>
                <c:ptCount val="2"/>
                <c:pt idx="0">
                  <c:v>0</c:v>
                </c:pt>
                <c:pt idx="1">
                  <c:v>-0.796959903593152</c:v>
                </c:pt>
              </c:numCache>
            </c:numRef>
          </c:xVal>
          <c:yVal>
            <c:numRef>
              <c:f>Sheet1!$B$114:$B$115</c:f>
              <c:numCache>
                <c:formatCode>General</c:formatCode>
                <c:ptCount val="2"/>
                <c:pt idx="0">
                  <c:v>0.23499546430053864</c:v>
                </c:pt>
                <c:pt idx="1">
                  <c:v>0.23499546430053864</c:v>
                </c:pt>
              </c:numCache>
            </c:numRef>
          </c:yVal>
          <c:smooth val="0"/>
          <c:extLst>
            <c:ext xmlns:c16="http://schemas.microsoft.com/office/drawing/2014/chart" uri="{C3380CC4-5D6E-409C-BE32-E72D297353CC}">
              <c16:uniqueId val="{0000000D-096C-4121-9522-6AB7243CCAAE}"/>
            </c:ext>
          </c:extLst>
        </c:ser>
        <c:ser>
          <c:idx val="5"/>
          <c:order val="5"/>
          <c:tx>
            <c:strRef>
              <c:f>Sheet1!$B$11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8:$A$119</c:f>
              <c:numCache>
                <c:formatCode>General</c:formatCode>
                <c:ptCount val="2"/>
                <c:pt idx="0">
                  <c:v>-0.796959903593152</c:v>
                </c:pt>
                <c:pt idx="1">
                  <c:v>-0.796959903593152</c:v>
                </c:pt>
              </c:numCache>
            </c:numRef>
          </c:xVal>
          <c:yVal>
            <c:numRef>
              <c:f>Sheet1!$B$118:$B$119</c:f>
              <c:numCache>
                <c:formatCode>General</c:formatCode>
                <c:ptCount val="2"/>
                <c:pt idx="0">
                  <c:v>0.234995464300538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2:$A$123</c:f>
              <c:numCache>
                <c:formatCode>General</c:formatCode>
                <c:ptCount val="2"/>
                <c:pt idx="0">
                  <c:v>0</c:v>
                </c:pt>
                <c:pt idx="1">
                  <c:v>3.976262275738454</c:v>
                </c:pt>
              </c:numCache>
            </c:numRef>
          </c:xVal>
          <c:yVal>
            <c:numRef>
              <c:f>Sheet1!$B$122:$B$123</c:f>
              <c:numCache>
                <c:formatCode>General</c:formatCode>
                <c:ptCount val="2"/>
                <c:pt idx="0">
                  <c:v>0.0459852581751758</c:v>
                </c:pt>
                <c:pt idx="1">
                  <c:v>0.0459852581751758</c:v>
                </c:pt>
              </c:numCache>
            </c:numRef>
          </c:yVal>
          <c:smooth val="0"/>
          <c:extLst>
            <c:ext xmlns:c16="http://schemas.microsoft.com/office/drawing/2014/chart" uri="{C3380CC4-5D6E-409C-BE32-E72D297353CC}">
              <c16:uniqueId val="{00000015-096C-4121-9522-6AB7243CCAAE}"/>
            </c:ext>
          </c:extLst>
        </c:ser>
        <c:ser>
          <c:idx val="7"/>
          <c:order val="7"/>
          <c:tx>
            <c:strRef>
              <c:f>Sheet1!$B$12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3.976262275738454</c:v>
                </c:pt>
                <c:pt idx="1">
                  <c:v>3.976262275738454</c:v>
                </c:pt>
              </c:numCache>
            </c:numRef>
          </c:xVal>
          <c:yVal>
            <c:numRef>
              <c:f>Sheet1!$B$126:$B$127</c:f>
              <c:numCache>
                <c:formatCode>General</c:formatCode>
                <c:ptCount val="2"/>
                <c:pt idx="0">
                  <c:v>0.045985258175175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0:$A$159</c:f>
              <c:numCache>
                <c:formatCode>General</c:formatCode>
                <c:ptCount val="30"/>
                <c:pt idx="0">
                  <c:v>0.8882680521339308</c:v>
                </c:pt>
                <c:pt idx="1">
                  <c:v>1.049762139583454</c:v>
                </c:pt>
                <c:pt idx="2">
                  <c:v>1.8126852259607944</c:v>
                </c:pt>
                <c:pt idx="3">
                  <c:v>4.592683103697681</c:v>
                </c:pt>
                <c:pt idx="4">
                  <c:v>1.0222427278923785</c:v>
                </c:pt>
                <c:pt idx="5">
                  <c:v>0.982916749928096</c:v>
                </c:pt>
                <c:pt idx="6">
                  <c:v>5.277242513718351</c:v>
                </c:pt>
                <c:pt idx="7">
                  <c:v>0.7578124513184428</c:v>
                </c:pt>
                <c:pt idx="8">
                  <c:v>1.073034083813599</c:v>
                </c:pt>
                <c:pt idx="9">
                  <c:v>1.0315731208230259</c:v>
                </c:pt>
                <c:pt idx="10">
                  <c:v>0.6031062990592072</c:v>
                </c:pt>
                <c:pt idx="11">
                  <c:v>0.7495336360832678</c:v>
                </c:pt>
                <c:pt idx="12">
                  <c:v>0.6437798359157262</c:v>
                </c:pt>
                <c:pt idx="13">
                  <c:v>0.5351835510666545</c:v>
                </c:pt>
                <c:pt idx="14">
                  <c:v>0.8732136671758722</c:v>
                </c:pt>
                <c:pt idx="15">
                  <c:v>1.4129874632403996</c:v>
                </c:pt>
                <c:pt idx="16">
                  <c:v>1.3880456038979554</c:v>
                </c:pt>
                <c:pt idx="17">
                  <c:v>1.730780605333787</c:v>
                </c:pt>
                <c:pt idx="18">
                  <c:v>0.9253264879072199</c:v>
                </c:pt>
                <c:pt idx="19">
                  <c:v>7.158571429207505</c:v>
                </c:pt>
                <c:pt idx="20">
                  <c:v>1.447741691303258</c:v>
                </c:pt>
                <c:pt idx="21">
                  <c:v>1.697802803547962</c:v>
                </c:pt>
                <c:pt idx="22">
                  <c:v>3.0609131935020297</c:v>
                </c:pt>
                <c:pt idx="23">
                  <c:v>1.8544881238624065</c:v>
                </c:pt>
                <c:pt idx="24">
                  <c:v>3.407911163658933</c:v>
                </c:pt>
                <c:pt idx="25">
                  <c:v>0.5983778797870735</c:v>
                </c:pt>
                <c:pt idx="26">
                  <c:v>0.8665683916543672</c:v>
                </c:pt>
                <c:pt idx="27">
                  <c:v>-0.796959903593152</c:v>
                </c:pt>
                <c:pt idx="28">
                  <c:v>-7.9142918844589785</c:v>
                </c:pt>
                <c:pt idx="29">
                  <c:v>3.976262275738454</c:v>
                </c:pt>
              </c:numCache>
            </c:numRef>
          </c:xVal>
          <c:yVal>
            <c:numRef>
              <c:f>Sheet1!$B$130:$B$159</c:f>
              <c:numCache>
                <c:formatCode>General</c:formatCode>
                <c:ptCount val="30"/>
                <c:pt idx="0">
                  <c:v>0.1682637532439201</c:v>
                </c:pt>
                <c:pt idx="1">
                  <c:v>0.1618689051496845</c:v>
                </c:pt>
                <c:pt idx="2">
                  <c:v>0.1316586521180162</c:v>
                </c:pt>
                <c:pt idx="3">
                  <c:v>0.021576206307228785</c:v>
                </c:pt>
                <c:pt idx="4">
                  <c:v>0.16295861970324155</c:v>
                </c:pt>
                <c:pt idx="5">
                  <c:v>0.16451585104966746</c:v>
                </c:pt>
                <c:pt idx="6">
                  <c:v>-0.005530999335392667</c:v>
                </c:pt>
                <c:pt idx="7">
                  <c:v>0.17342953834127256</c:v>
                </c:pt>
                <c:pt idx="8">
                  <c:v>0.16094738194992145</c:v>
                </c:pt>
                <c:pt idx="9">
                  <c:v>0.16258915450242006</c:v>
                </c:pt>
                <c:pt idx="10">
                  <c:v>0.1795555975584604</c:v>
                </c:pt>
                <c:pt idx="11">
                  <c:v>0.17375736313452225</c:v>
                </c:pt>
                <c:pt idx="12">
                  <c:v>0.1779450055314673</c:v>
                </c:pt>
                <c:pt idx="13">
                  <c:v>0.18224520472869926</c:v>
                </c:pt>
                <c:pt idx="14">
                  <c:v>0.1688598772660396</c:v>
                </c:pt>
                <c:pt idx="15">
                  <c:v>0.14748589704425322</c:v>
                </c:pt>
                <c:pt idx="16">
                  <c:v>0.14847354559660392</c:v>
                </c:pt>
                <c:pt idx="17">
                  <c:v>0.13490191393272144</c:v>
                </c:pt>
                <c:pt idx="18">
                  <c:v>0.166796312106459</c:v>
                </c:pt>
                <c:pt idx="19">
                  <c:v>-0.08002792253455615</c:v>
                </c:pt>
                <c:pt idx="20">
                  <c:v>0.14610969799818063</c:v>
                </c:pt>
                <c:pt idx="21">
                  <c:v>0.13620776999366285</c:v>
                </c:pt>
                <c:pt idx="22">
                  <c:v>0.08223128071720523</c:v>
                </c:pt>
                <c:pt idx="23">
                  <c:v>0.13000333961585908</c:v>
                </c:pt>
                <c:pt idx="24">
                  <c:v>0.06849084388012869</c:v>
                </c:pt>
                <c:pt idx="25">
                  <c:v>0.17974283365761853</c:v>
                </c:pt>
                <c:pt idx="26">
                  <c:v>0.1691230171009122</c:v>
                </c:pt>
                <c:pt idx="27">
                  <c:v>0.23499546430053864</c:v>
                </c:pt>
                <c:pt idx="28">
                  <c:v>0.5168278061075278</c:v>
                </c:pt>
                <c:pt idx="29">
                  <c:v>0.0459852581751757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33082706766917"/>
          <c:min val="0.000888888888888888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4</c:f>
              <c:numCache>
                <c:formatCode>General</c:formatCode>
                <c:ptCount val="73"/>
                <c:pt idx="0">
                  <c:v>889.3714</c:v>
                </c:pt>
                <c:pt idx="1">
                  <c:v>1031.2512</c:v>
                </c:pt>
                <c:pt idx="2">
                  <c:v>1029.7347</c:v>
                </c:pt>
                <c:pt idx="3">
                  <c:v>887.9286</c:v>
                </c:pt>
                <c:pt idx="4">
                  <c:v>979.4615</c:v>
                </c:pt>
                <c:pt idx="5">
                  <c:v>1368.9667</c:v>
                </c:pt>
                <c:pt idx="6">
                  <c:v>1047.1107</c:v>
                </c:pt>
                <c:pt idx="7">
                  <c:v>1931.6701</c:v>
                </c:pt>
                <c:pt idx="8">
                  <c:v>1323.9199</c:v>
                </c:pt>
                <c:pt idx="9">
                  <c:v>1071.4751</c:v>
                </c:pt>
                <c:pt idx="10">
                  <c:v>832.875</c:v>
                </c:pt>
                <c:pt idx="11">
                  <c:v>1764.0059</c:v>
                </c:pt>
                <c:pt idx="12">
                  <c:v>994.06</c:v>
                </c:pt>
                <c:pt idx="13">
                  <c:v>1396.1974</c:v>
                </c:pt>
                <c:pt idx="14">
                  <c:v>1327.3125</c:v>
                </c:pt>
                <c:pt idx="15">
                  <c:v>850.4125</c:v>
                </c:pt>
                <c:pt idx="16">
                  <c:v>1204.9423</c:v>
                </c:pt>
                <c:pt idx="17">
                  <c:v>1184.7143</c:v>
                </c:pt>
                <c:pt idx="18">
                  <c:v>1767.8276</c:v>
                </c:pt>
                <c:pt idx="19">
                  <c:v>1173.697</c:v>
                </c:pt>
                <c:pt idx="20">
                  <c:v>1768.9538</c:v>
                </c:pt>
                <c:pt idx="21">
                  <c:v>821.5581</c:v>
                </c:pt>
                <c:pt idx="22">
                  <c:v>1782.5855</c:v>
                </c:pt>
                <c:pt idx="23">
                  <c:v>1126.4373</c:v>
                </c:pt>
                <c:pt idx="24">
                  <c:v>1028.9752</c:v>
                </c:pt>
                <c:pt idx="25">
                  <c:v>764.3238</c:v>
                </c:pt>
                <c:pt idx="26">
                  <c:v>634.3583</c:v>
                </c:pt>
                <c:pt idx="27">
                  <c:v>940.119</c:v>
                </c:pt>
                <c:pt idx="28">
                  <c:v>558.3315</c:v>
                </c:pt>
                <c:pt idx="29">
                  <c:v>1007.3968</c:v>
                </c:pt>
                <c:pt idx="30">
                  <c:v>492.7965</c:v>
                </c:pt>
                <c:pt idx="31">
                  <c:v>1871.432</c:v>
                </c:pt>
                <c:pt idx="32">
                  <c:v>791.4635</c:v>
                </c:pt>
                <c:pt idx="33">
                  <c:v>1201.3023</c:v>
                </c:pt>
                <c:pt idx="34">
                  <c:v>504.3491</c:v>
                </c:pt>
                <c:pt idx="35">
                  <c:v>986.6763</c:v>
                </c:pt>
                <c:pt idx="36">
                  <c:v>1145.3012</c:v>
                </c:pt>
                <c:pt idx="37">
                  <c:v>786.7193</c:v>
                </c:pt>
                <c:pt idx="38">
                  <c:v>514.5122</c:v>
                </c:pt>
                <c:pt idx="39">
                  <c:v>531.871</c:v>
                </c:pt>
                <c:pt idx="40">
                  <c:v>1616.7265</c:v>
                </c:pt>
                <c:pt idx="41">
                  <c:v>613.6877</c:v>
                </c:pt>
                <c:pt idx="42">
                  <c:v>1147.415</c:v>
                </c:pt>
                <c:pt idx="43">
                  <c:v>545.0351</c:v>
                </c:pt>
                <c:pt idx="44">
                  <c:v>960.1974</c:v>
                </c:pt>
                <c:pt idx="45">
                  <c:v>565.5</c:v>
                </c:pt>
                <c:pt idx="46">
                  <c:v>518.6111</c:v>
                </c:pt>
                <c:pt idx="47">
                  <c:v>497.134</c:v>
                </c:pt>
                <c:pt idx="48">
                  <c:v>1929.1739</c:v>
                </c:pt>
                <c:pt idx="49">
                  <c:v>1167.8283</c:v>
                </c:pt>
                <c:pt idx="50">
                  <c:v>1918.1947</c:v>
                </c:pt>
                <c:pt idx="51">
                  <c:v>787.7959</c:v>
                </c:pt>
                <c:pt idx="52">
                  <c:v>850.2688</c:v>
                </c:pt>
                <c:pt idx="53">
                  <c:v>1630.1809</c:v>
                </c:pt>
                <c:pt idx="54">
                  <c:v>823.5212</c:v>
                </c:pt>
                <c:pt idx="55">
                  <c:v>916.5197</c:v>
                </c:pt>
                <c:pt idx="56">
                  <c:v>500.1158</c:v>
                </c:pt>
                <c:pt idx="57">
                  <c:v>1219.3356</c:v>
                </c:pt>
                <c:pt idx="58">
                  <c:v>1167.7466</c:v>
                </c:pt>
                <c:pt idx="59">
                  <c:v>1162.7664</c:v>
                </c:pt>
                <c:pt idx="60">
                  <c:v>1095.5</c:v>
                </c:pt>
                <c:pt idx="61">
                  <c:v>1166.1901</c:v>
                </c:pt>
                <c:pt idx="62">
                  <c:v>1692.3333</c:v>
                </c:pt>
                <c:pt idx="63">
                  <c:v>1121.1293</c:v>
                </c:pt>
                <c:pt idx="64">
                  <c:v>738.4545</c:v>
                </c:pt>
                <c:pt idx="65">
                  <c:v>1061.0833</c:v>
                </c:pt>
                <c:pt idx="66">
                  <c:v>2225.5556</c:v>
                </c:pt>
                <c:pt idx="67">
                  <c:v>923.6452</c:v>
                </c:pt>
                <c:pt idx="68">
                  <c:v>1018.5103</c:v>
                </c:pt>
                <c:pt idx="69">
                  <c:v>504.7778</c:v>
                </c:pt>
                <c:pt idx="70">
                  <c:v>3820.3333</c:v>
                </c:pt>
                <c:pt idx="71">
                  <c:v>1922.1304</c:v>
                </c:pt>
                <c:pt idx="72">
                  <c:v>1730.0</c:v>
                </c:pt>
              </c:numCache>
            </c:numRef>
          </c:xVal>
          <c:yVal>
            <c:numRef>
              <c:f>Sheet1!$B$2:$B$74</c:f>
              <c:numCache>
                <c:formatCode>General</c:formatCode>
                <c:ptCount val="73"/>
                <c:pt idx="0">
                  <c:v>0.2413793103448276</c:v>
                </c:pt>
                <c:pt idx="1">
                  <c:v>0.1430472388556221</c:v>
                </c:pt>
                <c:pt idx="2">
                  <c:v>0.16554054054054054</c:v>
                </c:pt>
                <c:pt idx="3">
                  <c:v>0.13806706114398423</c:v>
                </c:pt>
                <c:pt idx="4">
                  <c:v>0.18840579710144928</c:v>
                </c:pt>
                <c:pt idx="5">
                  <c:v>0.21818181818181817</c:v>
                </c:pt>
                <c:pt idx="6">
                  <c:v>0.7694235588972431</c:v>
                </c:pt>
                <c:pt idx="7">
                  <c:v>0.6501650165016502</c:v>
                </c:pt>
                <c:pt idx="8">
                  <c:v>0.649325626204239</c:v>
                </c:pt>
                <c:pt idx="9">
                  <c:v>0.2970430107526882</c:v>
                </c:pt>
                <c:pt idx="10">
                  <c:v>0.11940298507462686</c:v>
                </c:pt>
                <c:pt idx="11">
                  <c:v>0.5182926829268293</c:v>
                </c:pt>
                <c:pt idx="12">
                  <c:v>0.2066115702479339</c:v>
                </c:pt>
                <c:pt idx="13">
                  <c:v>0.2389937106918239</c:v>
                </c:pt>
                <c:pt idx="14">
                  <c:v>0.16</c:v>
                </c:pt>
                <c:pt idx="15">
                  <c:v>0.38926174496644295</c:v>
                </c:pt>
                <c:pt idx="16">
                  <c:v>0.5154894671623296</c:v>
                </c:pt>
                <c:pt idx="17">
                  <c:v>0.016129032258064516</c:v>
                </c:pt>
                <c:pt idx="18">
                  <c:v>0.06712962962962964</c:v>
                </c:pt>
                <c:pt idx="19">
                  <c:v>0.18609022556390978</c:v>
                </c:pt>
                <c:pt idx="20">
                  <c:v>0.3559670781893004</c:v>
                </c:pt>
                <c:pt idx="21">
                  <c:v>0.09129511677282377</c:v>
                </c:pt>
                <c:pt idx="22">
                  <c:v>0.3784313725490196</c:v>
                </c:pt>
                <c:pt idx="23">
                  <c:v>0.1527293844367015</c:v>
                </c:pt>
                <c:pt idx="24">
                  <c:v>0.38224852071005916</c:v>
                </c:pt>
                <c:pt idx="25">
                  <c:v>0.23139653414882771</c:v>
                </c:pt>
                <c:pt idx="26">
                  <c:v>0.24287974683544303</c:v>
                </c:pt>
                <c:pt idx="27">
                  <c:v>0.28248222365869424</c:v>
                </c:pt>
                <c:pt idx="28">
                  <c:v>0.35880077369439073</c:v>
                </c:pt>
                <c:pt idx="29">
                  <c:v>0.10413223140495868</c:v>
                </c:pt>
                <c:pt idx="30">
                  <c:v>0.089540412044374</c:v>
                </c:pt>
                <c:pt idx="31">
                  <c:v>0.12537612838515547</c:v>
                </c:pt>
                <c:pt idx="32">
                  <c:v>0.423956931359354</c:v>
                </c:pt>
                <c:pt idx="33">
                  <c:v>0.24022346368715083</c:v>
                </c:pt>
                <c:pt idx="34">
                  <c:v>0.343042071197411</c:v>
                </c:pt>
                <c:pt idx="35">
                  <c:v>0.2799597180261833</c:v>
                </c:pt>
                <c:pt idx="36">
                  <c:v>0.22133333333333333</c:v>
                </c:pt>
                <c:pt idx="37">
                  <c:v>0.2780487804878049</c:v>
                </c:pt>
                <c:pt idx="38">
                  <c:v>0.4039408866995074</c:v>
                </c:pt>
                <c:pt idx="39">
                  <c:v>0.2831050228310502</c:v>
                </c:pt>
                <c:pt idx="40">
                  <c:v>0.2846715328467153</c:v>
                </c:pt>
                <c:pt idx="41">
                  <c:v>0.46568627450980393</c:v>
                </c:pt>
                <c:pt idx="42">
                  <c:v>0.4157608695652174</c:v>
                </c:pt>
                <c:pt idx="43">
                  <c:v>0.27305389221556886</c:v>
                </c:pt>
                <c:pt idx="44">
                  <c:v>0.37530864197530867</c:v>
                </c:pt>
                <c:pt idx="45">
                  <c:v>0.022304832713754646</c:v>
                </c:pt>
                <c:pt idx="46">
                  <c:v>0.030560271646859084</c:v>
                </c:pt>
                <c:pt idx="47">
                  <c:v>0.13976945244956773</c:v>
                </c:pt>
                <c:pt idx="48">
                  <c:v>0.17087667161961367</c:v>
                </c:pt>
                <c:pt idx="49">
                  <c:v>0.2858517805582291</c:v>
                </c:pt>
                <c:pt idx="50">
                  <c:v>0.24726477024070023</c:v>
                </c:pt>
                <c:pt idx="51">
                  <c:v>0.32666666666666666</c:v>
                </c:pt>
                <c:pt idx="52">
                  <c:v>0.22682926829268293</c:v>
                </c:pt>
                <c:pt idx="53">
                  <c:v>0.10755148741418764</c:v>
                </c:pt>
                <c:pt idx="54">
                  <c:v>0.30930537352555704</c:v>
                </c:pt>
                <c:pt idx="55">
                  <c:v>0.5105708245243129</c:v>
                </c:pt>
                <c:pt idx="56">
                  <c:v>0.14053254437869822</c:v>
                </c:pt>
                <c:pt idx="57">
                  <c:v>0.2050561797752809</c:v>
                </c:pt>
                <c:pt idx="58">
                  <c:v>0.24172185430463577</c:v>
                </c:pt>
                <c:pt idx="59">
                  <c:v>0.45364238410596025</c:v>
                </c:pt>
                <c:pt idx="60">
                  <c:v>0.05714285714285714</c:v>
                </c:pt>
                <c:pt idx="61">
                  <c:v>0.34549878345498786</c:v>
                </c:pt>
                <c:pt idx="62">
                  <c:v>0.00906344410876133</c:v>
                </c:pt>
                <c:pt idx="63">
                  <c:v>0.14215686274509803</c:v>
                </c:pt>
                <c:pt idx="64">
                  <c:v>0.030942334739803096</c:v>
                </c:pt>
                <c:pt idx="65">
                  <c:v>0.02027027027027027</c:v>
                </c:pt>
                <c:pt idx="66">
                  <c:v>0.013452914798206279</c:v>
                </c:pt>
                <c:pt idx="67">
                  <c:v>0.125</c:v>
                </c:pt>
                <c:pt idx="68">
                  <c:v>0.11001517450682853</c:v>
                </c:pt>
                <c:pt idx="69">
                  <c:v>0.045454545454545456</c:v>
                </c:pt>
                <c:pt idx="70">
                  <c:v>0.003278688524590164</c:v>
                </c:pt>
                <c:pt idx="71">
                  <c:v>0.049783549783549784</c:v>
                </c:pt>
                <c:pt idx="72">
                  <c:v>0.005063291139240506</c:v>
                </c:pt>
              </c:numCache>
            </c:numRef>
          </c:yVal>
          <c:smooth val="0"/>
          <c:extLst>
            <c:ext xmlns:c16="http://schemas.microsoft.com/office/drawing/2014/chart" uri="{C3380CC4-5D6E-409C-BE32-E72D297353CC}">
              <c16:uniqueId val="{00000000-F32D-48B7-BC20-E66FC6253BAD}"/>
            </c:ext>
          </c:extLst>
        </c:ser>
        <c:ser>
          <c:idx val="1"/>
          <c:order val="1"/>
          <c:tx>
            <c:strRef>
              <c:f>Sheet1!$B$7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7:$A$103</c:f>
              <c:numCache>
                <c:formatCode>General</c:formatCode>
                <c:ptCount val="27"/>
                <c:pt idx="0">
                  <c:v>1165.7669</c:v>
                </c:pt>
                <c:pt idx="1">
                  <c:v>1143.5882</c:v>
                </c:pt>
                <c:pt idx="2">
                  <c:v>2284.5</c:v>
                </c:pt>
                <c:pt idx="3">
                  <c:v>5111.0</c:v>
                </c:pt>
                <c:pt idx="4">
                  <c:v>1100.5042</c:v>
                </c:pt>
                <c:pt idx="5">
                  <c:v>960.6471</c:v>
                </c:pt>
                <c:pt idx="6">
                  <c:v>4469.75</c:v>
                </c:pt>
                <c:pt idx="7">
                  <c:v>1082.3739</c:v>
                </c:pt>
                <c:pt idx="8">
                  <c:v>1037.4556</c:v>
                </c:pt>
                <c:pt idx="9">
                  <c:v>1203.175</c:v>
                </c:pt>
                <c:pt idx="10">
                  <c:v>1018.5574</c:v>
                </c:pt>
                <c:pt idx="11">
                  <c:v>1017.831</c:v>
                </c:pt>
                <c:pt idx="12">
                  <c:v>643.1667</c:v>
                </c:pt>
                <c:pt idx="13">
                  <c:v>708.5652</c:v>
                </c:pt>
                <c:pt idx="14">
                  <c:v>1224.1778</c:v>
                </c:pt>
                <c:pt idx="15">
                  <c:v>1495.7419</c:v>
                </c:pt>
                <c:pt idx="16">
                  <c:v>1634.1379</c:v>
                </c:pt>
                <c:pt idx="17">
                  <c:v>2379.0</c:v>
                </c:pt>
                <c:pt idx="18">
                  <c:v>1219.2372</c:v>
                </c:pt>
                <c:pt idx="19">
                  <c:v>3215.5</c:v>
                </c:pt>
                <c:pt idx="20">
                  <c:v>1608.8571</c:v>
                </c:pt>
                <c:pt idx="21">
                  <c:v>1828.0</c:v>
                </c:pt>
                <c:pt idx="22">
                  <c:v>3695.6667</c:v>
                </c:pt>
                <c:pt idx="23">
                  <c:v>1543.7857</c:v>
                </c:pt>
                <c:pt idx="24">
                  <c:v>3721.7273</c:v>
                </c:pt>
                <c:pt idx="25">
                  <c:v>694.1333</c:v>
                </c:pt>
                <c:pt idx="26">
                  <c:v>1046.025</c:v>
                </c:pt>
              </c:numCache>
            </c:numRef>
          </c:xVal>
          <c:yVal>
            <c:numRef>
              <c:f>Sheet1!$B$77:$B$103</c:f>
              <c:numCache>
                <c:formatCode>General</c:formatCode>
                <c:ptCount val="27"/>
                <c:pt idx="0">
                  <c:v>0.1543560606060606</c:v>
                </c:pt>
                <c:pt idx="1">
                  <c:v>0.02135678391959799</c:v>
                </c:pt>
                <c:pt idx="2">
                  <c:v>0.013710368466152529</c:v>
                </c:pt>
                <c:pt idx="3">
                  <c:v>0.0011111111111111111</c:v>
                </c:pt>
                <c:pt idx="4">
                  <c:v>0.25813449023861174</c:v>
                </c:pt>
                <c:pt idx="5">
                  <c:v>0.18888888888888888</c:v>
                </c:pt>
                <c:pt idx="6">
                  <c:v>0.029850746268656716</c:v>
                </c:pt>
                <c:pt idx="7">
                  <c:v>0.28117359413202936</c:v>
                </c:pt>
                <c:pt idx="8">
                  <c:v>0.582312925170068</c:v>
                </c:pt>
                <c:pt idx="9">
                  <c:v>0.13179571663920922</c:v>
                </c:pt>
                <c:pt idx="10">
                  <c:v>0.2982885085574572</c:v>
                </c:pt>
                <c:pt idx="11">
                  <c:v>0.544766708701135</c:v>
                </c:pt>
                <c:pt idx="12">
                  <c:v>0.00949367088607595</c:v>
                </c:pt>
                <c:pt idx="13">
                  <c:v>0.04572564612326044</c:v>
                </c:pt>
                <c:pt idx="14">
                  <c:v>0.10948905109489052</c:v>
                </c:pt>
                <c:pt idx="15">
                  <c:v>0.11191335740072202</c:v>
                </c:pt>
                <c:pt idx="16">
                  <c:v>0.2049469964664311</c:v>
                </c:pt>
                <c:pt idx="17">
                  <c:v>0.006430868167202572</c:v>
                </c:pt>
                <c:pt idx="18">
                  <c:v>0.2948960302457467</c:v>
                </c:pt>
                <c:pt idx="19">
                  <c:v>0.008368200836820083</c:v>
                </c:pt>
                <c:pt idx="20">
                  <c:v>0.0412573673870334</c:v>
                </c:pt>
                <c:pt idx="21">
                  <c:v>0.006289308176100629</c:v>
                </c:pt>
                <c:pt idx="22">
                  <c:v>0.004761904761904762</c:v>
                </c:pt>
                <c:pt idx="23">
                  <c:v>0.025547445255474453</c:v>
                </c:pt>
                <c:pt idx="24">
                  <c:v>0.03206997084548105</c:v>
                </c:pt>
                <c:pt idx="25">
                  <c:v>0.05190311418685121</c:v>
                </c:pt>
                <c:pt idx="26">
                  <c:v>0.1553398058252427</c:v>
                </c:pt>
              </c:numCache>
            </c:numRef>
          </c:yVal>
          <c:smooth val="0"/>
          <c:extLst>
            <c:ext xmlns:c16="http://schemas.microsoft.com/office/drawing/2014/chart" uri="{C3380CC4-5D6E-409C-BE32-E72D297353CC}">
              <c16:uniqueId val="{00000002-F32D-48B7-BC20-E66FC6253BAD}"/>
            </c:ext>
          </c:extLst>
        </c:ser>
        <c:ser>
          <c:idx val="2"/>
          <c:order val="2"/>
          <c:tx>
            <c:strRef>
              <c:f>Sheet1!$B$105</c:f>
              <c:strCache>
                <c:ptCount val="1"/>
                <c:pt idx="0">
                  <c:v>Custom Linep3yQ</c:v>
                </c:pt>
              </c:strCache>
            </c:strRef>
          </c:tx>
          <c:spPr>
            <a:ln w="19050" cap="rnd">
              <a:solidFill>
                <a:srgbClr val="C00000"/>
              </a:solidFill>
              <a:prstDash val="sysDot"/>
              <a:round/>
            </a:ln>
            <a:effectLst/>
          </c:spPr>
          <c:marker>
            <c:symbol val="none"/>
          </c:marker>
          <c:xVal>
            <c:numRef>
              <c:f>Sheet1!$A$106:$A$107</c:f>
              <c:numCache>
                <c:formatCode>General</c:formatCode>
                <c:ptCount val="2"/>
                <c:pt idx="0">
                  <c:v>0</c:v>
                </c:pt>
                <c:pt idx="1">
                  <c:v>-4913.1823309692645</c:v>
                </c:pt>
              </c:numCache>
            </c:numRef>
          </c:xVal>
          <c:yVal>
            <c:numRef>
              <c:f>Sheet1!$B$106:$B$107</c:f>
              <c:numCache>
                <c:formatCode>General</c:formatCode>
                <c:ptCount val="2"/>
                <c:pt idx="0">
                  <c:v>0.5168278061075278</c:v>
                </c:pt>
                <c:pt idx="1">
                  <c:v>0.5168278061075278</c:v>
                </c:pt>
              </c:numCache>
            </c:numRef>
          </c:yVal>
          <c:smooth val="0"/>
          <c:extLst>
            <c:ext xmlns:c16="http://schemas.microsoft.com/office/drawing/2014/chart" uri="{C3380CC4-5D6E-409C-BE32-E72D297353CC}">
              <c16:uniqueId val="{00000003-F32D-48B7-BC20-E66FC6253BAD}"/>
            </c:ext>
          </c:extLst>
        </c:ser>
        <c:ser>
          <c:idx val="3"/>
          <c:order val="3"/>
          <c:tx>
            <c:strRef>
              <c:f>Sheet1!$B$10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0:$A$111</c:f>
              <c:numCache>
                <c:formatCode>General</c:formatCode>
                <c:ptCount val="2"/>
                <c:pt idx="0">
                  <c:v>-4913.1823309692645</c:v>
                </c:pt>
                <c:pt idx="1">
                  <c:v>-4913.1823309692645</c:v>
                </c:pt>
              </c:numCache>
            </c:numRef>
          </c:xVal>
          <c:yVal>
            <c:numRef>
              <c:f>Sheet1!$B$110:$B$111</c:f>
              <c:numCache>
                <c:formatCode>General</c:formatCode>
                <c:ptCount val="2"/>
                <c:pt idx="0">
                  <c:v>0.516827806107527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4:$A$115</c:f>
              <c:numCache>
                <c:formatCode>General</c:formatCode>
                <c:ptCount val="2"/>
                <c:pt idx="0">
                  <c:v>0</c:v>
                </c:pt>
                <c:pt idx="1">
                  <c:v>17.678438327210966</c:v>
                </c:pt>
              </c:numCache>
            </c:numRef>
          </c:xVal>
          <c:yVal>
            <c:numRef>
              <c:f>Sheet1!$B$114:$B$115</c:f>
              <c:numCache>
                <c:formatCode>General</c:formatCode>
                <c:ptCount val="2"/>
                <c:pt idx="0">
                  <c:v>0.23499546430053864</c:v>
                </c:pt>
                <c:pt idx="1">
                  <c:v>0.23499546430053864</c:v>
                </c:pt>
              </c:numCache>
            </c:numRef>
          </c:yVal>
          <c:smooth val="0"/>
          <c:extLst>
            <c:ext xmlns:c16="http://schemas.microsoft.com/office/drawing/2014/chart" uri="{C3380CC4-5D6E-409C-BE32-E72D297353CC}">
              <c16:uniqueId val="{0000000A-F32D-48B7-BC20-E66FC6253BAD}"/>
            </c:ext>
          </c:extLst>
        </c:ser>
        <c:ser>
          <c:idx val="5"/>
          <c:order val="5"/>
          <c:tx>
            <c:strRef>
              <c:f>Sheet1!$B$11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8:$A$119</c:f>
              <c:numCache>
                <c:formatCode>General</c:formatCode>
                <c:ptCount val="2"/>
                <c:pt idx="0">
                  <c:v>17.678438327210966</c:v>
                </c:pt>
                <c:pt idx="1">
                  <c:v>17.678438327210966</c:v>
                </c:pt>
              </c:numCache>
            </c:numRef>
          </c:xVal>
          <c:yVal>
            <c:numRef>
              <c:f>Sheet1!$B$118:$B$119</c:f>
              <c:numCache>
                <c:formatCode>General</c:formatCode>
                <c:ptCount val="2"/>
                <c:pt idx="0">
                  <c:v>0.234995464300538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2:$A$123</c:f>
              <c:numCache>
                <c:formatCode>General</c:formatCode>
                <c:ptCount val="2"/>
                <c:pt idx="0">
                  <c:v>0</c:v>
                </c:pt>
                <c:pt idx="1">
                  <c:v>3324.548772671074</c:v>
                </c:pt>
              </c:numCache>
            </c:numRef>
          </c:xVal>
          <c:yVal>
            <c:numRef>
              <c:f>Sheet1!$B$122:$B$123</c:f>
              <c:numCache>
                <c:formatCode>General</c:formatCode>
                <c:ptCount val="2"/>
                <c:pt idx="0">
                  <c:v>0.0459852581751758</c:v>
                </c:pt>
                <c:pt idx="1">
                  <c:v>0.0459852581751758</c:v>
                </c:pt>
              </c:numCache>
            </c:numRef>
          </c:yVal>
          <c:smooth val="0"/>
          <c:extLst>
            <c:ext xmlns:c16="http://schemas.microsoft.com/office/drawing/2014/chart" uri="{C3380CC4-5D6E-409C-BE32-E72D297353CC}">
              <c16:uniqueId val="{00000011-F32D-48B7-BC20-E66FC6253BAD}"/>
            </c:ext>
          </c:extLst>
        </c:ser>
        <c:ser>
          <c:idx val="7"/>
          <c:order val="7"/>
          <c:tx>
            <c:strRef>
              <c:f>Sheet1!$B$12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3324.548772671074</c:v>
                </c:pt>
                <c:pt idx="1">
                  <c:v>3324.548772671074</c:v>
                </c:pt>
              </c:numCache>
            </c:numRef>
          </c:xVal>
          <c:yVal>
            <c:numRef>
              <c:f>Sheet1!$B$126:$B$127</c:f>
              <c:numCache>
                <c:formatCode>General</c:formatCode>
                <c:ptCount val="2"/>
                <c:pt idx="0">
                  <c:v>0.045985258175175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0:$A$159</c:f>
              <c:numCache>
                <c:formatCode>General</c:formatCode>
                <c:ptCount val="30"/>
                <c:pt idx="0">
                  <c:v>1165.7669</c:v>
                </c:pt>
                <c:pt idx="1">
                  <c:v>1143.5882</c:v>
                </c:pt>
                <c:pt idx="2">
                  <c:v>2284.5</c:v>
                </c:pt>
                <c:pt idx="3">
                  <c:v>5111.0</c:v>
                </c:pt>
                <c:pt idx="4">
                  <c:v>1100.5042</c:v>
                </c:pt>
                <c:pt idx="5">
                  <c:v>960.6471</c:v>
                </c:pt>
                <c:pt idx="6">
                  <c:v>4469.75</c:v>
                </c:pt>
                <c:pt idx="7">
                  <c:v>1082.3739</c:v>
                </c:pt>
                <c:pt idx="8">
                  <c:v>1037.4556</c:v>
                </c:pt>
                <c:pt idx="9">
                  <c:v>1203.175</c:v>
                </c:pt>
                <c:pt idx="10">
                  <c:v>1018.5574</c:v>
                </c:pt>
                <c:pt idx="11">
                  <c:v>1017.831</c:v>
                </c:pt>
                <c:pt idx="12">
                  <c:v>643.1667</c:v>
                </c:pt>
                <c:pt idx="13">
                  <c:v>708.5652</c:v>
                </c:pt>
                <c:pt idx="14">
                  <c:v>1224.1778</c:v>
                </c:pt>
                <c:pt idx="15">
                  <c:v>1495.7419</c:v>
                </c:pt>
                <c:pt idx="16">
                  <c:v>1634.1379</c:v>
                </c:pt>
                <c:pt idx="17">
                  <c:v>2379.0</c:v>
                </c:pt>
                <c:pt idx="18">
                  <c:v>1219.2372</c:v>
                </c:pt>
                <c:pt idx="19">
                  <c:v>3215.5</c:v>
                </c:pt>
                <c:pt idx="20">
                  <c:v>1608.8571</c:v>
                </c:pt>
                <c:pt idx="21">
                  <c:v>1828.0</c:v>
                </c:pt>
                <c:pt idx="22">
                  <c:v>3695.6667</c:v>
                </c:pt>
                <c:pt idx="23">
                  <c:v>1543.7857</c:v>
                </c:pt>
                <c:pt idx="24">
                  <c:v>3721.7273</c:v>
                </c:pt>
                <c:pt idx="25">
                  <c:v>694.1333</c:v>
                </c:pt>
                <c:pt idx="26">
                  <c:v>1046.025</c:v>
                </c:pt>
                <c:pt idx="27">
                  <c:v>17.678438327210966</c:v>
                </c:pt>
                <c:pt idx="28">
                  <c:v>-4913.1823309692645</c:v>
                </c:pt>
                <c:pt idx="29">
                  <c:v>3324.548772671074</c:v>
                </c:pt>
              </c:numCache>
            </c:numRef>
          </c:xVal>
          <c:yVal>
            <c:numRef>
              <c:f>Sheet1!$B$130:$B$159</c:f>
              <c:numCache>
                <c:formatCode>General</c:formatCode>
                <c:ptCount val="30"/>
                <c:pt idx="0">
                  <c:v>0.16937437400944289</c:v>
                </c:pt>
                <c:pt idx="1">
                  <c:v>0.1706420380648055</c:v>
                </c:pt>
                <c:pt idx="2">
                  <c:v>0.10543114296279174</c:v>
                </c:pt>
                <c:pt idx="3">
                  <c:v>-0.056122620444547744</c:v>
                </c:pt>
                <c:pt idx="4">
                  <c:v>0.17310458267568177</c:v>
                </c:pt>
                <c:pt idx="5">
                  <c:v>0.1810983703439063</c:v>
                </c:pt>
                <c:pt idx="6">
                  <c:v>-0.01947080697030168</c:v>
                </c:pt>
                <c:pt idx="7">
                  <c:v>0.17414085304423088</c:v>
                </c:pt>
                <c:pt idx="8">
                  <c:v>0.17670824041761135</c:v>
                </c:pt>
                <c:pt idx="9">
                  <c:v>0.16723624581665392</c:v>
                </c:pt>
                <c:pt idx="10">
                  <c:v>0.17778840151141095</c:v>
                </c:pt>
                <c:pt idx="11">
                  <c:v>0.17782992022846</c:v>
                </c:pt>
                <c:pt idx="12">
                  <c:v>0.1992445417318658</c:v>
                </c:pt>
                <c:pt idx="13">
                  <c:v>0.19550657116890988</c:v>
                </c:pt>
                <c:pt idx="14">
                  <c:v>0.16603579247078742</c:v>
                </c:pt>
                <c:pt idx="15">
                  <c:v>0.15051405096669151</c:v>
                </c:pt>
                <c:pt idx="16">
                  <c:v>0.14260377513420533</c:v>
                </c:pt>
                <c:pt idx="17">
                  <c:v>0.10002982308237654</c:v>
                </c:pt>
                <c:pt idx="18">
                  <c:v>0.1663181814760909</c:v>
                </c:pt>
                <c:pt idx="19">
                  <c:v>0.05221813969647898</c:v>
                </c:pt>
                <c:pt idx="20">
                  <c:v>0.14404874537370588</c:v>
                </c:pt>
                <c:pt idx="21">
                  <c:v>0.13152323317876574</c:v>
                </c:pt>
                <c:pt idx="22">
                  <c:v>0.0247733360708349</c:v>
                </c:pt>
                <c:pt idx="23">
                  <c:v>0.1477680199394884</c:v>
                </c:pt>
                <c:pt idx="24">
                  <c:v>0.02328379493987673</c:v>
                </c:pt>
                <c:pt idx="25">
                  <c:v>0.1963314527390915</c:v>
                </c:pt>
                <c:pt idx="26">
                  <c:v>0.17621844072889992</c:v>
                </c:pt>
                <c:pt idx="27">
                  <c:v>0.23499546430053864</c:v>
                </c:pt>
                <c:pt idx="28">
                  <c:v>0.5168278061075278</c:v>
                </c:pt>
                <c:pt idx="29">
                  <c:v>0.045985258175175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3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33082706766917"/>
          <c:min val="0.000888888888888888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1</c:f>
              <c:numCache>
                <c:formatCode>General</c:formatCode>
                <c:ptCount val="70"/>
                <c:pt idx="0">
                  <c:v>1.4283692854906935</c:v>
                </c:pt>
                <c:pt idx="1">
                  <c:v>1.6027049111436922</c:v>
                </c:pt>
                <c:pt idx="2">
                  <c:v>1.3211158970696542</c:v>
                </c:pt>
                <c:pt idx="3">
                  <c:v>1.7110542115424794</c:v>
                </c:pt>
                <c:pt idx="4">
                  <c:v>2.2329086596807564</c:v>
                </c:pt>
                <c:pt idx="5">
                  <c:v>1.7929200160771703</c:v>
                </c:pt>
                <c:pt idx="6">
                  <c:v>1.9821952832740348</c:v>
                </c:pt>
                <c:pt idx="7">
                  <c:v>2.3075149435149434</c:v>
                </c:pt>
                <c:pt idx="8">
                  <c:v>2.454321453912713</c:v>
                </c:pt>
                <c:pt idx="9">
                  <c:v>1.5332416371995534</c:v>
                </c:pt>
                <c:pt idx="10">
                  <c:v>1.3576759489345942</c:v>
                </c:pt>
                <c:pt idx="11">
                  <c:v>1.8350348710192421</c:v>
                </c:pt>
                <c:pt idx="12">
                  <c:v>4.045668889713004</c:v>
                </c:pt>
                <c:pt idx="13">
                  <c:v>1.535913563878482</c:v>
                </c:pt>
                <c:pt idx="14">
                  <c:v>1.880137699268439</c:v>
                </c:pt>
                <c:pt idx="15">
                  <c:v>0.9150060514899288</c:v>
                </c:pt>
                <c:pt idx="16">
                  <c:v>2.2892592273197656</c:v>
                </c:pt>
                <c:pt idx="17">
                  <c:v>1.819165343954958</c:v>
                </c:pt>
                <c:pt idx="18">
                  <c:v>1.7494505663627413</c:v>
                </c:pt>
                <c:pt idx="19">
                  <c:v>1.6512783837487288</c:v>
                </c:pt>
                <c:pt idx="20">
                  <c:v>2.3347206553914726</c:v>
                </c:pt>
                <c:pt idx="21">
                  <c:v>2.4921749075119823</c:v>
                </c:pt>
                <c:pt idx="22">
                  <c:v>3.762530681697331</c:v>
                </c:pt>
                <c:pt idx="23">
                  <c:v>1.094984923863612</c:v>
                </c:pt>
                <c:pt idx="24">
                  <c:v>3.162214440896745</c:v>
                </c:pt>
                <c:pt idx="25">
                  <c:v>2.4228152205374833</c:v>
                </c:pt>
                <c:pt idx="26">
                  <c:v>1.7248389563048634</c:v>
                </c:pt>
                <c:pt idx="27">
                  <c:v>1.1671899864709325</c:v>
                </c:pt>
                <c:pt idx="28">
                  <c:v>1.1699582804919395</c:v>
                </c:pt>
                <c:pt idx="29">
                  <c:v>1.1416654473583663</c:v>
                </c:pt>
                <c:pt idx="30">
                  <c:v>1.8226997435747303</c:v>
                </c:pt>
                <c:pt idx="31">
                  <c:v>1.0921319685746633</c:v>
                </c:pt>
                <c:pt idx="32">
                  <c:v>1.4248791133189846</c:v>
                </c:pt>
                <c:pt idx="33">
                  <c:v>0.7406357308779962</c:v>
                </c:pt>
                <c:pt idx="34">
                  <c:v>3.0603957481602615</c:v>
                </c:pt>
                <c:pt idx="35">
                  <c:v>0.845421242682336</c:v>
                </c:pt>
                <c:pt idx="36">
                  <c:v>1.4410495734259117</c:v>
                </c:pt>
                <c:pt idx="37">
                  <c:v>0.7492522320135319</c:v>
                </c:pt>
                <c:pt idx="38">
                  <c:v>1.6090533990778406</c:v>
                </c:pt>
                <c:pt idx="39">
                  <c:v>1.0791759945130315</c:v>
                </c:pt>
                <c:pt idx="40">
                  <c:v>1.3689037668837438</c:v>
                </c:pt>
                <c:pt idx="41">
                  <c:v>0.8053566785939846</c:v>
                </c:pt>
                <c:pt idx="42">
                  <c:v>2.414655059625335</c:v>
                </c:pt>
                <c:pt idx="43">
                  <c:v>0.8649579985905567</c:v>
                </c:pt>
                <c:pt idx="44">
                  <c:v>2.088697299036962</c:v>
                </c:pt>
                <c:pt idx="45">
                  <c:v>0.5818786059470784</c:v>
                </c:pt>
                <c:pt idx="46">
                  <c:v>0.8045496307164174</c:v>
                </c:pt>
                <c:pt idx="47">
                  <c:v>1.2770086724417282</c:v>
                </c:pt>
                <c:pt idx="48">
                  <c:v>1.0426912051834423</c:v>
                </c:pt>
                <c:pt idx="49">
                  <c:v>0.6745736661818016</c:v>
                </c:pt>
                <c:pt idx="50">
                  <c:v>2.3307877400742645</c:v>
                </c:pt>
                <c:pt idx="51">
                  <c:v>2.3232314933273863</c:v>
                </c:pt>
                <c:pt idx="52">
                  <c:v>2.8812909937702536</c:v>
                </c:pt>
                <c:pt idx="53">
                  <c:v>1.2510473486884657</c:v>
                </c:pt>
                <c:pt idx="54">
                  <c:v>1.1440838281052899</c:v>
                </c:pt>
                <c:pt idx="55">
                  <c:v>2.43534051843393</c:v>
                </c:pt>
                <c:pt idx="56">
                  <c:v>1.7246361969934094</c:v>
                </c:pt>
                <c:pt idx="57">
                  <c:v>2.2866248172174033</c:v>
                </c:pt>
                <c:pt idx="58">
                  <c:v>0.7500419176350714</c:v>
                </c:pt>
                <c:pt idx="59">
                  <c:v>1.7038267421025473</c:v>
                </c:pt>
                <c:pt idx="60">
                  <c:v>1.7689458400301756</c:v>
                </c:pt>
                <c:pt idx="61">
                  <c:v>1.331328735323833</c:v>
                </c:pt>
                <c:pt idx="62">
                  <c:v>1.8287000996658103</c:v>
                </c:pt>
                <c:pt idx="63">
                  <c:v>3.9165671491024767</c:v>
                </c:pt>
                <c:pt idx="64">
                  <c:v>1.507970497729992</c:v>
                </c:pt>
                <c:pt idx="65">
                  <c:v>1.342102305243291</c:v>
                </c:pt>
                <c:pt idx="66">
                  <c:v>0.5796376554141434</c:v>
                </c:pt>
                <c:pt idx="67">
                  <c:v>3.9273536879979436</c:v>
                </c:pt>
                <c:pt idx="68">
                  <c:v>2.0520633581222567</c:v>
                </c:pt>
                <c:pt idx="69">
                  <c:v>3.1596147899924585</c:v>
                </c:pt>
              </c:numCache>
            </c:numRef>
          </c:xVal>
          <c:yVal>
            <c:numRef>
              <c:f>Sheet1!$B$2:$B$71</c:f>
              <c:numCache>
                <c:formatCode>General</c:formatCode>
                <c:ptCount val="70"/>
                <c:pt idx="0">
                  <c:v>0.1430472388556221</c:v>
                </c:pt>
                <c:pt idx="1">
                  <c:v>0.16554054054054054</c:v>
                </c:pt>
                <c:pt idx="2">
                  <c:v>0.13806706114398423</c:v>
                </c:pt>
                <c:pt idx="3">
                  <c:v>0.18840579710144928</c:v>
                </c:pt>
                <c:pt idx="4">
                  <c:v>0.020361990950226245</c:v>
                </c:pt>
                <c:pt idx="5">
                  <c:v>0.7960526315789473</c:v>
                </c:pt>
                <c:pt idx="6">
                  <c:v>0.21818181818181817</c:v>
                </c:pt>
                <c:pt idx="7">
                  <c:v>0.19254658385093168</c:v>
                </c:pt>
                <c:pt idx="8">
                  <c:v>0.08879492600422834</c:v>
                </c:pt>
                <c:pt idx="9">
                  <c:v>0.2970430107526882</c:v>
                </c:pt>
                <c:pt idx="10">
                  <c:v>0.11940298507462686</c:v>
                </c:pt>
                <c:pt idx="11">
                  <c:v>0.2711864406779661</c:v>
                </c:pt>
                <c:pt idx="12">
                  <c:v>0.5182926829268293</c:v>
                </c:pt>
                <c:pt idx="13">
                  <c:v>0.2066115702479339</c:v>
                </c:pt>
                <c:pt idx="14">
                  <c:v>0.2389937106918239</c:v>
                </c:pt>
                <c:pt idx="15">
                  <c:v>0.17901234567901234</c:v>
                </c:pt>
                <c:pt idx="16">
                  <c:v>0.16</c:v>
                </c:pt>
                <c:pt idx="17">
                  <c:v>0.38926174496644295</c:v>
                </c:pt>
                <c:pt idx="18">
                  <c:v>0.5154894671623296</c:v>
                </c:pt>
                <c:pt idx="19">
                  <c:v>0.016129032258064516</c:v>
                </c:pt>
                <c:pt idx="20">
                  <c:v>0.06712962962962964</c:v>
                </c:pt>
                <c:pt idx="21">
                  <c:v>0.18609022556390978</c:v>
                </c:pt>
                <c:pt idx="22">
                  <c:v>0.3559670781893004</c:v>
                </c:pt>
                <c:pt idx="23">
                  <c:v>0.09129511677282377</c:v>
                </c:pt>
                <c:pt idx="24">
                  <c:v>0.3784313725490196</c:v>
                </c:pt>
                <c:pt idx="25">
                  <c:v>0.3148148148148148</c:v>
                </c:pt>
                <c:pt idx="26">
                  <c:v>0.1527293844367015</c:v>
                </c:pt>
                <c:pt idx="27">
                  <c:v>0.38224852071005916</c:v>
                </c:pt>
                <c:pt idx="28">
                  <c:v>0.23139653414882771</c:v>
                </c:pt>
                <c:pt idx="29">
                  <c:v>0.24287974683544303</c:v>
                </c:pt>
                <c:pt idx="30">
                  <c:v>0.28248222365869424</c:v>
                </c:pt>
                <c:pt idx="31">
                  <c:v>0.35880077369439073</c:v>
                </c:pt>
                <c:pt idx="32">
                  <c:v>0.10413223140495868</c:v>
                </c:pt>
                <c:pt idx="33">
                  <c:v>0.089540412044374</c:v>
                </c:pt>
                <c:pt idx="34">
                  <c:v>0.12537612838515547</c:v>
                </c:pt>
                <c:pt idx="35">
                  <c:v>0.423956931359354</c:v>
                </c:pt>
                <c:pt idx="36">
                  <c:v>0.24022346368715083</c:v>
                </c:pt>
                <c:pt idx="37">
                  <c:v>0.343042071197411</c:v>
                </c:pt>
                <c:pt idx="38">
                  <c:v>0.22133333333333333</c:v>
                </c:pt>
                <c:pt idx="39">
                  <c:v>0.2780487804878049</c:v>
                </c:pt>
                <c:pt idx="40">
                  <c:v>0.4039408866995074</c:v>
                </c:pt>
                <c:pt idx="41">
                  <c:v>0.2831050228310502</c:v>
                </c:pt>
                <c:pt idx="42">
                  <c:v>0.2846715328467153</c:v>
                </c:pt>
                <c:pt idx="43">
                  <c:v>0.46568627450980393</c:v>
                </c:pt>
                <c:pt idx="44">
                  <c:v>0.4157608695652174</c:v>
                </c:pt>
                <c:pt idx="45">
                  <c:v>0.27305389221556886</c:v>
                </c:pt>
                <c:pt idx="46">
                  <c:v>0.37530864197530867</c:v>
                </c:pt>
                <c:pt idx="47">
                  <c:v>0.030560271646859084</c:v>
                </c:pt>
                <c:pt idx="48">
                  <c:v>0.13976945244956773</c:v>
                </c:pt>
                <c:pt idx="49">
                  <c:v>0.04699738903394256</c:v>
                </c:pt>
                <c:pt idx="50">
                  <c:v>0.17087667161961367</c:v>
                </c:pt>
                <c:pt idx="51">
                  <c:v>0.2858517805582291</c:v>
                </c:pt>
                <c:pt idx="52">
                  <c:v>0.24726477024070023</c:v>
                </c:pt>
                <c:pt idx="53">
                  <c:v>0.32666666666666666</c:v>
                </c:pt>
                <c:pt idx="54">
                  <c:v>0.22682926829268293</c:v>
                </c:pt>
                <c:pt idx="55">
                  <c:v>0.10755148741418764</c:v>
                </c:pt>
                <c:pt idx="56">
                  <c:v>0.30930537352555704</c:v>
                </c:pt>
                <c:pt idx="57">
                  <c:v>0.5105708245243129</c:v>
                </c:pt>
                <c:pt idx="58">
                  <c:v>0.14053254437869822</c:v>
                </c:pt>
                <c:pt idx="59">
                  <c:v>0.2050561797752809</c:v>
                </c:pt>
                <c:pt idx="60">
                  <c:v>0.24172185430463577</c:v>
                </c:pt>
                <c:pt idx="61">
                  <c:v>0.030942334739803096</c:v>
                </c:pt>
                <c:pt idx="62">
                  <c:v>0.02027027027027027</c:v>
                </c:pt>
                <c:pt idx="63">
                  <c:v>0.013452914798206279</c:v>
                </c:pt>
                <c:pt idx="64">
                  <c:v>0.125</c:v>
                </c:pt>
                <c:pt idx="65">
                  <c:v>0.11001517450682853</c:v>
                </c:pt>
                <c:pt idx="66">
                  <c:v>0.045454545454545456</c:v>
                </c:pt>
                <c:pt idx="67">
                  <c:v>0.003278688524590164</c:v>
                </c:pt>
                <c:pt idx="68">
                  <c:v>0.049783549783549784</c:v>
                </c:pt>
                <c:pt idx="69">
                  <c:v>0.005063291139240506</c:v>
                </c:pt>
              </c:numCache>
            </c:numRef>
          </c:yVal>
          <c:smooth val="0"/>
          <c:extLst>
            <c:ext xmlns:c16="http://schemas.microsoft.com/office/drawing/2014/chart" uri="{C3380CC4-5D6E-409C-BE32-E72D297353CC}">
              <c16:uniqueId val="{00000000-096C-4121-9522-6AB7243CCAAE}"/>
            </c:ext>
          </c:extLst>
        </c:ser>
        <c:ser>
          <c:idx val="1"/>
          <c:order val="1"/>
          <c:tx>
            <c:strRef>
              <c:f>Sheet1!$B$7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4:$A$95</c:f>
              <c:numCache>
                <c:formatCode>General</c:formatCode>
                <c:ptCount val="22"/>
                <c:pt idx="0">
                  <c:v>1.8616339375697752</c:v>
                </c:pt>
                <c:pt idx="1">
                  <c:v>1.2516119485739343</c:v>
                </c:pt>
                <c:pt idx="2">
                  <c:v>2.694303573534615</c:v>
                </c:pt>
                <c:pt idx="3">
                  <c:v>0.9436611984282908</c:v>
                </c:pt>
                <c:pt idx="4">
                  <c:v>5.406559091492443</c:v>
                </c:pt>
                <c:pt idx="5">
                  <c:v>1.1643436962134253</c:v>
                </c:pt>
                <c:pt idx="6">
                  <c:v>1.2691957713358188</c:v>
                </c:pt>
                <c:pt idx="7">
                  <c:v>1.5861480730049309</c:v>
                </c:pt>
                <c:pt idx="8">
                  <c:v>2.0307965856626864</c:v>
                </c:pt>
                <c:pt idx="9">
                  <c:v>1.3813139616894512</c:v>
                </c:pt>
                <c:pt idx="10">
                  <c:v>1.3845223398175186</c:v>
                </c:pt>
                <c:pt idx="11">
                  <c:v>2.672723815204498</c:v>
                </c:pt>
                <c:pt idx="12">
                  <c:v>2.539459932088285</c:v>
                </c:pt>
                <c:pt idx="13">
                  <c:v>3.493347274189869</c:v>
                </c:pt>
                <c:pt idx="14">
                  <c:v>4.964129521421607</c:v>
                </c:pt>
                <c:pt idx="15">
                  <c:v>2.011112907216495</c:v>
                </c:pt>
                <c:pt idx="16">
                  <c:v>4.499720123145815</c:v>
                </c:pt>
                <c:pt idx="17">
                  <c:v>2.047310563368363</c:v>
                </c:pt>
                <c:pt idx="18">
                  <c:v>2.1270125378892257</c:v>
                </c:pt>
                <c:pt idx="19">
                  <c:v>5.521057658187964</c:v>
                </c:pt>
                <c:pt idx="20">
                  <c:v>0.8033950231481481</c:v>
                </c:pt>
                <c:pt idx="21">
                  <c:v>1.335188682159421</c:v>
                </c:pt>
              </c:numCache>
            </c:numRef>
          </c:xVal>
          <c:yVal>
            <c:numRef>
              <c:f>Sheet1!$B$74:$B$95</c:f>
              <c:numCache>
                <c:formatCode>General</c:formatCode>
                <c:ptCount val="22"/>
                <c:pt idx="0">
                  <c:v>0.1543560606060606</c:v>
                </c:pt>
                <c:pt idx="1">
                  <c:v>0.02135678391959799</c:v>
                </c:pt>
                <c:pt idx="2">
                  <c:v>0.013710368466152529</c:v>
                </c:pt>
                <c:pt idx="3">
                  <c:v>0.18888888888888888</c:v>
                </c:pt>
                <c:pt idx="4">
                  <c:v>0.029850746268656716</c:v>
                </c:pt>
                <c:pt idx="5">
                  <c:v>0.28117359413202936</c:v>
                </c:pt>
                <c:pt idx="6">
                  <c:v>0.582312925170068</c:v>
                </c:pt>
                <c:pt idx="7">
                  <c:v>0.13179571663920922</c:v>
                </c:pt>
                <c:pt idx="8">
                  <c:v>0.2982885085574572</c:v>
                </c:pt>
                <c:pt idx="9">
                  <c:v>0.544766708701135</c:v>
                </c:pt>
                <c:pt idx="10">
                  <c:v>0.00949367088607595</c:v>
                </c:pt>
                <c:pt idx="11">
                  <c:v>0.10948905109489052</c:v>
                </c:pt>
                <c:pt idx="12">
                  <c:v>0.11191335740072202</c:v>
                </c:pt>
                <c:pt idx="13">
                  <c:v>0.2049469964664311</c:v>
                </c:pt>
                <c:pt idx="14">
                  <c:v>0.006430868167202572</c:v>
                </c:pt>
                <c:pt idx="15">
                  <c:v>0.2948960302457467</c:v>
                </c:pt>
                <c:pt idx="16">
                  <c:v>0.008368200836820083</c:v>
                </c:pt>
                <c:pt idx="17">
                  <c:v>0.0412573673870334</c:v>
                </c:pt>
                <c:pt idx="18">
                  <c:v>0.025547445255474453</c:v>
                </c:pt>
                <c:pt idx="19">
                  <c:v>0.03206997084548105</c:v>
                </c:pt>
                <c:pt idx="20">
                  <c:v>0.05190311418685121</c:v>
                </c:pt>
                <c:pt idx="21">
                  <c:v>0.1553398058252427</c:v>
                </c:pt>
              </c:numCache>
            </c:numRef>
          </c:yVal>
          <c:smooth val="0"/>
          <c:extLst>
            <c:ext xmlns:c16="http://schemas.microsoft.com/office/drawing/2014/chart" uri="{C3380CC4-5D6E-409C-BE32-E72D297353CC}">
              <c16:uniqueId val="{00000002-096C-4121-9522-6AB7243CCAAE}"/>
            </c:ext>
          </c:extLst>
        </c:ser>
        <c:ser>
          <c:idx val="2"/>
          <c:order val="2"/>
          <c:tx>
            <c:strRef>
              <c:f>Sheet1!$B$9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98:$A$99</c:f>
              <c:numCache>
                <c:formatCode>General</c:formatCode>
                <c:ptCount val="2"/>
                <c:pt idx="0">
                  <c:v>0</c:v>
                </c:pt>
                <c:pt idx="1">
                  <c:v>-0.028948944915417635</c:v>
                </c:pt>
              </c:numCache>
            </c:numRef>
          </c:xVal>
          <c:yVal>
            <c:numRef>
              <c:f>Sheet1!$B$98:$B$99</c:f>
              <c:numCache>
                <c:formatCode>General</c:formatCode>
                <c:ptCount val="2"/>
                <c:pt idx="0">
                  <c:v>0.26398164049008</c:v>
                </c:pt>
                <c:pt idx="1">
                  <c:v>0.26398164049008</c:v>
                </c:pt>
              </c:numCache>
            </c:numRef>
          </c:yVal>
          <c:smooth val="0"/>
          <c:extLst>
            <c:ext xmlns:c16="http://schemas.microsoft.com/office/drawing/2014/chart" uri="{C3380CC4-5D6E-409C-BE32-E72D297353CC}">
              <c16:uniqueId val="{00000005-096C-4121-9522-6AB7243CCAAE}"/>
            </c:ext>
          </c:extLst>
        </c:ser>
        <c:ser>
          <c:idx val="3"/>
          <c:order val="3"/>
          <c:tx>
            <c:strRef>
              <c:f>Sheet1!$B$10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2:$A$103</c:f>
              <c:numCache>
                <c:formatCode>General</c:formatCode>
                <c:ptCount val="2"/>
                <c:pt idx="0">
                  <c:v>-0.028948944915417635</c:v>
                </c:pt>
                <c:pt idx="1">
                  <c:v>-0.028948944915417635</c:v>
                </c:pt>
              </c:numCache>
            </c:numRef>
          </c:xVal>
          <c:yVal>
            <c:numRef>
              <c:f>Sheet1!$B$102:$B$103</c:f>
              <c:numCache>
                <c:formatCode>General</c:formatCode>
                <c:ptCount val="2"/>
                <c:pt idx="0">
                  <c:v>0.2639816404900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06:$A$107</c:f>
              <c:numCache>
                <c:formatCode>General</c:formatCode>
                <c:ptCount val="2"/>
                <c:pt idx="0">
                  <c:v>0</c:v>
                </c:pt>
                <c:pt idx="1">
                  <c:v>0.0848958660902057</c:v>
                </c:pt>
              </c:numCache>
            </c:numRef>
          </c:xVal>
          <c:yVal>
            <c:numRef>
              <c:f>Sheet1!$B$106:$B$107</c:f>
              <c:numCache>
                <c:formatCode>General</c:formatCode>
                <c:ptCount val="2"/>
                <c:pt idx="0">
                  <c:v>0.2586541915726984</c:v>
                </c:pt>
                <c:pt idx="1">
                  <c:v>0.2586541915726984</c:v>
                </c:pt>
              </c:numCache>
            </c:numRef>
          </c:yVal>
          <c:smooth val="0"/>
          <c:extLst>
            <c:ext xmlns:c16="http://schemas.microsoft.com/office/drawing/2014/chart" uri="{C3380CC4-5D6E-409C-BE32-E72D297353CC}">
              <c16:uniqueId val="{0000000D-096C-4121-9522-6AB7243CCAAE}"/>
            </c:ext>
          </c:extLst>
        </c:ser>
        <c:ser>
          <c:idx val="5"/>
          <c:order val="5"/>
          <c:tx>
            <c:strRef>
              <c:f>Sheet1!$B$10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0:$A$111</c:f>
              <c:numCache>
                <c:formatCode>General</c:formatCode>
                <c:ptCount val="2"/>
                <c:pt idx="0">
                  <c:v>0.0848958660902057</c:v>
                </c:pt>
                <c:pt idx="1">
                  <c:v>0.0848958660902057</c:v>
                </c:pt>
              </c:numCache>
            </c:numRef>
          </c:xVal>
          <c:yVal>
            <c:numRef>
              <c:f>Sheet1!$B$110:$B$111</c:f>
              <c:numCache>
                <c:formatCode>General</c:formatCode>
                <c:ptCount val="2"/>
                <c:pt idx="0">
                  <c:v>0.25865419157269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4:$A$115</c:f>
              <c:numCache>
                <c:formatCode>General</c:formatCode>
                <c:ptCount val="2"/>
                <c:pt idx="0">
                  <c:v>0</c:v>
                </c:pt>
                <c:pt idx="1">
                  <c:v>4.197219450650257</c:v>
                </c:pt>
              </c:numCache>
            </c:numRef>
          </c:xVal>
          <c:yVal>
            <c:numRef>
              <c:f>Sheet1!$B$114:$B$115</c:f>
              <c:numCache>
                <c:formatCode>General</c:formatCode>
                <c:ptCount val="2"/>
                <c:pt idx="0">
                  <c:v>0.06621508402826234</c:v>
                </c:pt>
                <c:pt idx="1">
                  <c:v>0.06621508402826234</c:v>
                </c:pt>
              </c:numCache>
            </c:numRef>
          </c:yVal>
          <c:smooth val="0"/>
          <c:extLst>
            <c:ext xmlns:c16="http://schemas.microsoft.com/office/drawing/2014/chart" uri="{C3380CC4-5D6E-409C-BE32-E72D297353CC}">
              <c16:uniqueId val="{00000015-096C-4121-9522-6AB7243CCAAE}"/>
            </c:ext>
          </c:extLst>
        </c:ser>
        <c:ser>
          <c:idx val="7"/>
          <c:order val="7"/>
          <c:tx>
            <c:strRef>
              <c:f>Sheet1!$B$11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8:$A$119</c:f>
              <c:numCache>
                <c:formatCode>General</c:formatCode>
                <c:ptCount val="2"/>
                <c:pt idx="0">
                  <c:v>4.197219450650257</c:v>
                </c:pt>
                <c:pt idx="1">
                  <c:v>4.197219450650257</c:v>
                </c:pt>
              </c:numCache>
            </c:numRef>
          </c:xVal>
          <c:yVal>
            <c:numRef>
              <c:f>Sheet1!$B$118:$B$119</c:f>
              <c:numCache>
                <c:formatCode>General</c:formatCode>
                <c:ptCount val="2"/>
                <c:pt idx="0">
                  <c:v>0.0662150840282623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2:$A$146</c:f>
              <c:numCache>
                <c:formatCode>General</c:formatCode>
                <c:ptCount val="25"/>
                <c:pt idx="0">
                  <c:v>1.8616339375697752</c:v>
                </c:pt>
                <c:pt idx="1">
                  <c:v>1.2516119485739343</c:v>
                </c:pt>
                <c:pt idx="2">
                  <c:v>2.694303573534615</c:v>
                </c:pt>
                <c:pt idx="3">
                  <c:v>0.9436611984282908</c:v>
                </c:pt>
                <c:pt idx="4">
                  <c:v>5.406559091492443</c:v>
                </c:pt>
                <c:pt idx="5">
                  <c:v>1.1643436962134253</c:v>
                </c:pt>
                <c:pt idx="6">
                  <c:v>1.2691957713358188</c:v>
                </c:pt>
                <c:pt idx="7">
                  <c:v>1.5861480730049309</c:v>
                </c:pt>
                <c:pt idx="8">
                  <c:v>2.0307965856626864</c:v>
                </c:pt>
                <c:pt idx="9">
                  <c:v>1.3813139616894512</c:v>
                </c:pt>
                <c:pt idx="10">
                  <c:v>1.3845223398175186</c:v>
                </c:pt>
                <c:pt idx="11">
                  <c:v>2.672723815204498</c:v>
                </c:pt>
                <c:pt idx="12">
                  <c:v>2.539459932088285</c:v>
                </c:pt>
                <c:pt idx="13">
                  <c:v>3.493347274189869</c:v>
                </c:pt>
                <c:pt idx="14">
                  <c:v>4.964129521421607</c:v>
                </c:pt>
                <c:pt idx="15">
                  <c:v>2.011112907216495</c:v>
                </c:pt>
                <c:pt idx="16">
                  <c:v>4.499720123145815</c:v>
                </c:pt>
                <c:pt idx="17">
                  <c:v>2.047310563368363</c:v>
                </c:pt>
                <c:pt idx="18">
                  <c:v>2.1270125378892257</c:v>
                </c:pt>
                <c:pt idx="19">
                  <c:v>5.521057658187964</c:v>
                </c:pt>
                <c:pt idx="20">
                  <c:v>0.8033950231481481</c:v>
                </c:pt>
                <c:pt idx="21">
                  <c:v>1.335188682159421</c:v>
                </c:pt>
                <c:pt idx="22">
                  <c:v>0.0848958660902057</c:v>
                </c:pt>
                <c:pt idx="23">
                  <c:v>-0.028948944915417635</c:v>
                </c:pt>
                <c:pt idx="24">
                  <c:v>4.197219450650257</c:v>
                </c:pt>
              </c:numCache>
            </c:numRef>
          </c:xVal>
          <c:yVal>
            <c:numRef>
              <c:f>Sheet1!$B$122:$B$146</c:f>
              <c:numCache>
                <c:formatCode>General</c:formatCode>
                <c:ptCount val="25"/>
                <c:pt idx="0">
                  <c:v>0.17551046959043864</c:v>
                </c:pt>
                <c:pt idx="1">
                  <c:v>0.20405688252000398</c:v>
                </c:pt>
                <c:pt idx="2">
                  <c:v>0.1365451016349481</c:v>
                </c:pt>
                <c:pt idx="3">
                  <c:v>0.21846765694159104</c:v>
                </c:pt>
                <c:pt idx="4">
                  <c:v>0.009623175240842219</c:v>
                </c:pt>
                <c:pt idx="5">
                  <c:v>0.2081406624696831</c:v>
                </c:pt>
                <c:pt idx="6">
                  <c:v>0.2032340350251664</c:v>
                </c:pt>
                <c:pt idx="7">
                  <c:v>0.18840202659655825</c:v>
                </c:pt>
                <c:pt idx="8">
                  <c:v>0.1675943831348209</c:v>
                </c:pt>
                <c:pt idx="9">
                  <c:v>0.19798738454946985</c:v>
                </c:pt>
                <c:pt idx="10">
                  <c:v>0.19783724621260634</c:v>
                </c:pt>
                <c:pt idx="11">
                  <c:v>0.13755494177731048</c:v>
                </c:pt>
                <c:pt idx="12">
                  <c:v>0.1437911199883531</c:v>
                </c:pt>
                <c:pt idx="13">
                  <c:v>0.09915328324292555</c:v>
                </c:pt>
                <c:pt idx="14">
                  <c:v>0.030326981705723954</c:v>
                </c:pt>
                <c:pt idx="15">
                  <c:v>0.1685154948701908</c:v>
                </c:pt>
                <c:pt idx="16">
                  <c:v>0.05205934986736099</c:v>
                </c:pt>
                <c:pt idx="17">
                  <c:v>0.1668215998004498</c:v>
                </c:pt>
                <c:pt idx="18">
                  <c:v>0.16309188920473922</c:v>
                </c:pt>
                <c:pt idx="19">
                  <c:v>0.004265133360886297</c:v>
                </c:pt>
                <c:pt idx="20">
                  <c:v>0.22503151239570163</c:v>
                </c:pt>
                <c:pt idx="21">
                  <c:v>0.20014584981745684</c:v>
                </c:pt>
                <c:pt idx="22">
                  <c:v>0.2586541915726984</c:v>
                </c:pt>
                <c:pt idx="23">
                  <c:v>0.26398164049008</c:v>
                </c:pt>
                <c:pt idx="24">
                  <c:v>0.0662150840282623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552631578947368"/>
          <c:min val="0.00262295081967213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1</c:f>
              <c:numCache>
                <c:formatCode>General</c:formatCode>
                <c:ptCount val="70"/>
                <c:pt idx="0">
                  <c:v>1031.2512</c:v>
                </c:pt>
                <c:pt idx="1">
                  <c:v>1029.7347</c:v>
                </c:pt>
                <c:pt idx="2">
                  <c:v>887.9286</c:v>
                </c:pt>
                <c:pt idx="3">
                  <c:v>979.4615</c:v>
                </c:pt>
                <c:pt idx="4">
                  <c:v>1437.8889</c:v>
                </c:pt>
                <c:pt idx="5">
                  <c:v>892.157</c:v>
                </c:pt>
                <c:pt idx="6">
                  <c:v>1368.9667</c:v>
                </c:pt>
                <c:pt idx="7">
                  <c:v>1613.6452</c:v>
                </c:pt>
                <c:pt idx="8">
                  <c:v>1635.0476</c:v>
                </c:pt>
                <c:pt idx="9">
                  <c:v>1071.4751</c:v>
                </c:pt>
                <c:pt idx="10">
                  <c:v>832.875</c:v>
                </c:pt>
                <c:pt idx="11">
                  <c:v>1091.9375</c:v>
                </c:pt>
                <c:pt idx="12">
                  <c:v>1764.0059</c:v>
                </c:pt>
                <c:pt idx="13">
                  <c:v>994.06</c:v>
                </c:pt>
                <c:pt idx="14">
                  <c:v>1396.1974</c:v>
                </c:pt>
                <c:pt idx="15">
                  <c:v>695.9138</c:v>
                </c:pt>
                <c:pt idx="16">
                  <c:v>1327.3125</c:v>
                </c:pt>
                <c:pt idx="17">
                  <c:v>850.4125</c:v>
                </c:pt>
                <c:pt idx="18">
                  <c:v>1204.9423</c:v>
                </c:pt>
                <c:pt idx="19">
                  <c:v>1184.7143</c:v>
                </c:pt>
                <c:pt idx="20">
                  <c:v>1767.8276</c:v>
                </c:pt>
                <c:pt idx="21">
                  <c:v>1173.697</c:v>
                </c:pt>
                <c:pt idx="22">
                  <c:v>1768.9538</c:v>
                </c:pt>
                <c:pt idx="23">
                  <c:v>821.5581</c:v>
                </c:pt>
                <c:pt idx="24">
                  <c:v>1782.5855</c:v>
                </c:pt>
                <c:pt idx="25">
                  <c:v>1305.7908</c:v>
                </c:pt>
                <c:pt idx="26">
                  <c:v>1126.4373</c:v>
                </c:pt>
                <c:pt idx="27">
                  <c:v>1028.9752</c:v>
                </c:pt>
                <c:pt idx="28">
                  <c:v>764.3238</c:v>
                </c:pt>
                <c:pt idx="29">
                  <c:v>634.3583</c:v>
                </c:pt>
                <c:pt idx="30">
                  <c:v>940.119</c:v>
                </c:pt>
                <c:pt idx="31">
                  <c:v>558.3315</c:v>
                </c:pt>
                <c:pt idx="32">
                  <c:v>1007.3968</c:v>
                </c:pt>
                <c:pt idx="33">
                  <c:v>492.7965</c:v>
                </c:pt>
                <c:pt idx="34">
                  <c:v>1871.432</c:v>
                </c:pt>
                <c:pt idx="35">
                  <c:v>791.4635</c:v>
                </c:pt>
                <c:pt idx="36">
                  <c:v>1201.3023</c:v>
                </c:pt>
                <c:pt idx="37">
                  <c:v>504.3491</c:v>
                </c:pt>
                <c:pt idx="38">
                  <c:v>1145.3012</c:v>
                </c:pt>
                <c:pt idx="39">
                  <c:v>786.7193</c:v>
                </c:pt>
                <c:pt idx="40">
                  <c:v>514.5122</c:v>
                </c:pt>
                <c:pt idx="41">
                  <c:v>531.871</c:v>
                </c:pt>
                <c:pt idx="42">
                  <c:v>1616.7265</c:v>
                </c:pt>
                <c:pt idx="43">
                  <c:v>613.6877</c:v>
                </c:pt>
                <c:pt idx="44">
                  <c:v>1147.415</c:v>
                </c:pt>
                <c:pt idx="45">
                  <c:v>545.0351</c:v>
                </c:pt>
                <c:pt idx="46">
                  <c:v>960.1974</c:v>
                </c:pt>
                <c:pt idx="47">
                  <c:v>518.6111</c:v>
                </c:pt>
                <c:pt idx="48">
                  <c:v>497.134</c:v>
                </c:pt>
                <c:pt idx="49">
                  <c:v>472.6111</c:v>
                </c:pt>
                <c:pt idx="50">
                  <c:v>1929.1739</c:v>
                </c:pt>
                <c:pt idx="51">
                  <c:v>1167.8283</c:v>
                </c:pt>
                <c:pt idx="52">
                  <c:v>1918.1947</c:v>
                </c:pt>
                <c:pt idx="53">
                  <c:v>787.7959</c:v>
                </c:pt>
                <c:pt idx="54">
                  <c:v>850.2688</c:v>
                </c:pt>
                <c:pt idx="55">
                  <c:v>1630.1809</c:v>
                </c:pt>
                <c:pt idx="56">
                  <c:v>823.5212</c:v>
                </c:pt>
                <c:pt idx="57">
                  <c:v>916.5197</c:v>
                </c:pt>
                <c:pt idx="58">
                  <c:v>500.1158</c:v>
                </c:pt>
                <c:pt idx="59">
                  <c:v>1219.3356</c:v>
                </c:pt>
                <c:pt idx="60">
                  <c:v>1167.7466</c:v>
                </c:pt>
                <c:pt idx="61">
                  <c:v>738.4545</c:v>
                </c:pt>
                <c:pt idx="62">
                  <c:v>1061.0833</c:v>
                </c:pt>
                <c:pt idx="63">
                  <c:v>2225.5556</c:v>
                </c:pt>
                <c:pt idx="64">
                  <c:v>923.6452</c:v>
                </c:pt>
                <c:pt idx="65">
                  <c:v>1018.5103</c:v>
                </c:pt>
                <c:pt idx="66">
                  <c:v>504.7778</c:v>
                </c:pt>
                <c:pt idx="67">
                  <c:v>3820.3333</c:v>
                </c:pt>
                <c:pt idx="68">
                  <c:v>1922.1304</c:v>
                </c:pt>
                <c:pt idx="69">
                  <c:v>1730.0</c:v>
                </c:pt>
              </c:numCache>
            </c:numRef>
          </c:xVal>
          <c:yVal>
            <c:numRef>
              <c:f>Sheet1!$B$2:$B$71</c:f>
              <c:numCache>
                <c:formatCode>General</c:formatCode>
                <c:ptCount val="70"/>
                <c:pt idx="0">
                  <c:v>0.1430472388556221</c:v>
                </c:pt>
                <c:pt idx="1">
                  <c:v>0.16554054054054054</c:v>
                </c:pt>
                <c:pt idx="2">
                  <c:v>0.13806706114398423</c:v>
                </c:pt>
                <c:pt idx="3">
                  <c:v>0.18840579710144928</c:v>
                </c:pt>
                <c:pt idx="4">
                  <c:v>0.020361990950226245</c:v>
                </c:pt>
                <c:pt idx="5">
                  <c:v>0.7960526315789473</c:v>
                </c:pt>
                <c:pt idx="6">
                  <c:v>0.21818181818181817</c:v>
                </c:pt>
                <c:pt idx="7">
                  <c:v>0.19254658385093168</c:v>
                </c:pt>
                <c:pt idx="8">
                  <c:v>0.08879492600422834</c:v>
                </c:pt>
                <c:pt idx="9">
                  <c:v>0.2970430107526882</c:v>
                </c:pt>
                <c:pt idx="10">
                  <c:v>0.11940298507462686</c:v>
                </c:pt>
                <c:pt idx="11">
                  <c:v>0.2711864406779661</c:v>
                </c:pt>
                <c:pt idx="12">
                  <c:v>0.5182926829268293</c:v>
                </c:pt>
                <c:pt idx="13">
                  <c:v>0.2066115702479339</c:v>
                </c:pt>
                <c:pt idx="14">
                  <c:v>0.2389937106918239</c:v>
                </c:pt>
                <c:pt idx="15">
                  <c:v>0.17901234567901234</c:v>
                </c:pt>
                <c:pt idx="16">
                  <c:v>0.16</c:v>
                </c:pt>
                <c:pt idx="17">
                  <c:v>0.38926174496644295</c:v>
                </c:pt>
                <c:pt idx="18">
                  <c:v>0.5154894671623296</c:v>
                </c:pt>
                <c:pt idx="19">
                  <c:v>0.016129032258064516</c:v>
                </c:pt>
                <c:pt idx="20">
                  <c:v>0.06712962962962964</c:v>
                </c:pt>
                <c:pt idx="21">
                  <c:v>0.18609022556390978</c:v>
                </c:pt>
                <c:pt idx="22">
                  <c:v>0.3559670781893004</c:v>
                </c:pt>
                <c:pt idx="23">
                  <c:v>0.09129511677282377</c:v>
                </c:pt>
                <c:pt idx="24">
                  <c:v>0.3784313725490196</c:v>
                </c:pt>
                <c:pt idx="25">
                  <c:v>0.3148148148148148</c:v>
                </c:pt>
                <c:pt idx="26">
                  <c:v>0.1527293844367015</c:v>
                </c:pt>
                <c:pt idx="27">
                  <c:v>0.38224852071005916</c:v>
                </c:pt>
                <c:pt idx="28">
                  <c:v>0.23139653414882771</c:v>
                </c:pt>
                <c:pt idx="29">
                  <c:v>0.24287974683544303</c:v>
                </c:pt>
                <c:pt idx="30">
                  <c:v>0.28248222365869424</c:v>
                </c:pt>
                <c:pt idx="31">
                  <c:v>0.35880077369439073</c:v>
                </c:pt>
                <c:pt idx="32">
                  <c:v>0.10413223140495868</c:v>
                </c:pt>
                <c:pt idx="33">
                  <c:v>0.089540412044374</c:v>
                </c:pt>
                <c:pt idx="34">
                  <c:v>0.12537612838515547</c:v>
                </c:pt>
                <c:pt idx="35">
                  <c:v>0.423956931359354</c:v>
                </c:pt>
                <c:pt idx="36">
                  <c:v>0.24022346368715083</c:v>
                </c:pt>
                <c:pt idx="37">
                  <c:v>0.343042071197411</c:v>
                </c:pt>
                <c:pt idx="38">
                  <c:v>0.22133333333333333</c:v>
                </c:pt>
                <c:pt idx="39">
                  <c:v>0.2780487804878049</c:v>
                </c:pt>
                <c:pt idx="40">
                  <c:v>0.4039408866995074</c:v>
                </c:pt>
                <c:pt idx="41">
                  <c:v>0.2831050228310502</c:v>
                </c:pt>
                <c:pt idx="42">
                  <c:v>0.2846715328467153</c:v>
                </c:pt>
                <c:pt idx="43">
                  <c:v>0.46568627450980393</c:v>
                </c:pt>
                <c:pt idx="44">
                  <c:v>0.4157608695652174</c:v>
                </c:pt>
                <c:pt idx="45">
                  <c:v>0.27305389221556886</c:v>
                </c:pt>
                <c:pt idx="46">
                  <c:v>0.37530864197530867</c:v>
                </c:pt>
                <c:pt idx="47">
                  <c:v>0.030560271646859084</c:v>
                </c:pt>
                <c:pt idx="48">
                  <c:v>0.13976945244956773</c:v>
                </c:pt>
                <c:pt idx="49">
                  <c:v>0.04699738903394256</c:v>
                </c:pt>
                <c:pt idx="50">
                  <c:v>0.17087667161961367</c:v>
                </c:pt>
                <c:pt idx="51">
                  <c:v>0.2858517805582291</c:v>
                </c:pt>
                <c:pt idx="52">
                  <c:v>0.24726477024070023</c:v>
                </c:pt>
                <c:pt idx="53">
                  <c:v>0.32666666666666666</c:v>
                </c:pt>
                <c:pt idx="54">
                  <c:v>0.22682926829268293</c:v>
                </c:pt>
                <c:pt idx="55">
                  <c:v>0.10755148741418764</c:v>
                </c:pt>
                <c:pt idx="56">
                  <c:v>0.30930537352555704</c:v>
                </c:pt>
                <c:pt idx="57">
                  <c:v>0.5105708245243129</c:v>
                </c:pt>
                <c:pt idx="58">
                  <c:v>0.14053254437869822</c:v>
                </c:pt>
                <c:pt idx="59">
                  <c:v>0.2050561797752809</c:v>
                </c:pt>
                <c:pt idx="60">
                  <c:v>0.24172185430463577</c:v>
                </c:pt>
                <c:pt idx="61">
                  <c:v>0.030942334739803096</c:v>
                </c:pt>
                <c:pt idx="62">
                  <c:v>0.02027027027027027</c:v>
                </c:pt>
                <c:pt idx="63">
                  <c:v>0.013452914798206279</c:v>
                </c:pt>
                <c:pt idx="64">
                  <c:v>0.125</c:v>
                </c:pt>
                <c:pt idx="65">
                  <c:v>0.11001517450682853</c:v>
                </c:pt>
                <c:pt idx="66">
                  <c:v>0.045454545454545456</c:v>
                </c:pt>
                <c:pt idx="67">
                  <c:v>0.003278688524590164</c:v>
                </c:pt>
                <c:pt idx="68">
                  <c:v>0.049783549783549784</c:v>
                </c:pt>
                <c:pt idx="69">
                  <c:v>0.005063291139240506</c:v>
                </c:pt>
              </c:numCache>
            </c:numRef>
          </c:yVal>
          <c:smooth val="0"/>
          <c:extLst>
            <c:ext xmlns:c16="http://schemas.microsoft.com/office/drawing/2014/chart" uri="{C3380CC4-5D6E-409C-BE32-E72D297353CC}">
              <c16:uniqueId val="{00000000-F32D-48B7-BC20-E66FC6253BAD}"/>
            </c:ext>
          </c:extLst>
        </c:ser>
        <c:ser>
          <c:idx val="1"/>
          <c:order val="1"/>
          <c:tx>
            <c:strRef>
              <c:f>Sheet1!$B$7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4:$A$95</c:f>
              <c:numCache>
                <c:formatCode>General</c:formatCode>
                <c:ptCount val="22"/>
                <c:pt idx="0">
                  <c:v>1165.7669</c:v>
                </c:pt>
                <c:pt idx="1">
                  <c:v>1143.5882</c:v>
                </c:pt>
                <c:pt idx="2">
                  <c:v>2284.5</c:v>
                </c:pt>
                <c:pt idx="3">
                  <c:v>960.6471</c:v>
                </c:pt>
                <c:pt idx="4">
                  <c:v>4469.75</c:v>
                </c:pt>
                <c:pt idx="5">
                  <c:v>1082.3739</c:v>
                </c:pt>
                <c:pt idx="6">
                  <c:v>1037.4556</c:v>
                </c:pt>
                <c:pt idx="7">
                  <c:v>1203.175</c:v>
                </c:pt>
                <c:pt idx="8">
                  <c:v>1018.5574</c:v>
                </c:pt>
                <c:pt idx="9">
                  <c:v>1017.831</c:v>
                </c:pt>
                <c:pt idx="10">
                  <c:v>643.1667</c:v>
                </c:pt>
                <c:pt idx="11">
                  <c:v>1224.1778</c:v>
                </c:pt>
                <c:pt idx="12">
                  <c:v>1495.7419</c:v>
                </c:pt>
                <c:pt idx="13">
                  <c:v>1634.1379</c:v>
                </c:pt>
                <c:pt idx="14">
                  <c:v>2379.0</c:v>
                </c:pt>
                <c:pt idx="15">
                  <c:v>1219.2372</c:v>
                </c:pt>
                <c:pt idx="16">
                  <c:v>3215.5</c:v>
                </c:pt>
                <c:pt idx="17">
                  <c:v>1608.8571</c:v>
                </c:pt>
                <c:pt idx="18">
                  <c:v>1543.7857</c:v>
                </c:pt>
                <c:pt idx="19">
                  <c:v>3721.7273</c:v>
                </c:pt>
                <c:pt idx="20">
                  <c:v>694.1333</c:v>
                </c:pt>
                <c:pt idx="21">
                  <c:v>1046.025</c:v>
                </c:pt>
              </c:numCache>
            </c:numRef>
          </c:xVal>
          <c:yVal>
            <c:numRef>
              <c:f>Sheet1!$B$74:$B$95</c:f>
              <c:numCache>
                <c:formatCode>General</c:formatCode>
                <c:ptCount val="22"/>
                <c:pt idx="0">
                  <c:v>0.1543560606060606</c:v>
                </c:pt>
                <c:pt idx="1">
                  <c:v>0.02135678391959799</c:v>
                </c:pt>
                <c:pt idx="2">
                  <c:v>0.013710368466152529</c:v>
                </c:pt>
                <c:pt idx="3">
                  <c:v>0.18888888888888888</c:v>
                </c:pt>
                <c:pt idx="4">
                  <c:v>0.029850746268656716</c:v>
                </c:pt>
                <c:pt idx="5">
                  <c:v>0.28117359413202936</c:v>
                </c:pt>
                <c:pt idx="6">
                  <c:v>0.582312925170068</c:v>
                </c:pt>
                <c:pt idx="7">
                  <c:v>0.13179571663920922</c:v>
                </c:pt>
                <c:pt idx="8">
                  <c:v>0.2982885085574572</c:v>
                </c:pt>
                <c:pt idx="9">
                  <c:v>0.544766708701135</c:v>
                </c:pt>
                <c:pt idx="10">
                  <c:v>0.00949367088607595</c:v>
                </c:pt>
                <c:pt idx="11">
                  <c:v>0.10948905109489052</c:v>
                </c:pt>
                <c:pt idx="12">
                  <c:v>0.11191335740072202</c:v>
                </c:pt>
                <c:pt idx="13">
                  <c:v>0.2049469964664311</c:v>
                </c:pt>
                <c:pt idx="14">
                  <c:v>0.006430868167202572</c:v>
                </c:pt>
                <c:pt idx="15">
                  <c:v>0.2948960302457467</c:v>
                </c:pt>
                <c:pt idx="16">
                  <c:v>0.008368200836820083</c:v>
                </c:pt>
                <c:pt idx="17">
                  <c:v>0.0412573673870334</c:v>
                </c:pt>
                <c:pt idx="18">
                  <c:v>0.025547445255474453</c:v>
                </c:pt>
                <c:pt idx="19">
                  <c:v>0.03206997084548105</c:v>
                </c:pt>
                <c:pt idx="20">
                  <c:v>0.05190311418685121</c:v>
                </c:pt>
                <c:pt idx="21">
                  <c:v>0.1553398058252427</c:v>
                </c:pt>
              </c:numCache>
            </c:numRef>
          </c:yVal>
          <c:smooth val="0"/>
          <c:extLst>
            <c:ext xmlns:c16="http://schemas.microsoft.com/office/drawing/2014/chart" uri="{C3380CC4-5D6E-409C-BE32-E72D297353CC}">
              <c16:uniqueId val="{00000002-F32D-48B7-BC20-E66FC6253BAD}"/>
            </c:ext>
          </c:extLst>
        </c:ser>
        <c:ser>
          <c:idx val="2"/>
          <c:order val="2"/>
          <c:tx>
            <c:strRef>
              <c:f>Sheet1!$B$97</c:f>
              <c:strCache>
                <c:ptCount val="1"/>
                <c:pt idx="0">
                  <c:v>Custom Linep3yQ</c:v>
                </c:pt>
              </c:strCache>
            </c:strRef>
          </c:tx>
          <c:spPr>
            <a:ln w="19050" cap="rnd">
              <a:solidFill>
                <a:srgbClr val="C00000"/>
              </a:solidFill>
              <a:prstDash val="sysDot"/>
              <a:round/>
            </a:ln>
            <a:effectLst/>
          </c:spPr>
          <c:marker>
            <c:symbol val="none"/>
          </c:marker>
          <c:xVal>
            <c:numRef>
              <c:f>Sheet1!$A$98:$A$99</c:f>
              <c:numCache>
                <c:formatCode>General</c:formatCode>
                <c:ptCount val="2"/>
                <c:pt idx="0">
                  <c:v>0</c:v>
                </c:pt>
                <c:pt idx="1">
                  <c:v>-51.74251278390936</c:v>
                </c:pt>
              </c:numCache>
            </c:numRef>
          </c:xVal>
          <c:yVal>
            <c:numRef>
              <c:f>Sheet1!$B$98:$B$99</c:f>
              <c:numCache>
                <c:formatCode>General</c:formatCode>
                <c:ptCount val="2"/>
                <c:pt idx="0">
                  <c:v>0.26398164049008</c:v>
                </c:pt>
                <c:pt idx="1">
                  <c:v>0.26398164049008</c:v>
                </c:pt>
              </c:numCache>
            </c:numRef>
          </c:yVal>
          <c:smooth val="0"/>
          <c:extLst>
            <c:ext xmlns:c16="http://schemas.microsoft.com/office/drawing/2014/chart" uri="{C3380CC4-5D6E-409C-BE32-E72D297353CC}">
              <c16:uniqueId val="{00000003-F32D-48B7-BC20-E66FC6253BAD}"/>
            </c:ext>
          </c:extLst>
        </c:ser>
        <c:ser>
          <c:idx val="3"/>
          <c:order val="3"/>
          <c:tx>
            <c:strRef>
              <c:f>Sheet1!$B$10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2:$A$103</c:f>
              <c:numCache>
                <c:formatCode>General</c:formatCode>
                <c:ptCount val="2"/>
                <c:pt idx="0">
                  <c:v>-51.74251278390936</c:v>
                </c:pt>
                <c:pt idx="1">
                  <c:v>-51.74251278390936</c:v>
                </c:pt>
              </c:numCache>
            </c:numRef>
          </c:xVal>
          <c:yVal>
            <c:numRef>
              <c:f>Sheet1!$B$102:$B$103</c:f>
              <c:numCache>
                <c:formatCode>General</c:formatCode>
                <c:ptCount val="2"/>
                <c:pt idx="0">
                  <c:v>0.2639816404900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06:$A$107</c:f>
              <c:numCache>
                <c:formatCode>General</c:formatCode>
                <c:ptCount val="2"/>
                <c:pt idx="0">
                  <c:v>0</c:v>
                </c:pt>
                <c:pt idx="1">
                  <c:v>26.69561187489261</c:v>
                </c:pt>
              </c:numCache>
            </c:numRef>
          </c:xVal>
          <c:yVal>
            <c:numRef>
              <c:f>Sheet1!$B$106:$B$107</c:f>
              <c:numCache>
                <c:formatCode>General</c:formatCode>
                <c:ptCount val="2"/>
                <c:pt idx="0">
                  <c:v>0.2586541915726984</c:v>
                </c:pt>
                <c:pt idx="1">
                  <c:v>0.2586541915726984</c:v>
                </c:pt>
              </c:numCache>
            </c:numRef>
          </c:yVal>
          <c:smooth val="0"/>
          <c:extLst>
            <c:ext xmlns:c16="http://schemas.microsoft.com/office/drawing/2014/chart" uri="{C3380CC4-5D6E-409C-BE32-E72D297353CC}">
              <c16:uniqueId val="{0000000A-F32D-48B7-BC20-E66FC6253BAD}"/>
            </c:ext>
          </c:extLst>
        </c:ser>
        <c:ser>
          <c:idx val="5"/>
          <c:order val="5"/>
          <c:tx>
            <c:strRef>
              <c:f>Sheet1!$B$10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0:$A$111</c:f>
              <c:numCache>
                <c:formatCode>General</c:formatCode>
                <c:ptCount val="2"/>
                <c:pt idx="0">
                  <c:v>26.69561187489261</c:v>
                </c:pt>
                <c:pt idx="1">
                  <c:v>26.69561187489261</c:v>
                </c:pt>
              </c:numCache>
            </c:numRef>
          </c:xVal>
          <c:yVal>
            <c:numRef>
              <c:f>Sheet1!$B$110:$B$111</c:f>
              <c:numCache>
                <c:formatCode>General</c:formatCode>
                <c:ptCount val="2"/>
                <c:pt idx="0">
                  <c:v>0.25865419157269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4:$A$115</c:f>
              <c:numCache>
                <c:formatCode>General</c:formatCode>
                <c:ptCount val="2"/>
                <c:pt idx="0">
                  <c:v>0</c:v>
                </c:pt>
                <c:pt idx="1">
                  <c:v>2860.052241077077</c:v>
                </c:pt>
              </c:numCache>
            </c:numRef>
          </c:xVal>
          <c:yVal>
            <c:numRef>
              <c:f>Sheet1!$B$114:$B$115</c:f>
              <c:numCache>
                <c:formatCode>General</c:formatCode>
                <c:ptCount val="2"/>
                <c:pt idx="0">
                  <c:v>0.06621508402826234</c:v>
                </c:pt>
                <c:pt idx="1">
                  <c:v>0.06621508402826234</c:v>
                </c:pt>
              </c:numCache>
            </c:numRef>
          </c:yVal>
          <c:smooth val="0"/>
          <c:extLst>
            <c:ext xmlns:c16="http://schemas.microsoft.com/office/drawing/2014/chart" uri="{C3380CC4-5D6E-409C-BE32-E72D297353CC}">
              <c16:uniqueId val="{00000011-F32D-48B7-BC20-E66FC6253BAD}"/>
            </c:ext>
          </c:extLst>
        </c:ser>
        <c:ser>
          <c:idx val="7"/>
          <c:order val="7"/>
          <c:tx>
            <c:strRef>
              <c:f>Sheet1!$B$11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8:$A$119</c:f>
              <c:numCache>
                <c:formatCode>General</c:formatCode>
                <c:ptCount val="2"/>
                <c:pt idx="0">
                  <c:v>2860.052241077077</c:v>
                </c:pt>
                <c:pt idx="1">
                  <c:v>2860.052241077077</c:v>
                </c:pt>
              </c:numCache>
            </c:numRef>
          </c:xVal>
          <c:yVal>
            <c:numRef>
              <c:f>Sheet1!$B$118:$B$119</c:f>
              <c:numCache>
                <c:formatCode>General</c:formatCode>
                <c:ptCount val="2"/>
                <c:pt idx="0">
                  <c:v>0.0662150840282623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2:$A$146</c:f>
              <c:numCache>
                <c:formatCode>General</c:formatCode>
                <c:ptCount val="25"/>
                <c:pt idx="0">
                  <c:v>1165.7669</c:v>
                </c:pt>
                <c:pt idx="1">
                  <c:v>1143.5882</c:v>
                </c:pt>
                <c:pt idx="2">
                  <c:v>2284.5</c:v>
                </c:pt>
                <c:pt idx="3">
                  <c:v>960.6471</c:v>
                </c:pt>
                <c:pt idx="4">
                  <c:v>4469.75</c:v>
                </c:pt>
                <c:pt idx="5">
                  <c:v>1082.3739</c:v>
                </c:pt>
                <c:pt idx="6">
                  <c:v>1037.4556</c:v>
                </c:pt>
                <c:pt idx="7">
                  <c:v>1203.175</c:v>
                </c:pt>
                <c:pt idx="8">
                  <c:v>1018.5574</c:v>
                </c:pt>
                <c:pt idx="9">
                  <c:v>1017.831</c:v>
                </c:pt>
                <c:pt idx="10">
                  <c:v>643.1667</c:v>
                </c:pt>
                <c:pt idx="11">
                  <c:v>1224.1778</c:v>
                </c:pt>
                <c:pt idx="12">
                  <c:v>1495.7419</c:v>
                </c:pt>
                <c:pt idx="13">
                  <c:v>1634.1379</c:v>
                </c:pt>
                <c:pt idx="14">
                  <c:v>2379.0</c:v>
                </c:pt>
                <c:pt idx="15">
                  <c:v>1219.2372</c:v>
                </c:pt>
                <c:pt idx="16">
                  <c:v>3215.5</c:v>
                </c:pt>
                <c:pt idx="17">
                  <c:v>1608.8571</c:v>
                </c:pt>
                <c:pt idx="18">
                  <c:v>1543.7857</c:v>
                </c:pt>
                <c:pt idx="19">
                  <c:v>3721.7273</c:v>
                </c:pt>
                <c:pt idx="20">
                  <c:v>694.1333</c:v>
                </c:pt>
                <c:pt idx="21">
                  <c:v>1046.025</c:v>
                </c:pt>
                <c:pt idx="22">
                  <c:v>26.69561187489261</c:v>
                </c:pt>
                <c:pt idx="23">
                  <c:v>-51.74251278390936</c:v>
                </c:pt>
                <c:pt idx="24">
                  <c:v>2860.052241077077</c:v>
                </c:pt>
              </c:numCache>
            </c:numRef>
          </c:xVal>
          <c:yVal>
            <c:numRef>
              <c:f>Sheet1!$B$122:$B$146</c:f>
              <c:numCache>
                <c:formatCode>General</c:formatCode>
                <c:ptCount val="25"/>
                <c:pt idx="0">
                  <c:v>0.18128946457113854</c:v>
                </c:pt>
                <c:pt idx="1">
                  <c:v>0.1827958225038135</c:v>
                </c:pt>
                <c:pt idx="2">
                  <c:v>0.10530608954325119</c:v>
                </c:pt>
                <c:pt idx="3">
                  <c:v>0.1952210222313573</c:v>
                </c:pt>
                <c:pt idx="4">
                  <c:v>-0.04311418181520854</c:v>
                </c:pt>
                <c:pt idx="5">
                  <c:v>0.18695344429400595</c:v>
                </c:pt>
                <c:pt idx="6">
                  <c:v>0.1900042559974544</c:v>
                </c:pt>
                <c:pt idx="7">
                  <c:v>0.17874873909212957</c:v>
                </c:pt>
                <c:pt idx="8">
                  <c:v>0.19128780523538436</c:v>
                </c:pt>
                <c:pt idx="9">
                  <c:v>0.1913371416889319</c:v>
                </c:pt>
                <c:pt idx="10">
                  <c:v>0.2167840137055558</c:v>
                </c:pt>
                <c:pt idx="11">
                  <c:v>0.1773222472603998</c:v>
                </c:pt>
                <c:pt idx="12">
                  <c:v>0.15887785077797634</c:v>
                </c:pt>
                <c:pt idx="13">
                  <c:v>0.14947811533584138</c:v>
                </c:pt>
                <c:pt idx="14">
                  <c:v>0.09888773208146218</c:v>
                </c:pt>
                <c:pt idx="15">
                  <c:v>0.17765780849717985</c:v>
                </c:pt>
                <c:pt idx="16">
                  <c:v>0.04207338269747793</c:v>
                </c:pt>
                <c:pt idx="17">
                  <c:v>0.15119516519107945</c:v>
                </c:pt>
                <c:pt idx="18">
                  <c:v>0.15561475784440282</c:v>
                </c:pt>
                <c:pt idx="19">
                  <c:v>0.007690866630638726</c:v>
                </c:pt>
                <c:pt idx="20">
                  <c:v>0.21332240674881492</c:v>
                </c:pt>
                <c:pt idx="21">
                  <c:v>0.18942222983414164</c:v>
                </c:pt>
                <c:pt idx="22">
                  <c:v>0.2586541915726984</c:v>
                </c:pt>
                <c:pt idx="23">
                  <c:v>0.26398164049008</c:v>
                </c:pt>
                <c:pt idx="24">
                  <c:v>0.066215084028262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36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552631578947368"/>
          <c:min val="0.00262295081967213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c:f>
              <c:numCache>
                <c:formatCode>General</c:formatCode>
                <c:ptCount val="6"/>
                <c:pt idx="0">
                  <c:v>1.090065208488093</c:v>
                </c:pt>
                <c:pt idx="1">
                  <c:v>1.173144798046696</c:v>
                </c:pt>
                <c:pt idx="2">
                  <c:v>1.3293770860450165</c:v>
                </c:pt>
                <c:pt idx="3">
                  <c:v>1.4913036915067515</c:v>
                </c:pt>
                <c:pt idx="4">
                  <c:v>1.312644350583748</c:v>
                </c:pt>
                <c:pt idx="5">
                  <c:v>0.8393814668077446</c:v>
                </c:pt>
              </c:numCache>
            </c:numRef>
          </c:xVal>
          <c:yVal>
            <c:numRef>
              <c:f>Sheet1!$B$2:$B$7</c:f>
              <c:numCache>
                <c:formatCode>General</c:formatCode>
                <c:ptCount val="6"/>
                <c:pt idx="0">
                  <c:v>0.006666666666666667</c:v>
                </c:pt>
                <c:pt idx="1">
                  <c:v>0.0049261083743842365</c:v>
                </c:pt>
                <c:pt idx="2">
                  <c:v>0.007299270072992700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096C-4121-9522-6AB7243CCAAE}"/>
            </c:ext>
          </c:extLst>
        </c:ser>
        <c:ser>
          <c:idx val="1"/>
          <c:order val="1"/>
          <c:tx>
            <c:strRef>
              <c:f>Sheet1!$B$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A$11</c:f>
              <c:numCache>
                <c:formatCode>General</c:formatCode>
                <c:ptCount val="2"/>
                <c:pt idx="0">
                  <c:v>0.8507482758215444</c:v>
                </c:pt>
                <c:pt idx="1">
                  <c:v>0.6765779675557466</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096C-4121-9522-6AB7243CCAAE}"/>
            </c:ext>
          </c:extLst>
        </c:ser>
        <c:ser>
          <c:idx val="2"/>
          <c:order val="2"/>
          <c:tx>
            <c:strRef>
              <c:f>Sheet1!$B$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A$15</c:f>
              <c:numCache>
                <c:formatCode>General</c:formatCode>
                <c:ptCount val="2"/>
                <c:pt idx="0">
                  <c:v>0</c:v>
                </c:pt>
                <c:pt idx="1">
                  <c:v>0.6765779675557465</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5-096C-4121-9522-6AB7243CCAAE}"/>
            </c:ext>
          </c:extLst>
        </c:ser>
        <c:ser>
          <c:idx val="3"/>
          <c:order val="3"/>
          <c:tx>
            <c:strRef>
              <c:f>Sheet1!$B$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A$19</c:f>
              <c:numCache>
                <c:formatCode>General</c:formatCode>
                <c:ptCount val="2"/>
                <c:pt idx="0">
                  <c:v>0.6765779675557465</c:v>
                </c:pt>
                <c:pt idx="1">
                  <c:v>0.6765779675557465</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2:$A$23</c:f>
              <c:numCache>
                <c:formatCode>General</c:formatCode>
                <c:ptCount val="2"/>
                <c:pt idx="0">
                  <c:v>0</c:v>
                </c:pt>
                <c:pt idx="1">
                  <c:v>0.6765779675557465</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D-096C-4121-9522-6AB7243CCAAE}"/>
            </c:ext>
          </c:extLst>
        </c:ser>
        <c:ser>
          <c:idx val="5"/>
          <c:order val="5"/>
          <c:tx>
            <c:strRef>
              <c:f>Sheet1!$B$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0.6765779675557465</c:v>
                </c:pt>
                <c:pt idx="1">
                  <c:v>0.6765779675557465</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9</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0:$A$34</c:f>
              <c:numCache>
                <c:formatCode>General</c:formatCode>
                <c:ptCount val="5"/>
                <c:pt idx="0">
                  <c:v>0.8507482758215444</c:v>
                </c:pt>
                <c:pt idx="1">
                  <c:v>0.6765779675557466</c:v>
                </c:pt>
                <c:pt idx="2">
                  <c:v>0.6765779675557465</c:v>
                </c:pt>
                <c:pt idx="3">
                  <c:v>0.6765779675557465</c:v>
                </c:pt>
                <c:pt idx="4">
                  <c:v>0</c:v>
                </c:pt>
              </c:numCache>
            </c:numRef>
          </c:xVal>
          <c:yVal>
            <c:numRef>
              <c:f>Sheet1!$B$30:$B$34</c:f>
              <c:numCache>
                <c:formatCode>General</c:formatCode>
                <c:ptCount val="5"/>
                <c:pt idx="0">
                  <c:v>0.005454545454545462</c:v>
                </c:pt>
                <c:pt idx="1">
                  <c:v>0.0101010101010101</c:v>
                </c:pt>
                <c:pt idx="2">
                  <c:v>0.010101010101010104</c:v>
                </c:pt>
                <c:pt idx="3">
                  <c:v>0.010101010101010104</c:v>
                </c:pt>
                <c:pt idx="4">
                  <c:v>0.02815055963747383</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c:f>
              <c:numCache>
                <c:formatCode>General</c:formatCode>
                <c:ptCount val="6"/>
                <c:pt idx="0">
                  <c:v>2326.0</c:v>
                </c:pt>
                <c:pt idx="1">
                  <c:v>1970.0</c:v>
                </c:pt>
                <c:pt idx="2">
                  <c:v>1927.6667</c:v>
                </c:pt>
                <c:pt idx="3">
                  <c:v>2306.8</c:v>
                </c:pt>
                <c:pt idx="4">
                  <c:v>1859.6667</c:v>
                </c:pt>
                <c:pt idx="5">
                  <c:v>1772.0</c:v>
                </c:pt>
              </c:numCache>
            </c:numRef>
          </c:xVal>
          <c:yVal>
            <c:numRef>
              <c:f>Sheet1!$B$2:$B$7</c:f>
              <c:numCache>
                <c:formatCode>General</c:formatCode>
                <c:ptCount val="6"/>
                <c:pt idx="0">
                  <c:v>0.006666666666666667</c:v>
                </c:pt>
                <c:pt idx="1">
                  <c:v>0.0049261083743842365</c:v>
                </c:pt>
                <c:pt idx="2">
                  <c:v>0.007299270072992700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F32D-48B7-BC20-E66FC6253BAD}"/>
            </c:ext>
          </c:extLst>
        </c:ser>
        <c:ser>
          <c:idx val="1"/>
          <c:order val="1"/>
          <c:tx>
            <c:strRef>
              <c:f>Sheet1!$B$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A$11</c:f>
              <c:numCache>
                <c:formatCode>General</c:formatCode>
                <c:ptCount val="2"/>
                <c:pt idx="0">
                  <c:v>1715.6667</c:v>
                </c:pt>
                <c:pt idx="1">
                  <c:v>876.6667</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F32D-48B7-BC20-E66FC6253BAD}"/>
            </c:ext>
          </c:extLst>
        </c:ser>
        <c:ser>
          <c:idx val="2"/>
          <c:order val="2"/>
          <c:tx>
            <c:strRef>
              <c:f>Sheet1!$B$13</c:f>
              <c:strCache>
                <c:ptCount val="1"/>
                <c:pt idx="0">
                  <c:v>Custom Linep3yQ</c:v>
                </c:pt>
              </c:strCache>
            </c:strRef>
          </c:tx>
          <c:spPr>
            <a:ln w="19050" cap="rnd">
              <a:solidFill>
                <a:srgbClr val="C00000"/>
              </a:solidFill>
              <a:prstDash val="sysDot"/>
              <a:round/>
            </a:ln>
            <a:effectLst/>
          </c:spPr>
          <c:marker>
            <c:symbol val="none"/>
          </c:marker>
          <c:xVal>
            <c:numRef>
              <c:f>Sheet1!$A$14:$A$15</c:f>
              <c:numCache>
                <c:formatCode>General</c:formatCode>
                <c:ptCount val="2"/>
                <c:pt idx="0">
                  <c:v>0</c:v>
                </c:pt>
                <c:pt idx="1">
                  <c:v>876.6666999999995</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3-F32D-48B7-BC20-E66FC6253BAD}"/>
            </c:ext>
          </c:extLst>
        </c:ser>
        <c:ser>
          <c:idx val="3"/>
          <c:order val="3"/>
          <c:tx>
            <c:strRef>
              <c:f>Sheet1!$B$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A$19</c:f>
              <c:numCache>
                <c:formatCode>General</c:formatCode>
                <c:ptCount val="2"/>
                <c:pt idx="0">
                  <c:v>876.6666999999995</c:v>
                </c:pt>
                <c:pt idx="1">
                  <c:v>876.6666999999995</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2:$A$23</c:f>
              <c:numCache>
                <c:formatCode>General</c:formatCode>
                <c:ptCount val="2"/>
                <c:pt idx="0">
                  <c:v>0</c:v>
                </c:pt>
                <c:pt idx="1">
                  <c:v>876.6666999999995</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A-F32D-48B7-BC20-E66FC6253BAD}"/>
            </c:ext>
          </c:extLst>
        </c:ser>
        <c:ser>
          <c:idx val="5"/>
          <c:order val="5"/>
          <c:tx>
            <c:strRef>
              <c:f>Sheet1!$B$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876.6666999999995</c:v>
                </c:pt>
                <c:pt idx="1">
                  <c:v>876.6666999999995</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9</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0:$A$34</c:f>
              <c:numCache>
                <c:formatCode>General</c:formatCode>
                <c:ptCount val="5"/>
                <c:pt idx="0">
                  <c:v>1715.6667</c:v>
                </c:pt>
                <c:pt idx="1">
                  <c:v>876.6667</c:v>
                </c:pt>
                <c:pt idx="2">
                  <c:v>876.6666999999995</c:v>
                </c:pt>
                <c:pt idx="3">
                  <c:v>876.6666999999995</c:v>
                </c:pt>
                <c:pt idx="4">
                  <c:v>0</c:v>
                </c:pt>
              </c:numCache>
            </c:numRef>
          </c:xVal>
          <c:yVal>
            <c:numRef>
              <c:f>Sheet1!$B$30:$B$34</c:f>
              <c:numCache>
                <c:formatCode>General</c:formatCode>
                <c:ptCount val="5"/>
                <c:pt idx="0">
                  <c:v>0.0054545454545454515</c:v>
                </c:pt>
                <c:pt idx="1">
                  <c:v>0.0101010101010101</c:v>
                </c:pt>
                <c:pt idx="2">
                  <c:v>0.010101010101010102</c:v>
                </c:pt>
                <c:pt idx="3">
                  <c:v>0.010101010101010102</c:v>
                </c:pt>
                <c:pt idx="4">
                  <c:v>0.014956076642467583</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9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c:f>
              <c:numCache>
                <c:formatCode>General</c:formatCode>
                <c:ptCount val="6"/>
                <c:pt idx="0">
                  <c:v>1.6344157648746063</c:v>
                </c:pt>
                <c:pt idx="1">
                  <c:v>1.6480022740758282</c:v>
                </c:pt>
                <c:pt idx="2">
                  <c:v>1.8330119777805862</c:v>
                </c:pt>
                <c:pt idx="3">
                  <c:v>1.8521591890195577</c:v>
                </c:pt>
                <c:pt idx="4">
                  <c:v>2.2269659910086297</c:v>
                </c:pt>
                <c:pt idx="5">
                  <c:v>1.5348775367814087</c:v>
                </c:pt>
              </c:numCache>
            </c:numRef>
          </c:xVal>
          <c:yVal>
            <c:numRef>
              <c:f>Sheet1!$B$2:$B$7</c:f>
              <c:numCache>
                <c:formatCode>General</c:formatCode>
                <c:ptCount val="6"/>
                <c:pt idx="0">
                  <c:v>0.006666666666666667</c:v>
                </c:pt>
                <c:pt idx="1">
                  <c:v>0.0049261083743842365</c:v>
                </c:pt>
                <c:pt idx="2">
                  <c:v>0.007299270072992700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096C-4121-9522-6AB7243CCAAE}"/>
            </c:ext>
          </c:extLst>
        </c:ser>
        <c:ser>
          <c:idx val="1"/>
          <c:order val="1"/>
          <c:tx>
            <c:strRef>
              <c:f>Sheet1!$B$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A$11</c:f>
              <c:numCache>
                <c:formatCode>General</c:formatCode>
                <c:ptCount val="2"/>
                <c:pt idx="0">
                  <c:v>1.2864556839395145</c:v>
                </c:pt>
                <c:pt idx="1">
                  <c:v>0.6117647805912676</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096C-4121-9522-6AB7243CCAAE}"/>
            </c:ext>
          </c:extLst>
        </c:ser>
        <c:ser>
          <c:idx val="2"/>
          <c:order val="2"/>
          <c:tx>
            <c:strRef>
              <c:f>Sheet1!$B$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A$15</c:f>
              <c:numCache>
                <c:formatCode>General</c:formatCode>
                <c:ptCount val="2"/>
                <c:pt idx="0">
                  <c:v>0</c:v>
                </c:pt>
                <c:pt idx="1">
                  <c:v>0.6117647805912674</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5-096C-4121-9522-6AB7243CCAAE}"/>
            </c:ext>
          </c:extLst>
        </c:ser>
        <c:ser>
          <c:idx val="3"/>
          <c:order val="3"/>
          <c:tx>
            <c:strRef>
              <c:f>Sheet1!$B$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A$19</c:f>
              <c:numCache>
                <c:formatCode>General</c:formatCode>
                <c:ptCount val="2"/>
                <c:pt idx="0">
                  <c:v>0.6117647805912674</c:v>
                </c:pt>
                <c:pt idx="1">
                  <c:v>0.6117647805912674</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2:$A$23</c:f>
              <c:numCache>
                <c:formatCode>General</c:formatCode>
                <c:ptCount val="2"/>
                <c:pt idx="0">
                  <c:v>0</c:v>
                </c:pt>
                <c:pt idx="1">
                  <c:v>0.6117647805912674</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D-096C-4121-9522-6AB7243CCAAE}"/>
            </c:ext>
          </c:extLst>
        </c:ser>
        <c:ser>
          <c:idx val="5"/>
          <c:order val="5"/>
          <c:tx>
            <c:strRef>
              <c:f>Sheet1!$B$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0.6117647805912674</c:v>
                </c:pt>
                <c:pt idx="1">
                  <c:v>0.6117647805912674</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9</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0:$A$34</c:f>
              <c:numCache>
                <c:formatCode>General</c:formatCode>
                <c:ptCount val="5"/>
                <c:pt idx="0">
                  <c:v>1.2864556839395145</c:v>
                </c:pt>
                <c:pt idx="1">
                  <c:v>0.6117647805912676</c:v>
                </c:pt>
                <c:pt idx="2">
                  <c:v>0.6117647805912674</c:v>
                </c:pt>
                <c:pt idx="3">
                  <c:v>0.6117647805912674</c:v>
                </c:pt>
                <c:pt idx="4">
                  <c:v>0</c:v>
                </c:pt>
              </c:numCache>
            </c:numRef>
          </c:xVal>
          <c:yVal>
            <c:numRef>
              <c:f>Sheet1!$B$30:$B$34</c:f>
              <c:numCache>
                <c:formatCode>General</c:formatCode>
                <c:ptCount val="5"/>
                <c:pt idx="0">
                  <c:v>0.0054545454545454515</c:v>
                </c:pt>
                <c:pt idx="1">
                  <c:v>0.0101010101010101</c:v>
                </c:pt>
                <c:pt idx="2">
                  <c:v>0.010101010101010102</c:v>
                </c:pt>
                <c:pt idx="3">
                  <c:v>0.010101010101010102</c:v>
                </c:pt>
                <c:pt idx="4">
                  <c:v>0.014314114814387756</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34.3125</c:v>
                </c:pt>
                <c:pt idx="1">
                  <c:v>3740.2</c:v>
                </c:pt>
                <c:pt idx="2">
                  <c:v>3175.8333</c:v>
                </c:pt>
                <c:pt idx="3">
                  <c:v>3027.4</c:v>
                </c:pt>
                <c:pt idx="4">
                  <c:v>3982.3333</c:v>
                </c:pt>
                <c:pt idx="5">
                  <c:v>3848.6667</c:v>
                </c:pt>
                <c:pt idx="6">
                  <c:v>3216.6364</c:v>
                </c:pt>
                <c:pt idx="7">
                  <c:v>3208.875</c:v>
                </c:pt>
                <c:pt idx="8">
                  <c:v>3023.0</c:v>
                </c:pt>
                <c:pt idx="9">
                  <c:v>3233.3333</c:v>
                </c:pt>
                <c:pt idx="10">
                  <c:v>3528.3333</c:v>
                </c:pt>
                <c:pt idx="11">
                  <c:v>3129.7</c:v>
                </c:pt>
                <c:pt idx="12">
                  <c:v>3208.4545</c:v>
                </c:pt>
                <c:pt idx="13">
                  <c:v>3153.0</c:v>
                </c:pt>
                <c:pt idx="14">
                  <c:v>3951.0</c:v>
                </c:pt>
                <c:pt idx="15">
                  <c:v>3128.3333</c:v>
                </c:pt>
                <c:pt idx="16">
                  <c:v>4342.0</c:v>
                </c:pt>
                <c:pt idx="17">
                  <c:v>3291.5</c:v>
                </c:pt>
                <c:pt idx="18">
                  <c:v>4434.0</c:v>
                </c:pt>
                <c:pt idx="19">
                  <c:v>3808.0</c:v>
                </c:pt>
                <c:pt idx="20">
                  <c:v>3044.2</c:v>
                </c:pt>
                <c:pt idx="21">
                  <c:v>6720.0</c:v>
                </c:pt>
                <c:pt idx="22">
                  <c:v>3122.1429</c:v>
                </c:pt>
                <c:pt idx="23">
                  <c:v>3924.6</c:v>
                </c:pt>
                <c:pt idx="24">
                  <c:v>2808.3333</c:v>
                </c:pt>
                <c:pt idx="25">
                  <c:v>2765.0</c:v>
                </c:pt>
                <c:pt idx="26">
                  <c:v>3202.0</c:v>
                </c:pt>
                <c:pt idx="27">
                  <c:v>3106.4</c:v>
                </c:pt>
                <c:pt idx="28">
                  <c:v>3346.6</c:v>
                </c:pt>
                <c:pt idx="29">
                  <c:v>3119.6667</c:v>
                </c:pt>
                <c:pt idx="30">
                  <c:v>3099.8</c:v>
                </c:pt>
                <c:pt idx="31">
                  <c:v>3342.0</c:v>
                </c:pt>
                <c:pt idx="32">
                  <c:v>4329.0</c:v>
                </c:pt>
                <c:pt idx="33">
                  <c:v>2663.4615</c:v>
                </c:pt>
                <c:pt idx="34">
                  <c:v>3005.3571</c:v>
                </c:pt>
                <c:pt idx="35">
                  <c:v>2884.4444</c:v>
                </c:pt>
                <c:pt idx="36">
                  <c:v>2882.1111</c:v>
                </c:pt>
                <c:pt idx="37">
                  <c:v>3050.0</c:v>
                </c:pt>
                <c:pt idx="38">
                  <c:v>3066.2</c:v>
                </c:pt>
                <c:pt idx="39">
                  <c:v>3735.1667</c:v>
                </c:pt>
                <c:pt idx="40">
                  <c:v>4272.75</c:v>
                </c:pt>
                <c:pt idx="41">
                  <c:v>4003.25</c:v>
                </c:pt>
                <c:pt idx="42">
                  <c:v>3549.6667</c:v>
                </c:pt>
                <c:pt idx="43">
                  <c:v>3104.1429</c:v>
                </c:pt>
                <c:pt idx="44">
                  <c:v>3004.2222</c:v>
                </c:pt>
                <c:pt idx="45">
                  <c:v>3138.1429</c:v>
                </c:pt>
                <c:pt idx="46">
                  <c:v>2995.8667</c:v>
                </c:pt>
                <c:pt idx="47">
                  <c:v>2660.1667</c:v>
                </c:pt>
                <c:pt idx="48">
                  <c:v>3669.0</c:v>
                </c:pt>
                <c:pt idx="49">
                  <c:v>3025.0556</c:v>
                </c:pt>
                <c:pt idx="50">
                  <c:v>3099.3571</c:v>
                </c:pt>
                <c:pt idx="51">
                  <c:v>2739.4667</c:v>
                </c:pt>
                <c:pt idx="52">
                  <c:v>3202.5</c:v>
                </c:pt>
                <c:pt idx="53">
                  <c:v>3334.5</c:v>
                </c:pt>
                <c:pt idx="54">
                  <c:v>2909.6923</c:v>
                </c:pt>
                <c:pt idx="55">
                  <c:v>3116.0</c:v>
                </c:pt>
                <c:pt idx="56">
                  <c:v>2599.75</c:v>
                </c:pt>
                <c:pt idx="57">
                  <c:v>2696.8333</c:v>
                </c:pt>
                <c:pt idx="58">
                  <c:v>2451.5714</c:v>
                </c:pt>
                <c:pt idx="59">
                  <c:v>2641.6154</c:v>
                </c:pt>
                <c:pt idx="60">
                  <c:v>2559.1905</c:v>
                </c:pt>
                <c:pt idx="61">
                  <c:v>2616.8125</c:v>
                </c:pt>
                <c:pt idx="62">
                  <c:v>2355.3889</c:v>
                </c:pt>
                <c:pt idx="63">
                  <c:v>2616.8235</c:v>
                </c:pt>
                <c:pt idx="64">
                  <c:v>2307.1667</c:v>
                </c:pt>
                <c:pt idx="65">
                  <c:v>2335.0625</c:v>
                </c:pt>
                <c:pt idx="66">
                  <c:v>2205.0588</c:v>
                </c:pt>
                <c:pt idx="67">
                  <c:v>2366.9167</c:v>
                </c:pt>
                <c:pt idx="68">
                  <c:v>1907.25</c:v>
                </c:pt>
                <c:pt idx="69">
                  <c:v>1806.8462</c:v>
                </c:pt>
                <c:pt idx="70">
                  <c:v>2093.8182</c:v>
                </c:pt>
                <c:pt idx="71">
                  <c:v>1689.1818</c:v>
                </c:pt>
                <c:pt idx="72">
                  <c:v>2030.4375</c:v>
                </c:pt>
                <c:pt idx="73">
                  <c:v>1540.12</c:v>
                </c:pt>
                <c:pt idx="74">
                  <c:v>1899.0714</c:v>
                </c:pt>
                <c:pt idx="75">
                  <c:v>2853.48</c:v>
                </c:pt>
                <c:pt idx="76">
                  <c:v>2875.1212</c:v>
                </c:pt>
                <c:pt idx="77">
                  <c:v>3425.6333</c:v>
                </c:pt>
                <c:pt idx="78">
                  <c:v>2855.7568</c:v>
                </c:pt>
                <c:pt idx="79">
                  <c:v>3978.3</c:v>
                </c:pt>
                <c:pt idx="80">
                  <c:v>3440.1333</c:v>
                </c:pt>
                <c:pt idx="81">
                  <c:v>3386.2927</c:v>
                </c:pt>
                <c:pt idx="82">
                  <c:v>3334.303</c:v>
                </c:pt>
                <c:pt idx="83">
                  <c:v>3918.6087</c:v>
                </c:pt>
                <c:pt idx="84">
                  <c:v>3499.875</c:v>
                </c:pt>
                <c:pt idx="85">
                  <c:v>3327.3478</c:v>
                </c:pt>
                <c:pt idx="86">
                  <c:v>4500.5714</c:v>
                </c:pt>
                <c:pt idx="87">
                  <c:v>4381.2143</c:v>
                </c:pt>
                <c:pt idx="88">
                  <c:v>3936.9063</c:v>
                </c:pt>
                <c:pt idx="89">
                  <c:v>3929.9118</c:v>
                </c:pt>
                <c:pt idx="90">
                  <c:v>4465.6207</c:v>
                </c:pt>
                <c:pt idx="91">
                  <c:v>3604.8857</c:v>
                </c:pt>
                <c:pt idx="92">
                  <c:v>4148.6286</c:v>
                </c:pt>
                <c:pt idx="93">
                  <c:v>4459.8824</c:v>
                </c:pt>
                <c:pt idx="94">
                  <c:v>4274.8824</c:v>
                </c:pt>
                <c:pt idx="95">
                  <c:v>4202.5714</c:v>
                </c:pt>
                <c:pt idx="96">
                  <c:v>3518.4405</c:v>
                </c:pt>
                <c:pt idx="97">
                  <c:v>3508.6293</c:v>
                </c:pt>
                <c:pt idx="98">
                  <c:v>3336.811</c:v>
                </c:pt>
                <c:pt idx="99">
                  <c:v>3491.1985</c:v>
                </c:pt>
                <c:pt idx="100">
                  <c:v>3901.069</c:v>
                </c:pt>
                <c:pt idx="101">
                  <c:v>3699.9652</c:v>
                </c:pt>
                <c:pt idx="102">
                  <c:v>3851.6974</c:v>
                </c:pt>
                <c:pt idx="103">
                  <c:v>3939.1392</c:v>
                </c:pt>
                <c:pt idx="104">
                  <c:v>4226.3208</c:v>
                </c:pt>
              </c:numCache>
            </c:numRef>
          </c:xVal>
          <c:yVal>
            <c:numRef>
              <c:f>Sheet1!$B$2:$B$106</c:f>
              <c:numCache>
                <c:formatCode>General</c:formatCode>
                <c:ptCount val="105"/>
                <c:pt idx="0">
                  <c:v>0.00036313292934794946</c:v>
                </c:pt>
                <c:pt idx="1">
                  <c:v>0.0001180052394326308</c:v>
                </c:pt>
                <c:pt idx="2">
                  <c:v>0.0001380738695201933</c:v>
                </c:pt>
                <c:pt idx="3">
                  <c:v>0.00012080796366096453</c:v>
                </c:pt>
                <c:pt idx="4">
                  <c:v>8.474336883138894e-05</c:v>
                </c:pt>
                <c:pt idx="5">
                  <c:v>0.0001727364329926587</c:v>
                </c:pt>
                <c:pt idx="6">
                  <c:v>0.0003101649513604963</c:v>
                </c:pt>
                <c:pt idx="7">
                  <c:v>0.0002557299491736726</c:v>
                </c:pt>
                <c:pt idx="8">
                  <c:v>0.00023386342376052386</c:v>
                </c:pt>
                <c:pt idx="9">
                  <c:v>0.00023664904945965134</c:v>
                </c:pt>
                <c:pt idx="10">
                  <c:v>0.0001504664459825459</c:v>
                </c:pt>
                <c:pt idx="11">
                  <c:v>0.0002527358657467081</c:v>
                </c:pt>
                <c:pt idx="12">
                  <c:v>0.00025539818899465987</c:v>
                </c:pt>
                <c:pt idx="13">
                  <c:v>0.0002448340025462736</c:v>
                </c:pt>
                <c:pt idx="14">
                  <c:v>7.259879486000533e-05</c:v>
                </c:pt>
                <c:pt idx="15">
                  <c:v>0.00017333025190663278</c:v>
                </c:pt>
                <c:pt idx="16">
                  <c:v>6.557377049180328e-05</c:v>
                </c:pt>
                <c:pt idx="17">
                  <c:v>0.00014304616815077065</c:v>
                </c:pt>
                <c:pt idx="18">
                  <c:v>7.897958377759349e-05</c:v>
                </c:pt>
                <c:pt idx="19">
                  <c:v>0.0001392757660167131</c:v>
                </c:pt>
                <c:pt idx="20">
                  <c:v>0.0001914168676543777</c:v>
                </c:pt>
                <c:pt idx="21">
                  <c:v>4.517323937299544e-05</c:v>
                </c:pt>
                <c:pt idx="22">
                  <c:v>0.0003266753780100803</c:v>
                </c:pt>
                <c:pt idx="23">
                  <c:v>0.0002457968734637695</c:v>
                </c:pt>
                <c:pt idx="24">
                  <c:v>0.0004160118332254784</c:v>
                </c:pt>
                <c:pt idx="25">
                  <c:v>0.0005229578495973225</c:v>
                </c:pt>
                <c:pt idx="26">
                  <c:v>0.0004661787329262039</c:v>
                </c:pt>
                <c:pt idx="27">
                  <c:v>0.00022744848291861893</c:v>
                </c:pt>
                <c:pt idx="28">
                  <c:v>0.0002318141777551115</c:v>
                </c:pt>
                <c:pt idx="29">
                  <c:v>0.00036586853124110735</c:v>
                </c:pt>
                <c:pt idx="30">
                  <c:v>0.00026104207998329333</c:v>
                </c:pt>
                <c:pt idx="31">
                  <c:v>0.0003045221539867025</c:v>
                </c:pt>
                <c:pt idx="32">
                  <c:v>0.00020004000800160032</c:v>
                </c:pt>
                <c:pt idx="33">
                  <c:v>0.0005195428023339461</c:v>
                </c:pt>
                <c:pt idx="34">
                  <c:v>0.0005066406108638222</c:v>
                </c:pt>
                <c:pt idx="35">
                  <c:v>0.0005345687811831789</c:v>
                </c:pt>
                <c:pt idx="36">
                  <c:v>0.00033811706364114506</c:v>
                </c:pt>
                <c:pt idx="37">
                  <c:v>0.00026327336551118914</c:v>
                </c:pt>
                <c:pt idx="38">
                  <c:v>0.00021714583514288196</c:v>
                </c:pt>
                <c:pt idx="39">
                  <c:v>0.00027820280984837946</c:v>
                </c:pt>
                <c:pt idx="40">
                  <c:v>0.00015428527347064721</c:v>
                </c:pt>
                <c:pt idx="41">
                  <c:v>0.00016618196925633567</c:v>
                </c:pt>
                <c:pt idx="42">
                  <c:v>0.00010635280771412365</c:v>
                </c:pt>
                <c:pt idx="43">
                  <c:v>0.00022198262193188305</c:v>
                </c:pt>
                <c:pt idx="44">
                  <c:v>0.00019422085068732602</c:v>
                </c:pt>
                <c:pt idx="45">
                  <c:v>0.0001392065228199264</c:v>
                </c:pt>
                <c:pt idx="46">
                  <c:v>0.0002866479390013186</c:v>
                </c:pt>
                <c:pt idx="47">
                  <c:v>0.0003465937536103516</c:v>
                </c:pt>
                <c:pt idx="48">
                  <c:v>0.00017395085888236573</c:v>
                </c:pt>
                <c:pt idx="49">
                  <c:v>0.0001764757786993735</c:v>
                </c:pt>
                <c:pt idx="50">
                  <c:v>0.0002607124899905026</c:v>
                </c:pt>
                <c:pt idx="51">
                  <c:v>0.00033724537973829757</c:v>
                </c:pt>
                <c:pt idx="52">
                  <c:v>0.00011712573447595994</c:v>
                </c:pt>
                <c:pt idx="53">
                  <c:v>0.00014421690222094028</c:v>
                </c:pt>
                <c:pt idx="54">
                  <c:v>0.00034161082643542243</c:v>
                </c:pt>
                <c:pt idx="55">
                  <c:v>0.0002166553825321598</c:v>
                </c:pt>
                <c:pt idx="56">
                  <c:v>0.00021784119376974185</c:v>
                </c:pt>
                <c:pt idx="57">
                  <c:v>0.00014241633040588654</c:v>
                </c:pt>
                <c:pt idx="58">
                  <c:v>0.00015347848012453683</c:v>
                </c:pt>
                <c:pt idx="59">
                  <c:v>0.0001909798736594682</c:v>
                </c:pt>
                <c:pt idx="60">
                  <c:v>0.00033729521362030194</c:v>
                </c:pt>
                <c:pt idx="61">
                  <c:v>0.00034526661056084244</c:v>
                </c:pt>
                <c:pt idx="62">
                  <c:v>0.00037922679869377434</c:v>
                </c:pt>
                <c:pt idx="63">
                  <c:v>0.0003265902061360536</c:v>
                </c:pt>
                <c:pt idx="64">
                  <c:v>0.00044982569254413917</c:v>
                </c:pt>
                <c:pt idx="65">
                  <c:v>0.0003264639869414405</c:v>
                </c:pt>
                <c:pt idx="66">
                  <c:v>0.00035840026985432084</c:v>
                </c:pt>
                <c:pt idx="67">
                  <c:v>0.00026140943252369025</c:v>
                </c:pt>
                <c:pt idx="68">
                  <c:v>0.00042267659956675646</c:v>
                </c:pt>
                <c:pt idx="69">
                  <c:v>0.00044499212706236737</c:v>
                </c:pt>
                <c:pt idx="70">
                  <c:v>0.00035560728025086475</c:v>
                </c:pt>
                <c:pt idx="71">
                  <c:v>0.00037821482602118004</c:v>
                </c:pt>
                <c:pt idx="72">
                  <c:v>0.0005287857756626346</c:v>
                </c:pt>
                <c:pt idx="73">
                  <c:v>0.0008655011251514627</c:v>
                </c:pt>
                <c:pt idx="74">
                  <c:v>0.0009342052582410249</c:v>
                </c:pt>
                <c:pt idx="75">
                  <c:v>0.0009785118791342127</c:v>
                </c:pt>
                <c:pt idx="76">
                  <c:v>0.001377582968065122</c:v>
                </c:pt>
                <c:pt idx="77">
                  <c:v>0.0012530804895367778</c:v>
                </c:pt>
                <c:pt idx="78">
                  <c:v>0.0017800442605599924</c:v>
                </c:pt>
                <c:pt idx="79">
                  <c:v>0.0012622012790306295</c:v>
                </c:pt>
                <c:pt idx="80">
                  <c:v>0.001277737552706674</c:v>
                </c:pt>
                <c:pt idx="81">
                  <c:v>0.001474607970076248</c:v>
                </c:pt>
                <c:pt idx="82">
                  <c:v>0.0015154298310066127</c:v>
                </c:pt>
                <c:pt idx="83">
                  <c:v>0.0012142329215499947</c:v>
                </c:pt>
                <c:pt idx="84">
                  <c:v>0.0013257471137380545</c:v>
                </c:pt>
                <c:pt idx="85">
                  <c:v>0.0011378252696151183</c:v>
                </c:pt>
                <c:pt idx="86">
                  <c:v>0.0010361927318481238</c:v>
                </c:pt>
                <c:pt idx="87">
                  <c:v>0.0009866450544416647</c:v>
                </c:pt>
                <c:pt idx="88">
                  <c:v>0.001400131262305841</c:v>
                </c:pt>
                <c:pt idx="89">
                  <c:v>0.0016241520970669723</c:v>
                </c:pt>
                <c:pt idx="90">
                  <c:v>0.0014310387367382185</c:v>
                </c:pt>
                <c:pt idx="91">
                  <c:v>0.0016291193446285608</c:v>
                </c:pt>
                <c:pt idx="92">
                  <c:v>0.001333790632978926</c:v>
                </c:pt>
                <c:pt idx="93">
                  <c:v>0.001266577261212934</c:v>
                </c:pt>
                <c:pt idx="94">
                  <c:v>0.0014334499768118387</c:v>
                </c:pt>
                <c:pt idx="95">
                  <c:v>0.0014944036109670927</c:v>
                </c:pt>
                <c:pt idx="96">
                  <c:v>0.0018807514049660793</c:v>
                </c:pt>
                <c:pt idx="97">
                  <c:v>0.002286209818876998</c:v>
                </c:pt>
                <c:pt idx="98">
                  <c:v>0.002183143382668936</c:v>
                </c:pt>
                <c:pt idx="99">
                  <c:v>0.0020329456784956203</c:v>
                </c:pt>
                <c:pt idx="100">
                  <c:v>0.0015614231564438318</c:v>
                </c:pt>
                <c:pt idx="101">
                  <c:v>0.0020515565070020514</c:v>
                </c:pt>
                <c:pt idx="102">
                  <c:v>0.0016952933303591344</c:v>
                </c:pt>
                <c:pt idx="103">
                  <c:v>0.001670790770467187</c:v>
                </c:pt>
                <c:pt idx="104">
                  <c:v>0.001277385457087079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109:$B$160</c:f>
              <c:numCache>
                <c:formatCode>General</c:formatCode>
                <c:ptCount val="52"/>
                <c:pt idx="0">
                  <c:v>0.0012644154258681956</c:v>
                </c:pt>
                <c:pt idx="1">
                  <c:v>0.0014919806042521448</c:v>
                </c:pt>
                <c:pt idx="2">
                  <c:v>0.0014490927419354839</c:v>
                </c:pt>
                <c:pt idx="3">
                  <c:v>0.0015493812943615083</c:v>
                </c:pt>
                <c:pt idx="4">
                  <c:v>0.001476399322593252</c:v>
                </c:pt>
                <c:pt idx="5">
                  <c:v>0.0012921877395475152</c:v>
                </c:pt>
                <c:pt idx="6">
                  <c:v>0.0015012792590869686</c:v>
                </c:pt>
                <c:pt idx="7">
                  <c:v>0.0017356665243989187</c:v>
                </c:pt>
                <c:pt idx="8">
                  <c:v>0.0020275117751645403</c:v>
                </c:pt>
                <c:pt idx="9">
                  <c:v>0.0020895351499885507</c:v>
                </c:pt>
                <c:pt idx="10">
                  <c:v>0.001986152106148796</c:v>
                </c:pt>
                <c:pt idx="11">
                  <c:v>0.0020591538749532012</c:v>
                </c:pt>
                <c:pt idx="12">
                  <c:v>0.002066261241165559</c:v>
                </c:pt>
                <c:pt idx="13">
                  <c:v>0.0030296420174992125</c:v>
                </c:pt>
                <c:pt idx="14">
                  <c:v>0.0029944086705355486</c:v>
                </c:pt>
                <c:pt idx="15">
                  <c:v>0.002915286858566132</c:v>
                </c:pt>
                <c:pt idx="16">
                  <c:v>0.002708645358656512</c:v>
                </c:pt>
                <c:pt idx="17">
                  <c:v>0.003584471797646422</c:v>
                </c:pt>
                <c:pt idx="18">
                  <c:v>0.0019437920142544747</c:v>
                </c:pt>
                <c:pt idx="19">
                  <c:v>0.0016996748448122967</c:v>
                </c:pt>
                <c:pt idx="20">
                  <c:v>0.0019800379844021497</c:v>
                </c:pt>
                <c:pt idx="21">
                  <c:v>0.0025989026855327752</c:v>
                </c:pt>
                <c:pt idx="22">
                  <c:v>0.0022795615481618005</c:v>
                </c:pt>
                <c:pt idx="23">
                  <c:v>0.0023307661126874745</c:v>
                </c:pt>
                <c:pt idx="24">
                  <c:v>0.002144286667302011</c:v>
                </c:pt>
                <c:pt idx="25">
                  <c:v>0.0024474301982917936</c:v>
                </c:pt>
                <c:pt idx="26">
                  <c:v>0.002500480861704174</c:v>
                </c:pt>
                <c:pt idx="27">
                  <c:v>0.0023867365639517538</c:v>
                </c:pt>
                <c:pt idx="28">
                  <c:v>0.0020089021940363177</c:v>
                </c:pt>
                <c:pt idx="29">
                  <c:v>0.002370329057445622</c:v>
                </c:pt>
                <c:pt idx="30">
                  <c:v>0.0022742669118358655</c:v>
                </c:pt>
                <c:pt idx="31">
                  <c:v>0.002381854598603367</c:v>
                </c:pt>
                <c:pt idx="32">
                  <c:v>0.002019619157530294</c:v>
                </c:pt>
                <c:pt idx="33">
                  <c:v>0.002039265864288856</c:v>
                </c:pt>
                <c:pt idx="34">
                  <c:v>0.001879817031142302</c:v>
                </c:pt>
                <c:pt idx="35">
                  <c:v>0.002231652886514963</c:v>
                </c:pt>
                <c:pt idx="36">
                  <c:v>0.002580228995323335</c:v>
                </c:pt>
                <c:pt idx="37">
                  <c:v>0.0026268424380989446</c:v>
                </c:pt>
                <c:pt idx="38">
                  <c:v>0.0029482712409541678</c:v>
                </c:pt>
                <c:pt idx="39">
                  <c:v>0.0028929206099929743</c:v>
                </c:pt>
                <c:pt idx="40">
                  <c:v>0.0027341358906345643</c:v>
                </c:pt>
                <c:pt idx="41">
                  <c:v>0.002220265666271102</c:v>
                </c:pt>
                <c:pt idx="42">
                  <c:v>0.002547987090198743</c:v>
                </c:pt>
                <c:pt idx="43">
                  <c:v>0.0018642923724727588</c:v>
                </c:pt>
                <c:pt idx="44">
                  <c:v>0.0014157873647655938</c:v>
                </c:pt>
                <c:pt idx="45">
                  <c:v>0.0011778802217664141</c:v>
                </c:pt>
                <c:pt idx="46">
                  <c:v>0.0012631169840652933</c:v>
                </c:pt>
                <c:pt idx="47">
                  <c:v>0.0013494659317033004</c:v>
                </c:pt>
                <c:pt idx="48">
                  <c:v>0.0014849957571549796</c:v>
                </c:pt>
                <c:pt idx="49">
                  <c:v>0.0013695022386094285</c:v>
                </c:pt>
                <c:pt idx="50">
                  <c:v>0.0011507750117426023</c:v>
                </c:pt>
                <c:pt idx="51">
                  <c:v>0.001245896452161531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88.2263941464134</c:v>
                </c:pt>
              </c:numCache>
            </c:numRef>
          </c:xVal>
          <c:yVal>
            <c:numRef>
              <c:f>Sheet1!$B$163:$B$164</c:f>
              <c:numCache>
                <c:formatCode>General</c:formatCode>
                <c:ptCount val="2"/>
                <c:pt idx="0">
                  <c:v>0.0024350742003201257</c:v>
                </c:pt>
                <c:pt idx="1">
                  <c:v>0.002435074200320125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88.2263941464134</c:v>
                </c:pt>
                <c:pt idx="1">
                  <c:v>3588.2263941464134</c:v>
                </c:pt>
              </c:numCache>
            </c:numRef>
          </c:xVal>
          <c:yVal>
            <c:numRef>
              <c:f>Sheet1!$B$167:$B$168</c:f>
              <c:numCache>
                <c:formatCode>General</c:formatCode>
                <c:ptCount val="2"/>
                <c:pt idx="0">
                  <c:v>0.002435074200320125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88.2263941464134</c:v>
                </c:pt>
              </c:numCache>
            </c:numRef>
          </c:xVal>
          <c:yVal>
            <c:numRef>
              <c:f>Sheet1!$B$171:$B$172</c:f>
              <c:numCache>
                <c:formatCode>General</c:formatCode>
                <c:ptCount val="2"/>
                <c:pt idx="0">
                  <c:v>0.0024350742003201257</c:v>
                </c:pt>
                <c:pt idx="1">
                  <c:v>0.002435074200320125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88.2263941464134</c:v>
                </c:pt>
                <c:pt idx="1">
                  <c:v>3588.2263941464134</c:v>
                </c:pt>
              </c:numCache>
            </c:numRef>
          </c:xVal>
          <c:yVal>
            <c:numRef>
              <c:f>Sheet1!$B$175:$B$176</c:f>
              <c:numCache>
                <c:formatCode>General</c:formatCode>
                <c:ptCount val="2"/>
                <c:pt idx="0">
                  <c:v>0.002435074200320125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39.55957973419</c:v>
                </c:pt>
              </c:numCache>
            </c:numRef>
          </c:xVal>
          <c:yVal>
            <c:numRef>
              <c:f>Sheet1!$B$179:$B$180</c:f>
              <c:numCache>
                <c:formatCode>General</c:formatCode>
                <c:ptCount val="2"/>
                <c:pt idx="0">
                  <c:v>0.0017474631993491757</c:v>
                </c:pt>
                <c:pt idx="1">
                  <c:v>0.001747463199349175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39.55957973419</c:v>
                </c:pt>
                <c:pt idx="1">
                  <c:v>4239.55957973419</c:v>
                </c:pt>
              </c:numCache>
            </c:numRef>
          </c:xVal>
          <c:yVal>
            <c:numRef>
              <c:f>Sheet1!$B$183:$B$184</c:f>
              <c:numCache>
                <c:formatCode>General</c:formatCode>
                <c:ptCount val="2"/>
                <c:pt idx="0">
                  <c:v>0.001747463199349175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588.2263941464134</c:v>
                </c:pt>
                <c:pt idx="53">
                  <c:v>3588.2263941464134</c:v>
                </c:pt>
                <c:pt idx="54">
                  <c:v>4239.55957973419</c:v>
                </c:pt>
              </c:numCache>
            </c:numRef>
          </c:xVal>
          <c:yVal>
            <c:numRef>
              <c:f>Sheet1!$B$187:$B$241</c:f>
              <c:numCache>
                <c:formatCode>General</c:formatCode>
                <c:ptCount val="55"/>
                <c:pt idx="0">
                  <c:v>0.001572007261874969</c:v>
                </c:pt>
                <c:pt idx="1">
                  <c:v>0.0020973744197537655</c:v>
                </c:pt>
                <c:pt idx="2">
                  <c:v>0.001687251877096986</c:v>
                </c:pt>
                <c:pt idx="3">
                  <c:v>0.0023238087150076817</c:v>
                </c:pt>
                <c:pt idx="4">
                  <c:v>0.0014441527588966814</c:v>
                </c:pt>
                <c:pt idx="5">
                  <c:v>0.001128699281642772</c:v>
                </c:pt>
                <c:pt idx="6">
                  <c:v>0.0015664144917222301</c:v>
                </c:pt>
                <c:pt idx="7">
                  <c:v>0.001700374517267171</c:v>
                </c:pt>
                <c:pt idx="8">
                  <c:v>0.0018212219317708788</c:v>
                </c:pt>
                <c:pt idx="9">
                  <c:v>0.0018967771665069685</c:v>
                </c:pt>
                <c:pt idx="10">
                  <c:v>0.0017885516747142768</c:v>
                </c:pt>
                <c:pt idx="11">
                  <c:v>0.0019093731190524864</c:v>
                </c:pt>
                <c:pt idx="12">
                  <c:v>0.0021624032918809944</c:v>
                </c:pt>
                <c:pt idx="13">
                  <c:v>0.00261979850334904</c:v>
                </c:pt>
                <c:pt idx="14">
                  <c:v>0.0025753286065857395</c:v>
                </c:pt>
                <c:pt idx="15">
                  <c:v>0.0023780288253687073</c:v>
                </c:pt>
                <c:pt idx="16">
                  <c:v>0.0021324024722421814</c:v>
                </c:pt>
                <c:pt idx="17">
                  <c:v>0.0031518631135422346</c:v>
                </c:pt>
                <c:pt idx="18">
                  <c:v>0.0019041872148258783</c:v>
                </c:pt>
                <c:pt idx="19">
                  <c:v>0.0015733588717484152</c:v>
                </c:pt>
                <c:pt idx="20">
                  <c:v>0.0017286851647530625</c:v>
                </c:pt>
                <c:pt idx="21">
                  <c:v>0.0023443863762223956</c:v>
                </c:pt>
                <c:pt idx="22">
                  <c:v>0.0021276783302264964</c:v>
                </c:pt>
                <c:pt idx="23">
                  <c:v>0.0029033544943245734</c:v>
                </c:pt>
                <c:pt idx="24">
                  <c:v>0.0019399093886075785</c:v>
                </c:pt>
                <c:pt idx="25">
                  <c:v>0.002413186623114834</c:v>
                </c:pt>
                <c:pt idx="26">
                  <c:v>0.002191853037276319</c:v>
                </c:pt>
                <c:pt idx="27">
                  <c:v>0.002305141866782842</c:v>
                </c:pt>
                <c:pt idx="28">
                  <c:v>0.0021971809328549365</c:v>
                </c:pt>
                <c:pt idx="29">
                  <c:v>0.002440219137293078</c:v>
                </c:pt>
                <c:pt idx="30">
                  <c:v>0.002456674193089693</c:v>
                </c:pt>
                <c:pt idx="31">
                  <c:v>0.002125273978522387</c:v>
                </c:pt>
                <c:pt idx="32">
                  <c:v>0.0015162780315310575</c:v>
                </c:pt>
                <c:pt idx="33">
                  <c:v>0.0018164258967360717</c:v>
                </c:pt>
                <c:pt idx="34">
                  <c:v>0.0016764072216061097</c:v>
                </c:pt>
                <c:pt idx="35">
                  <c:v>0.0019838207156731204</c:v>
                </c:pt>
                <c:pt idx="36">
                  <c:v>0.0018162124346440536</c:v>
                </c:pt>
                <c:pt idx="37">
                  <c:v>0.0018516296173358227</c:v>
                </c:pt>
                <c:pt idx="38">
                  <c:v>0.002418652392824102</c:v>
                </c:pt>
                <c:pt idx="39">
                  <c:v>0.002754797546653447</c:v>
                </c:pt>
                <c:pt idx="40">
                  <c:v>0.002822108309541789</c:v>
                </c:pt>
                <c:pt idx="41">
                  <c:v>0.0024947052834957874</c:v>
                </c:pt>
                <c:pt idx="42">
                  <c:v>0.0027320698513308996</c:v>
                </c:pt>
                <c:pt idx="43">
                  <c:v>0.0023506753790639872</c:v>
                </c:pt>
                <c:pt idx="44">
                  <c:v>0.0018648977326607063</c:v>
                </c:pt>
                <c:pt idx="45">
                  <c:v>0.0016863866271928409</c:v>
                </c:pt>
                <c:pt idx="46">
                  <c:v>0.001606204691346572</c:v>
                </c:pt>
                <c:pt idx="47">
                  <c:v>0.0016928535151111137</c:v>
                </c:pt>
                <c:pt idx="48">
                  <c:v>0.0020451712200099522</c:v>
                </c:pt>
                <c:pt idx="49">
                  <c:v>0.0021358468974035424</c:v>
                </c:pt>
                <c:pt idx="50">
                  <c:v>0.0019873741944156165</c:v>
                </c:pt>
                <c:pt idx="51">
                  <c:v>0.0017517740142876737</c:v>
                </c:pt>
                <c:pt idx="52">
                  <c:v>0.0024350742003201257</c:v>
                </c:pt>
                <c:pt idx="53">
                  <c:v>0.0024350742003201257</c:v>
                </c:pt>
                <c:pt idx="54">
                  <c:v>0.00174746319934917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64.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3013661571757065"/>
          <c:min val="3.6138591498396357e-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c:f>
              <c:numCache>
                <c:formatCode>General</c:formatCode>
                <c:ptCount val="6"/>
                <c:pt idx="0">
                  <c:v>2326.0</c:v>
                </c:pt>
                <c:pt idx="1">
                  <c:v>1970.0</c:v>
                </c:pt>
                <c:pt idx="2">
                  <c:v>1927.6667</c:v>
                </c:pt>
                <c:pt idx="3">
                  <c:v>2306.8</c:v>
                </c:pt>
                <c:pt idx="4">
                  <c:v>1859.6667</c:v>
                </c:pt>
                <c:pt idx="5">
                  <c:v>1772.0</c:v>
                </c:pt>
              </c:numCache>
            </c:numRef>
          </c:xVal>
          <c:yVal>
            <c:numRef>
              <c:f>Sheet1!$B$2:$B$7</c:f>
              <c:numCache>
                <c:formatCode>General</c:formatCode>
                <c:ptCount val="6"/>
                <c:pt idx="0">
                  <c:v>0.006666666666666667</c:v>
                </c:pt>
                <c:pt idx="1">
                  <c:v>0.0049261083743842365</c:v>
                </c:pt>
                <c:pt idx="2">
                  <c:v>0.007299270072992700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F32D-48B7-BC20-E66FC6253BAD}"/>
            </c:ext>
          </c:extLst>
        </c:ser>
        <c:ser>
          <c:idx val="1"/>
          <c:order val="1"/>
          <c:tx>
            <c:strRef>
              <c:f>Sheet1!$B$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A$11</c:f>
              <c:numCache>
                <c:formatCode>General</c:formatCode>
                <c:ptCount val="2"/>
                <c:pt idx="0">
                  <c:v>1715.6667</c:v>
                </c:pt>
                <c:pt idx="1">
                  <c:v>876.6667</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F32D-48B7-BC20-E66FC6253BAD}"/>
            </c:ext>
          </c:extLst>
        </c:ser>
        <c:ser>
          <c:idx val="2"/>
          <c:order val="2"/>
          <c:tx>
            <c:strRef>
              <c:f>Sheet1!$B$13</c:f>
              <c:strCache>
                <c:ptCount val="1"/>
                <c:pt idx="0">
                  <c:v>Custom Linep3yQ</c:v>
                </c:pt>
              </c:strCache>
            </c:strRef>
          </c:tx>
          <c:spPr>
            <a:ln w="19050" cap="rnd">
              <a:solidFill>
                <a:srgbClr val="C00000"/>
              </a:solidFill>
              <a:prstDash val="sysDot"/>
              <a:round/>
            </a:ln>
            <a:effectLst/>
          </c:spPr>
          <c:marker>
            <c:symbol val="none"/>
          </c:marker>
          <c:xVal>
            <c:numRef>
              <c:f>Sheet1!$A$14:$A$15</c:f>
              <c:numCache>
                <c:formatCode>General</c:formatCode>
                <c:ptCount val="2"/>
                <c:pt idx="0">
                  <c:v>0</c:v>
                </c:pt>
                <c:pt idx="1">
                  <c:v>876.6666999999995</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3-F32D-48B7-BC20-E66FC6253BAD}"/>
            </c:ext>
          </c:extLst>
        </c:ser>
        <c:ser>
          <c:idx val="3"/>
          <c:order val="3"/>
          <c:tx>
            <c:strRef>
              <c:f>Sheet1!$B$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A$19</c:f>
              <c:numCache>
                <c:formatCode>General</c:formatCode>
                <c:ptCount val="2"/>
                <c:pt idx="0">
                  <c:v>876.6666999999995</c:v>
                </c:pt>
                <c:pt idx="1">
                  <c:v>876.6666999999995</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2:$A$23</c:f>
              <c:numCache>
                <c:formatCode>General</c:formatCode>
                <c:ptCount val="2"/>
                <c:pt idx="0">
                  <c:v>0</c:v>
                </c:pt>
                <c:pt idx="1">
                  <c:v>876.6666999999995</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A-F32D-48B7-BC20-E66FC6253BAD}"/>
            </c:ext>
          </c:extLst>
        </c:ser>
        <c:ser>
          <c:idx val="5"/>
          <c:order val="5"/>
          <c:tx>
            <c:strRef>
              <c:f>Sheet1!$B$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876.6666999999995</c:v>
                </c:pt>
                <c:pt idx="1">
                  <c:v>876.6666999999995</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9</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0:$A$34</c:f>
              <c:numCache>
                <c:formatCode>General</c:formatCode>
                <c:ptCount val="5"/>
                <c:pt idx="0">
                  <c:v>1715.6667</c:v>
                </c:pt>
                <c:pt idx="1">
                  <c:v>876.6667</c:v>
                </c:pt>
                <c:pt idx="2">
                  <c:v>876.6666999999995</c:v>
                </c:pt>
                <c:pt idx="3">
                  <c:v>876.6666999999995</c:v>
                </c:pt>
                <c:pt idx="4">
                  <c:v>0</c:v>
                </c:pt>
              </c:numCache>
            </c:numRef>
          </c:xVal>
          <c:yVal>
            <c:numRef>
              <c:f>Sheet1!$B$30:$B$34</c:f>
              <c:numCache>
                <c:formatCode>General</c:formatCode>
                <c:ptCount val="5"/>
                <c:pt idx="0">
                  <c:v>0.0054545454545454515</c:v>
                </c:pt>
                <c:pt idx="1">
                  <c:v>0.0101010101010101</c:v>
                </c:pt>
                <c:pt idx="2">
                  <c:v>0.010101010101010102</c:v>
                </c:pt>
                <c:pt idx="3">
                  <c:v>0.010101010101010102</c:v>
                </c:pt>
                <c:pt idx="4">
                  <c:v>0.014956076642467583</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9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c:f>
              <c:numCache>
                <c:formatCode>General</c:formatCode>
                <c:ptCount val="6"/>
                <c:pt idx="0">
                  <c:v>3.2678374965948316</c:v>
                </c:pt>
                <c:pt idx="1">
                  <c:v>5.241353695327294</c:v>
                </c:pt>
                <c:pt idx="2">
                  <c:v>2.879058486655766</c:v>
                </c:pt>
                <c:pt idx="3">
                  <c:v>4.199184191786289</c:v>
                </c:pt>
                <c:pt idx="4">
                  <c:v>2.724231947520131</c:v>
                </c:pt>
                <c:pt idx="5">
                  <c:v>2.657533071439348</c:v>
                </c:pt>
              </c:numCache>
            </c:numRef>
          </c:xVal>
          <c:yVal>
            <c:numRef>
              <c:f>Sheet1!$B$2:$B$7</c:f>
              <c:numCache>
                <c:formatCode>General</c:formatCode>
                <c:ptCount val="6"/>
                <c:pt idx="0">
                  <c:v>0.006666666666666667</c:v>
                </c:pt>
                <c:pt idx="1">
                  <c:v>0.0049261083743842365</c:v>
                </c:pt>
                <c:pt idx="2">
                  <c:v>0.007299270072992700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096C-4121-9522-6AB7243CCAAE}"/>
            </c:ext>
          </c:extLst>
        </c:ser>
        <c:ser>
          <c:idx val="1"/>
          <c:order val="1"/>
          <c:tx>
            <c:strRef>
              <c:f>Sheet1!$B$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A$11</c:f>
              <c:numCache>
                <c:formatCode>General</c:formatCode>
                <c:ptCount val="2"/>
                <c:pt idx="0">
                  <c:v>3.5842616584776006</c:v>
                </c:pt>
                <c:pt idx="1">
                  <c:v>1.872647646690786</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096C-4121-9522-6AB7243CCAAE}"/>
            </c:ext>
          </c:extLst>
        </c:ser>
        <c:ser>
          <c:idx val="2"/>
          <c:order val="2"/>
          <c:tx>
            <c:strRef>
              <c:f>Sheet1!$B$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A$15</c:f>
              <c:numCache>
                <c:formatCode>General</c:formatCode>
                <c:ptCount val="2"/>
                <c:pt idx="0">
                  <c:v>0</c:v>
                </c:pt>
                <c:pt idx="1">
                  <c:v>1.8726476466907864</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5-096C-4121-9522-6AB7243CCAAE}"/>
            </c:ext>
          </c:extLst>
        </c:ser>
        <c:ser>
          <c:idx val="3"/>
          <c:order val="3"/>
          <c:tx>
            <c:strRef>
              <c:f>Sheet1!$B$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A$19</c:f>
              <c:numCache>
                <c:formatCode>General</c:formatCode>
                <c:ptCount val="2"/>
                <c:pt idx="0">
                  <c:v>1.8726476466907864</c:v>
                </c:pt>
                <c:pt idx="1">
                  <c:v>1.8726476466907864</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2:$A$23</c:f>
              <c:numCache>
                <c:formatCode>General</c:formatCode>
                <c:ptCount val="2"/>
                <c:pt idx="0">
                  <c:v>0</c:v>
                </c:pt>
                <c:pt idx="1">
                  <c:v>1.8726476466907864</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D-096C-4121-9522-6AB7243CCAAE}"/>
            </c:ext>
          </c:extLst>
        </c:ser>
        <c:ser>
          <c:idx val="5"/>
          <c:order val="5"/>
          <c:tx>
            <c:strRef>
              <c:f>Sheet1!$B$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1.8726476466907864</c:v>
                </c:pt>
                <c:pt idx="1">
                  <c:v>1.8726476466907864</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9</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0:$A$34</c:f>
              <c:numCache>
                <c:formatCode>General</c:formatCode>
                <c:ptCount val="5"/>
                <c:pt idx="0">
                  <c:v>3.5842616584776006</c:v>
                </c:pt>
                <c:pt idx="1">
                  <c:v>1.872647646690786</c:v>
                </c:pt>
                <c:pt idx="2">
                  <c:v>1.8726476466907864</c:v>
                </c:pt>
                <c:pt idx="3">
                  <c:v>1.8726476466907864</c:v>
                </c:pt>
                <c:pt idx="4">
                  <c:v>0</c:v>
                </c:pt>
              </c:numCache>
            </c:numRef>
          </c:xVal>
          <c:yVal>
            <c:numRef>
              <c:f>Sheet1!$B$30:$B$34</c:f>
              <c:numCache>
                <c:formatCode>General</c:formatCode>
                <c:ptCount val="5"/>
                <c:pt idx="0">
                  <c:v>0.005454545454545453</c:v>
                </c:pt>
                <c:pt idx="1">
                  <c:v>0.010101010101010104</c:v>
                </c:pt>
                <c:pt idx="2">
                  <c:v>0.010101010101010102</c:v>
                </c:pt>
                <c:pt idx="3">
                  <c:v>0.010101010101010102</c:v>
                </c:pt>
                <c:pt idx="4">
                  <c:v>0.015184627684013224</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c:f>
              <c:numCache>
                <c:formatCode>General</c:formatCode>
                <c:ptCount val="6"/>
                <c:pt idx="0">
                  <c:v>2326.0</c:v>
                </c:pt>
                <c:pt idx="1">
                  <c:v>1970.0</c:v>
                </c:pt>
                <c:pt idx="2">
                  <c:v>1927.6667</c:v>
                </c:pt>
                <c:pt idx="3">
                  <c:v>2306.8</c:v>
                </c:pt>
                <c:pt idx="4">
                  <c:v>1859.6667</c:v>
                </c:pt>
                <c:pt idx="5">
                  <c:v>1772.0</c:v>
                </c:pt>
              </c:numCache>
            </c:numRef>
          </c:xVal>
          <c:yVal>
            <c:numRef>
              <c:f>Sheet1!$B$2:$B$7</c:f>
              <c:numCache>
                <c:formatCode>General</c:formatCode>
                <c:ptCount val="6"/>
                <c:pt idx="0">
                  <c:v>0.006666666666666667</c:v>
                </c:pt>
                <c:pt idx="1">
                  <c:v>0.0049261083743842365</c:v>
                </c:pt>
                <c:pt idx="2">
                  <c:v>0.007299270072992700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F32D-48B7-BC20-E66FC6253BAD}"/>
            </c:ext>
          </c:extLst>
        </c:ser>
        <c:ser>
          <c:idx val="1"/>
          <c:order val="1"/>
          <c:tx>
            <c:strRef>
              <c:f>Sheet1!$B$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A$11</c:f>
              <c:numCache>
                <c:formatCode>General</c:formatCode>
                <c:ptCount val="2"/>
                <c:pt idx="0">
                  <c:v>1715.6667</c:v>
                </c:pt>
                <c:pt idx="1">
                  <c:v>876.6667</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F32D-48B7-BC20-E66FC6253BAD}"/>
            </c:ext>
          </c:extLst>
        </c:ser>
        <c:ser>
          <c:idx val="2"/>
          <c:order val="2"/>
          <c:tx>
            <c:strRef>
              <c:f>Sheet1!$B$13</c:f>
              <c:strCache>
                <c:ptCount val="1"/>
                <c:pt idx="0">
                  <c:v>Custom Linep3yQ</c:v>
                </c:pt>
              </c:strCache>
            </c:strRef>
          </c:tx>
          <c:spPr>
            <a:ln w="19050" cap="rnd">
              <a:solidFill>
                <a:srgbClr val="C00000"/>
              </a:solidFill>
              <a:prstDash val="sysDot"/>
              <a:round/>
            </a:ln>
            <a:effectLst/>
          </c:spPr>
          <c:marker>
            <c:symbol val="none"/>
          </c:marker>
          <c:xVal>
            <c:numRef>
              <c:f>Sheet1!$A$14:$A$15</c:f>
              <c:numCache>
                <c:formatCode>General</c:formatCode>
                <c:ptCount val="2"/>
                <c:pt idx="0">
                  <c:v>0</c:v>
                </c:pt>
                <c:pt idx="1">
                  <c:v>876.6666999999995</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3-F32D-48B7-BC20-E66FC6253BAD}"/>
            </c:ext>
          </c:extLst>
        </c:ser>
        <c:ser>
          <c:idx val="3"/>
          <c:order val="3"/>
          <c:tx>
            <c:strRef>
              <c:f>Sheet1!$B$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A$19</c:f>
              <c:numCache>
                <c:formatCode>General</c:formatCode>
                <c:ptCount val="2"/>
                <c:pt idx="0">
                  <c:v>876.6666999999995</c:v>
                </c:pt>
                <c:pt idx="1">
                  <c:v>876.6666999999995</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2:$A$23</c:f>
              <c:numCache>
                <c:formatCode>General</c:formatCode>
                <c:ptCount val="2"/>
                <c:pt idx="0">
                  <c:v>0</c:v>
                </c:pt>
                <c:pt idx="1">
                  <c:v>876.6666999999995</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A-F32D-48B7-BC20-E66FC6253BAD}"/>
            </c:ext>
          </c:extLst>
        </c:ser>
        <c:ser>
          <c:idx val="5"/>
          <c:order val="5"/>
          <c:tx>
            <c:strRef>
              <c:f>Sheet1!$B$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876.6666999999995</c:v>
                </c:pt>
                <c:pt idx="1">
                  <c:v>876.6666999999995</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9</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0:$A$34</c:f>
              <c:numCache>
                <c:formatCode>General</c:formatCode>
                <c:ptCount val="5"/>
                <c:pt idx="0">
                  <c:v>1715.6667</c:v>
                </c:pt>
                <c:pt idx="1">
                  <c:v>876.6667</c:v>
                </c:pt>
                <c:pt idx="2">
                  <c:v>876.6666999999995</c:v>
                </c:pt>
                <c:pt idx="3">
                  <c:v>876.6666999999995</c:v>
                </c:pt>
                <c:pt idx="4">
                  <c:v>0</c:v>
                </c:pt>
              </c:numCache>
            </c:numRef>
          </c:xVal>
          <c:yVal>
            <c:numRef>
              <c:f>Sheet1!$B$30:$B$34</c:f>
              <c:numCache>
                <c:formatCode>General</c:formatCode>
                <c:ptCount val="5"/>
                <c:pt idx="0">
                  <c:v>0.0054545454545454515</c:v>
                </c:pt>
                <c:pt idx="1">
                  <c:v>0.0101010101010101</c:v>
                </c:pt>
                <c:pt idx="2">
                  <c:v>0.010101010101010102</c:v>
                </c:pt>
                <c:pt idx="3">
                  <c:v>0.010101010101010102</c:v>
                </c:pt>
                <c:pt idx="4">
                  <c:v>0.014956076642467583</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9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287753156331203</c:v>
                </c:pt>
                <c:pt idx="1">
                  <c:v>0.6449963671546636</c:v>
                </c:pt>
                <c:pt idx="2">
                  <c:v>0.6326230160733184</c:v>
                </c:pt>
                <c:pt idx="3">
                  <c:v>0.6338119060957934</c:v>
                </c:pt>
                <c:pt idx="4">
                  <c:v>0.6371933943712045</c:v>
                </c:pt>
                <c:pt idx="5">
                  <c:v>0.6436346576092165</c:v>
                </c:pt>
                <c:pt idx="6">
                  <c:v>0.6004176980187368</c:v>
                </c:pt>
                <c:pt idx="7">
                  <c:v>0.5926268673755725</c:v>
                </c:pt>
                <c:pt idx="8">
                  <c:v>0.6050406646066233</c:v>
                </c:pt>
                <c:pt idx="9">
                  <c:v>0.6363770305474985</c:v>
                </c:pt>
                <c:pt idx="10">
                  <c:v>0.6446156552760249</c:v>
                </c:pt>
                <c:pt idx="11">
                  <c:v>0.694246021931155</c:v>
                </c:pt>
                <c:pt idx="12">
                  <c:v>0.7224131166078782</c:v>
                </c:pt>
                <c:pt idx="13">
                  <c:v>0.7244062257554714</c:v>
                </c:pt>
                <c:pt idx="14">
                  <c:v>0.7250410629877798</c:v>
                </c:pt>
                <c:pt idx="15">
                  <c:v>0.7362509512130686</c:v>
                </c:pt>
                <c:pt idx="16">
                  <c:v>0.7463048012741006</c:v>
                </c:pt>
                <c:pt idx="17">
                  <c:v>0.7478518751534269</c:v>
                </c:pt>
                <c:pt idx="18">
                  <c:v>0.7703758778976509</c:v>
                </c:pt>
                <c:pt idx="19">
                  <c:v>0.7644878254090426</c:v>
                </c:pt>
                <c:pt idx="20">
                  <c:v>0.7969082157983485</c:v>
                </c:pt>
                <c:pt idx="21">
                  <c:v>0.717895109929208</c:v>
                </c:pt>
                <c:pt idx="22">
                  <c:v>0.6580070127167572</c:v>
                </c:pt>
                <c:pt idx="23">
                  <c:v>0.6394993900195959</c:v>
                </c:pt>
                <c:pt idx="24">
                  <c:v>0.6189011246908348</c:v>
                </c:pt>
                <c:pt idx="25">
                  <c:v>0.5942982401599494</c:v>
                </c:pt>
                <c:pt idx="26">
                  <c:v>0.5905027912737707</c:v>
                </c:pt>
                <c:pt idx="27">
                  <c:v>0.6123834052458408</c:v>
                </c:pt>
                <c:pt idx="28">
                  <c:v>0.6044949102431018</c:v>
                </c:pt>
                <c:pt idx="29">
                  <c:v>0.6007213643860589</c:v>
                </c:pt>
                <c:pt idx="30">
                  <c:v>0.5950603269734289</c:v>
                </c:pt>
                <c:pt idx="31">
                  <c:v>0.5937942644738132</c:v>
                </c:pt>
                <c:pt idx="32">
                  <c:v>0.5674777949440224</c:v>
                </c:pt>
                <c:pt idx="33">
                  <c:v>0.5661604592817416</c:v>
                </c:pt>
                <c:pt idx="34">
                  <c:v>0.6052902298454574</c:v>
                </c:pt>
                <c:pt idx="35">
                  <c:v>0.6585574980104811</c:v>
                </c:pt>
                <c:pt idx="36">
                  <c:v>0.7090339885363609</c:v>
                </c:pt>
                <c:pt idx="37">
                  <c:v>0.677678276295772</c:v>
                </c:pt>
                <c:pt idx="38">
                  <c:v>0.7283918117156318</c:v>
                </c:pt>
                <c:pt idx="39">
                  <c:v>0.7444859595315617</c:v>
                </c:pt>
                <c:pt idx="40">
                  <c:v>0.7277373419516168</c:v>
                </c:pt>
                <c:pt idx="41">
                  <c:v>0.7177183280432257</c:v>
                </c:pt>
                <c:pt idx="42">
                  <c:v>0.7363509577890427</c:v>
                </c:pt>
                <c:pt idx="43">
                  <c:v>0.745987547068077</c:v>
                </c:pt>
                <c:pt idx="44">
                  <c:v>0.735420292888238</c:v>
                </c:pt>
                <c:pt idx="45">
                  <c:v>0.7385332974562526</c:v>
                </c:pt>
                <c:pt idx="46">
                  <c:v>0.7408663540694193</c:v>
                </c:pt>
                <c:pt idx="47">
                  <c:v>0.7437632991513623</c:v>
                </c:pt>
                <c:pt idx="48">
                  <c:v>0.7517821828477088</c:v>
                </c:pt>
                <c:pt idx="49">
                  <c:v>0.7497257118160194</c:v>
                </c:pt>
                <c:pt idx="50">
                  <c:v>0.7088517330973124</c:v>
                </c:pt>
                <c:pt idx="51">
                  <c:v>0.7102138904588748</c:v>
                </c:pt>
                <c:pt idx="52">
                  <c:v>0.716844138424947</c:v>
                </c:pt>
                <c:pt idx="53">
                  <c:v>0.6834681721662792</c:v>
                </c:pt>
                <c:pt idx="54">
                  <c:v>0.6495013348967981</c:v>
                </c:pt>
                <c:pt idx="55">
                  <c:v>0.663409462023408</c:v>
                </c:pt>
                <c:pt idx="56">
                  <c:v>0.6623934841381198</c:v>
                </c:pt>
                <c:pt idx="57">
                  <c:v>0.6601146335176796</c:v>
                </c:pt>
                <c:pt idx="58">
                  <c:v>0.6400102264966715</c:v>
                </c:pt>
                <c:pt idx="59">
                  <c:v>0.6464185142284643</c:v>
                </c:pt>
                <c:pt idx="60">
                  <c:v>0.6428506937147008</c:v>
                </c:pt>
                <c:pt idx="61">
                  <c:v>0.6926230021722166</c:v>
                </c:pt>
                <c:pt idx="62">
                  <c:v>0.6945283594659679</c:v>
                </c:pt>
                <c:pt idx="63">
                  <c:v>0.7118403472913842</c:v>
                </c:pt>
                <c:pt idx="64">
                  <c:v>0.7708384603207868</c:v>
                </c:pt>
                <c:pt idx="65">
                  <c:v>0.7740181871864492</c:v>
                </c:pt>
                <c:pt idx="66">
                  <c:v>0.7655779827697272</c:v>
                </c:pt>
                <c:pt idx="67">
                  <c:v>0.7892334422823526</c:v>
                </c:pt>
                <c:pt idx="68">
                  <c:v>0.8001164448441359</c:v>
                </c:pt>
                <c:pt idx="69">
                  <c:v>0.8059052344842759</c:v>
                </c:pt>
                <c:pt idx="70">
                  <c:v>0.7756681595555667</c:v>
                </c:pt>
                <c:pt idx="71">
                  <c:v>0.7505643414313559</c:v>
                </c:pt>
                <c:pt idx="72">
                  <c:v>0.81643839453129</c:v>
                </c:pt>
                <c:pt idx="73">
                  <c:v>0.7695122662147343</c:v>
                </c:pt>
                <c:pt idx="74">
                  <c:v>0.7525616946087873</c:v>
                </c:pt>
                <c:pt idx="75">
                  <c:v>0.7162276418684047</c:v>
                </c:pt>
                <c:pt idx="76">
                  <c:v>0.7052179126713692</c:v>
                </c:pt>
                <c:pt idx="77">
                  <c:v>0.7186477941002793</c:v>
                </c:pt>
                <c:pt idx="78">
                  <c:v>0.7444396149732921</c:v>
                </c:pt>
                <c:pt idx="79">
                  <c:v>0.7243542641092819</c:v>
                </c:pt>
                <c:pt idx="80">
                  <c:v>0.7582339507462815</c:v>
                </c:pt>
                <c:pt idx="81">
                  <c:v>0.7503306829714617</c:v>
                </c:pt>
                <c:pt idx="82">
                  <c:v>0.7361704633057242</c:v>
                </c:pt>
                <c:pt idx="83">
                  <c:v>0.6955105154783364</c:v>
                </c:pt>
                <c:pt idx="84">
                  <c:v>0.7136797905240774</c:v>
                </c:pt>
                <c:pt idx="85">
                  <c:v>0.6994522510259197</c:v>
                </c:pt>
                <c:pt idx="86">
                  <c:v>0.7215640546299966</c:v>
                </c:pt>
                <c:pt idx="87">
                  <c:v>0.7383825777813955</c:v>
                </c:pt>
                <c:pt idx="88">
                  <c:v>0.7205883913681799</c:v>
                </c:pt>
                <c:pt idx="89">
                  <c:v>0.695463591189584</c:v>
                </c:pt>
                <c:pt idx="90">
                  <c:v>0.7231414465266486</c:v>
                </c:pt>
                <c:pt idx="91">
                  <c:v>0.7551369413996786</c:v>
                </c:pt>
                <c:pt idx="92">
                  <c:v>0.7510489562918906</c:v>
                </c:pt>
                <c:pt idx="93">
                  <c:v>0.76724729925919</c:v>
                </c:pt>
                <c:pt idx="94">
                  <c:v>0.7569204304252577</c:v>
                </c:pt>
                <c:pt idx="95">
                  <c:v>0.7638830924894304</c:v>
                </c:pt>
                <c:pt idx="96">
                  <c:v>0.786147700912063</c:v>
                </c:pt>
                <c:pt idx="97">
                  <c:v>0.8155919659311534</c:v>
                </c:pt>
                <c:pt idx="98">
                  <c:v>0.8234271074818712</c:v>
                </c:pt>
                <c:pt idx="99">
                  <c:v>0.8090436470323574</c:v>
                </c:pt>
                <c:pt idx="100">
                  <c:v>0.7992875995367509</c:v>
                </c:pt>
                <c:pt idx="101">
                  <c:v>0.738206216760703</c:v>
                </c:pt>
                <c:pt idx="102">
                  <c:v>0.7333629015644816</c:v>
                </c:pt>
                <c:pt idx="103">
                  <c:v>0.7553558122484452</c:v>
                </c:pt>
                <c:pt idx="104">
                  <c:v>0.7509868485126386</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424658996321497</c:v>
                </c:pt>
                <c:pt idx="1">
                  <c:v>0.7093044904020367</c:v>
                </c:pt>
                <c:pt idx="2">
                  <c:v>0.715331729992549</c:v>
                </c:pt>
                <c:pt idx="3">
                  <c:v>0.68039787060338</c:v>
                </c:pt>
                <c:pt idx="4">
                  <c:v>0.6981174730743572</c:v>
                </c:pt>
                <c:pt idx="5">
                  <c:v>0.7076350061926492</c:v>
                </c:pt>
                <c:pt idx="6">
                  <c:v>0.7080107181904383</c:v>
                </c:pt>
                <c:pt idx="7">
                  <c:v>0.705193135975692</c:v>
                </c:pt>
                <c:pt idx="8">
                  <c:v>0.7311276963505575</c:v>
                </c:pt>
                <c:pt idx="9">
                  <c:v>0.7135700616807275</c:v>
                </c:pt>
                <c:pt idx="10">
                  <c:v>0.728419889625339</c:v>
                </c:pt>
                <c:pt idx="11">
                  <c:v>0.703089332568123</c:v>
                </c:pt>
                <c:pt idx="12">
                  <c:v>0.7163472804571528</c:v>
                </c:pt>
                <c:pt idx="13">
                  <c:v>0.697264026108134</c:v>
                </c:pt>
                <c:pt idx="14">
                  <c:v>0.6840735359690052</c:v>
                </c:pt>
                <c:pt idx="15">
                  <c:v>0.6896929534057198</c:v>
                </c:pt>
                <c:pt idx="16">
                  <c:v>0.7081999135293238</c:v>
                </c:pt>
                <c:pt idx="17">
                  <c:v>0.6744089123772242</c:v>
                </c:pt>
                <c:pt idx="18">
                  <c:v>0.6936714059744595</c:v>
                </c:pt>
                <c:pt idx="19">
                  <c:v>0.7166483438354574</c:v>
                </c:pt>
                <c:pt idx="20">
                  <c:v>0.6765338873016732</c:v>
                </c:pt>
                <c:pt idx="21">
                  <c:v>0.6351299512773158</c:v>
                </c:pt>
                <c:pt idx="22">
                  <c:v>0.6502330859009959</c:v>
                </c:pt>
                <c:pt idx="23">
                  <c:v>0.6675442303982833</c:v>
                </c:pt>
                <c:pt idx="24">
                  <c:v>0.6713698530458309</c:v>
                </c:pt>
                <c:pt idx="25">
                  <c:v>0.6966286535982263</c:v>
                </c:pt>
                <c:pt idx="26">
                  <c:v>0.6717244302378141</c:v>
                </c:pt>
                <c:pt idx="27">
                  <c:v>0.6883314372418643</c:v>
                </c:pt>
                <c:pt idx="28">
                  <c:v>0.700144823906797</c:v>
                </c:pt>
                <c:pt idx="29">
                  <c:v>0.6588122002852931</c:v>
                </c:pt>
                <c:pt idx="30">
                  <c:v>0.658429635989739</c:v>
                </c:pt>
                <c:pt idx="31">
                  <c:v>0.665449889118045</c:v>
                </c:pt>
                <c:pt idx="32">
                  <c:v>0.6731638978131573</c:v>
                </c:pt>
                <c:pt idx="33">
                  <c:v>0.6906794729748552</c:v>
                </c:pt>
                <c:pt idx="34">
                  <c:v>0.720545076378648</c:v>
                </c:pt>
                <c:pt idx="35">
                  <c:v>0.7048103903715672</c:v>
                </c:pt>
                <c:pt idx="36">
                  <c:v>0.6569502482427144</c:v>
                </c:pt>
                <c:pt idx="37">
                  <c:v>0.6487308130233559</c:v>
                </c:pt>
                <c:pt idx="38">
                  <c:v>0.6619090906940679</c:v>
                </c:pt>
                <c:pt idx="39">
                  <c:v>0.6972181304143468</c:v>
                </c:pt>
                <c:pt idx="40">
                  <c:v>0.716729319134465</c:v>
                </c:pt>
                <c:pt idx="41">
                  <c:v>0.736101407783586</c:v>
                </c:pt>
                <c:pt idx="42">
                  <c:v>0.7028813218045523</c:v>
                </c:pt>
                <c:pt idx="43">
                  <c:v>0.7661535604700622</c:v>
                </c:pt>
                <c:pt idx="44">
                  <c:v>0.8051235230948134</c:v>
                </c:pt>
                <c:pt idx="45">
                  <c:v>0.8016529699436091</c:v>
                </c:pt>
                <c:pt idx="46">
                  <c:v>0.7636814213842088</c:v>
                </c:pt>
                <c:pt idx="47">
                  <c:v>0.7667019542467135</c:v>
                </c:pt>
                <c:pt idx="48">
                  <c:v>0.8170686325597435</c:v>
                </c:pt>
                <c:pt idx="49">
                  <c:v>0.8460965989326548</c:v>
                </c:pt>
                <c:pt idx="50">
                  <c:v>0.8261876841211604</c:v>
                </c:pt>
                <c:pt idx="51">
                  <c:v>0.7892731141640285</c:v>
                </c:pt>
              </c:numCache>
            </c:numRef>
          </c:xVal>
          <c:yVal>
            <c:numRef>
              <c:f>Sheet1!$B$109:$B$160</c:f>
              <c:numCache>
                <c:formatCode>General</c:formatCode>
                <c:ptCount val="52"/>
                <c:pt idx="0">
                  <c:v>0.1894269572235674</c:v>
                </c:pt>
                <c:pt idx="1">
                  <c:v>0.19117082533589252</c:v>
                </c:pt>
                <c:pt idx="2">
                  <c:v>0.20759455710912023</c:v>
                </c:pt>
                <c:pt idx="3">
                  <c:v>0.22384832219948256</c:v>
                </c:pt>
                <c:pt idx="4">
                  <c:v>0.20623766285037504</c:v>
                </c:pt>
                <c:pt idx="5">
                  <c:v>0.21165817770232032</c:v>
                </c:pt>
                <c:pt idx="6">
                  <c:v>0.22437741143458437</c:v>
                </c:pt>
                <c:pt idx="7">
                  <c:v>0.22235600077056444</c:v>
                </c:pt>
                <c:pt idx="8">
                  <c:v>0.20519213050783155</c:v>
                </c:pt>
                <c:pt idx="9">
                  <c:v>0.21376594896331738</c:v>
                </c:pt>
                <c:pt idx="10">
                  <c:v>0.2140528441438373</c:v>
                </c:pt>
                <c:pt idx="11">
                  <c:v>0.21761800219538968</c:v>
                </c:pt>
                <c:pt idx="12">
                  <c:v>0.21529019671598115</c:v>
                </c:pt>
                <c:pt idx="13">
                  <c:v>0.21372609095286033</c:v>
                </c:pt>
                <c:pt idx="14">
                  <c:v>0.2179689366786141</c:v>
                </c:pt>
                <c:pt idx="15">
                  <c:v>0.2113149057091191</c:v>
                </c:pt>
                <c:pt idx="16">
                  <c:v>0.20783334348541146</c:v>
                </c:pt>
                <c:pt idx="17">
                  <c:v>0.22062226793520184</c:v>
                </c:pt>
                <c:pt idx="18">
                  <c:v>0.21652570915350647</c:v>
                </c:pt>
                <c:pt idx="19">
                  <c:v>0.20409511228533686</c:v>
                </c:pt>
                <c:pt idx="20">
                  <c:v>0.197868358961842</c:v>
                </c:pt>
                <c:pt idx="21">
                  <c:v>0.21445853092035227</c:v>
                </c:pt>
                <c:pt idx="22">
                  <c:v>0.20678544351781653</c:v>
                </c:pt>
                <c:pt idx="23">
                  <c:v>0.20759594352754027</c:v>
                </c:pt>
                <c:pt idx="24">
                  <c:v>0.20683994528043775</c:v>
                </c:pt>
                <c:pt idx="25">
                  <c:v>0.21157742402315485</c:v>
                </c:pt>
                <c:pt idx="26">
                  <c:v>0.20486941124391322</c:v>
                </c:pt>
                <c:pt idx="27">
                  <c:v>0.20829995193078032</c:v>
                </c:pt>
                <c:pt idx="28">
                  <c:v>0.19753175519630484</c:v>
                </c:pt>
                <c:pt idx="29">
                  <c:v>0.20345640219952868</c:v>
                </c:pt>
                <c:pt idx="30">
                  <c:v>0.20475976650202066</c:v>
                </c:pt>
                <c:pt idx="31">
                  <c:v>0.19873817034700317</c:v>
                </c:pt>
                <c:pt idx="32">
                  <c:v>0.1936018564561578</c:v>
                </c:pt>
                <c:pt idx="33">
                  <c:v>0.2043894859510553</c:v>
                </c:pt>
                <c:pt idx="34">
                  <c:v>0.2185812797348586</c:v>
                </c:pt>
                <c:pt idx="35">
                  <c:v>0.20918572001604493</c:v>
                </c:pt>
                <c:pt idx="36">
                  <c:v>0.20588853838065194</c:v>
                </c:pt>
                <c:pt idx="37">
                  <c:v>0.20963901323935613</c:v>
                </c:pt>
                <c:pt idx="38">
                  <c:v>0.20858050847457626</c:v>
                </c:pt>
                <c:pt idx="39">
                  <c:v>0.20504240915103883</c:v>
                </c:pt>
                <c:pt idx="40">
                  <c:v>0.19477986949673742</c:v>
                </c:pt>
                <c:pt idx="41">
                  <c:v>0.19627629334849347</c:v>
                </c:pt>
                <c:pt idx="42">
                  <c:v>0.20118151654932426</c:v>
                </c:pt>
                <c:pt idx="43">
                  <c:v>0.18615330271988698</c:v>
                </c:pt>
                <c:pt idx="44">
                  <c:v>0.1858633684413953</c:v>
                </c:pt>
                <c:pt idx="45">
                  <c:v>0.20327135963667328</c:v>
                </c:pt>
                <c:pt idx="46">
                  <c:v>0.22151978229014024</c:v>
                </c:pt>
                <c:pt idx="47">
                  <c:v>0.2227442149402081</c:v>
                </c:pt>
                <c:pt idx="48">
                  <c:v>0.21366227575767335</c:v>
                </c:pt>
                <c:pt idx="49">
                  <c:v>0.21703130666022</c:v>
                </c:pt>
                <c:pt idx="50">
                  <c:v>0.21331436121557068</c:v>
                </c:pt>
                <c:pt idx="51">
                  <c:v>0.212829164527250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6.834271033511094</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6.834271033511094</c:v>
                </c:pt>
                <c:pt idx="1">
                  <c:v>-36.834271033511094</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4.698021568603128</c:v>
                </c:pt>
              </c:numCache>
            </c:numRef>
          </c:xVal>
          <c:yVal>
            <c:numRef>
              <c:f>Sheet1!$B$171:$B$172</c:f>
              <c:numCache>
                <c:formatCode>General</c:formatCode>
                <c:ptCount val="2"/>
                <c:pt idx="0">
                  <c:v>0.21420927704017853</c:v>
                </c:pt>
                <c:pt idx="1">
                  <c:v>0.214209277040178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4.698021568603128</c:v>
                </c:pt>
                <c:pt idx="1">
                  <c:v>-4.698021568603128</c:v>
                </c:pt>
              </c:numCache>
            </c:numRef>
          </c:xVal>
          <c:yVal>
            <c:numRef>
              <c:f>Sheet1!$B$175:$B$176</c:f>
              <c:numCache>
                <c:formatCode>General</c:formatCode>
                <c:ptCount val="2"/>
                <c:pt idx="0">
                  <c:v>0.214209277040178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8598429540865142</c:v>
                </c:pt>
              </c:numCache>
            </c:numRef>
          </c:xVal>
          <c:yVal>
            <c:numRef>
              <c:f>Sheet1!$B$179:$B$180</c:f>
              <c:numCache>
                <c:formatCode>General</c:formatCode>
                <c:ptCount val="2"/>
                <c:pt idx="0">
                  <c:v>0.205666863441124</c:v>
                </c:pt>
                <c:pt idx="1">
                  <c:v>0.20566686344112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8598429540865142</c:v>
                </c:pt>
                <c:pt idx="1">
                  <c:v>2.8598429540865142</c:v>
                </c:pt>
              </c:numCache>
            </c:numRef>
          </c:xVal>
          <c:yVal>
            <c:numRef>
              <c:f>Sheet1!$B$183:$B$184</c:f>
              <c:numCache>
                <c:formatCode>General</c:formatCode>
                <c:ptCount val="2"/>
                <c:pt idx="0">
                  <c:v>0.20566686344112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424658996321497</c:v>
                </c:pt>
                <c:pt idx="1">
                  <c:v>0.7093044904020367</c:v>
                </c:pt>
                <c:pt idx="2">
                  <c:v>0.715331729992549</c:v>
                </c:pt>
                <c:pt idx="3">
                  <c:v>0.68039787060338</c:v>
                </c:pt>
                <c:pt idx="4">
                  <c:v>0.6981174730743572</c:v>
                </c:pt>
                <c:pt idx="5">
                  <c:v>0.7076350061926492</c:v>
                </c:pt>
                <c:pt idx="6">
                  <c:v>0.7080107181904383</c:v>
                </c:pt>
                <c:pt idx="7">
                  <c:v>0.705193135975692</c:v>
                </c:pt>
                <c:pt idx="8">
                  <c:v>0.7311276963505575</c:v>
                </c:pt>
                <c:pt idx="9">
                  <c:v>0.7135700616807275</c:v>
                </c:pt>
                <c:pt idx="10">
                  <c:v>0.728419889625339</c:v>
                </c:pt>
                <c:pt idx="11">
                  <c:v>0.703089332568123</c:v>
                </c:pt>
                <c:pt idx="12">
                  <c:v>0.7163472804571528</c:v>
                </c:pt>
                <c:pt idx="13">
                  <c:v>0.697264026108134</c:v>
                </c:pt>
                <c:pt idx="14">
                  <c:v>0.6840735359690052</c:v>
                </c:pt>
                <c:pt idx="15">
                  <c:v>0.6896929534057198</c:v>
                </c:pt>
                <c:pt idx="16">
                  <c:v>0.7081999135293238</c:v>
                </c:pt>
                <c:pt idx="17">
                  <c:v>0.6744089123772242</c:v>
                </c:pt>
                <c:pt idx="18">
                  <c:v>0.6936714059744595</c:v>
                </c:pt>
                <c:pt idx="19">
                  <c:v>0.7166483438354574</c:v>
                </c:pt>
                <c:pt idx="20">
                  <c:v>0.6765338873016732</c:v>
                </c:pt>
                <c:pt idx="21">
                  <c:v>0.6351299512773158</c:v>
                </c:pt>
                <c:pt idx="22">
                  <c:v>0.6502330859009959</c:v>
                </c:pt>
                <c:pt idx="23">
                  <c:v>0.6675442303982833</c:v>
                </c:pt>
                <c:pt idx="24">
                  <c:v>0.6713698530458309</c:v>
                </c:pt>
                <c:pt idx="25">
                  <c:v>0.6966286535982263</c:v>
                </c:pt>
                <c:pt idx="26">
                  <c:v>0.6717244302378141</c:v>
                </c:pt>
                <c:pt idx="27">
                  <c:v>0.6883314372418643</c:v>
                </c:pt>
                <c:pt idx="28">
                  <c:v>0.700144823906797</c:v>
                </c:pt>
                <c:pt idx="29">
                  <c:v>0.6588122002852931</c:v>
                </c:pt>
                <c:pt idx="30">
                  <c:v>0.658429635989739</c:v>
                </c:pt>
                <c:pt idx="31">
                  <c:v>0.665449889118045</c:v>
                </c:pt>
                <c:pt idx="32">
                  <c:v>0.6731638978131573</c:v>
                </c:pt>
                <c:pt idx="33">
                  <c:v>0.6906794729748552</c:v>
                </c:pt>
                <c:pt idx="34">
                  <c:v>0.720545076378648</c:v>
                </c:pt>
                <c:pt idx="35">
                  <c:v>0.7048103903715672</c:v>
                </c:pt>
                <c:pt idx="36">
                  <c:v>0.6569502482427144</c:v>
                </c:pt>
                <c:pt idx="37">
                  <c:v>0.6487308130233559</c:v>
                </c:pt>
                <c:pt idx="38">
                  <c:v>0.6619090906940679</c:v>
                </c:pt>
                <c:pt idx="39">
                  <c:v>0.6972181304143468</c:v>
                </c:pt>
                <c:pt idx="40">
                  <c:v>0.716729319134465</c:v>
                </c:pt>
                <c:pt idx="41">
                  <c:v>0.736101407783586</c:v>
                </c:pt>
                <c:pt idx="42">
                  <c:v>0.7028813218045523</c:v>
                </c:pt>
                <c:pt idx="43">
                  <c:v>0.7661535604700622</c:v>
                </c:pt>
                <c:pt idx="44">
                  <c:v>0.8051235230948134</c:v>
                </c:pt>
                <c:pt idx="45">
                  <c:v>0.8016529699436091</c:v>
                </c:pt>
                <c:pt idx="46">
                  <c:v>0.7636814213842088</c:v>
                </c:pt>
                <c:pt idx="47">
                  <c:v>0.7667019542467135</c:v>
                </c:pt>
                <c:pt idx="48">
                  <c:v>0.8170686325597435</c:v>
                </c:pt>
                <c:pt idx="49">
                  <c:v>0.8460965989326548</c:v>
                </c:pt>
                <c:pt idx="50">
                  <c:v>0.8261876841211604</c:v>
                </c:pt>
                <c:pt idx="51">
                  <c:v>0.7892731141640285</c:v>
                </c:pt>
                <c:pt idx="52">
                  <c:v>-4.698021568603128</c:v>
                </c:pt>
                <c:pt idx="53">
                  <c:v>-36.834271033511094</c:v>
                </c:pt>
                <c:pt idx="54">
                  <c:v>2.8598429540865142</c:v>
                </c:pt>
              </c:numCache>
            </c:numRef>
          </c:xVal>
          <c:yVal>
            <c:numRef>
              <c:f>Sheet1!$B$187:$B$241</c:f>
              <c:numCache>
                <c:formatCode>General</c:formatCode>
                <c:ptCount val="55"/>
                <c:pt idx="0">
                  <c:v>0.20806006730049406</c:v>
                </c:pt>
                <c:pt idx="1">
                  <c:v>0.2080975485853624</c:v>
                </c:pt>
                <c:pt idx="2">
                  <c:v>0.2080907361883833</c:v>
                </c:pt>
                <c:pt idx="3">
                  <c:v>0.2081302208172249</c:v>
                </c:pt>
                <c:pt idx="4">
                  <c:v>0.208110192914811</c:v>
                </c:pt>
                <c:pt idx="5">
                  <c:v>0.20809943555020158</c:v>
                </c:pt>
                <c:pt idx="6">
                  <c:v>0.20809901089489458</c:v>
                </c:pt>
                <c:pt idx="7">
                  <c:v>0.20810219551834944</c:v>
                </c:pt>
                <c:pt idx="8">
                  <c:v>0.20807288251061207</c:v>
                </c:pt>
                <c:pt idx="9">
                  <c:v>0.208092727345978</c:v>
                </c:pt>
                <c:pt idx="10">
                  <c:v>0.20807594305832677</c:v>
                </c:pt>
                <c:pt idx="11">
                  <c:v>0.208104573380348</c:v>
                </c:pt>
                <c:pt idx="12">
                  <c:v>0.20808958834403213</c:v>
                </c:pt>
                <c:pt idx="13">
                  <c:v>0.20811115753873996</c:v>
                </c:pt>
                <c:pt idx="14">
                  <c:v>0.2081260663297092</c:v>
                </c:pt>
                <c:pt idx="15">
                  <c:v>0.20811971488112396</c:v>
                </c:pt>
                <c:pt idx="16">
                  <c:v>0.20809879705342774</c:v>
                </c:pt>
                <c:pt idx="17">
                  <c:v>0.2081369899459969</c:v>
                </c:pt>
                <c:pt idx="18">
                  <c:v>0.20811521816287445</c:v>
                </c:pt>
                <c:pt idx="19">
                  <c:v>0.20808924806168264</c:v>
                </c:pt>
                <c:pt idx="20">
                  <c:v>0.208134588154507</c:v>
                </c:pt>
                <c:pt idx="21">
                  <c:v>0.2081813857049377</c:v>
                </c:pt>
                <c:pt idx="22">
                  <c:v>0.2081643151128134</c:v>
                </c:pt>
                <c:pt idx="23">
                  <c:v>0.2081447488774403</c:v>
                </c:pt>
                <c:pt idx="24">
                  <c:v>0.20814042489798404</c:v>
                </c:pt>
                <c:pt idx="25">
                  <c:v>0.20811187568005524</c:v>
                </c:pt>
                <c:pt idx="26">
                  <c:v>0.208140024130675</c:v>
                </c:pt>
                <c:pt idx="27">
                  <c:v>0.20812125375948815</c:v>
                </c:pt>
                <c:pt idx="28">
                  <c:v>0.2081079014647236</c:v>
                </c:pt>
                <c:pt idx="29">
                  <c:v>0.2081546184130162</c:v>
                </c:pt>
                <c:pt idx="30">
                  <c:v>0.20815505081325716</c:v>
                </c:pt>
                <c:pt idx="31">
                  <c:v>0.2081471160446976</c:v>
                </c:pt>
                <c:pt idx="32">
                  <c:v>0.2081383971463127</c:v>
                </c:pt>
                <c:pt idx="33">
                  <c:v>0.20811859984946945</c:v>
                </c:pt>
                <c:pt idx="34">
                  <c:v>0.20808484370897573</c:v>
                </c:pt>
                <c:pt idx="35">
                  <c:v>0.20810262812351774</c:v>
                </c:pt>
                <c:pt idx="36">
                  <c:v>0.20815672291811835</c:v>
                </c:pt>
                <c:pt idx="37">
                  <c:v>0.20816601308400892</c:v>
                </c:pt>
                <c:pt idx="38">
                  <c:v>0.20815111809640385</c:v>
                </c:pt>
                <c:pt idx="39">
                  <c:v>0.20811120941318115</c:v>
                </c:pt>
                <c:pt idx="40">
                  <c:v>0.2080891565378807</c:v>
                </c:pt>
                <c:pt idx="41">
                  <c:v>0.20806726088296104</c:v>
                </c:pt>
                <c:pt idx="42">
                  <c:v>0.2081048084882902</c:v>
                </c:pt>
                <c:pt idx="43">
                  <c:v>0.20803329389175354</c:v>
                </c:pt>
                <c:pt idx="44">
                  <c:v>0.20798924738394953</c:v>
                </c:pt>
                <c:pt idx="45">
                  <c:v>0.2079931700396608</c:v>
                </c:pt>
                <c:pt idx="46">
                  <c:v>0.20803608807184004</c:v>
                </c:pt>
                <c:pt idx="47">
                  <c:v>0.20803267405973072</c:v>
                </c:pt>
                <c:pt idx="48">
                  <c:v>0.2079757462070987</c:v>
                </c:pt>
                <c:pt idx="49">
                  <c:v>0.20794293682106743</c:v>
                </c:pt>
                <c:pt idx="50">
                  <c:v>0.20796543923350386</c:v>
                </c:pt>
                <c:pt idx="51">
                  <c:v>0.20800716259642713</c:v>
                </c:pt>
                <c:pt idx="52">
                  <c:v>0.21420927704017853</c:v>
                </c:pt>
                <c:pt idx="53">
                  <c:v>0.2505318564708487</c:v>
                </c:pt>
                <c:pt idx="54">
                  <c:v>0.20566686344112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2.6043</c:v>
                </c:pt>
                <c:pt idx="1">
                  <c:v>876.6323</c:v>
                </c:pt>
                <c:pt idx="2">
                  <c:v>911.1551</c:v>
                </c:pt>
                <c:pt idx="3">
                  <c:v>925.7721</c:v>
                </c:pt>
                <c:pt idx="4">
                  <c:v>930.7482</c:v>
                </c:pt>
                <c:pt idx="5">
                  <c:v>922.7364</c:v>
                </c:pt>
                <c:pt idx="6">
                  <c:v>872.0113</c:v>
                </c:pt>
                <c:pt idx="7">
                  <c:v>885.5919</c:v>
                </c:pt>
                <c:pt idx="8">
                  <c:v>888.882</c:v>
                </c:pt>
                <c:pt idx="9">
                  <c:v>872.4829</c:v>
                </c:pt>
                <c:pt idx="10">
                  <c:v>865.817</c:v>
                </c:pt>
                <c:pt idx="11">
                  <c:v>931.8931</c:v>
                </c:pt>
                <c:pt idx="12">
                  <c:v>939.3623</c:v>
                </c:pt>
                <c:pt idx="13">
                  <c:v>945.3954</c:v>
                </c:pt>
                <c:pt idx="14">
                  <c:v>953.6439</c:v>
                </c:pt>
                <c:pt idx="15">
                  <c:v>969.5476</c:v>
                </c:pt>
                <c:pt idx="16">
                  <c:v>991.3707</c:v>
                </c:pt>
                <c:pt idx="17">
                  <c:v>1017.5138</c:v>
                </c:pt>
                <c:pt idx="18">
                  <c:v>1058.1947</c:v>
                </c:pt>
                <c:pt idx="19">
                  <c:v>1063.6722</c:v>
                </c:pt>
                <c:pt idx="20">
                  <c:v>1093.8406</c:v>
                </c:pt>
                <c:pt idx="21">
                  <c:v>1108.3406</c:v>
                </c:pt>
                <c:pt idx="22">
                  <c:v>1059.9098</c:v>
                </c:pt>
                <c:pt idx="23">
                  <c:v>1050.6998</c:v>
                </c:pt>
                <c:pt idx="24">
                  <c:v>1052.7458</c:v>
                </c:pt>
                <c:pt idx="25">
                  <c:v>1027.5101</c:v>
                </c:pt>
                <c:pt idx="26">
                  <c:v>1011.3722</c:v>
                </c:pt>
                <c:pt idx="27">
                  <c:v>1028.1256</c:v>
                </c:pt>
                <c:pt idx="28">
                  <c:v>1023.2723</c:v>
                </c:pt>
                <c:pt idx="29">
                  <c:v>1005.2878</c:v>
                </c:pt>
                <c:pt idx="30">
                  <c:v>1008.6892</c:v>
                </c:pt>
                <c:pt idx="31">
                  <c:v>989.1239</c:v>
                </c:pt>
                <c:pt idx="32">
                  <c:v>977.6285</c:v>
                </c:pt>
                <c:pt idx="33">
                  <c:v>941.2271</c:v>
                </c:pt>
                <c:pt idx="34">
                  <c:v>953.1225</c:v>
                </c:pt>
                <c:pt idx="35">
                  <c:v>987.6614</c:v>
                </c:pt>
                <c:pt idx="36">
                  <c:v>1076.9937</c:v>
                </c:pt>
                <c:pt idx="37">
                  <c:v>1081.8702</c:v>
                </c:pt>
                <c:pt idx="38">
                  <c:v>1144.6705</c:v>
                </c:pt>
                <c:pt idx="39">
                  <c:v>1158.5252</c:v>
                </c:pt>
                <c:pt idx="40">
                  <c:v>1148.5003</c:v>
                </c:pt>
                <c:pt idx="41">
                  <c:v>1186.201</c:v>
                </c:pt>
                <c:pt idx="42">
                  <c:v>1208.5581</c:v>
                </c:pt>
                <c:pt idx="43">
                  <c:v>1216.1227</c:v>
                </c:pt>
                <c:pt idx="44">
                  <c:v>1132.884</c:v>
                </c:pt>
                <c:pt idx="45">
                  <c:v>1097.0486</c:v>
                </c:pt>
                <c:pt idx="46">
                  <c:v>1096.5677</c:v>
                </c:pt>
                <c:pt idx="47">
                  <c:v>1079.5043</c:v>
                </c:pt>
                <c:pt idx="48">
                  <c:v>1088.401</c:v>
                </c:pt>
                <c:pt idx="49">
                  <c:v>1052.9549</c:v>
                </c:pt>
                <c:pt idx="50">
                  <c:v>1044.3626</c:v>
                </c:pt>
                <c:pt idx="51">
                  <c:v>1064.9533</c:v>
                </c:pt>
                <c:pt idx="52">
                  <c:v>1066.5982</c:v>
                </c:pt>
                <c:pt idx="53">
                  <c:v>1142.773</c:v>
                </c:pt>
                <c:pt idx="54">
                  <c:v>1128.7357</c:v>
                </c:pt>
                <c:pt idx="55">
                  <c:v>1144.0735</c:v>
                </c:pt>
                <c:pt idx="56">
                  <c:v>1161.348</c:v>
                </c:pt>
                <c:pt idx="57">
                  <c:v>1128.1435</c:v>
                </c:pt>
                <c:pt idx="58">
                  <c:v>1100.9694</c:v>
                </c:pt>
                <c:pt idx="59">
                  <c:v>1083.4335</c:v>
                </c:pt>
                <c:pt idx="60">
                  <c:v>1101.4643</c:v>
                </c:pt>
                <c:pt idx="61">
                  <c:v>1133.1802</c:v>
                </c:pt>
                <c:pt idx="62">
                  <c:v>1077.1723</c:v>
                </c:pt>
                <c:pt idx="63">
                  <c:v>1103.7837</c:v>
                </c:pt>
                <c:pt idx="64">
                  <c:v>1118.5354</c:v>
                </c:pt>
                <c:pt idx="65">
                  <c:v>1106.8087</c:v>
                </c:pt>
                <c:pt idx="66">
                  <c:v>1110.3682</c:v>
                </c:pt>
                <c:pt idx="67">
                  <c:v>1132.4642</c:v>
                </c:pt>
                <c:pt idx="68">
                  <c:v>1159.9969</c:v>
                </c:pt>
                <c:pt idx="69">
                  <c:v>1190.1922</c:v>
                </c:pt>
                <c:pt idx="70">
                  <c:v>1167.0873</c:v>
                </c:pt>
                <c:pt idx="71">
                  <c:v>1233.9912</c:v>
                </c:pt>
                <c:pt idx="72">
                  <c:v>1323.4259</c:v>
                </c:pt>
                <c:pt idx="73">
                  <c:v>1294.9267</c:v>
                </c:pt>
                <c:pt idx="74">
                  <c:v>1281.6593</c:v>
                </c:pt>
                <c:pt idx="75">
                  <c:v>1233.0492</c:v>
                </c:pt>
                <c:pt idx="76">
                  <c:v>1207.2538</c:v>
                </c:pt>
                <c:pt idx="77">
                  <c:v>1207.88</c:v>
                </c:pt>
                <c:pt idx="78">
                  <c:v>1271.0125</c:v>
                </c:pt>
                <c:pt idx="79">
                  <c:v>1246.3288</c:v>
                </c:pt>
                <c:pt idx="80">
                  <c:v>1253.2253</c:v>
                </c:pt>
                <c:pt idx="81">
                  <c:v>1225.5049</c:v>
                </c:pt>
                <c:pt idx="82">
                  <c:v>1230.3508</c:v>
                </c:pt>
                <c:pt idx="83">
                  <c:v>1187.5029</c:v>
                </c:pt>
                <c:pt idx="84">
                  <c:v>1210.0767</c:v>
                </c:pt>
                <c:pt idx="85">
                  <c:v>1189.6393</c:v>
                </c:pt>
                <c:pt idx="86">
                  <c:v>1187.354</c:v>
                </c:pt>
                <c:pt idx="87">
                  <c:v>1190.172</c:v>
                </c:pt>
                <c:pt idx="88">
                  <c:v>1242.5066</c:v>
                </c:pt>
                <c:pt idx="89">
                  <c:v>1226.9135</c:v>
                </c:pt>
                <c:pt idx="90">
                  <c:v>1304.1472</c:v>
                </c:pt>
                <c:pt idx="91">
                  <c:v>1307.3926</c:v>
                </c:pt>
                <c:pt idx="92">
                  <c:v>1242.1643</c:v>
                </c:pt>
                <c:pt idx="93">
                  <c:v>1284.4174</c:v>
                </c:pt>
                <c:pt idx="94">
                  <c:v>1266.4449</c:v>
                </c:pt>
                <c:pt idx="95">
                  <c:v>1225.7909</c:v>
                </c:pt>
                <c:pt idx="96">
                  <c:v>1195.1809</c:v>
                </c:pt>
                <c:pt idx="97">
                  <c:v>1174.6454</c:v>
                </c:pt>
                <c:pt idx="98">
                  <c:v>1162.5787</c:v>
                </c:pt>
                <c:pt idx="99">
                  <c:v>1120.9807</c:v>
                </c:pt>
                <c:pt idx="100">
                  <c:v>1121.8517</c:v>
                </c:pt>
                <c:pt idx="101">
                  <c:v>1130.0274</c:v>
                </c:pt>
                <c:pt idx="102">
                  <c:v>1140.2487</c:v>
                </c:pt>
                <c:pt idx="103">
                  <c:v>1135.6579</c:v>
                </c:pt>
                <c:pt idx="104">
                  <c:v>1183.6327</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numCache>
            </c:numRef>
          </c:xVal>
          <c:yVal>
            <c:numRef>
              <c:f>Sheet1!$B$109:$B$160</c:f>
              <c:numCache>
                <c:formatCode>General</c:formatCode>
                <c:ptCount val="52"/>
                <c:pt idx="0">
                  <c:v>0.1894269572235674</c:v>
                </c:pt>
                <c:pt idx="1">
                  <c:v>0.19117082533589252</c:v>
                </c:pt>
                <c:pt idx="2">
                  <c:v>0.20759455710912023</c:v>
                </c:pt>
                <c:pt idx="3">
                  <c:v>0.22384832219948256</c:v>
                </c:pt>
                <c:pt idx="4">
                  <c:v>0.20623766285037504</c:v>
                </c:pt>
                <c:pt idx="5">
                  <c:v>0.21165817770232032</c:v>
                </c:pt>
                <c:pt idx="6">
                  <c:v>0.22437741143458437</c:v>
                </c:pt>
                <c:pt idx="7">
                  <c:v>0.22235600077056444</c:v>
                </c:pt>
                <c:pt idx="8">
                  <c:v>0.20519213050783155</c:v>
                </c:pt>
                <c:pt idx="9">
                  <c:v>0.21376594896331738</c:v>
                </c:pt>
                <c:pt idx="10">
                  <c:v>0.2140528441438373</c:v>
                </c:pt>
                <c:pt idx="11">
                  <c:v>0.21761800219538968</c:v>
                </c:pt>
                <c:pt idx="12">
                  <c:v>0.21529019671598115</c:v>
                </c:pt>
                <c:pt idx="13">
                  <c:v>0.21372609095286033</c:v>
                </c:pt>
                <c:pt idx="14">
                  <c:v>0.2179689366786141</c:v>
                </c:pt>
                <c:pt idx="15">
                  <c:v>0.2113149057091191</c:v>
                </c:pt>
                <c:pt idx="16">
                  <c:v>0.20783334348541146</c:v>
                </c:pt>
                <c:pt idx="17">
                  <c:v>0.22062226793520184</c:v>
                </c:pt>
                <c:pt idx="18">
                  <c:v>0.21652570915350647</c:v>
                </c:pt>
                <c:pt idx="19">
                  <c:v>0.20409511228533686</c:v>
                </c:pt>
                <c:pt idx="20">
                  <c:v>0.197868358961842</c:v>
                </c:pt>
                <c:pt idx="21">
                  <c:v>0.21445853092035227</c:v>
                </c:pt>
                <c:pt idx="22">
                  <c:v>0.20678544351781653</c:v>
                </c:pt>
                <c:pt idx="23">
                  <c:v>0.20759594352754027</c:v>
                </c:pt>
                <c:pt idx="24">
                  <c:v>0.20683994528043775</c:v>
                </c:pt>
                <c:pt idx="25">
                  <c:v>0.21157742402315485</c:v>
                </c:pt>
                <c:pt idx="26">
                  <c:v>0.20486941124391322</c:v>
                </c:pt>
                <c:pt idx="27">
                  <c:v>0.20829995193078032</c:v>
                </c:pt>
                <c:pt idx="28">
                  <c:v>0.19753175519630484</c:v>
                </c:pt>
                <c:pt idx="29">
                  <c:v>0.20345640219952868</c:v>
                </c:pt>
                <c:pt idx="30">
                  <c:v>0.20475976650202066</c:v>
                </c:pt>
                <c:pt idx="31">
                  <c:v>0.19873817034700317</c:v>
                </c:pt>
                <c:pt idx="32">
                  <c:v>0.1936018564561578</c:v>
                </c:pt>
                <c:pt idx="33">
                  <c:v>0.2043894859510553</c:v>
                </c:pt>
                <c:pt idx="34">
                  <c:v>0.2185812797348586</c:v>
                </c:pt>
                <c:pt idx="35">
                  <c:v>0.20918572001604493</c:v>
                </c:pt>
                <c:pt idx="36">
                  <c:v>0.20588853838065194</c:v>
                </c:pt>
                <c:pt idx="37">
                  <c:v>0.20963901323935613</c:v>
                </c:pt>
                <c:pt idx="38">
                  <c:v>0.20858050847457626</c:v>
                </c:pt>
                <c:pt idx="39">
                  <c:v>0.20504240915103883</c:v>
                </c:pt>
                <c:pt idx="40">
                  <c:v>0.19477986949673742</c:v>
                </c:pt>
                <c:pt idx="41">
                  <c:v>0.19627629334849347</c:v>
                </c:pt>
                <c:pt idx="42">
                  <c:v>0.20118151654932426</c:v>
                </c:pt>
                <c:pt idx="43">
                  <c:v>0.18615330271988698</c:v>
                </c:pt>
                <c:pt idx="44">
                  <c:v>0.1858633684413953</c:v>
                </c:pt>
                <c:pt idx="45">
                  <c:v>0.20327135963667328</c:v>
                </c:pt>
                <c:pt idx="46">
                  <c:v>0.22151978229014024</c:v>
                </c:pt>
                <c:pt idx="47">
                  <c:v>0.2227442149402081</c:v>
                </c:pt>
                <c:pt idx="48">
                  <c:v>0.21366227575767335</c:v>
                </c:pt>
                <c:pt idx="49">
                  <c:v>0.21703130666022</c:v>
                </c:pt>
                <c:pt idx="50">
                  <c:v>0.21331436121557068</c:v>
                </c:pt>
                <c:pt idx="51">
                  <c:v>0.212829164527250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57.6649363817924</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57.6649363817924</c:v>
                </c:pt>
                <c:pt idx="1">
                  <c:v>757.6649363817924</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58.5195380372122</c:v>
                </c:pt>
              </c:numCache>
            </c:numRef>
          </c:xVal>
          <c:yVal>
            <c:numRef>
              <c:f>Sheet1!$B$171:$B$172</c:f>
              <c:numCache>
                <c:formatCode>General</c:formatCode>
                <c:ptCount val="2"/>
                <c:pt idx="0">
                  <c:v>0.21420927704017853</c:v>
                </c:pt>
                <c:pt idx="1">
                  <c:v>0.214209277040178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58.5195380372122</c:v>
                </c:pt>
                <c:pt idx="1">
                  <c:v>1158.5195380372122</c:v>
                </c:pt>
              </c:numCache>
            </c:numRef>
          </c:xVal>
          <c:yVal>
            <c:numRef>
              <c:f>Sheet1!$B$175:$B$176</c:f>
              <c:numCache>
                <c:formatCode>General</c:formatCode>
                <c:ptCount val="2"/>
                <c:pt idx="0">
                  <c:v>0.214209277040178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52.7932888032012</c:v>
                </c:pt>
              </c:numCache>
            </c:numRef>
          </c:xVal>
          <c:yVal>
            <c:numRef>
              <c:f>Sheet1!$B$179:$B$180</c:f>
              <c:numCache>
                <c:formatCode>General</c:formatCode>
                <c:ptCount val="2"/>
                <c:pt idx="0">
                  <c:v>0.205666863441124</c:v>
                </c:pt>
                <c:pt idx="1">
                  <c:v>0.20566686344112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52.7932888032012</c:v>
                </c:pt>
                <c:pt idx="1">
                  <c:v>1252.7932888032012</c:v>
                </c:pt>
              </c:numCache>
            </c:numRef>
          </c:xVal>
          <c:yVal>
            <c:numRef>
              <c:f>Sheet1!$B$183:$B$184</c:f>
              <c:numCache>
                <c:formatCode>General</c:formatCode>
                <c:ptCount val="2"/>
                <c:pt idx="0">
                  <c:v>0.20566686344112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pt idx="52">
                  <c:v>1158.5195380372122</c:v>
                </c:pt>
                <c:pt idx="53">
                  <c:v>757.6649363817924</c:v>
                </c:pt>
                <c:pt idx="54">
                  <c:v>1252.7932888032012</c:v>
                </c:pt>
              </c:numCache>
            </c:numRef>
          </c:xVal>
          <c:yVal>
            <c:numRef>
              <c:f>Sheet1!$B$187:$B$241</c:f>
              <c:numCache>
                <c:formatCode>General</c:formatCode>
                <c:ptCount val="55"/>
                <c:pt idx="0">
                  <c:v>0.20925500458059665</c:v>
                </c:pt>
                <c:pt idx="1">
                  <c:v>0.20833431455659024</c:v>
                </c:pt>
                <c:pt idx="2">
                  <c:v>0.208286706563183</c:v>
                </c:pt>
                <c:pt idx="3">
                  <c:v>0.21030588715299958</c:v>
                </c:pt>
                <c:pt idx="4">
                  <c:v>0.20706449320674045</c:v>
                </c:pt>
                <c:pt idx="5">
                  <c:v>0.2081408651749284</c:v>
                </c:pt>
                <c:pt idx="6">
                  <c:v>0.21697342559321103</c:v>
                </c:pt>
                <c:pt idx="7">
                  <c:v>0.21364451775271381</c:v>
                </c:pt>
                <c:pt idx="8">
                  <c:v>0.20788446704370434</c:v>
                </c:pt>
                <c:pt idx="9">
                  <c:v>0.21200997966616025</c:v>
                </c:pt>
                <c:pt idx="10">
                  <c:v>0.20970632908300013</c:v>
                </c:pt>
                <c:pt idx="11">
                  <c:v>0.22299673382648025</c:v>
                </c:pt>
                <c:pt idx="12">
                  <c:v>0.21891288499421968</c:v>
                </c:pt>
                <c:pt idx="13">
                  <c:v>0.21248634956136497</c:v>
                </c:pt>
                <c:pt idx="14">
                  <c:v>0.21459093276592522</c:v>
                </c:pt>
                <c:pt idx="15">
                  <c:v>0.21209473892964167</c:v>
                </c:pt>
                <c:pt idx="16">
                  <c:v>0.2091883316427416</c:v>
                </c:pt>
                <c:pt idx="17">
                  <c:v>0.21483039535476672</c:v>
                </c:pt>
                <c:pt idx="18">
                  <c:v>0.21331467790345282</c:v>
                </c:pt>
                <c:pt idx="19">
                  <c:v>0.20168211687253373</c:v>
                </c:pt>
                <c:pt idx="20">
                  <c:v>0.2021333054556565</c:v>
                </c:pt>
                <c:pt idx="21">
                  <c:v>0.21101702589121688</c:v>
                </c:pt>
                <c:pt idx="22">
                  <c:v>0.20792993657376097</c:v>
                </c:pt>
                <c:pt idx="23">
                  <c:v>0.20598215891276983</c:v>
                </c:pt>
                <c:pt idx="24">
                  <c:v>0.2051503238532384</c:v>
                </c:pt>
                <c:pt idx="25">
                  <c:v>0.20884920397596207</c:v>
                </c:pt>
                <c:pt idx="26">
                  <c:v>0.2092121900071575</c:v>
                </c:pt>
                <c:pt idx="27">
                  <c:v>0.20905402527078076</c:v>
                </c:pt>
                <c:pt idx="28">
                  <c:v>0.20630136081299005</c:v>
                </c:pt>
                <c:pt idx="29">
                  <c:v>0.20558558269665614</c:v>
                </c:pt>
                <c:pt idx="30">
                  <c:v>0.2066178080824535</c:v>
                </c:pt>
                <c:pt idx="31">
                  <c:v>0.207860717414713</c:v>
                </c:pt>
                <c:pt idx="32">
                  <c:v>0.20590364287491797</c:v>
                </c:pt>
                <c:pt idx="33">
                  <c:v>0.20618554852449786</c:v>
                </c:pt>
                <c:pt idx="34">
                  <c:v>0.20479417003122247</c:v>
                </c:pt>
                <c:pt idx="35">
                  <c:v>0.20150429820815924</c:v>
                </c:pt>
                <c:pt idx="36">
                  <c:v>0.1980124503338879</c:v>
                </c:pt>
                <c:pt idx="37">
                  <c:v>0.19994219603696495</c:v>
                </c:pt>
                <c:pt idx="38">
                  <c:v>0.19746890913013201</c:v>
                </c:pt>
                <c:pt idx="39">
                  <c:v>0.20281241255004157</c:v>
                </c:pt>
                <c:pt idx="40">
                  <c:v>0.20043780304103978</c:v>
                </c:pt>
                <c:pt idx="41">
                  <c:v>0.19695372974962785</c:v>
                </c:pt>
                <c:pt idx="42">
                  <c:v>0.19838711636194323</c:v>
                </c:pt>
                <c:pt idx="43">
                  <c:v>0.19678492706421036</c:v>
                </c:pt>
                <c:pt idx="44">
                  <c:v>0.20441604259215046</c:v>
                </c:pt>
                <c:pt idx="45">
                  <c:v>0.2090216221142478</c:v>
                </c:pt>
                <c:pt idx="46">
                  <c:v>0.21024808521353539</c:v>
                </c:pt>
                <c:pt idx="47">
                  <c:v>0.21293163924770275</c:v>
                </c:pt>
                <c:pt idx="48">
                  <c:v>0.21312344853671006</c:v>
                </c:pt>
                <c:pt idx="49">
                  <c:v>0.21114103864298156</c:v>
                </c:pt>
                <c:pt idx="50">
                  <c:v>0.2150182720459174</c:v>
                </c:pt>
                <c:pt idx="51">
                  <c:v>0.21850799051812353</c:v>
                </c:pt>
                <c:pt idx="52">
                  <c:v>0.21420927704017853</c:v>
                </c:pt>
                <c:pt idx="53">
                  <c:v>0.2505318564708487</c:v>
                </c:pt>
                <c:pt idx="54">
                  <c:v>0.20566686344112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1.0"/>
          <c:min val="60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7115581873397162</c:v>
                </c:pt>
                <c:pt idx="1">
                  <c:v>0.207300688122593</c:v>
                </c:pt>
                <c:pt idx="2">
                  <c:v>0.1980371017493784</c:v>
                </c:pt>
                <c:pt idx="3">
                  <c:v>0.19999278898197925</c:v>
                </c:pt>
                <c:pt idx="4">
                  <c:v>0.18902199556191945</c:v>
                </c:pt>
                <c:pt idx="5">
                  <c:v>0.19077629782257513</c:v>
                </c:pt>
                <c:pt idx="6">
                  <c:v>0.19608881196950173</c:v>
                </c:pt>
                <c:pt idx="7">
                  <c:v>0.18395372134034113</c:v>
                </c:pt>
                <c:pt idx="8">
                  <c:v>0.16912327527011467</c:v>
                </c:pt>
                <c:pt idx="9">
                  <c:v>0.1779881667475602</c:v>
                </c:pt>
                <c:pt idx="10">
                  <c:v>0.1839801094590035</c:v>
                </c:pt>
                <c:pt idx="11">
                  <c:v>0.20011440469968905</c:v>
                </c:pt>
                <c:pt idx="12">
                  <c:v>0.20670660690227968</c:v>
                </c:pt>
                <c:pt idx="13">
                  <c:v>0.19935162960312303</c:v>
                </c:pt>
                <c:pt idx="14">
                  <c:v>0.19691920295500667</c:v>
                </c:pt>
                <c:pt idx="15">
                  <c:v>0.2147221706820805</c:v>
                </c:pt>
                <c:pt idx="16">
                  <c:v>0.20094985972417692</c:v>
                </c:pt>
                <c:pt idx="17">
                  <c:v>0.19720676444720556</c:v>
                </c:pt>
                <c:pt idx="18">
                  <c:v>0.1969488923812037</c:v>
                </c:pt>
                <c:pt idx="19">
                  <c:v>0.19723217999526496</c:v>
                </c:pt>
                <c:pt idx="20">
                  <c:v>0.202268668281674</c:v>
                </c:pt>
                <c:pt idx="21">
                  <c:v>0.18327158334084465</c:v>
                </c:pt>
                <c:pt idx="22">
                  <c:v>0.16932703406592303</c:v>
                </c:pt>
                <c:pt idx="23">
                  <c:v>0.1595017908166785</c:v>
                </c:pt>
                <c:pt idx="24">
                  <c:v>0.1796548527678451</c:v>
                </c:pt>
                <c:pt idx="25">
                  <c:v>0.17433061181180676</c:v>
                </c:pt>
                <c:pt idx="26">
                  <c:v>0.1652659985568813</c:v>
                </c:pt>
                <c:pt idx="27">
                  <c:v>0.16992691176114025</c:v>
                </c:pt>
                <c:pt idx="28">
                  <c:v>0.16024844333364247</c:v>
                </c:pt>
                <c:pt idx="29">
                  <c:v>0.17574147966017237</c:v>
                </c:pt>
                <c:pt idx="30">
                  <c:v>0.1700388763908986</c:v>
                </c:pt>
                <c:pt idx="31">
                  <c:v>0.1608304504278741</c:v>
                </c:pt>
                <c:pt idx="32">
                  <c:v>0.15511663713887963</c:v>
                </c:pt>
                <c:pt idx="33">
                  <c:v>0.1662151772938804</c:v>
                </c:pt>
                <c:pt idx="34">
                  <c:v>0.18182632765902706</c:v>
                </c:pt>
                <c:pt idx="35">
                  <c:v>0.1796299137235288</c:v>
                </c:pt>
                <c:pt idx="36">
                  <c:v>0.15702378726007094</c:v>
                </c:pt>
                <c:pt idx="37">
                  <c:v>0.16043683798888317</c:v>
                </c:pt>
                <c:pt idx="38">
                  <c:v>0.17658203890236354</c:v>
                </c:pt>
                <c:pt idx="39">
                  <c:v>0.1875459141587108</c:v>
                </c:pt>
                <c:pt idx="40">
                  <c:v>0.2062796909767593</c:v>
                </c:pt>
                <c:pt idx="41">
                  <c:v>0.20551442450335572</c:v>
                </c:pt>
                <c:pt idx="42">
                  <c:v>0.18901957748296208</c:v>
                </c:pt>
                <c:pt idx="43">
                  <c:v>0.20136840532231218</c:v>
                </c:pt>
                <c:pt idx="44">
                  <c:v>0.2155970297012368</c:v>
                </c:pt>
                <c:pt idx="45">
                  <c:v>0.22482930227675801</c:v>
                </c:pt>
                <c:pt idx="46">
                  <c:v>0.2308709149134772</c:v>
                </c:pt>
                <c:pt idx="47">
                  <c:v>0.20206432358464987</c:v>
                </c:pt>
                <c:pt idx="48">
                  <c:v>0.25618808161131706</c:v>
                </c:pt>
                <c:pt idx="49">
                  <c:v>0.25836775644294463</c:v>
                </c:pt>
                <c:pt idx="50">
                  <c:v>0.20904779403242854</c:v>
                </c:pt>
                <c:pt idx="51">
                  <c:v>0.1940374186870127</c:v>
                </c:pt>
                <c:pt idx="52">
                  <c:v>0.21722734266724097</c:v>
                </c:pt>
                <c:pt idx="53">
                  <c:v>0.22627361264396448</c:v>
                </c:pt>
                <c:pt idx="54">
                  <c:v>0.22022647196897566</c:v>
                </c:pt>
                <c:pt idx="55">
                  <c:v>0.19669355309697917</c:v>
                </c:pt>
                <c:pt idx="56">
                  <c:v>0.2063614741024211</c:v>
                </c:pt>
                <c:pt idx="57">
                  <c:v>0.20295270132294477</c:v>
                </c:pt>
                <c:pt idx="58">
                  <c:v>0.21189288307275622</c:v>
                </c:pt>
                <c:pt idx="59">
                  <c:v>0.23585046028057327</c:v>
                </c:pt>
                <c:pt idx="60">
                  <c:v>0.22610692833378943</c:v>
                </c:pt>
                <c:pt idx="61">
                  <c:v>0.2237204126706858</c:v>
                </c:pt>
                <c:pt idx="62">
                  <c:v>0.2497772248466278</c:v>
                </c:pt>
                <c:pt idx="63">
                  <c:v>0.24395672173020783</c:v>
                </c:pt>
                <c:pt idx="64">
                  <c:v>0.2485757460553211</c:v>
                </c:pt>
                <c:pt idx="65">
                  <c:v>0.21586965756784252</c:v>
                </c:pt>
                <c:pt idx="66">
                  <c:v>0.21560128929535344</c:v>
                </c:pt>
                <c:pt idx="67">
                  <c:v>0.24803669193004793</c:v>
                </c:pt>
                <c:pt idx="68">
                  <c:v>0.2196373758299972</c:v>
                </c:pt>
                <c:pt idx="69">
                  <c:v>0.19223105270901147</c:v>
                </c:pt>
                <c:pt idx="70">
                  <c:v>0.17865546788349443</c:v>
                </c:pt>
                <c:pt idx="71">
                  <c:v>0.19948873937041972</c:v>
                </c:pt>
                <c:pt idx="72">
                  <c:v>0.2274448715201371</c:v>
                </c:pt>
                <c:pt idx="73">
                  <c:v>0.20835810776379657</c:v>
                </c:pt>
                <c:pt idx="74">
                  <c:v>0.21410012623404862</c:v>
                </c:pt>
                <c:pt idx="75">
                  <c:v>0.1992840509155767</c:v>
                </c:pt>
                <c:pt idx="76">
                  <c:v>0.1758675900760442</c:v>
                </c:pt>
                <c:pt idx="77">
                  <c:v>0.18839424801422405</c:v>
                </c:pt>
                <c:pt idx="78">
                  <c:v>0.1892765790734745</c:v>
                </c:pt>
                <c:pt idx="79">
                  <c:v>0.18111746091830402</c:v>
                </c:pt>
                <c:pt idx="80">
                  <c:v>0.1749949961545724</c:v>
                </c:pt>
                <c:pt idx="81">
                  <c:v>0.19779782099496276</c:v>
                </c:pt>
                <c:pt idx="82">
                  <c:v>0.19914165285279314</c:v>
                </c:pt>
                <c:pt idx="83">
                  <c:v>0.17419974957545242</c:v>
                </c:pt>
                <c:pt idx="84">
                  <c:v>0.16370497147249646</c:v>
                </c:pt>
                <c:pt idx="85">
                  <c:v>0.17698142766540423</c:v>
                </c:pt>
                <c:pt idx="86">
                  <c:v>0.1896707420619344</c:v>
                </c:pt>
                <c:pt idx="87">
                  <c:v>0.19777638412660115</c:v>
                </c:pt>
                <c:pt idx="88">
                  <c:v>0.16577270845230324</c:v>
                </c:pt>
                <c:pt idx="89">
                  <c:v>0.15861306456447696</c:v>
                </c:pt>
                <c:pt idx="90">
                  <c:v>0.17628194379568343</c:v>
                </c:pt>
                <c:pt idx="91">
                  <c:v>0.18943998678520377</c:v>
                </c:pt>
                <c:pt idx="92">
                  <c:v>0.19271168948826808</c:v>
                </c:pt>
                <c:pt idx="93">
                  <c:v>0.1781129545881908</c:v>
                </c:pt>
                <c:pt idx="94">
                  <c:v>0.17979772450933743</c:v>
                </c:pt>
                <c:pt idx="95">
                  <c:v>0.17091147145314547</c:v>
                </c:pt>
                <c:pt idx="96">
                  <c:v>0.1879527619605963</c:v>
                </c:pt>
                <c:pt idx="97">
                  <c:v>0.19500924456843213</c:v>
                </c:pt>
                <c:pt idx="98">
                  <c:v>0.19975071423872237</c:v>
                </c:pt>
                <c:pt idx="99">
                  <c:v>0.2131470569645983</c:v>
                </c:pt>
                <c:pt idx="100">
                  <c:v>0.22272472058398754</c:v>
                </c:pt>
                <c:pt idx="101">
                  <c:v>0.2137070334461175</c:v>
                </c:pt>
                <c:pt idx="102">
                  <c:v>0.1982974899813351</c:v>
                </c:pt>
                <c:pt idx="103">
                  <c:v>0.19373973465048708</c:v>
                </c:pt>
                <c:pt idx="104">
                  <c:v>0.20257135980586277</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455044922131812</c:v>
                </c:pt>
                <c:pt idx="1">
                  <c:v>0.23580830048493007</c:v>
                </c:pt>
                <c:pt idx="2">
                  <c:v>0.22936151566356267</c:v>
                </c:pt>
                <c:pt idx="3">
                  <c:v>0.22172066375158178</c:v>
                </c:pt>
                <c:pt idx="4">
                  <c:v>0.20865009628091727</c:v>
                </c:pt>
                <c:pt idx="5">
                  <c:v>0.22567149078974963</c:v>
                </c:pt>
                <c:pt idx="6">
                  <c:v>0.211266566302603</c:v>
                </c:pt>
                <c:pt idx="7">
                  <c:v>0.19280146328543996</c:v>
                </c:pt>
                <c:pt idx="8">
                  <c:v>0.23629730601965668</c:v>
                </c:pt>
                <c:pt idx="9">
                  <c:v>0.22106262714282693</c:v>
                </c:pt>
                <c:pt idx="10">
                  <c:v>0.21650038659442591</c:v>
                </c:pt>
                <c:pt idx="11">
                  <c:v>0.19694836039617744</c:v>
                </c:pt>
                <c:pt idx="12">
                  <c:v>0.19913277847696711</c:v>
                </c:pt>
                <c:pt idx="13">
                  <c:v>0.20816327778888735</c:v>
                </c:pt>
                <c:pt idx="14">
                  <c:v>0.20321373460179323</c:v>
                </c:pt>
                <c:pt idx="15">
                  <c:v>0.19893114792475555</c:v>
                </c:pt>
                <c:pt idx="16">
                  <c:v>0.18652495469558053</c:v>
                </c:pt>
                <c:pt idx="17">
                  <c:v>0.1718650963674443</c:v>
                </c:pt>
                <c:pt idx="18">
                  <c:v>0.1625697651721035</c:v>
                </c:pt>
                <c:pt idx="19">
                  <c:v>0.1900184293590812</c:v>
                </c:pt>
                <c:pt idx="20">
                  <c:v>0.17251632367851064</c:v>
                </c:pt>
                <c:pt idx="21">
                  <c:v>0.15605666811134397</c:v>
                </c:pt>
                <c:pt idx="22">
                  <c:v>0.15803753636061496</c:v>
                </c:pt>
                <c:pt idx="23">
                  <c:v>0.17967454857318643</c:v>
                </c:pt>
                <c:pt idx="24">
                  <c:v>0.16821265349263048</c:v>
                </c:pt>
                <c:pt idx="25">
                  <c:v>0.16284806684629521</c:v>
                </c:pt>
                <c:pt idx="26">
                  <c:v>0.16423422845323876</c:v>
                </c:pt>
                <c:pt idx="27">
                  <c:v>0.16650361474419723</c:v>
                </c:pt>
                <c:pt idx="28">
                  <c:v>0.1836700895727667</c:v>
                </c:pt>
                <c:pt idx="29">
                  <c:v>0.16568670182453699</c:v>
                </c:pt>
                <c:pt idx="30">
                  <c:v>0.16375026649154611</c:v>
                </c:pt>
                <c:pt idx="31">
                  <c:v>0.1596695169466281</c:v>
                </c:pt>
                <c:pt idx="32">
                  <c:v>0.17435985093182116</c:v>
                </c:pt>
                <c:pt idx="33">
                  <c:v>0.18218119728341542</c:v>
                </c:pt>
                <c:pt idx="34">
                  <c:v>0.2021074580058756</c:v>
                </c:pt>
                <c:pt idx="35">
                  <c:v>0.165888854353136</c:v>
                </c:pt>
                <c:pt idx="36">
                  <c:v>0.14444790351658016</c:v>
                </c:pt>
                <c:pt idx="37">
                  <c:v>0.1472637463633516</c:v>
                </c:pt>
                <c:pt idx="38">
                  <c:v>0.15313634294481443</c:v>
                </c:pt>
                <c:pt idx="39">
                  <c:v>0.16030294843763981</c:v>
                </c:pt>
                <c:pt idx="40">
                  <c:v>0.17369084683070113</c:v>
                </c:pt>
                <c:pt idx="41">
                  <c:v>0.17803631417841276</c:v>
                </c:pt>
                <c:pt idx="42">
                  <c:v>0.17344360094486547</c:v>
                </c:pt>
                <c:pt idx="43">
                  <c:v>0.19320832849709638</c:v>
                </c:pt>
                <c:pt idx="44">
                  <c:v>0.1886598899103296</c:v>
                </c:pt>
                <c:pt idx="45">
                  <c:v>0.1901637188823562</c:v>
                </c:pt>
                <c:pt idx="46">
                  <c:v>0.17851936070730448</c:v>
                </c:pt>
                <c:pt idx="47">
                  <c:v>0.16640666117370145</c:v>
                </c:pt>
                <c:pt idx="48">
                  <c:v>0.1713810776341167</c:v>
                </c:pt>
                <c:pt idx="49">
                  <c:v>0.20529167398315729</c:v>
                </c:pt>
                <c:pt idx="50">
                  <c:v>0.21913162466333233</c:v>
                </c:pt>
                <c:pt idx="51">
                  <c:v>0.18212204215971003</c:v>
                </c:pt>
              </c:numCache>
            </c:numRef>
          </c:xVal>
          <c:yVal>
            <c:numRef>
              <c:f>Sheet1!$B$109:$B$160</c:f>
              <c:numCache>
                <c:formatCode>General</c:formatCode>
                <c:ptCount val="52"/>
                <c:pt idx="0">
                  <c:v>0.1894269572235674</c:v>
                </c:pt>
                <c:pt idx="1">
                  <c:v>0.19117082533589252</c:v>
                </c:pt>
                <c:pt idx="2">
                  <c:v>0.20759455710912023</c:v>
                </c:pt>
                <c:pt idx="3">
                  <c:v>0.22384832219948256</c:v>
                </c:pt>
                <c:pt idx="4">
                  <c:v>0.20623766285037504</c:v>
                </c:pt>
                <c:pt idx="5">
                  <c:v>0.21165817770232032</c:v>
                </c:pt>
                <c:pt idx="6">
                  <c:v>0.22437741143458437</c:v>
                </c:pt>
                <c:pt idx="7">
                  <c:v>0.22235600077056444</c:v>
                </c:pt>
                <c:pt idx="8">
                  <c:v>0.20519213050783155</c:v>
                </c:pt>
                <c:pt idx="9">
                  <c:v>0.21376594896331738</c:v>
                </c:pt>
                <c:pt idx="10">
                  <c:v>0.2140528441438373</c:v>
                </c:pt>
                <c:pt idx="11">
                  <c:v>0.21761800219538968</c:v>
                </c:pt>
                <c:pt idx="12">
                  <c:v>0.21529019671598115</c:v>
                </c:pt>
                <c:pt idx="13">
                  <c:v>0.21372609095286033</c:v>
                </c:pt>
                <c:pt idx="14">
                  <c:v>0.2179689366786141</c:v>
                </c:pt>
                <c:pt idx="15">
                  <c:v>0.2113149057091191</c:v>
                </c:pt>
                <c:pt idx="16">
                  <c:v>0.20783334348541146</c:v>
                </c:pt>
                <c:pt idx="17">
                  <c:v>0.22062226793520184</c:v>
                </c:pt>
                <c:pt idx="18">
                  <c:v>0.21652570915350647</c:v>
                </c:pt>
                <c:pt idx="19">
                  <c:v>0.20409511228533686</c:v>
                </c:pt>
                <c:pt idx="20">
                  <c:v>0.197868358961842</c:v>
                </c:pt>
                <c:pt idx="21">
                  <c:v>0.21445853092035227</c:v>
                </c:pt>
                <c:pt idx="22">
                  <c:v>0.20678544351781653</c:v>
                </c:pt>
                <c:pt idx="23">
                  <c:v>0.20759594352754027</c:v>
                </c:pt>
                <c:pt idx="24">
                  <c:v>0.20683994528043775</c:v>
                </c:pt>
                <c:pt idx="25">
                  <c:v>0.21157742402315485</c:v>
                </c:pt>
                <c:pt idx="26">
                  <c:v>0.20486941124391322</c:v>
                </c:pt>
                <c:pt idx="27">
                  <c:v>0.20829995193078032</c:v>
                </c:pt>
                <c:pt idx="28">
                  <c:v>0.19753175519630484</c:v>
                </c:pt>
                <c:pt idx="29">
                  <c:v>0.20345640219952868</c:v>
                </c:pt>
                <c:pt idx="30">
                  <c:v>0.20475976650202066</c:v>
                </c:pt>
                <c:pt idx="31">
                  <c:v>0.19873817034700317</c:v>
                </c:pt>
                <c:pt idx="32">
                  <c:v>0.1936018564561578</c:v>
                </c:pt>
                <c:pt idx="33">
                  <c:v>0.2043894859510553</c:v>
                </c:pt>
                <c:pt idx="34">
                  <c:v>0.2185812797348586</c:v>
                </c:pt>
                <c:pt idx="35">
                  <c:v>0.20918572001604493</c:v>
                </c:pt>
                <c:pt idx="36">
                  <c:v>0.20588853838065194</c:v>
                </c:pt>
                <c:pt idx="37">
                  <c:v>0.20963901323935613</c:v>
                </c:pt>
                <c:pt idx="38">
                  <c:v>0.20858050847457626</c:v>
                </c:pt>
                <c:pt idx="39">
                  <c:v>0.20504240915103883</c:v>
                </c:pt>
                <c:pt idx="40">
                  <c:v>0.19477986949673742</c:v>
                </c:pt>
                <c:pt idx="41">
                  <c:v>0.19627629334849347</c:v>
                </c:pt>
                <c:pt idx="42">
                  <c:v>0.20118151654932426</c:v>
                </c:pt>
                <c:pt idx="43">
                  <c:v>0.18615330271988698</c:v>
                </c:pt>
                <c:pt idx="44">
                  <c:v>0.1858633684413953</c:v>
                </c:pt>
                <c:pt idx="45">
                  <c:v>0.20327135963667328</c:v>
                </c:pt>
                <c:pt idx="46">
                  <c:v>0.22151978229014024</c:v>
                </c:pt>
                <c:pt idx="47">
                  <c:v>0.2227442149402081</c:v>
                </c:pt>
                <c:pt idx="48">
                  <c:v>0.21366227575767335</c:v>
                </c:pt>
                <c:pt idx="49">
                  <c:v>0.21703130666022</c:v>
                </c:pt>
                <c:pt idx="50">
                  <c:v>0.21331436121557068</c:v>
                </c:pt>
                <c:pt idx="51">
                  <c:v>0.212829164527250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808781644918978</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808781644918978</c:v>
                </c:pt>
                <c:pt idx="1">
                  <c:v>1.808781644918978</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201002442693246</c:v>
                </c:pt>
              </c:numCache>
            </c:numRef>
          </c:xVal>
          <c:yVal>
            <c:numRef>
              <c:f>Sheet1!$B$171:$B$172</c:f>
              <c:numCache>
                <c:formatCode>General</c:formatCode>
                <c:ptCount val="2"/>
                <c:pt idx="0">
                  <c:v>0.21420927704017853</c:v>
                </c:pt>
                <c:pt idx="1">
                  <c:v>0.214209277040178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201002442693246</c:v>
                </c:pt>
                <c:pt idx="1">
                  <c:v>0.4201002442693246</c:v>
                </c:pt>
              </c:numCache>
            </c:numRef>
          </c:xVal>
          <c:yVal>
            <c:numRef>
              <c:f>Sheet1!$B$175:$B$176</c:f>
              <c:numCache>
                <c:formatCode>General</c:formatCode>
                <c:ptCount val="2"/>
                <c:pt idx="0">
                  <c:v>0.214209277040178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935075003727544</c:v>
                </c:pt>
              </c:numCache>
            </c:numRef>
          </c:xVal>
          <c:yVal>
            <c:numRef>
              <c:f>Sheet1!$B$179:$B$180</c:f>
              <c:numCache>
                <c:formatCode>General</c:formatCode>
                <c:ptCount val="2"/>
                <c:pt idx="0">
                  <c:v>0.205666863441124</c:v>
                </c:pt>
                <c:pt idx="1">
                  <c:v>0.20566686344112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935075003727544</c:v>
                </c:pt>
                <c:pt idx="1">
                  <c:v>0.0935075003727544</c:v>
                </c:pt>
              </c:numCache>
            </c:numRef>
          </c:xVal>
          <c:yVal>
            <c:numRef>
              <c:f>Sheet1!$B$183:$B$184</c:f>
              <c:numCache>
                <c:formatCode>General</c:formatCode>
                <c:ptCount val="2"/>
                <c:pt idx="0">
                  <c:v>0.20566686344112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455044922131812</c:v>
                </c:pt>
                <c:pt idx="1">
                  <c:v>0.23580830048493007</c:v>
                </c:pt>
                <c:pt idx="2">
                  <c:v>0.22936151566356267</c:v>
                </c:pt>
                <c:pt idx="3">
                  <c:v>0.22172066375158178</c:v>
                </c:pt>
                <c:pt idx="4">
                  <c:v>0.20865009628091727</c:v>
                </c:pt>
                <c:pt idx="5">
                  <c:v>0.22567149078974963</c:v>
                </c:pt>
                <c:pt idx="6">
                  <c:v>0.211266566302603</c:v>
                </c:pt>
                <c:pt idx="7">
                  <c:v>0.19280146328543996</c:v>
                </c:pt>
                <c:pt idx="8">
                  <c:v>0.23629730601965668</c:v>
                </c:pt>
                <c:pt idx="9">
                  <c:v>0.22106262714282693</c:v>
                </c:pt>
                <c:pt idx="10">
                  <c:v>0.21650038659442591</c:v>
                </c:pt>
                <c:pt idx="11">
                  <c:v>0.19694836039617744</c:v>
                </c:pt>
                <c:pt idx="12">
                  <c:v>0.19913277847696711</c:v>
                </c:pt>
                <c:pt idx="13">
                  <c:v>0.20816327778888735</c:v>
                </c:pt>
                <c:pt idx="14">
                  <c:v>0.20321373460179323</c:v>
                </c:pt>
                <c:pt idx="15">
                  <c:v>0.19893114792475555</c:v>
                </c:pt>
                <c:pt idx="16">
                  <c:v>0.18652495469558053</c:v>
                </c:pt>
                <c:pt idx="17">
                  <c:v>0.1718650963674443</c:v>
                </c:pt>
                <c:pt idx="18">
                  <c:v>0.1625697651721035</c:v>
                </c:pt>
                <c:pt idx="19">
                  <c:v>0.1900184293590812</c:v>
                </c:pt>
                <c:pt idx="20">
                  <c:v>0.17251632367851064</c:v>
                </c:pt>
                <c:pt idx="21">
                  <c:v>0.15605666811134397</c:v>
                </c:pt>
                <c:pt idx="22">
                  <c:v>0.15803753636061496</c:v>
                </c:pt>
                <c:pt idx="23">
                  <c:v>0.17967454857318643</c:v>
                </c:pt>
                <c:pt idx="24">
                  <c:v>0.16821265349263048</c:v>
                </c:pt>
                <c:pt idx="25">
                  <c:v>0.16284806684629521</c:v>
                </c:pt>
                <c:pt idx="26">
                  <c:v>0.16423422845323876</c:v>
                </c:pt>
                <c:pt idx="27">
                  <c:v>0.16650361474419723</c:v>
                </c:pt>
                <c:pt idx="28">
                  <c:v>0.1836700895727667</c:v>
                </c:pt>
                <c:pt idx="29">
                  <c:v>0.16568670182453699</c:v>
                </c:pt>
                <c:pt idx="30">
                  <c:v>0.16375026649154611</c:v>
                </c:pt>
                <c:pt idx="31">
                  <c:v>0.1596695169466281</c:v>
                </c:pt>
                <c:pt idx="32">
                  <c:v>0.17435985093182116</c:v>
                </c:pt>
                <c:pt idx="33">
                  <c:v>0.18218119728341542</c:v>
                </c:pt>
                <c:pt idx="34">
                  <c:v>0.2021074580058756</c:v>
                </c:pt>
                <c:pt idx="35">
                  <c:v>0.165888854353136</c:v>
                </c:pt>
                <c:pt idx="36">
                  <c:v>0.14444790351658016</c:v>
                </c:pt>
                <c:pt idx="37">
                  <c:v>0.1472637463633516</c:v>
                </c:pt>
                <c:pt idx="38">
                  <c:v>0.15313634294481443</c:v>
                </c:pt>
                <c:pt idx="39">
                  <c:v>0.16030294843763981</c:v>
                </c:pt>
                <c:pt idx="40">
                  <c:v>0.17369084683070113</c:v>
                </c:pt>
                <c:pt idx="41">
                  <c:v>0.17803631417841276</c:v>
                </c:pt>
                <c:pt idx="42">
                  <c:v>0.17344360094486547</c:v>
                </c:pt>
                <c:pt idx="43">
                  <c:v>0.19320832849709638</c:v>
                </c:pt>
                <c:pt idx="44">
                  <c:v>0.1886598899103296</c:v>
                </c:pt>
                <c:pt idx="45">
                  <c:v>0.1901637188823562</c:v>
                </c:pt>
                <c:pt idx="46">
                  <c:v>0.17851936070730448</c:v>
                </c:pt>
                <c:pt idx="47">
                  <c:v>0.16640666117370145</c:v>
                </c:pt>
                <c:pt idx="48">
                  <c:v>0.1713810776341167</c:v>
                </c:pt>
                <c:pt idx="49">
                  <c:v>0.20529167398315729</c:v>
                </c:pt>
                <c:pt idx="50">
                  <c:v>0.21913162466333233</c:v>
                </c:pt>
                <c:pt idx="51">
                  <c:v>0.18212204215971003</c:v>
                </c:pt>
                <c:pt idx="52">
                  <c:v>0.4201002442693246</c:v>
                </c:pt>
                <c:pt idx="53">
                  <c:v>1.808781644918978</c:v>
                </c:pt>
                <c:pt idx="54">
                  <c:v>0.0935075003727544</c:v>
                </c:pt>
              </c:numCache>
            </c:numRef>
          </c:xVal>
          <c:yVal>
            <c:numRef>
              <c:f>Sheet1!$B$187:$B$241</c:f>
              <c:numCache>
                <c:formatCode>General</c:formatCode>
                <c:ptCount val="55"/>
                <c:pt idx="0">
                  <c:v>0.2090944443939289</c:v>
                </c:pt>
                <c:pt idx="1">
                  <c:v>0.2093889066057436</c:v>
                </c:pt>
                <c:pt idx="2">
                  <c:v>0.20922028344017302</c:v>
                </c:pt>
                <c:pt idx="3">
                  <c:v>0.20902042805911794</c:v>
                </c:pt>
                <c:pt idx="4">
                  <c:v>0.20867855214363795</c:v>
                </c:pt>
                <c:pt idx="5">
                  <c:v>0.2091237665418279</c:v>
                </c:pt>
                <c:pt idx="6">
                  <c:v>0.20874698896445673</c:v>
                </c:pt>
                <c:pt idx="7">
                  <c:v>0.20826401268874464</c:v>
                </c:pt>
                <c:pt idx="8">
                  <c:v>0.20940169711504894</c:v>
                </c:pt>
                <c:pt idx="9">
                  <c:v>0.209003216345201</c:v>
                </c:pt>
                <c:pt idx="10">
                  <c:v>0.2088838856300178</c:v>
                </c:pt>
                <c:pt idx="11">
                  <c:v>0.20837247961256541</c:v>
                </c:pt>
                <c:pt idx="12">
                  <c:v>0.20842961561165935</c:v>
                </c:pt>
                <c:pt idx="13">
                  <c:v>0.2086658188389816</c:v>
                </c:pt>
                <c:pt idx="14">
                  <c:v>0.20853635777219215</c:v>
                </c:pt>
                <c:pt idx="15">
                  <c:v>0.20842434172972724</c:v>
                </c:pt>
                <c:pt idx="16">
                  <c:v>0.2080998432963298</c:v>
                </c:pt>
                <c:pt idx="17">
                  <c:v>0.2077163976274262</c:v>
                </c:pt>
                <c:pt idx="18">
                  <c:v>0.2074732674137435</c:v>
                </c:pt>
                <c:pt idx="19">
                  <c:v>0.20819121919500222</c:v>
                </c:pt>
                <c:pt idx="20">
                  <c:v>0.20773343123623134</c:v>
                </c:pt>
                <c:pt idx="21">
                  <c:v>0.20730290977431776</c:v>
                </c:pt>
                <c:pt idx="22">
                  <c:v>0.2073547216904939</c:v>
                </c:pt>
                <c:pt idx="23">
                  <c:v>0.2079206629455333</c:v>
                </c:pt>
                <c:pt idx="24">
                  <c:v>0.2076208637300367</c:v>
                </c:pt>
                <c:pt idx="25">
                  <c:v>0.20748054671816982</c:v>
                </c:pt>
                <c:pt idx="26">
                  <c:v>0.20751680338946132</c:v>
                </c:pt>
                <c:pt idx="27">
                  <c:v>0.20757616183105465</c:v>
                </c:pt>
                <c:pt idx="28">
                  <c:v>0.20802517097398232</c:v>
                </c:pt>
                <c:pt idx="29">
                  <c:v>0.20755479452218278</c:v>
                </c:pt>
                <c:pt idx="30">
                  <c:v>0.20750414480068294</c:v>
                </c:pt>
                <c:pt idx="31">
                  <c:v>0.20739740804348822</c:v>
                </c:pt>
                <c:pt idx="32">
                  <c:v>0.20778165083869712</c:v>
                </c:pt>
                <c:pt idx="33">
                  <c:v>0.20798622726204208</c:v>
                </c:pt>
                <c:pt idx="34">
                  <c:v>0.20850742181934603</c:v>
                </c:pt>
                <c:pt idx="35">
                  <c:v>0.20756008205701526</c:v>
                </c:pt>
                <c:pt idx="36">
                  <c:v>0.2069992690156182</c:v>
                </c:pt>
                <c:pt idx="37">
                  <c:v>0.20707292066488653</c:v>
                </c:pt>
                <c:pt idx="38">
                  <c:v>0.2072265252682856</c:v>
                </c:pt>
                <c:pt idx="39">
                  <c:v>0.20741397618189306</c:v>
                </c:pt>
                <c:pt idx="40">
                  <c:v>0.20776415225724354</c:v>
                </c:pt>
                <c:pt idx="41">
                  <c:v>0.20787781301688701</c:v>
                </c:pt>
                <c:pt idx="42">
                  <c:v>0.20775768525313232</c:v>
                </c:pt>
                <c:pt idx="43">
                  <c:v>0.20827465472223128</c:v>
                </c:pt>
                <c:pt idx="44">
                  <c:v>0.20815568501342976</c:v>
                </c:pt>
                <c:pt idx="45">
                  <c:v>0.20819501941170213</c:v>
                </c:pt>
                <c:pt idx="46">
                  <c:v>0.2078904476614543</c:v>
                </c:pt>
                <c:pt idx="47">
                  <c:v>0.20757362589749653</c:v>
                </c:pt>
                <c:pt idx="48">
                  <c:v>0.2077037375537196</c:v>
                </c:pt>
                <c:pt idx="49">
                  <c:v>0.20859070869688692</c:v>
                </c:pt>
                <c:pt idx="50">
                  <c:v>0.20895270872631197</c:v>
                </c:pt>
                <c:pt idx="51">
                  <c:v>0.20798467999088363</c:v>
                </c:pt>
                <c:pt idx="52">
                  <c:v>0.21420927704017853</c:v>
                </c:pt>
                <c:pt idx="53">
                  <c:v>0.2505318564708487</c:v>
                </c:pt>
                <c:pt idx="54">
                  <c:v>0.20566686344112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2.6043</c:v>
                </c:pt>
                <c:pt idx="1">
                  <c:v>876.6323</c:v>
                </c:pt>
                <c:pt idx="2">
                  <c:v>911.1551</c:v>
                </c:pt>
                <c:pt idx="3">
                  <c:v>925.7721</c:v>
                </c:pt>
                <c:pt idx="4">
                  <c:v>930.7482</c:v>
                </c:pt>
                <c:pt idx="5">
                  <c:v>922.7364</c:v>
                </c:pt>
                <c:pt idx="6">
                  <c:v>872.0113</c:v>
                </c:pt>
                <c:pt idx="7">
                  <c:v>885.5919</c:v>
                </c:pt>
                <c:pt idx="8">
                  <c:v>888.882</c:v>
                </c:pt>
                <c:pt idx="9">
                  <c:v>872.4829</c:v>
                </c:pt>
                <c:pt idx="10">
                  <c:v>865.817</c:v>
                </c:pt>
                <c:pt idx="11">
                  <c:v>931.8931</c:v>
                </c:pt>
                <c:pt idx="12">
                  <c:v>939.3623</c:v>
                </c:pt>
                <c:pt idx="13">
                  <c:v>945.3954</c:v>
                </c:pt>
                <c:pt idx="14">
                  <c:v>953.6439</c:v>
                </c:pt>
                <c:pt idx="15">
                  <c:v>969.5476</c:v>
                </c:pt>
                <c:pt idx="16">
                  <c:v>991.3707</c:v>
                </c:pt>
                <c:pt idx="17">
                  <c:v>1017.5138</c:v>
                </c:pt>
                <c:pt idx="18">
                  <c:v>1058.1947</c:v>
                </c:pt>
                <c:pt idx="19">
                  <c:v>1063.6722</c:v>
                </c:pt>
                <c:pt idx="20">
                  <c:v>1093.8406</c:v>
                </c:pt>
                <c:pt idx="21">
                  <c:v>1108.3406</c:v>
                </c:pt>
                <c:pt idx="22">
                  <c:v>1059.9098</c:v>
                </c:pt>
                <c:pt idx="23">
                  <c:v>1050.6998</c:v>
                </c:pt>
                <c:pt idx="24">
                  <c:v>1052.7458</c:v>
                </c:pt>
                <c:pt idx="25">
                  <c:v>1027.5101</c:v>
                </c:pt>
                <c:pt idx="26">
                  <c:v>1011.3722</c:v>
                </c:pt>
                <c:pt idx="27">
                  <c:v>1028.1256</c:v>
                </c:pt>
                <c:pt idx="28">
                  <c:v>1023.2723</c:v>
                </c:pt>
                <c:pt idx="29">
                  <c:v>1005.2878</c:v>
                </c:pt>
                <c:pt idx="30">
                  <c:v>1008.6892</c:v>
                </c:pt>
                <c:pt idx="31">
                  <c:v>989.1239</c:v>
                </c:pt>
                <c:pt idx="32">
                  <c:v>977.6285</c:v>
                </c:pt>
                <c:pt idx="33">
                  <c:v>941.2271</c:v>
                </c:pt>
                <c:pt idx="34">
                  <c:v>953.1225</c:v>
                </c:pt>
                <c:pt idx="35">
                  <c:v>987.6614</c:v>
                </c:pt>
                <c:pt idx="36">
                  <c:v>1076.9937</c:v>
                </c:pt>
                <c:pt idx="37">
                  <c:v>1081.8702</c:v>
                </c:pt>
                <c:pt idx="38">
                  <c:v>1144.6705</c:v>
                </c:pt>
                <c:pt idx="39">
                  <c:v>1158.5252</c:v>
                </c:pt>
                <c:pt idx="40">
                  <c:v>1148.5003</c:v>
                </c:pt>
                <c:pt idx="41">
                  <c:v>1186.201</c:v>
                </c:pt>
                <c:pt idx="42">
                  <c:v>1208.5581</c:v>
                </c:pt>
                <c:pt idx="43">
                  <c:v>1216.1227</c:v>
                </c:pt>
                <c:pt idx="44">
                  <c:v>1132.884</c:v>
                </c:pt>
                <c:pt idx="45">
                  <c:v>1097.0486</c:v>
                </c:pt>
                <c:pt idx="46">
                  <c:v>1096.5677</c:v>
                </c:pt>
                <c:pt idx="47">
                  <c:v>1079.5043</c:v>
                </c:pt>
                <c:pt idx="48">
                  <c:v>1088.401</c:v>
                </c:pt>
                <c:pt idx="49">
                  <c:v>1052.9549</c:v>
                </c:pt>
                <c:pt idx="50">
                  <c:v>1044.3626</c:v>
                </c:pt>
                <c:pt idx="51">
                  <c:v>1064.9533</c:v>
                </c:pt>
                <c:pt idx="52">
                  <c:v>1066.5982</c:v>
                </c:pt>
                <c:pt idx="53">
                  <c:v>1142.773</c:v>
                </c:pt>
                <c:pt idx="54">
                  <c:v>1128.7357</c:v>
                </c:pt>
                <c:pt idx="55">
                  <c:v>1144.0735</c:v>
                </c:pt>
                <c:pt idx="56">
                  <c:v>1161.348</c:v>
                </c:pt>
                <c:pt idx="57">
                  <c:v>1128.1435</c:v>
                </c:pt>
                <c:pt idx="58">
                  <c:v>1100.9694</c:v>
                </c:pt>
                <c:pt idx="59">
                  <c:v>1083.4335</c:v>
                </c:pt>
                <c:pt idx="60">
                  <c:v>1101.4643</c:v>
                </c:pt>
                <c:pt idx="61">
                  <c:v>1133.1802</c:v>
                </c:pt>
                <c:pt idx="62">
                  <c:v>1077.1723</c:v>
                </c:pt>
                <c:pt idx="63">
                  <c:v>1103.7837</c:v>
                </c:pt>
                <c:pt idx="64">
                  <c:v>1118.5354</c:v>
                </c:pt>
                <c:pt idx="65">
                  <c:v>1106.8087</c:v>
                </c:pt>
                <c:pt idx="66">
                  <c:v>1110.3682</c:v>
                </c:pt>
                <c:pt idx="67">
                  <c:v>1132.4642</c:v>
                </c:pt>
                <c:pt idx="68">
                  <c:v>1159.9969</c:v>
                </c:pt>
                <c:pt idx="69">
                  <c:v>1190.1922</c:v>
                </c:pt>
                <c:pt idx="70">
                  <c:v>1167.0873</c:v>
                </c:pt>
                <c:pt idx="71">
                  <c:v>1233.9912</c:v>
                </c:pt>
                <c:pt idx="72">
                  <c:v>1323.4259</c:v>
                </c:pt>
                <c:pt idx="73">
                  <c:v>1294.9267</c:v>
                </c:pt>
                <c:pt idx="74">
                  <c:v>1281.6593</c:v>
                </c:pt>
                <c:pt idx="75">
                  <c:v>1233.0492</c:v>
                </c:pt>
                <c:pt idx="76">
                  <c:v>1207.2538</c:v>
                </c:pt>
                <c:pt idx="77">
                  <c:v>1207.88</c:v>
                </c:pt>
                <c:pt idx="78">
                  <c:v>1271.0125</c:v>
                </c:pt>
                <c:pt idx="79">
                  <c:v>1246.3288</c:v>
                </c:pt>
                <c:pt idx="80">
                  <c:v>1253.2253</c:v>
                </c:pt>
                <c:pt idx="81">
                  <c:v>1225.5049</c:v>
                </c:pt>
                <c:pt idx="82">
                  <c:v>1230.3508</c:v>
                </c:pt>
                <c:pt idx="83">
                  <c:v>1187.5029</c:v>
                </c:pt>
                <c:pt idx="84">
                  <c:v>1210.0767</c:v>
                </c:pt>
                <c:pt idx="85">
                  <c:v>1189.6393</c:v>
                </c:pt>
                <c:pt idx="86">
                  <c:v>1187.354</c:v>
                </c:pt>
                <c:pt idx="87">
                  <c:v>1190.172</c:v>
                </c:pt>
                <c:pt idx="88">
                  <c:v>1242.5066</c:v>
                </c:pt>
                <c:pt idx="89">
                  <c:v>1226.9135</c:v>
                </c:pt>
                <c:pt idx="90">
                  <c:v>1304.1472</c:v>
                </c:pt>
                <c:pt idx="91">
                  <c:v>1307.3926</c:v>
                </c:pt>
                <c:pt idx="92">
                  <c:v>1242.1643</c:v>
                </c:pt>
                <c:pt idx="93">
                  <c:v>1284.4174</c:v>
                </c:pt>
                <c:pt idx="94">
                  <c:v>1266.4449</c:v>
                </c:pt>
                <c:pt idx="95">
                  <c:v>1225.7909</c:v>
                </c:pt>
                <c:pt idx="96">
                  <c:v>1195.1809</c:v>
                </c:pt>
                <c:pt idx="97">
                  <c:v>1174.6454</c:v>
                </c:pt>
                <c:pt idx="98">
                  <c:v>1162.5787</c:v>
                </c:pt>
                <c:pt idx="99">
                  <c:v>1120.9807</c:v>
                </c:pt>
                <c:pt idx="100">
                  <c:v>1121.8517</c:v>
                </c:pt>
                <c:pt idx="101">
                  <c:v>1130.0274</c:v>
                </c:pt>
                <c:pt idx="102">
                  <c:v>1140.2487</c:v>
                </c:pt>
                <c:pt idx="103">
                  <c:v>1135.6579</c:v>
                </c:pt>
                <c:pt idx="104">
                  <c:v>1183.6327</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numCache>
            </c:numRef>
          </c:xVal>
          <c:yVal>
            <c:numRef>
              <c:f>Sheet1!$B$109:$B$160</c:f>
              <c:numCache>
                <c:formatCode>General</c:formatCode>
                <c:ptCount val="52"/>
                <c:pt idx="0">
                  <c:v>0.1894269572235674</c:v>
                </c:pt>
                <c:pt idx="1">
                  <c:v>0.19117082533589252</c:v>
                </c:pt>
                <c:pt idx="2">
                  <c:v>0.20759455710912023</c:v>
                </c:pt>
                <c:pt idx="3">
                  <c:v>0.22384832219948256</c:v>
                </c:pt>
                <c:pt idx="4">
                  <c:v>0.20623766285037504</c:v>
                </c:pt>
                <c:pt idx="5">
                  <c:v>0.21165817770232032</c:v>
                </c:pt>
                <c:pt idx="6">
                  <c:v>0.22437741143458437</c:v>
                </c:pt>
                <c:pt idx="7">
                  <c:v>0.22235600077056444</c:v>
                </c:pt>
                <c:pt idx="8">
                  <c:v>0.20519213050783155</c:v>
                </c:pt>
                <c:pt idx="9">
                  <c:v>0.21376594896331738</c:v>
                </c:pt>
                <c:pt idx="10">
                  <c:v>0.2140528441438373</c:v>
                </c:pt>
                <c:pt idx="11">
                  <c:v>0.21761800219538968</c:v>
                </c:pt>
                <c:pt idx="12">
                  <c:v>0.21529019671598115</c:v>
                </c:pt>
                <c:pt idx="13">
                  <c:v>0.21372609095286033</c:v>
                </c:pt>
                <c:pt idx="14">
                  <c:v>0.2179689366786141</c:v>
                </c:pt>
                <c:pt idx="15">
                  <c:v>0.2113149057091191</c:v>
                </c:pt>
                <c:pt idx="16">
                  <c:v>0.20783334348541146</c:v>
                </c:pt>
                <c:pt idx="17">
                  <c:v>0.22062226793520184</c:v>
                </c:pt>
                <c:pt idx="18">
                  <c:v>0.21652570915350647</c:v>
                </c:pt>
                <c:pt idx="19">
                  <c:v>0.20409511228533686</c:v>
                </c:pt>
                <c:pt idx="20">
                  <c:v>0.197868358961842</c:v>
                </c:pt>
                <c:pt idx="21">
                  <c:v>0.21445853092035227</c:v>
                </c:pt>
                <c:pt idx="22">
                  <c:v>0.20678544351781653</c:v>
                </c:pt>
                <c:pt idx="23">
                  <c:v>0.20759594352754027</c:v>
                </c:pt>
                <c:pt idx="24">
                  <c:v>0.20683994528043775</c:v>
                </c:pt>
                <c:pt idx="25">
                  <c:v>0.21157742402315485</c:v>
                </c:pt>
                <c:pt idx="26">
                  <c:v>0.20486941124391322</c:v>
                </c:pt>
                <c:pt idx="27">
                  <c:v>0.20829995193078032</c:v>
                </c:pt>
                <c:pt idx="28">
                  <c:v>0.19753175519630484</c:v>
                </c:pt>
                <c:pt idx="29">
                  <c:v>0.20345640219952868</c:v>
                </c:pt>
                <c:pt idx="30">
                  <c:v>0.20475976650202066</c:v>
                </c:pt>
                <c:pt idx="31">
                  <c:v>0.19873817034700317</c:v>
                </c:pt>
                <c:pt idx="32">
                  <c:v>0.1936018564561578</c:v>
                </c:pt>
                <c:pt idx="33">
                  <c:v>0.2043894859510553</c:v>
                </c:pt>
                <c:pt idx="34">
                  <c:v>0.2185812797348586</c:v>
                </c:pt>
                <c:pt idx="35">
                  <c:v>0.20918572001604493</c:v>
                </c:pt>
                <c:pt idx="36">
                  <c:v>0.20588853838065194</c:v>
                </c:pt>
                <c:pt idx="37">
                  <c:v>0.20963901323935613</c:v>
                </c:pt>
                <c:pt idx="38">
                  <c:v>0.20858050847457626</c:v>
                </c:pt>
                <c:pt idx="39">
                  <c:v>0.20504240915103883</c:v>
                </c:pt>
                <c:pt idx="40">
                  <c:v>0.19477986949673742</c:v>
                </c:pt>
                <c:pt idx="41">
                  <c:v>0.19627629334849347</c:v>
                </c:pt>
                <c:pt idx="42">
                  <c:v>0.20118151654932426</c:v>
                </c:pt>
                <c:pt idx="43">
                  <c:v>0.18615330271988698</c:v>
                </c:pt>
                <c:pt idx="44">
                  <c:v>0.1858633684413953</c:v>
                </c:pt>
                <c:pt idx="45">
                  <c:v>0.20327135963667328</c:v>
                </c:pt>
                <c:pt idx="46">
                  <c:v>0.22151978229014024</c:v>
                </c:pt>
                <c:pt idx="47">
                  <c:v>0.2227442149402081</c:v>
                </c:pt>
                <c:pt idx="48">
                  <c:v>0.21366227575767335</c:v>
                </c:pt>
                <c:pt idx="49">
                  <c:v>0.21703130666022</c:v>
                </c:pt>
                <c:pt idx="50">
                  <c:v>0.21331436121557068</c:v>
                </c:pt>
                <c:pt idx="51">
                  <c:v>0.212829164527250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57.6649363817924</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57.6649363817924</c:v>
                </c:pt>
                <c:pt idx="1">
                  <c:v>757.6649363817924</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58.5195380372122</c:v>
                </c:pt>
              </c:numCache>
            </c:numRef>
          </c:xVal>
          <c:yVal>
            <c:numRef>
              <c:f>Sheet1!$B$171:$B$172</c:f>
              <c:numCache>
                <c:formatCode>General</c:formatCode>
                <c:ptCount val="2"/>
                <c:pt idx="0">
                  <c:v>0.21420927704017853</c:v>
                </c:pt>
                <c:pt idx="1">
                  <c:v>0.214209277040178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58.5195380372122</c:v>
                </c:pt>
                <c:pt idx="1">
                  <c:v>1158.5195380372122</c:v>
                </c:pt>
              </c:numCache>
            </c:numRef>
          </c:xVal>
          <c:yVal>
            <c:numRef>
              <c:f>Sheet1!$B$175:$B$176</c:f>
              <c:numCache>
                <c:formatCode>General</c:formatCode>
                <c:ptCount val="2"/>
                <c:pt idx="0">
                  <c:v>0.214209277040178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52.7932888032012</c:v>
                </c:pt>
              </c:numCache>
            </c:numRef>
          </c:xVal>
          <c:yVal>
            <c:numRef>
              <c:f>Sheet1!$B$179:$B$180</c:f>
              <c:numCache>
                <c:formatCode>General</c:formatCode>
                <c:ptCount val="2"/>
                <c:pt idx="0">
                  <c:v>0.205666863441124</c:v>
                </c:pt>
                <c:pt idx="1">
                  <c:v>0.20566686344112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52.7932888032012</c:v>
                </c:pt>
                <c:pt idx="1">
                  <c:v>1252.7932888032012</c:v>
                </c:pt>
              </c:numCache>
            </c:numRef>
          </c:xVal>
          <c:yVal>
            <c:numRef>
              <c:f>Sheet1!$B$183:$B$184</c:f>
              <c:numCache>
                <c:formatCode>General</c:formatCode>
                <c:ptCount val="2"/>
                <c:pt idx="0">
                  <c:v>0.20566686344112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pt idx="52">
                  <c:v>1158.5195380372122</c:v>
                </c:pt>
                <c:pt idx="53">
                  <c:v>757.6649363817924</c:v>
                </c:pt>
                <c:pt idx="54">
                  <c:v>1252.7932888032012</c:v>
                </c:pt>
              </c:numCache>
            </c:numRef>
          </c:xVal>
          <c:yVal>
            <c:numRef>
              <c:f>Sheet1!$B$187:$B$241</c:f>
              <c:numCache>
                <c:formatCode>General</c:formatCode>
                <c:ptCount val="55"/>
                <c:pt idx="0">
                  <c:v>0.20925500458059665</c:v>
                </c:pt>
                <c:pt idx="1">
                  <c:v>0.20833431455659024</c:v>
                </c:pt>
                <c:pt idx="2">
                  <c:v>0.208286706563183</c:v>
                </c:pt>
                <c:pt idx="3">
                  <c:v>0.21030588715299958</c:v>
                </c:pt>
                <c:pt idx="4">
                  <c:v>0.20706449320674045</c:v>
                </c:pt>
                <c:pt idx="5">
                  <c:v>0.2081408651749284</c:v>
                </c:pt>
                <c:pt idx="6">
                  <c:v>0.21697342559321103</c:v>
                </c:pt>
                <c:pt idx="7">
                  <c:v>0.21364451775271381</c:v>
                </c:pt>
                <c:pt idx="8">
                  <c:v>0.20788446704370434</c:v>
                </c:pt>
                <c:pt idx="9">
                  <c:v>0.21200997966616025</c:v>
                </c:pt>
                <c:pt idx="10">
                  <c:v>0.20970632908300013</c:v>
                </c:pt>
                <c:pt idx="11">
                  <c:v>0.22299673382648025</c:v>
                </c:pt>
                <c:pt idx="12">
                  <c:v>0.21891288499421968</c:v>
                </c:pt>
                <c:pt idx="13">
                  <c:v>0.21248634956136497</c:v>
                </c:pt>
                <c:pt idx="14">
                  <c:v>0.21459093276592522</c:v>
                </c:pt>
                <c:pt idx="15">
                  <c:v>0.21209473892964167</c:v>
                </c:pt>
                <c:pt idx="16">
                  <c:v>0.2091883316427416</c:v>
                </c:pt>
                <c:pt idx="17">
                  <c:v>0.21483039535476672</c:v>
                </c:pt>
                <c:pt idx="18">
                  <c:v>0.21331467790345282</c:v>
                </c:pt>
                <c:pt idx="19">
                  <c:v>0.20168211687253373</c:v>
                </c:pt>
                <c:pt idx="20">
                  <c:v>0.2021333054556565</c:v>
                </c:pt>
                <c:pt idx="21">
                  <c:v>0.21101702589121688</c:v>
                </c:pt>
                <c:pt idx="22">
                  <c:v>0.20792993657376097</c:v>
                </c:pt>
                <c:pt idx="23">
                  <c:v>0.20598215891276983</c:v>
                </c:pt>
                <c:pt idx="24">
                  <c:v>0.2051503238532384</c:v>
                </c:pt>
                <c:pt idx="25">
                  <c:v>0.20884920397596207</c:v>
                </c:pt>
                <c:pt idx="26">
                  <c:v>0.2092121900071575</c:v>
                </c:pt>
                <c:pt idx="27">
                  <c:v>0.20905402527078076</c:v>
                </c:pt>
                <c:pt idx="28">
                  <c:v>0.20630136081299005</c:v>
                </c:pt>
                <c:pt idx="29">
                  <c:v>0.20558558269665614</c:v>
                </c:pt>
                <c:pt idx="30">
                  <c:v>0.2066178080824535</c:v>
                </c:pt>
                <c:pt idx="31">
                  <c:v>0.207860717414713</c:v>
                </c:pt>
                <c:pt idx="32">
                  <c:v>0.20590364287491797</c:v>
                </c:pt>
                <c:pt idx="33">
                  <c:v>0.20618554852449786</c:v>
                </c:pt>
                <c:pt idx="34">
                  <c:v>0.20479417003122247</c:v>
                </c:pt>
                <c:pt idx="35">
                  <c:v>0.20150429820815924</c:v>
                </c:pt>
                <c:pt idx="36">
                  <c:v>0.1980124503338879</c:v>
                </c:pt>
                <c:pt idx="37">
                  <c:v>0.19994219603696495</c:v>
                </c:pt>
                <c:pt idx="38">
                  <c:v>0.19746890913013201</c:v>
                </c:pt>
                <c:pt idx="39">
                  <c:v>0.20281241255004157</c:v>
                </c:pt>
                <c:pt idx="40">
                  <c:v>0.20043780304103978</c:v>
                </c:pt>
                <c:pt idx="41">
                  <c:v>0.19695372974962785</c:v>
                </c:pt>
                <c:pt idx="42">
                  <c:v>0.19838711636194323</c:v>
                </c:pt>
                <c:pt idx="43">
                  <c:v>0.19678492706421036</c:v>
                </c:pt>
                <c:pt idx="44">
                  <c:v>0.20441604259215046</c:v>
                </c:pt>
                <c:pt idx="45">
                  <c:v>0.2090216221142478</c:v>
                </c:pt>
                <c:pt idx="46">
                  <c:v>0.21024808521353539</c:v>
                </c:pt>
                <c:pt idx="47">
                  <c:v>0.21293163924770275</c:v>
                </c:pt>
                <c:pt idx="48">
                  <c:v>0.21312344853671006</c:v>
                </c:pt>
                <c:pt idx="49">
                  <c:v>0.21114103864298156</c:v>
                </c:pt>
                <c:pt idx="50">
                  <c:v>0.2150182720459174</c:v>
                </c:pt>
                <c:pt idx="51">
                  <c:v>0.21850799051812353</c:v>
                </c:pt>
                <c:pt idx="52">
                  <c:v>0.21420927704017853</c:v>
                </c:pt>
                <c:pt idx="53">
                  <c:v>0.2505318564708487</c:v>
                </c:pt>
                <c:pt idx="54">
                  <c:v>0.20566686344112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1.0"/>
          <c:min val="60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5192592705404563</c:v>
                </c:pt>
                <c:pt idx="1">
                  <c:v>0.4088443209344178</c:v>
                </c:pt>
                <c:pt idx="2">
                  <c:v>0.42932553837257814</c:v>
                </c:pt>
                <c:pt idx="3">
                  <c:v>0.42467925038963367</c:v>
                </c:pt>
                <c:pt idx="4">
                  <c:v>0.46164429111437055</c:v>
                </c:pt>
                <c:pt idx="5">
                  <c:v>0.452406435675069</c:v>
                </c:pt>
                <c:pt idx="6">
                  <c:v>0.43429247476018973</c:v>
                </c:pt>
                <c:pt idx="7">
                  <c:v>0.4039086178495583</c:v>
                </c:pt>
                <c:pt idx="8">
                  <c:v>0.4006864051728855</c:v>
                </c:pt>
                <c:pt idx="9">
                  <c:v>0.43448214489887543</c:v>
                </c:pt>
                <c:pt idx="10">
                  <c:v>0.4543367713326158</c:v>
                </c:pt>
                <c:pt idx="11">
                  <c:v>0.4508727687039438</c:v>
                </c:pt>
                <c:pt idx="12">
                  <c:v>0.4285882578438243</c:v>
                </c:pt>
                <c:pt idx="13">
                  <c:v>0.39428751598907463</c:v>
                </c:pt>
                <c:pt idx="14">
                  <c:v>0.3267456816203839</c:v>
                </c:pt>
                <c:pt idx="15">
                  <c:v>0.3370968109808267</c:v>
                </c:pt>
                <c:pt idx="16">
                  <c:v>0.3692676982380635</c:v>
                </c:pt>
                <c:pt idx="17">
                  <c:v>0.3898426206570492</c:v>
                </c:pt>
                <c:pt idx="18">
                  <c:v>0.37571125689039686</c:v>
                </c:pt>
                <c:pt idx="19">
                  <c:v>0.4079021340623022</c:v>
                </c:pt>
                <c:pt idx="20">
                  <c:v>0.45912886867718583</c:v>
                </c:pt>
                <c:pt idx="21">
                  <c:v>0.43996746194002073</c:v>
                </c:pt>
                <c:pt idx="22">
                  <c:v>0.38071794068664006</c:v>
                </c:pt>
                <c:pt idx="23">
                  <c:v>0.36155282269851563</c:v>
                </c:pt>
                <c:pt idx="24">
                  <c:v>0.36100750833458295</c:v>
                </c:pt>
                <c:pt idx="25">
                  <c:v>0.3449491481132289</c:v>
                </c:pt>
                <c:pt idx="26">
                  <c:v>0.3294078631564212</c:v>
                </c:pt>
                <c:pt idx="27">
                  <c:v>0.3245570936672252</c:v>
                </c:pt>
                <c:pt idx="28">
                  <c:v>0.33845232770084194</c:v>
                </c:pt>
                <c:pt idx="29">
                  <c:v>0.3195591079790074</c:v>
                </c:pt>
                <c:pt idx="30">
                  <c:v>0.30556067925409197</c:v>
                </c:pt>
                <c:pt idx="31">
                  <c:v>0.3162733393836614</c:v>
                </c:pt>
                <c:pt idx="32">
                  <c:v>0.3173836983031245</c:v>
                </c:pt>
                <c:pt idx="33">
                  <c:v>0.31979257570519587</c:v>
                </c:pt>
                <c:pt idx="34">
                  <c:v>0.33436659093225246</c:v>
                </c:pt>
                <c:pt idx="35">
                  <c:v>0.36536655777254784</c:v>
                </c:pt>
                <c:pt idx="36">
                  <c:v>0.3507714329683107</c:v>
                </c:pt>
                <c:pt idx="37">
                  <c:v>0.4016604601071382</c:v>
                </c:pt>
                <c:pt idx="38">
                  <c:v>0.3928212713584698</c:v>
                </c:pt>
                <c:pt idx="39">
                  <c:v>0.394296979863145</c:v>
                </c:pt>
                <c:pt idx="40">
                  <c:v>0.39554886583926196</c:v>
                </c:pt>
                <c:pt idx="41">
                  <c:v>0.42783745768246756</c:v>
                </c:pt>
                <c:pt idx="42">
                  <c:v>0.4307298058287825</c:v>
                </c:pt>
                <c:pt idx="43">
                  <c:v>0.45838725404925995</c:v>
                </c:pt>
                <c:pt idx="44">
                  <c:v>0.44427579669395156</c:v>
                </c:pt>
                <c:pt idx="45">
                  <c:v>0.4664533095181981</c:v>
                </c:pt>
                <c:pt idx="46">
                  <c:v>0.48322484837745844</c:v>
                </c:pt>
                <c:pt idx="47">
                  <c:v>0.49738595807857094</c:v>
                </c:pt>
                <c:pt idx="48">
                  <c:v>0.4899337478200242</c:v>
                </c:pt>
                <c:pt idx="49">
                  <c:v>0.4153734114442367</c:v>
                </c:pt>
                <c:pt idx="50">
                  <c:v>0.3132516742197897</c:v>
                </c:pt>
                <c:pt idx="51">
                  <c:v>0.292456911655795</c:v>
                </c:pt>
                <c:pt idx="52">
                  <c:v>0.27654095681932456</c:v>
                </c:pt>
                <c:pt idx="53">
                  <c:v>0.26039735278007625</c:v>
                </c:pt>
                <c:pt idx="54">
                  <c:v>0.2355281826317116</c:v>
                </c:pt>
                <c:pt idx="55">
                  <c:v>0.2763951392562714</c:v>
                </c:pt>
                <c:pt idx="56">
                  <c:v>0.36325458148533546</c:v>
                </c:pt>
                <c:pt idx="57">
                  <c:v>0.49478194251066915</c:v>
                </c:pt>
                <c:pt idx="58">
                  <c:v>0.4476241413946136</c:v>
                </c:pt>
                <c:pt idx="59">
                  <c:v>0.3927081847221304</c:v>
                </c:pt>
                <c:pt idx="60">
                  <c:v>0.3510802753935526</c:v>
                </c:pt>
                <c:pt idx="61">
                  <c:v>0.3352297674561704</c:v>
                </c:pt>
                <c:pt idx="62">
                  <c:v>0.4087400446263626</c:v>
                </c:pt>
                <c:pt idx="63">
                  <c:v>0.4023733378341875</c:v>
                </c:pt>
                <c:pt idx="64">
                  <c:v>0.40643401935117013</c:v>
                </c:pt>
                <c:pt idx="65">
                  <c:v>0.37852075743227603</c:v>
                </c:pt>
                <c:pt idx="66">
                  <c:v>0.38774973278584923</c:v>
                </c:pt>
                <c:pt idx="67">
                  <c:v>0.432653277665174</c:v>
                </c:pt>
                <c:pt idx="68">
                  <c:v>0.4026859712060015</c:v>
                </c:pt>
                <c:pt idx="69">
                  <c:v>0.40885491704333643</c:v>
                </c:pt>
                <c:pt idx="70">
                  <c:v>0.3971184829207931</c:v>
                </c:pt>
                <c:pt idx="71">
                  <c:v>0.39853741538891824</c:v>
                </c:pt>
                <c:pt idx="72">
                  <c:v>0.435651365378528</c:v>
                </c:pt>
                <c:pt idx="73">
                  <c:v>0.40760385059185855</c:v>
                </c:pt>
                <c:pt idx="74">
                  <c:v>0.3971395439043543</c:v>
                </c:pt>
                <c:pt idx="75">
                  <c:v>0.36699968152961027</c:v>
                </c:pt>
                <c:pt idx="76">
                  <c:v>0.37088293208109596</c:v>
                </c:pt>
                <c:pt idx="77">
                  <c:v>0.379164629265245</c:v>
                </c:pt>
                <c:pt idx="78">
                  <c:v>0.4141303603736078</c:v>
                </c:pt>
                <c:pt idx="79">
                  <c:v>0.39769235909051137</c:v>
                </c:pt>
                <c:pt idx="80">
                  <c:v>0.3962124661315841</c:v>
                </c:pt>
                <c:pt idx="81">
                  <c:v>0.41331412523620864</c:v>
                </c:pt>
                <c:pt idx="82">
                  <c:v>0.4400725075632439</c:v>
                </c:pt>
                <c:pt idx="83">
                  <c:v>0.3779789763354863</c:v>
                </c:pt>
                <c:pt idx="84">
                  <c:v>0.36070441285529853</c:v>
                </c:pt>
                <c:pt idx="85">
                  <c:v>0.3351825240433251</c:v>
                </c:pt>
                <c:pt idx="86">
                  <c:v>0.3259531933504949</c:v>
                </c:pt>
                <c:pt idx="87">
                  <c:v>0.31763330664531625</c:v>
                </c:pt>
                <c:pt idx="88">
                  <c:v>0.30085796487387506</c:v>
                </c:pt>
                <c:pt idx="89">
                  <c:v>0.3007178152572722</c:v>
                </c:pt>
                <c:pt idx="90">
                  <c:v>0.3051954741249894</c:v>
                </c:pt>
                <c:pt idx="91">
                  <c:v>0.3194260930718204</c:v>
                </c:pt>
                <c:pt idx="92">
                  <c:v>0.31355434004670735</c:v>
                </c:pt>
                <c:pt idx="93">
                  <c:v>0.33030374700659854</c:v>
                </c:pt>
                <c:pt idx="94">
                  <c:v>0.3163956013976475</c:v>
                </c:pt>
                <c:pt idx="95">
                  <c:v>0.4034683593109573</c:v>
                </c:pt>
                <c:pt idx="96">
                  <c:v>0.38425998741489853</c:v>
                </c:pt>
                <c:pt idx="97">
                  <c:v>0.3667160108434601</c:v>
                </c:pt>
                <c:pt idx="98">
                  <c:v>0.4012274831711564</c:v>
                </c:pt>
                <c:pt idx="99">
                  <c:v>0.44519220283067684</c:v>
                </c:pt>
                <c:pt idx="100">
                  <c:v>0.4260513009270765</c:v>
                </c:pt>
                <c:pt idx="101">
                  <c:v>0.39238559832543607</c:v>
                </c:pt>
                <c:pt idx="102">
                  <c:v>0.3838035039608466</c:v>
                </c:pt>
                <c:pt idx="103">
                  <c:v>0.36353195348897654</c:v>
                </c:pt>
                <c:pt idx="104">
                  <c:v>0.35348635700114356</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6114299339494205</c:v>
                </c:pt>
                <c:pt idx="1">
                  <c:v>0.3873000708936298</c:v>
                </c:pt>
                <c:pt idx="2">
                  <c:v>0.3820593907981648</c:v>
                </c:pt>
                <c:pt idx="3">
                  <c:v>0.3928314115737897</c:v>
                </c:pt>
                <c:pt idx="4">
                  <c:v>0.3788529324099264</c:v>
                </c:pt>
                <c:pt idx="5">
                  <c:v>0.3442164742437809</c:v>
                </c:pt>
                <c:pt idx="6">
                  <c:v>0.3817650313818329</c:v>
                </c:pt>
                <c:pt idx="7">
                  <c:v>0.40433139733681583</c:v>
                </c:pt>
                <c:pt idx="8">
                  <c:v>0.38399553905888506</c:v>
                </c:pt>
                <c:pt idx="9">
                  <c:v>0.37375473903989287</c:v>
                </c:pt>
                <c:pt idx="10">
                  <c:v>0.40585846357835065</c:v>
                </c:pt>
                <c:pt idx="11">
                  <c:v>0.3933093634572939</c:v>
                </c:pt>
                <c:pt idx="12">
                  <c:v>0.4306034031581687</c:v>
                </c:pt>
                <c:pt idx="13">
                  <c:v>0.4662574119443138</c:v>
                </c:pt>
                <c:pt idx="14">
                  <c:v>0.46271673343939584</c:v>
                </c:pt>
                <c:pt idx="15">
                  <c:v>0.4182206329782375</c:v>
                </c:pt>
                <c:pt idx="16">
                  <c:v>0.40841212286372497</c:v>
                </c:pt>
                <c:pt idx="17">
                  <c:v>0.3615366690253962</c:v>
                </c:pt>
                <c:pt idx="18">
                  <c:v>0.34364634052617943</c:v>
                </c:pt>
                <c:pt idx="19">
                  <c:v>0.37413959239384303</c:v>
                </c:pt>
                <c:pt idx="20">
                  <c:v>0.3671007269721992</c:v>
                </c:pt>
                <c:pt idx="21">
                  <c:v>0.32902284372529056</c:v>
                </c:pt>
                <c:pt idx="22">
                  <c:v>0.3425784819744796</c:v>
                </c:pt>
                <c:pt idx="23">
                  <c:v>0.34749217455814974</c:v>
                </c:pt>
                <c:pt idx="24">
                  <c:v>0.35559554168868956</c:v>
                </c:pt>
                <c:pt idx="25">
                  <c:v>0.341564029228451</c:v>
                </c:pt>
                <c:pt idx="26">
                  <c:v>0.33176409259849765</c:v>
                </c:pt>
                <c:pt idx="27">
                  <c:v>0.3417764603402426</c:v>
                </c:pt>
                <c:pt idx="28">
                  <c:v>0.39966761068423373</c:v>
                </c:pt>
                <c:pt idx="29">
                  <c:v>0.40116972743478824</c:v>
                </c:pt>
                <c:pt idx="30">
                  <c:v>0.3901704396163581</c:v>
                </c:pt>
                <c:pt idx="31">
                  <c:v>0.31304263631319756</c:v>
                </c:pt>
                <c:pt idx="32">
                  <c:v>0.30662849978244777</c:v>
                </c:pt>
                <c:pt idx="33">
                  <c:v>0.2912450017583497</c:v>
                </c:pt>
                <c:pt idx="34">
                  <c:v>0.31013649993375575</c:v>
                </c:pt>
                <c:pt idx="35">
                  <c:v>0.3196693457335247</c:v>
                </c:pt>
                <c:pt idx="36">
                  <c:v>0.32660839234963845</c:v>
                </c:pt>
                <c:pt idx="37">
                  <c:v>0.3172495152253649</c:v>
                </c:pt>
                <c:pt idx="38">
                  <c:v>0.33482972376999454</c:v>
                </c:pt>
                <c:pt idx="39">
                  <c:v>0.33918580610442856</c:v>
                </c:pt>
                <c:pt idx="40">
                  <c:v>0.33964335168667326</c:v>
                </c:pt>
                <c:pt idx="41">
                  <c:v>0.3507557982373271</c:v>
                </c:pt>
                <c:pt idx="42">
                  <c:v>0.3340316147963876</c:v>
                </c:pt>
                <c:pt idx="43">
                  <c:v>0.37446303865234626</c:v>
                </c:pt>
                <c:pt idx="44">
                  <c:v>0.4010726134553277</c:v>
                </c:pt>
                <c:pt idx="45">
                  <c:v>0.4131012846615327</c:v>
                </c:pt>
                <c:pt idx="46">
                  <c:v>0.37875671618252105</c:v>
                </c:pt>
                <c:pt idx="47">
                  <c:v>0.40714754624073757</c:v>
                </c:pt>
                <c:pt idx="48">
                  <c:v>0.4178464838058534</c:v>
                </c:pt>
                <c:pt idx="49">
                  <c:v>0.4503347672850234</c:v>
                </c:pt>
                <c:pt idx="50">
                  <c:v>0.45783645901821635</c:v>
                </c:pt>
                <c:pt idx="51">
                  <c:v>0.3857956005974093</c:v>
                </c:pt>
              </c:numCache>
            </c:numRef>
          </c:xVal>
          <c:yVal>
            <c:numRef>
              <c:f>Sheet1!$B$109:$B$160</c:f>
              <c:numCache>
                <c:formatCode>General</c:formatCode>
                <c:ptCount val="52"/>
                <c:pt idx="0">
                  <c:v>0.1894269572235674</c:v>
                </c:pt>
                <c:pt idx="1">
                  <c:v>0.19117082533589252</c:v>
                </c:pt>
                <c:pt idx="2">
                  <c:v>0.20759455710912023</c:v>
                </c:pt>
                <c:pt idx="3">
                  <c:v>0.22384832219948256</c:v>
                </c:pt>
                <c:pt idx="4">
                  <c:v>0.20623766285037504</c:v>
                </c:pt>
                <c:pt idx="5">
                  <c:v>0.21165817770232032</c:v>
                </c:pt>
                <c:pt idx="6">
                  <c:v>0.22437741143458437</c:v>
                </c:pt>
                <c:pt idx="7">
                  <c:v>0.22235600077056444</c:v>
                </c:pt>
                <c:pt idx="8">
                  <c:v>0.20519213050783155</c:v>
                </c:pt>
                <c:pt idx="9">
                  <c:v>0.21376594896331738</c:v>
                </c:pt>
                <c:pt idx="10">
                  <c:v>0.2140528441438373</c:v>
                </c:pt>
                <c:pt idx="11">
                  <c:v>0.21761800219538968</c:v>
                </c:pt>
                <c:pt idx="12">
                  <c:v>0.21529019671598115</c:v>
                </c:pt>
                <c:pt idx="13">
                  <c:v>0.21372609095286033</c:v>
                </c:pt>
                <c:pt idx="14">
                  <c:v>0.2179689366786141</c:v>
                </c:pt>
                <c:pt idx="15">
                  <c:v>0.2113149057091191</c:v>
                </c:pt>
                <c:pt idx="16">
                  <c:v>0.20783334348541146</c:v>
                </c:pt>
                <c:pt idx="17">
                  <c:v>0.22062226793520184</c:v>
                </c:pt>
                <c:pt idx="18">
                  <c:v>0.21652570915350647</c:v>
                </c:pt>
                <c:pt idx="19">
                  <c:v>0.20409511228533686</c:v>
                </c:pt>
                <c:pt idx="20">
                  <c:v>0.197868358961842</c:v>
                </c:pt>
                <c:pt idx="21">
                  <c:v>0.21445853092035227</c:v>
                </c:pt>
                <c:pt idx="22">
                  <c:v>0.20678544351781653</c:v>
                </c:pt>
                <c:pt idx="23">
                  <c:v>0.20759594352754027</c:v>
                </c:pt>
                <c:pt idx="24">
                  <c:v>0.20683994528043775</c:v>
                </c:pt>
                <c:pt idx="25">
                  <c:v>0.21157742402315485</c:v>
                </c:pt>
                <c:pt idx="26">
                  <c:v>0.20486941124391322</c:v>
                </c:pt>
                <c:pt idx="27">
                  <c:v>0.20829995193078032</c:v>
                </c:pt>
                <c:pt idx="28">
                  <c:v>0.19753175519630484</c:v>
                </c:pt>
                <c:pt idx="29">
                  <c:v>0.20345640219952868</c:v>
                </c:pt>
                <c:pt idx="30">
                  <c:v>0.20475976650202066</c:v>
                </c:pt>
                <c:pt idx="31">
                  <c:v>0.19873817034700317</c:v>
                </c:pt>
                <c:pt idx="32">
                  <c:v>0.1936018564561578</c:v>
                </c:pt>
                <c:pt idx="33">
                  <c:v>0.2043894859510553</c:v>
                </c:pt>
                <c:pt idx="34">
                  <c:v>0.2185812797348586</c:v>
                </c:pt>
                <c:pt idx="35">
                  <c:v>0.20918572001604493</c:v>
                </c:pt>
                <c:pt idx="36">
                  <c:v>0.20588853838065194</c:v>
                </c:pt>
                <c:pt idx="37">
                  <c:v>0.20963901323935613</c:v>
                </c:pt>
                <c:pt idx="38">
                  <c:v>0.20858050847457626</c:v>
                </c:pt>
                <c:pt idx="39">
                  <c:v>0.20504240915103883</c:v>
                </c:pt>
                <c:pt idx="40">
                  <c:v>0.19477986949673742</c:v>
                </c:pt>
                <c:pt idx="41">
                  <c:v>0.19627629334849347</c:v>
                </c:pt>
                <c:pt idx="42">
                  <c:v>0.20118151654932426</c:v>
                </c:pt>
                <c:pt idx="43">
                  <c:v>0.18615330271988698</c:v>
                </c:pt>
                <c:pt idx="44">
                  <c:v>0.1858633684413953</c:v>
                </c:pt>
                <c:pt idx="45">
                  <c:v>0.20327135963667328</c:v>
                </c:pt>
                <c:pt idx="46">
                  <c:v>0.22151978229014024</c:v>
                </c:pt>
                <c:pt idx="47">
                  <c:v>0.2227442149402081</c:v>
                </c:pt>
                <c:pt idx="48">
                  <c:v>0.21366227575767335</c:v>
                </c:pt>
                <c:pt idx="49">
                  <c:v>0.21703130666022</c:v>
                </c:pt>
                <c:pt idx="50">
                  <c:v>0.21331436121557068</c:v>
                </c:pt>
                <c:pt idx="51">
                  <c:v>0.212829164527250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687013338341347</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687013338341347</c:v>
                </c:pt>
                <c:pt idx="1">
                  <c:v>1.0687013338341347</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728309606372687</c:v>
                </c:pt>
              </c:numCache>
            </c:numRef>
          </c:xVal>
          <c:yVal>
            <c:numRef>
              <c:f>Sheet1!$B$171:$B$172</c:f>
              <c:numCache>
                <c:formatCode>General</c:formatCode>
                <c:ptCount val="2"/>
                <c:pt idx="0">
                  <c:v>0.21420927704017853</c:v>
                </c:pt>
                <c:pt idx="1">
                  <c:v>0.214209277040178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728309606372687</c:v>
                </c:pt>
                <c:pt idx="1">
                  <c:v>0.4728309606372687</c:v>
                </c:pt>
              </c:numCache>
            </c:numRef>
          </c:xVal>
          <c:yVal>
            <c:numRef>
              <c:f>Sheet1!$B$175:$B$176</c:f>
              <c:numCache>
                <c:formatCode>General</c:formatCode>
                <c:ptCount val="2"/>
                <c:pt idx="0">
                  <c:v>0.214209277040178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3269302828072045</c:v>
                </c:pt>
              </c:numCache>
            </c:numRef>
          </c:xVal>
          <c:yVal>
            <c:numRef>
              <c:f>Sheet1!$B$179:$B$180</c:f>
              <c:numCache>
                <c:formatCode>General</c:formatCode>
                <c:ptCount val="2"/>
                <c:pt idx="0">
                  <c:v>0.205666863441124</c:v>
                </c:pt>
                <c:pt idx="1">
                  <c:v>0.20566686344112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3269302828072045</c:v>
                </c:pt>
                <c:pt idx="1">
                  <c:v>0.33269302828072045</c:v>
                </c:pt>
              </c:numCache>
            </c:numRef>
          </c:xVal>
          <c:yVal>
            <c:numRef>
              <c:f>Sheet1!$B$183:$B$184</c:f>
              <c:numCache>
                <c:formatCode>General</c:formatCode>
                <c:ptCount val="2"/>
                <c:pt idx="0">
                  <c:v>0.20566686344112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6114299339494205</c:v>
                </c:pt>
                <c:pt idx="1">
                  <c:v>0.3873000708936298</c:v>
                </c:pt>
                <c:pt idx="2">
                  <c:v>0.3820593907981648</c:v>
                </c:pt>
                <c:pt idx="3">
                  <c:v>0.3928314115737897</c:v>
                </c:pt>
                <c:pt idx="4">
                  <c:v>0.3788529324099264</c:v>
                </c:pt>
                <c:pt idx="5">
                  <c:v>0.3442164742437809</c:v>
                </c:pt>
                <c:pt idx="6">
                  <c:v>0.3817650313818329</c:v>
                </c:pt>
                <c:pt idx="7">
                  <c:v>0.40433139733681583</c:v>
                </c:pt>
                <c:pt idx="8">
                  <c:v>0.38399553905888506</c:v>
                </c:pt>
                <c:pt idx="9">
                  <c:v>0.37375473903989287</c:v>
                </c:pt>
                <c:pt idx="10">
                  <c:v>0.40585846357835065</c:v>
                </c:pt>
                <c:pt idx="11">
                  <c:v>0.3933093634572939</c:v>
                </c:pt>
                <c:pt idx="12">
                  <c:v>0.4306034031581687</c:v>
                </c:pt>
                <c:pt idx="13">
                  <c:v>0.4662574119443138</c:v>
                </c:pt>
                <c:pt idx="14">
                  <c:v>0.46271673343939584</c:v>
                </c:pt>
                <c:pt idx="15">
                  <c:v>0.4182206329782375</c:v>
                </c:pt>
                <c:pt idx="16">
                  <c:v>0.40841212286372497</c:v>
                </c:pt>
                <c:pt idx="17">
                  <c:v>0.3615366690253962</c:v>
                </c:pt>
                <c:pt idx="18">
                  <c:v>0.34364634052617943</c:v>
                </c:pt>
                <c:pt idx="19">
                  <c:v>0.37413959239384303</c:v>
                </c:pt>
                <c:pt idx="20">
                  <c:v>0.3671007269721992</c:v>
                </c:pt>
                <c:pt idx="21">
                  <c:v>0.32902284372529056</c:v>
                </c:pt>
                <c:pt idx="22">
                  <c:v>0.3425784819744796</c:v>
                </c:pt>
                <c:pt idx="23">
                  <c:v>0.34749217455814974</c:v>
                </c:pt>
                <c:pt idx="24">
                  <c:v>0.35559554168868956</c:v>
                </c:pt>
                <c:pt idx="25">
                  <c:v>0.341564029228451</c:v>
                </c:pt>
                <c:pt idx="26">
                  <c:v>0.33176409259849765</c:v>
                </c:pt>
                <c:pt idx="27">
                  <c:v>0.3417764603402426</c:v>
                </c:pt>
                <c:pt idx="28">
                  <c:v>0.39966761068423373</c:v>
                </c:pt>
                <c:pt idx="29">
                  <c:v>0.40116972743478824</c:v>
                </c:pt>
                <c:pt idx="30">
                  <c:v>0.3901704396163581</c:v>
                </c:pt>
                <c:pt idx="31">
                  <c:v>0.31304263631319756</c:v>
                </c:pt>
                <c:pt idx="32">
                  <c:v>0.30662849978244777</c:v>
                </c:pt>
                <c:pt idx="33">
                  <c:v>0.2912450017583497</c:v>
                </c:pt>
                <c:pt idx="34">
                  <c:v>0.31013649993375575</c:v>
                </c:pt>
                <c:pt idx="35">
                  <c:v>0.3196693457335247</c:v>
                </c:pt>
                <c:pt idx="36">
                  <c:v>0.32660839234963845</c:v>
                </c:pt>
                <c:pt idx="37">
                  <c:v>0.3172495152253649</c:v>
                </c:pt>
                <c:pt idx="38">
                  <c:v>0.33482972376999454</c:v>
                </c:pt>
                <c:pt idx="39">
                  <c:v>0.33918580610442856</c:v>
                </c:pt>
                <c:pt idx="40">
                  <c:v>0.33964335168667326</c:v>
                </c:pt>
                <c:pt idx="41">
                  <c:v>0.3507557982373271</c:v>
                </c:pt>
                <c:pt idx="42">
                  <c:v>0.3340316147963876</c:v>
                </c:pt>
                <c:pt idx="43">
                  <c:v>0.37446303865234626</c:v>
                </c:pt>
                <c:pt idx="44">
                  <c:v>0.4010726134553277</c:v>
                </c:pt>
                <c:pt idx="45">
                  <c:v>0.4131012846615327</c:v>
                </c:pt>
                <c:pt idx="46">
                  <c:v>0.37875671618252105</c:v>
                </c:pt>
                <c:pt idx="47">
                  <c:v>0.40714754624073757</c:v>
                </c:pt>
                <c:pt idx="48">
                  <c:v>0.4178464838058534</c:v>
                </c:pt>
                <c:pt idx="49">
                  <c:v>0.4503347672850234</c:v>
                </c:pt>
                <c:pt idx="50">
                  <c:v>0.45783645901821635</c:v>
                </c:pt>
                <c:pt idx="51">
                  <c:v>0.3857956005974093</c:v>
                </c:pt>
                <c:pt idx="52">
                  <c:v>0.4728309606372687</c:v>
                </c:pt>
                <c:pt idx="53">
                  <c:v>1.0687013338341347</c:v>
                </c:pt>
                <c:pt idx="54">
                  <c:v>0.33269302828072045</c:v>
                </c:pt>
              </c:numCache>
            </c:numRef>
          </c:xVal>
          <c:yVal>
            <c:numRef>
              <c:f>Sheet1!$B$187:$B$241</c:f>
              <c:numCache>
                <c:formatCode>General</c:formatCode>
                <c:ptCount val="55"/>
                <c:pt idx="0">
                  <c:v>0.2074010931731998</c:v>
                </c:pt>
                <c:pt idx="1">
                  <c:v>0.20899555493511457</c:v>
                </c:pt>
                <c:pt idx="2">
                  <c:v>0.2086760978390737</c:v>
                </c:pt>
                <c:pt idx="3">
                  <c:v>0.2093327298816307</c:v>
                </c:pt>
                <c:pt idx="4">
                  <c:v>0.20848064116806472</c:v>
                </c:pt>
                <c:pt idx="5">
                  <c:v>0.20636930024640215</c:v>
                </c:pt>
                <c:pt idx="6">
                  <c:v>0.20865815451824116</c:v>
                </c:pt>
                <c:pt idx="7">
                  <c:v>0.21003373661920027</c:v>
                </c:pt>
                <c:pt idx="8">
                  <c:v>0.20879411998307168</c:v>
                </c:pt>
                <c:pt idx="9">
                  <c:v>0.20816986966143242</c:v>
                </c:pt>
                <c:pt idx="10">
                  <c:v>0.21012682227566018</c:v>
                </c:pt>
                <c:pt idx="11">
                  <c:v>0.2093618644820967</c:v>
                </c:pt>
                <c:pt idx="12">
                  <c:v>0.21163520408792075</c:v>
                </c:pt>
                <c:pt idx="13">
                  <c:v>0.21380857202901943</c:v>
                </c:pt>
                <c:pt idx="14">
                  <c:v>0.21359274224116914</c:v>
                </c:pt>
                <c:pt idx="15">
                  <c:v>0.21088038529903008</c:v>
                </c:pt>
                <c:pt idx="16">
                  <c:v>0.21028248615224165</c:v>
                </c:pt>
                <c:pt idx="17">
                  <c:v>0.20742509053067937</c:v>
                </c:pt>
                <c:pt idx="18">
                  <c:v>0.20633454650099844</c:v>
                </c:pt>
                <c:pt idx="19">
                  <c:v>0.20819332923778794</c:v>
                </c:pt>
                <c:pt idx="20">
                  <c:v>0.20776425982960814</c:v>
                </c:pt>
                <c:pt idx="21">
                  <c:v>0.20544313932924274</c:v>
                </c:pt>
                <c:pt idx="22">
                  <c:v>0.20626945285175938</c:v>
                </c:pt>
                <c:pt idx="23">
                  <c:v>0.206568977710179</c:v>
                </c:pt>
                <c:pt idx="24">
                  <c:v>0.20706293614391655</c:v>
                </c:pt>
                <c:pt idx="25">
                  <c:v>0.2062076146699941</c:v>
                </c:pt>
                <c:pt idx="26">
                  <c:v>0.20561023813867357</c:v>
                </c:pt>
                <c:pt idx="27">
                  <c:v>0.2062205638721674</c:v>
                </c:pt>
                <c:pt idx="28">
                  <c:v>0.20974944532237463</c:v>
                </c:pt>
                <c:pt idx="29">
                  <c:v>0.2098410101281451</c:v>
                </c:pt>
                <c:pt idx="30">
                  <c:v>0.20917052452685186</c:v>
                </c:pt>
                <c:pt idx="31">
                  <c:v>0.20446903090037383</c:v>
                </c:pt>
                <c:pt idx="32">
                  <c:v>0.20407804320557138</c:v>
                </c:pt>
                <c:pt idx="33">
                  <c:v>0.20314030850011178</c:v>
                </c:pt>
                <c:pt idx="34">
                  <c:v>0.2042918810130379</c:v>
                </c:pt>
                <c:pt idx="35">
                  <c:v>0.20487297643972402</c:v>
                </c:pt>
                <c:pt idx="36">
                  <c:v>0.20529596117470034</c:v>
                </c:pt>
                <c:pt idx="37">
                  <c:v>0.20472547038841651</c:v>
                </c:pt>
                <c:pt idx="38">
                  <c:v>0.20579711037924903</c:v>
                </c:pt>
                <c:pt idx="39">
                  <c:v>0.20606264488761894</c:v>
                </c:pt>
                <c:pt idx="40">
                  <c:v>0.20609053557744308</c:v>
                </c:pt>
                <c:pt idx="41">
                  <c:v>0.20676791901629354</c:v>
                </c:pt>
                <c:pt idx="42">
                  <c:v>0.20574845990442742</c:v>
                </c:pt>
                <c:pt idx="43">
                  <c:v>0.20821304561058393</c:v>
                </c:pt>
                <c:pt idx="44">
                  <c:v>0.20983509033351955</c:v>
                </c:pt>
                <c:pt idx="45">
                  <c:v>0.21056832424644048</c:v>
                </c:pt>
                <c:pt idx="46">
                  <c:v>0.20847477609787557</c:v>
                </c:pt>
                <c:pt idx="47">
                  <c:v>0.21020540112351604</c:v>
                </c:pt>
                <c:pt idx="48">
                  <c:v>0.21085757821943</c:v>
                </c:pt>
                <c:pt idx="49">
                  <c:v>0.21283797246341166</c:v>
                </c:pt>
                <c:pt idx="50">
                  <c:v>0.21329525445979863</c:v>
                </c:pt>
                <c:pt idx="51">
                  <c:v>0.20890384666383002</c:v>
                </c:pt>
                <c:pt idx="52">
                  <c:v>0.21420927704017853</c:v>
                </c:pt>
                <c:pt idx="53">
                  <c:v>0.2505318564708487</c:v>
                </c:pt>
                <c:pt idx="54">
                  <c:v>0.20566686344112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2.6043</c:v>
                </c:pt>
                <c:pt idx="1">
                  <c:v>876.6323</c:v>
                </c:pt>
                <c:pt idx="2">
                  <c:v>911.1551</c:v>
                </c:pt>
                <c:pt idx="3">
                  <c:v>925.7721</c:v>
                </c:pt>
                <c:pt idx="4">
                  <c:v>930.7482</c:v>
                </c:pt>
                <c:pt idx="5">
                  <c:v>922.7364</c:v>
                </c:pt>
                <c:pt idx="6">
                  <c:v>872.0113</c:v>
                </c:pt>
                <c:pt idx="7">
                  <c:v>885.5919</c:v>
                </c:pt>
                <c:pt idx="8">
                  <c:v>888.882</c:v>
                </c:pt>
                <c:pt idx="9">
                  <c:v>872.4829</c:v>
                </c:pt>
                <c:pt idx="10">
                  <c:v>865.817</c:v>
                </c:pt>
                <c:pt idx="11">
                  <c:v>931.8931</c:v>
                </c:pt>
                <c:pt idx="12">
                  <c:v>939.3623</c:v>
                </c:pt>
                <c:pt idx="13">
                  <c:v>945.3954</c:v>
                </c:pt>
                <c:pt idx="14">
                  <c:v>953.6439</c:v>
                </c:pt>
                <c:pt idx="15">
                  <c:v>969.5476</c:v>
                </c:pt>
                <c:pt idx="16">
                  <c:v>991.3707</c:v>
                </c:pt>
                <c:pt idx="17">
                  <c:v>1017.5138</c:v>
                </c:pt>
                <c:pt idx="18">
                  <c:v>1058.1947</c:v>
                </c:pt>
                <c:pt idx="19">
                  <c:v>1063.6722</c:v>
                </c:pt>
                <c:pt idx="20">
                  <c:v>1093.8406</c:v>
                </c:pt>
                <c:pt idx="21">
                  <c:v>1108.3406</c:v>
                </c:pt>
                <c:pt idx="22">
                  <c:v>1059.9098</c:v>
                </c:pt>
                <c:pt idx="23">
                  <c:v>1050.6998</c:v>
                </c:pt>
                <c:pt idx="24">
                  <c:v>1052.7458</c:v>
                </c:pt>
                <c:pt idx="25">
                  <c:v>1027.5101</c:v>
                </c:pt>
                <c:pt idx="26">
                  <c:v>1011.3722</c:v>
                </c:pt>
                <c:pt idx="27">
                  <c:v>1028.1256</c:v>
                </c:pt>
                <c:pt idx="28">
                  <c:v>1023.2723</c:v>
                </c:pt>
                <c:pt idx="29">
                  <c:v>1005.2878</c:v>
                </c:pt>
                <c:pt idx="30">
                  <c:v>1008.6892</c:v>
                </c:pt>
                <c:pt idx="31">
                  <c:v>989.1239</c:v>
                </c:pt>
                <c:pt idx="32">
                  <c:v>977.6285</c:v>
                </c:pt>
                <c:pt idx="33">
                  <c:v>941.2271</c:v>
                </c:pt>
                <c:pt idx="34">
                  <c:v>953.1225</c:v>
                </c:pt>
                <c:pt idx="35">
                  <c:v>987.6614</c:v>
                </c:pt>
                <c:pt idx="36">
                  <c:v>1076.9937</c:v>
                </c:pt>
                <c:pt idx="37">
                  <c:v>1081.8702</c:v>
                </c:pt>
                <c:pt idx="38">
                  <c:v>1144.6705</c:v>
                </c:pt>
                <c:pt idx="39">
                  <c:v>1158.5252</c:v>
                </c:pt>
                <c:pt idx="40">
                  <c:v>1148.5003</c:v>
                </c:pt>
                <c:pt idx="41">
                  <c:v>1186.201</c:v>
                </c:pt>
                <c:pt idx="42">
                  <c:v>1208.5581</c:v>
                </c:pt>
                <c:pt idx="43">
                  <c:v>1216.1227</c:v>
                </c:pt>
                <c:pt idx="44">
                  <c:v>1132.884</c:v>
                </c:pt>
                <c:pt idx="45">
                  <c:v>1097.0486</c:v>
                </c:pt>
                <c:pt idx="46">
                  <c:v>1096.5677</c:v>
                </c:pt>
                <c:pt idx="47">
                  <c:v>1079.5043</c:v>
                </c:pt>
                <c:pt idx="48">
                  <c:v>1088.401</c:v>
                </c:pt>
                <c:pt idx="49">
                  <c:v>1052.9549</c:v>
                </c:pt>
                <c:pt idx="50">
                  <c:v>1044.3626</c:v>
                </c:pt>
                <c:pt idx="51">
                  <c:v>1064.9533</c:v>
                </c:pt>
                <c:pt idx="52">
                  <c:v>1066.5982</c:v>
                </c:pt>
                <c:pt idx="53">
                  <c:v>1142.773</c:v>
                </c:pt>
                <c:pt idx="54">
                  <c:v>1128.7357</c:v>
                </c:pt>
                <c:pt idx="55">
                  <c:v>1144.0735</c:v>
                </c:pt>
                <c:pt idx="56">
                  <c:v>1161.348</c:v>
                </c:pt>
                <c:pt idx="57">
                  <c:v>1128.1435</c:v>
                </c:pt>
                <c:pt idx="58">
                  <c:v>1100.9694</c:v>
                </c:pt>
                <c:pt idx="59">
                  <c:v>1083.4335</c:v>
                </c:pt>
                <c:pt idx="60">
                  <c:v>1101.4643</c:v>
                </c:pt>
                <c:pt idx="61">
                  <c:v>1133.1802</c:v>
                </c:pt>
                <c:pt idx="62">
                  <c:v>1077.1723</c:v>
                </c:pt>
                <c:pt idx="63">
                  <c:v>1103.7837</c:v>
                </c:pt>
                <c:pt idx="64">
                  <c:v>1118.5354</c:v>
                </c:pt>
                <c:pt idx="65">
                  <c:v>1106.8087</c:v>
                </c:pt>
                <c:pt idx="66">
                  <c:v>1110.3682</c:v>
                </c:pt>
                <c:pt idx="67">
                  <c:v>1132.4642</c:v>
                </c:pt>
                <c:pt idx="68">
                  <c:v>1159.9969</c:v>
                </c:pt>
                <c:pt idx="69">
                  <c:v>1190.1922</c:v>
                </c:pt>
                <c:pt idx="70">
                  <c:v>1167.0873</c:v>
                </c:pt>
                <c:pt idx="71">
                  <c:v>1233.9912</c:v>
                </c:pt>
                <c:pt idx="72">
                  <c:v>1323.4259</c:v>
                </c:pt>
                <c:pt idx="73">
                  <c:v>1294.9267</c:v>
                </c:pt>
                <c:pt idx="74">
                  <c:v>1281.6593</c:v>
                </c:pt>
                <c:pt idx="75">
                  <c:v>1233.0492</c:v>
                </c:pt>
                <c:pt idx="76">
                  <c:v>1207.2538</c:v>
                </c:pt>
                <c:pt idx="77">
                  <c:v>1207.88</c:v>
                </c:pt>
                <c:pt idx="78">
                  <c:v>1271.0125</c:v>
                </c:pt>
                <c:pt idx="79">
                  <c:v>1246.3288</c:v>
                </c:pt>
                <c:pt idx="80">
                  <c:v>1253.2253</c:v>
                </c:pt>
                <c:pt idx="81">
                  <c:v>1225.5049</c:v>
                </c:pt>
                <c:pt idx="82">
                  <c:v>1230.3508</c:v>
                </c:pt>
                <c:pt idx="83">
                  <c:v>1187.5029</c:v>
                </c:pt>
                <c:pt idx="84">
                  <c:v>1210.0767</c:v>
                </c:pt>
                <c:pt idx="85">
                  <c:v>1189.6393</c:v>
                </c:pt>
                <c:pt idx="86">
                  <c:v>1187.354</c:v>
                </c:pt>
                <c:pt idx="87">
                  <c:v>1190.172</c:v>
                </c:pt>
                <c:pt idx="88">
                  <c:v>1242.5066</c:v>
                </c:pt>
                <c:pt idx="89">
                  <c:v>1226.9135</c:v>
                </c:pt>
                <c:pt idx="90">
                  <c:v>1304.1472</c:v>
                </c:pt>
                <c:pt idx="91">
                  <c:v>1307.3926</c:v>
                </c:pt>
                <c:pt idx="92">
                  <c:v>1242.1643</c:v>
                </c:pt>
                <c:pt idx="93">
                  <c:v>1284.4174</c:v>
                </c:pt>
                <c:pt idx="94">
                  <c:v>1266.4449</c:v>
                </c:pt>
                <c:pt idx="95">
                  <c:v>1225.7909</c:v>
                </c:pt>
                <c:pt idx="96">
                  <c:v>1195.1809</c:v>
                </c:pt>
                <c:pt idx="97">
                  <c:v>1174.6454</c:v>
                </c:pt>
                <c:pt idx="98">
                  <c:v>1162.5787</c:v>
                </c:pt>
                <c:pt idx="99">
                  <c:v>1120.9807</c:v>
                </c:pt>
                <c:pt idx="100">
                  <c:v>1121.8517</c:v>
                </c:pt>
                <c:pt idx="101">
                  <c:v>1130.0274</c:v>
                </c:pt>
                <c:pt idx="102">
                  <c:v>1140.2487</c:v>
                </c:pt>
                <c:pt idx="103">
                  <c:v>1135.6579</c:v>
                </c:pt>
                <c:pt idx="104">
                  <c:v>1183.6327</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numCache>
            </c:numRef>
          </c:xVal>
          <c:yVal>
            <c:numRef>
              <c:f>Sheet1!$B$109:$B$160</c:f>
              <c:numCache>
                <c:formatCode>General</c:formatCode>
                <c:ptCount val="52"/>
                <c:pt idx="0">
                  <c:v>0.1894269572235674</c:v>
                </c:pt>
                <c:pt idx="1">
                  <c:v>0.19117082533589252</c:v>
                </c:pt>
                <c:pt idx="2">
                  <c:v>0.20759455710912023</c:v>
                </c:pt>
                <c:pt idx="3">
                  <c:v>0.22384832219948256</c:v>
                </c:pt>
                <c:pt idx="4">
                  <c:v>0.20623766285037504</c:v>
                </c:pt>
                <c:pt idx="5">
                  <c:v>0.21165817770232032</c:v>
                </c:pt>
                <c:pt idx="6">
                  <c:v>0.22437741143458437</c:v>
                </c:pt>
                <c:pt idx="7">
                  <c:v>0.22235600077056444</c:v>
                </c:pt>
                <c:pt idx="8">
                  <c:v>0.20519213050783155</c:v>
                </c:pt>
                <c:pt idx="9">
                  <c:v>0.21376594896331738</c:v>
                </c:pt>
                <c:pt idx="10">
                  <c:v>0.2140528441438373</c:v>
                </c:pt>
                <c:pt idx="11">
                  <c:v>0.21761800219538968</c:v>
                </c:pt>
                <c:pt idx="12">
                  <c:v>0.21529019671598115</c:v>
                </c:pt>
                <c:pt idx="13">
                  <c:v>0.21372609095286033</c:v>
                </c:pt>
                <c:pt idx="14">
                  <c:v>0.2179689366786141</c:v>
                </c:pt>
                <c:pt idx="15">
                  <c:v>0.2113149057091191</c:v>
                </c:pt>
                <c:pt idx="16">
                  <c:v>0.20783334348541146</c:v>
                </c:pt>
                <c:pt idx="17">
                  <c:v>0.22062226793520184</c:v>
                </c:pt>
                <c:pt idx="18">
                  <c:v>0.21652570915350647</c:v>
                </c:pt>
                <c:pt idx="19">
                  <c:v>0.20409511228533686</c:v>
                </c:pt>
                <c:pt idx="20">
                  <c:v>0.197868358961842</c:v>
                </c:pt>
                <c:pt idx="21">
                  <c:v>0.21445853092035227</c:v>
                </c:pt>
                <c:pt idx="22">
                  <c:v>0.20678544351781653</c:v>
                </c:pt>
                <c:pt idx="23">
                  <c:v>0.20759594352754027</c:v>
                </c:pt>
                <c:pt idx="24">
                  <c:v>0.20683994528043775</c:v>
                </c:pt>
                <c:pt idx="25">
                  <c:v>0.21157742402315485</c:v>
                </c:pt>
                <c:pt idx="26">
                  <c:v>0.20486941124391322</c:v>
                </c:pt>
                <c:pt idx="27">
                  <c:v>0.20829995193078032</c:v>
                </c:pt>
                <c:pt idx="28">
                  <c:v>0.19753175519630484</c:v>
                </c:pt>
                <c:pt idx="29">
                  <c:v>0.20345640219952868</c:v>
                </c:pt>
                <c:pt idx="30">
                  <c:v>0.20475976650202066</c:v>
                </c:pt>
                <c:pt idx="31">
                  <c:v>0.19873817034700317</c:v>
                </c:pt>
                <c:pt idx="32">
                  <c:v>0.1936018564561578</c:v>
                </c:pt>
                <c:pt idx="33">
                  <c:v>0.2043894859510553</c:v>
                </c:pt>
                <c:pt idx="34">
                  <c:v>0.2185812797348586</c:v>
                </c:pt>
                <c:pt idx="35">
                  <c:v>0.20918572001604493</c:v>
                </c:pt>
                <c:pt idx="36">
                  <c:v>0.20588853838065194</c:v>
                </c:pt>
                <c:pt idx="37">
                  <c:v>0.20963901323935613</c:v>
                </c:pt>
                <c:pt idx="38">
                  <c:v>0.20858050847457626</c:v>
                </c:pt>
                <c:pt idx="39">
                  <c:v>0.20504240915103883</c:v>
                </c:pt>
                <c:pt idx="40">
                  <c:v>0.19477986949673742</c:v>
                </c:pt>
                <c:pt idx="41">
                  <c:v>0.19627629334849347</c:v>
                </c:pt>
                <c:pt idx="42">
                  <c:v>0.20118151654932426</c:v>
                </c:pt>
                <c:pt idx="43">
                  <c:v>0.18615330271988698</c:v>
                </c:pt>
                <c:pt idx="44">
                  <c:v>0.1858633684413953</c:v>
                </c:pt>
                <c:pt idx="45">
                  <c:v>0.20327135963667328</c:v>
                </c:pt>
                <c:pt idx="46">
                  <c:v>0.22151978229014024</c:v>
                </c:pt>
                <c:pt idx="47">
                  <c:v>0.2227442149402081</c:v>
                </c:pt>
                <c:pt idx="48">
                  <c:v>0.21366227575767335</c:v>
                </c:pt>
                <c:pt idx="49">
                  <c:v>0.21703130666022</c:v>
                </c:pt>
                <c:pt idx="50">
                  <c:v>0.21331436121557068</c:v>
                </c:pt>
                <c:pt idx="51">
                  <c:v>0.212829164527250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57.6649363817924</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57.6649363817924</c:v>
                </c:pt>
                <c:pt idx="1">
                  <c:v>757.6649363817924</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58.5195380372122</c:v>
                </c:pt>
              </c:numCache>
            </c:numRef>
          </c:xVal>
          <c:yVal>
            <c:numRef>
              <c:f>Sheet1!$B$171:$B$172</c:f>
              <c:numCache>
                <c:formatCode>General</c:formatCode>
                <c:ptCount val="2"/>
                <c:pt idx="0">
                  <c:v>0.21420927704017853</c:v>
                </c:pt>
                <c:pt idx="1">
                  <c:v>0.214209277040178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58.5195380372122</c:v>
                </c:pt>
                <c:pt idx="1">
                  <c:v>1158.5195380372122</c:v>
                </c:pt>
              </c:numCache>
            </c:numRef>
          </c:xVal>
          <c:yVal>
            <c:numRef>
              <c:f>Sheet1!$B$175:$B$176</c:f>
              <c:numCache>
                <c:formatCode>General</c:formatCode>
                <c:ptCount val="2"/>
                <c:pt idx="0">
                  <c:v>0.214209277040178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52.7932888032012</c:v>
                </c:pt>
              </c:numCache>
            </c:numRef>
          </c:xVal>
          <c:yVal>
            <c:numRef>
              <c:f>Sheet1!$B$179:$B$180</c:f>
              <c:numCache>
                <c:formatCode>General</c:formatCode>
                <c:ptCount val="2"/>
                <c:pt idx="0">
                  <c:v>0.205666863441124</c:v>
                </c:pt>
                <c:pt idx="1">
                  <c:v>0.20566686344112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52.7932888032012</c:v>
                </c:pt>
                <c:pt idx="1">
                  <c:v>1252.7932888032012</c:v>
                </c:pt>
              </c:numCache>
            </c:numRef>
          </c:xVal>
          <c:yVal>
            <c:numRef>
              <c:f>Sheet1!$B$183:$B$184</c:f>
              <c:numCache>
                <c:formatCode>General</c:formatCode>
                <c:ptCount val="2"/>
                <c:pt idx="0">
                  <c:v>0.20566686344112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pt idx="52">
                  <c:v>1158.5195380372122</c:v>
                </c:pt>
                <c:pt idx="53">
                  <c:v>757.6649363817924</c:v>
                </c:pt>
                <c:pt idx="54">
                  <c:v>1252.7932888032012</c:v>
                </c:pt>
              </c:numCache>
            </c:numRef>
          </c:xVal>
          <c:yVal>
            <c:numRef>
              <c:f>Sheet1!$B$187:$B$241</c:f>
              <c:numCache>
                <c:formatCode>General</c:formatCode>
                <c:ptCount val="55"/>
                <c:pt idx="0">
                  <c:v>0.20925500458059665</c:v>
                </c:pt>
                <c:pt idx="1">
                  <c:v>0.20833431455659024</c:v>
                </c:pt>
                <c:pt idx="2">
                  <c:v>0.208286706563183</c:v>
                </c:pt>
                <c:pt idx="3">
                  <c:v>0.21030588715299958</c:v>
                </c:pt>
                <c:pt idx="4">
                  <c:v>0.20706449320674045</c:v>
                </c:pt>
                <c:pt idx="5">
                  <c:v>0.2081408651749284</c:v>
                </c:pt>
                <c:pt idx="6">
                  <c:v>0.21697342559321103</c:v>
                </c:pt>
                <c:pt idx="7">
                  <c:v>0.21364451775271381</c:v>
                </c:pt>
                <c:pt idx="8">
                  <c:v>0.20788446704370434</c:v>
                </c:pt>
                <c:pt idx="9">
                  <c:v>0.21200997966616025</c:v>
                </c:pt>
                <c:pt idx="10">
                  <c:v>0.20970632908300013</c:v>
                </c:pt>
                <c:pt idx="11">
                  <c:v>0.22299673382648025</c:v>
                </c:pt>
                <c:pt idx="12">
                  <c:v>0.21891288499421968</c:v>
                </c:pt>
                <c:pt idx="13">
                  <c:v>0.21248634956136497</c:v>
                </c:pt>
                <c:pt idx="14">
                  <c:v>0.21459093276592522</c:v>
                </c:pt>
                <c:pt idx="15">
                  <c:v>0.21209473892964167</c:v>
                </c:pt>
                <c:pt idx="16">
                  <c:v>0.2091883316427416</c:v>
                </c:pt>
                <c:pt idx="17">
                  <c:v>0.21483039535476672</c:v>
                </c:pt>
                <c:pt idx="18">
                  <c:v>0.21331467790345282</c:v>
                </c:pt>
                <c:pt idx="19">
                  <c:v>0.20168211687253373</c:v>
                </c:pt>
                <c:pt idx="20">
                  <c:v>0.2021333054556565</c:v>
                </c:pt>
                <c:pt idx="21">
                  <c:v>0.21101702589121688</c:v>
                </c:pt>
                <c:pt idx="22">
                  <c:v>0.20792993657376097</c:v>
                </c:pt>
                <c:pt idx="23">
                  <c:v>0.20598215891276983</c:v>
                </c:pt>
                <c:pt idx="24">
                  <c:v>0.2051503238532384</c:v>
                </c:pt>
                <c:pt idx="25">
                  <c:v>0.20884920397596207</c:v>
                </c:pt>
                <c:pt idx="26">
                  <c:v>0.2092121900071575</c:v>
                </c:pt>
                <c:pt idx="27">
                  <c:v>0.20905402527078076</c:v>
                </c:pt>
                <c:pt idx="28">
                  <c:v>0.20630136081299005</c:v>
                </c:pt>
                <c:pt idx="29">
                  <c:v>0.20558558269665614</c:v>
                </c:pt>
                <c:pt idx="30">
                  <c:v>0.2066178080824535</c:v>
                </c:pt>
                <c:pt idx="31">
                  <c:v>0.207860717414713</c:v>
                </c:pt>
                <c:pt idx="32">
                  <c:v>0.20590364287491797</c:v>
                </c:pt>
                <c:pt idx="33">
                  <c:v>0.20618554852449786</c:v>
                </c:pt>
                <c:pt idx="34">
                  <c:v>0.20479417003122247</c:v>
                </c:pt>
                <c:pt idx="35">
                  <c:v>0.20150429820815924</c:v>
                </c:pt>
                <c:pt idx="36">
                  <c:v>0.1980124503338879</c:v>
                </c:pt>
                <c:pt idx="37">
                  <c:v>0.19994219603696495</c:v>
                </c:pt>
                <c:pt idx="38">
                  <c:v>0.19746890913013201</c:v>
                </c:pt>
                <c:pt idx="39">
                  <c:v>0.20281241255004157</c:v>
                </c:pt>
                <c:pt idx="40">
                  <c:v>0.20043780304103978</c:v>
                </c:pt>
                <c:pt idx="41">
                  <c:v>0.19695372974962785</c:v>
                </c:pt>
                <c:pt idx="42">
                  <c:v>0.19838711636194323</c:v>
                </c:pt>
                <c:pt idx="43">
                  <c:v>0.19678492706421036</c:v>
                </c:pt>
                <c:pt idx="44">
                  <c:v>0.20441604259215046</c:v>
                </c:pt>
                <c:pt idx="45">
                  <c:v>0.2090216221142478</c:v>
                </c:pt>
                <c:pt idx="46">
                  <c:v>0.21024808521353539</c:v>
                </c:pt>
                <c:pt idx="47">
                  <c:v>0.21293163924770275</c:v>
                </c:pt>
                <c:pt idx="48">
                  <c:v>0.21312344853671006</c:v>
                </c:pt>
                <c:pt idx="49">
                  <c:v>0.21114103864298156</c:v>
                </c:pt>
                <c:pt idx="50">
                  <c:v>0.2150182720459174</c:v>
                </c:pt>
                <c:pt idx="51">
                  <c:v>0.21850799051812353</c:v>
                </c:pt>
                <c:pt idx="52">
                  <c:v>0.21420927704017853</c:v>
                </c:pt>
                <c:pt idx="53">
                  <c:v>0.2505318564708487</c:v>
                </c:pt>
                <c:pt idx="54">
                  <c:v>0.20566686344112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1.0"/>
          <c:min val="60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58932161463589</c:v>
                </c:pt>
                <c:pt idx="1">
                  <c:v>0.6772884074525752</c:v>
                </c:pt>
                <c:pt idx="2">
                  <c:v>0.6793283367631031</c:v>
                </c:pt>
                <c:pt idx="3">
                  <c:v>0.6838005514973317</c:v>
                </c:pt>
                <c:pt idx="4">
                  <c:v>0.6866365482241148</c:v>
                </c:pt>
                <c:pt idx="5">
                  <c:v>0.6999241368332694</c:v>
                </c:pt>
                <c:pt idx="6">
                  <c:v>0.6590341621537804</c:v>
                </c:pt>
                <c:pt idx="7">
                  <c:v>0.6597062040155388</c:v>
                </c:pt>
                <c:pt idx="8">
                  <c:v>0.6658875195124291</c:v>
                </c:pt>
                <c:pt idx="9">
                  <c:v>0.6998048235333848</c:v>
                </c:pt>
                <c:pt idx="10">
                  <c:v>0.7186590828158504</c:v>
                </c:pt>
                <c:pt idx="11">
                  <c:v>0.750154286313679</c:v>
                </c:pt>
                <c:pt idx="12">
                  <c:v>0.769672935368271</c:v>
                </c:pt>
                <c:pt idx="13">
                  <c:v>0.7485739571859585</c:v>
                </c:pt>
                <c:pt idx="14">
                  <c:v>0.7457284913119203</c:v>
                </c:pt>
                <c:pt idx="15">
                  <c:v>0.7486721365515577</c:v>
                </c:pt>
                <c:pt idx="16">
                  <c:v>0.7409541932668882</c:v>
                </c:pt>
                <c:pt idx="17">
                  <c:v>0.7362448569803216</c:v>
                </c:pt>
                <c:pt idx="18">
                  <c:v>0.7643611355580772</c:v>
                </c:pt>
                <c:pt idx="19">
                  <c:v>0.7742366834807595</c:v>
                </c:pt>
                <c:pt idx="20">
                  <c:v>0.7788983797602445</c:v>
                </c:pt>
                <c:pt idx="21">
                  <c:v>0.7045264792741694</c:v>
                </c:pt>
                <c:pt idx="22">
                  <c:v>0.6696706208389931</c:v>
                </c:pt>
                <c:pt idx="23">
                  <c:v>0.6456522675908927</c:v>
                </c:pt>
                <c:pt idx="24">
                  <c:v>0.6142759997857721</c:v>
                </c:pt>
                <c:pt idx="25">
                  <c:v>0.5950517624341152</c:v>
                </c:pt>
                <c:pt idx="26">
                  <c:v>0.6054876931608508</c:v>
                </c:pt>
                <c:pt idx="27">
                  <c:v>0.6281382602335349</c:v>
                </c:pt>
                <c:pt idx="28">
                  <c:v>0.6187590251353342</c:v>
                </c:pt>
                <c:pt idx="29">
                  <c:v>0.5535664656091062</c:v>
                </c:pt>
                <c:pt idx="30">
                  <c:v>0.5749393798292388</c:v>
                </c:pt>
                <c:pt idx="31">
                  <c:v>0.5975515688342565</c:v>
                </c:pt>
                <c:pt idx="32">
                  <c:v>0.5621603417026902</c:v>
                </c:pt>
                <c:pt idx="33">
                  <c:v>0.5421411978688871</c:v>
                </c:pt>
                <c:pt idx="34">
                  <c:v>0.632878073445609</c:v>
                </c:pt>
                <c:pt idx="35">
                  <c:v>0.7033943007912401</c:v>
                </c:pt>
                <c:pt idx="36">
                  <c:v>0.7478069852040793</c:v>
                </c:pt>
                <c:pt idx="37">
                  <c:v>0.7071650776169396</c:v>
                </c:pt>
                <c:pt idx="38">
                  <c:v>0.7562399149146187</c:v>
                </c:pt>
                <c:pt idx="39">
                  <c:v>0.7665640345852957</c:v>
                </c:pt>
                <c:pt idx="40">
                  <c:v>0.7712828266641626</c:v>
                </c:pt>
                <c:pt idx="41">
                  <c:v>0.7545224475565984</c:v>
                </c:pt>
                <c:pt idx="42">
                  <c:v>0.7878399785533242</c:v>
                </c:pt>
                <c:pt idx="43">
                  <c:v>0.7918999815055466</c:v>
                </c:pt>
                <c:pt idx="44">
                  <c:v>0.7299710040761257</c:v>
                </c:pt>
                <c:pt idx="45">
                  <c:v>0.714817734758193</c:v>
                </c:pt>
                <c:pt idx="46">
                  <c:v>0.7139052130664947</c:v>
                </c:pt>
                <c:pt idx="47">
                  <c:v>0.7145121938111975</c:v>
                </c:pt>
                <c:pt idx="48">
                  <c:v>0.7196327488008899</c:v>
                </c:pt>
                <c:pt idx="49">
                  <c:v>0.7250539800712519</c:v>
                </c:pt>
                <c:pt idx="50">
                  <c:v>0.6919413757808915</c:v>
                </c:pt>
                <c:pt idx="51">
                  <c:v>0.6981261868678027</c:v>
                </c:pt>
                <c:pt idx="52">
                  <c:v>0.710423042928525</c:v>
                </c:pt>
                <c:pt idx="53">
                  <c:v>0.664002744463466</c:v>
                </c:pt>
                <c:pt idx="54">
                  <c:v>0.643892334302558</c:v>
                </c:pt>
                <c:pt idx="55">
                  <c:v>0.6553256644106009</c:v>
                </c:pt>
                <c:pt idx="56">
                  <c:v>0.6587249466707733</c:v>
                </c:pt>
                <c:pt idx="57">
                  <c:v>0.6612497341299342</c:v>
                </c:pt>
                <c:pt idx="58">
                  <c:v>0.6426328299376388</c:v>
                </c:pt>
                <c:pt idx="59">
                  <c:v>0.6492921655710985</c:v>
                </c:pt>
                <c:pt idx="60">
                  <c:v>0.6516763889191243</c:v>
                </c:pt>
                <c:pt idx="61">
                  <c:v>0.6848680805786694</c:v>
                </c:pt>
                <c:pt idx="62">
                  <c:v>0.7080954158982351</c:v>
                </c:pt>
                <c:pt idx="63">
                  <c:v>0.7265960650086608</c:v>
                </c:pt>
                <c:pt idx="64">
                  <c:v>0.7746421537916367</c:v>
                </c:pt>
                <c:pt idx="65">
                  <c:v>0.7731918656279183</c:v>
                </c:pt>
                <c:pt idx="66">
                  <c:v>0.7317472094455614</c:v>
                </c:pt>
                <c:pt idx="67">
                  <c:v>0.7254935617771187</c:v>
                </c:pt>
                <c:pt idx="68">
                  <c:v>0.7067593673020919</c:v>
                </c:pt>
                <c:pt idx="69">
                  <c:v>0.6974324010560665</c:v>
                </c:pt>
                <c:pt idx="70">
                  <c:v>0.6566226372220156</c:v>
                </c:pt>
                <c:pt idx="71">
                  <c:v>0.6392358178670257</c:v>
                </c:pt>
                <c:pt idx="72">
                  <c:v>0.6822782417441952</c:v>
                </c:pt>
                <c:pt idx="73">
                  <c:v>0.6532545466635774</c:v>
                </c:pt>
                <c:pt idx="74">
                  <c:v>0.620129412779487</c:v>
                </c:pt>
                <c:pt idx="75">
                  <c:v>0.613968123855853</c:v>
                </c:pt>
                <c:pt idx="76">
                  <c:v>0.6330002039853551</c:v>
                </c:pt>
                <c:pt idx="77">
                  <c:v>0.6250158186642925</c:v>
                </c:pt>
                <c:pt idx="78">
                  <c:v>0.6567383451685963</c:v>
                </c:pt>
                <c:pt idx="79">
                  <c:v>0.4150281990648996</c:v>
                </c:pt>
                <c:pt idx="80">
                  <c:v>0.4373406588273845</c:v>
                </c:pt>
                <c:pt idx="81">
                  <c:v>0.5745513462917465</c:v>
                </c:pt>
                <c:pt idx="82">
                  <c:v>0.5589780248158722</c:v>
                </c:pt>
                <c:pt idx="83">
                  <c:v>0.5606763941847615</c:v>
                </c:pt>
                <c:pt idx="84">
                  <c:v>0.5689966363041704</c:v>
                </c:pt>
                <c:pt idx="85">
                  <c:v>0.5990980444911254</c:v>
                </c:pt>
                <c:pt idx="86">
                  <c:v>0.6918962555609803</c:v>
                </c:pt>
                <c:pt idx="87">
                  <c:v>0.7245526854753715</c:v>
                </c:pt>
                <c:pt idx="88">
                  <c:v>0.6746911852934635</c:v>
                </c:pt>
                <c:pt idx="89">
                  <c:v>0.6314890137347587</c:v>
                </c:pt>
                <c:pt idx="90">
                  <c:v>0.653541504327075</c:v>
                </c:pt>
                <c:pt idx="91">
                  <c:v>0.6915465885857349</c:v>
                </c:pt>
                <c:pt idx="92">
                  <c:v>0.7185220755304156</c:v>
                </c:pt>
                <c:pt idx="93">
                  <c:v>0.7427286920319186</c:v>
                </c:pt>
                <c:pt idx="94">
                  <c:v>0.7414405100401361</c:v>
                </c:pt>
                <c:pt idx="95">
                  <c:v>0.7695555492268602</c:v>
                </c:pt>
                <c:pt idx="96">
                  <c:v>0.768427324936442</c:v>
                </c:pt>
                <c:pt idx="97">
                  <c:v>0.8240291213263155</c:v>
                </c:pt>
                <c:pt idx="98">
                  <c:v>0.835070109806222</c:v>
                </c:pt>
                <c:pt idx="99">
                  <c:v>0.8203883519670384</c:v>
                </c:pt>
                <c:pt idx="100">
                  <c:v>0.8162948692418482</c:v>
                </c:pt>
                <c:pt idx="101">
                  <c:v>0.7572842692004252</c:v>
                </c:pt>
                <c:pt idx="102">
                  <c:v>0.7664125389538184</c:v>
                </c:pt>
                <c:pt idx="103">
                  <c:v>0.6985592236008589</c:v>
                </c:pt>
                <c:pt idx="104">
                  <c:v>0.7231587832039668</c:v>
                </c:pt>
              </c:numCache>
            </c:numRef>
          </c:xVal>
          <c:yVal>
            <c:numRef>
              <c:f>Sheet1!$B$2:$B$106</c:f>
              <c:numCache>
                <c:formatCode>General</c:formatCode>
                <c:ptCount val="105"/>
                <c:pt idx="0">
                  <c:v>0.21030715158924204</c:v>
                </c:pt>
                <c:pt idx="1">
                  <c:v>0.21298701298701297</c:v>
                </c:pt>
                <c:pt idx="2">
                  <c:v>0.19188149288187764</c:v>
                </c:pt>
                <c:pt idx="3">
                  <c:v>0.19090721223393264</c:v>
                </c:pt>
                <c:pt idx="4">
                  <c:v>0.19040369315391414</c:v>
                </c:pt>
                <c:pt idx="5">
                  <c:v>0.18118797067477932</c:v>
                </c:pt>
                <c:pt idx="6">
                  <c:v>0.20359223768478837</c:v>
                </c:pt>
                <c:pt idx="7">
                  <c:v>0.20028392958546282</c:v>
                </c:pt>
                <c:pt idx="8">
                  <c:v>0.21053270971268906</c:v>
                </c:pt>
                <c:pt idx="9">
                  <c:v>0.21039721134397726</c:v>
                </c:pt>
                <c:pt idx="10">
                  <c:v>0.22042008977725078</c:v>
                </c:pt>
                <c:pt idx="11">
                  <c:v>0.21358106613581065</c:v>
                </c:pt>
                <c:pt idx="12">
                  <c:v>0.21567654719087187</c:v>
                </c:pt>
                <c:pt idx="13">
                  <c:v>0.22556548743128121</c:v>
                </c:pt>
                <c:pt idx="14">
                  <c:v>0.21514723007818998</c:v>
                </c:pt>
                <c:pt idx="15">
                  <c:v>0.21337422099119596</c:v>
                </c:pt>
                <c:pt idx="16">
                  <c:v>0.2021367278513383</c:v>
                </c:pt>
                <c:pt idx="17">
                  <c:v>0.1916417538614848</c:v>
                </c:pt>
                <c:pt idx="18">
                  <c:v>0.17514358867898416</c:v>
                </c:pt>
                <c:pt idx="19">
                  <c:v>0.16184781718404456</c:v>
                </c:pt>
                <c:pt idx="20">
                  <c:v>0.174278038952317</c:v>
                </c:pt>
                <c:pt idx="21">
                  <c:v>0.17816586373021334</c:v>
                </c:pt>
                <c:pt idx="22">
                  <c:v>0.17713299358868978</c:v>
                </c:pt>
                <c:pt idx="23">
                  <c:v>0.18507202095154954</c:v>
                </c:pt>
                <c:pt idx="24">
                  <c:v>0.18752479961907786</c:v>
                </c:pt>
                <c:pt idx="25">
                  <c:v>0.18773318773318773</c:v>
                </c:pt>
                <c:pt idx="26">
                  <c:v>0.192</c:v>
                </c:pt>
                <c:pt idx="27">
                  <c:v>0.17932890155112377</c:v>
                </c:pt>
                <c:pt idx="28">
                  <c:v>0.17864642222581167</c:v>
                </c:pt>
                <c:pt idx="29">
                  <c:v>0.20309249757315212</c:v>
                </c:pt>
                <c:pt idx="30">
                  <c:v>0.18293125340105207</c:v>
                </c:pt>
                <c:pt idx="31">
                  <c:v>0.17864829961256995</c:v>
                </c:pt>
                <c:pt idx="32">
                  <c:v>0.1871335232032166</c:v>
                </c:pt>
                <c:pt idx="33">
                  <c:v>0.20930232558139536</c:v>
                </c:pt>
                <c:pt idx="34">
                  <c:v>0.1992973309911033</c:v>
                </c:pt>
                <c:pt idx="35">
                  <c:v>0.1956752736159813</c:v>
                </c:pt>
                <c:pt idx="36">
                  <c:v>0.15181646844739066</c:v>
                </c:pt>
                <c:pt idx="37">
                  <c:v>0.14250182882223847</c:v>
                </c:pt>
                <c:pt idx="38">
                  <c:v>0.13718112724809994</c:v>
                </c:pt>
                <c:pt idx="39">
                  <c:v>0.13833099797602366</c:v>
                </c:pt>
                <c:pt idx="40">
                  <c:v>0.13867644270273688</c:v>
                </c:pt>
                <c:pt idx="41">
                  <c:v>0.1270996640537514</c:v>
                </c:pt>
                <c:pt idx="42">
                  <c:v>0.13326508490906902</c:v>
                </c:pt>
                <c:pt idx="43">
                  <c:v>0.13675121424716677</c:v>
                </c:pt>
                <c:pt idx="44">
                  <c:v>0.16124158769399807</c:v>
                </c:pt>
                <c:pt idx="45">
                  <c:v>0.1861608385121974</c:v>
                </c:pt>
                <c:pt idx="46">
                  <c:v>0.1937179063691781</c:v>
                </c:pt>
                <c:pt idx="47">
                  <c:v>0.19532088430993774</c:v>
                </c:pt>
                <c:pt idx="48">
                  <c:v>0.21233782239451454</c:v>
                </c:pt>
                <c:pt idx="49">
                  <c:v>0.24603675866860356</c:v>
                </c:pt>
                <c:pt idx="50">
                  <c:v>0.20786180373861235</c:v>
                </c:pt>
                <c:pt idx="51">
                  <c:v>0.18664801119328403</c:v>
                </c:pt>
                <c:pt idx="52">
                  <c:v>0.19997993176801124</c:v>
                </c:pt>
                <c:pt idx="53">
                  <c:v>0.1882059256834179</c:v>
                </c:pt>
                <c:pt idx="54">
                  <c:v>0.1853673948366131</c:v>
                </c:pt>
                <c:pt idx="55">
                  <c:v>0.17528152113716078</c:v>
                </c:pt>
                <c:pt idx="56">
                  <c:v>0.1852655955999421</c:v>
                </c:pt>
                <c:pt idx="57">
                  <c:v>0.18023843200646594</c:v>
                </c:pt>
                <c:pt idx="58">
                  <c:v>0.19915412830301668</c:v>
                </c:pt>
                <c:pt idx="59">
                  <c:v>0.2092832698703427</c:v>
                </c:pt>
                <c:pt idx="60">
                  <c:v>0.22389277072401512</c:v>
                </c:pt>
                <c:pt idx="61">
                  <c:v>0.222672371360418</c:v>
                </c:pt>
                <c:pt idx="62">
                  <c:v>0.22107099622587767</c:v>
                </c:pt>
                <c:pt idx="63">
                  <c:v>0.23888208218815193</c:v>
                </c:pt>
                <c:pt idx="64">
                  <c:v>0.22448180186061695</c:v>
                </c:pt>
                <c:pt idx="65">
                  <c:v>0.2092982083421854</c:v>
                </c:pt>
                <c:pt idx="66">
                  <c:v>0.21225035212539275</c:v>
                </c:pt>
                <c:pt idx="67">
                  <c:v>0.20886051756431329</c:v>
                </c:pt>
                <c:pt idx="68">
                  <c:v>0.18994516381733562</c:v>
                </c:pt>
                <c:pt idx="69">
                  <c:v>0.17577310373592325</c:v>
                </c:pt>
                <c:pt idx="70">
                  <c:v>0.16404162165235686</c:v>
                </c:pt>
                <c:pt idx="71">
                  <c:v>0.17445482866043613</c:v>
                </c:pt>
                <c:pt idx="72">
                  <c:v>0.17299754740683138</c:v>
                </c:pt>
                <c:pt idx="73">
                  <c:v>0.17705832738597288</c:v>
                </c:pt>
                <c:pt idx="74">
                  <c:v>0.17853922452660054</c:v>
                </c:pt>
                <c:pt idx="75">
                  <c:v>0.18282139593730232</c:v>
                </c:pt>
                <c:pt idx="76">
                  <c:v>0.1749961907664178</c:v>
                </c:pt>
                <c:pt idx="77">
                  <c:v>0.17296614850469502</c:v>
                </c:pt>
                <c:pt idx="78">
                  <c:v>0.15853018372703412</c:v>
                </c:pt>
                <c:pt idx="79">
                  <c:v>0.2261861775113743</c:v>
                </c:pt>
                <c:pt idx="80">
                  <c:v>0.2101878612716763</c:v>
                </c:pt>
                <c:pt idx="81">
                  <c:v>0.1694088207694714</c:v>
                </c:pt>
                <c:pt idx="82">
                  <c:v>0.16926466987676486</c:v>
                </c:pt>
                <c:pt idx="83">
                  <c:v>0.14987487255538048</c:v>
                </c:pt>
                <c:pt idx="84">
                  <c:v>0.1537157389092964</c:v>
                </c:pt>
                <c:pt idx="85">
                  <c:v>0.15863306418726042</c:v>
                </c:pt>
                <c:pt idx="86">
                  <c:v>0.1524004465947153</c:v>
                </c:pt>
                <c:pt idx="87">
                  <c:v>0.1689402513850003</c:v>
                </c:pt>
                <c:pt idx="88">
                  <c:v>0.14848762603116408</c:v>
                </c:pt>
                <c:pt idx="89">
                  <c:v>0.14441462596444146</c:v>
                </c:pt>
                <c:pt idx="90">
                  <c:v>0.14172686618507052</c:v>
                </c:pt>
                <c:pt idx="91">
                  <c:v>0.13393232009404651</c:v>
                </c:pt>
                <c:pt idx="92">
                  <c:v>0.14259086672879775</c:v>
                </c:pt>
                <c:pt idx="93">
                  <c:v>0.13648551435484926</c:v>
                </c:pt>
                <c:pt idx="94">
                  <c:v>0.14039841804599384</c:v>
                </c:pt>
                <c:pt idx="95">
                  <c:v>0.14438761776581427</c:v>
                </c:pt>
                <c:pt idx="96">
                  <c:v>0.1441160471441523</c:v>
                </c:pt>
                <c:pt idx="97">
                  <c:v>0.1554780494048381</c:v>
                </c:pt>
                <c:pt idx="98">
                  <c:v>0.17081260364842454</c:v>
                </c:pt>
                <c:pt idx="99">
                  <c:v>0.17867754563033533</c:v>
                </c:pt>
                <c:pt idx="100">
                  <c:v>0.19638028243694658</c:v>
                </c:pt>
                <c:pt idx="101">
                  <c:v>0.18430480700333343</c:v>
                </c:pt>
                <c:pt idx="102">
                  <c:v>0.15521151330135194</c:v>
                </c:pt>
                <c:pt idx="103">
                  <c:v>0.17430878208545966</c:v>
                </c:pt>
                <c:pt idx="104">
                  <c:v>0.1768059102517329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425031087682411</c:v>
                </c:pt>
                <c:pt idx="1">
                  <c:v>0.6886434030972932</c:v>
                </c:pt>
                <c:pt idx="2">
                  <c:v>0.6842205362751762</c:v>
                </c:pt>
                <c:pt idx="3">
                  <c:v>0.6748650950662318</c:v>
                </c:pt>
                <c:pt idx="4">
                  <c:v>0.6745917823416892</c:v>
                </c:pt>
                <c:pt idx="5">
                  <c:v>0.6981717349921437</c:v>
                </c:pt>
                <c:pt idx="6">
                  <c:v>0.7155577769176034</c:v>
                </c:pt>
                <c:pt idx="7">
                  <c:v>0.7305549755058234</c:v>
                </c:pt>
                <c:pt idx="8">
                  <c:v>0.7660601295913709</c:v>
                </c:pt>
                <c:pt idx="9">
                  <c:v>0.7530968261935558</c:v>
                </c:pt>
                <c:pt idx="10">
                  <c:v>0.7639539155826406</c:v>
                </c:pt>
                <c:pt idx="11">
                  <c:v>0.7312637329702889</c:v>
                </c:pt>
                <c:pt idx="12">
                  <c:v>0.7289846739673915</c:v>
                </c:pt>
                <c:pt idx="13">
                  <c:v>0.7069322403704377</c:v>
                </c:pt>
                <c:pt idx="14">
                  <c:v>0.7052106349473878</c:v>
                </c:pt>
                <c:pt idx="15">
                  <c:v>0.7160790935276131</c:v>
                </c:pt>
                <c:pt idx="16">
                  <c:v>0.7404004102194082</c:v>
                </c:pt>
                <c:pt idx="17">
                  <c:v>0.7299230013182909</c:v>
                </c:pt>
                <c:pt idx="18">
                  <c:v>0.742703860380433</c:v>
                </c:pt>
                <c:pt idx="19">
                  <c:v>0.7545001464776477</c:v>
                </c:pt>
                <c:pt idx="20">
                  <c:v>0.7165348153306192</c:v>
                </c:pt>
                <c:pt idx="21">
                  <c:v>0.6815372226069508</c:v>
                </c:pt>
                <c:pt idx="22">
                  <c:v>0.6463845974031943</c:v>
                </c:pt>
                <c:pt idx="23">
                  <c:v>0.6503533248873767</c:v>
                </c:pt>
                <c:pt idx="24">
                  <c:v>0.6541325538682937</c:v>
                </c:pt>
                <c:pt idx="25">
                  <c:v>0.6715768715550747</c:v>
                </c:pt>
                <c:pt idx="26">
                  <c:v>0.6928726158105634</c:v>
                </c:pt>
                <c:pt idx="27">
                  <c:v>0.7233325042180674</c:v>
                </c:pt>
                <c:pt idx="28">
                  <c:v>0.7026856632200386</c:v>
                </c:pt>
                <c:pt idx="29">
                  <c:v>0.6632124608273814</c:v>
                </c:pt>
                <c:pt idx="30">
                  <c:v>0.6440996205134729</c:v>
                </c:pt>
                <c:pt idx="31">
                  <c:v>0.6105359820786291</c:v>
                </c:pt>
                <c:pt idx="32">
                  <c:v>0.6281172553560777</c:v>
                </c:pt>
                <c:pt idx="33">
                  <c:v>0.6780352005476391</c:v>
                </c:pt>
                <c:pt idx="34">
                  <c:v>0.7189984228106117</c:v>
                </c:pt>
                <c:pt idx="35">
                  <c:v>0.6682049257394511</c:v>
                </c:pt>
                <c:pt idx="36">
                  <c:v>0.6169595979658359</c:v>
                </c:pt>
                <c:pt idx="37">
                  <c:v>0.6513440342466561</c:v>
                </c:pt>
                <c:pt idx="38">
                  <c:v>0.6400312351432516</c:v>
                </c:pt>
                <c:pt idx="39">
                  <c:v>0.6789179140332006</c:v>
                </c:pt>
                <c:pt idx="40">
                  <c:v>0.7045471723477562</c:v>
                </c:pt>
                <c:pt idx="41">
                  <c:v>0.7379893662504642</c:v>
                </c:pt>
                <c:pt idx="42">
                  <c:v>0.7089381550600562</c:v>
                </c:pt>
                <c:pt idx="43">
                  <c:v>0.7598333695666292</c:v>
                </c:pt>
                <c:pt idx="44">
                  <c:v>0.8196999386080881</c:v>
                </c:pt>
                <c:pt idx="45">
                  <c:v>0.8183435577684596</c:v>
                </c:pt>
                <c:pt idx="46">
                  <c:v>0.7872522030314383</c:v>
                </c:pt>
                <c:pt idx="47">
                  <c:v>0.7905914563256862</c:v>
                </c:pt>
                <c:pt idx="48">
                  <c:v>0.8372766023984277</c:v>
                </c:pt>
                <c:pt idx="49">
                  <c:v>0.8693102106668811</c:v>
                </c:pt>
                <c:pt idx="50">
                  <c:v>0.7893979845787219</c:v>
                </c:pt>
                <c:pt idx="51">
                  <c:v>0.7567497049316113</c:v>
                </c:pt>
              </c:numCache>
            </c:numRef>
          </c:xVal>
          <c:yVal>
            <c:numRef>
              <c:f>Sheet1!$B$109:$B$160</c:f>
              <c:numCache>
                <c:formatCode>General</c:formatCode>
                <c:ptCount val="52"/>
                <c:pt idx="0">
                  <c:v>0.1696125907990315</c:v>
                </c:pt>
                <c:pt idx="1">
                  <c:v>0.1799104286628279</c:v>
                </c:pt>
                <c:pt idx="2">
                  <c:v>0.1882895378041009</c:v>
                </c:pt>
                <c:pt idx="3">
                  <c:v>0.2025717264548017</c:v>
                </c:pt>
                <c:pt idx="4">
                  <c:v>0.19036715357283854</c:v>
                </c:pt>
                <c:pt idx="5">
                  <c:v>0.1883741612094753</c:v>
                </c:pt>
                <c:pt idx="6">
                  <c:v>0.1853735531392494</c:v>
                </c:pt>
                <c:pt idx="7">
                  <c:v>0.17800038528221923</c:v>
                </c:pt>
                <c:pt idx="8">
                  <c:v>0.17771394504362908</c:v>
                </c:pt>
                <c:pt idx="9">
                  <c:v>0.18665271132376396</c:v>
                </c:pt>
                <c:pt idx="10">
                  <c:v>0.19376186073670382</c:v>
                </c:pt>
                <c:pt idx="11">
                  <c:v>0.20784165751920966</c:v>
                </c:pt>
                <c:pt idx="12">
                  <c:v>0.20951877743456349</c:v>
                </c:pt>
                <c:pt idx="13">
                  <c:v>0.19814417647831226</c:v>
                </c:pt>
                <c:pt idx="14">
                  <c:v>0.20124253285543608</c:v>
                </c:pt>
                <c:pt idx="15">
                  <c:v>0.18858176181865152</c:v>
                </c:pt>
                <c:pt idx="16">
                  <c:v>0.16970213802765427</c:v>
                </c:pt>
                <c:pt idx="17">
                  <c:v>0.15518128053484187</c:v>
                </c:pt>
                <c:pt idx="18">
                  <c:v>0.1502881520844248</c:v>
                </c:pt>
                <c:pt idx="19">
                  <c:v>0.157272860707471</c:v>
                </c:pt>
                <c:pt idx="20">
                  <c:v>0.1460418192173135</c:v>
                </c:pt>
                <c:pt idx="21">
                  <c:v>0.15542436852801703</c:v>
                </c:pt>
                <c:pt idx="22">
                  <c:v>0.16148597422289612</c:v>
                </c:pt>
                <c:pt idx="23">
                  <c:v>0.16593756213959038</c:v>
                </c:pt>
                <c:pt idx="24">
                  <c:v>0.15968992248062017</c:v>
                </c:pt>
                <c:pt idx="25">
                  <c:v>0.16526772793053546</c:v>
                </c:pt>
                <c:pt idx="26">
                  <c:v>0.1439575033200531</c:v>
                </c:pt>
                <c:pt idx="27">
                  <c:v>0.14356673609998397</c:v>
                </c:pt>
                <c:pt idx="28">
                  <c:v>0.1543013856812933</c:v>
                </c:pt>
                <c:pt idx="29">
                  <c:v>0.15728375665531988</c:v>
                </c:pt>
                <c:pt idx="30">
                  <c:v>0.1659631791647957</c:v>
                </c:pt>
                <c:pt idx="31">
                  <c:v>0.16738361533314214</c:v>
                </c:pt>
                <c:pt idx="32">
                  <c:v>0.17072766451185148</c:v>
                </c:pt>
                <c:pt idx="33">
                  <c:v>0.18749190728991325</c:v>
                </c:pt>
                <c:pt idx="34">
                  <c:v>0.20933340460790079</c:v>
                </c:pt>
                <c:pt idx="35">
                  <c:v>0.20136381869233855</c:v>
                </c:pt>
                <c:pt idx="36">
                  <c:v>0.17013669821240798</c:v>
                </c:pt>
                <c:pt idx="37">
                  <c:v>0.1519192304028955</c:v>
                </c:pt>
                <c:pt idx="38">
                  <c:v>0.15699152542372882</c:v>
                </c:pt>
                <c:pt idx="39">
                  <c:v>0.17547272585790988</c:v>
                </c:pt>
                <c:pt idx="40">
                  <c:v>0.15525388134703366</c:v>
                </c:pt>
                <c:pt idx="41">
                  <c:v>0.1563388288800455</c:v>
                </c:pt>
                <c:pt idx="42">
                  <c:v>0.15529659302419682</c:v>
                </c:pt>
                <c:pt idx="43">
                  <c:v>0.14629695042976568</c:v>
                </c:pt>
                <c:pt idx="44">
                  <c:v>0.13895062324862306</c:v>
                </c:pt>
                <c:pt idx="45">
                  <c:v>0.1540945217144479</c:v>
                </c:pt>
                <c:pt idx="46">
                  <c:v>0.1499685995394599</c:v>
                </c:pt>
                <c:pt idx="47">
                  <c:v>0.15169280944246</c:v>
                </c:pt>
                <c:pt idx="48">
                  <c:v>0.14248446004702245</c:v>
                </c:pt>
                <c:pt idx="49">
                  <c:v>0.15973649220355374</c:v>
                </c:pt>
                <c:pt idx="50">
                  <c:v>0.19359691025510722</c:v>
                </c:pt>
                <c:pt idx="51">
                  <c:v>0.180591212499083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0052378369956325</c:v>
                </c:pt>
              </c:numCache>
            </c:numRef>
          </c:xVal>
          <c:yVal>
            <c:numRef>
              <c:f>Sheet1!$B$163:$B$164</c:f>
              <c:numCache>
                <c:formatCode>General</c:formatCode>
                <c:ptCount val="2"/>
                <c:pt idx="0">
                  <c:v>0.1999656435326154</c:v>
                </c:pt>
                <c:pt idx="1">
                  <c:v>0.199965643532615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0052378369956325</c:v>
                </c:pt>
                <c:pt idx="1">
                  <c:v>0.20052378369956325</c:v>
                </c:pt>
              </c:numCache>
            </c:numRef>
          </c:xVal>
          <c:yVal>
            <c:numRef>
              <c:f>Sheet1!$B$167:$B$168</c:f>
              <c:numCache>
                <c:formatCode>General</c:formatCode>
                <c:ptCount val="2"/>
                <c:pt idx="0">
                  <c:v>0.19996564353261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72113683082597</c:v>
                </c:pt>
              </c:numCache>
            </c:numRef>
          </c:xVal>
          <c:yVal>
            <c:numRef>
              <c:f>Sheet1!$B$171:$B$172</c:f>
              <c:numCache>
                <c:formatCode>General</c:formatCode>
                <c:ptCount val="2"/>
                <c:pt idx="0">
                  <c:v>0.1844681646631304</c:v>
                </c:pt>
                <c:pt idx="1">
                  <c:v>0.184468164663130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72113683082597</c:v>
                </c:pt>
                <c:pt idx="1">
                  <c:v>0.472113683082597</c:v>
                </c:pt>
              </c:numCache>
            </c:numRef>
          </c:xVal>
          <c:yVal>
            <c:numRef>
              <c:f>Sheet1!$B$175:$B$176</c:f>
              <c:numCache>
                <c:formatCode>General</c:formatCode>
                <c:ptCount val="2"/>
                <c:pt idx="0">
                  <c:v>0.18446816466313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281779130511175</c:v>
                </c:pt>
              </c:numCache>
            </c:numRef>
          </c:xVal>
          <c:yVal>
            <c:numRef>
              <c:f>Sheet1!$B$179:$B$180</c:f>
              <c:numCache>
                <c:formatCode>General</c:formatCode>
                <c:ptCount val="2"/>
                <c:pt idx="0">
                  <c:v>0.1584442006529776</c:v>
                </c:pt>
                <c:pt idx="1">
                  <c:v>0.158444200652977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281779130511175</c:v>
                </c:pt>
                <c:pt idx="1">
                  <c:v>0.9281779130511175</c:v>
                </c:pt>
              </c:numCache>
            </c:numRef>
          </c:xVal>
          <c:yVal>
            <c:numRef>
              <c:f>Sheet1!$B$183:$B$184</c:f>
              <c:numCache>
                <c:formatCode>General</c:formatCode>
                <c:ptCount val="2"/>
                <c:pt idx="0">
                  <c:v>0.158444200652977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425031087682411</c:v>
                </c:pt>
                <c:pt idx="1">
                  <c:v>0.6886434030972932</c:v>
                </c:pt>
                <c:pt idx="2">
                  <c:v>0.6842205362751762</c:v>
                </c:pt>
                <c:pt idx="3">
                  <c:v>0.6748650950662318</c:v>
                </c:pt>
                <c:pt idx="4">
                  <c:v>0.6745917823416892</c:v>
                </c:pt>
                <c:pt idx="5">
                  <c:v>0.6981717349921437</c:v>
                </c:pt>
                <c:pt idx="6">
                  <c:v>0.7155577769176034</c:v>
                </c:pt>
                <c:pt idx="7">
                  <c:v>0.7305549755058234</c:v>
                </c:pt>
                <c:pt idx="8">
                  <c:v>0.7660601295913709</c:v>
                </c:pt>
                <c:pt idx="9">
                  <c:v>0.7530968261935558</c:v>
                </c:pt>
                <c:pt idx="10">
                  <c:v>0.7639539155826406</c:v>
                </c:pt>
                <c:pt idx="11">
                  <c:v>0.7312637329702889</c:v>
                </c:pt>
                <c:pt idx="12">
                  <c:v>0.7289846739673915</c:v>
                </c:pt>
                <c:pt idx="13">
                  <c:v>0.7069322403704377</c:v>
                </c:pt>
                <c:pt idx="14">
                  <c:v>0.7052106349473878</c:v>
                </c:pt>
                <c:pt idx="15">
                  <c:v>0.7160790935276131</c:v>
                </c:pt>
                <c:pt idx="16">
                  <c:v>0.7404004102194082</c:v>
                </c:pt>
                <c:pt idx="17">
                  <c:v>0.7299230013182909</c:v>
                </c:pt>
                <c:pt idx="18">
                  <c:v>0.742703860380433</c:v>
                </c:pt>
                <c:pt idx="19">
                  <c:v>0.7545001464776477</c:v>
                </c:pt>
                <c:pt idx="20">
                  <c:v>0.7165348153306192</c:v>
                </c:pt>
                <c:pt idx="21">
                  <c:v>0.6815372226069508</c:v>
                </c:pt>
                <c:pt idx="22">
                  <c:v>0.6463845974031943</c:v>
                </c:pt>
                <c:pt idx="23">
                  <c:v>0.6503533248873767</c:v>
                </c:pt>
                <c:pt idx="24">
                  <c:v>0.6541325538682937</c:v>
                </c:pt>
                <c:pt idx="25">
                  <c:v>0.6715768715550747</c:v>
                </c:pt>
                <c:pt idx="26">
                  <c:v>0.6928726158105634</c:v>
                </c:pt>
                <c:pt idx="27">
                  <c:v>0.7233325042180674</c:v>
                </c:pt>
                <c:pt idx="28">
                  <c:v>0.7026856632200386</c:v>
                </c:pt>
                <c:pt idx="29">
                  <c:v>0.6632124608273814</c:v>
                </c:pt>
                <c:pt idx="30">
                  <c:v>0.6440996205134729</c:v>
                </c:pt>
                <c:pt idx="31">
                  <c:v>0.6105359820786291</c:v>
                </c:pt>
                <c:pt idx="32">
                  <c:v>0.6281172553560777</c:v>
                </c:pt>
                <c:pt idx="33">
                  <c:v>0.6780352005476391</c:v>
                </c:pt>
                <c:pt idx="34">
                  <c:v>0.7189984228106117</c:v>
                </c:pt>
                <c:pt idx="35">
                  <c:v>0.6682049257394511</c:v>
                </c:pt>
                <c:pt idx="36">
                  <c:v>0.6169595979658359</c:v>
                </c:pt>
                <c:pt idx="37">
                  <c:v>0.6513440342466561</c:v>
                </c:pt>
                <c:pt idx="38">
                  <c:v>0.6400312351432516</c:v>
                </c:pt>
                <c:pt idx="39">
                  <c:v>0.6789179140332006</c:v>
                </c:pt>
                <c:pt idx="40">
                  <c:v>0.7045471723477562</c:v>
                </c:pt>
                <c:pt idx="41">
                  <c:v>0.7379893662504642</c:v>
                </c:pt>
                <c:pt idx="42">
                  <c:v>0.7089381550600562</c:v>
                </c:pt>
                <c:pt idx="43">
                  <c:v>0.7598333695666292</c:v>
                </c:pt>
                <c:pt idx="44">
                  <c:v>0.8196999386080881</c:v>
                </c:pt>
                <c:pt idx="45">
                  <c:v>0.8183435577684596</c:v>
                </c:pt>
                <c:pt idx="46">
                  <c:v>0.7872522030314383</c:v>
                </c:pt>
                <c:pt idx="47">
                  <c:v>0.7905914563256862</c:v>
                </c:pt>
                <c:pt idx="48">
                  <c:v>0.8372766023984277</c:v>
                </c:pt>
                <c:pt idx="49">
                  <c:v>0.8693102106668811</c:v>
                </c:pt>
                <c:pt idx="50">
                  <c:v>0.7893979845787219</c:v>
                </c:pt>
                <c:pt idx="51">
                  <c:v>0.7567497049316113</c:v>
                </c:pt>
                <c:pt idx="52">
                  <c:v>0.472113683082597</c:v>
                </c:pt>
                <c:pt idx="53">
                  <c:v>0.20052378369956325</c:v>
                </c:pt>
                <c:pt idx="54">
                  <c:v>0.9281779130511175</c:v>
                </c:pt>
              </c:numCache>
            </c:numRef>
          </c:xVal>
          <c:yVal>
            <c:numRef>
              <c:f>Sheet1!$B$187:$B$241</c:f>
              <c:numCache>
                <c:formatCode>General</c:formatCode>
                <c:ptCount val="55"/>
                <c:pt idx="0">
                  <c:v>0.16903918729462514</c:v>
                </c:pt>
                <c:pt idx="1">
                  <c:v>0.17211253299874868</c:v>
                </c:pt>
                <c:pt idx="2">
                  <c:v>0.17236491088641687</c:v>
                </c:pt>
                <c:pt idx="3">
                  <c:v>0.1728987516248968</c:v>
                </c:pt>
                <c:pt idx="4">
                  <c:v>0.1729143474117172</c:v>
                </c:pt>
                <c:pt idx="5">
                  <c:v>0.17156882676174454</c:v>
                </c:pt>
                <c:pt idx="6">
                  <c:v>0.17057674341116386</c:v>
                </c:pt>
                <c:pt idx="7">
                  <c:v>0.1697209723800968</c:v>
                </c:pt>
                <c:pt idx="8">
                  <c:v>0.16769497518193682</c:v>
                </c:pt>
                <c:pt idx="9">
                  <c:v>0.16843468796559607</c:v>
                </c:pt>
                <c:pt idx="10">
                  <c:v>0.16781516009002456</c:v>
                </c:pt>
                <c:pt idx="11">
                  <c:v>0.1696805292198243</c:v>
                </c:pt>
                <c:pt idx="12">
                  <c:v>0.16981057701917157</c:v>
                </c:pt>
                <c:pt idx="13">
                  <c:v>0.17106893428674994</c:v>
                </c:pt>
                <c:pt idx="14">
                  <c:v>0.17116717263701964</c:v>
                </c:pt>
                <c:pt idx="15">
                  <c:v>0.1705469960119922</c:v>
                </c:pt>
                <c:pt idx="16">
                  <c:v>0.16915917160333271</c:v>
                </c:pt>
                <c:pt idx="17">
                  <c:v>0.16975703412848875</c:v>
                </c:pt>
                <c:pt idx="18">
                  <c:v>0.16902773199428064</c:v>
                </c:pt>
                <c:pt idx="19">
                  <c:v>0.16835461162071272</c:v>
                </c:pt>
                <c:pt idx="20">
                  <c:v>0.17052099158756956</c:v>
                </c:pt>
                <c:pt idx="21">
                  <c:v>0.17251802628933866</c:v>
                </c:pt>
                <c:pt idx="22">
                  <c:v>0.1745239074636375</c:v>
                </c:pt>
                <c:pt idx="23">
                  <c:v>0.1742974437016766</c:v>
                </c:pt>
                <c:pt idx="24">
                  <c:v>0.1740817931144944</c:v>
                </c:pt>
                <c:pt idx="25">
                  <c:v>0.17308638442898142</c:v>
                </c:pt>
                <c:pt idx="26">
                  <c:v>0.17187120541327017</c:v>
                </c:pt>
                <c:pt idx="27">
                  <c:v>0.170133101463033</c:v>
                </c:pt>
                <c:pt idx="28">
                  <c:v>0.17131125272276485</c:v>
                </c:pt>
                <c:pt idx="29">
                  <c:v>0.17356367492764352</c:v>
                </c:pt>
                <c:pt idx="30">
                  <c:v>0.17465429294979204</c:v>
                </c:pt>
                <c:pt idx="31">
                  <c:v>0.17656950326729148</c:v>
                </c:pt>
                <c:pt idx="32">
                  <c:v>0.17556627961377988</c:v>
                </c:pt>
                <c:pt idx="33">
                  <c:v>0.1727178588787978</c:v>
                </c:pt>
                <c:pt idx="34">
                  <c:v>0.17038041307212914</c:v>
                </c:pt>
                <c:pt idx="35">
                  <c:v>0.1732787946001453</c:v>
                </c:pt>
                <c:pt idx="36">
                  <c:v>0.17620295851837475</c:v>
                </c:pt>
                <c:pt idx="37">
                  <c:v>0.1742409117857397</c:v>
                </c:pt>
                <c:pt idx="38">
                  <c:v>0.1748864433959285</c:v>
                </c:pt>
                <c:pt idx="39">
                  <c:v>0.17266748942978155</c:v>
                </c:pt>
                <c:pt idx="40">
                  <c:v>0.17120503117904143</c:v>
                </c:pt>
                <c:pt idx="41">
                  <c:v>0.1692967507366031</c:v>
                </c:pt>
                <c:pt idx="42">
                  <c:v>0.17095447266432962</c:v>
                </c:pt>
                <c:pt idx="43">
                  <c:v>0.16805028693000995</c:v>
                </c:pt>
                <c:pt idx="44">
                  <c:v>0.16463417723367663</c:v>
                </c:pt>
                <c:pt idx="45">
                  <c:v>0.16471157511720935</c:v>
                </c:pt>
                <c:pt idx="46">
                  <c:v>0.16648571183641442</c:v>
                </c:pt>
                <c:pt idx="47">
                  <c:v>0.166295167167835</c:v>
                </c:pt>
                <c:pt idx="48">
                  <c:v>0.16363121660699048</c:v>
                </c:pt>
                <c:pt idx="49">
                  <c:v>0.1618033129611573</c:v>
                </c:pt>
                <c:pt idx="50">
                  <c:v>0.16636326912310623</c:v>
                </c:pt>
                <c:pt idx="51">
                  <c:v>0.16822624718343</c:v>
                </c:pt>
                <c:pt idx="52">
                  <c:v>0.1844681646631304</c:v>
                </c:pt>
                <c:pt idx="53">
                  <c:v>0.1999656435326154</c:v>
                </c:pt>
                <c:pt idx="54">
                  <c:v>0.158444200652977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524411040232423"/>
          <c:min val="0.1016797312430011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757796290199556</c:v>
                </c:pt>
                <c:pt idx="1">
                  <c:v>0.4628041489237477</c:v>
                </c:pt>
                <c:pt idx="2">
                  <c:v>0.38446014072173446</c:v>
                </c:pt>
                <c:pt idx="3">
                  <c:v>0.35175891716814156</c:v>
                </c:pt>
                <c:pt idx="4">
                  <c:v>0.4738002254467367</c:v>
                </c:pt>
                <c:pt idx="5">
                  <c:v>0.4533538046957952</c:v>
                </c:pt>
                <c:pt idx="6">
                  <c:v>0.3826111561089854</c:v>
                </c:pt>
                <c:pt idx="7">
                  <c:v>0.3705433469462413</c:v>
                </c:pt>
                <c:pt idx="8">
                  <c:v>0.3429108068346446</c:v>
                </c:pt>
                <c:pt idx="9">
                  <c:v>0.3700728161384834</c:v>
                </c:pt>
                <c:pt idx="10">
                  <c:v>0.4105856936900441</c:v>
                </c:pt>
                <c:pt idx="11">
                  <c:v>0.3585705827809404</c:v>
                </c:pt>
                <c:pt idx="12">
                  <c:v>0.36818381933961564</c:v>
                </c:pt>
                <c:pt idx="13">
                  <c:v>0.3509468781627863</c:v>
                </c:pt>
                <c:pt idx="14">
                  <c:v>0.45281543930340823</c:v>
                </c:pt>
                <c:pt idx="15">
                  <c:v>0.34873740855425034</c:v>
                </c:pt>
                <c:pt idx="16">
                  <c:v>0.46110060956183757</c:v>
                </c:pt>
                <c:pt idx="17">
                  <c:v>0.3308692794935684</c:v>
                </c:pt>
                <c:pt idx="18">
                  <c:v>0.4520749475418715</c:v>
                </c:pt>
                <c:pt idx="19">
                  <c:v>0.39151200734323544</c:v>
                </c:pt>
                <c:pt idx="20">
                  <c:v>0.3109370826749549</c:v>
                </c:pt>
                <c:pt idx="21">
                  <c:v>0.6731403401245915</c:v>
                </c:pt>
                <c:pt idx="22">
                  <c:v>0.2976496979561086</c:v>
                </c:pt>
                <c:pt idx="23">
                  <c:v>0.37245069004732534</c:v>
                </c:pt>
                <c:pt idx="24">
                  <c:v>0.26431540899620987</c:v>
                </c:pt>
                <c:pt idx="25">
                  <c:v>0.26149917315190924</c:v>
                </c:pt>
                <c:pt idx="26">
                  <c:v>0.32315937071646045</c:v>
                </c:pt>
                <c:pt idx="27">
                  <c:v>0.3028535533723378</c:v>
                </c:pt>
                <c:pt idx="28">
                  <c:v>0.32989183902733227</c:v>
                </c:pt>
                <c:pt idx="29">
                  <c:v>0.3150002897403532</c:v>
                </c:pt>
                <c:pt idx="30">
                  <c:v>0.3107940784694389</c:v>
                </c:pt>
                <c:pt idx="31">
                  <c:v>0.3319287971214245</c:v>
                </c:pt>
                <c:pt idx="32">
                  <c:v>0.41423490650099054</c:v>
                </c:pt>
                <c:pt idx="33">
                  <c:v>0.26772668533017185</c:v>
                </c:pt>
                <c:pt idx="34">
                  <c:v>0.30284769472871326</c:v>
                </c:pt>
                <c:pt idx="35">
                  <c:v>0.29706319385598234</c:v>
                </c:pt>
                <c:pt idx="36">
                  <c:v>0.2764260661381704</c:v>
                </c:pt>
                <c:pt idx="37">
                  <c:v>0.29576472860347286</c:v>
                </c:pt>
                <c:pt idx="38">
                  <c:v>0.3022153622035641</c:v>
                </c:pt>
                <c:pt idx="39">
                  <c:v>0.3714222459546191</c:v>
                </c:pt>
                <c:pt idx="40">
                  <c:v>0.4384263658467857</c:v>
                </c:pt>
                <c:pt idx="41">
                  <c:v>0.40391221710430236</c:v>
                </c:pt>
                <c:pt idx="42">
                  <c:v>0.35409378985768397</c:v>
                </c:pt>
                <c:pt idx="43">
                  <c:v>0.3325542701120131</c:v>
                </c:pt>
                <c:pt idx="44">
                  <c:v>0.31412438865814607</c:v>
                </c:pt>
                <c:pt idx="45">
                  <c:v>0.32972355714372287</c:v>
                </c:pt>
                <c:pt idx="46">
                  <c:v>0.32290314788638147</c:v>
                </c:pt>
                <c:pt idx="47">
                  <c:v>0.28081627161178613</c:v>
                </c:pt>
                <c:pt idx="48">
                  <c:v>0.40198244727045374</c:v>
                </c:pt>
                <c:pt idx="49">
                  <c:v>0.36140260101151445</c:v>
                </c:pt>
                <c:pt idx="50">
                  <c:v>0.33502576979867676</c:v>
                </c:pt>
                <c:pt idx="51">
                  <c:v>0.289414445287396</c:v>
                </c:pt>
                <c:pt idx="52">
                  <c:v>0.346286506761632</c:v>
                </c:pt>
                <c:pt idx="53">
                  <c:v>0.3681227491810966</c:v>
                </c:pt>
                <c:pt idx="54">
                  <c:v>0.3106814159349675</c:v>
                </c:pt>
                <c:pt idx="55">
                  <c:v>0.3225071598970006</c:v>
                </c:pt>
                <c:pt idx="56">
                  <c:v>0.2656429383702661</c:v>
                </c:pt>
                <c:pt idx="57">
                  <c:v>0.27461627309831593</c:v>
                </c:pt>
                <c:pt idx="58">
                  <c:v>0.2542125125468082</c:v>
                </c:pt>
                <c:pt idx="59">
                  <c:v>0.2790736654995597</c:v>
                </c:pt>
                <c:pt idx="60">
                  <c:v>0.268918701020759</c:v>
                </c:pt>
                <c:pt idx="61">
                  <c:v>0.2737559057627205</c:v>
                </c:pt>
                <c:pt idx="62">
                  <c:v>0.23714254511853505</c:v>
                </c:pt>
                <c:pt idx="63">
                  <c:v>0.2639295570995596</c:v>
                </c:pt>
                <c:pt idx="64">
                  <c:v>0.24411929276418154</c:v>
                </c:pt>
                <c:pt idx="65">
                  <c:v>0.23834651718354308</c:v>
                </c:pt>
                <c:pt idx="66">
                  <c:v>0.2265580172023124</c:v>
                </c:pt>
                <c:pt idx="67">
                  <c:v>0.24465330001576296</c:v>
                </c:pt>
                <c:pt idx="68">
                  <c:v>0.19304592748094734</c:v>
                </c:pt>
                <c:pt idx="69">
                  <c:v>0.176563179849313</c:v>
                </c:pt>
                <c:pt idx="70">
                  <c:v>0.20307472912435054</c:v>
                </c:pt>
                <c:pt idx="71">
                  <c:v>0.16223163758083553</c:v>
                </c:pt>
                <c:pt idx="72">
                  <c:v>0.19452391567685787</c:v>
                </c:pt>
                <c:pt idx="73">
                  <c:v>0.14680309877576517</c:v>
                </c:pt>
                <c:pt idx="74">
                  <c:v>0.17895765692151802</c:v>
                </c:pt>
                <c:pt idx="75">
                  <c:v>0.263458454217155</c:v>
                </c:pt>
                <c:pt idx="76">
                  <c:v>0.2696262522486116</c:v>
                </c:pt>
                <c:pt idx="77">
                  <c:v>0.32061905869345786</c:v>
                </c:pt>
                <c:pt idx="78">
                  <c:v>0.2604182509138167</c:v>
                </c:pt>
                <c:pt idx="79">
                  <c:v>0.35928586292538545</c:v>
                </c:pt>
                <c:pt idx="80">
                  <c:v>0.3076168461232913</c:v>
                </c:pt>
                <c:pt idx="81">
                  <c:v>0.3125101209781216</c:v>
                </c:pt>
                <c:pt idx="82">
                  <c:v>0.30392184431163377</c:v>
                </c:pt>
                <c:pt idx="83">
                  <c:v>0.34588059648585534</c:v>
                </c:pt>
                <c:pt idx="84">
                  <c:v>0.31672456372234875</c:v>
                </c:pt>
                <c:pt idx="85">
                  <c:v>0.29491410458714823</c:v>
                </c:pt>
                <c:pt idx="86">
                  <c:v>0.41163178237548076</c:v>
                </c:pt>
                <c:pt idx="87">
                  <c:v>0.39163835882287756</c:v>
                </c:pt>
                <c:pt idx="88">
                  <c:v>0.3540152075496147</c:v>
                </c:pt>
                <c:pt idx="89">
                  <c:v>0.3449667359017862</c:v>
                </c:pt>
                <c:pt idx="90">
                  <c:v>0.3946074947859846</c:v>
                </c:pt>
                <c:pt idx="91">
                  <c:v>0.32520142514368267</c:v>
                </c:pt>
                <c:pt idx="92">
                  <c:v>0.37901946314473167</c:v>
                </c:pt>
                <c:pt idx="93">
                  <c:v>0.40278913725277127</c:v>
                </c:pt>
                <c:pt idx="94">
                  <c:v>0.3803106404049563</c:v>
                </c:pt>
                <c:pt idx="95">
                  <c:v>0.37500153143472664</c:v>
                </c:pt>
                <c:pt idx="96">
                  <c:v>0.3246901360006343</c:v>
                </c:pt>
                <c:pt idx="97">
                  <c:v>0.3225030917241651</c:v>
                </c:pt>
                <c:pt idx="98">
                  <c:v>0.30813889394274324</c:v>
                </c:pt>
                <c:pt idx="99">
                  <c:v>0.33189219567981354</c:v>
                </c:pt>
                <c:pt idx="100">
                  <c:v>0.3834245237211544</c:v>
                </c:pt>
                <c:pt idx="101">
                  <c:v>0.3565584660872415</c:v>
                </c:pt>
                <c:pt idx="102">
                  <c:v>0.36414604485149316</c:v>
                </c:pt>
                <c:pt idx="103">
                  <c:v>0.3734641332516172</c:v>
                </c:pt>
                <c:pt idx="104">
                  <c:v>0.39511335910368844</c:v>
                </c:pt>
              </c:numCache>
            </c:numRef>
          </c:xVal>
          <c:yVal>
            <c:numRef>
              <c:f>Sheet1!$B$2:$B$106</c:f>
              <c:numCache>
                <c:formatCode>General</c:formatCode>
                <c:ptCount val="105"/>
                <c:pt idx="0">
                  <c:v>0.00036313292934794946</c:v>
                </c:pt>
                <c:pt idx="1">
                  <c:v>0.0001180052394326308</c:v>
                </c:pt>
                <c:pt idx="2">
                  <c:v>0.0001380738695201933</c:v>
                </c:pt>
                <c:pt idx="3">
                  <c:v>0.00012080796366096453</c:v>
                </c:pt>
                <c:pt idx="4">
                  <c:v>8.474336883138894e-05</c:v>
                </c:pt>
                <c:pt idx="5">
                  <c:v>0.0001727364329926587</c:v>
                </c:pt>
                <c:pt idx="6">
                  <c:v>0.0003101649513604963</c:v>
                </c:pt>
                <c:pt idx="7">
                  <c:v>0.0002557299491736726</c:v>
                </c:pt>
                <c:pt idx="8">
                  <c:v>0.00023386342376052386</c:v>
                </c:pt>
                <c:pt idx="9">
                  <c:v>0.00023664904945965134</c:v>
                </c:pt>
                <c:pt idx="10">
                  <c:v>0.0001504664459825459</c:v>
                </c:pt>
                <c:pt idx="11">
                  <c:v>0.0002527358657467081</c:v>
                </c:pt>
                <c:pt idx="12">
                  <c:v>0.00025539818899465987</c:v>
                </c:pt>
                <c:pt idx="13">
                  <c:v>0.0002448340025462736</c:v>
                </c:pt>
                <c:pt idx="14">
                  <c:v>7.259879486000533e-05</c:v>
                </c:pt>
                <c:pt idx="15">
                  <c:v>0.00017333025190663278</c:v>
                </c:pt>
                <c:pt idx="16">
                  <c:v>6.557377049180328e-05</c:v>
                </c:pt>
                <c:pt idx="17">
                  <c:v>0.00014304616815077065</c:v>
                </c:pt>
                <c:pt idx="18">
                  <c:v>7.897958377759349e-05</c:v>
                </c:pt>
                <c:pt idx="19">
                  <c:v>0.0001392757660167131</c:v>
                </c:pt>
                <c:pt idx="20">
                  <c:v>0.0001914168676543777</c:v>
                </c:pt>
                <c:pt idx="21">
                  <c:v>4.517323937299544e-05</c:v>
                </c:pt>
                <c:pt idx="22">
                  <c:v>0.0003266753780100803</c:v>
                </c:pt>
                <c:pt idx="23">
                  <c:v>0.0002457968734637695</c:v>
                </c:pt>
                <c:pt idx="24">
                  <c:v>0.0004160118332254784</c:v>
                </c:pt>
                <c:pt idx="25">
                  <c:v>0.0005229578495973225</c:v>
                </c:pt>
                <c:pt idx="26">
                  <c:v>0.0004661787329262039</c:v>
                </c:pt>
                <c:pt idx="27">
                  <c:v>0.00022744848291861893</c:v>
                </c:pt>
                <c:pt idx="28">
                  <c:v>0.0002318141777551115</c:v>
                </c:pt>
                <c:pt idx="29">
                  <c:v>0.00036586853124110735</c:v>
                </c:pt>
                <c:pt idx="30">
                  <c:v>0.00026104207998329333</c:v>
                </c:pt>
                <c:pt idx="31">
                  <c:v>0.0003045221539867025</c:v>
                </c:pt>
                <c:pt idx="32">
                  <c:v>0.00020004000800160032</c:v>
                </c:pt>
                <c:pt idx="33">
                  <c:v>0.0005195428023339461</c:v>
                </c:pt>
                <c:pt idx="34">
                  <c:v>0.0005066406108638222</c:v>
                </c:pt>
                <c:pt idx="35">
                  <c:v>0.0005345687811831789</c:v>
                </c:pt>
                <c:pt idx="36">
                  <c:v>0.00033811706364114506</c:v>
                </c:pt>
                <c:pt idx="37">
                  <c:v>0.00026327336551118914</c:v>
                </c:pt>
                <c:pt idx="38">
                  <c:v>0.00021714583514288196</c:v>
                </c:pt>
                <c:pt idx="39">
                  <c:v>0.00027820280984837946</c:v>
                </c:pt>
                <c:pt idx="40">
                  <c:v>0.00015428527347064721</c:v>
                </c:pt>
                <c:pt idx="41">
                  <c:v>0.00016618196925633567</c:v>
                </c:pt>
                <c:pt idx="42">
                  <c:v>0.00010635280771412365</c:v>
                </c:pt>
                <c:pt idx="43">
                  <c:v>0.00022198262193188305</c:v>
                </c:pt>
                <c:pt idx="44">
                  <c:v>0.00019422085068732602</c:v>
                </c:pt>
                <c:pt idx="45">
                  <c:v>0.0001392065228199264</c:v>
                </c:pt>
                <c:pt idx="46">
                  <c:v>0.0002866479390013186</c:v>
                </c:pt>
                <c:pt idx="47">
                  <c:v>0.0003465937536103516</c:v>
                </c:pt>
                <c:pt idx="48">
                  <c:v>0.00017395085888236573</c:v>
                </c:pt>
                <c:pt idx="49">
                  <c:v>0.0001764757786993735</c:v>
                </c:pt>
                <c:pt idx="50">
                  <c:v>0.0002607124899905026</c:v>
                </c:pt>
                <c:pt idx="51">
                  <c:v>0.00033724537973829757</c:v>
                </c:pt>
                <c:pt idx="52">
                  <c:v>0.00011712573447595994</c:v>
                </c:pt>
                <c:pt idx="53">
                  <c:v>0.00014421690222094028</c:v>
                </c:pt>
                <c:pt idx="54">
                  <c:v>0.00034161082643542243</c:v>
                </c:pt>
                <c:pt idx="55">
                  <c:v>0.0002166553825321598</c:v>
                </c:pt>
                <c:pt idx="56">
                  <c:v>0.00021784119376974185</c:v>
                </c:pt>
                <c:pt idx="57">
                  <c:v>0.00014241633040588654</c:v>
                </c:pt>
                <c:pt idx="58">
                  <c:v>0.00015347848012453683</c:v>
                </c:pt>
                <c:pt idx="59">
                  <c:v>0.0001909798736594682</c:v>
                </c:pt>
                <c:pt idx="60">
                  <c:v>0.00033729521362030194</c:v>
                </c:pt>
                <c:pt idx="61">
                  <c:v>0.00034526661056084244</c:v>
                </c:pt>
                <c:pt idx="62">
                  <c:v>0.00037922679869377434</c:v>
                </c:pt>
                <c:pt idx="63">
                  <c:v>0.0003265902061360536</c:v>
                </c:pt>
                <c:pt idx="64">
                  <c:v>0.00044982569254413917</c:v>
                </c:pt>
                <c:pt idx="65">
                  <c:v>0.0003264639869414405</c:v>
                </c:pt>
                <c:pt idx="66">
                  <c:v>0.00035840026985432084</c:v>
                </c:pt>
                <c:pt idx="67">
                  <c:v>0.00026140943252369025</c:v>
                </c:pt>
                <c:pt idx="68">
                  <c:v>0.00042267659956675646</c:v>
                </c:pt>
                <c:pt idx="69">
                  <c:v>0.00044499212706236737</c:v>
                </c:pt>
                <c:pt idx="70">
                  <c:v>0.00035560728025086475</c:v>
                </c:pt>
                <c:pt idx="71">
                  <c:v>0.00037821482602118004</c:v>
                </c:pt>
                <c:pt idx="72">
                  <c:v>0.0005287857756626346</c:v>
                </c:pt>
                <c:pt idx="73">
                  <c:v>0.0008655011251514627</c:v>
                </c:pt>
                <c:pt idx="74">
                  <c:v>0.0009342052582410249</c:v>
                </c:pt>
                <c:pt idx="75">
                  <c:v>0.0009785118791342127</c:v>
                </c:pt>
                <c:pt idx="76">
                  <c:v>0.001377582968065122</c:v>
                </c:pt>
                <c:pt idx="77">
                  <c:v>0.0012530804895367778</c:v>
                </c:pt>
                <c:pt idx="78">
                  <c:v>0.0017800442605599924</c:v>
                </c:pt>
                <c:pt idx="79">
                  <c:v>0.0012622012790306295</c:v>
                </c:pt>
                <c:pt idx="80">
                  <c:v>0.001277737552706674</c:v>
                </c:pt>
                <c:pt idx="81">
                  <c:v>0.001474607970076248</c:v>
                </c:pt>
                <c:pt idx="82">
                  <c:v>0.0015154298310066127</c:v>
                </c:pt>
                <c:pt idx="83">
                  <c:v>0.0012142329215499947</c:v>
                </c:pt>
                <c:pt idx="84">
                  <c:v>0.0013257471137380545</c:v>
                </c:pt>
                <c:pt idx="85">
                  <c:v>0.0011378252696151183</c:v>
                </c:pt>
                <c:pt idx="86">
                  <c:v>0.0010361927318481238</c:v>
                </c:pt>
                <c:pt idx="87">
                  <c:v>0.0009866450544416647</c:v>
                </c:pt>
                <c:pt idx="88">
                  <c:v>0.001400131262305841</c:v>
                </c:pt>
                <c:pt idx="89">
                  <c:v>0.0016241520970669723</c:v>
                </c:pt>
                <c:pt idx="90">
                  <c:v>0.0014310387367382185</c:v>
                </c:pt>
                <c:pt idx="91">
                  <c:v>0.0016291193446285608</c:v>
                </c:pt>
                <c:pt idx="92">
                  <c:v>0.001333790632978926</c:v>
                </c:pt>
                <c:pt idx="93">
                  <c:v>0.001266577261212934</c:v>
                </c:pt>
                <c:pt idx="94">
                  <c:v>0.0014334499768118387</c:v>
                </c:pt>
                <c:pt idx="95">
                  <c:v>0.0014944036109670927</c:v>
                </c:pt>
                <c:pt idx="96">
                  <c:v>0.0018807514049660793</c:v>
                </c:pt>
                <c:pt idx="97">
                  <c:v>0.002286209818876998</c:v>
                </c:pt>
                <c:pt idx="98">
                  <c:v>0.002183143382668936</c:v>
                </c:pt>
                <c:pt idx="99">
                  <c:v>0.0020329456784956203</c:v>
                </c:pt>
                <c:pt idx="100">
                  <c:v>0.0015614231564438318</c:v>
                </c:pt>
                <c:pt idx="101">
                  <c:v>0.0020515565070020514</c:v>
                </c:pt>
                <c:pt idx="102">
                  <c:v>0.0016952933303591344</c:v>
                </c:pt>
                <c:pt idx="103">
                  <c:v>0.001670790770467187</c:v>
                </c:pt>
                <c:pt idx="104">
                  <c:v>0.001277385457087079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257266506575914</c:v>
                </c:pt>
                <c:pt idx="1">
                  <c:v>0.38583283219908765</c:v>
                </c:pt>
                <c:pt idx="2">
                  <c:v>0.4165550117207275</c:v>
                </c:pt>
                <c:pt idx="3">
                  <c:v>0.36120571240325106</c:v>
                </c:pt>
                <c:pt idx="4">
                  <c:v>0.4384090614084758</c:v>
                </c:pt>
                <c:pt idx="5">
                  <c:v>0.4395901482057836</c:v>
                </c:pt>
                <c:pt idx="6">
                  <c:v>0.4037624486493216</c:v>
                </c:pt>
                <c:pt idx="7">
                  <c:v>0.40001255827049176</c:v>
                </c:pt>
                <c:pt idx="8">
                  <c:v>0.3949739708575036</c:v>
                </c:pt>
                <c:pt idx="9">
                  <c:v>0.40226258929423386</c:v>
                </c:pt>
                <c:pt idx="10">
                  <c:v>0.4080536152966835</c:v>
                </c:pt>
                <c:pt idx="11">
                  <c:v>0.3950196509663558</c:v>
                </c:pt>
                <c:pt idx="12">
                  <c:v>0.3707014623288489</c:v>
                </c:pt>
                <c:pt idx="13">
                  <c:v>0.3255326511753249</c:v>
                </c:pt>
                <c:pt idx="14">
                  <c:v>0.32707542076992124</c:v>
                </c:pt>
                <c:pt idx="15">
                  <c:v>0.33629223350382087</c:v>
                </c:pt>
                <c:pt idx="16">
                  <c:v>0.3574687599360829</c:v>
                </c:pt>
                <c:pt idx="17">
                  <c:v>0.26777200649282445</c:v>
                </c:pt>
                <c:pt idx="18">
                  <c:v>0.37084970062921013</c:v>
                </c:pt>
                <c:pt idx="19">
                  <c:v>0.4106142378300756</c:v>
                </c:pt>
                <c:pt idx="20">
                  <c:v>0.3897319001241648</c:v>
                </c:pt>
                <c:pt idx="21">
                  <c:v>0.34462878912155037</c:v>
                </c:pt>
                <c:pt idx="22">
                  <c:v>0.3628036345974602</c:v>
                </c:pt>
                <c:pt idx="23">
                  <c:v>0.29888038051671006</c:v>
                </c:pt>
                <c:pt idx="24">
                  <c:v>0.37564715597919535</c:v>
                </c:pt>
                <c:pt idx="25">
                  <c:v>0.3336476720073733</c:v>
                </c:pt>
                <c:pt idx="26">
                  <c:v>0.3472434797788414</c:v>
                </c:pt>
                <c:pt idx="27">
                  <c:v>0.3376591412655736</c:v>
                </c:pt>
                <c:pt idx="28">
                  <c:v>0.3523131438514282</c:v>
                </c:pt>
                <c:pt idx="29">
                  <c:v>0.33351005546871726</c:v>
                </c:pt>
                <c:pt idx="30">
                  <c:v>0.33681899662894577</c:v>
                </c:pt>
                <c:pt idx="31">
                  <c:v>0.3621461401293167</c:v>
                </c:pt>
                <c:pt idx="32">
                  <c:v>0.42110342104601517</c:v>
                </c:pt>
                <c:pt idx="33">
                  <c:v>0.40159187858054685</c:v>
                </c:pt>
                <c:pt idx="34">
                  <c:v>0.3998361966990574</c:v>
                </c:pt>
                <c:pt idx="35">
                  <c:v>0.36495760134205574</c:v>
                </c:pt>
                <c:pt idx="36">
                  <c:v>0.3792665513783268</c:v>
                </c:pt>
                <c:pt idx="37">
                  <c:v>0.37249479844868527</c:v>
                </c:pt>
                <c:pt idx="38">
                  <c:v>0.32334584298722824</c:v>
                </c:pt>
                <c:pt idx="39">
                  <c:v>0.2974751345012834</c:v>
                </c:pt>
                <c:pt idx="40">
                  <c:v>0.29713955809323916</c:v>
                </c:pt>
                <c:pt idx="41">
                  <c:v>0.32861720706134334</c:v>
                </c:pt>
                <c:pt idx="42">
                  <c:v>0.30397799173233914</c:v>
                </c:pt>
                <c:pt idx="43">
                  <c:v>0.34447710405962306</c:v>
                </c:pt>
                <c:pt idx="44">
                  <c:v>0.4004415728056739</c:v>
                </c:pt>
                <c:pt idx="45">
                  <c:v>0.4255195242125961</c:v>
                </c:pt>
                <c:pt idx="46">
                  <c:v>0.42779864096020004</c:v>
                </c:pt>
                <c:pt idx="47">
                  <c:v>0.4159479437567575</c:v>
                </c:pt>
                <c:pt idx="48">
                  <c:v>0.3883195211696021</c:v>
                </c:pt>
                <c:pt idx="49">
                  <c:v>0.3920998547171309</c:v>
                </c:pt>
                <c:pt idx="50">
                  <c:v>0.42063278514902974</c:v>
                </c:pt>
                <c:pt idx="51">
                  <c:v>0.4224067584822856</c:v>
                </c:pt>
              </c:numCache>
            </c:numRef>
          </c:xVal>
          <c:yVal>
            <c:numRef>
              <c:f>Sheet1!$B$109:$B$160</c:f>
              <c:numCache>
                <c:formatCode>General</c:formatCode>
                <c:ptCount val="52"/>
                <c:pt idx="0">
                  <c:v>0.0012644154258681956</c:v>
                </c:pt>
                <c:pt idx="1">
                  <c:v>0.0014919806042521448</c:v>
                </c:pt>
                <c:pt idx="2">
                  <c:v>0.0014490927419354839</c:v>
                </c:pt>
                <c:pt idx="3">
                  <c:v>0.0015493812943615083</c:v>
                </c:pt>
                <c:pt idx="4">
                  <c:v>0.001476399322593252</c:v>
                </c:pt>
                <c:pt idx="5">
                  <c:v>0.0012921877395475152</c:v>
                </c:pt>
                <c:pt idx="6">
                  <c:v>0.0015012792590869686</c:v>
                </c:pt>
                <c:pt idx="7">
                  <c:v>0.0017356665243989187</c:v>
                </c:pt>
                <c:pt idx="8">
                  <c:v>0.0020275117751645403</c:v>
                </c:pt>
                <c:pt idx="9">
                  <c:v>0.0020895351499885507</c:v>
                </c:pt>
                <c:pt idx="10">
                  <c:v>0.001986152106148796</c:v>
                </c:pt>
                <c:pt idx="11">
                  <c:v>0.0020591538749532012</c:v>
                </c:pt>
                <c:pt idx="12">
                  <c:v>0.002066261241165559</c:v>
                </c:pt>
                <c:pt idx="13">
                  <c:v>0.0030296420174992125</c:v>
                </c:pt>
                <c:pt idx="14">
                  <c:v>0.0029944086705355486</c:v>
                </c:pt>
                <c:pt idx="15">
                  <c:v>0.002915286858566132</c:v>
                </c:pt>
                <c:pt idx="16">
                  <c:v>0.002708645358656512</c:v>
                </c:pt>
                <c:pt idx="17">
                  <c:v>0.003584471797646422</c:v>
                </c:pt>
                <c:pt idx="18">
                  <c:v>0.0019437920142544747</c:v>
                </c:pt>
                <c:pt idx="19">
                  <c:v>0.0016996748448122967</c:v>
                </c:pt>
                <c:pt idx="20">
                  <c:v>0.0019800379844021497</c:v>
                </c:pt>
                <c:pt idx="21">
                  <c:v>0.0025989026855327752</c:v>
                </c:pt>
                <c:pt idx="22">
                  <c:v>0.0022795615481618005</c:v>
                </c:pt>
                <c:pt idx="23">
                  <c:v>0.0023307661126874745</c:v>
                </c:pt>
                <c:pt idx="24">
                  <c:v>0.002144286667302011</c:v>
                </c:pt>
                <c:pt idx="25">
                  <c:v>0.0024474301982917936</c:v>
                </c:pt>
                <c:pt idx="26">
                  <c:v>0.002500480861704174</c:v>
                </c:pt>
                <c:pt idx="27">
                  <c:v>0.0023867365639517538</c:v>
                </c:pt>
                <c:pt idx="28">
                  <c:v>0.0020089021940363177</c:v>
                </c:pt>
                <c:pt idx="29">
                  <c:v>0.002370329057445622</c:v>
                </c:pt>
                <c:pt idx="30">
                  <c:v>0.0022742669118358655</c:v>
                </c:pt>
                <c:pt idx="31">
                  <c:v>0.002381854598603367</c:v>
                </c:pt>
                <c:pt idx="32">
                  <c:v>0.002019619157530294</c:v>
                </c:pt>
                <c:pt idx="33">
                  <c:v>0.002039265864288856</c:v>
                </c:pt>
                <c:pt idx="34">
                  <c:v>0.001879817031142302</c:v>
                </c:pt>
                <c:pt idx="35">
                  <c:v>0.002231652886514963</c:v>
                </c:pt>
                <c:pt idx="36">
                  <c:v>0.002580228995323335</c:v>
                </c:pt>
                <c:pt idx="37">
                  <c:v>0.0026268424380989446</c:v>
                </c:pt>
                <c:pt idx="38">
                  <c:v>0.0029482712409541678</c:v>
                </c:pt>
                <c:pt idx="39">
                  <c:v>0.0028929206099929743</c:v>
                </c:pt>
                <c:pt idx="40">
                  <c:v>0.0027341358906345643</c:v>
                </c:pt>
                <c:pt idx="41">
                  <c:v>0.002220265666271102</c:v>
                </c:pt>
                <c:pt idx="42">
                  <c:v>0.002547987090198743</c:v>
                </c:pt>
                <c:pt idx="43">
                  <c:v>0.0018642923724727588</c:v>
                </c:pt>
                <c:pt idx="44">
                  <c:v>0.0014157873647655938</c:v>
                </c:pt>
                <c:pt idx="45">
                  <c:v>0.0011778802217664141</c:v>
                </c:pt>
                <c:pt idx="46">
                  <c:v>0.0012631169840652933</c:v>
                </c:pt>
                <c:pt idx="47">
                  <c:v>0.0013494659317033004</c:v>
                </c:pt>
                <c:pt idx="48">
                  <c:v>0.0014849957571549796</c:v>
                </c:pt>
                <c:pt idx="49">
                  <c:v>0.0013695022386094285</c:v>
                </c:pt>
                <c:pt idx="50">
                  <c:v>0.0011507750117426023</c:v>
                </c:pt>
                <c:pt idx="51">
                  <c:v>0.001245896452161531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4026781714529586</c:v>
                </c:pt>
              </c:numCache>
            </c:numRef>
          </c:xVal>
          <c:yVal>
            <c:numRef>
              <c:f>Sheet1!$B$163:$B$164</c:f>
              <c:numCache>
                <c:formatCode>General</c:formatCode>
                <c:ptCount val="2"/>
                <c:pt idx="0">
                  <c:v>0.0024350742003201257</c:v>
                </c:pt>
                <c:pt idx="1">
                  <c:v>0.002435074200320125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4026781714529586</c:v>
                </c:pt>
                <c:pt idx="1">
                  <c:v>0.34026781714529586</c:v>
                </c:pt>
              </c:numCache>
            </c:numRef>
          </c:xVal>
          <c:yVal>
            <c:numRef>
              <c:f>Sheet1!$B$167:$B$168</c:f>
              <c:numCache>
                <c:formatCode>General</c:formatCode>
                <c:ptCount val="2"/>
                <c:pt idx="0">
                  <c:v>0.002435074200320125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4026781714529586</c:v>
                </c:pt>
              </c:numCache>
            </c:numRef>
          </c:xVal>
          <c:yVal>
            <c:numRef>
              <c:f>Sheet1!$B$171:$B$172</c:f>
              <c:numCache>
                <c:formatCode>General</c:formatCode>
                <c:ptCount val="2"/>
                <c:pt idx="0">
                  <c:v>0.0024350742003201257</c:v>
                </c:pt>
                <c:pt idx="1">
                  <c:v>0.002435074200320125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4026781714529586</c:v>
                </c:pt>
                <c:pt idx="1">
                  <c:v>0.34026781714529586</c:v>
                </c:pt>
              </c:numCache>
            </c:numRef>
          </c:xVal>
          <c:yVal>
            <c:numRef>
              <c:f>Sheet1!$B$175:$B$176</c:f>
              <c:numCache>
                <c:formatCode>General</c:formatCode>
                <c:ptCount val="2"/>
                <c:pt idx="0">
                  <c:v>0.002435074200320125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9980659475891067</c:v>
                </c:pt>
              </c:numCache>
            </c:numRef>
          </c:xVal>
          <c:yVal>
            <c:numRef>
              <c:f>Sheet1!$B$179:$B$180</c:f>
              <c:numCache>
                <c:formatCode>General</c:formatCode>
                <c:ptCount val="2"/>
                <c:pt idx="0">
                  <c:v>0.0017474631993491757</c:v>
                </c:pt>
                <c:pt idx="1">
                  <c:v>0.001747463199349175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9980659475891067</c:v>
                </c:pt>
                <c:pt idx="1">
                  <c:v>0.39980659475891067</c:v>
                </c:pt>
              </c:numCache>
            </c:numRef>
          </c:xVal>
          <c:yVal>
            <c:numRef>
              <c:f>Sheet1!$B$183:$B$184</c:f>
              <c:numCache>
                <c:formatCode>General</c:formatCode>
                <c:ptCount val="2"/>
                <c:pt idx="0">
                  <c:v>0.001747463199349175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257266506575914</c:v>
                </c:pt>
                <c:pt idx="1">
                  <c:v>0.38583283219908765</c:v>
                </c:pt>
                <c:pt idx="2">
                  <c:v>0.4165550117207275</c:v>
                </c:pt>
                <c:pt idx="3">
                  <c:v>0.36120571240325106</c:v>
                </c:pt>
                <c:pt idx="4">
                  <c:v>0.4384090614084758</c:v>
                </c:pt>
                <c:pt idx="5">
                  <c:v>0.4395901482057836</c:v>
                </c:pt>
                <c:pt idx="6">
                  <c:v>0.4037624486493216</c:v>
                </c:pt>
                <c:pt idx="7">
                  <c:v>0.40001255827049176</c:v>
                </c:pt>
                <c:pt idx="8">
                  <c:v>0.3949739708575036</c:v>
                </c:pt>
                <c:pt idx="9">
                  <c:v>0.40226258929423386</c:v>
                </c:pt>
                <c:pt idx="10">
                  <c:v>0.4080536152966835</c:v>
                </c:pt>
                <c:pt idx="11">
                  <c:v>0.3950196509663558</c:v>
                </c:pt>
                <c:pt idx="12">
                  <c:v>0.3707014623288489</c:v>
                </c:pt>
                <c:pt idx="13">
                  <c:v>0.3255326511753249</c:v>
                </c:pt>
                <c:pt idx="14">
                  <c:v>0.32707542076992124</c:v>
                </c:pt>
                <c:pt idx="15">
                  <c:v>0.33629223350382087</c:v>
                </c:pt>
                <c:pt idx="16">
                  <c:v>0.3574687599360829</c:v>
                </c:pt>
                <c:pt idx="17">
                  <c:v>0.26777200649282445</c:v>
                </c:pt>
                <c:pt idx="18">
                  <c:v>0.37084970062921013</c:v>
                </c:pt>
                <c:pt idx="19">
                  <c:v>0.4106142378300756</c:v>
                </c:pt>
                <c:pt idx="20">
                  <c:v>0.3897319001241648</c:v>
                </c:pt>
                <c:pt idx="21">
                  <c:v>0.34462878912155037</c:v>
                </c:pt>
                <c:pt idx="22">
                  <c:v>0.3628036345974602</c:v>
                </c:pt>
                <c:pt idx="23">
                  <c:v>0.29888038051671006</c:v>
                </c:pt>
                <c:pt idx="24">
                  <c:v>0.37564715597919535</c:v>
                </c:pt>
                <c:pt idx="25">
                  <c:v>0.3336476720073733</c:v>
                </c:pt>
                <c:pt idx="26">
                  <c:v>0.3472434797788414</c:v>
                </c:pt>
                <c:pt idx="27">
                  <c:v>0.3376591412655736</c:v>
                </c:pt>
                <c:pt idx="28">
                  <c:v>0.3523131438514282</c:v>
                </c:pt>
                <c:pt idx="29">
                  <c:v>0.33351005546871726</c:v>
                </c:pt>
                <c:pt idx="30">
                  <c:v>0.33681899662894577</c:v>
                </c:pt>
                <c:pt idx="31">
                  <c:v>0.3621461401293167</c:v>
                </c:pt>
                <c:pt idx="32">
                  <c:v>0.42110342104601517</c:v>
                </c:pt>
                <c:pt idx="33">
                  <c:v>0.40159187858054685</c:v>
                </c:pt>
                <c:pt idx="34">
                  <c:v>0.3998361966990574</c:v>
                </c:pt>
                <c:pt idx="35">
                  <c:v>0.36495760134205574</c:v>
                </c:pt>
                <c:pt idx="36">
                  <c:v>0.3792665513783268</c:v>
                </c:pt>
                <c:pt idx="37">
                  <c:v>0.37249479844868527</c:v>
                </c:pt>
                <c:pt idx="38">
                  <c:v>0.32334584298722824</c:v>
                </c:pt>
                <c:pt idx="39">
                  <c:v>0.2974751345012834</c:v>
                </c:pt>
                <c:pt idx="40">
                  <c:v>0.29713955809323916</c:v>
                </c:pt>
                <c:pt idx="41">
                  <c:v>0.32861720706134334</c:v>
                </c:pt>
                <c:pt idx="42">
                  <c:v>0.30397799173233914</c:v>
                </c:pt>
                <c:pt idx="43">
                  <c:v>0.34447710405962306</c:v>
                </c:pt>
                <c:pt idx="44">
                  <c:v>0.4004415728056739</c:v>
                </c:pt>
                <c:pt idx="45">
                  <c:v>0.4255195242125961</c:v>
                </c:pt>
                <c:pt idx="46">
                  <c:v>0.42779864096020004</c:v>
                </c:pt>
                <c:pt idx="47">
                  <c:v>0.4159479437567575</c:v>
                </c:pt>
                <c:pt idx="48">
                  <c:v>0.3883195211696021</c:v>
                </c:pt>
                <c:pt idx="49">
                  <c:v>0.3920998547171309</c:v>
                </c:pt>
                <c:pt idx="50">
                  <c:v>0.42063278514902974</c:v>
                </c:pt>
                <c:pt idx="51">
                  <c:v>0.4224067584822856</c:v>
                </c:pt>
                <c:pt idx="52">
                  <c:v>0.34026781714529586</c:v>
                </c:pt>
                <c:pt idx="53">
                  <c:v>0.34026781714529586</c:v>
                </c:pt>
                <c:pt idx="54">
                  <c:v>0.39980659475891067</c:v>
                </c:pt>
              </c:numCache>
            </c:numRef>
          </c:xVal>
          <c:yVal>
            <c:numRef>
              <c:f>Sheet1!$B$187:$B$241</c:f>
              <c:numCache>
                <c:formatCode>General</c:formatCode>
                <c:ptCount val="55"/>
                <c:pt idx="0">
                  <c:v>0.0014481134932235453</c:v>
                </c:pt>
                <c:pt idx="1">
                  <c:v>0.0019088456335577863</c:v>
                </c:pt>
                <c:pt idx="2">
                  <c:v>0.0015540363905804265</c:v>
                </c:pt>
                <c:pt idx="3">
                  <c:v>0.0021932632714834668</c:v>
                </c:pt>
                <c:pt idx="4">
                  <c:v>0.0013016448302668807</c:v>
                </c:pt>
                <c:pt idx="5">
                  <c:v>0.0012880045052974824</c:v>
                </c:pt>
                <c:pt idx="6">
                  <c:v>0.0017017771983544507</c:v>
                </c:pt>
                <c:pt idx="7">
                  <c:v>0.0017450845348545687</c:v>
                </c:pt>
                <c:pt idx="8">
                  <c:v>0.0018032749827171096</c:v>
                </c:pt>
                <c:pt idx="9">
                  <c:v>0.0017190990150561716</c:v>
                </c:pt>
                <c:pt idx="10">
                  <c:v>0.0016522186835177116</c:v>
                </c:pt>
                <c:pt idx="11">
                  <c:v>0.0018027474249365958</c:v>
                </c:pt>
                <c:pt idx="12">
                  <c:v>0.002083597229065137</c:v>
                </c:pt>
                <c:pt idx="13">
                  <c:v>0.002605250052566173</c:v>
                </c:pt>
                <c:pt idx="14">
                  <c:v>0.0025874326671960486</c:v>
                </c:pt>
                <c:pt idx="15">
                  <c:v>0.0024809880594339083</c:v>
                </c:pt>
                <c:pt idx="16">
                  <c:v>0.0022364211885506583</c:v>
                </c:pt>
                <c:pt idx="17">
                  <c:v>0.003272325466250505</c:v>
                </c:pt>
                <c:pt idx="18">
                  <c:v>0.0020818852307645484</c:v>
                </c:pt>
                <c:pt idx="19">
                  <c:v>0.0016226461545900787</c:v>
                </c:pt>
                <c:pt idx="20">
                  <c:v>0.0018638154514432816</c:v>
                </c:pt>
                <c:pt idx="21">
                  <c:v>0.0023847095064854825</c:v>
                </c:pt>
                <c:pt idx="22">
                  <c:v>0.002174808930909592</c:v>
                </c:pt>
                <c:pt idx="23">
                  <c:v>0.0029130560781559247</c:v>
                </c:pt>
                <c:pt idx="24">
                  <c:v>0.0020264796076137903</c:v>
                </c:pt>
                <c:pt idx="25">
                  <c:v>0.0025115299961445095</c:v>
                </c:pt>
                <c:pt idx="26">
                  <c:v>0.002354512546921466</c:v>
                </c:pt>
                <c:pt idx="27">
                  <c:v>0.002465201695454564</c:v>
                </c:pt>
                <c:pt idx="28">
                  <c:v>0.0022959631959394815</c:v>
                </c:pt>
                <c:pt idx="29">
                  <c:v>0.0025131193241369233</c:v>
                </c:pt>
                <c:pt idx="30">
                  <c:v>0.0024749044928196874</c:v>
                </c:pt>
                <c:pt idx="31">
                  <c:v>0.0021824023086626084</c:v>
                </c:pt>
                <c:pt idx="32">
                  <c:v>0.0015015069901738003</c:v>
                </c:pt>
                <c:pt idx="33">
                  <c:v>0.0017268450267091682</c:v>
                </c:pt>
                <c:pt idx="34">
                  <c:v>0.0017471213277066794</c:v>
                </c:pt>
                <c:pt idx="35">
                  <c:v>0.0021499328536928033</c:v>
                </c:pt>
                <c:pt idx="36">
                  <c:v>0.0019846793525017782</c:v>
                </c:pt>
                <c:pt idx="37">
                  <c:v>0.002062886060749917</c:v>
                </c:pt>
                <c:pt idx="38">
                  <c:v>0.0026305054143222865</c:v>
                </c:pt>
                <c:pt idx="39">
                  <c:v>0.0029292852091190877</c:v>
                </c:pt>
                <c:pt idx="40">
                  <c:v>0.0029331607678572094</c:v>
                </c:pt>
                <c:pt idx="41">
                  <c:v>0.0025696266379556095</c:v>
                </c:pt>
                <c:pt idx="42">
                  <c:v>0.0028541839667181193</c:v>
                </c:pt>
                <c:pt idx="43">
                  <c:v>0.0023864613112998343</c:v>
                </c:pt>
                <c:pt idx="44">
                  <c:v>0.0017401298628610985</c:v>
                </c:pt>
                <c:pt idx="45">
                  <c:v>0.001450505588390414</c:v>
                </c:pt>
                <c:pt idx="46">
                  <c:v>0.0014241841587110905</c:v>
                </c:pt>
                <c:pt idx="47">
                  <c:v>0.0015610473946200427</c:v>
                </c:pt>
                <c:pt idx="48">
                  <c:v>0.0018801269604399847</c:v>
                </c:pt>
                <c:pt idx="49">
                  <c:v>0.001836468036981907</c:v>
                </c:pt>
                <c:pt idx="50">
                  <c:v>0.0015069423456377492</c:v>
                </c:pt>
                <c:pt idx="51">
                  <c:v>0.0014864547973832002</c:v>
                </c:pt>
                <c:pt idx="52">
                  <c:v>0.0024350742003201257</c:v>
                </c:pt>
                <c:pt idx="53">
                  <c:v>0.0024350742003201257</c:v>
                </c:pt>
                <c:pt idx="54">
                  <c:v>0.001747463199349175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3013661571757065"/>
          <c:min val="3.6138591498396357e-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5.4024</c:v>
                </c:pt>
                <c:pt idx="1">
                  <c:v>920.5213</c:v>
                </c:pt>
                <c:pt idx="2">
                  <c:v>978.4239</c:v>
                </c:pt>
                <c:pt idx="3">
                  <c:v>998.7876</c:v>
                </c:pt>
                <c:pt idx="4">
                  <c:v>1002.9698</c:v>
                </c:pt>
                <c:pt idx="5">
                  <c:v>1003.4349</c:v>
                </c:pt>
                <c:pt idx="6">
                  <c:v>957.1424</c:v>
                </c:pt>
                <c:pt idx="7">
                  <c:v>985.8319</c:v>
                </c:pt>
                <c:pt idx="8">
                  <c:v>978.2738</c:v>
                </c:pt>
                <c:pt idx="9">
                  <c:v>959.4434</c:v>
                </c:pt>
                <c:pt idx="10">
                  <c:v>965.2686</c:v>
                </c:pt>
                <c:pt idx="11">
                  <c:v>1006.9393</c:v>
                </c:pt>
                <c:pt idx="12">
                  <c:v>1000.8148</c:v>
                </c:pt>
                <c:pt idx="13">
                  <c:v>976.9358</c:v>
                </c:pt>
                <c:pt idx="14">
                  <c:v>980.854</c:v>
                </c:pt>
                <c:pt idx="15">
                  <c:v>985.9047</c:v>
                </c:pt>
                <c:pt idx="16">
                  <c:v>984.2631</c:v>
                </c:pt>
                <c:pt idx="17">
                  <c:v>1001.7215</c:v>
                </c:pt>
                <c:pt idx="18">
                  <c:v>1049.9328</c:v>
                </c:pt>
                <c:pt idx="19">
                  <c:v>1077.2363</c:v>
                </c:pt>
                <c:pt idx="20">
                  <c:v>1069.1202</c:v>
                </c:pt>
                <c:pt idx="21">
                  <c:v>1087.7011</c:v>
                </c:pt>
                <c:pt idx="22">
                  <c:v>1078.6974</c:v>
                </c:pt>
                <c:pt idx="23">
                  <c:v>1060.809</c:v>
                </c:pt>
                <c:pt idx="24">
                  <c:v>1044.8785</c:v>
                </c:pt>
                <c:pt idx="25">
                  <c:v>1028.8129</c:v>
                </c:pt>
                <c:pt idx="26">
                  <c:v>1037.0373</c:v>
                </c:pt>
                <c:pt idx="27">
                  <c:v>1054.5763</c:v>
                </c:pt>
                <c:pt idx="28">
                  <c:v>1047.4182</c:v>
                </c:pt>
                <c:pt idx="29">
                  <c:v>926.3756</c:v>
                </c:pt>
                <c:pt idx="30">
                  <c:v>974.5821</c:v>
                </c:pt>
                <c:pt idx="31">
                  <c:v>995.3827</c:v>
                </c:pt>
                <c:pt idx="32">
                  <c:v>968.4678</c:v>
                </c:pt>
                <c:pt idx="33">
                  <c:v>901.2957</c:v>
                </c:pt>
                <c:pt idx="34">
                  <c:v>996.5638</c:v>
                </c:pt>
                <c:pt idx="35">
                  <c:v>1054.9047</c:v>
                </c:pt>
                <c:pt idx="36">
                  <c:v>1135.8883</c:v>
                </c:pt>
                <c:pt idx="37">
                  <c:v>1128.944</c:v>
                </c:pt>
                <c:pt idx="38">
                  <c:v>1188.4339</c:v>
                </c:pt>
                <c:pt idx="39">
                  <c:v>1192.8818</c:v>
                </c:pt>
                <c:pt idx="40">
                  <c:v>1217.2229</c:v>
                </c:pt>
                <c:pt idx="41">
                  <c:v>1247.0286</c:v>
                </c:pt>
                <c:pt idx="42">
                  <c:v>1293.066</c:v>
                </c:pt>
                <c:pt idx="43">
                  <c:v>1290.97</c:v>
                </c:pt>
                <c:pt idx="44">
                  <c:v>1124.4896</c:v>
                </c:pt>
                <c:pt idx="45">
                  <c:v>1061.8205</c:v>
                </c:pt>
                <c:pt idx="46">
                  <c:v>1056.6621</c:v>
                </c:pt>
                <c:pt idx="47">
                  <c:v>1037.049</c:v>
                </c:pt>
                <c:pt idx="48">
                  <c:v>1041.8563</c:v>
                </c:pt>
                <c:pt idx="49">
                  <c:v>1018.3046</c:v>
                </c:pt>
                <c:pt idx="50">
                  <c:v>1019.4483</c:v>
                </c:pt>
                <c:pt idx="51">
                  <c:v>1046.828</c:v>
                </c:pt>
                <c:pt idx="52">
                  <c:v>1057.0442</c:v>
                </c:pt>
                <c:pt idx="53">
                  <c:v>1110.2264</c:v>
                </c:pt>
                <c:pt idx="54">
                  <c:v>1118.9881</c:v>
                </c:pt>
                <c:pt idx="55">
                  <c:v>1130.1327</c:v>
                </c:pt>
                <c:pt idx="56">
                  <c:v>1154.9161</c:v>
                </c:pt>
                <c:pt idx="57">
                  <c:v>1130.0834</c:v>
                </c:pt>
                <c:pt idx="58">
                  <c:v>1105.4809</c:v>
                </c:pt>
                <c:pt idx="59">
                  <c:v>1088.2499</c:v>
                </c:pt>
                <c:pt idx="60">
                  <c:v>1116.5863</c:v>
                </c:pt>
                <c:pt idx="61">
                  <c:v>1120.4926</c:v>
                </c:pt>
                <c:pt idx="62">
                  <c:v>1098.214</c:v>
                </c:pt>
                <c:pt idx="63">
                  <c:v>1126.664</c:v>
                </c:pt>
                <c:pt idx="64">
                  <c:v>1124.0548</c:v>
                </c:pt>
                <c:pt idx="65">
                  <c:v>1105.6271</c:v>
                </c:pt>
                <c:pt idx="66">
                  <c:v>1061.3012</c:v>
                </c:pt>
                <c:pt idx="67">
                  <c:v>1041.0044</c:v>
                </c:pt>
                <c:pt idx="68">
                  <c:v>1024.6492</c:v>
                </c:pt>
                <c:pt idx="69">
                  <c:v>1029.9953</c:v>
                </c:pt>
                <c:pt idx="70">
                  <c:v>987.9688</c:v>
                </c:pt>
                <c:pt idx="71">
                  <c:v>1050.9577</c:v>
                </c:pt>
                <c:pt idx="72">
                  <c:v>1105.9557</c:v>
                </c:pt>
                <c:pt idx="73">
                  <c:v>1099.2895</c:v>
                </c:pt>
                <c:pt idx="74">
                  <c:v>1056.1189</c:v>
                </c:pt>
                <c:pt idx="75">
                  <c:v>1057.0004</c:v>
                </c:pt>
                <c:pt idx="76">
                  <c:v>1083.6252</c:v>
                </c:pt>
                <c:pt idx="77">
                  <c:v>1050.5064</c:v>
                </c:pt>
                <c:pt idx="78">
                  <c:v>1121.2765</c:v>
                </c:pt>
                <c:pt idx="79">
                  <c:v>714.1003</c:v>
                </c:pt>
                <c:pt idx="80">
                  <c:v>722.846</c:v>
                </c:pt>
                <c:pt idx="81">
                  <c:v>938.4069</c:v>
                </c:pt>
                <c:pt idx="82">
                  <c:v>934.2117</c:v>
                </c:pt>
                <c:pt idx="83">
                  <c:v>957.2894</c:v>
                </c:pt>
                <c:pt idx="84">
                  <c:v>964.7598</c:v>
                </c:pt>
                <c:pt idx="85">
                  <c:v>1018.9553</c:v>
                </c:pt>
                <c:pt idx="86">
                  <c:v>1138.5348</c:v>
                </c:pt>
                <c:pt idx="87">
                  <c:v>1167.8801</c:v>
                </c:pt>
                <c:pt idx="88">
                  <c:v>1163.3663</c:v>
                </c:pt>
                <c:pt idx="89">
                  <c:v>1114.0517</c:v>
                </c:pt>
                <c:pt idx="90">
                  <c:v>1178.6274</c:v>
                </c:pt>
                <c:pt idx="91">
                  <c:v>1197.2966</c:v>
                </c:pt>
                <c:pt idx="92">
                  <c:v>1188.3679</c:v>
                </c:pt>
                <c:pt idx="93">
                  <c:v>1243.3718</c:v>
                </c:pt>
                <c:pt idx="94">
                  <c:v>1240.5446</c:v>
                </c:pt>
                <c:pt idx="95">
                  <c:v>1234.8934</c:v>
                </c:pt>
                <c:pt idx="96">
                  <c:v>1168.2406</c:v>
                </c:pt>
                <c:pt idx="97">
                  <c:v>1186.7969</c:v>
                </c:pt>
                <c:pt idx="98">
                  <c:v>1179.0172</c:v>
                </c:pt>
                <c:pt idx="99">
                  <c:v>1136.6995</c:v>
                </c:pt>
                <c:pt idx="100">
                  <c:v>1145.7225</c:v>
                </c:pt>
                <c:pt idx="101">
                  <c:v>1159.2316</c:v>
                </c:pt>
                <c:pt idx="102">
                  <c:v>1191.635</c:v>
                </c:pt>
                <c:pt idx="103">
                  <c:v>1050.2657</c:v>
                </c:pt>
                <c:pt idx="104">
                  <c:v>1139.7728</c:v>
                </c:pt>
              </c:numCache>
            </c:numRef>
          </c:xVal>
          <c:yVal>
            <c:numRef>
              <c:f>Sheet1!$B$2:$B$106</c:f>
              <c:numCache>
                <c:formatCode>General</c:formatCode>
                <c:ptCount val="105"/>
                <c:pt idx="0">
                  <c:v>0.21030715158924204</c:v>
                </c:pt>
                <c:pt idx="1">
                  <c:v>0.21298701298701297</c:v>
                </c:pt>
                <c:pt idx="2">
                  <c:v>0.19188149288187764</c:v>
                </c:pt>
                <c:pt idx="3">
                  <c:v>0.19090721223393264</c:v>
                </c:pt>
                <c:pt idx="4">
                  <c:v>0.19040369315391414</c:v>
                </c:pt>
                <c:pt idx="5">
                  <c:v>0.18118797067477932</c:v>
                </c:pt>
                <c:pt idx="6">
                  <c:v>0.20359223768478837</c:v>
                </c:pt>
                <c:pt idx="7">
                  <c:v>0.20028392958546282</c:v>
                </c:pt>
                <c:pt idx="8">
                  <c:v>0.21053270971268906</c:v>
                </c:pt>
                <c:pt idx="9">
                  <c:v>0.21039721134397726</c:v>
                </c:pt>
                <c:pt idx="10">
                  <c:v>0.22042008977725078</c:v>
                </c:pt>
                <c:pt idx="11">
                  <c:v>0.21358106613581065</c:v>
                </c:pt>
                <c:pt idx="12">
                  <c:v>0.21567654719087187</c:v>
                </c:pt>
                <c:pt idx="13">
                  <c:v>0.22556548743128121</c:v>
                </c:pt>
                <c:pt idx="14">
                  <c:v>0.21514723007818998</c:v>
                </c:pt>
                <c:pt idx="15">
                  <c:v>0.21337422099119596</c:v>
                </c:pt>
                <c:pt idx="16">
                  <c:v>0.2021367278513383</c:v>
                </c:pt>
                <c:pt idx="17">
                  <c:v>0.1916417538614848</c:v>
                </c:pt>
                <c:pt idx="18">
                  <c:v>0.17514358867898416</c:v>
                </c:pt>
                <c:pt idx="19">
                  <c:v>0.16184781718404456</c:v>
                </c:pt>
                <c:pt idx="20">
                  <c:v>0.174278038952317</c:v>
                </c:pt>
                <c:pt idx="21">
                  <c:v>0.17816586373021334</c:v>
                </c:pt>
                <c:pt idx="22">
                  <c:v>0.17713299358868978</c:v>
                </c:pt>
                <c:pt idx="23">
                  <c:v>0.18507202095154954</c:v>
                </c:pt>
                <c:pt idx="24">
                  <c:v>0.18752479961907786</c:v>
                </c:pt>
                <c:pt idx="25">
                  <c:v>0.18773318773318773</c:v>
                </c:pt>
                <c:pt idx="26">
                  <c:v>0.192</c:v>
                </c:pt>
                <c:pt idx="27">
                  <c:v>0.17932890155112377</c:v>
                </c:pt>
                <c:pt idx="28">
                  <c:v>0.17864642222581167</c:v>
                </c:pt>
                <c:pt idx="29">
                  <c:v>0.20309249757315212</c:v>
                </c:pt>
                <c:pt idx="30">
                  <c:v>0.18293125340105207</c:v>
                </c:pt>
                <c:pt idx="31">
                  <c:v>0.17864829961256995</c:v>
                </c:pt>
                <c:pt idx="32">
                  <c:v>0.1871335232032166</c:v>
                </c:pt>
                <c:pt idx="33">
                  <c:v>0.20930232558139536</c:v>
                </c:pt>
                <c:pt idx="34">
                  <c:v>0.1992973309911033</c:v>
                </c:pt>
                <c:pt idx="35">
                  <c:v>0.1956752736159813</c:v>
                </c:pt>
                <c:pt idx="36">
                  <c:v>0.15181646844739066</c:v>
                </c:pt>
                <c:pt idx="37">
                  <c:v>0.14250182882223847</c:v>
                </c:pt>
                <c:pt idx="38">
                  <c:v>0.13718112724809994</c:v>
                </c:pt>
                <c:pt idx="39">
                  <c:v>0.13833099797602366</c:v>
                </c:pt>
                <c:pt idx="40">
                  <c:v>0.13867644270273688</c:v>
                </c:pt>
                <c:pt idx="41">
                  <c:v>0.1270996640537514</c:v>
                </c:pt>
                <c:pt idx="42">
                  <c:v>0.13326508490906902</c:v>
                </c:pt>
                <c:pt idx="43">
                  <c:v>0.13675121424716677</c:v>
                </c:pt>
                <c:pt idx="44">
                  <c:v>0.16124158769399807</c:v>
                </c:pt>
                <c:pt idx="45">
                  <c:v>0.1861608385121974</c:v>
                </c:pt>
                <c:pt idx="46">
                  <c:v>0.1937179063691781</c:v>
                </c:pt>
                <c:pt idx="47">
                  <c:v>0.19532088430993774</c:v>
                </c:pt>
                <c:pt idx="48">
                  <c:v>0.21233782239451454</c:v>
                </c:pt>
                <c:pt idx="49">
                  <c:v>0.24603675866860356</c:v>
                </c:pt>
                <c:pt idx="50">
                  <c:v>0.20786180373861235</c:v>
                </c:pt>
                <c:pt idx="51">
                  <c:v>0.18664801119328403</c:v>
                </c:pt>
                <c:pt idx="52">
                  <c:v>0.19997993176801124</c:v>
                </c:pt>
                <c:pt idx="53">
                  <c:v>0.1882059256834179</c:v>
                </c:pt>
                <c:pt idx="54">
                  <c:v>0.1853673948366131</c:v>
                </c:pt>
                <c:pt idx="55">
                  <c:v>0.17528152113716078</c:v>
                </c:pt>
                <c:pt idx="56">
                  <c:v>0.1852655955999421</c:v>
                </c:pt>
                <c:pt idx="57">
                  <c:v>0.18023843200646594</c:v>
                </c:pt>
                <c:pt idx="58">
                  <c:v>0.19915412830301668</c:v>
                </c:pt>
                <c:pt idx="59">
                  <c:v>0.2092832698703427</c:v>
                </c:pt>
                <c:pt idx="60">
                  <c:v>0.22389277072401512</c:v>
                </c:pt>
                <c:pt idx="61">
                  <c:v>0.222672371360418</c:v>
                </c:pt>
                <c:pt idx="62">
                  <c:v>0.22107099622587767</c:v>
                </c:pt>
                <c:pt idx="63">
                  <c:v>0.23888208218815193</c:v>
                </c:pt>
                <c:pt idx="64">
                  <c:v>0.22448180186061695</c:v>
                </c:pt>
                <c:pt idx="65">
                  <c:v>0.2092982083421854</c:v>
                </c:pt>
                <c:pt idx="66">
                  <c:v>0.21225035212539275</c:v>
                </c:pt>
                <c:pt idx="67">
                  <c:v>0.20886051756431329</c:v>
                </c:pt>
                <c:pt idx="68">
                  <c:v>0.18994516381733562</c:v>
                </c:pt>
                <c:pt idx="69">
                  <c:v>0.17577310373592325</c:v>
                </c:pt>
                <c:pt idx="70">
                  <c:v>0.16404162165235686</c:v>
                </c:pt>
                <c:pt idx="71">
                  <c:v>0.17445482866043613</c:v>
                </c:pt>
                <c:pt idx="72">
                  <c:v>0.17299754740683138</c:v>
                </c:pt>
                <c:pt idx="73">
                  <c:v>0.17705832738597288</c:v>
                </c:pt>
                <c:pt idx="74">
                  <c:v>0.17853922452660054</c:v>
                </c:pt>
                <c:pt idx="75">
                  <c:v>0.18282139593730232</c:v>
                </c:pt>
                <c:pt idx="76">
                  <c:v>0.1749961907664178</c:v>
                </c:pt>
                <c:pt idx="77">
                  <c:v>0.17296614850469502</c:v>
                </c:pt>
                <c:pt idx="78">
                  <c:v>0.15853018372703412</c:v>
                </c:pt>
                <c:pt idx="79">
                  <c:v>0.2261861775113743</c:v>
                </c:pt>
                <c:pt idx="80">
                  <c:v>0.2101878612716763</c:v>
                </c:pt>
                <c:pt idx="81">
                  <c:v>0.1694088207694714</c:v>
                </c:pt>
                <c:pt idx="82">
                  <c:v>0.16926466987676486</c:v>
                </c:pt>
                <c:pt idx="83">
                  <c:v>0.14987487255538048</c:v>
                </c:pt>
                <c:pt idx="84">
                  <c:v>0.1537157389092964</c:v>
                </c:pt>
                <c:pt idx="85">
                  <c:v>0.15863306418726042</c:v>
                </c:pt>
                <c:pt idx="86">
                  <c:v>0.1524004465947153</c:v>
                </c:pt>
                <c:pt idx="87">
                  <c:v>0.1689402513850003</c:v>
                </c:pt>
                <c:pt idx="88">
                  <c:v>0.14848762603116408</c:v>
                </c:pt>
                <c:pt idx="89">
                  <c:v>0.14441462596444146</c:v>
                </c:pt>
                <c:pt idx="90">
                  <c:v>0.14172686618507052</c:v>
                </c:pt>
                <c:pt idx="91">
                  <c:v>0.13393232009404651</c:v>
                </c:pt>
                <c:pt idx="92">
                  <c:v>0.14259086672879775</c:v>
                </c:pt>
                <c:pt idx="93">
                  <c:v>0.13648551435484926</c:v>
                </c:pt>
                <c:pt idx="94">
                  <c:v>0.14039841804599384</c:v>
                </c:pt>
                <c:pt idx="95">
                  <c:v>0.14438761776581427</c:v>
                </c:pt>
                <c:pt idx="96">
                  <c:v>0.1441160471441523</c:v>
                </c:pt>
                <c:pt idx="97">
                  <c:v>0.1554780494048381</c:v>
                </c:pt>
                <c:pt idx="98">
                  <c:v>0.17081260364842454</c:v>
                </c:pt>
                <c:pt idx="99">
                  <c:v>0.17867754563033533</c:v>
                </c:pt>
                <c:pt idx="100">
                  <c:v>0.19638028243694658</c:v>
                </c:pt>
                <c:pt idx="101">
                  <c:v>0.18430480700333343</c:v>
                </c:pt>
                <c:pt idx="102">
                  <c:v>0.15521151330135194</c:v>
                </c:pt>
                <c:pt idx="103">
                  <c:v>0.17430878208545966</c:v>
                </c:pt>
                <c:pt idx="104">
                  <c:v>0.1768059102517329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3.2555</c:v>
                </c:pt>
                <c:pt idx="1">
                  <c:v>1187.7207</c:v>
                </c:pt>
                <c:pt idx="2">
                  <c:v>1170.6518</c:v>
                </c:pt>
                <c:pt idx="3">
                  <c:v>1191.8262</c:v>
                </c:pt>
                <c:pt idx="4">
                  <c:v>1195.6713</c:v>
                </c:pt>
                <c:pt idx="5">
                  <c:v>1209.1017</c:v>
                </c:pt>
                <c:pt idx="6">
                  <c:v>1140.0386</c:v>
                </c:pt>
                <c:pt idx="7">
                  <c:v>1206.6418</c:v>
                </c:pt>
                <c:pt idx="8">
                  <c:v>1287.0076</c:v>
                </c:pt>
                <c:pt idx="9">
                  <c:v>1248.3092</c:v>
                </c:pt>
                <c:pt idx="10">
                  <c:v>1267.1534</c:v>
                </c:pt>
                <c:pt idx="11">
                  <c:v>1104.0799</c:v>
                </c:pt>
                <c:pt idx="12">
                  <c:v>1126.1329</c:v>
                </c:pt>
                <c:pt idx="13">
                  <c:v>1193.8613</c:v>
                </c:pt>
                <c:pt idx="14">
                  <c:v>1189.9744</c:v>
                </c:pt>
                <c:pt idx="15">
                  <c:v>1227.0707</c:v>
                </c:pt>
                <c:pt idx="16">
                  <c:v>1269.1256</c:v>
                </c:pt>
                <c:pt idx="17">
                  <c:v>1246.4644</c:v>
                </c:pt>
                <c:pt idx="18">
                  <c:v>1250.9806</c:v>
                </c:pt>
                <c:pt idx="19">
                  <c:v>1365.2613</c:v>
                </c:pt>
                <c:pt idx="20">
                  <c:v>1368.1682</c:v>
                </c:pt>
                <c:pt idx="21">
                  <c:v>1280.9732</c:v>
                </c:pt>
                <c:pt idx="22">
                  <c:v>1220.5511</c:v>
                </c:pt>
                <c:pt idx="23">
                  <c:v>1217.1408</c:v>
                </c:pt>
                <c:pt idx="24">
                  <c:v>1226.1822</c:v>
                </c:pt>
                <c:pt idx="25">
                  <c:v>1173.8838</c:v>
                </c:pt>
                <c:pt idx="26">
                  <c:v>1251.8776</c:v>
                </c:pt>
                <c:pt idx="27">
                  <c:v>1277.2154</c:v>
                </c:pt>
                <c:pt idx="28">
                  <c:v>1250.312</c:v>
                </c:pt>
                <c:pt idx="29">
                  <c:v>1262.0638</c:v>
                </c:pt>
                <c:pt idx="30">
                  <c:v>1215.2614</c:v>
                </c:pt>
                <c:pt idx="31">
                  <c:v>1127.1976</c:v>
                </c:pt>
                <c:pt idx="32">
                  <c:v>1166.5209</c:v>
                </c:pt>
                <c:pt idx="33">
                  <c:v>1224.239</c:v>
                </c:pt>
                <c:pt idx="34">
                  <c:v>1259.7145</c:v>
                </c:pt>
                <c:pt idx="35">
                  <c:v>1231.2795</c:v>
                </c:pt>
                <c:pt idx="36">
                  <c:v>1255.8634</c:v>
                </c:pt>
                <c:pt idx="37">
                  <c:v>1321.2715</c:v>
                </c:pt>
                <c:pt idx="38">
                  <c:v>1298.8671</c:v>
                </c:pt>
                <c:pt idx="39">
                  <c:v>1250.5854</c:v>
                </c:pt>
                <c:pt idx="40">
                  <c:v>1288.2266</c:v>
                </c:pt>
                <c:pt idx="41">
                  <c:v>1352.4109</c:v>
                </c:pt>
                <c:pt idx="42">
                  <c:v>1344.6201</c:v>
                </c:pt>
                <c:pt idx="43">
                  <c:v>1339.6708</c:v>
                </c:pt>
                <c:pt idx="44">
                  <c:v>1289.5285</c:v>
                </c:pt>
                <c:pt idx="45">
                  <c:v>1241.0829</c:v>
                </c:pt>
                <c:pt idx="46">
                  <c:v>1239.3417</c:v>
                </c:pt>
                <c:pt idx="47">
                  <c:v>1209.1569</c:v>
                </c:pt>
                <c:pt idx="48">
                  <c:v>1199.4519</c:v>
                </c:pt>
                <c:pt idx="49">
                  <c:v>1225.0948</c:v>
                </c:pt>
                <c:pt idx="50">
                  <c:v>1098.4008</c:v>
                </c:pt>
                <c:pt idx="51">
                  <c:v>1065.2951</c:v>
                </c:pt>
              </c:numCache>
            </c:numRef>
          </c:xVal>
          <c:yVal>
            <c:numRef>
              <c:f>Sheet1!$B$109:$B$160</c:f>
              <c:numCache>
                <c:formatCode>General</c:formatCode>
                <c:ptCount val="52"/>
                <c:pt idx="0">
                  <c:v>0.1696125907990315</c:v>
                </c:pt>
                <c:pt idx="1">
                  <c:v>0.1799104286628279</c:v>
                </c:pt>
                <c:pt idx="2">
                  <c:v>0.1882895378041009</c:v>
                </c:pt>
                <c:pt idx="3">
                  <c:v>0.2025717264548017</c:v>
                </c:pt>
                <c:pt idx="4">
                  <c:v>0.19036715357283854</c:v>
                </c:pt>
                <c:pt idx="5">
                  <c:v>0.1883741612094753</c:v>
                </c:pt>
                <c:pt idx="6">
                  <c:v>0.1853735531392494</c:v>
                </c:pt>
                <c:pt idx="7">
                  <c:v>0.17800038528221923</c:v>
                </c:pt>
                <c:pt idx="8">
                  <c:v>0.17771394504362908</c:v>
                </c:pt>
                <c:pt idx="9">
                  <c:v>0.18665271132376396</c:v>
                </c:pt>
                <c:pt idx="10">
                  <c:v>0.19376186073670382</c:v>
                </c:pt>
                <c:pt idx="11">
                  <c:v>0.20784165751920966</c:v>
                </c:pt>
                <c:pt idx="12">
                  <c:v>0.20951877743456349</c:v>
                </c:pt>
                <c:pt idx="13">
                  <c:v>0.19814417647831226</c:v>
                </c:pt>
                <c:pt idx="14">
                  <c:v>0.20124253285543608</c:v>
                </c:pt>
                <c:pt idx="15">
                  <c:v>0.18858176181865152</c:v>
                </c:pt>
                <c:pt idx="16">
                  <c:v>0.16970213802765427</c:v>
                </c:pt>
                <c:pt idx="17">
                  <c:v>0.15518128053484187</c:v>
                </c:pt>
                <c:pt idx="18">
                  <c:v>0.1502881520844248</c:v>
                </c:pt>
                <c:pt idx="19">
                  <c:v>0.157272860707471</c:v>
                </c:pt>
                <c:pt idx="20">
                  <c:v>0.1460418192173135</c:v>
                </c:pt>
                <c:pt idx="21">
                  <c:v>0.15542436852801703</c:v>
                </c:pt>
                <c:pt idx="22">
                  <c:v>0.16148597422289612</c:v>
                </c:pt>
                <c:pt idx="23">
                  <c:v>0.16593756213959038</c:v>
                </c:pt>
                <c:pt idx="24">
                  <c:v>0.15968992248062017</c:v>
                </c:pt>
                <c:pt idx="25">
                  <c:v>0.16526772793053546</c:v>
                </c:pt>
                <c:pt idx="26">
                  <c:v>0.1439575033200531</c:v>
                </c:pt>
                <c:pt idx="27">
                  <c:v>0.14356673609998397</c:v>
                </c:pt>
                <c:pt idx="28">
                  <c:v>0.1543013856812933</c:v>
                </c:pt>
                <c:pt idx="29">
                  <c:v>0.15728375665531988</c:v>
                </c:pt>
                <c:pt idx="30">
                  <c:v>0.1659631791647957</c:v>
                </c:pt>
                <c:pt idx="31">
                  <c:v>0.16738361533314214</c:v>
                </c:pt>
                <c:pt idx="32">
                  <c:v>0.17072766451185148</c:v>
                </c:pt>
                <c:pt idx="33">
                  <c:v>0.18749190728991325</c:v>
                </c:pt>
                <c:pt idx="34">
                  <c:v>0.20933340460790079</c:v>
                </c:pt>
                <c:pt idx="35">
                  <c:v>0.20136381869233855</c:v>
                </c:pt>
                <c:pt idx="36">
                  <c:v>0.17013669821240798</c:v>
                </c:pt>
                <c:pt idx="37">
                  <c:v>0.1519192304028955</c:v>
                </c:pt>
                <c:pt idx="38">
                  <c:v>0.15699152542372882</c:v>
                </c:pt>
                <c:pt idx="39">
                  <c:v>0.17547272585790988</c:v>
                </c:pt>
                <c:pt idx="40">
                  <c:v>0.15525388134703366</c:v>
                </c:pt>
                <c:pt idx="41">
                  <c:v>0.1563388288800455</c:v>
                </c:pt>
                <c:pt idx="42">
                  <c:v>0.15529659302419682</c:v>
                </c:pt>
                <c:pt idx="43">
                  <c:v>0.14629695042976568</c:v>
                </c:pt>
                <c:pt idx="44">
                  <c:v>0.13895062324862306</c:v>
                </c:pt>
                <c:pt idx="45">
                  <c:v>0.1540945217144479</c:v>
                </c:pt>
                <c:pt idx="46">
                  <c:v>0.1499685995394599</c:v>
                </c:pt>
                <c:pt idx="47">
                  <c:v>0.15169280944246</c:v>
                </c:pt>
                <c:pt idx="48">
                  <c:v>0.14248446004702245</c:v>
                </c:pt>
                <c:pt idx="49">
                  <c:v>0.15973649220355374</c:v>
                </c:pt>
                <c:pt idx="50">
                  <c:v>0.19359691025510722</c:v>
                </c:pt>
                <c:pt idx="51">
                  <c:v>0.180591212499083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55.0010262139474</c:v>
                </c:pt>
              </c:numCache>
            </c:numRef>
          </c:xVal>
          <c:yVal>
            <c:numRef>
              <c:f>Sheet1!$B$163:$B$164</c:f>
              <c:numCache>
                <c:formatCode>General</c:formatCode>
                <c:ptCount val="2"/>
                <c:pt idx="0">
                  <c:v>0.1999656435326154</c:v>
                </c:pt>
                <c:pt idx="1">
                  <c:v>0.199965643532615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55.0010262139474</c:v>
                </c:pt>
                <c:pt idx="1">
                  <c:v>1055.0010262139474</c:v>
                </c:pt>
              </c:numCache>
            </c:numRef>
          </c:xVal>
          <c:yVal>
            <c:numRef>
              <c:f>Sheet1!$B$167:$B$168</c:f>
              <c:numCache>
                <c:formatCode>General</c:formatCode>
                <c:ptCount val="2"/>
                <c:pt idx="0">
                  <c:v>0.19996564353261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48.4643720616702</c:v>
                </c:pt>
              </c:numCache>
            </c:numRef>
          </c:xVal>
          <c:yVal>
            <c:numRef>
              <c:f>Sheet1!$B$171:$B$172</c:f>
              <c:numCache>
                <c:formatCode>General</c:formatCode>
                <c:ptCount val="2"/>
                <c:pt idx="0">
                  <c:v>0.1844681646631304</c:v>
                </c:pt>
                <c:pt idx="1">
                  <c:v>0.184468164663130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48.4643720616702</c:v>
                </c:pt>
                <c:pt idx="1">
                  <c:v>1148.4643720616702</c:v>
                </c:pt>
              </c:numCache>
            </c:numRef>
          </c:xVal>
          <c:yVal>
            <c:numRef>
              <c:f>Sheet1!$B$175:$B$176</c:f>
              <c:numCache>
                <c:formatCode>General</c:formatCode>
                <c:ptCount val="2"/>
                <c:pt idx="0">
                  <c:v>0.18446816466313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05.4116258113656</c:v>
                </c:pt>
              </c:numCache>
            </c:numRef>
          </c:xVal>
          <c:yVal>
            <c:numRef>
              <c:f>Sheet1!$B$179:$B$180</c:f>
              <c:numCache>
                <c:formatCode>General</c:formatCode>
                <c:ptCount val="2"/>
                <c:pt idx="0">
                  <c:v>0.1584442006529776</c:v>
                </c:pt>
                <c:pt idx="1">
                  <c:v>0.158444200652977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05.4116258113656</c:v>
                </c:pt>
                <c:pt idx="1">
                  <c:v>1305.4116258113656</c:v>
                </c:pt>
              </c:numCache>
            </c:numRef>
          </c:xVal>
          <c:yVal>
            <c:numRef>
              <c:f>Sheet1!$B$183:$B$184</c:f>
              <c:numCache>
                <c:formatCode>General</c:formatCode>
                <c:ptCount val="2"/>
                <c:pt idx="0">
                  <c:v>0.158444200652977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3.2555</c:v>
                </c:pt>
                <c:pt idx="1">
                  <c:v>1187.7207</c:v>
                </c:pt>
                <c:pt idx="2">
                  <c:v>1170.6518</c:v>
                </c:pt>
                <c:pt idx="3">
                  <c:v>1191.8262</c:v>
                </c:pt>
                <c:pt idx="4">
                  <c:v>1195.6713</c:v>
                </c:pt>
                <c:pt idx="5">
                  <c:v>1209.1017</c:v>
                </c:pt>
                <c:pt idx="6">
                  <c:v>1140.0386</c:v>
                </c:pt>
                <c:pt idx="7">
                  <c:v>1206.6418</c:v>
                </c:pt>
                <c:pt idx="8">
                  <c:v>1287.0076</c:v>
                </c:pt>
                <c:pt idx="9">
                  <c:v>1248.3092</c:v>
                </c:pt>
                <c:pt idx="10">
                  <c:v>1267.1534</c:v>
                </c:pt>
                <c:pt idx="11">
                  <c:v>1104.0799</c:v>
                </c:pt>
                <c:pt idx="12">
                  <c:v>1126.1329</c:v>
                </c:pt>
                <c:pt idx="13">
                  <c:v>1193.8613</c:v>
                </c:pt>
                <c:pt idx="14">
                  <c:v>1189.9744</c:v>
                </c:pt>
                <c:pt idx="15">
                  <c:v>1227.0707</c:v>
                </c:pt>
                <c:pt idx="16">
                  <c:v>1269.1256</c:v>
                </c:pt>
                <c:pt idx="17">
                  <c:v>1246.4644</c:v>
                </c:pt>
                <c:pt idx="18">
                  <c:v>1250.9806</c:v>
                </c:pt>
                <c:pt idx="19">
                  <c:v>1365.2613</c:v>
                </c:pt>
                <c:pt idx="20">
                  <c:v>1368.1682</c:v>
                </c:pt>
                <c:pt idx="21">
                  <c:v>1280.9732</c:v>
                </c:pt>
                <c:pt idx="22">
                  <c:v>1220.5511</c:v>
                </c:pt>
                <c:pt idx="23">
                  <c:v>1217.1408</c:v>
                </c:pt>
                <c:pt idx="24">
                  <c:v>1226.1822</c:v>
                </c:pt>
                <c:pt idx="25">
                  <c:v>1173.8838</c:v>
                </c:pt>
                <c:pt idx="26">
                  <c:v>1251.8776</c:v>
                </c:pt>
                <c:pt idx="27">
                  <c:v>1277.2154</c:v>
                </c:pt>
                <c:pt idx="28">
                  <c:v>1250.312</c:v>
                </c:pt>
                <c:pt idx="29">
                  <c:v>1262.0638</c:v>
                </c:pt>
                <c:pt idx="30">
                  <c:v>1215.2614</c:v>
                </c:pt>
                <c:pt idx="31">
                  <c:v>1127.1976</c:v>
                </c:pt>
                <c:pt idx="32">
                  <c:v>1166.5209</c:v>
                </c:pt>
                <c:pt idx="33">
                  <c:v>1224.239</c:v>
                </c:pt>
                <c:pt idx="34">
                  <c:v>1259.7145</c:v>
                </c:pt>
                <c:pt idx="35">
                  <c:v>1231.2795</c:v>
                </c:pt>
                <c:pt idx="36">
                  <c:v>1255.8634</c:v>
                </c:pt>
                <c:pt idx="37">
                  <c:v>1321.2715</c:v>
                </c:pt>
                <c:pt idx="38">
                  <c:v>1298.8671</c:v>
                </c:pt>
                <c:pt idx="39">
                  <c:v>1250.5854</c:v>
                </c:pt>
                <c:pt idx="40">
                  <c:v>1288.2266</c:v>
                </c:pt>
                <c:pt idx="41">
                  <c:v>1352.4109</c:v>
                </c:pt>
                <c:pt idx="42">
                  <c:v>1344.6201</c:v>
                </c:pt>
                <c:pt idx="43">
                  <c:v>1339.6708</c:v>
                </c:pt>
                <c:pt idx="44">
                  <c:v>1289.5285</c:v>
                </c:pt>
                <c:pt idx="45">
                  <c:v>1241.0829</c:v>
                </c:pt>
                <c:pt idx="46">
                  <c:v>1239.3417</c:v>
                </c:pt>
                <c:pt idx="47">
                  <c:v>1209.1569</c:v>
                </c:pt>
                <c:pt idx="48">
                  <c:v>1199.4519</c:v>
                </c:pt>
                <c:pt idx="49">
                  <c:v>1225.0948</c:v>
                </c:pt>
                <c:pt idx="50">
                  <c:v>1098.4008</c:v>
                </c:pt>
                <c:pt idx="51">
                  <c:v>1065.2951</c:v>
                </c:pt>
                <c:pt idx="52">
                  <c:v>1148.4643720616702</c:v>
                </c:pt>
                <c:pt idx="53">
                  <c:v>1055.0010262139474</c:v>
                </c:pt>
                <c:pt idx="54">
                  <c:v>1305.4116258113656</c:v>
                </c:pt>
              </c:numCache>
            </c:numRef>
          </c:xVal>
          <c:yVal>
            <c:numRef>
              <c:f>Sheet1!$B$187:$B$241</c:f>
              <c:numCache>
                <c:formatCode>General</c:formatCode>
                <c:ptCount val="55"/>
                <c:pt idx="0">
                  <c:v>0.17372492487166913</c:v>
                </c:pt>
                <c:pt idx="1">
                  <c:v>0.17795893789407116</c:v>
                </c:pt>
                <c:pt idx="2">
                  <c:v>0.1807891909165377</c:v>
                </c:pt>
                <c:pt idx="3">
                  <c:v>0.1772781908170049</c:v>
                </c:pt>
                <c:pt idx="4">
                  <c:v>0.1766406215596605</c:v>
                </c:pt>
                <c:pt idx="5">
                  <c:v>0.17441368073787736</c:v>
                </c:pt>
                <c:pt idx="6">
                  <c:v>0.1858652709115797</c:v>
                </c:pt>
                <c:pt idx="7">
                  <c:v>0.1748215652184218</c:v>
                </c:pt>
                <c:pt idx="8">
                  <c:v>0.16149583547878182</c:v>
                </c:pt>
                <c:pt idx="9">
                  <c:v>0.1679125502972305</c:v>
                </c:pt>
                <c:pt idx="10">
                  <c:v>0.16478792867510117</c:v>
                </c:pt>
                <c:pt idx="11">
                  <c:v>0.19182770664903012</c:v>
                </c:pt>
                <c:pt idx="12">
                  <c:v>0.18817102286129603</c:v>
                </c:pt>
                <c:pt idx="13">
                  <c:v>0.1769407438856841</c:v>
                </c:pt>
                <c:pt idx="14">
                  <c:v>0.1775852441448118</c:v>
                </c:pt>
                <c:pt idx="15">
                  <c:v>0.17143417903825398</c:v>
                </c:pt>
                <c:pt idx="16">
                  <c:v>0.16446091140914326</c:v>
                </c:pt>
                <c:pt idx="17">
                  <c:v>0.16821844293095886</c:v>
                </c:pt>
                <c:pt idx="18">
                  <c:v>0.16746959627417002</c:v>
                </c:pt>
                <c:pt idx="19">
                  <c:v>0.14852032030532664</c:v>
                </c:pt>
                <c:pt idx="20">
                  <c:v>0.1480383172171951</c:v>
                </c:pt>
                <c:pt idx="21">
                  <c:v>0.16249642009986298</c:v>
                </c:pt>
                <c:pt idx="22">
                  <c:v>0.17251521634032224</c:v>
                </c:pt>
                <c:pt idx="23">
                  <c:v>0.17308068991404507</c:v>
                </c:pt>
                <c:pt idx="24">
                  <c:v>0.17158150427950922</c:v>
                </c:pt>
                <c:pt idx="25">
                  <c:v>0.18025328187912978</c:v>
                </c:pt>
                <c:pt idx="26">
                  <c:v>0.16732086161867654</c:v>
                </c:pt>
                <c:pt idx="27">
                  <c:v>0.16311951384391352</c:v>
                </c:pt>
                <c:pt idx="28">
                  <c:v>0.16758045914001501</c:v>
                </c:pt>
                <c:pt idx="29">
                  <c:v>0.16563185275826678</c:v>
                </c:pt>
                <c:pt idx="30">
                  <c:v>0.17339231969279023</c:v>
                </c:pt>
                <c:pt idx="31">
                  <c:v>0.18799448129194943</c:v>
                </c:pt>
                <c:pt idx="32">
                  <c:v>0.1814741496549747</c:v>
                </c:pt>
                <c:pt idx="33">
                  <c:v>0.17190371295571313</c:v>
                </c:pt>
                <c:pt idx="34">
                  <c:v>0.16602139827237022</c:v>
                </c:pt>
                <c:pt idx="35">
                  <c:v>0.17073630343285717</c:v>
                </c:pt>
                <c:pt idx="36">
                  <c:v>0.1666599624103534</c:v>
                </c:pt>
                <c:pt idx="37">
                  <c:v>0.15581442035909096</c:v>
                </c:pt>
                <c:pt idx="38">
                  <c:v>0.159529370989568</c:v>
                </c:pt>
                <c:pt idx="39">
                  <c:v>0.16753512574557586</c:v>
                </c:pt>
                <c:pt idx="40">
                  <c:v>0.16129370889567532</c:v>
                </c:pt>
                <c:pt idx="41">
                  <c:v>0.15065108933203036</c:v>
                </c:pt>
                <c:pt idx="42">
                  <c:v>0.15194290867876228</c:v>
                </c:pt>
                <c:pt idx="43">
                  <c:v>0.15276356913632508</c:v>
                </c:pt>
                <c:pt idx="44">
                  <c:v>0.16107783637841006</c:v>
                </c:pt>
                <c:pt idx="45">
                  <c:v>0.1691107679571998</c:v>
                </c:pt>
                <c:pt idx="46">
                  <c:v>0.16939948231856572</c:v>
                </c:pt>
                <c:pt idx="47">
                  <c:v>0.17440452783600083</c:v>
                </c:pt>
                <c:pt idx="48">
                  <c:v>0.17601374726918267</c:v>
                </c:pt>
                <c:pt idx="49">
                  <c:v>0.17176180981393907</c:v>
                </c:pt>
                <c:pt idx="50">
                  <c:v>0.19276937775495318</c:v>
                </c:pt>
                <c:pt idx="51">
                  <c:v>0.19825874774867686</c:v>
                </c:pt>
                <c:pt idx="52">
                  <c:v>0.1844681646631304</c:v>
                </c:pt>
                <c:pt idx="53">
                  <c:v>0.19996564353261542</c:v>
                </c:pt>
                <c:pt idx="54">
                  <c:v>0.158444200652977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42.0"/>
          <c:min val="57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524411040232423"/>
          <c:min val="0.1016797312430011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7823827546353854</c:v>
                </c:pt>
                <c:pt idx="1">
                  <c:v>0.21767929258539057</c:v>
                </c:pt>
                <c:pt idx="2">
                  <c:v>0.21265779386881956</c:v>
                </c:pt>
                <c:pt idx="3">
                  <c:v>0.21576618881106643</c:v>
                </c:pt>
                <c:pt idx="4">
                  <c:v>0.20368919658865764</c:v>
                </c:pt>
                <c:pt idx="5">
                  <c:v>0.20746076054652865</c:v>
                </c:pt>
                <c:pt idx="6">
                  <c:v>0.21523220639645108</c:v>
                </c:pt>
                <c:pt idx="7">
                  <c:v>0.20477541249080874</c:v>
                </c:pt>
                <c:pt idx="8">
                  <c:v>0.18613142033131633</c:v>
                </c:pt>
                <c:pt idx="9">
                  <c:v>0.19572827371636292</c:v>
                </c:pt>
                <c:pt idx="10">
                  <c:v>0.20511288492295607</c:v>
                </c:pt>
                <c:pt idx="11">
                  <c:v>0.21622979995046815</c:v>
                </c:pt>
                <c:pt idx="12">
                  <c:v>0.22022922513026513</c:v>
                </c:pt>
                <c:pt idx="13">
                  <c:v>0.2060024236923838</c:v>
                </c:pt>
                <c:pt idx="14">
                  <c:v>0.20253785285600853</c:v>
                </c:pt>
                <c:pt idx="15">
                  <c:v>0.218344717958835</c:v>
                </c:pt>
                <c:pt idx="16">
                  <c:v>0.19950915623861337</c:v>
                </c:pt>
                <c:pt idx="17">
                  <c:v>0.19414602130428246</c:v>
                </c:pt>
                <c:pt idx="18">
                  <c:v>0.19541120555101615</c:v>
                </c:pt>
                <c:pt idx="19">
                  <c:v>0.19974731295885448</c:v>
                </c:pt>
                <c:pt idx="20">
                  <c:v>0.19769746989372766</c:v>
                </c:pt>
                <c:pt idx="21">
                  <c:v>0.1798587030003037</c:v>
                </c:pt>
                <c:pt idx="22">
                  <c:v>0.172328467381491</c:v>
                </c:pt>
                <c:pt idx="23">
                  <c:v>0.1610364208829676</c:v>
                </c:pt>
                <c:pt idx="24">
                  <c:v>0.1783122697595059</c:v>
                </c:pt>
                <c:pt idx="25">
                  <c:v>0.17455164897832068</c:v>
                </c:pt>
                <c:pt idx="26">
                  <c:v>0.1694598733534816</c:v>
                </c:pt>
                <c:pt idx="27">
                  <c:v>0.174298640045039</c:v>
                </c:pt>
                <c:pt idx="28">
                  <c:v>0.16402978568786217</c:v>
                </c:pt>
                <c:pt idx="29">
                  <c:v>0.1619462791302948</c:v>
                </c:pt>
                <c:pt idx="30">
                  <c:v>0.1642893026263019</c:v>
                </c:pt>
                <c:pt idx="31">
                  <c:v>0.16184812437462434</c:v>
                </c:pt>
                <c:pt idx="32">
                  <c:v>0.1536631433241656</c:v>
                </c:pt>
                <c:pt idx="33">
                  <c:v>0.1591635266023599</c:v>
                </c:pt>
                <c:pt idx="34">
                  <c:v>0.19011358564290018</c:v>
                </c:pt>
                <c:pt idx="35">
                  <c:v>0.191859720596092</c:v>
                </c:pt>
                <c:pt idx="36">
                  <c:v>0.1656105163571557</c:v>
                </c:pt>
                <c:pt idx="37">
                  <c:v>0.16741768617577385</c:v>
                </c:pt>
                <c:pt idx="38">
                  <c:v>0.18333317855460382</c:v>
                </c:pt>
                <c:pt idx="39">
                  <c:v>0.19310767488207287</c:v>
                </c:pt>
                <c:pt idx="40">
                  <c:v>0.21862281068784642</c:v>
                </c:pt>
                <c:pt idx="41">
                  <c:v>0.21605306779224212</c:v>
                </c:pt>
                <c:pt idx="42">
                  <c:v>0.2022366893056973</c:v>
                </c:pt>
                <c:pt idx="43">
                  <c:v>0.2137617941174401</c:v>
                </c:pt>
                <c:pt idx="44">
                  <c:v>0.21399950717807992</c:v>
                </c:pt>
                <c:pt idx="45">
                  <c:v>0.21760965025447215</c:v>
                </c:pt>
                <c:pt idx="46">
                  <c:v>0.22246920621626565</c:v>
                </c:pt>
                <c:pt idx="47">
                  <c:v>0.19411743400108508</c:v>
                </c:pt>
                <c:pt idx="48">
                  <c:v>0.24523237925329433</c:v>
                </c:pt>
                <c:pt idx="49">
                  <c:v>0.24986547370407808</c:v>
                </c:pt>
                <c:pt idx="50">
                  <c:v>0.20406075269749172</c:v>
                </c:pt>
                <c:pt idx="51">
                  <c:v>0.19073493920276893</c:v>
                </c:pt>
                <c:pt idx="52">
                  <c:v>0.215281539616155</c:v>
                </c:pt>
                <c:pt idx="53">
                  <c:v>0.2198292560120892</c:v>
                </c:pt>
                <c:pt idx="54">
                  <c:v>0.21832462766816654</c:v>
                </c:pt>
                <c:pt idx="55">
                  <c:v>0.19429679669538927</c:v>
                </c:pt>
                <c:pt idx="56">
                  <c:v>0.20521858121822156</c:v>
                </c:pt>
                <c:pt idx="57">
                  <c:v>0.20330168879244345</c:v>
                </c:pt>
                <c:pt idx="58">
                  <c:v>0.2127611676426841</c:v>
                </c:pt>
                <c:pt idx="59">
                  <c:v>0.23689893271279486</c:v>
                </c:pt>
                <c:pt idx="60">
                  <c:v>0.22921114966013068</c:v>
                </c:pt>
                <c:pt idx="61">
                  <c:v>0.22121553735800334</c:v>
                </c:pt>
                <c:pt idx="62">
                  <c:v>0.2546564233110288</c:v>
                </c:pt>
                <c:pt idx="63">
                  <c:v>0.2490136934722291</c:v>
                </c:pt>
                <c:pt idx="64">
                  <c:v>0.24980234020046638</c:v>
                </c:pt>
                <c:pt idx="65">
                  <c:v>0.2156392007713047</c:v>
                </c:pt>
                <c:pt idx="66">
                  <c:v>0.2060739014776412</c:v>
                </c:pt>
                <c:pt idx="67">
                  <c:v>0.22800481256769478</c:v>
                </c:pt>
                <c:pt idx="68">
                  <c:v>0.194010226608628</c:v>
                </c:pt>
                <c:pt idx="69">
                  <c:v>0.16635723272622197</c:v>
                </c:pt>
                <c:pt idx="70">
                  <c:v>0.15123635414274025</c:v>
                </c:pt>
                <c:pt idx="71">
                  <c:v>0.16989928834552123</c:v>
                </c:pt>
                <c:pt idx="72">
                  <c:v>0.19007029565725084</c:v>
                </c:pt>
                <c:pt idx="73">
                  <c:v>0.1768794172709622</c:v>
                </c:pt>
                <c:pt idx="74">
                  <c:v>0.17642378891813493</c:v>
                </c:pt>
                <c:pt idx="75">
                  <c:v>0.17083123814636506</c:v>
                </c:pt>
                <c:pt idx="76">
                  <c:v>0.15785790234801614</c:v>
                </c:pt>
                <c:pt idx="77">
                  <c:v>0.16384853070017688</c:v>
                </c:pt>
                <c:pt idx="78">
                  <c:v>0.16697820054128398</c:v>
                </c:pt>
                <c:pt idx="79">
                  <c:v>0.10377360546992027</c:v>
                </c:pt>
                <c:pt idx="80">
                  <c:v>0.1009351095851225</c:v>
                </c:pt>
                <c:pt idx="81">
                  <c:v>0.15145989218536615</c:v>
                </c:pt>
                <c:pt idx="82">
                  <c:v>0.15120928279350712</c:v>
                </c:pt>
                <c:pt idx="83">
                  <c:v>0.1404287717960395</c:v>
                </c:pt>
                <c:pt idx="84">
                  <c:v>0.1305173263288281</c:v>
                </c:pt>
                <c:pt idx="85">
                  <c:v>0.15158894273350776</c:v>
                </c:pt>
                <c:pt idx="86">
                  <c:v>0.18187224734943078</c:v>
                </c:pt>
                <c:pt idx="87">
                  <c:v>0.1940720360346348</c:v>
                </c:pt>
                <c:pt idx="88">
                  <c:v>0.15521397027036699</c:v>
                </c:pt>
                <c:pt idx="89">
                  <c:v>0.1440225038034591</c:v>
                </c:pt>
                <c:pt idx="90">
                  <c:v>0.15931539712913734</c:v>
                </c:pt>
                <c:pt idx="91">
                  <c:v>0.17348717751803813</c:v>
                </c:pt>
                <c:pt idx="92">
                  <c:v>0.18436561551690483</c:v>
                </c:pt>
                <c:pt idx="93">
                  <c:v>0.172421071958101</c:v>
                </c:pt>
                <c:pt idx="94">
                  <c:v>0.17612064783264253</c:v>
                </c:pt>
                <c:pt idx="95">
                  <c:v>0.17218062891621871</c:v>
                </c:pt>
                <c:pt idx="96">
                  <c:v>0.18371616163252288</c:v>
                </c:pt>
                <c:pt idx="97">
                  <c:v>0.19702658089424868</c:v>
                </c:pt>
                <c:pt idx="98">
                  <c:v>0.2025751269997795</c:v>
                </c:pt>
                <c:pt idx="99">
                  <c:v>0.21613588269461764</c:v>
                </c:pt>
                <c:pt idx="100">
                  <c:v>0.2274638650360718</c:v>
                </c:pt>
                <c:pt idx="101">
                  <c:v>0.21923003487614223</c:v>
                </c:pt>
                <c:pt idx="102">
                  <c:v>0.2072339389414855</c:v>
                </c:pt>
                <c:pt idx="103">
                  <c:v>0.1791720887342113</c:v>
                </c:pt>
                <c:pt idx="104">
                  <c:v>0.19506501127058726</c:v>
                </c:pt>
              </c:numCache>
            </c:numRef>
          </c:xVal>
          <c:yVal>
            <c:numRef>
              <c:f>Sheet1!$B$2:$B$106</c:f>
              <c:numCache>
                <c:formatCode>General</c:formatCode>
                <c:ptCount val="105"/>
                <c:pt idx="0">
                  <c:v>0.21030715158924204</c:v>
                </c:pt>
                <c:pt idx="1">
                  <c:v>0.21298701298701297</c:v>
                </c:pt>
                <c:pt idx="2">
                  <c:v>0.19188149288187764</c:v>
                </c:pt>
                <c:pt idx="3">
                  <c:v>0.19090721223393264</c:v>
                </c:pt>
                <c:pt idx="4">
                  <c:v>0.19040369315391414</c:v>
                </c:pt>
                <c:pt idx="5">
                  <c:v>0.18118797067477932</c:v>
                </c:pt>
                <c:pt idx="6">
                  <c:v>0.20359223768478837</c:v>
                </c:pt>
                <c:pt idx="7">
                  <c:v>0.20028392958546282</c:v>
                </c:pt>
                <c:pt idx="8">
                  <c:v>0.21053270971268906</c:v>
                </c:pt>
                <c:pt idx="9">
                  <c:v>0.21039721134397726</c:v>
                </c:pt>
                <c:pt idx="10">
                  <c:v>0.22042008977725078</c:v>
                </c:pt>
                <c:pt idx="11">
                  <c:v>0.21358106613581065</c:v>
                </c:pt>
                <c:pt idx="12">
                  <c:v>0.21567654719087187</c:v>
                </c:pt>
                <c:pt idx="13">
                  <c:v>0.22556548743128121</c:v>
                </c:pt>
                <c:pt idx="14">
                  <c:v>0.21514723007818998</c:v>
                </c:pt>
                <c:pt idx="15">
                  <c:v>0.21337422099119596</c:v>
                </c:pt>
                <c:pt idx="16">
                  <c:v>0.2021367278513383</c:v>
                </c:pt>
                <c:pt idx="17">
                  <c:v>0.1916417538614848</c:v>
                </c:pt>
                <c:pt idx="18">
                  <c:v>0.17514358867898416</c:v>
                </c:pt>
                <c:pt idx="19">
                  <c:v>0.16184781718404456</c:v>
                </c:pt>
                <c:pt idx="20">
                  <c:v>0.174278038952317</c:v>
                </c:pt>
                <c:pt idx="21">
                  <c:v>0.17816586373021334</c:v>
                </c:pt>
                <c:pt idx="22">
                  <c:v>0.17713299358868978</c:v>
                </c:pt>
                <c:pt idx="23">
                  <c:v>0.18507202095154954</c:v>
                </c:pt>
                <c:pt idx="24">
                  <c:v>0.18752479961907786</c:v>
                </c:pt>
                <c:pt idx="25">
                  <c:v>0.18773318773318773</c:v>
                </c:pt>
                <c:pt idx="26">
                  <c:v>0.192</c:v>
                </c:pt>
                <c:pt idx="27">
                  <c:v>0.17932890155112377</c:v>
                </c:pt>
                <c:pt idx="28">
                  <c:v>0.17864642222581167</c:v>
                </c:pt>
                <c:pt idx="29">
                  <c:v>0.20309249757315212</c:v>
                </c:pt>
                <c:pt idx="30">
                  <c:v>0.18293125340105207</c:v>
                </c:pt>
                <c:pt idx="31">
                  <c:v>0.17864829961256995</c:v>
                </c:pt>
                <c:pt idx="32">
                  <c:v>0.1871335232032166</c:v>
                </c:pt>
                <c:pt idx="33">
                  <c:v>0.20930232558139536</c:v>
                </c:pt>
                <c:pt idx="34">
                  <c:v>0.1992973309911033</c:v>
                </c:pt>
                <c:pt idx="35">
                  <c:v>0.1956752736159813</c:v>
                </c:pt>
                <c:pt idx="36">
                  <c:v>0.15181646844739066</c:v>
                </c:pt>
                <c:pt idx="37">
                  <c:v>0.14250182882223847</c:v>
                </c:pt>
                <c:pt idx="38">
                  <c:v>0.13718112724809994</c:v>
                </c:pt>
                <c:pt idx="39">
                  <c:v>0.13833099797602366</c:v>
                </c:pt>
                <c:pt idx="40">
                  <c:v>0.13867644270273688</c:v>
                </c:pt>
                <c:pt idx="41">
                  <c:v>0.1270996640537514</c:v>
                </c:pt>
                <c:pt idx="42">
                  <c:v>0.13326508490906902</c:v>
                </c:pt>
                <c:pt idx="43">
                  <c:v>0.13675121424716677</c:v>
                </c:pt>
                <c:pt idx="44">
                  <c:v>0.16124158769399807</c:v>
                </c:pt>
                <c:pt idx="45">
                  <c:v>0.1861608385121974</c:v>
                </c:pt>
                <c:pt idx="46">
                  <c:v>0.1937179063691781</c:v>
                </c:pt>
                <c:pt idx="47">
                  <c:v>0.19532088430993774</c:v>
                </c:pt>
                <c:pt idx="48">
                  <c:v>0.21233782239451454</c:v>
                </c:pt>
                <c:pt idx="49">
                  <c:v>0.24603675866860356</c:v>
                </c:pt>
                <c:pt idx="50">
                  <c:v>0.20786180373861235</c:v>
                </c:pt>
                <c:pt idx="51">
                  <c:v>0.18664801119328403</c:v>
                </c:pt>
                <c:pt idx="52">
                  <c:v>0.19997993176801124</c:v>
                </c:pt>
                <c:pt idx="53">
                  <c:v>0.1882059256834179</c:v>
                </c:pt>
                <c:pt idx="54">
                  <c:v>0.1853673948366131</c:v>
                </c:pt>
                <c:pt idx="55">
                  <c:v>0.17528152113716078</c:v>
                </c:pt>
                <c:pt idx="56">
                  <c:v>0.1852655955999421</c:v>
                </c:pt>
                <c:pt idx="57">
                  <c:v>0.18023843200646594</c:v>
                </c:pt>
                <c:pt idx="58">
                  <c:v>0.19915412830301668</c:v>
                </c:pt>
                <c:pt idx="59">
                  <c:v>0.2092832698703427</c:v>
                </c:pt>
                <c:pt idx="60">
                  <c:v>0.22389277072401512</c:v>
                </c:pt>
                <c:pt idx="61">
                  <c:v>0.222672371360418</c:v>
                </c:pt>
                <c:pt idx="62">
                  <c:v>0.22107099622587767</c:v>
                </c:pt>
                <c:pt idx="63">
                  <c:v>0.23888208218815193</c:v>
                </c:pt>
                <c:pt idx="64">
                  <c:v>0.22448180186061695</c:v>
                </c:pt>
                <c:pt idx="65">
                  <c:v>0.2092982083421854</c:v>
                </c:pt>
                <c:pt idx="66">
                  <c:v>0.21225035212539275</c:v>
                </c:pt>
                <c:pt idx="67">
                  <c:v>0.20886051756431329</c:v>
                </c:pt>
                <c:pt idx="68">
                  <c:v>0.18994516381733562</c:v>
                </c:pt>
                <c:pt idx="69">
                  <c:v>0.17577310373592325</c:v>
                </c:pt>
                <c:pt idx="70">
                  <c:v>0.16404162165235686</c:v>
                </c:pt>
                <c:pt idx="71">
                  <c:v>0.17445482866043613</c:v>
                </c:pt>
                <c:pt idx="72">
                  <c:v>0.17299754740683138</c:v>
                </c:pt>
                <c:pt idx="73">
                  <c:v>0.17705832738597288</c:v>
                </c:pt>
                <c:pt idx="74">
                  <c:v>0.17853922452660054</c:v>
                </c:pt>
                <c:pt idx="75">
                  <c:v>0.18282139593730232</c:v>
                </c:pt>
                <c:pt idx="76">
                  <c:v>0.1749961907664178</c:v>
                </c:pt>
                <c:pt idx="77">
                  <c:v>0.17296614850469502</c:v>
                </c:pt>
                <c:pt idx="78">
                  <c:v>0.15853018372703412</c:v>
                </c:pt>
                <c:pt idx="79">
                  <c:v>0.2261861775113743</c:v>
                </c:pt>
                <c:pt idx="80">
                  <c:v>0.2101878612716763</c:v>
                </c:pt>
                <c:pt idx="81">
                  <c:v>0.1694088207694714</c:v>
                </c:pt>
                <c:pt idx="82">
                  <c:v>0.16926466987676486</c:v>
                </c:pt>
                <c:pt idx="83">
                  <c:v>0.14987487255538048</c:v>
                </c:pt>
                <c:pt idx="84">
                  <c:v>0.1537157389092964</c:v>
                </c:pt>
                <c:pt idx="85">
                  <c:v>0.15863306418726042</c:v>
                </c:pt>
                <c:pt idx="86">
                  <c:v>0.1524004465947153</c:v>
                </c:pt>
                <c:pt idx="87">
                  <c:v>0.1689402513850003</c:v>
                </c:pt>
                <c:pt idx="88">
                  <c:v>0.14848762603116408</c:v>
                </c:pt>
                <c:pt idx="89">
                  <c:v>0.14441462596444146</c:v>
                </c:pt>
                <c:pt idx="90">
                  <c:v>0.14172686618507052</c:v>
                </c:pt>
                <c:pt idx="91">
                  <c:v>0.13393232009404651</c:v>
                </c:pt>
                <c:pt idx="92">
                  <c:v>0.14259086672879775</c:v>
                </c:pt>
                <c:pt idx="93">
                  <c:v>0.13648551435484926</c:v>
                </c:pt>
                <c:pt idx="94">
                  <c:v>0.14039841804599384</c:v>
                </c:pt>
                <c:pt idx="95">
                  <c:v>0.14438761776581427</c:v>
                </c:pt>
                <c:pt idx="96">
                  <c:v>0.1441160471441523</c:v>
                </c:pt>
                <c:pt idx="97">
                  <c:v>0.1554780494048381</c:v>
                </c:pt>
                <c:pt idx="98">
                  <c:v>0.17081260364842454</c:v>
                </c:pt>
                <c:pt idx="99">
                  <c:v>0.17867754563033533</c:v>
                </c:pt>
                <c:pt idx="100">
                  <c:v>0.19638028243694658</c:v>
                </c:pt>
                <c:pt idx="101">
                  <c:v>0.18430480700333343</c:v>
                </c:pt>
                <c:pt idx="102">
                  <c:v>0.15521151330135194</c:v>
                </c:pt>
                <c:pt idx="103">
                  <c:v>0.17430878208545966</c:v>
                </c:pt>
                <c:pt idx="104">
                  <c:v>0.1768059102517329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456170270545603</c:v>
                </c:pt>
                <c:pt idx="1">
                  <c:v>0.2289395213506815</c:v>
                </c:pt>
                <c:pt idx="2">
                  <c:v>0.21938612907586905</c:v>
                </c:pt>
                <c:pt idx="3">
                  <c:v>0.21991770298776117</c:v>
                </c:pt>
                <c:pt idx="4">
                  <c:v>0.2016188474929021</c:v>
                </c:pt>
                <c:pt idx="5">
                  <c:v>0.222653564173801</c:v>
                </c:pt>
                <c:pt idx="6">
                  <c:v>0.21351856777942724</c:v>
                </c:pt>
                <c:pt idx="7">
                  <c:v>0.19973544991061382</c:v>
                </c:pt>
                <c:pt idx="8">
                  <c:v>0.2475873172019959</c:v>
                </c:pt>
                <c:pt idx="9">
                  <c:v>0.23330794245928047</c:v>
                </c:pt>
                <c:pt idx="10">
                  <c:v>0.22706178183717404</c:v>
                </c:pt>
                <c:pt idx="11">
                  <c:v>0.20484053242513414</c:v>
                </c:pt>
                <c:pt idx="12">
                  <c:v>0.20264576631269204</c:v>
                </c:pt>
                <c:pt idx="13">
                  <c:v>0.21104965525258615</c:v>
                </c:pt>
                <c:pt idx="14">
                  <c:v>0.20949280928630126</c:v>
                </c:pt>
                <c:pt idx="15">
                  <c:v>0.20654181745216177</c:v>
                </c:pt>
                <c:pt idx="16">
                  <c:v>0.1950058879342775</c:v>
                </c:pt>
                <c:pt idx="17">
                  <c:v>0.18601220218189218</c:v>
                </c:pt>
                <c:pt idx="18">
                  <c:v>0.17406107723994513</c:v>
                </c:pt>
                <c:pt idx="19">
                  <c:v>0.20005478840232532</c:v>
                </c:pt>
                <c:pt idx="20">
                  <c:v>0.18271657111150483</c:v>
                </c:pt>
                <c:pt idx="21">
                  <c:v>0.16745931748298384</c:v>
                </c:pt>
                <c:pt idx="22">
                  <c:v>0.15710217079080246</c:v>
                </c:pt>
                <c:pt idx="23">
                  <c:v>0.17504748710432536</c:v>
                </c:pt>
                <c:pt idx="24">
                  <c:v>0.16389382413122047</c:v>
                </c:pt>
                <c:pt idx="25">
                  <c:v>0.15699181293582248</c:v>
                </c:pt>
                <c:pt idx="26">
                  <c:v>0.1694048844311622</c:v>
                </c:pt>
                <c:pt idx="27">
                  <c:v>0.17497018165677858</c:v>
                </c:pt>
                <c:pt idx="28">
                  <c:v>0.1843366319341728</c:v>
                </c:pt>
                <c:pt idx="29">
                  <c:v>0.16679333685053005</c:v>
                </c:pt>
                <c:pt idx="30">
                  <c:v>0.16018641741063513</c:v>
                </c:pt>
                <c:pt idx="31">
                  <c:v>0.14649335273949846</c:v>
                </c:pt>
                <c:pt idx="32">
                  <c:v>0.16269207449682363</c:v>
                </c:pt>
                <c:pt idx="33">
                  <c:v>0.1788460052302244</c:v>
                </c:pt>
                <c:pt idx="34">
                  <c:v>0.201673633348267</c:v>
                </c:pt>
                <c:pt idx="35">
                  <c:v>0.15727314908851203</c:v>
                </c:pt>
                <c:pt idx="36">
                  <c:v>0.13565490038093683</c:v>
                </c:pt>
                <c:pt idx="37">
                  <c:v>0.14785695504050061</c:v>
                </c:pt>
                <c:pt idx="38">
                  <c:v>0.14807477960080015</c:v>
                </c:pt>
                <c:pt idx="39">
                  <c:v>0.15609540059145693</c:v>
                </c:pt>
                <c:pt idx="40">
                  <c:v>0.17073864809247372</c:v>
                </c:pt>
                <c:pt idx="41">
                  <c:v>0.17849294306569746</c:v>
                </c:pt>
                <c:pt idx="42">
                  <c:v>0.17493819034078248</c:v>
                </c:pt>
                <c:pt idx="43">
                  <c:v>0.19161450503501437</c:v>
                </c:pt>
                <c:pt idx="44">
                  <c:v>0.19207549617090802</c:v>
                </c:pt>
                <c:pt idx="45">
                  <c:v>0.1941229685453736</c:v>
                </c:pt>
                <c:pt idx="46">
                  <c:v>0.18402930340488638</c:v>
                </c:pt>
                <c:pt idx="47">
                  <c:v>0.17159169070968308</c:v>
                </c:pt>
                <c:pt idx="48">
                  <c:v>0.17561972235714515</c:v>
                </c:pt>
                <c:pt idx="49">
                  <c:v>0.21092408193530615</c:v>
                </c:pt>
                <c:pt idx="50">
                  <c:v>0.20937380959715166</c:v>
                </c:pt>
                <c:pt idx="51">
                  <c:v>0.17461737792991744</c:v>
                </c:pt>
              </c:numCache>
            </c:numRef>
          </c:xVal>
          <c:yVal>
            <c:numRef>
              <c:f>Sheet1!$B$109:$B$160</c:f>
              <c:numCache>
                <c:formatCode>General</c:formatCode>
                <c:ptCount val="52"/>
                <c:pt idx="0">
                  <c:v>0.1696125907990315</c:v>
                </c:pt>
                <c:pt idx="1">
                  <c:v>0.1799104286628279</c:v>
                </c:pt>
                <c:pt idx="2">
                  <c:v>0.1882895378041009</c:v>
                </c:pt>
                <c:pt idx="3">
                  <c:v>0.2025717264548017</c:v>
                </c:pt>
                <c:pt idx="4">
                  <c:v>0.19036715357283854</c:v>
                </c:pt>
                <c:pt idx="5">
                  <c:v>0.1883741612094753</c:v>
                </c:pt>
                <c:pt idx="6">
                  <c:v>0.1853735531392494</c:v>
                </c:pt>
                <c:pt idx="7">
                  <c:v>0.17800038528221923</c:v>
                </c:pt>
                <c:pt idx="8">
                  <c:v>0.17771394504362908</c:v>
                </c:pt>
                <c:pt idx="9">
                  <c:v>0.18665271132376396</c:v>
                </c:pt>
                <c:pt idx="10">
                  <c:v>0.19376186073670382</c:v>
                </c:pt>
                <c:pt idx="11">
                  <c:v>0.20784165751920966</c:v>
                </c:pt>
                <c:pt idx="12">
                  <c:v>0.20951877743456349</c:v>
                </c:pt>
                <c:pt idx="13">
                  <c:v>0.19814417647831226</c:v>
                </c:pt>
                <c:pt idx="14">
                  <c:v>0.20124253285543608</c:v>
                </c:pt>
                <c:pt idx="15">
                  <c:v>0.18858176181865152</c:v>
                </c:pt>
                <c:pt idx="16">
                  <c:v>0.16970213802765427</c:v>
                </c:pt>
                <c:pt idx="17">
                  <c:v>0.15518128053484187</c:v>
                </c:pt>
                <c:pt idx="18">
                  <c:v>0.1502881520844248</c:v>
                </c:pt>
                <c:pt idx="19">
                  <c:v>0.157272860707471</c:v>
                </c:pt>
                <c:pt idx="20">
                  <c:v>0.1460418192173135</c:v>
                </c:pt>
                <c:pt idx="21">
                  <c:v>0.15542436852801703</c:v>
                </c:pt>
                <c:pt idx="22">
                  <c:v>0.16148597422289612</c:v>
                </c:pt>
                <c:pt idx="23">
                  <c:v>0.16593756213959038</c:v>
                </c:pt>
                <c:pt idx="24">
                  <c:v>0.15968992248062017</c:v>
                </c:pt>
                <c:pt idx="25">
                  <c:v>0.16526772793053546</c:v>
                </c:pt>
                <c:pt idx="26">
                  <c:v>0.1439575033200531</c:v>
                </c:pt>
                <c:pt idx="27">
                  <c:v>0.14356673609998397</c:v>
                </c:pt>
                <c:pt idx="28">
                  <c:v>0.1543013856812933</c:v>
                </c:pt>
                <c:pt idx="29">
                  <c:v>0.15728375665531988</c:v>
                </c:pt>
                <c:pt idx="30">
                  <c:v>0.1659631791647957</c:v>
                </c:pt>
                <c:pt idx="31">
                  <c:v>0.16738361533314214</c:v>
                </c:pt>
                <c:pt idx="32">
                  <c:v>0.17072766451185148</c:v>
                </c:pt>
                <c:pt idx="33">
                  <c:v>0.18749190728991325</c:v>
                </c:pt>
                <c:pt idx="34">
                  <c:v>0.20933340460790079</c:v>
                </c:pt>
                <c:pt idx="35">
                  <c:v>0.20136381869233855</c:v>
                </c:pt>
                <c:pt idx="36">
                  <c:v>0.17013669821240798</c:v>
                </c:pt>
                <c:pt idx="37">
                  <c:v>0.1519192304028955</c:v>
                </c:pt>
                <c:pt idx="38">
                  <c:v>0.15699152542372882</c:v>
                </c:pt>
                <c:pt idx="39">
                  <c:v>0.17547272585790988</c:v>
                </c:pt>
                <c:pt idx="40">
                  <c:v>0.15525388134703366</c:v>
                </c:pt>
                <c:pt idx="41">
                  <c:v>0.1563388288800455</c:v>
                </c:pt>
                <c:pt idx="42">
                  <c:v>0.15529659302419682</c:v>
                </c:pt>
                <c:pt idx="43">
                  <c:v>0.14629695042976568</c:v>
                </c:pt>
                <c:pt idx="44">
                  <c:v>0.13895062324862306</c:v>
                </c:pt>
                <c:pt idx="45">
                  <c:v>0.1540945217144479</c:v>
                </c:pt>
                <c:pt idx="46">
                  <c:v>0.1499685995394599</c:v>
                </c:pt>
                <c:pt idx="47">
                  <c:v>0.15169280944246</c:v>
                </c:pt>
                <c:pt idx="48">
                  <c:v>0.14248446004702245</c:v>
                </c:pt>
                <c:pt idx="49">
                  <c:v>0.15973649220355374</c:v>
                </c:pt>
                <c:pt idx="50">
                  <c:v>0.19359691025510722</c:v>
                </c:pt>
                <c:pt idx="51">
                  <c:v>0.180591212499083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6655695317026906</c:v>
                </c:pt>
              </c:numCache>
            </c:numRef>
          </c:xVal>
          <c:yVal>
            <c:numRef>
              <c:f>Sheet1!$B$163:$B$164</c:f>
              <c:numCache>
                <c:formatCode>General</c:formatCode>
                <c:ptCount val="2"/>
                <c:pt idx="0">
                  <c:v>0.1999656435326154</c:v>
                </c:pt>
                <c:pt idx="1">
                  <c:v>0.199965643532615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6655695317026906</c:v>
                </c:pt>
                <c:pt idx="1">
                  <c:v>0.26655695317026906</c:v>
                </c:pt>
              </c:numCache>
            </c:numRef>
          </c:xVal>
          <c:yVal>
            <c:numRef>
              <c:f>Sheet1!$B$167:$B$168</c:f>
              <c:numCache>
                <c:formatCode>General</c:formatCode>
                <c:ptCount val="2"/>
                <c:pt idx="0">
                  <c:v>0.19996564353261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2479817851520664</c:v>
                </c:pt>
              </c:numCache>
            </c:numRef>
          </c:xVal>
          <c:yVal>
            <c:numRef>
              <c:f>Sheet1!$B$171:$B$172</c:f>
              <c:numCache>
                <c:formatCode>General</c:formatCode>
                <c:ptCount val="2"/>
                <c:pt idx="0">
                  <c:v>0.1844681646631304</c:v>
                </c:pt>
                <c:pt idx="1">
                  <c:v>0.184468164663130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2479817851520664</c:v>
                </c:pt>
                <c:pt idx="1">
                  <c:v>0.22479817851520664</c:v>
                </c:pt>
              </c:numCache>
            </c:numRef>
          </c:xVal>
          <c:yVal>
            <c:numRef>
              <c:f>Sheet1!$B$175:$B$176</c:f>
              <c:numCache>
                <c:formatCode>General</c:formatCode>
                <c:ptCount val="2"/>
                <c:pt idx="0">
                  <c:v>0.18446816466313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5467523413931672</c:v>
                </c:pt>
              </c:numCache>
            </c:numRef>
          </c:xVal>
          <c:yVal>
            <c:numRef>
              <c:f>Sheet1!$B$179:$B$180</c:f>
              <c:numCache>
                <c:formatCode>General</c:formatCode>
                <c:ptCount val="2"/>
                <c:pt idx="0">
                  <c:v>0.1584442006529776</c:v>
                </c:pt>
                <c:pt idx="1">
                  <c:v>0.158444200652977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5467523413931672</c:v>
                </c:pt>
                <c:pt idx="1">
                  <c:v>0.15467523413931672</c:v>
                </c:pt>
              </c:numCache>
            </c:numRef>
          </c:xVal>
          <c:yVal>
            <c:numRef>
              <c:f>Sheet1!$B$183:$B$184</c:f>
              <c:numCache>
                <c:formatCode>General</c:formatCode>
                <c:ptCount val="2"/>
                <c:pt idx="0">
                  <c:v>0.158444200652977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456170270545603</c:v>
                </c:pt>
                <c:pt idx="1">
                  <c:v>0.2289395213506815</c:v>
                </c:pt>
                <c:pt idx="2">
                  <c:v>0.21938612907586905</c:v>
                </c:pt>
                <c:pt idx="3">
                  <c:v>0.21991770298776117</c:v>
                </c:pt>
                <c:pt idx="4">
                  <c:v>0.2016188474929021</c:v>
                </c:pt>
                <c:pt idx="5">
                  <c:v>0.222653564173801</c:v>
                </c:pt>
                <c:pt idx="6">
                  <c:v>0.21351856777942724</c:v>
                </c:pt>
                <c:pt idx="7">
                  <c:v>0.19973544991061382</c:v>
                </c:pt>
                <c:pt idx="8">
                  <c:v>0.2475873172019959</c:v>
                </c:pt>
                <c:pt idx="9">
                  <c:v>0.23330794245928047</c:v>
                </c:pt>
                <c:pt idx="10">
                  <c:v>0.22706178183717404</c:v>
                </c:pt>
                <c:pt idx="11">
                  <c:v>0.20484053242513414</c:v>
                </c:pt>
                <c:pt idx="12">
                  <c:v>0.20264576631269204</c:v>
                </c:pt>
                <c:pt idx="13">
                  <c:v>0.21104965525258615</c:v>
                </c:pt>
                <c:pt idx="14">
                  <c:v>0.20949280928630126</c:v>
                </c:pt>
                <c:pt idx="15">
                  <c:v>0.20654181745216177</c:v>
                </c:pt>
                <c:pt idx="16">
                  <c:v>0.1950058879342775</c:v>
                </c:pt>
                <c:pt idx="17">
                  <c:v>0.18601220218189218</c:v>
                </c:pt>
                <c:pt idx="18">
                  <c:v>0.17406107723994513</c:v>
                </c:pt>
                <c:pt idx="19">
                  <c:v>0.20005478840232532</c:v>
                </c:pt>
                <c:pt idx="20">
                  <c:v>0.18271657111150483</c:v>
                </c:pt>
                <c:pt idx="21">
                  <c:v>0.16745931748298384</c:v>
                </c:pt>
                <c:pt idx="22">
                  <c:v>0.15710217079080246</c:v>
                </c:pt>
                <c:pt idx="23">
                  <c:v>0.17504748710432536</c:v>
                </c:pt>
                <c:pt idx="24">
                  <c:v>0.16389382413122047</c:v>
                </c:pt>
                <c:pt idx="25">
                  <c:v>0.15699181293582248</c:v>
                </c:pt>
                <c:pt idx="26">
                  <c:v>0.1694048844311622</c:v>
                </c:pt>
                <c:pt idx="27">
                  <c:v>0.17497018165677858</c:v>
                </c:pt>
                <c:pt idx="28">
                  <c:v>0.1843366319341728</c:v>
                </c:pt>
                <c:pt idx="29">
                  <c:v>0.16679333685053005</c:v>
                </c:pt>
                <c:pt idx="30">
                  <c:v>0.16018641741063513</c:v>
                </c:pt>
                <c:pt idx="31">
                  <c:v>0.14649335273949846</c:v>
                </c:pt>
                <c:pt idx="32">
                  <c:v>0.16269207449682363</c:v>
                </c:pt>
                <c:pt idx="33">
                  <c:v>0.1788460052302244</c:v>
                </c:pt>
                <c:pt idx="34">
                  <c:v>0.201673633348267</c:v>
                </c:pt>
                <c:pt idx="35">
                  <c:v>0.15727314908851203</c:v>
                </c:pt>
                <c:pt idx="36">
                  <c:v>0.13565490038093683</c:v>
                </c:pt>
                <c:pt idx="37">
                  <c:v>0.14785695504050061</c:v>
                </c:pt>
                <c:pt idx="38">
                  <c:v>0.14807477960080015</c:v>
                </c:pt>
                <c:pt idx="39">
                  <c:v>0.15609540059145693</c:v>
                </c:pt>
                <c:pt idx="40">
                  <c:v>0.17073864809247372</c:v>
                </c:pt>
                <c:pt idx="41">
                  <c:v>0.17849294306569746</c:v>
                </c:pt>
                <c:pt idx="42">
                  <c:v>0.17493819034078248</c:v>
                </c:pt>
                <c:pt idx="43">
                  <c:v>0.19161450503501437</c:v>
                </c:pt>
                <c:pt idx="44">
                  <c:v>0.19207549617090802</c:v>
                </c:pt>
                <c:pt idx="45">
                  <c:v>0.1941229685453736</c:v>
                </c:pt>
                <c:pt idx="46">
                  <c:v>0.18402930340488638</c:v>
                </c:pt>
                <c:pt idx="47">
                  <c:v>0.17159169070968308</c:v>
                </c:pt>
                <c:pt idx="48">
                  <c:v>0.17561972235714515</c:v>
                </c:pt>
                <c:pt idx="49">
                  <c:v>0.21092408193530615</c:v>
                </c:pt>
                <c:pt idx="50">
                  <c:v>0.20937380959715166</c:v>
                </c:pt>
                <c:pt idx="51">
                  <c:v>0.17461737792991744</c:v>
                </c:pt>
                <c:pt idx="52">
                  <c:v>0.22479817851520664</c:v>
                </c:pt>
                <c:pt idx="53">
                  <c:v>0.26655695317026906</c:v>
                </c:pt>
                <c:pt idx="54">
                  <c:v>0.15467523413931672</c:v>
                </c:pt>
              </c:numCache>
            </c:numRef>
          </c:xVal>
          <c:yVal>
            <c:numRef>
              <c:f>Sheet1!$B$187:$B$241</c:f>
              <c:numCache>
                <c:formatCode>General</c:formatCode>
                <c:ptCount val="55"/>
                <c:pt idx="0">
                  <c:v>0.18438040397343042</c:v>
                </c:pt>
                <c:pt idx="1">
                  <c:v>0.18600509608926086</c:v>
                </c:pt>
                <c:pt idx="2">
                  <c:v>0.18245964974573747</c:v>
                </c:pt>
                <c:pt idx="3">
                  <c:v>0.18265692697753286</c:v>
                </c:pt>
                <c:pt idx="4">
                  <c:v>0.17586587219420102</c:v>
                </c:pt>
                <c:pt idx="5">
                  <c:v>0.18367225731877784</c:v>
                </c:pt>
                <c:pt idx="6">
                  <c:v>0.18028208567787057</c:v>
                </c:pt>
                <c:pt idx="7">
                  <c:v>0.17516690737841198</c:v>
                </c:pt>
                <c:pt idx="8">
                  <c:v>0.19292564930365408</c:v>
                </c:pt>
                <c:pt idx="9">
                  <c:v>0.18762630059975569</c:v>
                </c:pt>
                <c:pt idx="10">
                  <c:v>0.1853082310908658</c:v>
                </c:pt>
                <c:pt idx="11">
                  <c:v>0.17706150100691936</c:v>
                </c:pt>
                <c:pt idx="12">
                  <c:v>0.17624698138243344</c:v>
                </c:pt>
                <c:pt idx="13">
                  <c:v>0.17936582508278898</c:v>
                </c:pt>
                <c:pt idx="14">
                  <c:v>0.17878804980885338</c:v>
                </c:pt>
                <c:pt idx="15">
                  <c:v>0.1776928803750909</c:v>
                </c:pt>
                <c:pt idx="16">
                  <c:v>0.17341167659408852</c:v>
                </c:pt>
                <c:pt idx="17">
                  <c:v>0.17007394803146456</c:v>
                </c:pt>
                <c:pt idx="18">
                  <c:v>0.16563865729833605</c:v>
                </c:pt>
                <c:pt idx="19">
                  <c:v>0.17528541999206965</c:v>
                </c:pt>
                <c:pt idx="20">
                  <c:v>0.1688508763945013</c:v>
                </c:pt>
                <c:pt idx="21">
                  <c:v>0.16318861815853766</c:v>
                </c:pt>
                <c:pt idx="22">
                  <c:v>0.15934488319897322</c:v>
                </c:pt>
                <c:pt idx="23">
                  <c:v>0.16600473283949255</c:v>
                </c:pt>
                <c:pt idx="24">
                  <c:v>0.16186539547457074</c:v>
                </c:pt>
                <c:pt idx="25">
                  <c:v>0.15930392729114878</c:v>
                </c:pt>
                <c:pt idx="26">
                  <c:v>0.16391065521344697</c:v>
                </c:pt>
                <c:pt idx="27">
                  <c:v>0.16597604331136945</c:v>
                </c:pt>
                <c:pt idx="28">
                  <c:v>0.16945211190904805</c:v>
                </c:pt>
                <c:pt idx="29">
                  <c:v>0.16294146002556578</c:v>
                </c:pt>
                <c:pt idx="30">
                  <c:v>0.16048950602888049</c:v>
                </c:pt>
                <c:pt idx="31">
                  <c:v>0.15540774819110098</c:v>
                </c:pt>
                <c:pt idx="32">
                  <c:v>0.16141940323175913</c:v>
                </c:pt>
                <c:pt idx="33">
                  <c:v>0.16741443546792778</c:v>
                </c:pt>
                <c:pt idx="34">
                  <c:v>0.17588620427153992</c:v>
                </c:pt>
                <c:pt idx="35">
                  <c:v>0.15940833651094855</c:v>
                </c:pt>
                <c:pt idx="36">
                  <c:v>0.15138539150577696</c:v>
                </c:pt>
                <c:pt idx="37">
                  <c:v>0.15591380704988503</c:v>
                </c:pt>
                <c:pt idx="38">
                  <c:v>0.1559946459046738</c:v>
                </c:pt>
                <c:pt idx="39">
                  <c:v>0.15897125154862754</c:v>
                </c:pt>
                <c:pt idx="40">
                  <c:v>0.1644056403831221</c:v>
                </c:pt>
                <c:pt idx="41">
                  <c:v>0.16728340735516423</c:v>
                </c:pt>
                <c:pt idx="42">
                  <c:v>0.16596417072296732</c:v>
                </c:pt>
                <c:pt idx="43">
                  <c:v>0.17215306962456406</c:v>
                </c:pt>
                <c:pt idx="44">
                  <c:v>0.17232415224005132</c:v>
                </c:pt>
                <c:pt idx="45">
                  <c:v>0.1730840083450553</c:v>
                </c:pt>
                <c:pt idx="46">
                  <c:v>0.1693380564218373</c:v>
                </c:pt>
                <c:pt idx="47">
                  <c:v>0.16472222079153143</c:v>
                </c:pt>
                <c:pt idx="48">
                  <c:v>0.16621710027154013</c:v>
                </c:pt>
                <c:pt idx="49">
                  <c:v>0.17931922242628878</c:v>
                </c:pt>
                <c:pt idx="50">
                  <c:v>0.1787438867513091</c:v>
                </c:pt>
                <c:pt idx="51">
                  <c:v>0.16584511110975986</c:v>
                </c:pt>
                <c:pt idx="52">
                  <c:v>0.1844681646631304</c:v>
                </c:pt>
                <c:pt idx="53">
                  <c:v>0.1999656435326154</c:v>
                </c:pt>
                <c:pt idx="54">
                  <c:v>0.158444200652977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524411040232423"/>
          <c:min val="0.1016797312430011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5.4024</c:v>
                </c:pt>
                <c:pt idx="1">
                  <c:v>920.5213</c:v>
                </c:pt>
                <c:pt idx="2">
                  <c:v>978.4239</c:v>
                </c:pt>
                <c:pt idx="3">
                  <c:v>998.7876</c:v>
                </c:pt>
                <c:pt idx="4">
                  <c:v>1002.9698</c:v>
                </c:pt>
                <c:pt idx="5">
                  <c:v>1003.4349</c:v>
                </c:pt>
                <c:pt idx="6">
                  <c:v>957.1424</c:v>
                </c:pt>
                <c:pt idx="7">
                  <c:v>985.8319</c:v>
                </c:pt>
                <c:pt idx="8">
                  <c:v>978.2738</c:v>
                </c:pt>
                <c:pt idx="9">
                  <c:v>959.4434</c:v>
                </c:pt>
                <c:pt idx="10">
                  <c:v>965.2686</c:v>
                </c:pt>
                <c:pt idx="11">
                  <c:v>1006.9393</c:v>
                </c:pt>
                <c:pt idx="12">
                  <c:v>1000.8148</c:v>
                </c:pt>
                <c:pt idx="13">
                  <c:v>976.9358</c:v>
                </c:pt>
                <c:pt idx="14">
                  <c:v>980.854</c:v>
                </c:pt>
                <c:pt idx="15">
                  <c:v>985.9047</c:v>
                </c:pt>
                <c:pt idx="16">
                  <c:v>984.2631</c:v>
                </c:pt>
                <c:pt idx="17">
                  <c:v>1001.7215</c:v>
                </c:pt>
                <c:pt idx="18">
                  <c:v>1049.9328</c:v>
                </c:pt>
                <c:pt idx="19">
                  <c:v>1077.2363</c:v>
                </c:pt>
                <c:pt idx="20">
                  <c:v>1069.1202</c:v>
                </c:pt>
                <c:pt idx="21">
                  <c:v>1087.7011</c:v>
                </c:pt>
                <c:pt idx="22">
                  <c:v>1078.6974</c:v>
                </c:pt>
                <c:pt idx="23">
                  <c:v>1060.809</c:v>
                </c:pt>
                <c:pt idx="24">
                  <c:v>1044.8785</c:v>
                </c:pt>
                <c:pt idx="25">
                  <c:v>1028.8129</c:v>
                </c:pt>
                <c:pt idx="26">
                  <c:v>1037.0373</c:v>
                </c:pt>
                <c:pt idx="27">
                  <c:v>1054.5763</c:v>
                </c:pt>
                <c:pt idx="28">
                  <c:v>1047.4182</c:v>
                </c:pt>
                <c:pt idx="29">
                  <c:v>926.3756</c:v>
                </c:pt>
                <c:pt idx="30">
                  <c:v>974.5821</c:v>
                </c:pt>
                <c:pt idx="31">
                  <c:v>995.3827</c:v>
                </c:pt>
                <c:pt idx="32">
                  <c:v>968.4678</c:v>
                </c:pt>
                <c:pt idx="33">
                  <c:v>901.2957</c:v>
                </c:pt>
                <c:pt idx="34">
                  <c:v>996.5638</c:v>
                </c:pt>
                <c:pt idx="35">
                  <c:v>1054.9047</c:v>
                </c:pt>
                <c:pt idx="36">
                  <c:v>1135.8883</c:v>
                </c:pt>
                <c:pt idx="37">
                  <c:v>1128.944</c:v>
                </c:pt>
                <c:pt idx="38">
                  <c:v>1188.4339</c:v>
                </c:pt>
                <c:pt idx="39">
                  <c:v>1192.8818</c:v>
                </c:pt>
                <c:pt idx="40">
                  <c:v>1217.2229</c:v>
                </c:pt>
                <c:pt idx="41">
                  <c:v>1247.0286</c:v>
                </c:pt>
                <c:pt idx="42">
                  <c:v>1293.066</c:v>
                </c:pt>
                <c:pt idx="43">
                  <c:v>1290.97</c:v>
                </c:pt>
                <c:pt idx="44">
                  <c:v>1124.4896</c:v>
                </c:pt>
                <c:pt idx="45">
                  <c:v>1061.8205</c:v>
                </c:pt>
                <c:pt idx="46">
                  <c:v>1056.6621</c:v>
                </c:pt>
                <c:pt idx="47">
                  <c:v>1037.049</c:v>
                </c:pt>
                <c:pt idx="48">
                  <c:v>1041.8563</c:v>
                </c:pt>
                <c:pt idx="49">
                  <c:v>1018.3046</c:v>
                </c:pt>
                <c:pt idx="50">
                  <c:v>1019.4483</c:v>
                </c:pt>
                <c:pt idx="51">
                  <c:v>1046.828</c:v>
                </c:pt>
                <c:pt idx="52">
                  <c:v>1057.0442</c:v>
                </c:pt>
                <c:pt idx="53">
                  <c:v>1110.2264</c:v>
                </c:pt>
                <c:pt idx="54">
                  <c:v>1118.9881</c:v>
                </c:pt>
                <c:pt idx="55">
                  <c:v>1130.1327</c:v>
                </c:pt>
                <c:pt idx="56">
                  <c:v>1154.9161</c:v>
                </c:pt>
                <c:pt idx="57">
                  <c:v>1130.0834</c:v>
                </c:pt>
                <c:pt idx="58">
                  <c:v>1105.4809</c:v>
                </c:pt>
                <c:pt idx="59">
                  <c:v>1088.2499</c:v>
                </c:pt>
                <c:pt idx="60">
                  <c:v>1116.5863</c:v>
                </c:pt>
                <c:pt idx="61">
                  <c:v>1120.4926</c:v>
                </c:pt>
                <c:pt idx="62">
                  <c:v>1098.214</c:v>
                </c:pt>
                <c:pt idx="63">
                  <c:v>1126.664</c:v>
                </c:pt>
                <c:pt idx="64">
                  <c:v>1124.0548</c:v>
                </c:pt>
                <c:pt idx="65">
                  <c:v>1105.6271</c:v>
                </c:pt>
                <c:pt idx="66">
                  <c:v>1061.3012</c:v>
                </c:pt>
                <c:pt idx="67">
                  <c:v>1041.0044</c:v>
                </c:pt>
                <c:pt idx="68">
                  <c:v>1024.6492</c:v>
                </c:pt>
                <c:pt idx="69">
                  <c:v>1029.9953</c:v>
                </c:pt>
                <c:pt idx="70">
                  <c:v>987.9688</c:v>
                </c:pt>
                <c:pt idx="71">
                  <c:v>1050.9577</c:v>
                </c:pt>
                <c:pt idx="72">
                  <c:v>1105.9557</c:v>
                </c:pt>
                <c:pt idx="73">
                  <c:v>1099.2895</c:v>
                </c:pt>
                <c:pt idx="74">
                  <c:v>1056.1189</c:v>
                </c:pt>
                <c:pt idx="75">
                  <c:v>1057.0004</c:v>
                </c:pt>
                <c:pt idx="76">
                  <c:v>1083.6252</c:v>
                </c:pt>
                <c:pt idx="77">
                  <c:v>1050.5064</c:v>
                </c:pt>
                <c:pt idx="78">
                  <c:v>1121.2765</c:v>
                </c:pt>
                <c:pt idx="79">
                  <c:v>714.1003</c:v>
                </c:pt>
                <c:pt idx="80">
                  <c:v>722.846</c:v>
                </c:pt>
                <c:pt idx="81">
                  <c:v>938.4069</c:v>
                </c:pt>
                <c:pt idx="82">
                  <c:v>934.2117</c:v>
                </c:pt>
                <c:pt idx="83">
                  <c:v>957.2894</c:v>
                </c:pt>
                <c:pt idx="84">
                  <c:v>964.7598</c:v>
                </c:pt>
                <c:pt idx="85">
                  <c:v>1018.9553</c:v>
                </c:pt>
                <c:pt idx="86">
                  <c:v>1138.5348</c:v>
                </c:pt>
                <c:pt idx="87">
                  <c:v>1167.8801</c:v>
                </c:pt>
                <c:pt idx="88">
                  <c:v>1163.3663</c:v>
                </c:pt>
                <c:pt idx="89">
                  <c:v>1114.0517</c:v>
                </c:pt>
                <c:pt idx="90">
                  <c:v>1178.6274</c:v>
                </c:pt>
                <c:pt idx="91">
                  <c:v>1197.2966</c:v>
                </c:pt>
                <c:pt idx="92">
                  <c:v>1188.3679</c:v>
                </c:pt>
                <c:pt idx="93">
                  <c:v>1243.3718</c:v>
                </c:pt>
                <c:pt idx="94">
                  <c:v>1240.5446</c:v>
                </c:pt>
                <c:pt idx="95">
                  <c:v>1234.8934</c:v>
                </c:pt>
                <c:pt idx="96">
                  <c:v>1168.2406</c:v>
                </c:pt>
                <c:pt idx="97">
                  <c:v>1186.7969</c:v>
                </c:pt>
                <c:pt idx="98">
                  <c:v>1179.0172</c:v>
                </c:pt>
                <c:pt idx="99">
                  <c:v>1136.6995</c:v>
                </c:pt>
                <c:pt idx="100">
                  <c:v>1145.7225</c:v>
                </c:pt>
                <c:pt idx="101">
                  <c:v>1159.2316</c:v>
                </c:pt>
                <c:pt idx="102">
                  <c:v>1191.635</c:v>
                </c:pt>
                <c:pt idx="103">
                  <c:v>1050.2657</c:v>
                </c:pt>
                <c:pt idx="104">
                  <c:v>1139.7728</c:v>
                </c:pt>
              </c:numCache>
            </c:numRef>
          </c:xVal>
          <c:yVal>
            <c:numRef>
              <c:f>Sheet1!$B$2:$B$106</c:f>
              <c:numCache>
                <c:formatCode>General</c:formatCode>
                <c:ptCount val="105"/>
                <c:pt idx="0">
                  <c:v>0.21030715158924204</c:v>
                </c:pt>
                <c:pt idx="1">
                  <c:v>0.21298701298701297</c:v>
                </c:pt>
                <c:pt idx="2">
                  <c:v>0.19188149288187764</c:v>
                </c:pt>
                <c:pt idx="3">
                  <c:v>0.19090721223393264</c:v>
                </c:pt>
                <c:pt idx="4">
                  <c:v>0.19040369315391414</c:v>
                </c:pt>
                <c:pt idx="5">
                  <c:v>0.18118797067477932</c:v>
                </c:pt>
                <c:pt idx="6">
                  <c:v>0.20359223768478837</c:v>
                </c:pt>
                <c:pt idx="7">
                  <c:v>0.20028392958546282</c:v>
                </c:pt>
                <c:pt idx="8">
                  <c:v>0.21053270971268906</c:v>
                </c:pt>
                <c:pt idx="9">
                  <c:v>0.21039721134397726</c:v>
                </c:pt>
                <c:pt idx="10">
                  <c:v>0.22042008977725078</c:v>
                </c:pt>
                <c:pt idx="11">
                  <c:v>0.21358106613581065</c:v>
                </c:pt>
                <c:pt idx="12">
                  <c:v>0.21567654719087187</c:v>
                </c:pt>
                <c:pt idx="13">
                  <c:v>0.22556548743128121</c:v>
                </c:pt>
                <c:pt idx="14">
                  <c:v>0.21514723007818998</c:v>
                </c:pt>
                <c:pt idx="15">
                  <c:v>0.21337422099119596</c:v>
                </c:pt>
                <c:pt idx="16">
                  <c:v>0.2021367278513383</c:v>
                </c:pt>
                <c:pt idx="17">
                  <c:v>0.1916417538614848</c:v>
                </c:pt>
                <c:pt idx="18">
                  <c:v>0.17514358867898416</c:v>
                </c:pt>
                <c:pt idx="19">
                  <c:v>0.16184781718404456</c:v>
                </c:pt>
                <c:pt idx="20">
                  <c:v>0.174278038952317</c:v>
                </c:pt>
                <c:pt idx="21">
                  <c:v>0.17816586373021334</c:v>
                </c:pt>
                <c:pt idx="22">
                  <c:v>0.17713299358868978</c:v>
                </c:pt>
                <c:pt idx="23">
                  <c:v>0.18507202095154954</c:v>
                </c:pt>
                <c:pt idx="24">
                  <c:v>0.18752479961907786</c:v>
                </c:pt>
                <c:pt idx="25">
                  <c:v>0.18773318773318773</c:v>
                </c:pt>
                <c:pt idx="26">
                  <c:v>0.192</c:v>
                </c:pt>
                <c:pt idx="27">
                  <c:v>0.17932890155112377</c:v>
                </c:pt>
                <c:pt idx="28">
                  <c:v>0.17864642222581167</c:v>
                </c:pt>
                <c:pt idx="29">
                  <c:v>0.20309249757315212</c:v>
                </c:pt>
                <c:pt idx="30">
                  <c:v>0.18293125340105207</c:v>
                </c:pt>
                <c:pt idx="31">
                  <c:v>0.17864829961256995</c:v>
                </c:pt>
                <c:pt idx="32">
                  <c:v>0.1871335232032166</c:v>
                </c:pt>
                <c:pt idx="33">
                  <c:v>0.20930232558139536</c:v>
                </c:pt>
                <c:pt idx="34">
                  <c:v>0.1992973309911033</c:v>
                </c:pt>
                <c:pt idx="35">
                  <c:v>0.1956752736159813</c:v>
                </c:pt>
                <c:pt idx="36">
                  <c:v>0.15181646844739066</c:v>
                </c:pt>
                <c:pt idx="37">
                  <c:v>0.14250182882223847</c:v>
                </c:pt>
                <c:pt idx="38">
                  <c:v>0.13718112724809994</c:v>
                </c:pt>
                <c:pt idx="39">
                  <c:v>0.13833099797602366</c:v>
                </c:pt>
                <c:pt idx="40">
                  <c:v>0.13867644270273688</c:v>
                </c:pt>
                <c:pt idx="41">
                  <c:v>0.1270996640537514</c:v>
                </c:pt>
                <c:pt idx="42">
                  <c:v>0.13326508490906902</c:v>
                </c:pt>
                <c:pt idx="43">
                  <c:v>0.13675121424716677</c:v>
                </c:pt>
                <c:pt idx="44">
                  <c:v>0.16124158769399807</c:v>
                </c:pt>
                <c:pt idx="45">
                  <c:v>0.1861608385121974</c:v>
                </c:pt>
                <c:pt idx="46">
                  <c:v>0.1937179063691781</c:v>
                </c:pt>
                <c:pt idx="47">
                  <c:v>0.19532088430993774</c:v>
                </c:pt>
                <c:pt idx="48">
                  <c:v>0.21233782239451454</c:v>
                </c:pt>
                <c:pt idx="49">
                  <c:v>0.24603675866860356</c:v>
                </c:pt>
                <c:pt idx="50">
                  <c:v>0.20786180373861235</c:v>
                </c:pt>
                <c:pt idx="51">
                  <c:v>0.18664801119328403</c:v>
                </c:pt>
                <c:pt idx="52">
                  <c:v>0.19997993176801124</c:v>
                </c:pt>
                <c:pt idx="53">
                  <c:v>0.1882059256834179</c:v>
                </c:pt>
                <c:pt idx="54">
                  <c:v>0.1853673948366131</c:v>
                </c:pt>
                <c:pt idx="55">
                  <c:v>0.17528152113716078</c:v>
                </c:pt>
                <c:pt idx="56">
                  <c:v>0.1852655955999421</c:v>
                </c:pt>
                <c:pt idx="57">
                  <c:v>0.18023843200646594</c:v>
                </c:pt>
                <c:pt idx="58">
                  <c:v>0.19915412830301668</c:v>
                </c:pt>
                <c:pt idx="59">
                  <c:v>0.2092832698703427</c:v>
                </c:pt>
                <c:pt idx="60">
                  <c:v>0.22389277072401512</c:v>
                </c:pt>
                <c:pt idx="61">
                  <c:v>0.222672371360418</c:v>
                </c:pt>
                <c:pt idx="62">
                  <c:v>0.22107099622587767</c:v>
                </c:pt>
                <c:pt idx="63">
                  <c:v>0.23888208218815193</c:v>
                </c:pt>
                <c:pt idx="64">
                  <c:v>0.22448180186061695</c:v>
                </c:pt>
                <c:pt idx="65">
                  <c:v>0.2092982083421854</c:v>
                </c:pt>
                <c:pt idx="66">
                  <c:v>0.21225035212539275</c:v>
                </c:pt>
                <c:pt idx="67">
                  <c:v>0.20886051756431329</c:v>
                </c:pt>
                <c:pt idx="68">
                  <c:v>0.18994516381733562</c:v>
                </c:pt>
                <c:pt idx="69">
                  <c:v>0.17577310373592325</c:v>
                </c:pt>
                <c:pt idx="70">
                  <c:v>0.16404162165235686</c:v>
                </c:pt>
                <c:pt idx="71">
                  <c:v>0.17445482866043613</c:v>
                </c:pt>
                <c:pt idx="72">
                  <c:v>0.17299754740683138</c:v>
                </c:pt>
                <c:pt idx="73">
                  <c:v>0.17705832738597288</c:v>
                </c:pt>
                <c:pt idx="74">
                  <c:v>0.17853922452660054</c:v>
                </c:pt>
                <c:pt idx="75">
                  <c:v>0.18282139593730232</c:v>
                </c:pt>
                <c:pt idx="76">
                  <c:v>0.1749961907664178</c:v>
                </c:pt>
                <c:pt idx="77">
                  <c:v>0.17296614850469502</c:v>
                </c:pt>
                <c:pt idx="78">
                  <c:v>0.15853018372703412</c:v>
                </c:pt>
                <c:pt idx="79">
                  <c:v>0.2261861775113743</c:v>
                </c:pt>
                <c:pt idx="80">
                  <c:v>0.2101878612716763</c:v>
                </c:pt>
                <c:pt idx="81">
                  <c:v>0.1694088207694714</c:v>
                </c:pt>
                <c:pt idx="82">
                  <c:v>0.16926466987676486</c:v>
                </c:pt>
                <c:pt idx="83">
                  <c:v>0.14987487255538048</c:v>
                </c:pt>
                <c:pt idx="84">
                  <c:v>0.1537157389092964</c:v>
                </c:pt>
                <c:pt idx="85">
                  <c:v>0.15863306418726042</c:v>
                </c:pt>
                <c:pt idx="86">
                  <c:v>0.1524004465947153</c:v>
                </c:pt>
                <c:pt idx="87">
                  <c:v>0.1689402513850003</c:v>
                </c:pt>
                <c:pt idx="88">
                  <c:v>0.14848762603116408</c:v>
                </c:pt>
                <c:pt idx="89">
                  <c:v>0.14441462596444146</c:v>
                </c:pt>
                <c:pt idx="90">
                  <c:v>0.14172686618507052</c:v>
                </c:pt>
                <c:pt idx="91">
                  <c:v>0.13393232009404651</c:v>
                </c:pt>
                <c:pt idx="92">
                  <c:v>0.14259086672879775</c:v>
                </c:pt>
                <c:pt idx="93">
                  <c:v>0.13648551435484926</c:v>
                </c:pt>
                <c:pt idx="94">
                  <c:v>0.14039841804599384</c:v>
                </c:pt>
                <c:pt idx="95">
                  <c:v>0.14438761776581427</c:v>
                </c:pt>
                <c:pt idx="96">
                  <c:v>0.1441160471441523</c:v>
                </c:pt>
                <c:pt idx="97">
                  <c:v>0.1554780494048381</c:v>
                </c:pt>
                <c:pt idx="98">
                  <c:v>0.17081260364842454</c:v>
                </c:pt>
                <c:pt idx="99">
                  <c:v>0.17867754563033533</c:v>
                </c:pt>
                <c:pt idx="100">
                  <c:v>0.19638028243694658</c:v>
                </c:pt>
                <c:pt idx="101">
                  <c:v>0.18430480700333343</c:v>
                </c:pt>
                <c:pt idx="102">
                  <c:v>0.15521151330135194</c:v>
                </c:pt>
                <c:pt idx="103">
                  <c:v>0.17430878208545966</c:v>
                </c:pt>
                <c:pt idx="104">
                  <c:v>0.1768059102517329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3.2555</c:v>
                </c:pt>
                <c:pt idx="1">
                  <c:v>1187.7207</c:v>
                </c:pt>
                <c:pt idx="2">
                  <c:v>1170.6518</c:v>
                </c:pt>
                <c:pt idx="3">
                  <c:v>1191.8262</c:v>
                </c:pt>
                <c:pt idx="4">
                  <c:v>1195.6713</c:v>
                </c:pt>
                <c:pt idx="5">
                  <c:v>1209.1017</c:v>
                </c:pt>
                <c:pt idx="6">
                  <c:v>1140.0386</c:v>
                </c:pt>
                <c:pt idx="7">
                  <c:v>1206.6418</c:v>
                </c:pt>
                <c:pt idx="8">
                  <c:v>1287.0076</c:v>
                </c:pt>
                <c:pt idx="9">
                  <c:v>1248.3092</c:v>
                </c:pt>
                <c:pt idx="10">
                  <c:v>1267.1534</c:v>
                </c:pt>
                <c:pt idx="11">
                  <c:v>1104.0799</c:v>
                </c:pt>
                <c:pt idx="12">
                  <c:v>1126.1329</c:v>
                </c:pt>
                <c:pt idx="13">
                  <c:v>1193.8613</c:v>
                </c:pt>
                <c:pt idx="14">
                  <c:v>1189.9744</c:v>
                </c:pt>
                <c:pt idx="15">
                  <c:v>1227.0707</c:v>
                </c:pt>
                <c:pt idx="16">
                  <c:v>1269.1256</c:v>
                </c:pt>
                <c:pt idx="17">
                  <c:v>1246.4644</c:v>
                </c:pt>
                <c:pt idx="18">
                  <c:v>1250.9806</c:v>
                </c:pt>
                <c:pt idx="19">
                  <c:v>1365.2613</c:v>
                </c:pt>
                <c:pt idx="20">
                  <c:v>1368.1682</c:v>
                </c:pt>
                <c:pt idx="21">
                  <c:v>1280.9732</c:v>
                </c:pt>
                <c:pt idx="22">
                  <c:v>1220.5511</c:v>
                </c:pt>
                <c:pt idx="23">
                  <c:v>1217.1408</c:v>
                </c:pt>
                <c:pt idx="24">
                  <c:v>1226.1822</c:v>
                </c:pt>
                <c:pt idx="25">
                  <c:v>1173.8838</c:v>
                </c:pt>
                <c:pt idx="26">
                  <c:v>1251.8776</c:v>
                </c:pt>
                <c:pt idx="27">
                  <c:v>1277.2154</c:v>
                </c:pt>
                <c:pt idx="28">
                  <c:v>1250.312</c:v>
                </c:pt>
                <c:pt idx="29">
                  <c:v>1262.0638</c:v>
                </c:pt>
                <c:pt idx="30">
                  <c:v>1215.2614</c:v>
                </c:pt>
                <c:pt idx="31">
                  <c:v>1127.1976</c:v>
                </c:pt>
                <c:pt idx="32">
                  <c:v>1166.5209</c:v>
                </c:pt>
                <c:pt idx="33">
                  <c:v>1224.239</c:v>
                </c:pt>
                <c:pt idx="34">
                  <c:v>1259.7145</c:v>
                </c:pt>
                <c:pt idx="35">
                  <c:v>1231.2795</c:v>
                </c:pt>
                <c:pt idx="36">
                  <c:v>1255.8634</c:v>
                </c:pt>
                <c:pt idx="37">
                  <c:v>1321.2715</c:v>
                </c:pt>
                <c:pt idx="38">
                  <c:v>1298.8671</c:v>
                </c:pt>
                <c:pt idx="39">
                  <c:v>1250.5854</c:v>
                </c:pt>
                <c:pt idx="40">
                  <c:v>1288.2266</c:v>
                </c:pt>
                <c:pt idx="41">
                  <c:v>1352.4109</c:v>
                </c:pt>
                <c:pt idx="42">
                  <c:v>1344.6201</c:v>
                </c:pt>
                <c:pt idx="43">
                  <c:v>1339.6708</c:v>
                </c:pt>
                <c:pt idx="44">
                  <c:v>1289.5285</c:v>
                </c:pt>
                <c:pt idx="45">
                  <c:v>1241.0829</c:v>
                </c:pt>
                <c:pt idx="46">
                  <c:v>1239.3417</c:v>
                </c:pt>
                <c:pt idx="47">
                  <c:v>1209.1569</c:v>
                </c:pt>
                <c:pt idx="48">
                  <c:v>1199.4519</c:v>
                </c:pt>
                <c:pt idx="49">
                  <c:v>1225.0948</c:v>
                </c:pt>
                <c:pt idx="50">
                  <c:v>1098.4008</c:v>
                </c:pt>
                <c:pt idx="51">
                  <c:v>1065.2951</c:v>
                </c:pt>
              </c:numCache>
            </c:numRef>
          </c:xVal>
          <c:yVal>
            <c:numRef>
              <c:f>Sheet1!$B$109:$B$160</c:f>
              <c:numCache>
                <c:formatCode>General</c:formatCode>
                <c:ptCount val="52"/>
                <c:pt idx="0">
                  <c:v>0.1696125907990315</c:v>
                </c:pt>
                <c:pt idx="1">
                  <c:v>0.1799104286628279</c:v>
                </c:pt>
                <c:pt idx="2">
                  <c:v>0.1882895378041009</c:v>
                </c:pt>
                <c:pt idx="3">
                  <c:v>0.2025717264548017</c:v>
                </c:pt>
                <c:pt idx="4">
                  <c:v>0.19036715357283854</c:v>
                </c:pt>
                <c:pt idx="5">
                  <c:v>0.1883741612094753</c:v>
                </c:pt>
                <c:pt idx="6">
                  <c:v>0.1853735531392494</c:v>
                </c:pt>
                <c:pt idx="7">
                  <c:v>0.17800038528221923</c:v>
                </c:pt>
                <c:pt idx="8">
                  <c:v>0.17771394504362908</c:v>
                </c:pt>
                <c:pt idx="9">
                  <c:v>0.18665271132376396</c:v>
                </c:pt>
                <c:pt idx="10">
                  <c:v>0.19376186073670382</c:v>
                </c:pt>
                <c:pt idx="11">
                  <c:v>0.20784165751920966</c:v>
                </c:pt>
                <c:pt idx="12">
                  <c:v>0.20951877743456349</c:v>
                </c:pt>
                <c:pt idx="13">
                  <c:v>0.19814417647831226</c:v>
                </c:pt>
                <c:pt idx="14">
                  <c:v>0.20124253285543608</c:v>
                </c:pt>
                <c:pt idx="15">
                  <c:v>0.18858176181865152</c:v>
                </c:pt>
                <c:pt idx="16">
                  <c:v>0.16970213802765427</c:v>
                </c:pt>
                <c:pt idx="17">
                  <c:v>0.15518128053484187</c:v>
                </c:pt>
                <c:pt idx="18">
                  <c:v>0.1502881520844248</c:v>
                </c:pt>
                <c:pt idx="19">
                  <c:v>0.157272860707471</c:v>
                </c:pt>
                <c:pt idx="20">
                  <c:v>0.1460418192173135</c:v>
                </c:pt>
                <c:pt idx="21">
                  <c:v>0.15542436852801703</c:v>
                </c:pt>
                <c:pt idx="22">
                  <c:v>0.16148597422289612</c:v>
                </c:pt>
                <c:pt idx="23">
                  <c:v>0.16593756213959038</c:v>
                </c:pt>
                <c:pt idx="24">
                  <c:v>0.15968992248062017</c:v>
                </c:pt>
                <c:pt idx="25">
                  <c:v>0.16526772793053546</c:v>
                </c:pt>
                <c:pt idx="26">
                  <c:v>0.1439575033200531</c:v>
                </c:pt>
                <c:pt idx="27">
                  <c:v>0.14356673609998397</c:v>
                </c:pt>
                <c:pt idx="28">
                  <c:v>0.1543013856812933</c:v>
                </c:pt>
                <c:pt idx="29">
                  <c:v>0.15728375665531988</c:v>
                </c:pt>
                <c:pt idx="30">
                  <c:v>0.1659631791647957</c:v>
                </c:pt>
                <c:pt idx="31">
                  <c:v>0.16738361533314214</c:v>
                </c:pt>
                <c:pt idx="32">
                  <c:v>0.17072766451185148</c:v>
                </c:pt>
                <c:pt idx="33">
                  <c:v>0.18749190728991325</c:v>
                </c:pt>
                <c:pt idx="34">
                  <c:v>0.20933340460790079</c:v>
                </c:pt>
                <c:pt idx="35">
                  <c:v>0.20136381869233855</c:v>
                </c:pt>
                <c:pt idx="36">
                  <c:v>0.17013669821240798</c:v>
                </c:pt>
                <c:pt idx="37">
                  <c:v>0.1519192304028955</c:v>
                </c:pt>
                <c:pt idx="38">
                  <c:v>0.15699152542372882</c:v>
                </c:pt>
                <c:pt idx="39">
                  <c:v>0.17547272585790988</c:v>
                </c:pt>
                <c:pt idx="40">
                  <c:v>0.15525388134703366</c:v>
                </c:pt>
                <c:pt idx="41">
                  <c:v>0.1563388288800455</c:v>
                </c:pt>
                <c:pt idx="42">
                  <c:v>0.15529659302419682</c:v>
                </c:pt>
                <c:pt idx="43">
                  <c:v>0.14629695042976568</c:v>
                </c:pt>
                <c:pt idx="44">
                  <c:v>0.13895062324862306</c:v>
                </c:pt>
                <c:pt idx="45">
                  <c:v>0.1540945217144479</c:v>
                </c:pt>
                <c:pt idx="46">
                  <c:v>0.1499685995394599</c:v>
                </c:pt>
                <c:pt idx="47">
                  <c:v>0.15169280944246</c:v>
                </c:pt>
                <c:pt idx="48">
                  <c:v>0.14248446004702245</c:v>
                </c:pt>
                <c:pt idx="49">
                  <c:v>0.15973649220355374</c:v>
                </c:pt>
                <c:pt idx="50">
                  <c:v>0.19359691025510722</c:v>
                </c:pt>
                <c:pt idx="51">
                  <c:v>0.180591212499083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55.0010262139474</c:v>
                </c:pt>
              </c:numCache>
            </c:numRef>
          </c:xVal>
          <c:yVal>
            <c:numRef>
              <c:f>Sheet1!$B$163:$B$164</c:f>
              <c:numCache>
                <c:formatCode>General</c:formatCode>
                <c:ptCount val="2"/>
                <c:pt idx="0">
                  <c:v>0.1999656435326154</c:v>
                </c:pt>
                <c:pt idx="1">
                  <c:v>0.199965643532615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55.0010262139474</c:v>
                </c:pt>
                <c:pt idx="1">
                  <c:v>1055.0010262139474</c:v>
                </c:pt>
              </c:numCache>
            </c:numRef>
          </c:xVal>
          <c:yVal>
            <c:numRef>
              <c:f>Sheet1!$B$167:$B$168</c:f>
              <c:numCache>
                <c:formatCode>General</c:formatCode>
                <c:ptCount val="2"/>
                <c:pt idx="0">
                  <c:v>0.19996564353261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48.4643720616702</c:v>
                </c:pt>
              </c:numCache>
            </c:numRef>
          </c:xVal>
          <c:yVal>
            <c:numRef>
              <c:f>Sheet1!$B$171:$B$172</c:f>
              <c:numCache>
                <c:formatCode>General</c:formatCode>
                <c:ptCount val="2"/>
                <c:pt idx="0">
                  <c:v>0.1844681646631304</c:v>
                </c:pt>
                <c:pt idx="1">
                  <c:v>0.184468164663130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48.4643720616702</c:v>
                </c:pt>
                <c:pt idx="1">
                  <c:v>1148.4643720616702</c:v>
                </c:pt>
              </c:numCache>
            </c:numRef>
          </c:xVal>
          <c:yVal>
            <c:numRef>
              <c:f>Sheet1!$B$175:$B$176</c:f>
              <c:numCache>
                <c:formatCode>General</c:formatCode>
                <c:ptCount val="2"/>
                <c:pt idx="0">
                  <c:v>0.18446816466313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05.4116258113656</c:v>
                </c:pt>
              </c:numCache>
            </c:numRef>
          </c:xVal>
          <c:yVal>
            <c:numRef>
              <c:f>Sheet1!$B$179:$B$180</c:f>
              <c:numCache>
                <c:formatCode>General</c:formatCode>
                <c:ptCount val="2"/>
                <c:pt idx="0">
                  <c:v>0.1584442006529776</c:v>
                </c:pt>
                <c:pt idx="1">
                  <c:v>0.158444200652977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05.4116258113656</c:v>
                </c:pt>
                <c:pt idx="1">
                  <c:v>1305.4116258113656</c:v>
                </c:pt>
              </c:numCache>
            </c:numRef>
          </c:xVal>
          <c:yVal>
            <c:numRef>
              <c:f>Sheet1!$B$183:$B$184</c:f>
              <c:numCache>
                <c:formatCode>General</c:formatCode>
                <c:ptCount val="2"/>
                <c:pt idx="0">
                  <c:v>0.158444200652977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3.2555</c:v>
                </c:pt>
                <c:pt idx="1">
                  <c:v>1187.7207</c:v>
                </c:pt>
                <c:pt idx="2">
                  <c:v>1170.6518</c:v>
                </c:pt>
                <c:pt idx="3">
                  <c:v>1191.8262</c:v>
                </c:pt>
                <c:pt idx="4">
                  <c:v>1195.6713</c:v>
                </c:pt>
                <c:pt idx="5">
                  <c:v>1209.1017</c:v>
                </c:pt>
                <c:pt idx="6">
                  <c:v>1140.0386</c:v>
                </c:pt>
                <c:pt idx="7">
                  <c:v>1206.6418</c:v>
                </c:pt>
                <c:pt idx="8">
                  <c:v>1287.0076</c:v>
                </c:pt>
                <c:pt idx="9">
                  <c:v>1248.3092</c:v>
                </c:pt>
                <c:pt idx="10">
                  <c:v>1267.1534</c:v>
                </c:pt>
                <c:pt idx="11">
                  <c:v>1104.0799</c:v>
                </c:pt>
                <c:pt idx="12">
                  <c:v>1126.1329</c:v>
                </c:pt>
                <c:pt idx="13">
                  <c:v>1193.8613</c:v>
                </c:pt>
                <c:pt idx="14">
                  <c:v>1189.9744</c:v>
                </c:pt>
                <c:pt idx="15">
                  <c:v>1227.0707</c:v>
                </c:pt>
                <c:pt idx="16">
                  <c:v>1269.1256</c:v>
                </c:pt>
                <c:pt idx="17">
                  <c:v>1246.4644</c:v>
                </c:pt>
                <c:pt idx="18">
                  <c:v>1250.9806</c:v>
                </c:pt>
                <c:pt idx="19">
                  <c:v>1365.2613</c:v>
                </c:pt>
                <c:pt idx="20">
                  <c:v>1368.1682</c:v>
                </c:pt>
                <c:pt idx="21">
                  <c:v>1280.9732</c:v>
                </c:pt>
                <c:pt idx="22">
                  <c:v>1220.5511</c:v>
                </c:pt>
                <c:pt idx="23">
                  <c:v>1217.1408</c:v>
                </c:pt>
                <c:pt idx="24">
                  <c:v>1226.1822</c:v>
                </c:pt>
                <c:pt idx="25">
                  <c:v>1173.8838</c:v>
                </c:pt>
                <c:pt idx="26">
                  <c:v>1251.8776</c:v>
                </c:pt>
                <c:pt idx="27">
                  <c:v>1277.2154</c:v>
                </c:pt>
                <c:pt idx="28">
                  <c:v>1250.312</c:v>
                </c:pt>
                <c:pt idx="29">
                  <c:v>1262.0638</c:v>
                </c:pt>
                <c:pt idx="30">
                  <c:v>1215.2614</c:v>
                </c:pt>
                <c:pt idx="31">
                  <c:v>1127.1976</c:v>
                </c:pt>
                <c:pt idx="32">
                  <c:v>1166.5209</c:v>
                </c:pt>
                <c:pt idx="33">
                  <c:v>1224.239</c:v>
                </c:pt>
                <c:pt idx="34">
                  <c:v>1259.7145</c:v>
                </c:pt>
                <c:pt idx="35">
                  <c:v>1231.2795</c:v>
                </c:pt>
                <c:pt idx="36">
                  <c:v>1255.8634</c:v>
                </c:pt>
                <c:pt idx="37">
                  <c:v>1321.2715</c:v>
                </c:pt>
                <c:pt idx="38">
                  <c:v>1298.8671</c:v>
                </c:pt>
                <c:pt idx="39">
                  <c:v>1250.5854</c:v>
                </c:pt>
                <c:pt idx="40">
                  <c:v>1288.2266</c:v>
                </c:pt>
                <c:pt idx="41">
                  <c:v>1352.4109</c:v>
                </c:pt>
                <c:pt idx="42">
                  <c:v>1344.6201</c:v>
                </c:pt>
                <c:pt idx="43">
                  <c:v>1339.6708</c:v>
                </c:pt>
                <c:pt idx="44">
                  <c:v>1289.5285</c:v>
                </c:pt>
                <c:pt idx="45">
                  <c:v>1241.0829</c:v>
                </c:pt>
                <c:pt idx="46">
                  <c:v>1239.3417</c:v>
                </c:pt>
                <c:pt idx="47">
                  <c:v>1209.1569</c:v>
                </c:pt>
                <c:pt idx="48">
                  <c:v>1199.4519</c:v>
                </c:pt>
                <c:pt idx="49">
                  <c:v>1225.0948</c:v>
                </c:pt>
                <c:pt idx="50">
                  <c:v>1098.4008</c:v>
                </c:pt>
                <c:pt idx="51">
                  <c:v>1065.2951</c:v>
                </c:pt>
                <c:pt idx="52">
                  <c:v>1148.4643720616702</c:v>
                </c:pt>
                <c:pt idx="53">
                  <c:v>1055.0010262139474</c:v>
                </c:pt>
                <c:pt idx="54">
                  <c:v>1305.4116258113656</c:v>
                </c:pt>
              </c:numCache>
            </c:numRef>
          </c:xVal>
          <c:yVal>
            <c:numRef>
              <c:f>Sheet1!$B$187:$B$241</c:f>
              <c:numCache>
                <c:formatCode>General</c:formatCode>
                <c:ptCount val="55"/>
                <c:pt idx="0">
                  <c:v>0.17372492487166913</c:v>
                </c:pt>
                <c:pt idx="1">
                  <c:v>0.17795893789407116</c:v>
                </c:pt>
                <c:pt idx="2">
                  <c:v>0.1807891909165377</c:v>
                </c:pt>
                <c:pt idx="3">
                  <c:v>0.1772781908170049</c:v>
                </c:pt>
                <c:pt idx="4">
                  <c:v>0.1766406215596605</c:v>
                </c:pt>
                <c:pt idx="5">
                  <c:v>0.17441368073787736</c:v>
                </c:pt>
                <c:pt idx="6">
                  <c:v>0.1858652709115797</c:v>
                </c:pt>
                <c:pt idx="7">
                  <c:v>0.1748215652184218</c:v>
                </c:pt>
                <c:pt idx="8">
                  <c:v>0.16149583547878182</c:v>
                </c:pt>
                <c:pt idx="9">
                  <c:v>0.1679125502972305</c:v>
                </c:pt>
                <c:pt idx="10">
                  <c:v>0.16478792867510117</c:v>
                </c:pt>
                <c:pt idx="11">
                  <c:v>0.19182770664903012</c:v>
                </c:pt>
                <c:pt idx="12">
                  <c:v>0.18817102286129603</c:v>
                </c:pt>
                <c:pt idx="13">
                  <c:v>0.1769407438856841</c:v>
                </c:pt>
                <c:pt idx="14">
                  <c:v>0.1775852441448118</c:v>
                </c:pt>
                <c:pt idx="15">
                  <c:v>0.17143417903825398</c:v>
                </c:pt>
                <c:pt idx="16">
                  <c:v>0.16446091140914326</c:v>
                </c:pt>
                <c:pt idx="17">
                  <c:v>0.16821844293095886</c:v>
                </c:pt>
                <c:pt idx="18">
                  <c:v>0.16746959627417002</c:v>
                </c:pt>
                <c:pt idx="19">
                  <c:v>0.14852032030532664</c:v>
                </c:pt>
                <c:pt idx="20">
                  <c:v>0.1480383172171951</c:v>
                </c:pt>
                <c:pt idx="21">
                  <c:v>0.16249642009986298</c:v>
                </c:pt>
                <c:pt idx="22">
                  <c:v>0.17251521634032224</c:v>
                </c:pt>
                <c:pt idx="23">
                  <c:v>0.17308068991404507</c:v>
                </c:pt>
                <c:pt idx="24">
                  <c:v>0.17158150427950922</c:v>
                </c:pt>
                <c:pt idx="25">
                  <c:v>0.18025328187912978</c:v>
                </c:pt>
                <c:pt idx="26">
                  <c:v>0.16732086161867654</c:v>
                </c:pt>
                <c:pt idx="27">
                  <c:v>0.16311951384391352</c:v>
                </c:pt>
                <c:pt idx="28">
                  <c:v>0.16758045914001501</c:v>
                </c:pt>
                <c:pt idx="29">
                  <c:v>0.16563185275826678</c:v>
                </c:pt>
                <c:pt idx="30">
                  <c:v>0.17339231969279023</c:v>
                </c:pt>
                <c:pt idx="31">
                  <c:v>0.18799448129194943</c:v>
                </c:pt>
                <c:pt idx="32">
                  <c:v>0.1814741496549747</c:v>
                </c:pt>
                <c:pt idx="33">
                  <c:v>0.17190371295571313</c:v>
                </c:pt>
                <c:pt idx="34">
                  <c:v>0.16602139827237022</c:v>
                </c:pt>
                <c:pt idx="35">
                  <c:v>0.17073630343285717</c:v>
                </c:pt>
                <c:pt idx="36">
                  <c:v>0.1666599624103534</c:v>
                </c:pt>
                <c:pt idx="37">
                  <c:v>0.15581442035909096</c:v>
                </c:pt>
                <c:pt idx="38">
                  <c:v>0.159529370989568</c:v>
                </c:pt>
                <c:pt idx="39">
                  <c:v>0.16753512574557586</c:v>
                </c:pt>
                <c:pt idx="40">
                  <c:v>0.16129370889567532</c:v>
                </c:pt>
                <c:pt idx="41">
                  <c:v>0.15065108933203036</c:v>
                </c:pt>
                <c:pt idx="42">
                  <c:v>0.15194290867876228</c:v>
                </c:pt>
                <c:pt idx="43">
                  <c:v>0.15276356913632508</c:v>
                </c:pt>
                <c:pt idx="44">
                  <c:v>0.16107783637841006</c:v>
                </c:pt>
                <c:pt idx="45">
                  <c:v>0.1691107679571998</c:v>
                </c:pt>
                <c:pt idx="46">
                  <c:v>0.16939948231856572</c:v>
                </c:pt>
                <c:pt idx="47">
                  <c:v>0.17440452783600083</c:v>
                </c:pt>
                <c:pt idx="48">
                  <c:v>0.17601374726918267</c:v>
                </c:pt>
                <c:pt idx="49">
                  <c:v>0.17176180981393907</c:v>
                </c:pt>
                <c:pt idx="50">
                  <c:v>0.19276937775495318</c:v>
                </c:pt>
                <c:pt idx="51">
                  <c:v>0.19825874774867686</c:v>
                </c:pt>
                <c:pt idx="52">
                  <c:v>0.1844681646631304</c:v>
                </c:pt>
                <c:pt idx="53">
                  <c:v>0.19996564353261542</c:v>
                </c:pt>
                <c:pt idx="54">
                  <c:v>0.158444200652977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42.0"/>
          <c:min val="57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524411040232423"/>
          <c:min val="0.1016797312430011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664886814424728</c:v>
                </c:pt>
                <c:pt idx="1">
                  <c:v>0.4293133002333675</c:v>
                </c:pt>
                <c:pt idx="2">
                  <c:v>0.46102180366887874</c:v>
                </c:pt>
                <c:pt idx="3">
                  <c:v>0.45817363611029244</c:v>
                </c:pt>
                <c:pt idx="4">
                  <c:v>0.49746567581878964</c:v>
                </c:pt>
                <c:pt idx="5">
                  <c:v>0.4919719288639413</c:v>
                </c:pt>
                <c:pt idx="6">
                  <c:v>0.4766907740689913</c:v>
                </c:pt>
                <c:pt idx="7">
                  <c:v>0.4496269671854541</c:v>
                </c:pt>
                <c:pt idx="8">
                  <c:v>0.44098205633235726</c:v>
                </c:pt>
                <c:pt idx="9">
                  <c:v>0.4777870446986064</c:v>
                </c:pt>
                <c:pt idx="10">
                  <c:v>0.5065239180944174</c:v>
                </c:pt>
                <c:pt idx="11">
                  <c:v>0.4871819633687717</c:v>
                </c:pt>
                <c:pt idx="12">
                  <c:v>0.45662623628424887</c:v>
                </c:pt>
                <c:pt idx="13">
                  <c:v>0.4074417855881247</c:v>
                </c:pt>
                <c:pt idx="14">
                  <c:v>0.33606864029653</c:v>
                </c:pt>
                <c:pt idx="15">
                  <c:v>0.34278392345152386</c:v>
                </c:pt>
                <c:pt idx="16">
                  <c:v>0.36662024548199873</c:v>
                </c:pt>
                <c:pt idx="17">
                  <c:v>0.38379207704948115</c:v>
                </c:pt>
                <c:pt idx="18">
                  <c:v>0.37277787531770257</c:v>
                </c:pt>
                <c:pt idx="19">
                  <c:v>0.4131037604060522</c:v>
                </c:pt>
                <c:pt idx="20">
                  <c:v>0.44875272311699405</c:v>
                </c:pt>
                <c:pt idx="21">
                  <c:v>0.43177439526835765</c:v>
                </c:pt>
                <c:pt idx="22">
                  <c:v>0.3874664171913807</c:v>
                </c:pt>
                <c:pt idx="23">
                  <c:v>0.3650314659753334</c:v>
                </c:pt>
                <c:pt idx="24">
                  <c:v>0.3583096544269059</c:v>
                </c:pt>
                <c:pt idx="25">
                  <c:v>0.34538651583366486</c:v>
                </c:pt>
                <c:pt idx="26">
                  <c:v>0.3377670861493963</c:v>
                </c:pt>
                <c:pt idx="27">
                  <c:v>0.3329070095894273</c:v>
                </c:pt>
                <c:pt idx="28">
                  <c:v>0.34643870245117164</c:v>
                </c:pt>
                <c:pt idx="29">
                  <c:v>0.2944746374018642</c:v>
                </c:pt>
                <c:pt idx="30">
                  <c:v>0.2952286675270037</c:v>
                </c:pt>
                <c:pt idx="31">
                  <c:v>0.3182745968363774</c:v>
                </c:pt>
                <c:pt idx="32">
                  <c:v>0.3144097088530978</c:v>
                </c:pt>
                <c:pt idx="33">
                  <c:v>0.30622542994673396</c:v>
                </c:pt>
                <c:pt idx="34">
                  <c:v>0.349606310261788</c:v>
                </c:pt>
                <c:pt idx="35">
                  <c:v>0.3902419381957038</c:v>
                </c:pt>
                <c:pt idx="36">
                  <c:v>0.36995310806640597</c:v>
                </c:pt>
                <c:pt idx="37">
                  <c:v>0.4191373109964513</c:v>
                </c:pt>
                <c:pt idx="38">
                  <c:v>0.4078397368705706</c:v>
                </c:pt>
                <c:pt idx="39">
                  <c:v>0.4059900389509975</c:v>
                </c:pt>
                <c:pt idx="40">
                  <c:v>0.4192172501553351</c:v>
                </c:pt>
                <c:pt idx="41">
                  <c:v>0.44977667855728226</c:v>
                </c:pt>
                <c:pt idx="42">
                  <c:v>0.4608484003407039</c:v>
                </c:pt>
                <c:pt idx="43">
                  <c:v>0.4865990852403077</c:v>
                </c:pt>
                <c:pt idx="44">
                  <c:v>0.44098381909715645</c:v>
                </c:pt>
                <c:pt idx="45">
                  <c:v>0.45147469887775965</c:v>
                </c:pt>
                <c:pt idx="46">
                  <c:v>0.4656396345238938</c:v>
                </c:pt>
                <c:pt idx="47">
                  <c:v>0.47782450745163674</c:v>
                </c:pt>
                <c:pt idx="48">
                  <c:v>0.46898207714702894</c:v>
                </c:pt>
                <c:pt idx="49">
                  <c:v>0.40170443728535654</c:v>
                </c:pt>
                <c:pt idx="50">
                  <c:v>0.30577874653450676</c:v>
                </c:pt>
                <c:pt idx="51">
                  <c:v>0.28747935136199176</c:v>
                </c:pt>
                <c:pt idx="52">
                  <c:v>0.2740638550377429</c:v>
                </c:pt>
                <c:pt idx="53">
                  <c:v>0.2529811393396187</c:v>
                </c:pt>
                <c:pt idx="54">
                  <c:v>0.2334941949470651</c:v>
                </c:pt>
                <c:pt idx="55">
                  <c:v>0.2730272006077984</c:v>
                </c:pt>
                <c:pt idx="56">
                  <c:v>0.36124276664374144</c:v>
                </c:pt>
                <c:pt idx="57">
                  <c:v>0.4956327451703277</c:v>
                </c:pt>
                <c:pt idx="58">
                  <c:v>0.449458394293833</c:v>
                </c:pt>
                <c:pt idx="59">
                  <c:v>0.394453967643644</c:v>
                </c:pt>
                <c:pt idx="60">
                  <c:v>0.3559002554187801</c:v>
                </c:pt>
                <c:pt idx="61">
                  <c:v>0.33147638278039077</c:v>
                </c:pt>
                <c:pt idx="62">
                  <c:v>0.4167244547314261</c:v>
                </c:pt>
                <c:pt idx="63">
                  <c:v>0.41071412297320303</c:v>
                </c:pt>
                <c:pt idx="64">
                  <c:v>0.40843956332090664</c:v>
                </c:pt>
                <c:pt idx="65">
                  <c:v>0.3781166585785337</c:v>
                </c:pt>
                <c:pt idx="66">
                  <c:v>0.3706151317241445</c:v>
                </c:pt>
                <c:pt idx="67">
                  <c:v>0.3977114382281293</c:v>
                </c:pt>
                <c:pt idx="68">
                  <c:v>0.355700828379328</c:v>
                </c:pt>
                <c:pt idx="69">
                  <c:v>0.3538240655051566</c:v>
                </c:pt>
                <c:pt idx="70">
                  <c:v>0.33617079975857544</c:v>
                </c:pt>
                <c:pt idx="71">
                  <c:v>0.33942378636175213</c:v>
                </c:pt>
                <c:pt idx="72">
                  <c:v>0.3640635344624627</c:v>
                </c:pt>
                <c:pt idx="73">
                  <c:v>0.3460231634077813</c:v>
                </c:pt>
                <c:pt idx="74">
                  <c:v>0.32725278726941576</c:v>
                </c:pt>
                <c:pt idx="75">
                  <c:v>0.31460124233215564</c:v>
                </c:pt>
                <c:pt idx="76">
                  <c:v>0.3329027346635513</c:v>
                </c:pt>
                <c:pt idx="77">
                  <c:v>0.3297636103725264</c:v>
                </c:pt>
                <c:pt idx="78">
                  <c:v>0.3653423086110149</c:v>
                </c:pt>
                <c:pt idx="79">
                  <c:v>0.22786301089587424</c:v>
                </c:pt>
                <c:pt idx="80">
                  <c:v>0.22853081269054418</c:v>
                </c:pt>
                <c:pt idx="81">
                  <c:v>0.31648737348102185</c:v>
                </c:pt>
                <c:pt idx="82">
                  <c:v>0.33414932181449464</c:v>
                </c:pt>
                <c:pt idx="83">
                  <c:v>0.30470263901571265</c:v>
                </c:pt>
                <c:pt idx="84">
                  <c:v>0.28757938831926544</c:v>
                </c:pt>
                <c:pt idx="85">
                  <c:v>0.28709207012690613</c:v>
                </c:pt>
                <c:pt idx="86">
                  <c:v>0.31255131477273584</c:v>
                </c:pt>
                <c:pt idx="87">
                  <c:v>0.31168404056578597</c:v>
                </c:pt>
                <c:pt idx="88">
                  <c:v>0.28169509716958446</c:v>
                </c:pt>
                <c:pt idx="89">
                  <c:v>0.27305526698308397</c:v>
                </c:pt>
                <c:pt idx="90">
                  <c:v>0.2758214319362903</c:v>
                </c:pt>
                <c:pt idx="91">
                  <c:v>0.2925271071491258</c:v>
                </c:pt>
                <c:pt idx="92">
                  <c:v>0.2999747397483501</c:v>
                </c:pt>
                <c:pt idx="93">
                  <c:v>0.31974836564993514</c:v>
                </c:pt>
                <c:pt idx="94">
                  <c:v>0.30992493615600963</c:v>
                </c:pt>
                <c:pt idx="95">
                  <c:v>0.4064644418733486</c:v>
                </c:pt>
                <c:pt idx="96">
                  <c:v>0.37559847070311575</c:v>
                </c:pt>
                <c:pt idx="97">
                  <c:v>0.3705096234569044</c:v>
                </c:pt>
                <c:pt idx="98">
                  <c:v>0.406900714567972</c:v>
                </c:pt>
                <c:pt idx="99">
                  <c:v>0.45143485018210294</c:v>
                </c:pt>
                <c:pt idx="100">
                  <c:v>0.43511683551972374</c:v>
                </c:pt>
                <c:pt idx="101">
                  <c:v>0.40252633251525816</c:v>
                </c:pt>
                <c:pt idx="102">
                  <c:v>0.4010999428829723</c:v>
                </c:pt>
                <c:pt idx="103">
                  <c:v>0.33619731928379787</c:v>
                </c:pt>
                <c:pt idx="104">
                  <c:v>0.3403878034807529</c:v>
                </c:pt>
              </c:numCache>
            </c:numRef>
          </c:xVal>
          <c:yVal>
            <c:numRef>
              <c:f>Sheet1!$B$2:$B$106</c:f>
              <c:numCache>
                <c:formatCode>General</c:formatCode>
                <c:ptCount val="105"/>
                <c:pt idx="0">
                  <c:v>0.21030715158924204</c:v>
                </c:pt>
                <c:pt idx="1">
                  <c:v>0.21298701298701297</c:v>
                </c:pt>
                <c:pt idx="2">
                  <c:v>0.19188149288187764</c:v>
                </c:pt>
                <c:pt idx="3">
                  <c:v>0.19090721223393264</c:v>
                </c:pt>
                <c:pt idx="4">
                  <c:v>0.19040369315391414</c:v>
                </c:pt>
                <c:pt idx="5">
                  <c:v>0.18118797067477932</c:v>
                </c:pt>
                <c:pt idx="6">
                  <c:v>0.20359223768478837</c:v>
                </c:pt>
                <c:pt idx="7">
                  <c:v>0.20028392958546282</c:v>
                </c:pt>
                <c:pt idx="8">
                  <c:v>0.21053270971268906</c:v>
                </c:pt>
                <c:pt idx="9">
                  <c:v>0.21039721134397726</c:v>
                </c:pt>
                <c:pt idx="10">
                  <c:v>0.22042008977725078</c:v>
                </c:pt>
                <c:pt idx="11">
                  <c:v>0.21358106613581065</c:v>
                </c:pt>
                <c:pt idx="12">
                  <c:v>0.21567654719087187</c:v>
                </c:pt>
                <c:pt idx="13">
                  <c:v>0.22556548743128121</c:v>
                </c:pt>
                <c:pt idx="14">
                  <c:v>0.21514723007818998</c:v>
                </c:pt>
                <c:pt idx="15">
                  <c:v>0.21337422099119596</c:v>
                </c:pt>
                <c:pt idx="16">
                  <c:v>0.2021367278513383</c:v>
                </c:pt>
                <c:pt idx="17">
                  <c:v>0.1916417538614848</c:v>
                </c:pt>
                <c:pt idx="18">
                  <c:v>0.17514358867898416</c:v>
                </c:pt>
                <c:pt idx="19">
                  <c:v>0.16184781718404456</c:v>
                </c:pt>
                <c:pt idx="20">
                  <c:v>0.174278038952317</c:v>
                </c:pt>
                <c:pt idx="21">
                  <c:v>0.17816586373021334</c:v>
                </c:pt>
                <c:pt idx="22">
                  <c:v>0.17713299358868978</c:v>
                </c:pt>
                <c:pt idx="23">
                  <c:v>0.18507202095154954</c:v>
                </c:pt>
                <c:pt idx="24">
                  <c:v>0.18752479961907786</c:v>
                </c:pt>
                <c:pt idx="25">
                  <c:v>0.18773318773318773</c:v>
                </c:pt>
                <c:pt idx="26">
                  <c:v>0.192</c:v>
                </c:pt>
                <c:pt idx="27">
                  <c:v>0.17932890155112377</c:v>
                </c:pt>
                <c:pt idx="28">
                  <c:v>0.17864642222581167</c:v>
                </c:pt>
                <c:pt idx="29">
                  <c:v>0.20309249757315212</c:v>
                </c:pt>
                <c:pt idx="30">
                  <c:v>0.18293125340105207</c:v>
                </c:pt>
                <c:pt idx="31">
                  <c:v>0.17864829961256995</c:v>
                </c:pt>
                <c:pt idx="32">
                  <c:v>0.1871335232032166</c:v>
                </c:pt>
                <c:pt idx="33">
                  <c:v>0.20930232558139536</c:v>
                </c:pt>
                <c:pt idx="34">
                  <c:v>0.1992973309911033</c:v>
                </c:pt>
                <c:pt idx="35">
                  <c:v>0.1956752736159813</c:v>
                </c:pt>
                <c:pt idx="36">
                  <c:v>0.15181646844739066</c:v>
                </c:pt>
                <c:pt idx="37">
                  <c:v>0.14250182882223847</c:v>
                </c:pt>
                <c:pt idx="38">
                  <c:v>0.13718112724809994</c:v>
                </c:pt>
                <c:pt idx="39">
                  <c:v>0.13833099797602366</c:v>
                </c:pt>
                <c:pt idx="40">
                  <c:v>0.13867644270273688</c:v>
                </c:pt>
                <c:pt idx="41">
                  <c:v>0.1270996640537514</c:v>
                </c:pt>
                <c:pt idx="42">
                  <c:v>0.13326508490906902</c:v>
                </c:pt>
                <c:pt idx="43">
                  <c:v>0.13675121424716677</c:v>
                </c:pt>
                <c:pt idx="44">
                  <c:v>0.16124158769399807</c:v>
                </c:pt>
                <c:pt idx="45">
                  <c:v>0.1861608385121974</c:v>
                </c:pt>
                <c:pt idx="46">
                  <c:v>0.1937179063691781</c:v>
                </c:pt>
                <c:pt idx="47">
                  <c:v>0.19532088430993774</c:v>
                </c:pt>
                <c:pt idx="48">
                  <c:v>0.21233782239451454</c:v>
                </c:pt>
                <c:pt idx="49">
                  <c:v>0.24603675866860356</c:v>
                </c:pt>
                <c:pt idx="50">
                  <c:v>0.20786180373861235</c:v>
                </c:pt>
                <c:pt idx="51">
                  <c:v>0.18664801119328403</c:v>
                </c:pt>
                <c:pt idx="52">
                  <c:v>0.19997993176801124</c:v>
                </c:pt>
                <c:pt idx="53">
                  <c:v>0.1882059256834179</c:v>
                </c:pt>
                <c:pt idx="54">
                  <c:v>0.1853673948366131</c:v>
                </c:pt>
                <c:pt idx="55">
                  <c:v>0.17528152113716078</c:v>
                </c:pt>
                <c:pt idx="56">
                  <c:v>0.1852655955999421</c:v>
                </c:pt>
                <c:pt idx="57">
                  <c:v>0.18023843200646594</c:v>
                </c:pt>
                <c:pt idx="58">
                  <c:v>0.19915412830301668</c:v>
                </c:pt>
                <c:pt idx="59">
                  <c:v>0.2092832698703427</c:v>
                </c:pt>
                <c:pt idx="60">
                  <c:v>0.22389277072401512</c:v>
                </c:pt>
                <c:pt idx="61">
                  <c:v>0.222672371360418</c:v>
                </c:pt>
                <c:pt idx="62">
                  <c:v>0.22107099622587767</c:v>
                </c:pt>
                <c:pt idx="63">
                  <c:v>0.23888208218815193</c:v>
                </c:pt>
                <c:pt idx="64">
                  <c:v>0.22448180186061695</c:v>
                </c:pt>
                <c:pt idx="65">
                  <c:v>0.2092982083421854</c:v>
                </c:pt>
                <c:pt idx="66">
                  <c:v>0.21225035212539275</c:v>
                </c:pt>
                <c:pt idx="67">
                  <c:v>0.20886051756431329</c:v>
                </c:pt>
                <c:pt idx="68">
                  <c:v>0.18994516381733562</c:v>
                </c:pt>
                <c:pt idx="69">
                  <c:v>0.17577310373592325</c:v>
                </c:pt>
                <c:pt idx="70">
                  <c:v>0.16404162165235686</c:v>
                </c:pt>
                <c:pt idx="71">
                  <c:v>0.17445482866043613</c:v>
                </c:pt>
                <c:pt idx="72">
                  <c:v>0.17299754740683138</c:v>
                </c:pt>
                <c:pt idx="73">
                  <c:v>0.17705832738597288</c:v>
                </c:pt>
                <c:pt idx="74">
                  <c:v>0.17853922452660054</c:v>
                </c:pt>
                <c:pt idx="75">
                  <c:v>0.18282139593730232</c:v>
                </c:pt>
                <c:pt idx="76">
                  <c:v>0.1749961907664178</c:v>
                </c:pt>
                <c:pt idx="77">
                  <c:v>0.17296614850469502</c:v>
                </c:pt>
                <c:pt idx="78">
                  <c:v>0.15853018372703412</c:v>
                </c:pt>
                <c:pt idx="79">
                  <c:v>0.2261861775113743</c:v>
                </c:pt>
                <c:pt idx="80">
                  <c:v>0.2101878612716763</c:v>
                </c:pt>
                <c:pt idx="81">
                  <c:v>0.1694088207694714</c:v>
                </c:pt>
                <c:pt idx="82">
                  <c:v>0.16926466987676486</c:v>
                </c:pt>
                <c:pt idx="83">
                  <c:v>0.14987487255538048</c:v>
                </c:pt>
                <c:pt idx="84">
                  <c:v>0.1537157389092964</c:v>
                </c:pt>
                <c:pt idx="85">
                  <c:v>0.15863306418726042</c:v>
                </c:pt>
                <c:pt idx="86">
                  <c:v>0.1524004465947153</c:v>
                </c:pt>
                <c:pt idx="87">
                  <c:v>0.1689402513850003</c:v>
                </c:pt>
                <c:pt idx="88">
                  <c:v>0.14848762603116408</c:v>
                </c:pt>
                <c:pt idx="89">
                  <c:v>0.14441462596444146</c:v>
                </c:pt>
                <c:pt idx="90">
                  <c:v>0.14172686618507052</c:v>
                </c:pt>
                <c:pt idx="91">
                  <c:v>0.13393232009404651</c:v>
                </c:pt>
                <c:pt idx="92">
                  <c:v>0.14259086672879775</c:v>
                </c:pt>
                <c:pt idx="93">
                  <c:v>0.13648551435484926</c:v>
                </c:pt>
                <c:pt idx="94">
                  <c:v>0.14039841804599384</c:v>
                </c:pt>
                <c:pt idx="95">
                  <c:v>0.14438761776581427</c:v>
                </c:pt>
                <c:pt idx="96">
                  <c:v>0.1441160471441523</c:v>
                </c:pt>
                <c:pt idx="97">
                  <c:v>0.1554780494048381</c:v>
                </c:pt>
                <c:pt idx="98">
                  <c:v>0.17081260364842454</c:v>
                </c:pt>
                <c:pt idx="99">
                  <c:v>0.17867754563033533</c:v>
                </c:pt>
                <c:pt idx="100">
                  <c:v>0.19638028243694658</c:v>
                </c:pt>
                <c:pt idx="101">
                  <c:v>0.18430480700333343</c:v>
                </c:pt>
                <c:pt idx="102">
                  <c:v>0.15521151330135194</c:v>
                </c:pt>
                <c:pt idx="103">
                  <c:v>0.17430878208545966</c:v>
                </c:pt>
                <c:pt idx="104">
                  <c:v>0.1768059102517329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6116109229860394</c:v>
                </c:pt>
                <c:pt idx="1">
                  <c:v>0.37601853992047746</c:v>
                </c:pt>
                <c:pt idx="2">
                  <c:v>0.3654428711887425</c:v>
                </c:pt>
                <c:pt idx="3">
                  <c:v>0.3896370335222368</c:v>
                </c:pt>
                <c:pt idx="4">
                  <c:v>0.3660860596918</c:v>
                </c:pt>
                <c:pt idx="5">
                  <c:v>0.33961323412854566</c:v>
                </c:pt>
                <c:pt idx="6">
                  <c:v>0.3858344656965853</c:v>
                </c:pt>
                <c:pt idx="7">
                  <c:v>0.4188729285757183</c:v>
                </c:pt>
                <c:pt idx="8">
                  <c:v>0.40234240048938547</c:v>
                </c:pt>
                <c:pt idx="9">
                  <c:v>0.3944581238214611</c:v>
                </c:pt>
                <c:pt idx="10">
                  <c:v>0.42565718871640457</c:v>
                </c:pt>
                <c:pt idx="11">
                  <c:v>0.40907017076109853</c:v>
                </c:pt>
                <c:pt idx="12">
                  <c:v>0.438199864820011</c:v>
                </c:pt>
                <c:pt idx="13">
                  <c:v>0.4727225046370002</c:v>
                </c:pt>
                <c:pt idx="14">
                  <c:v>0.47701415744339287</c:v>
                </c:pt>
                <c:pt idx="15">
                  <c:v>0.43422083737229217</c:v>
                </c:pt>
                <c:pt idx="16">
                  <c:v>0.4269818416101241</c:v>
                </c:pt>
                <c:pt idx="17">
                  <c:v>0.39129662390052794</c:v>
                </c:pt>
                <c:pt idx="18">
                  <c:v>0.3679371263053037</c:v>
                </c:pt>
                <c:pt idx="19">
                  <c:v>0.3939008297339419</c:v>
                </c:pt>
                <c:pt idx="20">
                  <c:v>0.38880602516141</c:v>
                </c:pt>
                <c:pt idx="21">
                  <c:v>0.3530636756081201</c:v>
                </c:pt>
                <c:pt idx="22">
                  <c:v>0.34055088698422126</c:v>
                </c:pt>
                <c:pt idx="23">
                  <c:v>0.33854339653479026</c:v>
                </c:pt>
                <c:pt idx="24">
                  <c:v>0.34646569066770855</c:v>
                </c:pt>
                <c:pt idx="25">
                  <c:v>0.32928088874920963</c:v>
                </c:pt>
                <c:pt idx="26">
                  <c:v>0.34220916245275884</c:v>
                </c:pt>
                <c:pt idx="27">
                  <c:v>0.3591555020809369</c:v>
                </c:pt>
                <c:pt idx="28">
                  <c:v>0.40111801229084626</c:v>
                </c:pt>
                <c:pt idx="29">
                  <c:v>0.40384917283902816</c:v>
                </c:pt>
                <c:pt idx="30">
                  <c:v>0.3816787980916271</c:v>
                </c:pt>
                <c:pt idx="31">
                  <c:v>0.28720989592058904</c:v>
                </c:pt>
                <c:pt idx="32">
                  <c:v>0.2861095972659548</c:v>
                </c:pt>
                <c:pt idx="33">
                  <c:v>0.2859131781130976</c:v>
                </c:pt>
                <c:pt idx="34">
                  <c:v>0.3094707904036711</c:v>
                </c:pt>
                <c:pt idx="35">
                  <c:v>0.3030668025686158</c:v>
                </c:pt>
                <c:pt idx="36">
                  <c:v>0.30672670110911343</c:v>
                </c:pt>
                <c:pt idx="37">
                  <c:v>0.3185274615624672</c:v>
                </c:pt>
                <c:pt idx="38">
                  <c:v>0.3237627110430982</c:v>
                </c:pt>
                <c:pt idx="39">
                  <c:v>0.3302830346841907</c:v>
                </c:pt>
                <c:pt idx="40">
                  <c:v>0.3338704817134267</c:v>
                </c:pt>
                <c:pt idx="41">
                  <c:v>0.3516554193657294</c:v>
                </c:pt>
                <c:pt idx="42">
                  <c:v>0.33691001507553314</c:v>
                </c:pt>
                <c:pt idx="43">
                  <c:v>0.3713740000931436</c:v>
                </c:pt>
                <c:pt idx="44">
                  <c:v>0.40833386082547984</c:v>
                </c:pt>
                <c:pt idx="45">
                  <c:v>0.4217021425523066</c:v>
                </c:pt>
                <c:pt idx="46">
                  <c:v>0.3904469205066988</c:v>
                </c:pt>
                <c:pt idx="47">
                  <c:v>0.41983376948367046</c:v>
                </c:pt>
                <c:pt idx="48">
                  <c:v>0.42818077985574066</c:v>
                </c:pt>
                <c:pt idx="49">
                  <c:v>0.46269020808382255</c:v>
                </c:pt>
                <c:pt idx="50">
                  <c:v>0.43744924423569237</c:v>
                </c:pt>
                <c:pt idx="51">
                  <c:v>0.36989820339341933</c:v>
                </c:pt>
              </c:numCache>
            </c:numRef>
          </c:xVal>
          <c:yVal>
            <c:numRef>
              <c:f>Sheet1!$B$109:$B$160</c:f>
              <c:numCache>
                <c:formatCode>General</c:formatCode>
                <c:ptCount val="52"/>
                <c:pt idx="0">
                  <c:v>0.1696125907990315</c:v>
                </c:pt>
                <c:pt idx="1">
                  <c:v>0.1799104286628279</c:v>
                </c:pt>
                <c:pt idx="2">
                  <c:v>0.1882895378041009</c:v>
                </c:pt>
                <c:pt idx="3">
                  <c:v>0.2025717264548017</c:v>
                </c:pt>
                <c:pt idx="4">
                  <c:v>0.19036715357283854</c:v>
                </c:pt>
                <c:pt idx="5">
                  <c:v>0.1883741612094753</c:v>
                </c:pt>
                <c:pt idx="6">
                  <c:v>0.1853735531392494</c:v>
                </c:pt>
                <c:pt idx="7">
                  <c:v>0.17800038528221923</c:v>
                </c:pt>
                <c:pt idx="8">
                  <c:v>0.17771394504362908</c:v>
                </c:pt>
                <c:pt idx="9">
                  <c:v>0.18665271132376396</c:v>
                </c:pt>
                <c:pt idx="10">
                  <c:v>0.19376186073670382</c:v>
                </c:pt>
                <c:pt idx="11">
                  <c:v>0.20784165751920966</c:v>
                </c:pt>
                <c:pt idx="12">
                  <c:v>0.20951877743456349</c:v>
                </c:pt>
                <c:pt idx="13">
                  <c:v>0.19814417647831226</c:v>
                </c:pt>
                <c:pt idx="14">
                  <c:v>0.20124253285543608</c:v>
                </c:pt>
                <c:pt idx="15">
                  <c:v>0.18858176181865152</c:v>
                </c:pt>
                <c:pt idx="16">
                  <c:v>0.16970213802765427</c:v>
                </c:pt>
                <c:pt idx="17">
                  <c:v>0.15518128053484187</c:v>
                </c:pt>
                <c:pt idx="18">
                  <c:v>0.1502881520844248</c:v>
                </c:pt>
                <c:pt idx="19">
                  <c:v>0.157272860707471</c:v>
                </c:pt>
                <c:pt idx="20">
                  <c:v>0.1460418192173135</c:v>
                </c:pt>
                <c:pt idx="21">
                  <c:v>0.15542436852801703</c:v>
                </c:pt>
                <c:pt idx="22">
                  <c:v>0.16148597422289612</c:v>
                </c:pt>
                <c:pt idx="23">
                  <c:v>0.16593756213959038</c:v>
                </c:pt>
                <c:pt idx="24">
                  <c:v>0.15968992248062017</c:v>
                </c:pt>
                <c:pt idx="25">
                  <c:v>0.16526772793053546</c:v>
                </c:pt>
                <c:pt idx="26">
                  <c:v>0.1439575033200531</c:v>
                </c:pt>
                <c:pt idx="27">
                  <c:v>0.14356673609998397</c:v>
                </c:pt>
                <c:pt idx="28">
                  <c:v>0.1543013856812933</c:v>
                </c:pt>
                <c:pt idx="29">
                  <c:v>0.15728375665531988</c:v>
                </c:pt>
                <c:pt idx="30">
                  <c:v>0.1659631791647957</c:v>
                </c:pt>
                <c:pt idx="31">
                  <c:v>0.16738361533314214</c:v>
                </c:pt>
                <c:pt idx="32">
                  <c:v>0.17072766451185148</c:v>
                </c:pt>
                <c:pt idx="33">
                  <c:v>0.18749190728991325</c:v>
                </c:pt>
                <c:pt idx="34">
                  <c:v>0.20933340460790079</c:v>
                </c:pt>
                <c:pt idx="35">
                  <c:v>0.20136381869233855</c:v>
                </c:pt>
                <c:pt idx="36">
                  <c:v>0.17013669821240798</c:v>
                </c:pt>
                <c:pt idx="37">
                  <c:v>0.1519192304028955</c:v>
                </c:pt>
                <c:pt idx="38">
                  <c:v>0.15699152542372882</c:v>
                </c:pt>
                <c:pt idx="39">
                  <c:v>0.17547272585790988</c:v>
                </c:pt>
                <c:pt idx="40">
                  <c:v>0.15525388134703366</c:v>
                </c:pt>
                <c:pt idx="41">
                  <c:v>0.1563388288800455</c:v>
                </c:pt>
                <c:pt idx="42">
                  <c:v>0.15529659302419682</c:v>
                </c:pt>
                <c:pt idx="43">
                  <c:v>0.14629695042976568</c:v>
                </c:pt>
                <c:pt idx="44">
                  <c:v>0.13895062324862306</c:v>
                </c:pt>
                <c:pt idx="45">
                  <c:v>0.1540945217144479</c:v>
                </c:pt>
                <c:pt idx="46">
                  <c:v>0.1499685995394599</c:v>
                </c:pt>
                <c:pt idx="47">
                  <c:v>0.15169280944246</c:v>
                </c:pt>
                <c:pt idx="48">
                  <c:v>0.14248446004702245</c:v>
                </c:pt>
                <c:pt idx="49">
                  <c:v>0.15973649220355374</c:v>
                </c:pt>
                <c:pt idx="50">
                  <c:v>0.19359691025510722</c:v>
                </c:pt>
                <c:pt idx="51">
                  <c:v>0.180591212499083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9030556055268163</c:v>
                </c:pt>
              </c:numCache>
            </c:numRef>
          </c:xVal>
          <c:yVal>
            <c:numRef>
              <c:f>Sheet1!$B$163:$B$164</c:f>
              <c:numCache>
                <c:formatCode>General</c:formatCode>
                <c:ptCount val="2"/>
                <c:pt idx="0">
                  <c:v>0.1999656435326154</c:v>
                </c:pt>
                <c:pt idx="1">
                  <c:v>0.199965643532615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9030556055268163</c:v>
                </c:pt>
                <c:pt idx="1">
                  <c:v>0.9030556055268163</c:v>
                </c:pt>
              </c:numCache>
            </c:numRef>
          </c:xVal>
          <c:yVal>
            <c:numRef>
              <c:f>Sheet1!$B$167:$B$168</c:f>
              <c:numCache>
                <c:formatCode>General</c:formatCode>
                <c:ptCount val="2"/>
                <c:pt idx="0">
                  <c:v>0.19996564353261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241981571937397</c:v>
                </c:pt>
              </c:numCache>
            </c:numRef>
          </c:xVal>
          <c:yVal>
            <c:numRef>
              <c:f>Sheet1!$B$171:$B$172</c:f>
              <c:numCache>
                <c:formatCode>General</c:formatCode>
                <c:ptCount val="2"/>
                <c:pt idx="0">
                  <c:v>0.1844681646631304</c:v>
                </c:pt>
                <c:pt idx="1">
                  <c:v>0.184468164663130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241981571937397</c:v>
                </c:pt>
                <c:pt idx="1">
                  <c:v>0.6241981571937397</c:v>
                </c:pt>
              </c:numCache>
            </c:numRef>
          </c:xVal>
          <c:yVal>
            <c:numRef>
              <c:f>Sheet1!$B$175:$B$176</c:f>
              <c:numCache>
                <c:formatCode>General</c:formatCode>
                <c:ptCount val="2"/>
                <c:pt idx="0">
                  <c:v>0.18446816466313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559299788339527</c:v>
                </c:pt>
              </c:numCache>
            </c:numRef>
          </c:xVal>
          <c:yVal>
            <c:numRef>
              <c:f>Sheet1!$B$179:$B$180</c:f>
              <c:numCache>
                <c:formatCode>General</c:formatCode>
                <c:ptCount val="2"/>
                <c:pt idx="0">
                  <c:v>0.1584442006529776</c:v>
                </c:pt>
                <c:pt idx="1">
                  <c:v>0.158444200652977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559299788339527</c:v>
                </c:pt>
                <c:pt idx="1">
                  <c:v>0.1559299788339527</c:v>
                </c:pt>
              </c:numCache>
            </c:numRef>
          </c:xVal>
          <c:yVal>
            <c:numRef>
              <c:f>Sheet1!$B$183:$B$184</c:f>
              <c:numCache>
                <c:formatCode>General</c:formatCode>
                <c:ptCount val="2"/>
                <c:pt idx="0">
                  <c:v>0.158444200652977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6116109229860394</c:v>
                </c:pt>
                <c:pt idx="1">
                  <c:v>0.37601853992047746</c:v>
                </c:pt>
                <c:pt idx="2">
                  <c:v>0.3654428711887425</c:v>
                </c:pt>
                <c:pt idx="3">
                  <c:v>0.3896370335222368</c:v>
                </c:pt>
                <c:pt idx="4">
                  <c:v>0.3660860596918</c:v>
                </c:pt>
                <c:pt idx="5">
                  <c:v>0.33961323412854566</c:v>
                </c:pt>
                <c:pt idx="6">
                  <c:v>0.3858344656965853</c:v>
                </c:pt>
                <c:pt idx="7">
                  <c:v>0.4188729285757183</c:v>
                </c:pt>
                <c:pt idx="8">
                  <c:v>0.40234240048938547</c:v>
                </c:pt>
                <c:pt idx="9">
                  <c:v>0.3944581238214611</c:v>
                </c:pt>
                <c:pt idx="10">
                  <c:v>0.42565718871640457</c:v>
                </c:pt>
                <c:pt idx="11">
                  <c:v>0.40907017076109853</c:v>
                </c:pt>
                <c:pt idx="12">
                  <c:v>0.438199864820011</c:v>
                </c:pt>
                <c:pt idx="13">
                  <c:v>0.4727225046370002</c:v>
                </c:pt>
                <c:pt idx="14">
                  <c:v>0.47701415744339287</c:v>
                </c:pt>
                <c:pt idx="15">
                  <c:v>0.43422083737229217</c:v>
                </c:pt>
                <c:pt idx="16">
                  <c:v>0.4269818416101241</c:v>
                </c:pt>
                <c:pt idx="17">
                  <c:v>0.39129662390052794</c:v>
                </c:pt>
                <c:pt idx="18">
                  <c:v>0.3679371263053037</c:v>
                </c:pt>
                <c:pt idx="19">
                  <c:v>0.3939008297339419</c:v>
                </c:pt>
                <c:pt idx="20">
                  <c:v>0.38880602516141</c:v>
                </c:pt>
                <c:pt idx="21">
                  <c:v>0.3530636756081201</c:v>
                </c:pt>
                <c:pt idx="22">
                  <c:v>0.34055088698422126</c:v>
                </c:pt>
                <c:pt idx="23">
                  <c:v>0.33854339653479026</c:v>
                </c:pt>
                <c:pt idx="24">
                  <c:v>0.34646569066770855</c:v>
                </c:pt>
                <c:pt idx="25">
                  <c:v>0.32928088874920963</c:v>
                </c:pt>
                <c:pt idx="26">
                  <c:v>0.34220916245275884</c:v>
                </c:pt>
                <c:pt idx="27">
                  <c:v>0.3591555020809369</c:v>
                </c:pt>
                <c:pt idx="28">
                  <c:v>0.40111801229084626</c:v>
                </c:pt>
                <c:pt idx="29">
                  <c:v>0.40384917283902816</c:v>
                </c:pt>
                <c:pt idx="30">
                  <c:v>0.3816787980916271</c:v>
                </c:pt>
                <c:pt idx="31">
                  <c:v>0.28720989592058904</c:v>
                </c:pt>
                <c:pt idx="32">
                  <c:v>0.2861095972659548</c:v>
                </c:pt>
                <c:pt idx="33">
                  <c:v>0.2859131781130976</c:v>
                </c:pt>
                <c:pt idx="34">
                  <c:v>0.3094707904036711</c:v>
                </c:pt>
                <c:pt idx="35">
                  <c:v>0.3030668025686158</c:v>
                </c:pt>
                <c:pt idx="36">
                  <c:v>0.30672670110911343</c:v>
                </c:pt>
                <c:pt idx="37">
                  <c:v>0.3185274615624672</c:v>
                </c:pt>
                <c:pt idx="38">
                  <c:v>0.3237627110430982</c:v>
                </c:pt>
                <c:pt idx="39">
                  <c:v>0.3302830346841907</c:v>
                </c:pt>
                <c:pt idx="40">
                  <c:v>0.3338704817134267</c:v>
                </c:pt>
                <c:pt idx="41">
                  <c:v>0.3516554193657294</c:v>
                </c:pt>
                <c:pt idx="42">
                  <c:v>0.33691001507553314</c:v>
                </c:pt>
                <c:pt idx="43">
                  <c:v>0.3713740000931436</c:v>
                </c:pt>
                <c:pt idx="44">
                  <c:v>0.40833386082547984</c:v>
                </c:pt>
                <c:pt idx="45">
                  <c:v>0.4217021425523066</c:v>
                </c:pt>
                <c:pt idx="46">
                  <c:v>0.3904469205066988</c:v>
                </c:pt>
                <c:pt idx="47">
                  <c:v>0.41983376948367046</c:v>
                </c:pt>
                <c:pt idx="48">
                  <c:v>0.42818077985574066</c:v>
                </c:pt>
                <c:pt idx="49">
                  <c:v>0.46269020808382255</c:v>
                </c:pt>
                <c:pt idx="50">
                  <c:v>0.43744924423569237</c:v>
                </c:pt>
                <c:pt idx="51">
                  <c:v>0.36989820339341933</c:v>
                </c:pt>
                <c:pt idx="52">
                  <c:v>0.6241981571937397</c:v>
                </c:pt>
                <c:pt idx="53">
                  <c:v>0.9030556055268163</c:v>
                </c:pt>
                <c:pt idx="54">
                  <c:v>0.1559299788339527</c:v>
                </c:pt>
              </c:numCache>
            </c:numRef>
          </c:xVal>
          <c:yVal>
            <c:numRef>
              <c:f>Sheet1!$B$187:$B$241</c:f>
              <c:numCache>
                <c:formatCode>General</c:formatCode>
                <c:ptCount val="55"/>
                <c:pt idx="0">
                  <c:v>0.16984990225173976</c:v>
                </c:pt>
                <c:pt idx="1">
                  <c:v>0.17067560363411577</c:v>
                </c:pt>
                <c:pt idx="2">
                  <c:v>0.17008786174778476</c:v>
                </c:pt>
                <c:pt idx="3">
                  <c:v>0.17143245025266257</c:v>
                </c:pt>
                <c:pt idx="4">
                  <c:v>0.17012360689389727</c:v>
                </c:pt>
                <c:pt idx="5">
                  <c:v>0.16865238187468218</c:v>
                </c:pt>
                <c:pt idx="6">
                  <c:v>0.17122112287058947</c:v>
                </c:pt>
                <c:pt idx="7">
                  <c:v>0.17305723262275954</c:v>
                </c:pt>
                <c:pt idx="8">
                  <c:v>0.1721385499364955</c:v>
                </c:pt>
                <c:pt idx="9">
                  <c:v>0.17170038193419637</c:v>
                </c:pt>
                <c:pt idx="10">
                  <c:v>0.17343426730052722</c:v>
                </c:pt>
                <c:pt idx="11">
                  <c:v>0.17251244519462067</c:v>
                </c:pt>
                <c:pt idx="12">
                  <c:v>0.17413132545351678</c:v>
                </c:pt>
                <c:pt idx="13">
                  <c:v>0.17604991821222118</c:v>
                </c:pt>
                <c:pt idx="14">
                  <c:v>0.1762884264503185</c:v>
                </c:pt>
                <c:pt idx="15">
                  <c:v>0.17391019134302146</c:v>
                </c:pt>
                <c:pt idx="16">
                  <c:v>0.17350788477193613</c:v>
                </c:pt>
                <c:pt idx="17">
                  <c:v>0.17152468184616423</c:v>
                </c:pt>
                <c:pt idx="18">
                  <c:v>0.17022647976281385</c:v>
                </c:pt>
                <c:pt idx="19">
                  <c:v>0.1716694103628898</c:v>
                </c:pt>
                <c:pt idx="20">
                  <c:v>0.1713862670339992</c:v>
                </c:pt>
                <c:pt idx="21">
                  <c:v>0.16939988901089456</c:v>
                </c:pt>
                <c:pt idx="22">
                  <c:v>0.1687044918520366</c:v>
                </c:pt>
                <c:pt idx="23">
                  <c:v>0.168592925741801</c:v>
                </c:pt>
                <c:pt idx="24">
                  <c:v>0.16903320656146947</c:v>
                </c:pt>
                <c:pt idx="25">
                  <c:v>0.16807816266287465</c:v>
                </c:pt>
                <c:pt idx="26">
                  <c:v>0.16879665036954103</c:v>
                </c:pt>
                <c:pt idx="27">
                  <c:v>0.1697384417467221</c:v>
                </c:pt>
                <c:pt idx="28">
                  <c:v>0.17207050466695603</c:v>
                </c:pt>
                <c:pt idx="29">
                  <c:v>0.17222228868110961</c:v>
                </c:pt>
                <c:pt idx="30">
                  <c:v>0.1709901719984452</c:v>
                </c:pt>
                <c:pt idx="31">
                  <c:v>0.16574007083037307</c:v>
                </c:pt>
                <c:pt idx="32">
                  <c:v>0.16567892182663568</c:v>
                </c:pt>
                <c:pt idx="33">
                  <c:v>0.1656680058489949</c:v>
                </c:pt>
                <c:pt idx="34">
                  <c:v>0.16697721813961522</c:v>
                </c:pt>
                <c:pt idx="35">
                  <c:v>0.1666213170627479</c:v>
                </c:pt>
                <c:pt idx="36">
                  <c:v>0.16682471561148624</c:v>
                </c:pt>
                <c:pt idx="37">
                  <c:v>0.16748054186559175</c:v>
                </c:pt>
                <c:pt idx="38">
                  <c:v>0.16777149040825234</c:v>
                </c:pt>
                <c:pt idx="39">
                  <c:v>0.1681338568376021</c:v>
                </c:pt>
                <c:pt idx="40">
                  <c:v>0.16833322889979127</c:v>
                </c:pt>
                <c:pt idx="41">
                  <c:v>0.16932162529052516</c:v>
                </c:pt>
                <c:pt idx="42">
                  <c:v>0.16850215070673571</c:v>
                </c:pt>
                <c:pt idx="43">
                  <c:v>0.17041748372997528</c:v>
                </c:pt>
                <c:pt idx="44">
                  <c:v>0.17247152483284853</c:v>
                </c:pt>
                <c:pt idx="45">
                  <c:v>0.17321446594782053</c:v>
                </c:pt>
                <c:pt idx="46">
                  <c:v>0.1714774596526388</c:v>
                </c:pt>
                <c:pt idx="47">
                  <c:v>0.17311063127413837</c:v>
                </c:pt>
                <c:pt idx="48">
                  <c:v>0.17357451566251597</c:v>
                </c:pt>
                <c:pt idx="49">
                  <c:v>0.1754923741882955</c:v>
                </c:pt>
                <c:pt idx="50">
                  <c:v>0.17408960977866564</c:v>
                </c:pt>
                <c:pt idx="51">
                  <c:v>0.17033546645445927</c:v>
                </c:pt>
                <c:pt idx="52">
                  <c:v>0.1844681646631304</c:v>
                </c:pt>
                <c:pt idx="53">
                  <c:v>0.1999656435326154</c:v>
                </c:pt>
                <c:pt idx="54">
                  <c:v>0.158444200652977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524411040232423"/>
          <c:min val="0.1016797312430011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5.4024</c:v>
                </c:pt>
                <c:pt idx="1">
                  <c:v>920.5213</c:v>
                </c:pt>
                <c:pt idx="2">
                  <c:v>978.4239</c:v>
                </c:pt>
                <c:pt idx="3">
                  <c:v>998.7876</c:v>
                </c:pt>
                <c:pt idx="4">
                  <c:v>1002.9698</c:v>
                </c:pt>
                <c:pt idx="5">
                  <c:v>1003.4349</c:v>
                </c:pt>
                <c:pt idx="6">
                  <c:v>957.1424</c:v>
                </c:pt>
                <c:pt idx="7">
                  <c:v>985.8319</c:v>
                </c:pt>
                <c:pt idx="8">
                  <c:v>978.2738</c:v>
                </c:pt>
                <c:pt idx="9">
                  <c:v>959.4434</c:v>
                </c:pt>
                <c:pt idx="10">
                  <c:v>965.2686</c:v>
                </c:pt>
                <c:pt idx="11">
                  <c:v>1006.9393</c:v>
                </c:pt>
                <c:pt idx="12">
                  <c:v>1000.8148</c:v>
                </c:pt>
                <c:pt idx="13">
                  <c:v>976.9358</c:v>
                </c:pt>
                <c:pt idx="14">
                  <c:v>980.854</c:v>
                </c:pt>
                <c:pt idx="15">
                  <c:v>985.9047</c:v>
                </c:pt>
                <c:pt idx="16">
                  <c:v>984.2631</c:v>
                </c:pt>
                <c:pt idx="17">
                  <c:v>1001.7215</c:v>
                </c:pt>
                <c:pt idx="18">
                  <c:v>1049.9328</c:v>
                </c:pt>
                <c:pt idx="19">
                  <c:v>1077.2363</c:v>
                </c:pt>
                <c:pt idx="20">
                  <c:v>1069.1202</c:v>
                </c:pt>
                <c:pt idx="21">
                  <c:v>1087.7011</c:v>
                </c:pt>
                <c:pt idx="22">
                  <c:v>1078.6974</c:v>
                </c:pt>
                <c:pt idx="23">
                  <c:v>1060.809</c:v>
                </c:pt>
                <c:pt idx="24">
                  <c:v>1044.8785</c:v>
                </c:pt>
                <c:pt idx="25">
                  <c:v>1028.8129</c:v>
                </c:pt>
                <c:pt idx="26">
                  <c:v>1037.0373</c:v>
                </c:pt>
                <c:pt idx="27">
                  <c:v>1054.5763</c:v>
                </c:pt>
                <c:pt idx="28">
                  <c:v>1047.4182</c:v>
                </c:pt>
                <c:pt idx="29">
                  <c:v>926.3756</c:v>
                </c:pt>
                <c:pt idx="30">
                  <c:v>974.5821</c:v>
                </c:pt>
                <c:pt idx="31">
                  <c:v>995.3827</c:v>
                </c:pt>
                <c:pt idx="32">
                  <c:v>968.4678</c:v>
                </c:pt>
                <c:pt idx="33">
                  <c:v>901.2957</c:v>
                </c:pt>
                <c:pt idx="34">
                  <c:v>996.5638</c:v>
                </c:pt>
                <c:pt idx="35">
                  <c:v>1054.9047</c:v>
                </c:pt>
                <c:pt idx="36">
                  <c:v>1135.8883</c:v>
                </c:pt>
                <c:pt idx="37">
                  <c:v>1128.944</c:v>
                </c:pt>
                <c:pt idx="38">
                  <c:v>1188.4339</c:v>
                </c:pt>
                <c:pt idx="39">
                  <c:v>1192.8818</c:v>
                </c:pt>
                <c:pt idx="40">
                  <c:v>1217.2229</c:v>
                </c:pt>
                <c:pt idx="41">
                  <c:v>1247.0286</c:v>
                </c:pt>
                <c:pt idx="42">
                  <c:v>1293.066</c:v>
                </c:pt>
                <c:pt idx="43">
                  <c:v>1290.97</c:v>
                </c:pt>
                <c:pt idx="44">
                  <c:v>1124.4896</c:v>
                </c:pt>
                <c:pt idx="45">
                  <c:v>1061.8205</c:v>
                </c:pt>
                <c:pt idx="46">
                  <c:v>1056.6621</c:v>
                </c:pt>
                <c:pt idx="47">
                  <c:v>1037.049</c:v>
                </c:pt>
                <c:pt idx="48">
                  <c:v>1041.8563</c:v>
                </c:pt>
                <c:pt idx="49">
                  <c:v>1018.3046</c:v>
                </c:pt>
                <c:pt idx="50">
                  <c:v>1019.4483</c:v>
                </c:pt>
                <c:pt idx="51">
                  <c:v>1046.828</c:v>
                </c:pt>
                <c:pt idx="52">
                  <c:v>1057.0442</c:v>
                </c:pt>
                <c:pt idx="53">
                  <c:v>1110.2264</c:v>
                </c:pt>
                <c:pt idx="54">
                  <c:v>1118.9881</c:v>
                </c:pt>
                <c:pt idx="55">
                  <c:v>1130.1327</c:v>
                </c:pt>
                <c:pt idx="56">
                  <c:v>1154.9161</c:v>
                </c:pt>
                <c:pt idx="57">
                  <c:v>1130.0834</c:v>
                </c:pt>
                <c:pt idx="58">
                  <c:v>1105.4809</c:v>
                </c:pt>
                <c:pt idx="59">
                  <c:v>1088.2499</c:v>
                </c:pt>
                <c:pt idx="60">
                  <c:v>1116.5863</c:v>
                </c:pt>
                <c:pt idx="61">
                  <c:v>1120.4926</c:v>
                </c:pt>
                <c:pt idx="62">
                  <c:v>1098.214</c:v>
                </c:pt>
                <c:pt idx="63">
                  <c:v>1126.664</c:v>
                </c:pt>
                <c:pt idx="64">
                  <c:v>1124.0548</c:v>
                </c:pt>
                <c:pt idx="65">
                  <c:v>1105.6271</c:v>
                </c:pt>
                <c:pt idx="66">
                  <c:v>1061.3012</c:v>
                </c:pt>
                <c:pt idx="67">
                  <c:v>1041.0044</c:v>
                </c:pt>
                <c:pt idx="68">
                  <c:v>1024.6492</c:v>
                </c:pt>
                <c:pt idx="69">
                  <c:v>1029.9953</c:v>
                </c:pt>
                <c:pt idx="70">
                  <c:v>987.9688</c:v>
                </c:pt>
                <c:pt idx="71">
                  <c:v>1050.9577</c:v>
                </c:pt>
                <c:pt idx="72">
                  <c:v>1105.9557</c:v>
                </c:pt>
                <c:pt idx="73">
                  <c:v>1099.2895</c:v>
                </c:pt>
                <c:pt idx="74">
                  <c:v>1056.1189</c:v>
                </c:pt>
                <c:pt idx="75">
                  <c:v>1057.0004</c:v>
                </c:pt>
                <c:pt idx="76">
                  <c:v>1083.6252</c:v>
                </c:pt>
                <c:pt idx="77">
                  <c:v>1050.5064</c:v>
                </c:pt>
                <c:pt idx="78">
                  <c:v>1121.2765</c:v>
                </c:pt>
                <c:pt idx="79">
                  <c:v>714.1003</c:v>
                </c:pt>
                <c:pt idx="80">
                  <c:v>722.846</c:v>
                </c:pt>
                <c:pt idx="81">
                  <c:v>938.4069</c:v>
                </c:pt>
                <c:pt idx="82">
                  <c:v>934.2117</c:v>
                </c:pt>
                <c:pt idx="83">
                  <c:v>957.2894</c:v>
                </c:pt>
                <c:pt idx="84">
                  <c:v>964.7598</c:v>
                </c:pt>
                <c:pt idx="85">
                  <c:v>1018.9553</c:v>
                </c:pt>
                <c:pt idx="86">
                  <c:v>1138.5348</c:v>
                </c:pt>
                <c:pt idx="87">
                  <c:v>1167.8801</c:v>
                </c:pt>
                <c:pt idx="88">
                  <c:v>1163.3663</c:v>
                </c:pt>
                <c:pt idx="89">
                  <c:v>1114.0517</c:v>
                </c:pt>
                <c:pt idx="90">
                  <c:v>1178.6274</c:v>
                </c:pt>
                <c:pt idx="91">
                  <c:v>1197.2966</c:v>
                </c:pt>
                <c:pt idx="92">
                  <c:v>1188.3679</c:v>
                </c:pt>
                <c:pt idx="93">
                  <c:v>1243.3718</c:v>
                </c:pt>
                <c:pt idx="94">
                  <c:v>1240.5446</c:v>
                </c:pt>
                <c:pt idx="95">
                  <c:v>1234.8934</c:v>
                </c:pt>
                <c:pt idx="96">
                  <c:v>1168.2406</c:v>
                </c:pt>
                <c:pt idx="97">
                  <c:v>1186.7969</c:v>
                </c:pt>
                <c:pt idx="98">
                  <c:v>1179.0172</c:v>
                </c:pt>
                <c:pt idx="99">
                  <c:v>1136.6995</c:v>
                </c:pt>
                <c:pt idx="100">
                  <c:v>1145.7225</c:v>
                </c:pt>
                <c:pt idx="101">
                  <c:v>1159.2316</c:v>
                </c:pt>
                <c:pt idx="102">
                  <c:v>1191.635</c:v>
                </c:pt>
                <c:pt idx="103">
                  <c:v>1050.2657</c:v>
                </c:pt>
                <c:pt idx="104">
                  <c:v>1139.7728</c:v>
                </c:pt>
              </c:numCache>
            </c:numRef>
          </c:xVal>
          <c:yVal>
            <c:numRef>
              <c:f>Sheet1!$B$2:$B$106</c:f>
              <c:numCache>
                <c:formatCode>General</c:formatCode>
                <c:ptCount val="105"/>
                <c:pt idx="0">
                  <c:v>0.21030715158924204</c:v>
                </c:pt>
                <c:pt idx="1">
                  <c:v>0.21298701298701297</c:v>
                </c:pt>
                <c:pt idx="2">
                  <c:v>0.19188149288187764</c:v>
                </c:pt>
                <c:pt idx="3">
                  <c:v>0.19090721223393264</c:v>
                </c:pt>
                <c:pt idx="4">
                  <c:v>0.19040369315391414</c:v>
                </c:pt>
                <c:pt idx="5">
                  <c:v>0.18118797067477932</c:v>
                </c:pt>
                <c:pt idx="6">
                  <c:v>0.20359223768478837</c:v>
                </c:pt>
                <c:pt idx="7">
                  <c:v>0.20028392958546282</c:v>
                </c:pt>
                <c:pt idx="8">
                  <c:v>0.21053270971268906</c:v>
                </c:pt>
                <c:pt idx="9">
                  <c:v>0.21039721134397726</c:v>
                </c:pt>
                <c:pt idx="10">
                  <c:v>0.22042008977725078</c:v>
                </c:pt>
                <c:pt idx="11">
                  <c:v>0.21358106613581065</c:v>
                </c:pt>
                <c:pt idx="12">
                  <c:v>0.21567654719087187</c:v>
                </c:pt>
                <c:pt idx="13">
                  <c:v>0.22556548743128121</c:v>
                </c:pt>
                <c:pt idx="14">
                  <c:v>0.21514723007818998</c:v>
                </c:pt>
                <c:pt idx="15">
                  <c:v>0.21337422099119596</c:v>
                </c:pt>
                <c:pt idx="16">
                  <c:v>0.2021367278513383</c:v>
                </c:pt>
                <c:pt idx="17">
                  <c:v>0.1916417538614848</c:v>
                </c:pt>
                <c:pt idx="18">
                  <c:v>0.17514358867898416</c:v>
                </c:pt>
                <c:pt idx="19">
                  <c:v>0.16184781718404456</c:v>
                </c:pt>
                <c:pt idx="20">
                  <c:v>0.174278038952317</c:v>
                </c:pt>
                <c:pt idx="21">
                  <c:v>0.17816586373021334</c:v>
                </c:pt>
                <c:pt idx="22">
                  <c:v>0.17713299358868978</c:v>
                </c:pt>
                <c:pt idx="23">
                  <c:v>0.18507202095154954</c:v>
                </c:pt>
                <c:pt idx="24">
                  <c:v>0.18752479961907786</c:v>
                </c:pt>
                <c:pt idx="25">
                  <c:v>0.18773318773318773</c:v>
                </c:pt>
                <c:pt idx="26">
                  <c:v>0.192</c:v>
                </c:pt>
                <c:pt idx="27">
                  <c:v>0.17932890155112377</c:v>
                </c:pt>
                <c:pt idx="28">
                  <c:v>0.17864642222581167</c:v>
                </c:pt>
                <c:pt idx="29">
                  <c:v>0.20309249757315212</c:v>
                </c:pt>
                <c:pt idx="30">
                  <c:v>0.18293125340105207</c:v>
                </c:pt>
                <c:pt idx="31">
                  <c:v>0.17864829961256995</c:v>
                </c:pt>
                <c:pt idx="32">
                  <c:v>0.1871335232032166</c:v>
                </c:pt>
                <c:pt idx="33">
                  <c:v>0.20930232558139536</c:v>
                </c:pt>
                <c:pt idx="34">
                  <c:v>0.1992973309911033</c:v>
                </c:pt>
                <c:pt idx="35">
                  <c:v>0.1956752736159813</c:v>
                </c:pt>
                <c:pt idx="36">
                  <c:v>0.15181646844739066</c:v>
                </c:pt>
                <c:pt idx="37">
                  <c:v>0.14250182882223847</c:v>
                </c:pt>
                <c:pt idx="38">
                  <c:v>0.13718112724809994</c:v>
                </c:pt>
                <c:pt idx="39">
                  <c:v>0.13833099797602366</c:v>
                </c:pt>
                <c:pt idx="40">
                  <c:v>0.13867644270273688</c:v>
                </c:pt>
                <c:pt idx="41">
                  <c:v>0.1270996640537514</c:v>
                </c:pt>
                <c:pt idx="42">
                  <c:v>0.13326508490906902</c:v>
                </c:pt>
                <c:pt idx="43">
                  <c:v>0.13675121424716677</c:v>
                </c:pt>
                <c:pt idx="44">
                  <c:v>0.16124158769399807</c:v>
                </c:pt>
                <c:pt idx="45">
                  <c:v>0.1861608385121974</c:v>
                </c:pt>
                <c:pt idx="46">
                  <c:v>0.1937179063691781</c:v>
                </c:pt>
                <c:pt idx="47">
                  <c:v>0.19532088430993774</c:v>
                </c:pt>
                <c:pt idx="48">
                  <c:v>0.21233782239451454</c:v>
                </c:pt>
                <c:pt idx="49">
                  <c:v>0.24603675866860356</c:v>
                </c:pt>
                <c:pt idx="50">
                  <c:v>0.20786180373861235</c:v>
                </c:pt>
                <c:pt idx="51">
                  <c:v>0.18664801119328403</c:v>
                </c:pt>
                <c:pt idx="52">
                  <c:v>0.19997993176801124</c:v>
                </c:pt>
                <c:pt idx="53">
                  <c:v>0.1882059256834179</c:v>
                </c:pt>
                <c:pt idx="54">
                  <c:v>0.1853673948366131</c:v>
                </c:pt>
                <c:pt idx="55">
                  <c:v>0.17528152113716078</c:v>
                </c:pt>
                <c:pt idx="56">
                  <c:v>0.1852655955999421</c:v>
                </c:pt>
                <c:pt idx="57">
                  <c:v>0.18023843200646594</c:v>
                </c:pt>
                <c:pt idx="58">
                  <c:v>0.19915412830301668</c:v>
                </c:pt>
                <c:pt idx="59">
                  <c:v>0.2092832698703427</c:v>
                </c:pt>
                <c:pt idx="60">
                  <c:v>0.22389277072401512</c:v>
                </c:pt>
                <c:pt idx="61">
                  <c:v>0.222672371360418</c:v>
                </c:pt>
                <c:pt idx="62">
                  <c:v>0.22107099622587767</c:v>
                </c:pt>
                <c:pt idx="63">
                  <c:v>0.23888208218815193</c:v>
                </c:pt>
                <c:pt idx="64">
                  <c:v>0.22448180186061695</c:v>
                </c:pt>
                <c:pt idx="65">
                  <c:v>0.2092982083421854</c:v>
                </c:pt>
                <c:pt idx="66">
                  <c:v>0.21225035212539275</c:v>
                </c:pt>
                <c:pt idx="67">
                  <c:v>0.20886051756431329</c:v>
                </c:pt>
                <c:pt idx="68">
                  <c:v>0.18994516381733562</c:v>
                </c:pt>
                <c:pt idx="69">
                  <c:v>0.17577310373592325</c:v>
                </c:pt>
                <c:pt idx="70">
                  <c:v>0.16404162165235686</c:v>
                </c:pt>
                <c:pt idx="71">
                  <c:v>0.17445482866043613</c:v>
                </c:pt>
                <c:pt idx="72">
                  <c:v>0.17299754740683138</c:v>
                </c:pt>
                <c:pt idx="73">
                  <c:v>0.17705832738597288</c:v>
                </c:pt>
                <c:pt idx="74">
                  <c:v>0.17853922452660054</c:v>
                </c:pt>
                <c:pt idx="75">
                  <c:v>0.18282139593730232</c:v>
                </c:pt>
                <c:pt idx="76">
                  <c:v>0.1749961907664178</c:v>
                </c:pt>
                <c:pt idx="77">
                  <c:v>0.17296614850469502</c:v>
                </c:pt>
                <c:pt idx="78">
                  <c:v>0.15853018372703412</c:v>
                </c:pt>
                <c:pt idx="79">
                  <c:v>0.2261861775113743</c:v>
                </c:pt>
                <c:pt idx="80">
                  <c:v>0.2101878612716763</c:v>
                </c:pt>
                <c:pt idx="81">
                  <c:v>0.1694088207694714</c:v>
                </c:pt>
                <c:pt idx="82">
                  <c:v>0.16926466987676486</c:v>
                </c:pt>
                <c:pt idx="83">
                  <c:v>0.14987487255538048</c:v>
                </c:pt>
                <c:pt idx="84">
                  <c:v>0.1537157389092964</c:v>
                </c:pt>
                <c:pt idx="85">
                  <c:v>0.15863306418726042</c:v>
                </c:pt>
                <c:pt idx="86">
                  <c:v>0.1524004465947153</c:v>
                </c:pt>
                <c:pt idx="87">
                  <c:v>0.1689402513850003</c:v>
                </c:pt>
                <c:pt idx="88">
                  <c:v>0.14848762603116408</c:v>
                </c:pt>
                <c:pt idx="89">
                  <c:v>0.14441462596444146</c:v>
                </c:pt>
                <c:pt idx="90">
                  <c:v>0.14172686618507052</c:v>
                </c:pt>
                <c:pt idx="91">
                  <c:v>0.13393232009404651</c:v>
                </c:pt>
                <c:pt idx="92">
                  <c:v>0.14259086672879775</c:v>
                </c:pt>
                <c:pt idx="93">
                  <c:v>0.13648551435484926</c:v>
                </c:pt>
                <c:pt idx="94">
                  <c:v>0.14039841804599384</c:v>
                </c:pt>
                <c:pt idx="95">
                  <c:v>0.14438761776581427</c:v>
                </c:pt>
                <c:pt idx="96">
                  <c:v>0.1441160471441523</c:v>
                </c:pt>
                <c:pt idx="97">
                  <c:v>0.1554780494048381</c:v>
                </c:pt>
                <c:pt idx="98">
                  <c:v>0.17081260364842454</c:v>
                </c:pt>
                <c:pt idx="99">
                  <c:v>0.17867754563033533</c:v>
                </c:pt>
                <c:pt idx="100">
                  <c:v>0.19638028243694658</c:v>
                </c:pt>
                <c:pt idx="101">
                  <c:v>0.18430480700333343</c:v>
                </c:pt>
                <c:pt idx="102">
                  <c:v>0.15521151330135194</c:v>
                </c:pt>
                <c:pt idx="103">
                  <c:v>0.17430878208545966</c:v>
                </c:pt>
                <c:pt idx="104">
                  <c:v>0.1768059102517329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3.2555</c:v>
                </c:pt>
                <c:pt idx="1">
                  <c:v>1187.7207</c:v>
                </c:pt>
                <c:pt idx="2">
                  <c:v>1170.6518</c:v>
                </c:pt>
                <c:pt idx="3">
                  <c:v>1191.8262</c:v>
                </c:pt>
                <c:pt idx="4">
                  <c:v>1195.6713</c:v>
                </c:pt>
                <c:pt idx="5">
                  <c:v>1209.1017</c:v>
                </c:pt>
                <c:pt idx="6">
                  <c:v>1140.0386</c:v>
                </c:pt>
                <c:pt idx="7">
                  <c:v>1206.6418</c:v>
                </c:pt>
                <c:pt idx="8">
                  <c:v>1287.0076</c:v>
                </c:pt>
                <c:pt idx="9">
                  <c:v>1248.3092</c:v>
                </c:pt>
                <c:pt idx="10">
                  <c:v>1267.1534</c:v>
                </c:pt>
                <c:pt idx="11">
                  <c:v>1104.0799</c:v>
                </c:pt>
                <c:pt idx="12">
                  <c:v>1126.1329</c:v>
                </c:pt>
                <c:pt idx="13">
                  <c:v>1193.8613</c:v>
                </c:pt>
                <c:pt idx="14">
                  <c:v>1189.9744</c:v>
                </c:pt>
                <c:pt idx="15">
                  <c:v>1227.0707</c:v>
                </c:pt>
                <c:pt idx="16">
                  <c:v>1269.1256</c:v>
                </c:pt>
                <c:pt idx="17">
                  <c:v>1246.4644</c:v>
                </c:pt>
                <c:pt idx="18">
                  <c:v>1250.9806</c:v>
                </c:pt>
                <c:pt idx="19">
                  <c:v>1365.2613</c:v>
                </c:pt>
                <c:pt idx="20">
                  <c:v>1368.1682</c:v>
                </c:pt>
                <c:pt idx="21">
                  <c:v>1280.9732</c:v>
                </c:pt>
                <c:pt idx="22">
                  <c:v>1220.5511</c:v>
                </c:pt>
                <c:pt idx="23">
                  <c:v>1217.1408</c:v>
                </c:pt>
                <c:pt idx="24">
                  <c:v>1226.1822</c:v>
                </c:pt>
                <c:pt idx="25">
                  <c:v>1173.8838</c:v>
                </c:pt>
                <c:pt idx="26">
                  <c:v>1251.8776</c:v>
                </c:pt>
                <c:pt idx="27">
                  <c:v>1277.2154</c:v>
                </c:pt>
                <c:pt idx="28">
                  <c:v>1250.312</c:v>
                </c:pt>
                <c:pt idx="29">
                  <c:v>1262.0638</c:v>
                </c:pt>
                <c:pt idx="30">
                  <c:v>1215.2614</c:v>
                </c:pt>
                <c:pt idx="31">
                  <c:v>1127.1976</c:v>
                </c:pt>
                <c:pt idx="32">
                  <c:v>1166.5209</c:v>
                </c:pt>
                <c:pt idx="33">
                  <c:v>1224.239</c:v>
                </c:pt>
                <c:pt idx="34">
                  <c:v>1259.7145</c:v>
                </c:pt>
                <c:pt idx="35">
                  <c:v>1231.2795</c:v>
                </c:pt>
                <c:pt idx="36">
                  <c:v>1255.8634</c:v>
                </c:pt>
                <c:pt idx="37">
                  <c:v>1321.2715</c:v>
                </c:pt>
                <c:pt idx="38">
                  <c:v>1298.8671</c:v>
                </c:pt>
                <c:pt idx="39">
                  <c:v>1250.5854</c:v>
                </c:pt>
                <c:pt idx="40">
                  <c:v>1288.2266</c:v>
                </c:pt>
                <c:pt idx="41">
                  <c:v>1352.4109</c:v>
                </c:pt>
                <c:pt idx="42">
                  <c:v>1344.6201</c:v>
                </c:pt>
                <c:pt idx="43">
                  <c:v>1339.6708</c:v>
                </c:pt>
                <c:pt idx="44">
                  <c:v>1289.5285</c:v>
                </c:pt>
                <c:pt idx="45">
                  <c:v>1241.0829</c:v>
                </c:pt>
                <c:pt idx="46">
                  <c:v>1239.3417</c:v>
                </c:pt>
                <c:pt idx="47">
                  <c:v>1209.1569</c:v>
                </c:pt>
                <c:pt idx="48">
                  <c:v>1199.4519</c:v>
                </c:pt>
                <c:pt idx="49">
                  <c:v>1225.0948</c:v>
                </c:pt>
                <c:pt idx="50">
                  <c:v>1098.4008</c:v>
                </c:pt>
                <c:pt idx="51">
                  <c:v>1065.2951</c:v>
                </c:pt>
              </c:numCache>
            </c:numRef>
          </c:xVal>
          <c:yVal>
            <c:numRef>
              <c:f>Sheet1!$B$109:$B$160</c:f>
              <c:numCache>
                <c:formatCode>General</c:formatCode>
                <c:ptCount val="52"/>
                <c:pt idx="0">
                  <c:v>0.1696125907990315</c:v>
                </c:pt>
                <c:pt idx="1">
                  <c:v>0.1799104286628279</c:v>
                </c:pt>
                <c:pt idx="2">
                  <c:v>0.1882895378041009</c:v>
                </c:pt>
                <c:pt idx="3">
                  <c:v>0.2025717264548017</c:v>
                </c:pt>
                <c:pt idx="4">
                  <c:v>0.19036715357283854</c:v>
                </c:pt>
                <c:pt idx="5">
                  <c:v>0.1883741612094753</c:v>
                </c:pt>
                <c:pt idx="6">
                  <c:v>0.1853735531392494</c:v>
                </c:pt>
                <c:pt idx="7">
                  <c:v>0.17800038528221923</c:v>
                </c:pt>
                <c:pt idx="8">
                  <c:v>0.17771394504362908</c:v>
                </c:pt>
                <c:pt idx="9">
                  <c:v>0.18665271132376396</c:v>
                </c:pt>
                <c:pt idx="10">
                  <c:v>0.19376186073670382</c:v>
                </c:pt>
                <c:pt idx="11">
                  <c:v>0.20784165751920966</c:v>
                </c:pt>
                <c:pt idx="12">
                  <c:v>0.20951877743456349</c:v>
                </c:pt>
                <c:pt idx="13">
                  <c:v>0.19814417647831226</c:v>
                </c:pt>
                <c:pt idx="14">
                  <c:v>0.20124253285543608</c:v>
                </c:pt>
                <c:pt idx="15">
                  <c:v>0.18858176181865152</c:v>
                </c:pt>
                <c:pt idx="16">
                  <c:v>0.16970213802765427</c:v>
                </c:pt>
                <c:pt idx="17">
                  <c:v>0.15518128053484187</c:v>
                </c:pt>
                <c:pt idx="18">
                  <c:v>0.1502881520844248</c:v>
                </c:pt>
                <c:pt idx="19">
                  <c:v>0.157272860707471</c:v>
                </c:pt>
                <c:pt idx="20">
                  <c:v>0.1460418192173135</c:v>
                </c:pt>
                <c:pt idx="21">
                  <c:v>0.15542436852801703</c:v>
                </c:pt>
                <c:pt idx="22">
                  <c:v>0.16148597422289612</c:v>
                </c:pt>
                <c:pt idx="23">
                  <c:v>0.16593756213959038</c:v>
                </c:pt>
                <c:pt idx="24">
                  <c:v>0.15968992248062017</c:v>
                </c:pt>
                <c:pt idx="25">
                  <c:v>0.16526772793053546</c:v>
                </c:pt>
                <c:pt idx="26">
                  <c:v>0.1439575033200531</c:v>
                </c:pt>
                <c:pt idx="27">
                  <c:v>0.14356673609998397</c:v>
                </c:pt>
                <c:pt idx="28">
                  <c:v>0.1543013856812933</c:v>
                </c:pt>
                <c:pt idx="29">
                  <c:v>0.15728375665531988</c:v>
                </c:pt>
                <c:pt idx="30">
                  <c:v>0.1659631791647957</c:v>
                </c:pt>
                <c:pt idx="31">
                  <c:v>0.16738361533314214</c:v>
                </c:pt>
                <c:pt idx="32">
                  <c:v>0.17072766451185148</c:v>
                </c:pt>
                <c:pt idx="33">
                  <c:v>0.18749190728991325</c:v>
                </c:pt>
                <c:pt idx="34">
                  <c:v>0.20933340460790079</c:v>
                </c:pt>
                <c:pt idx="35">
                  <c:v>0.20136381869233855</c:v>
                </c:pt>
                <c:pt idx="36">
                  <c:v>0.17013669821240798</c:v>
                </c:pt>
                <c:pt idx="37">
                  <c:v>0.1519192304028955</c:v>
                </c:pt>
                <c:pt idx="38">
                  <c:v>0.15699152542372882</c:v>
                </c:pt>
                <c:pt idx="39">
                  <c:v>0.17547272585790988</c:v>
                </c:pt>
                <c:pt idx="40">
                  <c:v>0.15525388134703366</c:v>
                </c:pt>
                <c:pt idx="41">
                  <c:v>0.1563388288800455</c:v>
                </c:pt>
                <c:pt idx="42">
                  <c:v>0.15529659302419682</c:v>
                </c:pt>
                <c:pt idx="43">
                  <c:v>0.14629695042976568</c:v>
                </c:pt>
                <c:pt idx="44">
                  <c:v>0.13895062324862306</c:v>
                </c:pt>
                <c:pt idx="45">
                  <c:v>0.1540945217144479</c:v>
                </c:pt>
                <c:pt idx="46">
                  <c:v>0.1499685995394599</c:v>
                </c:pt>
                <c:pt idx="47">
                  <c:v>0.15169280944246</c:v>
                </c:pt>
                <c:pt idx="48">
                  <c:v>0.14248446004702245</c:v>
                </c:pt>
                <c:pt idx="49">
                  <c:v>0.15973649220355374</c:v>
                </c:pt>
                <c:pt idx="50">
                  <c:v>0.19359691025510722</c:v>
                </c:pt>
                <c:pt idx="51">
                  <c:v>0.180591212499083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55.0010262139474</c:v>
                </c:pt>
              </c:numCache>
            </c:numRef>
          </c:xVal>
          <c:yVal>
            <c:numRef>
              <c:f>Sheet1!$B$163:$B$164</c:f>
              <c:numCache>
                <c:formatCode>General</c:formatCode>
                <c:ptCount val="2"/>
                <c:pt idx="0">
                  <c:v>0.1999656435326154</c:v>
                </c:pt>
                <c:pt idx="1">
                  <c:v>0.199965643532615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55.0010262139474</c:v>
                </c:pt>
                <c:pt idx="1">
                  <c:v>1055.0010262139474</c:v>
                </c:pt>
              </c:numCache>
            </c:numRef>
          </c:xVal>
          <c:yVal>
            <c:numRef>
              <c:f>Sheet1!$B$167:$B$168</c:f>
              <c:numCache>
                <c:formatCode>General</c:formatCode>
                <c:ptCount val="2"/>
                <c:pt idx="0">
                  <c:v>0.19996564353261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48.4643720616702</c:v>
                </c:pt>
              </c:numCache>
            </c:numRef>
          </c:xVal>
          <c:yVal>
            <c:numRef>
              <c:f>Sheet1!$B$171:$B$172</c:f>
              <c:numCache>
                <c:formatCode>General</c:formatCode>
                <c:ptCount val="2"/>
                <c:pt idx="0">
                  <c:v>0.1844681646631304</c:v>
                </c:pt>
                <c:pt idx="1">
                  <c:v>0.184468164663130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48.4643720616702</c:v>
                </c:pt>
                <c:pt idx="1">
                  <c:v>1148.4643720616702</c:v>
                </c:pt>
              </c:numCache>
            </c:numRef>
          </c:xVal>
          <c:yVal>
            <c:numRef>
              <c:f>Sheet1!$B$175:$B$176</c:f>
              <c:numCache>
                <c:formatCode>General</c:formatCode>
                <c:ptCount val="2"/>
                <c:pt idx="0">
                  <c:v>0.18446816466313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05.4116258113656</c:v>
                </c:pt>
              </c:numCache>
            </c:numRef>
          </c:xVal>
          <c:yVal>
            <c:numRef>
              <c:f>Sheet1!$B$179:$B$180</c:f>
              <c:numCache>
                <c:formatCode>General</c:formatCode>
                <c:ptCount val="2"/>
                <c:pt idx="0">
                  <c:v>0.1584442006529776</c:v>
                </c:pt>
                <c:pt idx="1">
                  <c:v>0.158444200652977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05.4116258113656</c:v>
                </c:pt>
                <c:pt idx="1">
                  <c:v>1305.4116258113656</c:v>
                </c:pt>
              </c:numCache>
            </c:numRef>
          </c:xVal>
          <c:yVal>
            <c:numRef>
              <c:f>Sheet1!$B$183:$B$184</c:f>
              <c:numCache>
                <c:formatCode>General</c:formatCode>
                <c:ptCount val="2"/>
                <c:pt idx="0">
                  <c:v>0.158444200652977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3.2555</c:v>
                </c:pt>
                <c:pt idx="1">
                  <c:v>1187.7207</c:v>
                </c:pt>
                <c:pt idx="2">
                  <c:v>1170.6518</c:v>
                </c:pt>
                <c:pt idx="3">
                  <c:v>1191.8262</c:v>
                </c:pt>
                <c:pt idx="4">
                  <c:v>1195.6713</c:v>
                </c:pt>
                <c:pt idx="5">
                  <c:v>1209.1017</c:v>
                </c:pt>
                <c:pt idx="6">
                  <c:v>1140.0386</c:v>
                </c:pt>
                <c:pt idx="7">
                  <c:v>1206.6418</c:v>
                </c:pt>
                <c:pt idx="8">
                  <c:v>1287.0076</c:v>
                </c:pt>
                <c:pt idx="9">
                  <c:v>1248.3092</c:v>
                </c:pt>
                <c:pt idx="10">
                  <c:v>1267.1534</c:v>
                </c:pt>
                <c:pt idx="11">
                  <c:v>1104.0799</c:v>
                </c:pt>
                <c:pt idx="12">
                  <c:v>1126.1329</c:v>
                </c:pt>
                <c:pt idx="13">
                  <c:v>1193.8613</c:v>
                </c:pt>
                <c:pt idx="14">
                  <c:v>1189.9744</c:v>
                </c:pt>
                <c:pt idx="15">
                  <c:v>1227.0707</c:v>
                </c:pt>
                <c:pt idx="16">
                  <c:v>1269.1256</c:v>
                </c:pt>
                <c:pt idx="17">
                  <c:v>1246.4644</c:v>
                </c:pt>
                <c:pt idx="18">
                  <c:v>1250.9806</c:v>
                </c:pt>
                <c:pt idx="19">
                  <c:v>1365.2613</c:v>
                </c:pt>
                <c:pt idx="20">
                  <c:v>1368.1682</c:v>
                </c:pt>
                <c:pt idx="21">
                  <c:v>1280.9732</c:v>
                </c:pt>
                <c:pt idx="22">
                  <c:v>1220.5511</c:v>
                </c:pt>
                <c:pt idx="23">
                  <c:v>1217.1408</c:v>
                </c:pt>
                <c:pt idx="24">
                  <c:v>1226.1822</c:v>
                </c:pt>
                <c:pt idx="25">
                  <c:v>1173.8838</c:v>
                </c:pt>
                <c:pt idx="26">
                  <c:v>1251.8776</c:v>
                </c:pt>
                <c:pt idx="27">
                  <c:v>1277.2154</c:v>
                </c:pt>
                <c:pt idx="28">
                  <c:v>1250.312</c:v>
                </c:pt>
                <c:pt idx="29">
                  <c:v>1262.0638</c:v>
                </c:pt>
                <c:pt idx="30">
                  <c:v>1215.2614</c:v>
                </c:pt>
                <c:pt idx="31">
                  <c:v>1127.1976</c:v>
                </c:pt>
                <c:pt idx="32">
                  <c:v>1166.5209</c:v>
                </c:pt>
                <c:pt idx="33">
                  <c:v>1224.239</c:v>
                </c:pt>
                <c:pt idx="34">
                  <c:v>1259.7145</c:v>
                </c:pt>
                <c:pt idx="35">
                  <c:v>1231.2795</c:v>
                </c:pt>
                <c:pt idx="36">
                  <c:v>1255.8634</c:v>
                </c:pt>
                <c:pt idx="37">
                  <c:v>1321.2715</c:v>
                </c:pt>
                <c:pt idx="38">
                  <c:v>1298.8671</c:v>
                </c:pt>
                <c:pt idx="39">
                  <c:v>1250.5854</c:v>
                </c:pt>
                <c:pt idx="40">
                  <c:v>1288.2266</c:v>
                </c:pt>
                <c:pt idx="41">
                  <c:v>1352.4109</c:v>
                </c:pt>
                <c:pt idx="42">
                  <c:v>1344.6201</c:v>
                </c:pt>
                <c:pt idx="43">
                  <c:v>1339.6708</c:v>
                </c:pt>
                <c:pt idx="44">
                  <c:v>1289.5285</c:v>
                </c:pt>
                <c:pt idx="45">
                  <c:v>1241.0829</c:v>
                </c:pt>
                <c:pt idx="46">
                  <c:v>1239.3417</c:v>
                </c:pt>
                <c:pt idx="47">
                  <c:v>1209.1569</c:v>
                </c:pt>
                <c:pt idx="48">
                  <c:v>1199.4519</c:v>
                </c:pt>
                <c:pt idx="49">
                  <c:v>1225.0948</c:v>
                </c:pt>
                <c:pt idx="50">
                  <c:v>1098.4008</c:v>
                </c:pt>
                <c:pt idx="51">
                  <c:v>1065.2951</c:v>
                </c:pt>
                <c:pt idx="52">
                  <c:v>1148.4643720616702</c:v>
                </c:pt>
                <c:pt idx="53">
                  <c:v>1055.0010262139474</c:v>
                </c:pt>
                <c:pt idx="54">
                  <c:v>1305.4116258113656</c:v>
                </c:pt>
              </c:numCache>
            </c:numRef>
          </c:xVal>
          <c:yVal>
            <c:numRef>
              <c:f>Sheet1!$B$187:$B$241</c:f>
              <c:numCache>
                <c:formatCode>General</c:formatCode>
                <c:ptCount val="55"/>
                <c:pt idx="0">
                  <c:v>0.17372492487166913</c:v>
                </c:pt>
                <c:pt idx="1">
                  <c:v>0.17795893789407116</c:v>
                </c:pt>
                <c:pt idx="2">
                  <c:v>0.1807891909165377</c:v>
                </c:pt>
                <c:pt idx="3">
                  <c:v>0.1772781908170049</c:v>
                </c:pt>
                <c:pt idx="4">
                  <c:v>0.1766406215596605</c:v>
                </c:pt>
                <c:pt idx="5">
                  <c:v>0.17441368073787736</c:v>
                </c:pt>
                <c:pt idx="6">
                  <c:v>0.1858652709115797</c:v>
                </c:pt>
                <c:pt idx="7">
                  <c:v>0.1748215652184218</c:v>
                </c:pt>
                <c:pt idx="8">
                  <c:v>0.16149583547878182</c:v>
                </c:pt>
                <c:pt idx="9">
                  <c:v>0.1679125502972305</c:v>
                </c:pt>
                <c:pt idx="10">
                  <c:v>0.16478792867510117</c:v>
                </c:pt>
                <c:pt idx="11">
                  <c:v>0.19182770664903012</c:v>
                </c:pt>
                <c:pt idx="12">
                  <c:v>0.18817102286129603</c:v>
                </c:pt>
                <c:pt idx="13">
                  <c:v>0.1769407438856841</c:v>
                </c:pt>
                <c:pt idx="14">
                  <c:v>0.1775852441448118</c:v>
                </c:pt>
                <c:pt idx="15">
                  <c:v>0.17143417903825398</c:v>
                </c:pt>
                <c:pt idx="16">
                  <c:v>0.16446091140914326</c:v>
                </c:pt>
                <c:pt idx="17">
                  <c:v>0.16821844293095886</c:v>
                </c:pt>
                <c:pt idx="18">
                  <c:v>0.16746959627417002</c:v>
                </c:pt>
                <c:pt idx="19">
                  <c:v>0.14852032030532664</c:v>
                </c:pt>
                <c:pt idx="20">
                  <c:v>0.1480383172171951</c:v>
                </c:pt>
                <c:pt idx="21">
                  <c:v>0.16249642009986298</c:v>
                </c:pt>
                <c:pt idx="22">
                  <c:v>0.17251521634032224</c:v>
                </c:pt>
                <c:pt idx="23">
                  <c:v>0.17308068991404507</c:v>
                </c:pt>
                <c:pt idx="24">
                  <c:v>0.17158150427950922</c:v>
                </c:pt>
                <c:pt idx="25">
                  <c:v>0.18025328187912978</c:v>
                </c:pt>
                <c:pt idx="26">
                  <c:v>0.16732086161867654</c:v>
                </c:pt>
                <c:pt idx="27">
                  <c:v>0.16311951384391352</c:v>
                </c:pt>
                <c:pt idx="28">
                  <c:v>0.16758045914001501</c:v>
                </c:pt>
                <c:pt idx="29">
                  <c:v>0.16563185275826678</c:v>
                </c:pt>
                <c:pt idx="30">
                  <c:v>0.17339231969279023</c:v>
                </c:pt>
                <c:pt idx="31">
                  <c:v>0.18799448129194943</c:v>
                </c:pt>
                <c:pt idx="32">
                  <c:v>0.1814741496549747</c:v>
                </c:pt>
                <c:pt idx="33">
                  <c:v>0.17190371295571313</c:v>
                </c:pt>
                <c:pt idx="34">
                  <c:v>0.16602139827237022</c:v>
                </c:pt>
                <c:pt idx="35">
                  <c:v>0.17073630343285717</c:v>
                </c:pt>
                <c:pt idx="36">
                  <c:v>0.1666599624103534</c:v>
                </c:pt>
                <c:pt idx="37">
                  <c:v>0.15581442035909096</c:v>
                </c:pt>
                <c:pt idx="38">
                  <c:v>0.159529370989568</c:v>
                </c:pt>
                <c:pt idx="39">
                  <c:v>0.16753512574557586</c:v>
                </c:pt>
                <c:pt idx="40">
                  <c:v>0.16129370889567532</c:v>
                </c:pt>
                <c:pt idx="41">
                  <c:v>0.15065108933203036</c:v>
                </c:pt>
                <c:pt idx="42">
                  <c:v>0.15194290867876228</c:v>
                </c:pt>
                <c:pt idx="43">
                  <c:v>0.15276356913632508</c:v>
                </c:pt>
                <c:pt idx="44">
                  <c:v>0.16107783637841006</c:v>
                </c:pt>
                <c:pt idx="45">
                  <c:v>0.1691107679571998</c:v>
                </c:pt>
                <c:pt idx="46">
                  <c:v>0.16939948231856572</c:v>
                </c:pt>
                <c:pt idx="47">
                  <c:v>0.17440452783600083</c:v>
                </c:pt>
                <c:pt idx="48">
                  <c:v>0.17601374726918267</c:v>
                </c:pt>
                <c:pt idx="49">
                  <c:v>0.17176180981393907</c:v>
                </c:pt>
                <c:pt idx="50">
                  <c:v>0.19276937775495318</c:v>
                </c:pt>
                <c:pt idx="51">
                  <c:v>0.19825874774867686</c:v>
                </c:pt>
                <c:pt idx="52">
                  <c:v>0.1844681646631304</c:v>
                </c:pt>
                <c:pt idx="53">
                  <c:v>0.19996564353261542</c:v>
                </c:pt>
                <c:pt idx="54">
                  <c:v>0.158444200652977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42.0"/>
          <c:min val="57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524411040232423"/>
          <c:min val="0.1016797312430011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1.6862600586689458</c:v>
                </c:pt>
                <c:pt idx="2">
                  <c:v>0.0</c:v>
                </c:pt>
                <c:pt idx="3">
                  <c:v>2.0594416191457756</c:v>
                </c:pt>
                <c:pt idx="4">
                  <c:v>2.2672765311944776</c:v>
                </c:pt>
                <c:pt idx="5">
                  <c:v>1.5938879572909894</c:v>
                </c:pt>
                <c:pt idx="6">
                  <c:v>1.1018065121270395</c:v>
                </c:pt>
                <c:pt idx="7">
                  <c:v>1.2936200310050263</c:v>
                </c:pt>
                <c:pt idx="8">
                  <c:v>1.541814240313479</c:v>
                </c:pt>
                <c:pt idx="9">
                  <c:v>1.2840894519985662</c:v>
                </c:pt>
                <c:pt idx="10">
                  <c:v>1.341078964374828</c:v>
                </c:pt>
                <c:pt idx="11">
                  <c:v>1.6849451432927125</c:v>
                </c:pt>
                <c:pt idx="12">
                  <c:v>1.3682629955507062</c:v>
                </c:pt>
                <c:pt idx="13">
                  <c:v>1.4596819449571912</c:v>
                </c:pt>
                <c:pt idx="14">
                  <c:v>1.39635986331847</c:v>
                </c:pt>
                <c:pt idx="15">
                  <c:v>1.3312502727759938</c:v>
                </c:pt>
                <c:pt idx="16">
                  <c:v>1.2738944057992407</c:v>
                </c:pt>
                <c:pt idx="17">
                  <c:v>1.0412153497783914</c:v>
                </c:pt>
                <c:pt idx="18">
                  <c:v>0.7835429443252071</c:v>
                </c:pt>
                <c:pt idx="19">
                  <c:v>0.9607895511822604</c:v>
                </c:pt>
                <c:pt idx="20">
                  <c:v>0.8829229884473699</c:v>
                </c:pt>
                <c:pt idx="21">
                  <c:v>0.8326640651864625</c:v>
                </c:pt>
                <c:pt idx="22">
                  <c:v>0.3957319304875377</c:v>
                </c:pt>
                <c:pt idx="23">
                  <c:v>0.541064650549149</c:v>
                </c:pt>
                <c:pt idx="24">
                  <c:v>1.9922977524709158</c:v>
                </c:pt>
                <c:pt idx="25">
                  <c:v>2.1745367511278193</c:v>
                </c:pt>
                <c:pt idx="26">
                  <c:v>2.1895054265976195</c:v>
                </c:pt>
                <c:pt idx="27">
                  <c:v>1.6199407230411402</c:v>
                </c:pt>
                <c:pt idx="28">
                  <c:v>2.2583022604759124</c:v>
                </c:pt>
                <c:pt idx="29">
                  <c:v>2.220158996005255</c:v>
                </c:pt>
                <c:pt idx="30">
                  <c:v>1.934116086437749</c:v>
                </c:pt>
                <c:pt idx="31">
                  <c:v>2.057174323089799</c:v>
                </c:pt>
                <c:pt idx="32">
                  <c:v>2.2178600690143884</c:v>
                </c:pt>
                <c:pt idx="33">
                  <c:v>2.051753662552416</c:v>
                </c:pt>
                <c:pt idx="34">
                  <c:v>1.8646936211074265</c:v>
                </c:pt>
                <c:pt idx="35">
                  <c:v>2.6761272763359507</c:v>
                </c:pt>
                <c:pt idx="36">
                  <c:v>2.7702693329634096</c:v>
                </c:pt>
                <c:pt idx="37">
                  <c:v>2.310510182570321</c:v>
                </c:pt>
                <c:pt idx="38">
                  <c:v>2.091135564082844</c:v>
                </c:pt>
                <c:pt idx="39">
                  <c:v>2.2958366004566035</c:v>
                </c:pt>
                <c:pt idx="40">
                  <c:v>2.0605442007130006</c:v>
                </c:pt>
                <c:pt idx="41">
                  <c:v>2.4787901778450636</c:v>
                </c:pt>
                <c:pt idx="42">
                  <c:v>2.4842477494224817</c:v>
                </c:pt>
                <c:pt idx="43">
                  <c:v>2.730307049928321</c:v>
                </c:pt>
                <c:pt idx="44">
                  <c:v>2.79674327136952</c:v>
                </c:pt>
                <c:pt idx="45">
                  <c:v>2.24722984078084</c:v>
                </c:pt>
                <c:pt idx="46">
                  <c:v>2.4066099278410227</c:v>
                </c:pt>
                <c:pt idx="47">
                  <c:v>2.359931781646022</c:v>
                </c:pt>
                <c:pt idx="48">
                  <c:v>2.4980432137787774</c:v>
                </c:pt>
                <c:pt idx="49">
                  <c:v>2.7911893610874317</c:v>
                </c:pt>
                <c:pt idx="50">
                  <c:v>2.3844945307758225</c:v>
                </c:pt>
                <c:pt idx="51">
                  <c:v>2.476159037893665</c:v>
                </c:pt>
                <c:pt idx="52">
                  <c:v>2.7154423212212304</c:v>
                </c:pt>
                <c:pt idx="53">
                  <c:v>2.7099623114756897</c:v>
                </c:pt>
              </c:numCache>
            </c:numRef>
          </c:xVal>
          <c:yVal>
            <c:numRef>
              <c:f>Sheet1!$B$2:$B$55</c:f>
              <c:numCache>
                <c:formatCode>General</c:formatCode>
                <c:ptCount val="54"/>
                <c:pt idx="0">
                  <c:v>0.0</c:v>
                </c:pt>
                <c:pt idx="1">
                  <c:v>3.3447053314602983e-05</c:v>
                </c:pt>
                <c:pt idx="2">
                  <c:v>0.0</c:v>
                </c:pt>
                <c:pt idx="3">
                  <c:v>4.513450081242101e-05</c:v>
                </c:pt>
                <c:pt idx="4">
                  <c:v>4.6151006091932804e-05</c:v>
                </c:pt>
                <c:pt idx="5">
                  <c:v>9.649249770830318e-05</c:v>
                </c:pt>
                <c:pt idx="6">
                  <c:v>8.082440897150939e-05</c:v>
                </c:pt>
                <c:pt idx="7">
                  <c:v>0.00011228385358185493</c:v>
                </c:pt>
                <c:pt idx="8">
                  <c:v>0.0001445992191642165</c:v>
                </c:pt>
                <c:pt idx="9">
                  <c:v>0.0003262554036051222</c:v>
                </c:pt>
                <c:pt idx="10">
                  <c:v>0.00037863011623944567</c:v>
                </c:pt>
                <c:pt idx="11">
                  <c:v>0.0002848394217759738</c:v>
                </c:pt>
                <c:pt idx="12">
                  <c:v>0.00036425047186992946</c:v>
                </c:pt>
                <c:pt idx="13">
                  <c:v>0.0003590664272890485</c:v>
                </c:pt>
                <c:pt idx="14">
                  <c:v>0.0003894908292613838</c:v>
                </c:pt>
                <c:pt idx="15">
                  <c:v>0.00036115424897973926</c:v>
                </c:pt>
                <c:pt idx="16">
                  <c:v>0.0003822483850005734</c:v>
                </c:pt>
                <c:pt idx="17">
                  <c:v>0.000599050734989171</c:v>
                </c:pt>
                <c:pt idx="18">
                  <c:v>0.000715009235535959</c:v>
                </c:pt>
                <c:pt idx="19">
                  <c:v>0.00045488144652299997</c:v>
                </c:pt>
                <c:pt idx="20">
                  <c:v>0.0006357683260219976</c:v>
                </c:pt>
                <c:pt idx="21">
                  <c:v>0.0006580128013399533</c:v>
                </c:pt>
                <c:pt idx="22">
                  <c:v>0.0009732044378122364</c:v>
                </c:pt>
                <c:pt idx="23">
                  <c:v>0.0009017132551848512</c:v>
                </c:pt>
                <c:pt idx="24">
                  <c:v>0.0008434666479229634</c:v>
                </c:pt>
                <c:pt idx="25">
                  <c:v>0.0012189547463050433</c:v>
                </c:pt>
                <c:pt idx="26">
                  <c:v>0.0015781582892764145</c:v>
                </c:pt>
                <c:pt idx="27">
                  <c:v>0.002099737532808399</c:v>
                </c:pt>
                <c:pt idx="28">
                  <c:v>0.0014443561782335524</c:v>
                </c:pt>
                <c:pt idx="29">
                  <c:v>0.0013728323699421965</c:v>
                </c:pt>
                <c:pt idx="30">
                  <c:v>0.0018142008132624335</c:v>
                </c:pt>
                <c:pt idx="31">
                  <c:v>0.0019587039908593815</c:v>
                </c:pt>
                <c:pt idx="32">
                  <c:v>0.0017610529242747242</c:v>
                </c:pt>
                <c:pt idx="33">
                  <c:v>0.0017895827446547988</c:v>
                </c:pt>
                <c:pt idx="34">
                  <c:v>0.0019574259848299485</c:v>
                </c:pt>
                <c:pt idx="35">
                  <c:v>0.0017367572261506017</c:v>
                </c:pt>
                <c:pt idx="36">
                  <c:v>0.0016083874426639662</c:v>
                </c:pt>
                <c:pt idx="37">
                  <c:v>0.0023678582340360527</c:v>
                </c:pt>
                <c:pt idx="38">
                  <c:v>0.0030191211003019122</c:v>
                </c:pt>
                <c:pt idx="39">
                  <c:v>0.002665978672170623</c:v>
                </c:pt>
                <c:pt idx="40">
                  <c:v>0.00293895373247124</c:v>
                </c:pt>
                <c:pt idx="41">
                  <c:v>0.002329916123019571</c:v>
                </c:pt>
                <c:pt idx="42">
                  <c:v>0.002354326074161271</c:v>
                </c:pt>
                <c:pt idx="43">
                  <c:v>0.002270396953273766</c:v>
                </c:pt>
                <c:pt idx="44">
                  <c:v>0.0024226110363391655</c:v>
                </c:pt>
                <c:pt idx="45">
                  <c:v>0.0031187669990933816</c:v>
                </c:pt>
                <c:pt idx="46">
                  <c:v>0.0036477665429412516</c:v>
                </c:pt>
                <c:pt idx="47">
                  <c:v>0.003454947484798231</c:v>
                </c:pt>
                <c:pt idx="48">
                  <c:v>0.0031363486299108615</c:v>
                </c:pt>
                <c:pt idx="49">
                  <c:v>0.0024744163028685554</c:v>
                </c:pt>
                <c:pt idx="50">
                  <c:v>0.003520358889685037</c:v>
                </c:pt>
                <c:pt idx="51">
                  <c:v>0.0031836022677714784</c:v>
                </c:pt>
                <c:pt idx="52">
                  <c:v>0.0027420214791682536</c:v>
                </c:pt>
                <c:pt idx="53">
                  <c:v>0.0022801897117840204</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2.711448902339665</c:v>
                </c:pt>
                <c:pt idx="1">
                  <c:v>2.158060474905772</c:v>
                </c:pt>
                <c:pt idx="2">
                  <c:v>2.545420566013431</c:v>
                </c:pt>
                <c:pt idx="3">
                  <c:v>2.061531247582843</c:v>
                </c:pt>
                <c:pt idx="4">
                  <c:v>2.5242512455169064</c:v>
                </c:pt>
                <c:pt idx="5">
                  <c:v>2.7952176429383497</c:v>
                </c:pt>
                <c:pt idx="6">
                  <c:v>2.8304834489871973</c:v>
                </c:pt>
                <c:pt idx="7">
                  <c:v>2.5412132011421353</c:v>
                </c:pt>
                <c:pt idx="8">
                  <c:v>2.4237777945895997</c:v>
                </c:pt>
                <c:pt idx="9">
                  <c:v>2.4575458141083804</c:v>
                </c:pt>
                <c:pt idx="10">
                  <c:v>2.5790928774714414</c:v>
                </c:pt>
                <c:pt idx="11">
                  <c:v>2.644220768705237</c:v>
                </c:pt>
                <c:pt idx="12">
                  <c:v>2.4631372134217817</c:v>
                </c:pt>
                <c:pt idx="13">
                  <c:v>2.016658063868978</c:v>
                </c:pt>
                <c:pt idx="14">
                  <c:v>2.012079866170662</c:v>
                </c:pt>
                <c:pt idx="15">
                  <c:v>2.111667063298328</c:v>
                </c:pt>
                <c:pt idx="16">
                  <c:v>2.184569097228522</c:v>
                </c:pt>
                <c:pt idx="17">
                  <c:v>1.7104256243142686</c:v>
                </c:pt>
                <c:pt idx="18">
                  <c:v>2.4299527078506205</c:v>
                </c:pt>
                <c:pt idx="19">
                  <c:v>2.3984769529952374</c:v>
                </c:pt>
                <c:pt idx="20">
                  <c:v>2.1529848385627663</c:v>
                </c:pt>
                <c:pt idx="21">
                  <c:v>2.0065425217894295</c:v>
                </c:pt>
                <c:pt idx="22">
                  <c:v>2.1142972486299394</c:v>
                </c:pt>
                <c:pt idx="23">
                  <c:v>1.6417785239381952</c:v>
                </c:pt>
                <c:pt idx="24">
                  <c:v>2.1256210935257753</c:v>
                </c:pt>
                <c:pt idx="25">
                  <c:v>2.117269100429846</c:v>
                </c:pt>
                <c:pt idx="26">
                  <c:v>2.190399975470354</c:v>
                </c:pt>
                <c:pt idx="27">
                  <c:v>2.0833492473626887</c:v>
                </c:pt>
                <c:pt idx="28">
                  <c:v>2.152527466326854</c:v>
                </c:pt>
                <c:pt idx="29">
                  <c:v>1.9204058108557978</c:v>
                </c:pt>
                <c:pt idx="30">
                  <c:v>1.897208865992495</c:v>
                </c:pt>
                <c:pt idx="31">
                  <c:v>2.0216073433899022</c:v>
                </c:pt>
                <c:pt idx="32">
                  <c:v>2.27134712341451</c:v>
                </c:pt>
                <c:pt idx="33">
                  <c:v>2.566202556147828</c:v>
                </c:pt>
                <c:pt idx="34">
                  <c:v>2.674444606224045</c:v>
                </c:pt>
                <c:pt idx="35">
                  <c:v>2.1271168021360336</c:v>
                </c:pt>
                <c:pt idx="36">
                  <c:v>2.0752301458025264</c:v>
                </c:pt>
                <c:pt idx="37">
                  <c:v>2.0444154930053076</c:v>
                </c:pt>
                <c:pt idx="38">
                  <c:v>1.7695326574490111</c:v>
                </c:pt>
                <c:pt idx="39">
                  <c:v>1.7277957428863437</c:v>
                </c:pt>
                <c:pt idx="40">
                  <c:v>1.7642353928707335</c:v>
                </c:pt>
                <c:pt idx="41">
                  <c:v>1.871610911830244</c:v>
                </c:pt>
                <c:pt idx="42">
                  <c:v>1.725852346196437</c:v>
                </c:pt>
                <c:pt idx="43">
                  <c:v>1.9554541451807381</c:v>
                </c:pt>
                <c:pt idx="44">
                  <c:v>2.588793185535918</c:v>
                </c:pt>
                <c:pt idx="45">
                  <c:v>2.7506731761405416</c:v>
                </c:pt>
                <c:pt idx="46">
                  <c:v>2.6076059991516027</c:v>
                </c:pt>
                <c:pt idx="47">
                  <c:v>2.6592288790887446</c:v>
                </c:pt>
                <c:pt idx="48">
                  <c:v>2.524146399095049</c:v>
                </c:pt>
                <c:pt idx="49">
                  <c:v>2.6943908568982726</c:v>
                </c:pt>
                <c:pt idx="50">
                  <c:v>2.94790149579454</c:v>
                </c:pt>
                <c:pt idx="51">
                  <c:v>2.992879643708694</c:v>
                </c:pt>
              </c:numCache>
            </c:numRef>
          </c:xVal>
          <c:yVal>
            <c:numRef>
              <c:f>Sheet1!$B$58:$B$109</c:f>
              <c:numCache>
                <c:formatCode>General</c:formatCode>
                <c:ptCount val="52"/>
                <c:pt idx="0">
                  <c:v>0.00221953188054883</c:v>
                </c:pt>
                <c:pt idx="1">
                  <c:v>0.0027724461505651524</c:v>
                </c:pt>
                <c:pt idx="2">
                  <c:v>0.002474041308992765</c:v>
                </c:pt>
                <c:pt idx="3">
                  <c:v>0.0027802448160018536</c:v>
                </c:pt>
                <c:pt idx="4">
                  <c:v>0.0026056060007895775</c:v>
                </c:pt>
                <c:pt idx="5">
                  <c:v>0.002304147465437788</c:v>
                </c:pt>
                <c:pt idx="6">
                  <c:v>0.0023851280252542967</c:v>
                </c:pt>
                <c:pt idx="7">
                  <c:v>0.0028896166441918707</c:v>
                </c:pt>
                <c:pt idx="8">
                  <c:v>0.0035228442902823696</c:v>
                </c:pt>
                <c:pt idx="9">
                  <c:v>0.003538676236044657</c:v>
                </c:pt>
                <c:pt idx="10">
                  <c:v>0.003357500851540071</c:v>
                </c:pt>
                <c:pt idx="11">
                  <c:v>0.0033273874862788143</c:v>
                </c:pt>
                <c:pt idx="12">
                  <c:v>0.003576654202568688</c:v>
                </c:pt>
                <c:pt idx="13">
                  <c:v>0.005383638989801725</c:v>
                </c:pt>
                <c:pt idx="14">
                  <c:v>0.005304659498207885</c:v>
                </c:pt>
                <c:pt idx="15">
                  <c:v>0.005114957375355205</c:v>
                </c:pt>
                <c:pt idx="16">
                  <c:v>0.004994822440153499</c:v>
                </c:pt>
                <c:pt idx="17">
                  <c:v>0.0066212393931601955</c:v>
                </c:pt>
                <c:pt idx="18">
                  <c:v>0.0035177007709003816</c:v>
                </c:pt>
                <c:pt idx="19">
                  <c:v>0.0032291207984735063</c:v>
                </c:pt>
                <c:pt idx="20">
                  <c:v>0.00398665690342527</c:v>
                </c:pt>
                <c:pt idx="21">
                  <c:v>0.004742088454466273</c:v>
                </c:pt>
                <c:pt idx="22">
                  <c:v>0.004075056861258529</c:v>
                </c:pt>
                <c:pt idx="23">
                  <c:v>0.004474050507059057</c:v>
                </c:pt>
                <c:pt idx="24">
                  <c:v>0.00392156862745098</c:v>
                </c:pt>
                <c:pt idx="25">
                  <c:v>0.004148576941630487</c:v>
                </c:pt>
                <c:pt idx="26">
                  <c:v>0.00398406374501992</c:v>
                </c:pt>
                <c:pt idx="27">
                  <c:v>0.004326229770870053</c:v>
                </c:pt>
                <c:pt idx="28">
                  <c:v>0.0033920323325635103</c:v>
                </c:pt>
                <c:pt idx="29">
                  <c:v>0.004102295539844637</c:v>
                </c:pt>
                <c:pt idx="30">
                  <c:v>0.004041311180960934</c:v>
                </c:pt>
                <c:pt idx="31">
                  <c:v>0.004301691998852882</c:v>
                </c:pt>
                <c:pt idx="32">
                  <c:v>0.0035637328029172882</c:v>
                </c:pt>
                <c:pt idx="33">
                  <c:v>0.002848633950537356</c:v>
                </c:pt>
                <c:pt idx="34">
                  <c:v>0.0028331640562356338</c:v>
                </c:pt>
                <c:pt idx="35">
                  <c:v>0.003877523733119401</c:v>
                </c:pt>
                <c:pt idx="36">
                  <c:v>0.0046267087276551</c:v>
                </c:pt>
                <c:pt idx="37">
                  <c:v>0.004762358319839985</c:v>
                </c:pt>
                <c:pt idx="38">
                  <c:v>0.0057203389830508475</c:v>
                </c:pt>
                <c:pt idx="39">
                  <c:v>0.005291417010349389</c:v>
                </c:pt>
                <c:pt idx="40">
                  <c:v>0.004725118127953199</c:v>
                </c:pt>
                <c:pt idx="41">
                  <c:v>0.004050596930073906</c:v>
                </c:pt>
                <c:pt idx="42">
                  <c:v>0.004612770089827628</c:v>
                </c:pt>
                <c:pt idx="43">
                  <c:v>0.0035323207347227126</c:v>
                </c:pt>
                <c:pt idx="44">
                  <c:v>0.002512320030920862</c:v>
                </c:pt>
                <c:pt idx="45">
                  <c:v>0.00202242407039455</c:v>
                </c:pt>
                <c:pt idx="46">
                  <c:v>0.002218965878166213</c:v>
                </c:pt>
                <c:pt idx="47">
                  <c:v>0.0020577729461096444</c:v>
                </c:pt>
                <c:pt idx="48">
                  <c:v>0.0023189152629714323</c:v>
                </c:pt>
                <c:pt idx="49">
                  <c:v>0.002085096095733108</c:v>
                </c:pt>
                <c:pt idx="50">
                  <c:v>0.0016871633296066673</c:v>
                </c:pt>
                <c:pt idx="51">
                  <c:v>0.002200542800557471</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2.00662971561944</c:v>
                </c:pt>
              </c:numCache>
            </c:numRef>
          </c:xVal>
          <c:yVal>
            <c:numRef>
              <c:f>Sheet1!$B$112:$B$113</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2.00662971561944</c:v>
                </c:pt>
                <c:pt idx="1">
                  <c:v>2.00662971561944</c:v>
                </c:pt>
              </c:numCache>
            </c:numRef>
          </c:xVal>
          <c:yVal>
            <c:numRef>
              <c:f>Sheet1!$B$116:$B$117</c:f>
              <c:numCache>
                <c:formatCode>General</c:formatCode>
                <c:ptCount val="2"/>
                <c:pt idx="0">
                  <c:v>0.0043611618000289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2.00662971561944</c:v>
                </c:pt>
              </c:numCache>
            </c:numRef>
          </c:xVal>
          <c:yVal>
            <c:numRef>
              <c:f>Sheet1!$B$120:$B$121</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2.00662971561944</c:v>
                </c:pt>
                <c:pt idx="1">
                  <c:v>2.00662971561944</c:v>
                </c:pt>
              </c:numCache>
            </c:numRef>
          </c:xVal>
          <c:yVal>
            <c:numRef>
              <c:f>Sheet1!$B$124:$B$125</c:f>
              <c:numCache>
                <c:formatCode>General</c:formatCode>
                <c:ptCount val="2"/>
                <c:pt idx="0">
                  <c:v>0.00436116180002893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2.5021682899054998</c:v>
                </c:pt>
              </c:numCache>
            </c:numRef>
          </c:xVal>
          <c:yVal>
            <c:numRef>
              <c:f>Sheet1!$B$128:$B$129</c:f>
              <c:numCache>
                <c:formatCode>General</c:formatCode>
                <c:ptCount val="2"/>
                <c:pt idx="0">
                  <c:v>0.003024263331337445</c:v>
                </c:pt>
                <c:pt idx="1">
                  <c:v>0.003024263331337445</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2.5021682899054998</c:v>
                </c:pt>
                <c:pt idx="1">
                  <c:v>2.5021682899054998</c:v>
                </c:pt>
              </c:numCache>
            </c:numRef>
          </c:xVal>
          <c:yVal>
            <c:numRef>
              <c:f>Sheet1!$B$132:$B$133</c:f>
              <c:numCache>
                <c:formatCode>General</c:formatCode>
                <c:ptCount val="2"/>
                <c:pt idx="0">
                  <c:v>0.0030242633313374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2.711448902339665</c:v>
                </c:pt>
                <c:pt idx="1">
                  <c:v>2.158060474905772</c:v>
                </c:pt>
                <c:pt idx="2">
                  <c:v>2.545420566013431</c:v>
                </c:pt>
                <c:pt idx="3">
                  <c:v>2.061531247582843</c:v>
                </c:pt>
                <c:pt idx="4">
                  <c:v>2.5242512455169064</c:v>
                </c:pt>
                <c:pt idx="5">
                  <c:v>2.7952176429383497</c:v>
                </c:pt>
                <c:pt idx="6">
                  <c:v>2.8304834489871973</c:v>
                </c:pt>
                <c:pt idx="7">
                  <c:v>2.5412132011421353</c:v>
                </c:pt>
                <c:pt idx="8">
                  <c:v>2.4237777945895997</c:v>
                </c:pt>
                <c:pt idx="9">
                  <c:v>2.4575458141083804</c:v>
                </c:pt>
                <c:pt idx="10">
                  <c:v>2.5790928774714414</c:v>
                </c:pt>
                <c:pt idx="11">
                  <c:v>2.644220768705237</c:v>
                </c:pt>
                <c:pt idx="12">
                  <c:v>2.4631372134217817</c:v>
                </c:pt>
                <c:pt idx="13">
                  <c:v>2.016658063868978</c:v>
                </c:pt>
                <c:pt idx="14">
                  <c:v>2.012079866170662</c:v>
                </c:pt>
                <c:pt idx="15">
                  <c:v>2.111667063298328</c:v>
                </c:pt>
                <c:pt idx="16">
                  <c:v>2.184569097228522</c:v>
                </c:pt>
                <c:pt idx="17">
                  <c:v>1.7104256243142686</c:v>
                </c:pt>
                <c:pt idx="18">
                  <c:v>2.4299527078506205</c:v>
                </c:pt>
                <c:pt idx="19">
                  <c:v>2.3984769529952374</c:v>
                </c:pt>
                <c:pt idx="20">
                  <c:v>2.1529848385627663</c:v>
                </c:pt>
                <c:pt idx="21">
                  <c:v>2.0065425217894295</c:v>
                </c:pt>
                <c:pt idx="22">
                  <c:v>2.1142972486299394</c:v>
                </c:pt>
                <c:pt idx="23">
                  <c:v>1.6417785239381952</c:v>
                </c:pt>
                <c:pt idx="24">
                  <c:v>2.1256210935257753</c:v>
                </c:pt>
                <c:pt idx="25">
                  <c:v>2.117269100429846</c:v>
                </c:pt>
                <c:pt idx="26">
                  <c:v>2.190399975470354</c:v>
                </c:pt>
                <c:pt idx="27">
                  <c:v>2.0833492473626887</c:v>
                </c:pt>
                <c:pt idx="28">
                  <c:v>2.152527466326854</c:v>
                </c:pt>
                <c:pt idx="29">
                  <c:v>1.9204058108557978</c:v>
                </c:pt>
                <c:pt idx="30">
                  <c:v>1.897208865992495</c:v>
                </c:pt>
                <c:pt idx="31">
                  <c:v>2.0216073433899022</c:v>
                </c:pt>
                <c:pt idx="32">
                  <c:v>2.27134712341451</c:v>
                </c:pt>
                <c:pt idx="33">
                  <c:v>2.566202556147828</c:v>
                </c:pt>
                <c:pt idx="34">
                  <c:v>2.674444606224045</c:v>
                </c:pt>
                <c:pt idx="35">
                  <c:v>2.1271168021360336</c:v>
                </c:pt>
                <c:pt idx="36">
                  <c:v>2.0752301458025264</c:v>
                </c:pt>
                <c:pt idx="37">
                  <c:v>2.0444154930053076</c:v>
                </c:pt>
                <c:pt idx="38">
                  <c:v>1.7695326574490111</c:v>
                </c:pt>
                <c:pt idx="39">
                  <c:v>1.7277957428863437</c:v>
                </c:pt>
                <c:pt idx="40">
                  <c:v>1.7642353928707335</c:v>
                </c:pt>
                <c:pt idx="41">
                  <c:v>1.871610911830244</c:v>
                </c:pt>
                <c:pt idx="42">
                  <c:v>1.725852346196437</c:v>
                </c:pt>
                <c:pt idx="43">
                  <c:v>1.9554541451807381</c:v>
                </c:pt>
                <c:pt idx="44">
                  <c:v>2.588793185535918</c:v>
                </c:pt>
                <c:pt idx="45">
                  <c:v>2.7506731761405416</c:v>
                </c:pt>
                <c:pt idx="46">
                  <c:v>2.6076059991516027</c:v>
                </c:pt>
                <c:pt idx="47">
                  <c:v>2.6592288790887446</c:v>
                </c:pt>
                <c:pt idx="48">
                  <c:v>2.524146399095049</c:v>
                </c:pt>
                <c:pt idx="49">
                  <c:v>2.6943908568982726</c:v>
                </c:pt>
                <c:pt idx="50">
                  <c:v>2.94790149579454</c:v>
                </c:pt>
                <c:pt idx="51">
                  <c:v>2.992879643708694</c:v>
                </c:pt>
                <c:pt idx="52">
                  <c:v>2.00662971561944</c:v>
                </c:pt>
                <c:pt idx="53">
                  <c:v>2.00662971561944</c:v>
                </c:pt>
                <c:pt idx="54">
                  <c:v>2.5021682899054998</c:v>
                </c:pt>
              </c:numCache>
            </c:numRef>
          </c:xVal>
          <c:yVal>
            <c:numRef>
              <c:f>Sheet1!$B$136:$B$190</c:f>
              <c:numCache>
                <c:formatCode>General</c:formatCode>
                <c:ptCount val="55"/>
                <c:pt idx="0">
                  <c:v>0.002459651523481413</c:v>
                </c:pt>
                <c:pt idx="1">
                  <c:v>0.003952621353920658</c:v>
                </c:pt>
                <c:pt idx="2">
                  <c:v>0.002907574329316919</c:v>
                </c:pt>
                <c:pt idx="3">
                  <c:v>0.004213044624456001</c:v>
                </c:pt>
                <c:pt idx="4">
                  <c:v>0.0029646863961137722</c:v>
                </c:pt>
                <c:pt idx="5">
                  <c:v>0.00223365438250819</c:v>
                </c:pt>
                <c:pt idx="6">
                  <c:v>0.002138511835488916</c:v>
                </c:pt>
                <c:pt idx="7">
                  <c:v>0.002918925251213898</c:v>
                </c:pt>
                <c:pt idx="8">
                  <c:v>0.0032357506677144036</c:v>
                </c:pt>
                <c:pt idx="9">
                  <c:v>0.003144648953482684</c:v>
                </c:pt>
                <c:pt idx="10">
                  <c:v>0.002816730822955433</c:v>
                </c:pt>
                <c:pt idx="11">
                  <c:v>0.002641024263309675</c:v>
                </c:pt>
                <c:pt idx="12">
                  <c:v>0.0031295640871012954</c:v>
                </c:pt>
                <c:pt idx="13">
                  <c:v>0.0043341066238751355</c:v>
                </c:pt>
                <c:pt idx="14">
                  <c:v>0.0043464580043929175</c:v>
                </c:pt>
                <c:pt idx="15">
                  <c:v>0.004077784730000361</c:v>
                </c:pt>
                <c:pt idx="16">
                  <c:v>0.0038811045468961714</c:v>
                </c:pt>
                <c:pt idx="17">
                  <c:v>0.005160281821424975</c:v>
                </c:pt>
                <c:pt idx="18">
                  <c:v>0.0032190915567766624</c:v>
                </c:pt>
                <c:pt idx="19">
                  <c:v>0.0033040090397954093</c:v>
                </c:pt>
                <c:pt idx="20">
                  <c:v>0.003966314759049362</c:v>
                </c:pt>
                <c:pt idx="21">
                  <c:v>0.0043613970376146045</c:v>
                </c:pt>
                <c:pt idx="22">
                  <c:v>0.004070688832880198</c:v>
                </c:pt>
                <c:pt idx="23">
                  <c:v>0.005345482748527584</c:v>
                </c:pt>
                <c:pt idx="24">
                  <c:v>0.004040138575672161</c:v>
                </c:pt>
                <c:pt idx="25">
                  <c:v>0.004062671164172575</c:v>
                </c:pt>
                <c:pt idx="26">
                  <c:v>0.003865373597587406</c:v>
                </c:pt>
                <c:pt idx="27">
                  <c:v>0.004154182505522856</c:v>
                </c:pt>
                <c:pt idx="28">
                  <c:v>0.003967548689712971</c:v>
                </c:pt>
                <c:pt idx="29">
                  <c:v>0.004593782653832683</c:v>
                </c:pt>
                <c:pt idx="30">
                  <c:v>0.004656364986824116</c:v>
                </c:pt>
                <c:pt idx="31">
                  <c:v>0.004320754112978921</c:v>
                </c:pt>
                <c:pt idx="32">
                  <c:v>0.003646988745737275</c:v>
                </c:pt>
                <c:pt idx="33">
                  <c:v>0.002851507229339757</c:v>
                </c:pt>
                <c:pt idx="34">
                  <c:v>0.002559484290049088</c:v>
                </c:pt>
                <c:pt idx="35">
                  <c:v>0.0040361033488413465</c:v>
                </c:pt>
                <c:pt idx="36">
                  <c:v>0.0041760867830224835</c:v>
                </c:pt>
                <c:pt idx="37">
                  <c:v>0.004259220698878004</c:v>
                </c:pt>
                <c:pt idx="38">
                  <c:v>0.005000818751974566</c:v>
                </c:pt>
                <c:pt idx="39">
                  <c:v>0.00511341950610784</c:v>
                </c:pt>
                <c:pt idx="40">
                  <c:v>0.005015110081187748</c:v>
                </c:pt>
                <c:pt idx="41">
                  <c:v>0.004725424929877899</c:v>
                </c:pt>
                <c:pt idx="42">
                  <c:v>0.0051186625370112145</c:v>
                </c:pt>
                <c:pt idx="43">
                  <c:v>0.004499226817172121</c:v>
                </c:pt>
                <c:pt idx="44">
                  <c:v>0.002790560656453424</c:v>
                </c:pt>
                <c:pt idx="45">
                  <c:v>0.002353829546543536</c:v>
                </c:pt>
                <c:pt idx="46">
                  <c:v>0.002739806137996767</c:v>
                </c:pt>
                <c:pt idx="47">
                  <c:v>0.0026005343381437654</c:v>
                </c:pt>
                <c:pt idx="48">
                  <c:v>0.002964969258090826</c:v>
                </c:pt>
                <c:pt idx="49">
                  <c:v>0.0025056719061778013</c:v>
                </c:pt>
                <c:pt idx="50">
                  <c:v>0.0018217332533177026</c:v>
                </c:pt>
                <c:pt idx="51">
                  <c:v>0.0017003880741706598</c:v>
                </c:pt>
                <c:pt idx="52">
                  <c:v>0.004361161800028937</c:v>
                </c:pt>
                <c:pt idx="53">
                  <c:v>0.004361161800028937</c:v>
                </c:pt>
                <c:pt idx="54">
                  <c:v>0.003024263331337445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94548727179223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3.3447053314602983e-05</c:v>
                </c:pt>
                <c:pt idx="2">
                  <c:v>0.0</c:v>
                </c:pt>
                <c:pt idx="3">
                  <c:v>4.513450081242101e-05</c:v>
                </c:pt>
                <c:pt idx="4">
                  <c:v>4.6151006091932804e-05</c:v>
                </c:pt>
                <c:pt idx="5">
                  <c:v>9.649249770830318e-05</c:v>
                </c:pt>
                <c:pt idx="6">
                  <c:v>8.082440897150939e-05</c:v>
                </c:pt>
                <c:pt idx="7">
                  <c:v>0.00011228385358185493</c:v>
                </c:pt>
                <c:pt idx="8">
                  <c:v>0.0001445992191642165</c:v>
                </c:pt>
                <c:pt idx="9">
                  <c:v>0.0003262554036051222</c:v>
                </c:pt>
                <c:pt idx="10">
                  <c:v>0.00037863011623944567</c:v>
                </c:pt>
                <c:pt idx="11">
                  <c:v>0.0002848394217759738</c:v>
                </c:pt>
                <c:pt idx="12">
                  <c:v>0.00036425047186992946</c:v>
                </c:pt>
                <c:pt idx="13">
                  <c:v>0.0003590664272890485</c:v>
                </c:pt>
                <c:pt idx="14">
                  <c:v>0.0003894908292613838</c:v>
                </c:pt>
                <c:pt idx="15">
                  <c:v>0.00036115424897973926</c:v>
                </c:pt>
                <c:pt idx="16">
                  <c:v>0.0003822483850005734</c:v>
                </c:pt>
                <c:pt idx="17">
                  <c:v>0.000599050734989171</c:v>
                </c:pt>
                <c:pt idx="18">
                  <c:v>0.000715009235535959</c:v>
                </c:pt>
                <c:pt idx="19">
                  <c:v>0.00045488144652299997</c:v>
                </c:pt>
                <c:pt idx="20">
                  <c:v>0.0006357683260219976</c:v>
                </c:pt>
                <c:pt idx="21">
                  <c:v>0.0006580128013399533</c:v>
                </c:pt>
                <c:pt idx="22">
                  <c:v>0.0009732044378122364</c:v>
                </c:pt>
                <c:pt idx="23">
                  <c:v>0.0009017132551848512</c:v>
                </c:pt>
                <c:pt idx="24">
                  <c:v>0.0008434666479229634</c:v>
                </c:pt>
                <c:pt idx="25">
                  <c:v>0.0012189547463050433</c:v>
                </c:pt>
                <c:pt idx="26">
                  <c:v>0.0015781582892764145</c:v>
                </c:pt>
                <c:pt idx="27">
                  <c:v>0.002099737532808399</c:v>
                </c:pt>
                <c:pt idx="28">
                  <c:v>0.0014443561782335524</c:v>
                </c:pt>
                <c:pt idx="29">
                  <c:v>0.0013728323699421965</c:v>
                </c:pt>
                <c:pt idx="30">
                  <c:v>0.0018142008132624335</c:v>
                </c:pt>
                <c:pt idx="31">
                  <c:v>0.0019587039908593815</c:v>
                </c:pt>
                <c:pt idx="32">
                  <c:v>0.0017610529242747242</c:v>
                </c:pt>
                <c:pt idx="33">
                  <c:v>0.0017895827446547988</c:v>
                </c:pt>
                <c:pt idx="34">
                  <c:v>0.0019574259848299485</c:v>
                </c:pt>
                <c:pt idx="35">
                  <c:v>0.0017367572261506017</c:v>
                </c:pt>
                <c:pt idx="36">
                  <c:v>0.0016083874426639662</c:v>
                </c:pt>
                <c:pt idx="37">
                  <c:v>0.0023678582340360527</c:v>
                </c:pt>
                <c:pt idx="38">
                  <c:v>0.0030191211003019122</c:v>
                </c:pt>
                <c:pt idx="39">
                  <c:v>0.002665978672170623</c:v>
                </c:pt>
                <c:pt idx="40">
                  <c:v>0.00293895373247124</c:v>
                </c:pt>
                <c:pt idx="41">
                  <c:v>0.002329916123019571</c:v>
                </c:pt>
                <c:pt idx="42">
                  <c:v>0.002354326074161271</c:v>
                </c:pt>
                <c:pt idx="43">
                  <c:v>0.002270396953273766</c:v>
                </c:pt>
                <c:pt idx="44">
                  <c:v>0.0024226110363391655</c:v>
                </c:pt>
                <c:pt idx="45">
                  <c:v>0.0031187669990933816</c:v>
                </c:pt>
                <c:pt idx="46">
                  <c:v>0.0036477665429412516</c:v>
                </c:pt>
                <c:pt idx="47">
                  <c:v>0.003454947484798231</c:v>
                </c:pt>
                <c:pt idx="48">
                  <c:v>0.0031363486299108615</c:v>
                </c:pt>
                <c:pt idx="49">
                  <c:v>0.0024744163028685554</c:v>
                </c:pt>
                <c:pt idx="50">
                  <c:v>0.003520358889685037</c:v>
                </c:pt>
                <c:pt idx="51">
                  <c:v>0.0031836022677714784</c:v>
                </c:pt>
                <c:pt idx="52">
                  <c:v>0.0027420214791682536</c:v>
                </c:pt>
                <c:pt idx="53">
                  <c:v>0.0022801897117840204</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21953188054883</c:v>
                </c:pt>
                <c:pt idx="1">
                  <c:v>0.0027724461505651524</c:v>
                </c:pt>
                <c:pt idx="2">
                  <c:v>0.002474041308992765</c:v>
                </c:pt>
                <c:pt idx="3">
                  <c:v>0.0027802448160018536</c:v>
                </c:pt>
                <c:pt idx="4">
                  <c:v>0.0026056060007895775</c:v>
                </c:pt>
                <c:pt idx="5">
                  <c:v>0.002304147465437788</c:v>
                </c:pt>
                <c:pt idx="6">
                  <c:v>0.0023851280252542967</c:v>
                </c:pt>
                <c:pt idx="7">
                  <c:v>0.0028896166441918707</c:v>
                </c:pt>
                <c:pt idx="8">
                  <c:v>0.0035228442902823696</c:v>
                </c:pt>
                <c:pt idx="9">
                  <c:v>0.003538676236044657</c:v>
                </c:pt>
                <c:pt idx="10">
                  <c:v>0.003357500851540071</c:v>
                </c:pt>
                <c:pt idx="11">
                  <c:v>0.0033273874862788143</c:v>
                </c:pt>
                <c:pt idx="12">
                  <c:v>0.003576654202568688</c:v>
                </c:pt>
                <c:pt idx="13">
                  <c:v>0.005383638989801725</c:v>
                </c:pt>
                <c:pt idx="14">
                  <c:v>0.005304659498207885</c:v>
                </c:pt>
                <c:pt idx="15">
                  <c:v>0.005114957375355205</c:v>
                </c:pt>
                <c:pt idx="16">
                  <c:v>0.004994822440153499</c:v>
                </c:pt>
                <c:pt idx="17">
                  <c:v>0.0066212393931601955</c:v>
                </c:pt>
                <c:pt idx="18">
                  <c:v>0.0035177007709003816</c:v>
                </c:pt>
                <c:pt idx="19">
                  <c:v>0.0032291207984735063</c:v>
                </c:pt>
                <c:pt idx="20">
                  <c:v>0.00398665690342527</c:v>
                </c:pt>
                <c:pt idx="21">
                  <c:v>0.004742088454466273</c:v>
                </c:pt>
                <c:pt idx="22">
                  <c:v>0.004075056861258529</c:v>
                </c:pt>
                <c:pt idx="23">
                  <c:v>0.004474050507059057</c:v>
                </c:pt>
                <c:pt idx="24">
                  <c:v>0.00392156862745098</c:v>
                </c:pt>
                <c:pt idx="25">
                  <c:v>0.004148576941630487</c:v>
                </c:pt>
                <c:pt idx="26">
                  <c:v>0.00398406374501992</c:v>
                </c:pt>
                <c:pt idx="27">
                  <c:v>0.004326229770870053</c:v>
                </c:pt>
                <c:pt idx="28">
                  <c:v>0.0033920323325635103</c:v>
                </c:pt>
                <c:pt idx="29">
                  <c:v>0.004102295539844637</c:v>
                </c:pt>
                <c:pt idx="30">
                  <c:v>0.004041311180960934</c:v>
                </c:pt>
                <c:pt idx="31">
                  <c:v>0.004301691998852882</c:v>
                </c:pt>
                <c:pt idx="32">
                  <c:v>0.0035637328029172882</c:v>
                </c:pt>
                <c:pt idx="33">
                  <c:v>0.002848633950537356</c:v>
                </c:pt>
                <c:pt idx="34">
                  <c:v>0.0028331640562356338</c:v>
                </c:pt>
                <c:pt idx="35">
                  <c:v>0.003877523733119401</c:v>
                </c:pt>
                <c:pt idx="36">
                  <c:v>0.0046267087276551</c:v>
                </c:pt>
                <c:pt idx="37">
                  <c:v>0.004762358319839985</c:v>
                </c:pt>
                <c:pt idx="38">
                  <c:v>0.0057203389830508475</c:v>
                </c:pt>
                <c:pt idx="39">
                  <c:v>0.005291417010349389</c:v>
                </c:pt>
                <c:pt idx="40">
                  <c:v>0.004725118127953199</c:v>
                </c:pt>
                <c:pt idx="41">
                  <c:v>0.004050596930073906</c:v>
                </c:pt>
                <c:pt idx="42">
                  <c:v>0.004612770089827628</c:v>
                </c:pt>
                <c:pt idx="43">
                  <c:v>0.0035323207347227126</c:v>
                </c:pt>
                <c:pt idx="44">
                  <c:v>0.002512320030920862</c:v>
                </c:pt>
                <c:pt idx="45">
                  <c:v>0.00202242407039455</c:v>
                </c:pt>
                <c:pt idx="46">
                  <c:v>0.002218965878166213</c:v>
                </c:pt>
                <c:pt idx="47">
                  <c:v>0.0020577729461096444</c:v>
                </c:pt>
                <c:pt idx="48">
                  <c:v>0.0023189152629714323</c:v>
                </c:pt>
                <c:pt idx="49">
                  <c:v>0.002085096095733108</c:v>
                </c:pt>
                <c:pt idx="50">
                  <c:v>0.0016871633296066673</c:v>
                </c:pt>
                <c:pt idx="51">
                  <c:v>0.002200542800557471</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497.134574446532</c:v>
                </c:pt>
              </c:numCache>
            </c:numRef>
          </c:xVal>
          <c:yVal>
            <c:numRef>
              <c:f>Sheet1!$B$112:$B$113</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497.134574446532</c:v>
                </c:pt>
                <c:pt idx="1">
                  <c:v>3497.134574446532</c:v>
                </c:pt>
              </c:numCache>
            </c:numRef>
          </c:xVal>
          <c:yVal>
            <c:numRef>
              <c:f>Sheet1!$B$116:$B$117</c:f>
              <c:numCache>
                <c:formatCode>General</c:formatCode>
                <c:ptCount val="2"/>
                <c:pt idx="0">
                  <c:v>0.0043611618000289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497.134574446532</c:v>
                </c:pt>
              </c:numCache>
            </c:numRef>
          </c:xVal>
          <c:yVal>
            <c:numRef>
              <c:f>Sheet1!$B$120:$B$121</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497.134574446532</c:v>
                </c:pt>
                <c:pt idx="1">
                  <c:v>3497.134574446532</c:v>
                </c:pt>
              </c:numCache>
            </c:numRef>
          </c:xVal>
          <c:yVal>
            <c:numRef>
              <c:f>Sheet1!$B$124:$B$125</c:f>
              <c:numCache>
                <c:formatCode>General</c:formatCode>
                <c:ptCount val="2"/>
                <c:pt idx="0">
                  <c:v>0.00436116180002893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48.23595726061</c:v>
                </c:pt>
              </c:numCache>
            </c:numRef>
          </c:xVal>
          <c:yVal>
            <c:numRef>
              <c:f>Sheet1!$B$128:$B$129</c:f>
              <c:numCache>
                <c:formatCode>General</c:formatCode>
                <c:ptCount val="2"/>
                <c:pt idx="0">
                  <c:v>0.003024263331337445</c:v>
                </c:pt>
                <c:pt idx="1">
                  <c:v>0.003024263331337445</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48.23595726061</c:v>
                </c:pt>
                <c:pt idx="1">
                  <c:v>4248.23595726061</c:v>
                </c:pt>
              </c:numCache>
            </c:numRef>
          </c:xVal>
          <c:yVal>
            <c:numRef>
              <c:f>Sheet1!$B$132:$B$133</c:f>
              <c:numCache>
                <c:formatCode>General</c:formatCode>
                <c:ptCount val="2"/>
                <c:pt idx="0">
                  <c:v>0.0030242633313374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497.134574446532</c:v>
                </c:pt>
                <c:pt idx="53">
                  <c:v>3497.134574446532</c:v>
                </c:pt>
                <c:pt idx="54">
                  <c:v>4248.23595726061</c:v>
                </c:pt>
              </c:numCache>
            </c:numRef>
          </c:xVal>
          <c:yVal>
            <c:numRef>
              <c:f>Sheet1!$B$136:$B$190</c:f>
              <c:numCache>
                <c:formatCode>General</c:formatCode>
                <c:ptCount val="55"/>
                <c:pt idx="0">
                  <c:v>0.002699799786814415</c:v>
                </c:pt>
                <c:pt idx="1">
                  <c:v>0.003960810437056742</c:v>
                </c:pt>
                <c:pt idx="2">
                  <c:v>0.002834178215612734</c:v>
                </c:pt>
                <c:pt idx="3">
                  <c:v>0.00410561241850919</c:v>
                </c:pt>
                <c:pt idx="4">
                  <c:v>0.0026222870511226175</c:v>
                </c:pt>
                <c:pt idx="5">
                  <c:v>0.0019695669321136682</c:v>
                </c:pt>
                <c:pt idx="6">
                  <c:v>0.002559104074951985</c:v>
                </c:pt>
                <c:pt idx="7">
                  <c:v>0.0031149844024753468</c:v>
                </c:pt>
                <c:pt idx="8">
                  <c:v>0.003337893968036145</c:v>
                </c:pt>
                <c:pt idx="9">
                  <c:v>0.0033351911633666843</c:v>
                </c:pt>
                <c:pt idx="10">
                  <c:v>0.0029714920842930917</c:v>
                </c:pt>
                <c:pt idx="11">
                  <c:v>0.0034797916581621804</c:v>
                </c:pt>
                <c:pt idx="12">
                  <c:v>0.003813105766203597</c:v>
                </c:pt>
                <c:pt idx="13">
                  <c:v>0.004523880385193439</c:v>
                </c:pt>
                <c:pt idx="14">
                  <c:v>0.004542616152405606</c:v>
                </c:pt>
                <c:pt idx="15">
                  <c:v>0.004145060373285821</c:v>
                </c:pt>
                <c:pt idx="16">
                  <c:v>0.003920719754083769</c:v>
                </c:pt>
                <c:pt idx="17">
                  <c:v>0.005386927477224924</c:v>
                </c:pt>
                <c:pt idx="18">
                  <c:v>0.003300721993721046</c:v>
                </c:pt>
                <c:pt idx="19">
                  <c:v>0.0028608905049491793</c:v>
                </c:pt>
                <c:pt idx="20">
                  <c:v>0.0032686046290209183</c:v>
                </c:pt>
                <c:pt idx="21">
                  <c:v>0.00387305018254803</c:v>
                </c:pt>
                <c:pt idx="22">
                  <c:v>0.003479679879345425</c:v>
                </c:pt>
                <c:pt idx="23">
                  <c:v>0.005116798303263349</c:v>
                </c:pt>
                <c:pt idx="24">
                  <c:v>0.0034936709205731463</c:v>
                </c:pt>
                <c:pt idx="25">
                  <c:v>0.00399850517313109</c:v>
                </c:pt>
                <c:pt idx="26">
                  <c:v>0.0035415713474039982</c:v>
                </c:pt>
                <c:pt idx="27">
                  <c:v>0.00403808270589912</c:v>
                </c:pt>
                <c:pt idx="28">
                  <c:v>0.0037685752571078052</c:v>
                </c:pt>
                <c:pt idx="29">
                  <c:v>0.0040811590224266205</c:v>
                </c:pt>
                <c:pt idx="30">
                  <c:v>0.004214419663057393</c:v>
                </c:pt>
                <c:pt idx="31">
                  <c:v>0.003942448274520321</c:v>
                </c:pt>
                <c:pt idx="32">
                  <c:v>0.0030775840647495863</c:v>
                </c:pt>
                <c:pt idx="33">
                  <c:v>0.002338606119563498</c:v>
                </c:pt>
                <c:pt idx="34">
                  <c:v>0.0022455497206399153</c:v>
                </c:pt>
                <c:pt idx="35">
                  <c:v>0.0036092633884868084</c:v>
                </c:pt>
                <c:pt idx="36">
                  <c:v>0.0030669159514358684</c:v>
                </c:pt>
                <c:pt idx="37">
                  <c:v>0.0032041701928811755</c:v>
                </c:pt>
                <c:pt idx="38">
                  <c:v>0.0041939901263862486</c:v>
                </c:pt>
                <c:pt idx="39">
                  <c:v>0.0049209235480835185</c:v>
                </c:pt>
                <c:pt idx="40">
                  <c:v>0.004844098038524668</c:v>
                </c:pt>
                <c:pt idx="41">
                  <c:v>0.004480936850508771</c:v>
                </c:pt>
                <c:pt idx="42">
                  <c:v>0.00475944712183425</c:v>
                </c:pt>
                <c:pt idx="43">
                  <c:v>0.0044491809870456315</c:v>
                </c:pt>
                <c:pt idx="44">
                  <c:v>0.003336853428286545</c:v>
                </c:pt>
                <c:pt idx="45">
                  <c:v>0.003160644091210459</c:v>
                </c:pt>
                <c:pt idx="46">
                  <c:v>0.003279110769845388</c:v>
                </c:pt>
                <c:pt idx="47">
                  <c:v>0.0033466468901583307</c:v>
                </c:pt>
                <c:pt idx="48">
                  <c:v>0.004149591153191065</c:v>
                </c:pt>
                <c:pt idx="49">
                  <c:v>0.003827193990924865</c:v>
                </c:pt>
                <c:pt idx="50">
                  <c:v>0.003284851537642827</c:v>
                </c:pt>
                <c:pt idx="51">
                  <c:v>0.0030867134394154594</c:v>
                </c:pt>
                <c:pt idx="52">
                  <c:v>0.004361161800028936</c:v>
                </c:pt>
                <c:pt idx="53">
                  <c:v>0.004361161800028936</c:v>
                </c:pt>
                <c:pt idx="54">
                  <c:v>0.00302426333133744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94548727179223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0.510992239394467</c:v>
                </c:pt>
                <c:pt idx="2">
                  <c:v>0.0</c:v>
                </c:pt>
                <c:pt idx="3">
                  <c:v>0.6982950421227607</c:v>
                </c:pt>
                <c:pt idx="4">
                  <c:v>0.6722223638683953</c:v>
                </c:pt>
                <c:pt idx="5">
                  <c:v>0.49655842984119813</c:v>
                </c:pt>
                <c:pt idx="6">
                  <c:v>0.33875117535234217</c:v>
                </c:pt>
                <c:pt idx="7">
                  <c:v>0.42828827825261145</c:v>
                </c:pt>
                <c:pt idx="8">
                  <c:v>0.5625420532379053</c:v>
                </c:pt>
                <c:pt idx="9">
                  <c:v>0.4516468980059454</c:v>
                </c:pt>
                <c:pt idx="10">
                  <c:v>0.43317466846027813</c:v>
                </c:pt>
                <c:pt idx="11">
                  <c:v>0.6059665039942542</c:v>
                </c:pt>
                <c:pt idx="12">
                  <c:v>0.46892109463790765</c:v>
                </c:pt>
                <c:pt idx="13">
                  <c:v>0.4707102034325302</c:v>
                </c:pt>
                <c:pt idx="14">
                  <c:v>0.3894375229498673</c:v>
                </c:pt>
                <c:pt idx="15">
                  <c:v>0.37490534164385153</c:v>
                </c:pt>
                <c:pt idx="16">
                  <c:v>0.4003537323113037</c:v>
                </c:pt>
                <c:pt idx="17">
                  <c:v>0.2858206559468825</c:v>
                </c:pt>
                <c:pt idx="18">
                  <c:v>0.1868970178940955</c:v>
                </c:pt>
                <c:pt idx="19">
                  <c:v>0.22129348058116702</c:v>
                </c:pt>
                <c:pt idx="20">
                  <c:v>0.2346676816415719</c:v>
                </c:pt>
                <c:pt idx="21">
                  <c:v>0.2319650479378721</c:v>
                </c:pt>
                <c:pt idx="22">
                  <c:v>0.10715093162022274</c:v>
                </c:pt>
                <c:pt idx="23">
                  <c:v>0.15393025025486273</c:v>
                </c:pt>
                <c:pt idx="24">
                  <c:v>0.5543393518109309</c:v>
                </c:pt>
                <c:pt idx="25">
                  <c:v>0.5422870450127838</c:v>
                </c:pt>
                <c:pt idx="26">
                  <c:v>0.5739810679908147</c:v>
                </c:pt>
                <c:pt idx="27">
                  <c:v>0.41187603694362523</c:v>
                </c:pt>
                <c:pt idx="28">
                  <c:v>0.5646656500413118</c:v>
                </c:pt>
                <c:pt idx="29">
                  <c:v>0.5123968856658114</c:v>
                </c:pt>
                <c:pt idx="30">
                  <c:v>0.509860460368835</c:v>
                </c:pt>
                <c:pt idx="31">
                  <c:v>0.5564867314383096</c:v>
                </c:pt>
                <c:pt idx="32">
                  <c:v>0.5554922032343248</c:v>
                </c:pt>
                <c:pt idx="33">
                  <c:v>0.4706344207254132</c:v>
                </c:pt>
                <c:pt idx="34">
                  <c:v>0.47182082656552243</c:v>
                </c:pt>
                <c:pt idx="35">
                  <c:v>0.7034483537502453</c:v>
                </c:pt>
                <c:pt idx="36">
                  <c:v>0.7420189319425182</c:v>
                </c:pt>
                <c:pt idx="37">
                  <c:v>0.5315371930209274</c:v>
                </c:pt>
                <c:pt idx="38">
                  <c:v>0.4769213290829619</c:v>
                </c:pt>
                <c:pt idx="39">
                  <c:v>0.5596616547283598</c:v>
                </c:pt>
                <c:pt idx="40">
                  <c:v>0.5169254008814211</c:v>
                </c:pt>
                <c:pt idx="41">
                  <c:v>0.6360328964677966</c:v>
                </c:pt>
                <c:pt idx="42">
                  <c:v>0.5767067632638548</c:v>
                </c:pt>
                <c:pt idx="43">
                  <c:v>0.6485529720912829</c:v>
                </c:pt>
                <c:pt idx="44">
                  <c:v>0.6257443219861059</c:v>
                </c:pt>
                <c:pt idx="45">
                  <c:v>0.5372693386306497</c:v>
                </c:pt>
                <c:pt idx="46">
                  <c:v>0.5754239909209489</c:v>
                </c:pt>
                <c:pt idx="47">
                  <c:v>0.5724830463500764</c:v>
                </c:pt>
                <c:pt idx="48">
                  <c:v>0.658123404269236</c:v>
                </c:pt>
                <c:pt idx="49">
                  <c:v>0.777776198336495</c:v>
                </c:pt>
                <c:pt idx="50">
                  <c:v>0.6902993240515874</c:v>
                </c:pt>
                <c:pt idx="51">
                  <c:v>0.6695404430213577</c:v>
                </c:pt>
                <c:pt idx="52">
                  <c:v>0.6964784889999195</c:v>
                </c:pt>
                <c:pt idx="53">
                  <c:v>0.7309858375622816</c:v>
                </c:pt>
              </c:numCache>
            </c:numRef>
          </c:xVal>
          <c:yVal>
            <c:numRef>
              <c:f>Sheet1!$B$2:$B$55</c:f>
              <c:numCache>
                <c:formatCode>General</c:formatCode>
                <c:ptCount val="54"/>
                <c:pt idx="0">
                  <c:v>0.0</c:v>
                </c:pt>
                <c:pt idx="1">
                  <c:v>3.3447053314602983e-05</c:v>
                </c:pt>
                <c:pt idx="2">
                  <c:v>0.0</c:v>
                </c:pt>
                <c:pt idx="3">
                  <c:v>4.513450081242101e-05</c:v>
                </c:pt>
                <c:pt idx="4">
                  <c:v>4.6151006091932804e-05</c:v>
                </c:pt>
                <c:pt idx="5">
                  <c:v>9.649249770830318e-05</c:v>
                </c:pt>
                <c:pt idx="6">
                  <c:v>8.082440897150939e-05</c:v>
                </c:pt>
                <c:pt idx="7">
                  <c:v>0.00011228385358185493</c:v>
                </c:pt>
                <c:pt idx="8">
                  <c:v>0.0001445992191642165</c:v>
                </c:pt>
                <c:pt idx="9">
                  <c:v>0.0003262554036051222</c:v>
                </c:pt>
                <c:pt idx="10">
                  <c:v>0.00037863011623944567</c:v>
                </c:pt>
                <c:pt idx="11">
                  <c:v>0.0002848394217759738</c:v>
                </c:pt>
                <c:pt idx="12">
                  <c:v>0.00036425047186992946</c:v>
                </c:pt>
                <c:pt idx="13">
                  <c:v>0.0003590664272890485</c:v>
                </c:pt>
                <c:pt idx="14">
                  <c:v>0.0003894908292613838</c:v>
                </c:pt>
                <c:pt idx="15">
                  <c:v>0.00036115424897973926</c:v>
                </c:pt>
                <c:pt idx="16">
                  <c:v>0.0003822483850005734</c:v>
                </c:pt>
                <c:pt idx="17">
                  <c:v>0.000599050734989171</c:v>
                </c:pt>
                <c:pt idx="18">
                  <c:v>0.000715009235535959</c:v>
                </c:pt>
                <c:pt idx="19">
                  <c:v>0.00045488144652299997</c:v>
                </c:pt>
                <c:pt idx="20">
                  <c:v>0.0006357683260219976</c:v>
                </c:pt>
                <c:pt idx="21">
                  <c:v>0.0006580128013399533</c:v>
                </c:pt>
                <c:pt idx="22">
                  <c:v>0.0009732044378122364</c:v>
                </c:pt>
                <c:pt idx="23">
                  <c:v>0.0009017132551848512</c:v>
                </c:pt>
                <c:pt idx="24">
                  <c:v>0.0008434666479229634</c:v>
                </c:pt>
                <c:pt idx="25">
                  <c:v>0.0012189547463050433</c:v>
                </c:pt>
                <c:pt idx="26">
                  <c:v>0.0015781582892764145</c:v>
                </c:pt>
                <c:pt idx="27">
                  <c:v>0.002099737532808399</c:v>
                </c:pt>
                <c:pt idx="28">
                  <c:v>0.0014443561782335524</c:v>
                </c:pt>
                <c:pt idx="29">
                  <c:v>0.0013728323699421965</c:v>
                </c:pt>
                <c:pt idx="30">
                  <c:v>0.0018142008132624335</c:v>
                </c:pt>
                <c:pt idx="31">
                  <c:v>0.0019587039908593815</c:v>
                </c:pt>
                <c:pt idx="32">
                  <c:v>0.0017610529242747242</c:v>
                </c:pt>
                <c:pt idx="33">
                  <c:v>0.0017895827446547988</c:v>
                </c:pt>
                <c:pt idx="34">
                  <c:v>0.0019574259848299485</c:v>
                </c:pt>
                <c:pt idx="35">
                  <c:v>0.0017367572261506017</c:v>
                </c:pt>
                <c:pt idx="36">
                  <c:v>0.0016083874426639662</c:v>
                </c:pt>
                <c:pt idx="37">
                  <c:v>0.0023678582340360527</c:v>
                </c:pt>
                <c:pt idx="38">
                  <c:v>0.0030191211003019122</c:v>
                </c:pt>
                <c:pt idx="39">
                  <c:v>0.002665978672170623</c:v>
                </c:pt>
                <c:pt idx="40">
                  <c:v>0.00293895373247124</c:v>
                </c:pt>
                <c:pt idx="41">
                  <c:v>0.002329916123019571</c:v>
                </c:pt>
                <c:pt idx="42">
                  <c:v>0.002354326074161271</c:v>
                </c:pt>
                <c:pt idx="43">
                  <c:v>0.002270396953273766</c:v>
                </c:pt>
                <c:pt idx="44">
                  <c:v>0.0024226110363391655</c:v>
                </c:pt>
                <c:pt idx="45">
                  <c:v>0.0031187669990933816</c:v>
                </c:pt>
                <c:pt idx="46">
                  <c:v>0.0036477665429412516</c:v>
                </c:pt>
                <c:pt idx="47">
                  <c:v>0.003454947484798231</c:v>
                </c:pt>
                <c:pt idx="48">
                  <c:v>0.0031363486299108615</c:v>
                </c:pt>
                <c:pt idx="49">
                  <c:v>0.0024744163028685554</c:v>
                </c:pt>
                <c:pt idx="50">
                  <c:v>0.003520358889685037</c:v>
                </c:pt>
                <c:pt idx="51">
                  <c:v>0.0031836022677714784</c:v>
                </c:pt>
                <c:pt idx="52">
                  <c:v>0.0027420214791682536</c:v>
                </c:pt>
                <c:pt idx="53">
                  <c:v>0.0022801897117840204</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0.8200471824533305</c:v>
                </c:pt>
                <c:pt idx="1">
                  <c:v>0.7174472737974504</c:v>
                </c:pt>
                <c:pt idx="2">
                  <c:v>0.816154931402421</c:v>
                </c:pt>
                <c:pt idx="3">
                  <c:v>0.6717893989782041</c:v>
                </c:pt>
                <c:pt idx="4">
                  <c:v>0.7544364461971145</c:v>
                </c:pt>
                <c:pt idx="5">
                  <c:v>0.8914213217879952</c:v>
                </c:pt>
                <c:pt idx="6">
                  <c:v>0.8446009415962397</c:v>
                </c:pt>
                <c:pt idx="7">
                  <c:v>0.6947736707938821</c:v>
                </c:pt>
                <c:pt idx="8">
                  <c:v>0.7833544893875507</c:v>
                </c:pt>
                <c:pt idx="9">
                  <c:v>0.7613429474760278</c:v>
                </c:pt>
                <c:pt idx="10">
                  <c:v>0.766555956239328</c:v>
                </c:pt>
                <c:pt idx="11">
                  <c:v>0.7406952727042804</c:v>
                </c:pt>
                <c:pt idx="12">
                  <c:v>0.6847116900697604</c:v>
                </c:pt>
                <c:pt idx="13">
                  <c:v>0.602059101051708</c:v>
                </c:pt>
                <c:pt idx="14">
                  <c:v>0.5977168278296656</c:v>
                </c:pt>
                <c:pt idx="15">
                  <c:v>0.6090773450163397</c:v>
                </c:pt>
                <c:pt idx="16">
                  <c:v>0.575369530701084</c:v>
                </c:pt>
                <c:pt idx="17">
                  <c:v>0.43588164295742987</c:v>
                </c:pt>
                <c:pt idx="18">
                  <c:v>0.569486990082358</c:v>
                </c:pt>
                <c:pt idx="19">
                  <c:v>0.6359532222218478</c:v>
                </c:pt>
                <c:pt idx="20">
                  <c:v>0.5490117143515651</c:v>
                </c:pt>
                <c:pt idx="21">
                  <c:v>0.4930240492429066</c:v>
                </c:pt>
                <c:pt idx="22">
                  <c:v>0.51387469440209</c:v>
                </c:pt>
                <c:pt idx="23">
                  <c:v>0.44189703350405324</c:v>
                </c:pt>
                <c:pt idx="24">
                  <c:v>0.5325773310191649</c:v>
                </c:pt>
                <c:pt idx="25">
                  <c:v>0.49494544649788547</c:v>
                </c:pt>
                <c:pt idx="26">
                  <c:v>0.5355449850886121</c:v>
                </c:pt>
                <c:pt idx="27">
                  <c:v>0.5039508029016588</c:v>
                </c:pt>
                <c:pt idx="28">
                  <c:v>0.5646759056819411</c:v>
                </c:pt>
                <c:pt idx="29">
                  <c:v>0.482968750165199</c:v>
                </c:pt>
                <c:pt idx="30">
                  <c:v>0.4718324334374835</c:v>
                </c:pt>
                <c:pt idx="31">
                  <c:v>0.48506893344385515</c:v>
                </c:pt>
                <c:pt idx="32">
                  <c:v>0.5883140007055117</c:v>
                </c:pt>
                <c:pt idx="33">
                  <c:v>0.6768897476236313</c:v>
                </c:pt>
                <c:pt idx="34">
                  <c:v>0.7501615355670261</c:v>
                </c:pt>
                <c:pt idx="35">
                  <c:v>0.5006523374259947</c:v>
                </c:pt>
                <c:pt idx="36">
                  <c:v>0.4562942851112718</c:v>
                </c:pt>
                <c:pt idx="37">
                  <c:v>0.4640881527118102</c:v>
                </c:pt>
                <c:pt idx="38">
                  <c:v>0.4093912044613488</c:v>
                </c:pt>
                <c:pt idx="39">
                  <c:v>0.3972512185219328</c:v>
                </c:pt>
                <c:pt idx="40">
                  <c:v>0.4275415156261007</c:v>
                </c:pt>
                <c:pt idx="41">
                  <c:v>0.45267500482259654</c:v>
                </c:pt>
                <c:pt idx="42">
                  <c:v>0.42587281285970846</c:v>
                </c:pt>
                <c:pt idx="43">
                  <c:v>0.4931257209211285</c:v>
                </c:pt>
                <c:pt idx="44">
                  <c:v>0.6066167778907415</c:v>
                </c:pt>
                <c:pt idx="45">
                  <c:v>0.6524995979764446</c:v>
                </c:pt>
                <c:pt idx="46">
                  <c:v>0.6095580472565648</c:v>
                </c:pt>
                <c:pt idx="47">
                  <c:v>0.5771648247598549</c:v>
                </c:pt>
                <c:pt idx="48">
                  <c:v>0.52944258627081</c:v>
                </c:pt>
                <c:pt idx="49">
                  <c:v>0.6537504229131017</c:v>
                </c:pt>
                <c:pt idx="50">
                  <c:v>0.7818785689211416</c:v>
                </c:pt>
                <c:pt idx="51">
                  <c:v>0.6905966298215692</c:v>
                </c:pt>
              </c:numCache>
            </c:numRef>
          </c:xVal>
          <c:yVal>
            <c:numRef>
              <c:f>Sheet1!$B$58:$B$109</c:f>
              <c:numCache>
                <c:formatCode>General</c:formatCode>
                <c:ptCount val="52"/>
                <c:pt idx="0">
                  <c:v>0.00221953188054883</c:v>
                </c:pt>
                <c:pt idx="1">
                  <c:v>0.0027724461505651524</c:v>
                </c:pt>
                <c:pt idx="2">
                  <c:v>0.002474041308992765</c:v>
                </c:pt>
                <c:pt idx="3">
                  <c:v>0.0027802448160018536</c:v>
                </c:pt>
                <c:pt idx="4">
                  <c:v>0.0026056060007895775</c:v>
                </c:pt>
                <c:pt idx="5">
                  <c:v>0.002304147465437788</c:v>
                </c:pt>
                <c:pt idx="6">
                  <c:v>0.0023851280252542967</c:v>
                </c:pt>
                <c:pt idx="7">
                  <c:v>0.0028896166441918707</c:v>
                </c:pt>
                <c:pt idx="8">
                  <c:v>0.0035228442902823696</c:v>
                </c:pt>
                <c:pt idx="9">
                  <c:v>0.003538676236044657</c:v>
                </c:pt>
                <c:pt idx="10">
                  <c:v>0.003357500851540071</c:v>
                </c:pt>
                <c:pt idx="11">
                  <c:v>0.0033273874862788143</c:v>
                </c:pt>
                <c:pt idx="12">
                  <c:v>0.003576654202568688</c:v>
                </c:pt>
                <c:pt idx="13">
                  <c:v>0.005383638989801725</c:v>
                </c:pt>
                <c:pt idx="14">
                  <c:v>0.005304659498207885</c:v>
                </c:pt>
                <c:pt idx="15">
                  <c:v>0.005114957375355205</c:v>
                </c:pt>
                <c:pt idx="16">
                  <c:v>0.004994822440153499</c:v>
                </c:pt>
                <c:pt idx="17">
                  <c:v>0.0066212393931601955</c:v>
                </c:pt>
                <c:pt idx="18">
                  <c:v>0.0035177007709003816</c:v>
                </c:pt>
                <c:pt idx="19">
                  <c:v>0.0032291207984735063</c:v>
                </c:pt>
                <c:pt idx="20">
                  <c:v>0.00398665690342527</c:v>
                </c:pt>
                <c:pt idx="21">
                  <c:v>0.004742088454466273</c:v>
                </c:pt>
                <c:pt idx="22">
                  <c:v>0.004075056861258529</c:v>
                </c:pt>
                <c:pt idx="23">
                  <c:v>0.004474050507059057</c:v>
                </c:pt>
                <c:pt idx="24">
                  <c:v>0.00392156862745098</c:v>
                </c:pt>
                <c:pt idx="25">
                  <c:v>0.004148576941630487</c:v>
                </c:pt>
                <c:pt idx="26">
                  <c:v>0.00398406374501992</c:v>
                </c:pt>
                <c:pt idx="27">
                  <c:v>0.004326229770870053</c:v>
                </c:pt>
                <c:pt idx="28">
                  <c:v>0.0033920323325635103</c:v>
                </c:pt>
                <c:pt idx="29">
                  <c:v>0.004102295539844637</c:v>
                </c:pt>
                <c:pt idx="30">
                  <c:v>0.004041311180960934</c:v>
                </c:pt>
                <c:pt idx="31">
                  <c:v>0.004301691998852882</c:v>
                </c:pt>
                <c:pt idx="32">
                  <c:v>0.0035637328029172882</c:v>
                </c:pt>
                <c:pt idx="33">
                  <c:v>0.002848633950537356</c:v>
                </c:pt>
                <c:pt idx="34">
                  <c:v>0.0028331640562356338</c:v>
                </c:pt>
                <c:pt idx="35">
                  <c:v>0.003877523733119401</c:v>
                </c:pt>
                <c:pt idx="36">
                  <c:v>0.0046267087276551</c:v>
                </c:pt>
                <c:pt idx="37">
                  <c:v>0.004762358319839985</c:v>
                </c:pt>
                <c:pt idx="38">
                  <c:v>0.0057203389830508475</c:v>
                </c:pt>
                <c:pt idx="39">
                  <c:v>0.005291417010349389</c:v>
                </c:pt>
                <c:pt idx="40">
                  <c:v>0.004725118127953199</c:v>
                </c:pt>
                <c:pt idx="41">
                  <c:v>0.004050596930073906</c:v>
                </c:pt>
                <c:pt idx="42">
                  <c:v>0.004612770089827628</c:v>
                </c:pt>
                <c:pt idx="43">
                  <c:v>0.0035323207347227126</c:v>
                </c:pt>
                <c:pt idx="44">
                  <c:v>0.002512320030920862</c:v>
                </c:pt>
                <c:pt idx="45">
                  <c:v>0.00202242407039455</c:v>
                </c:pt>
                <c:pt idx="46">
                  <c:v>0.002218965878166213</c:v>
                </c:pt>
                <c:pt idx="47">
                  <c:v>0.0020577729461096444</c:v>
                </c:pt>
                <c:pt idx="48">
                  <c:v>0.0023189152629714323</c:v>
                </c:pt>
                <c:pt idx="49">
                  <c:v>0.002085096095733108</c:v>
                </c:pt>
                <c:pt idx="50">
                  <c:v>0.0016871633296066673</c:v>
                </c:pt>
                <c:pt idx="51">
                  <c:v>0.002200542800557471</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0.47828613109395524</c:v>
                </c:pt>
              </c:numCache>
            </c:numRef>
          </c:xVal>
          <c:yVal>
            <c:numRef>
              <c:f>Sheet1!$B$112:$B$113</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0.47828613109395524</c:v>
                </c:pt>
                <c:pt idx="1">
                  <c:v>0.47828613109395524</c:v>
                </c:pt>
              </c:numCache>
            </c:numRef>
          </c:xVal>
          <c:yVal>
            <c:numRef>
              <c:f>Sheet1!$B$116:$B$117</c:f>
              <c:numCache>
                <c:formatCode>General</c:formatCode>
                <c:ptCount val="2"/>
                <c:pt idx="0">
                  <c:v>0.0043611618000289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0.47828613109395524</c:v>
                </c:pt>
              </c:numCache>
            </c:numRef>
          </c:xVal>
          <c:yVal>
            <c:numRef>
              <c:f>Sheet1!$B$120:$B$121</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0.47828613109395524</c:v>
                </c:pt>
                <c:pt idx="1">
                  <c:v>0.47828613109395524</c:v>
                </c:pt>
              </c:numCache>
            </c:numRef>
          </c:xVal>
          <c:yVal>
            <c:numRef>
              <c:f>Sheet1!$B$124:$B$125</c:f>
              <c:numCache>
                <c:formatCode>General</c:formatCode>
                <c:ptCount val="2"/>
                <c:pt idx="0">
                  <c:v>0.00436116180002893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0.7015377495736039</c:v>
                </c:pt>
              </c:numCache>
            </c:numRef>
          </c:xVal>
          <c:yVal>
            <c:numRef>
              <c:f>Sheet1!$B$128:$B$129</c:f>
              <c:numCache>
                <c:formatCode>General</c:formatCode>
                <c:ptCount val="2"/>
                <c:pt idx="0">
                  <c:v>0.003024263331337445</c:v>
                </c:pt>
                <c:pt idx="1">
                  <c:v>0.003024263331337445</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0.7015377495736039</c:v>
                </c:pt>
                <c:pt idx="1">
                  <c:v>0.7015377495736039</c:v>
                </c:pt>
              </c:numCache>
            </c:numRef>
          </c:xVal>
          <c:yVal>
            <c:numRef>
              <c:f>Sheet1!$B$132:$B$133</c:f>
              <c:numCache>
                <c:formatCode>General</c:formatCode>
                <c:ptCount val="2"/>
                <c:pt idx="0">
                  <c:v>0.0030242633313374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0.8200471824533305</c:v>
                </c:pt>
                <c:pt idx="1">
                  <c:v>0.7174472737974504</c:v>
                </c:pt>
                <c:pt idx="2">
                  <c:v>0.816154931402421</c:v>
                </c:pt>
                <c:pt idx="3">
                  <c:v>0.6717893989782041</c:v>
                </c:pt>
                <c:pt idx="4">
                  <c:v>0.7544364461971145</c:v>
                </c:pt>
                <c:pt idx="5">
                  <c:v>0.8914213217879952</c:v>
                </c:pt>
                <c:pt idx="6">
                  <c:v>0.8446009415962397</c:v>
                </c:pt>
                <c:pt idx="7">
                  <c:v>0.6947736707938821</c:v>
                </c:pt>
                <c:pt idx="8">
                  <c:v>0.7833544893875507</c:v>
                </c:pt>
                <c:pt idx="9">
                  <c:v>0.7613429474760278</c:v>
                </c:pt>
                <c:pt idx="10">
                  <c:v>0.766555956239328</c:v>
                </c:pt>
                <c:pt idx="11">
                  <c:v>0.7406952727042804</c:v>
                </c:pt>
                <c:pt idx="12">
                  <c:v>0.6847116900697604</c:v>
                </c:pt>
                <c:pt idx="13">
                  <c:v>0.602059101051708</c:v>
                </c:pt>
                <c:pt idx="14">
                  <c:v>0.5977168278296656</c:v>
                </c:pt>
                <c:pt idx="15">
                  <c:v>0.6090773450163397</c:v>
                </c:pt>
                <c:pt idx="16">
                  <c:v>0.575369530701084</c:v>
                </c:pt>
                <c:pt idx="17">
                  <c:v>0.43588164295742987</c:v>
                </c:pt>
                <c:pt idx="18">
                  <c:v>0.569486990082358</c:v>
                </c:pt>
                <c:pt idx="19">
                  <c:v>0.6359532222218478</c:v>
                </c:pt>
                <c:pt idx="20">
                  <c:v>0.5490117143515651</c:v>
                </c:pt>
                <c:pt idx="21">
                  <c:v>0.4930240492429066</c:v>
                </c:pt>
                <c:pt idx="22">
                  <c:v>0.51387469440209</c:v>
                </c:pt>
                <c:pt idx="23">
                  <c:v>0.44189703350405324</c:v>
                </c:pt>
                <c:pt idx="24">
                  <c:v>0.5325773310191649</c:v>
                </c:pt>
                <c:pt idx="25">
                  <c:v>0.49494544649788547</c:v>
                </c:pt>
                <c:pt idx="26">
                  <c:v>0.5355449850886121</c:v>
                </c:pt>
                <c:pt idx="27">
                  <c:v>0.5039508029016588</c:v>
                </c:pt>
                <c:pt idx="28">
                  <c:v>0.5646759056819411</c:v>
                </c:pt>
                <c:pt idx="29">
                  <c:v>0.482968750165199</c:v>
                </c:pt>
                <c:pt idx="30">
                  <c:v>0.4718324334374835</c:v>
                </c:pt>
                <c:pt idx="31">
                  <c:v>0.48506893344385515</c:v>
                </c:pt>
                <c:pt idx="32">
                  <c:v>0.5883140007055117</c:v>
                </c:pt>
                <c:pt idx="33">
                  <c:v>0.6768897476236313</c:v>
                </c:pt>
                <c:pt idx="34">
                  <c:v>0.7501615355670261</c:v>
                </c:pt>
                <c:pt idx="35">
                  <c:v>0.5006523374259947</c:v>
                </c:pt>
                <c:pt idx="36">
                  <c:v>0.4562942851112718</c:v>
                </c:pt>
                <c:pt idx="37">
                  <c:v>0.4640881527118102</c:v>
                </c:pt>
                <c:pt idx="38">
                  <c:v>0.4093912044613488</c:v>
                </c:pt>
                <c:pt idx="39">
                  <c:v>0.3972512185219328</c:v>
                </c:pt>
                <c:pt idx="40">
                  <c:v>0.4275415156261007</c:v>
                </c:pt>
                <c:pt idx="41">
                  <c:v>0.45267500482259654</c:v>
                </c:pt>
                <c:pt idx="42">
                  <c:v>0.42587281285970846</c:v>
                </c:pt>
                <c:pt idx="43">
                  <c:v>0.4931257209211285</c:v>
                </c:pt>
                <c:pt idx="44">
                  <c:v>0.6066167778907415</c:v>
                </c:pt>
                <c:pt idx="45">
                  <c:v>0.6524995979764446</c:v>
                </c:pt>
                <c:pt idx="46">
                  <c:v>0.6095580472565648</c:v>
                </c:pt>
                <c:pt idx="47">
                  <c:v>0.5771648247598549</c:v>
                </c:pt>
                <c:pt idx="48">
                  <c:v>0.52944258627081</c:v>
                </c:pt>
                <c:pt idx="49">
                  <c:v>0.6537504229131017</c:v>
                </c:pt>
                <c:pt idx="50">
                  <c:v>0.7818785689211416</c:v>
                </c:pt>
                <c:pt idx="51">
                  <c:v>0.6905966298215692</c:v>
                </c:pt>
                <c:pt idx="52">
                  <c:v>0.47828613109395524</c:v>
                </c:pt>
                <c:pt idx="53">
                  <c:v>0.47828613109395524</c:v>
                </c:pt>
                <c:pt idx="54">
                  <c:v>0.7015377495736039</c:v>
                </c:pt>
              </c:numCache>
            </c:numRef>
          </c:xVal>
          <c:yVal>
            <c:numRef>
              <c:f>Sheet1!$B$136:$B$190</c:f>
              <c:numCache>
                <c:formatCode>General</c:formatCode>
                <c:ptCount val="55"/>
                <c:pt idx="0">
                  <c:v>0.0023145928688281378</c:v>
                </c:pt>
                <c:pt idx="1">
                  <c:v>0.002928992270292889</c:v>
                </c:pt>
                <c:pt idx="2">
                  <c:v>0.0023379008497743017</c:v>
                </c:pt>
                <c:pt idx="3">
                  <c:v>0.0032024054860413003</c:v>
                </c:pt>
                <c:pt idx="4">
                  <c:v>0.00270748987637504</c:v>
                </c:pt>
                <c:pt idx="5">
                  <c:v>0.0018871828539288073</c:v>
                </c:pt>
                <c:pt idx="6">
                  <c:v>0.00216755750477425</c:v>
                </c:pt>
                <c:pt idx="7">
                  <c:v>0.003064768688585473</c:v>
                </c:pt>
                <c:pt idx="8">
                  <c:v>0.00253431985448616</c:v>
                </c:pt>
                <c:pt idx="9">
                  <c:v>0.0026661316499636293</c:v>
                </c:pt>
                <c:pt idx="10">
                  <c:v>0.002634914570865201</c:v>
                </c:pt>
                <c:pt idx="11">
                  <c:v>0.00278977619495001</c:v>
                </c:pt>
                <c:pt idx="12">
                  <c:v>0.0031250228838907036</c:v>
                </c:pt>
                <c:pt idx="13">
                  <c:v>0.003619971679532668</c:v>
                </c:pt>
                <c:pt idx="14">
                  <c:v>0.0036459745298623634</c:v>
                </c:pt>
                <c:pt idx="15">
                  <c:v>0.003577944303995076</c:v>
                </c:pt>
                <c:pt idx="16">
                  <c:v>0.003779796929511923</c:v>
                </c:pt>
                <c:pt idx="17">
                  <c:v>0.004615092748621522</c:v>
                </c:pt>
                <c:pt idx="18">
                  <c:v>0.0038150233686246463</c:v>
                </c:pt>
                <c:pt idx="19">
                  <c:v>0.0034170033920076464</c:v>
                </c:pt>
                <c:pt idx="20">
                  <c:v>0.0039376355358149515</c:v>
                </c:pt>
                <c:pt idx="21">
                  <c:v>0.004272906671850192</c:v>
                </c:pt>
                <c:pt idx="22">
                  <c:v>0.0041480466785638135</c:v>
                </c:pt>
                <c:pt idx="23">
                  <c:v>0.004579070763808475</c:v>
                </c:pt>
                <c:pt idx="24">
                  <c:v>0.004036049612544154</c:v>
                </c:pt>
                <c:pt idx="25">
                  <c:v>0.004261400761768006</c:v>
                </c:pt>
                <c:pt idx="26">
                  <c:v>0.00401827839902253</c:v>
                </c:pt>
                <c:pt idx="27">
                  <c:v>0.004207473953674906</c:v>
                </c:pt>
                <c:pt idx="28">
                  <c:v>0.003843833602617414</c:v>
                </c:pt>
                <c:pt idx="29">
                  <c:v>0.004333120855428205</c:v>
                </c:pt>
                <c:pt idx="30">
                  <c:v>0.004399808500881954</c:v>
                </c:pt>
                <c:pt idx="31">
                  <c:v>0.004320544320358369</c:v>
                </c:pt>
                <c:pt idx="32">
                  <c:v>0.0037022815132977294</c:v>
                </c:pt>
                <c:pt idx="33">
                  <c:v>0.00317186304993132</c:v>
                </c:pt>
                <c:pt idx="34">
                  <c:v>0.002733089339053422</c:v>
                </c:pt>
                <c:pt idx="35">
                  <c:v>0.004227226166328403</c:v>
                </c:pt>
                <c:pt idx="36">
                  <c:v>0.004492855650305003</c:v>
                </c:pt>
                <c:pt idx="37">
                  <c:v>0.004446183604963062</c:v>
                </c:pt>
                <c:pt idx="38">
                  <c:v>0.004773725536601088</c:v>
                </c:pt>
                <c:pt idx="39">
                  <c:v>0.004846423457999677</c:v>
                </c:pt>
                <c:pt idx="40">
                  <c:v>0.004665035963071107</c:v>
                </c:pt>
                <c:pt idx="41">
                  <c:v>0.004514528999455376</c:v>
                </c:pt>
                <c:pt idx="42">
                  <c:v>0.004675028661839803</c:v>
                </c:pt>
                <c:pt idx="43">
                  <c:v>0.004272297830974368</c:v>
                </c:pt>
                <c:pt idx="44">
                  <c:v>0.0035926789269497793</c:v>
                </c:pt>
                <c:pt idx="45">
                  <c:v>0.0033179186706544126</c:v>
                </c:pt>
                <c:pt idx="46">
                  <c:v>0.00357506571304362</c:v>
                </c:pt>
                <c:pt idx="47">
                  <c:v>0.003769046163652456</c:v>
                </c:pt>
                <c:pt idx="48">
                  <c:v>0.004054821415778344</c:v>
                </c:pt>
                <c:pt idx="49">
                  <c:v>0.0033104283511942185</c:v>
                </c:pt>
                <c:pt idx="50">
                  <c:v>0.00254315811431554</c:v>
                </c:pt>
                <c:pt idx="51">
                  <c:v>0.003089782078040725</c:v>
                </c:pt>
                <c:pt idx="52">
                  <c:v>0.004361161800028936</c:v>
                </c:pt>
                <c:pt idx="53">
                  <c:v>0.004361161800028936</c:v>
                </c:pt>
                <c:pt idx="54">
                  <c:v>0.003024263331337444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94548727179223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3.3447053314602983e-05</c:v>
                </c:pt>
                <c:pt idx="2">
                  <c:v>0.0</c:v>
                </c:pt>
                <c:pt idx="3">
                  <c:v>4.513450081242101e-05</c:v>
                </c:pt>
                <c:pt idx="4">
                  <c:v>4.6151006091932804e-05</c:v>
                </c:pt>
                <c:pt idx="5">
                  <c:v>9.649249770830318e-05</c:v>
                </c:pt>
                <c:pt idx="6">
                  <c:v>8.082440897150939e-05</c:v>
                </c:pt>
                <c:pt idx="7">
                  <c:v>0.00011228385358185493</c:v>
                </c:pt>
                <c:pt idx="8">
                  <c:v>0.0001445992191642165</c:v>
                </c:pt>
                <c:pt idx="9">
                  <c:v>0.0003262554036051222</c:v>
                </c:pt>
                <c:pt idx="10">
                  <c:v>0.00037863011623944567</c:v>
                </c:pt>
                <c:pt idx="11">
                  <c:v>0.0002848394217759738</c:v>
                </c:pt>
                <c:pt idx="12">
                  <c:v>0.00036425047186992946</c:v>
                </c:pt>
                <c:pt idx="13">
                  <c:v>0.0003590664272890485</c:v>
                </c:pt>
                <c:pt idx="14">
                  <c:v>0.0003894908292613838</c:v>
                </c:pt>
                <c:pt idx="15">
                  <c:v>0.00036115424897973926</c:v>
                </c:pt>
                <c:pt idx="16">
                  <c:v>0.0003822483850005734</c:v>
                </c:pt>
                <c:pt idx="17">
                  <c:v>0.000599050734989171</c:v>
                </c:pt>
                <c:pt idx="18">
                  <c:v>0.000715009235535959</c:v>
                </c:pt>
                <c:pt idx="19">
                  <c:v>0.00045488144652299997</c:v>
                </c:pt>
                <c:pt idx="20">
                  <c:v>0.0006357683260219976</c:v>
                </c:pt>
                <c:pt idx="21">
                  <c:v>0.0006580128013399533</c:v>
                </c:pt>
                <c:pt idx="22">
                  <c:v>0.0009732044378122364</c:v>
                </c:pt>
                <c:pt idx="23">
                  <c:v>0.0009017132551848512</c:v>
                </c:pt>
                <c:pt idx="24">
                  <c:v>0.0008434666479229634</c:v>
                </c:pt>
                <c:pt idx="25">
                  <c:v>0.0012189547463050433</c:v>
                </c:pt>
                <c:pt idx="26">
                  <c:v>0.0015781582892764145</c:v>
                </c:pt>
                <c:pt idx="27">
                  <c:v>0.002099737532808399</c:v>
                </c:pt>
                <c:pt idx="28">
                  <c:v>0.0014443561782335524</c:v>
                </c:pt>
                <c:pt idx="29">
                  <c:v>0.0013728323699421965</c:v>
                </c:pt>
                <c:pt idx="30">
                  <c:v>0.0018142008132624335</c:v>
                </c:pt>
                <c:pt idx="31">
                  <c:v>0.0019587039908593815</c:v>
                </c:pt>
                <c:pt idx="32">
                  <c:v>0.0017610529242747242</c:v>
                </c:pt>
                <c:pt idx="33">
                  <c:v>0.0017895827446547988</c:v>
                </c:pt>
                <c:pt idx="34">
                  <c:v>0.0019574259848299485</c:v>
                </c:pt>
                <c:pt idx="35">
                  <c:v>0.0017367572261506017</c:v>
                </c:pt>
                <c:pt idx="36">
                  <c:v>0.0016083874426639662</c:v>
                </c:pt>
                <c:pt idx="37">
                  <c:v>0.0023678582340360527</c:v>
                </c:pt>
                <c:pt idx="38">
                  <c:v>0.0030191211003019122</c:v>
                </c:pt>
                <c:pt idx="39">
                  <c:v>0.002665978672170623</c:v>
                </c:pt>
                <c:pt idx="40">
                  <c:v>0.00293895373247124</c:v>
                </c:pt>
                <c:pt idx="41">
                  <c:v>0.002329916123019571</c:v>
                </c:pt>
                <c:pt idx="42">
                  <c:v>0.002354326074161271</c:v>
                </c:pt>
                <c:pt idx="43">
                  <c:v>0.002270396953273766</c:v>
                </c:pt>
                <c:pt idx="44">
                  <c:v>0.0024226110363391655</c:v>
                </c:pt>
                <c:pt idx="45">
                  <c:v>0.0031187669990933816</c:v>
                </c:pt>
                <c:pt idx="46">
                  <c:v>0.0036477665429412516</c:v>
                </c:pt>
                <c:pt idx="47">
                  <c:v>0.003454947484798231</c:v>
                </c:pt>
                <c:pt idx="48">
                  <c:v>0.0031363486299108615</c:v>
                </c:pt>
                <c:pt idx="49">
                  <c:v>0.0024744163028685554</c:v>
                </c:pt>
                <c:pt idx="50">
                  <c:v>0.003520358889685037</c:v>
                </c:pt>
                <c:pt idx="51">
                  <c:v>0.0031836022677714784</c:v>
                </c:pt>
                <c:pt idx="52">
                  <c:v>0.0027420214791682536</c:v>
                </c:pt>
                <c:pt idx="53">
                  <c:v>0.0022801897117840204</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21953188054883</c:v>
                </c:pt>
                <c:pt idx="1">
                  <c:v>0.0027724461505651524</c:v>
                </c:pt>
                <c:pt idx="2">
                  <c:v>0.002474041308992765</c:v>
                </c:pt>
                <c:pt idx="3">
                  <c:v>0.0027802448160018536</c:v>
                </c:pt>
                <c:pt idx="4">
                  <c:v>0.0026056060007895775</c:v>
                </c:pt>
                <c:pt idx="5">
                  <c:v>0.002304147465437788</c:v>
                </c:pt>
                <c:pt idx="6">
                  <c:v>0.0023851280252542967</c:v>
                </c:pt>
                <c:pt idx="7">
                  <c:v>0.0028896166441918707</c:v>
                </c:pt>
                <c:pt idx="8">
                  <c:v>0.0035228442902823696</c:v>
                </c:pt>
                <c:pt idx="9">
                  <c:v>0.003538676236044657</c:v>
                </c:pt>
                <c:pt idx="10">
                  <c:v>0.003357500851540071</c:v>
                </c:pt>
                <c:pt idx="11">
                  <c:v>0.0033273874862788143</c:v>
                </c:pt>
                <c:pt idx="12">
                  <c:v>0.003576654202568688</c:v>
                </c:pt>
                <c:pt idx="13">
                  <c:v>0.005383638989801725</c:v>
                </c:pt>
                <c:pt idx="14">
                  <c:v>0.005304659498207885</c:v>
                </c:pt>
                <c:pt idx="15">
                  <c:v>0.005114957375355205</c:v>
                </c:pt>
                <c:pt idx="16">
                  <c:v>0.004994822440153499</c:v>
                </c:pt>
                <c:pt idx="17">
                  <c:v>0.0066212393931601955</c:v>
                </c:pt>
                <c:pt idx="18">
                  <c:v>0.0035177007709003816</c:v>
                </c:pt>
                <c:pt idx="19">
                  <c:v>0.0032291207984735063</c:v>
                </c:pt>
                <c:pt idx="20">
                  <c:v>0.00398665690342527</c:v>
                </c:pt>
                <c:pt idx="21">
                  <c:v>0.004742088454466273</c:v>
                </c:pt>
                <c:pt idx="22">
                  <c:v>0.004075056861258529</c:v>
                </c:pt>
                <c:pt idx="23">
                  <c:v>0.004474050507059057</c:v>
                </c:pt>
                <c:pt idx="24">
                  <c:v>0.00392156862745098</c:v>
                </c:pt>
                <c:pt idx="25">
                  <c:v>0.004148576941630487</c:v>
                </c:pt>
                <c:pt idx="26">
                  <c:v>0.00398406374501992</c:v>
                </c:pt>
                <c:pt idx="27">
                  <c:v>0.004326229770870053</c:v>
                </c:pt>
                <c:pt idx="28">
                  <c:v>0.0033920323325635103</c:v>
                </c:pt>
                <c:pt idx="29">
                  <c:v>0.004102295539844637</c:v>
                </c:pt>
                <c:pt idx="30">
                  <c:v>0.004041311180960934</c:v>
                </c:pt>
                <c:pt idx="31">
                  <c:v>0.004301691998852882</c:v>
                </c:pt>
                <c:pt idx="32">
                  <c:v>0.0035637328029172882</c:v>
                </c:pt>
                <c:pt idx="33">
                  <c:v>0.002848633950537356</c:v>
                </c:pt>
                <c:pt idx="34">
                  <c:v>0.0028331640562356338</c:v>
                </c:pt>
                <c:pt idx="35">
                  <c:v>0.003877523733119401</c:v>
                </c:pt>
                <c:pt idx="36">
                  <c:v>0.0046267087276551</c:v>
                </c:pt>
                <c:pt idx="37">
                  <c:v>0.004762358319839985</c:v>
                </c:pt>
                <c:pt idx="38">
                  <c:v>0.0057203389830508475</c:v>
                </c:pt>
                <c:pt idx="39">
                  <c:v>0.005291417010349389</c:v>
                </c:pt>
                <c:pt idx="40">
                  <c:v>0.004725118127953199</c:v>
                </c:pt>
                <c:pt idx="41">
                  <c:v>0.004050596930073906</c:v>
                </c:pt>
                <c:pt idx="42">
                  <c:v>0.004612770089827628</c:v>
                </c:pt>
                <c:pt idx="43">
                  <c:v>0.0035323207347227126</c:v>
                </c:pt>
                <c:pt idx="44">
                  <c:v>0.002512320030920862</c:v>
                </c:pt>
                <c:pt idx="45">
                  <c:v>0.00202242407039455</c:v>
                </c:pt>
                <c:pt idx="46">
                  <c:v>0.002218965878166213</c:v>
                </c:pt>
                <c:pt idx="47">
                  <c:v>0.0020577729461096444</c:v>
                </c:pt>
                <c:pt idx="48">
                  <c:v>0.0023189152629714323</c:v>
                </c:pt>
                <c:pt idx="49">
                  <c:v>0.002085096095733108</c:v>
                </c:pt>
                <c:pt idx="50">
                  <c:v>0.0016871633296066673</c:v>
                </c:pt>
                <c:pt idx="51">
                  <c:v>0.002200542800557471</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497.134574446532</c:v>
                </c:pt>
              </c:numCache>
            </c:numRef>
          </c:xVal>
          <c:yVal>
            <c:numRef>
              <c:f>Sheet1!$B$112:$B$113</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497.134574446532</c:v>
                </c:pt>
                <c:pt idx="1">
                  <c:v>3497.134574446532</c:v>
                </c:pt>
              </c:numCache>
            </c:numRef>
          </c:xVal>
          <c:yVal>
            <c:numRef>
              <c:f>Sheet1!$B$116:$B$117</c:f>
              <c:numCache>
                <c:formatCode>General</c:formatCode>
                <c:ptCount val="2"/>
                <c:pt idx="0">
                  <c:v>0.0043611618000289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497.134574446532</c:v>
                </c:pt>
              </c:numCache>
            </c:numRef>
          </c:xVal>
          <c:yVal>
            <c:numRef>
              <c:f>Sheet1!$B$120:$B$121</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497.134574446532</c:v>
                </c:pt>
                <c:pt idx="1">
                  <c:v>3497.134574446532</c:v>
                </c:pt>
              </c:numCache>
            </c:numRef>
          </c:xVal>
          <c:yVal>
            <c:numRef>
              <c:f>Sheet1!$B$124:$B$125</c:f>
              <c:numCache>
                <c:formatCode>General</c:formatCode>
                <c:ptCount val="2"/>
                <c:pt idx="0">
                  <c:v>0.00436116180002893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48.23595726061</c:v>
                </c:pt>
              </c:numCache>
            </c:numRef>
          </c:xVal>
          <c:yVal>
            <c:numRef>
              <c:f>Sheet1!$B$128:$B$129</c:f>
              <c:numCache>
                <c:formatCode>General</c:formatCode>
                <c:ptCount val="2"/>
                <c:pt idx="0">
                  <c:v>0.003024263331337445</c:v>
                </c:pt>
                <c:pt idx="1">
                  <c:v>0.003024263331337445</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48.23595726061</c:v>
                </c:pt>
                <c:pt idx="1">
                  <c:v>4248.23595726061</c:v>
                </c:pt>
              </c:numCache>
            </c:numRef>
          </c:xVal>
          <c:yVal>
            <c:numRef>
              <c:f>Sheet1!$B$132:$B$133</c:f>
              <c:numCache>
                <c:formatCode>General</c:formatCode>
                <c:ptCount val="2"/>
                <c:pt idx="0">
                  <c:v>0.0030242633313374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497.134574446532</c:v>
                </c:pt>
                <c:pt idx="53">
                  <c:v>3497.134574446532</c:v>
                </c:pt>
                <c:pt idx="54">
                  <c:v>4248.23595726061</c:v>
                </c:pt>
              </c:numCache>
            </c:numRef>
          </c:xVal>
          <c:yVal>
            <c:numRef>
              <c:f>Sheet1!$B$136:$B$190</c:f>
              <c:numCache>
                <c:formatCode>General</c:formatCode>
                <c:ptCount val="55"/>
                <c:pt idx="0">
                  <c:v>0.002699799786814415</c:v>
                </c:pt>
                <c:pt idx="1">
                  <c:v>0.003960810437056742</c:v>
                </c:pt>
                <c:pt idx="2">
                  <c:v>0.002834178215612734</c:v>
                </c:pt>
                <c:pt idx="3">
                  <c:v>0.00410561241850919</c:v>
                </c:pt>
                <c:pt idx="4">
                  <c:v>0.0026222870511226175</c:v>
                </c:pt>
                <c:pt idx="5">
                  <c:v>0.0019695669321136682</c:v>
                </c:pt>
                <c:pt idx="6">
                  <c:v>0.002559104074951985</c:v>
                </c:pt>
                <c:pt idx="7">
                  <c:v>0.0031149844024753468</c:v>
                </c:pt>
                <c:pt idx="8">
                  <c:v>0.003337893968036145</c:v>
                </c:pt>
                <c:pt idx="9">
                  <c:v>0.0033351911633666843</c:v>
                </c:pt>
                <c:pt idx="10">
                  <c:v>0.0029714920842930917</c:v>
                </c:pt>
                <c:pt idx="11">
                  <c:v>0.0034797916581621804</c:v>
                </c:pt>
                <c:pt idx="12">
                  <c:v>0.003813105766203597</c:v>
                </c:pt>
                <c:pt idx="13">
                  <c:v>0.004523880385193439</c:v>
                </c:pt>
                <c:pt idx="14">
                  <c:v>0.004542616152405606</c:v>
                </c:pt>
                <c:pt idx="15">
                  <c:v>0.004145060373285821</c:v>
                </c:pt>
                <c:pt idx="16">
                  <c:v>0.003920719754083769</c:v>
                </c:pt>
                <c:pt idx="17">
                  <c:v>0.005386927477224924</c:v>
                </c:pt>
                <c:pt idx="18">
                  <c:v>0.003300721993721046</c:v>
                </c:pt>
                <c:pt idx="19">
                  <c:v>0.0028608905049491793</c:v>
                </c:pt>
                <c:pt idx="20">
                  <c:v>0.0032686046290209183</c:v>
                </c:pt>
                <c:pt idx="21">
                  <c:v>0.00387305018254803</c:v>
                </c:pt>
                <c:pt idx="22">
                  <c:v>0.003479679879345425</c:v>
                </c:pt>
                <c:pt idx="23">
                  <c:v>0.005116798303263349</c:v>
                </c:pt>
                <c:pt idx="24">
                  <c:v>0.0034936709205731463</c:v>
                </c:pt>
                <c:pt idx="25">
                  <c:v>0.00399850517313109</c:v>
                </c:pt>
                <c:pt idx="26">
                  <c:v>0.0035415713474039982</c:v>
                </c:pt>
                <c:pt idx="27">
                  <c:v>0.00403808270589912</c:v>
                </c:pt>
                <c:pt idx="28">
                  <c:v>0.0037685752571078052</c:v>
                </c:pt>
                <c:pt idx="29">
                  <c:v>0.0040811590224266205</c:v>
                </c:pt>
                <c:pt idx="30">
                  <c:v>0.004214419663057393</c:v>
                </c:pt>
                <c:pt idx="31">
                  <c:v>0.003942448274520321</c:v>
                </c:pt>
                <c:pt idx="32">
                  <c:v>0.0030775840647495863</c:v>
                </c:pt>
                <c:pt idx="33">
                  <c:v>0.002338606119563498</c:v>
                </c:pt>
                <c:pt idx="34">
                  <c:v>0.0022455497206399153</c:v>
                </c:pt>
                <c:pt idx="35">
                  <c:v>0.0036092633884868084</c:v>
                </c:pt>
                <c:pt idx="36">
                  <c:v>0.0030669159514358684</c:v>
                </c:pt>
                <c:pt idx="37">
                  <c:v>0.0032041701928811755</c:v>
                </c:pt>
                <c:pt idx="38">
                  <c:v>0.0041939901263862486</c:v>
                </c:pt>
                <c:pt idx="39">
                  <c:v>0.0049209235480835185</c:v>
                </c:pt>
                <c:pt idx="40">
                  <c:v>0.004844098038524668</c:v>
                </c:pt>
                <c:pt idx="41">
                  <c:v>0.004480936850508771</c:v>
                </c:pt>
                <c:pt idx="42">
                  <c:v>0.00475944712183425</c:v>
                </c:pt>
                <c:pt idx="43">
                  <c:v>0.0044491809870456315</c:v>
                </c:pt>
                <c:pt idx="44">
                  <c:v>0.003336853428286545</c:v>
                </c:pt>
                <c:pt idx="45">
                  <c:v>0.003160644091210459</c:v>
                </c:pt>
                <c:pt idx="46">
                  <c:v>0.003279110769845388</c:v>
                </c:pt>
                <c:pt idx="47">
                  <c:v>0.0033466468901583307</c:v>
                </c:pt>
                <c:pt idx="48">
                  <c:v>0.004149591153191065</c:v>
                </c:pt>
                <c:pt idx="49">
                  <c:v>0.003827193990924865</c:v>
                </c:pt>
                <c:pt idx="50">
                  <c:v>0.003284851537642827</c:v>
                </c:pt>
                <c:pt idx="51">
                  <c:v>0.0030867134394154594</c:v>
                </c:pt>
                <c:pt idx="52">
                  <c:v>0.004361161800028936</c:v>
                </c:pt>
                <c:pt idx="53">
                  <c:v>0.004361161800028936</c:v>
                </c:pt>
                <c:pt idx="54">
                  <c:v>0.00302426333133744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94548727179223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0.6505179369885354</c:v>
                </c:pt>
                <c:pt idx="2">
                  <c:v>0.0</c:v>
                </c:pt>
                <c:pt idx="3">
                  <c:v>0.7468137719387239</c:v>
                </c:pt>
                <c:pt idx="4">
                  <c:v>0.9446115083445435</c:v>
                </c:pt>
                <c:pt idx="5">
                  <c:v>0.8740833307163486</c:v>
                </c:pt>
                <c:pt idx="6">
                  <c:v>0.8258474190097183</c:v>
                </c:pt>
                <c:pt idx="7">
                  <c:v>0.9047598486654961</c:v>
                </c:pt>
                <c:pt idx="8">
                  <c:v>0.9366734679852323</c:v>
                </c:pt>
                <c:pt idx="9">
                  <c:v>0.7012802239234842</c:v>
                </c:pt>
                <c:pt idx="10">
                  <c:v>0.6490826726195741</c:v>
                </c:pt>
                <c:pt idx="11">
                  <c:v>0.9916147320348305</c:v>
                </c:pt>
                <c:pt idx="12">
                  <c:v>0.7734213867612915</c:v>
                </c:pt>
                <c:pt idx="13">
                  <c:v>0.7696351835070553</c:v>
                </c:pt>
                <c:pt idx="14">
                  <c:v>0.6828666326725689</c:v>
                </c:pt>
                <c:pt idx="15">
                  <c:v>0.6742512835498331</c:v>
                </c:pt>
                <c:pt idx="16">
                  <c:v>0.6983416572852118</c:v>
                </c:pt>
                <c:pt idx="17">
                  <c:v>0.524027242611899</c:v>
                </c:pt>
                <c:pt idx="18">
                  <c:v>0.3975099947166612</c:v>
                </c:pt>
                <c:pt idx="19">
                  <c:v>0.4918949995192061</c:v>
                </c:pt>
                <c:pt idx="20">
                  <c:v>0.4688176967376702</c:v>
                </c:pt>
                <c:pt idx="21">
                  <c:v>0.4443093800217104</c:v>
                </c:pt>
                <c:pt idx="22">
                  <c:v>0.20961570822297768</c:v>
                </c:pt>
                <c:pt idx="23">
                  <c:v>0.2855289740113074</c:v>
                </c:pt>
                <c:pt idx="24">
                  <c:v>1.0208662692235573</c:v>
                </c:pt>
                <c:pt idx="25">
                  <c:v>1.1436161102620965</c:v>
                </c:pt>
                <c:pt idx="26">
                  <c:v>1.1552015050564335</c:v>
                </c:pt>
                <c:pt idx="27">
                  <c:v>0.9011699833316614</c:v>
                </c:pt>
                <c:pt idx="28">
                  <c:v>1.2398761186454534</c:v>
                </c:pt>
                <c:pt idx="29">
                  <c:v>1.1601362220007105</c:v>
                </c:pt>
                <c:pt idx="30">
                  <c:v>1.0653935878052079</c:v>
                </c:pt>
                <c:pt idx="31">
                  <c:v>1.2297503200435826</c:v>
                </c:pt>
                <c:pt idx="32">
                  <c:v>1.2053081296188122</c:v>
                </c:pt>
                <c:pt idx="33">
                  <c:v>1.036986909256904</c:v>
                </c:pt>
                <c:pt idx="34">
                  <c:v>0.8935745271725687</c:v>
                </c:pt>
                <c:pt idx="35">
                  <c:v>1.2088909168034419</c:v>
                </c:pt>
                <c:pt idx="36">
                  <c:v>1.191699039231385</c:v>
                </c:pt>
                <c:pt idx="37">
                  <c:v>0.964677477011002</c:v>
                </c:pt>
                <c:pt idx="38">
                  <c:v>0.9042050888129866</c:v>
                </c:pt>
                <c:pt idx="39">
                  <c:v>0.9689376029479678</c:v>
                </c:pt>
                <c:pt idx="40">
                  <c:v>0.8716188383203244</c:v>
                </c:pt>
                <c:pt idx="41">
                  <c:v>1.0348665181107068</c:v>
                </c:pt>
                <c:pt idx="42">
                  <c:v>1.0694809104173288</c:v>
                </c:pt>
                <c:pt idx="43">
                  <c:v>1.1412786685873577</c:v>
                </c:pt>
                <c:pt idx="44">
                  <c:v>1.4771860121109213</c:v>
                </c:pt>
                <c:pt idx="45">
                  <c:v>1.0984201942395833</c:v>
                </c:pt>
                <c:pt idx="46">
                  <c:v>1.0820881387502848</c:v>
                </c:pt>
                <c:pt idx="47">
                  <c:v>1.149912943844034</c:v>
                </c:pt>
                <c:pt idx="48">
                  <c:v>1.374597483322082</c:v>
                </c:pt>
                <c:pt idx="49">
                  <c:v>1.4878122206754407</c:v>
                </c:pt>
                <c:pt idx="50">
                  <c:v>1.267452497579682</c:v>
                </c:pt>
                <c:pt idx="51">
                  <c:v>1.2958911789517982</c:v>
                </c:pt>
                <c:pt idx="52">
                  <c:v>1.3068676186945258</c:v>
                </c:pt>
                <c:pt idx="53">
                  <c:v>1.2755678837667668</c:v>
                </c:pt>
              </c:numCache>
            </c:numRef>
          </c:xVal>
          <c:yVal>
            <c:numRef>
              <c:f>Sheet1!$B$2:$B$55</c:f>
              <c:numCache>
                <c:formatCode>General</c:formatCode>
                <c:ptCount val="54"/>
                <c:pt idx="0">
                  <c:v>0.0</c:v>
                </c:pt>
                <c:pt idx="1">
                  <c:v>3.3447053314602983e-05</c:v>
                </c:pt>
                <c:pt idx="2">
                  <c:v>0.0</c:v>
                </c:pt>
                <c:pt idx="3">
                  <c:v>4.513450081242101e-05</c:v>
                </c:pt>
                <c:pt idx="4">
                  <c:v>4.6151006091932804e-05</c:v>
                </c:pt>
                <c:pt idx="5">
                  <c:v>9.649249770830318e-05</c:v>
                </c:pt>
                <c:pt idx="6">
                  <c:v>8.082440897150939e-05</c:v>
                </c:pt>
                <c:pt idx="7">
                  <c:v>0.00011228385358185493</c:v>
                </c:pt>
                <c:pt idx="8">
                  <c:v>0.0001445992191642165</c:v>
                </c:pt>
                <c:pt idx="9">
                  <c:v>0.0003262554036051222</c:v>
                </c:pt>
                <c:pt idx="10">
                  <c:v>0.00037863011623944567</c:v>
                </c:pt>
                <c:pt idx="11">
                  <c:v>0.0002848394217759738</c:v>
                </c:pt>
                <c:pt idx="12">
                  <c:v>0.00036425047186992946</c:v>
                </c:pt>
                <c:pt idx="13">
                  <c:v>0.0003590664272890485</c:v>
                </c:pt>
                <c:pt idx="14">
                  <c:v>0.0003894908292613838</c:v>
                </c:pt>
                <c:pt idx="15">
                  <c:v>0.00036115424897973926</c:v>
                </c:pt>
                <c:pt idx="16">
                  <c:v>0.0003822483850005734</c:v>
                </c:pt>
                <c:pt idx="17">
                  <c:v>0.000599050734989171</c:v>
                </c:pt>
                <c:pt idx="18">
                  <c:v>0.000715009235535959</c:v>
                </c:pt>
                <c:pt idx="19">
                  <c:v>0.00045488144652299997</c:v>
                </c:pt>
                <c:pt idx="20">
                  <c:v>0.0006357683260219976</c:v>
                </c:pt>
                <c:pt idx="21">
                  <c:v>0.0006580128013399533</c:v>
                </c:pt>
                <c:pt idx="22">
                  <c:v>0.0009732044378122364</c:v>
                </c:pt>
                <c:pt idx="23">
                  <c:v>0.0009017132551848512</c:v>
                </c:pt>
                <c:pt idx="24">
                  <c:v>0.0008434666479229634</c:v>
                </c:pt>
                <c:pt idx="25">
                  <c:v>0.0012189547463050433</c:v>
                </c:pt>
                <c:pt idx="26">
                  <c:v>0.0015781582892764145</c:v>
                </c:pt>
                <c:pt idx="27">
                  <c:v>0.002099737532808399</c:v>
                </c:pt>
                <c:pt idx="28">
                  <c:v>0.0014443561782335524</c:v>
                </c:pt>
                <c:pt idx="29">
                  <c:v>0.0013728323699421965</c:v>
                </c:pt>
                <c:pt idx="30">
                  <c:v>0.0018142008132624335</c:v>
                </c:pt>
                <c:pt idx="31">
                  <c:v>0.0019587039908593815</c:v>
                </c:pt>
                <c:pt idx="32">
                  <c:v>0.0017610529242747242</c:v>
                </c:pt>
                <c:pt idx="33">
                  <c:v>0.0017895827446547988</c:v>
                </c:pt>
                <c:pt idx="34">
                  <c:v>0.0019574259848299485</c:v>
                </c:pt>
                <c:pt idx="35">
                  <c:v>0.0017367572261506017</c:v>
                </c:pt>
                <c:pt idx="36">
                  <c:v>0.0016083874426639662</c:v>
                </c:pt>
                <c:pt idx="37">
                  <c:v>0.0023678582340360527</c:v>
                </c:pt>
                <c:pt idx="38">
                  <c:v>0.0030191211003019122</c:v>
                </c:pt>
                <c:pt idx="39">
                  <c:v>0.002665978672170623</c:v>
                </c:pt>
                <c:pt idx="40">
                  <c:v>0.00293895373247124</c:v>
                </c:pt>
                <c:pt idx="41">
                  <c:v>0.002329916123019571</c:v>
                </c:pt>
                <c:pt idx="42">
                  <c:v>0.002354326074161271</c:v>
                </c:pt>
                <c:pt idx="43">
                  <c:v>0.002270396953273766</c:v>
                </c:pt>
                <c:pt idx="44">
                  <c:v>0.0024226110363391655</c:v>
                </c:pt>
                <c:pt idx="45">
                  <c:v>0.0031187669990933816</c:v>
                </c:pt>
                <c:pt idx="46">
                  <c:v>0.0036477665429412516</c:v>
                </c:pt>
                <c:pt idx="47">
                  <c:v>0.003454947484798231</c:v>
                </c:pt>
                <c:pt idx="48">
                  <c:v>0.0031363486299108615</c:v>
                </c:pt>
                <c:pt idx="49">
                  <c:v>0.0024744163028685554</c:v>
                </c:pt>
                <c:pt idx="50">
                  <c:v>0.003520358889685037</c:v>
                </c:pt>
                <c:pt idx="51">
                  <c:v>0.0031836022677714784</c:v>
                </c:pt>
                <c:pt idx="52">
                  <c:v>0.0027420214791682536</c:v>
                </c:pt>
                <c:pt idx="53">
                  <c:v>0.0022801897117840204</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1.318876427204974</c:v>
                </c:pt>
                <c:pt idx="1">
                  <c:v>1.1783613190577733</c:v>
                </c:pt>
                <c:pt idx="2">
                  <c:v>1.3595116643104044</c:v>
                </c:pt>
                <c:pt idx="3">
                  <c:v>1.1902362793600154</c:v>
                </c:pt>
                <c:pt idx="4">
                  <c:v>1.3698553945256007</c:v>
                </c:pt>
                <c:pt idx="5">
                  <c:v>1.3596839520037938</c:v>
                </c:pt>
                <c:pt idx="6">
                  <c:v>1.526219271779026</c:v>
                </c:pt>
                <c:pt idx="7">
                  <c:v>1.4570367068688823</c:v>
                </c:pt>
                <c:pt idx="8">
                  <c:v>1.2729922083899994</c:v>
                </c:pt>
                <c:pt idx="9">
                  <c:v>1.2872168323138422</c:v>
                </c:pt>
                <c:pt idx="10">
                  <c:v>1.4370100097277936</c:v>
                </c:pt>
                <c:pt idx="11">
                  <c:v>1.4791815765164475</c:v>
                </c:pt>
                <c:pt idx="12">
                  <c:v>1.48061603007424</c:v>
                </c:pt>
                <c:pt idx="13">
                  <c:v>1.3485304481926024</c:v>
                </c:pt>
                <c:pt idx="14">
                  <c:v>1.3609984513943385</c:v>
                </c:pt>
                <c:pt idx="15">
                  <c:v>1.2804868187951517</c:v>
                </c:pt>
                <c:pt idx="16">
                  <c:v>1.259820123523143</c:v>
                </c:pt>
                <c:pt idx="17">
                  <c:v>0.9169238002068076</c:v>
                </c:pt>
                <c:pt idx="18">
                  <c:v>1.2038039171176271</c:v>
                </c:pt>
                <c:pt idx="19">
                  <c:v>1.2521694876974416</c:v>
                </c:pt>
                <c:pt idx="20">
                  <c:v>1.1682523436465853</c:v>
                </c:pt>
                <c:pt idx="21">
                  <c:v>1.0394696789958382</c:v>
                </c:pt>
                <c:pt idx="22">
                  <c:v>1.1139278476960597</c:v>
                </c:pt>
                <c:pt idx="23">
                  <c:v>0.8546327920260306</c:v>
                </c:pt>
                <c:pt idx="24">
                  <c:v>1.1258494565224455</c:v>
                </c:pt>
                <c:pt idx="25">
                  <c:v>1.0381183162195977</c:v>
                </c:pt>
                <c:pt idx="26">
                  <c:v>1.0818365799683918</c:v>
                </c:pt>
                <c:pt idx="27">
                  <c:v>1.0344431372614082</c:v>
                </c:pt>
                <c:pt idx="28">
                  <c:v>1.2287393693759041</c:v>
                </c:pt>
                <c:pt idx="29">
                  <c:v>1.1693904201707026</c:v>
                </c:pt>
                <c:pt idx="30">
                  <c:v>1.1242428603257462</c:v>
                </c:pt>
                <c:pt idx="31">
                  <c:v>0.9510096894052269</c:v>
                </c:pt>
                <c:pt idx="32">
                  <c:v>1.034606524800708</c:v>
                </c:pt>
                <c:pt idx="33">
                  <c:v>1.0821136246577943</c:v>
                </c:pt>
                <c:pt idx="34">
                  <c:v>1.1511325476120011</c:v>
                </c:pt>
                <c:pt idx="35">
                  <c:v>0.9647616518240307</c:v>
                </c:pt>
                <c:pt idx="36">
                  <c:v>1.031718282303862</c:v>
                </c:pt>
                <c:pt idx="37">
                  <c:v>0.9997826695674594</c:v>
                </c:pt>
                <c:pt idx="38">
                  <c:v>0.8951261422839177</c:v>
                </c:pt>
                <c:pt idx="39">
                  <c:v>0.8405458295905573</c:v>
                </c:pt>
                <c:pt idx="40">
                  <c:v>0.8360350358242471</c:v>
                </c:pt>
                <c:pt idx="41">
                  <c:v>0.8918314411941918</c:v>
                </c:pt>
                <c:pt idx="42">
                  <c:v>0.8201800620054495</c:v>
                </c:pt>
                <c:pt idx="43">
                  <c:v>0.955742215307917</c:v>
                </c:pt>
                <c:pt idx="44">
                  <c:v>1.2896083878249347</c:v>
                </c:pt>
                <c:pt idx="45">
                  <c:v>1.4174545162947598</c:v>
                </c:pt>
                <c:pt idx="46">
                  <c:v>1.2932726365744809</c:v>
                </c:pt>
                <c:pt idx="47">
                  <c:v>1.4121504543147323</c:v>
                </c:pt>
                <c:pt idx="48">
                  <c:v>1.290841008262489</c:v>
                </c:pt>
                <c:pt idx="49">
                  <c:v>1.4340890638809407</c:v>
                </c:pt>
                <c:pt idx="50">
                  <c:v>1.6335958624277291</c:v>
                </c:pt>
                <c:pt idx="51">
                  <c:v>1.4629154077841757</c:v>
                </c:pt>
              </c:numCache>
            </c:numRef>
          </c:xVal>
          <c:yVal>
            <c:numRef>
              <c:f>Sheet1!$B$58:$B$109</c:f>
              <c:numCache>
                <c:formatCode>General</c:formatCode>
                <c:ptCount val="52"/>
                <c:pt idx="0">
                  <c:v>0.00221953188054883</c:v>
                </c:pt>
                <c:pt idx="1">
                  <c:v>0.0027724461505651524</c:v>
                </c:pt>
                <c:pt idx="2">
                  <c:v>0.002474041308992765</c:v>
                </c:pt>
                <c:pt idx="3">
                  <c:v>0.0027802448160018536</c:v>
                </c:pt>
                <c:pt idx="4">
                  <c:v>0.0026056060007895775</c:v>
                </c:pt>
                <c:pt idx="5">
                  <c:v>0.002304147465437788</c:v>
                </c:pt>
                <c:pt idx="6">
                  <c:v>0.0023851280252542967</c:v>
                </c:pt>
                <c:pt idx="7">
                  <c:v>0.0028896166441918707</c:v>
                </c:pt>
                <c:pt idx="8">
                  <c:v>0.0035228442902823696</c:v>
                </c:pt>
                <c:pt idx="9">
                  <c:v>0.003538676236044657</c:v>
                </c:pt>
                <c:pt idx="10">
                  <c:v>0.003357500851540071</c:v>
                </c:pt>
                <c:pt idx="11">
                  <c:v>0.0033273874862788143</c:v>
                </c:pt>
                <c:pt idx="12">
                  <c:v>0.003576654202568688</c:v>
                </c:pt>
                <c:pt idx="13">
                  <c:v>0.005383638989801725</c:v>
                </c:pt>
                <c:pt idx="14">
                  <c:v>0.005304659498207885</c:v>
                </c:pt>
                <c:pt idx="15">
                  <c:v>0.005114957375355205</c:v>
                </c:pt>
                <c:pt idx="16">
                  <c:v>0.004994822440153499</c:v>
                </c:pt>
                <c:pt idx="17">
                  <c:v>0.0066212393931601955</c:v>
                </c:pt>
                <c:pt idx="18">
                  <c:v>0.0035177007709003816</c:v>
                </c:pt>
                <c:pt idx="19">
                  <c:v>0.0032291207984735063</c:v>
                </c:pt>
                <c:pt idx="20">
                  <c:v>0.00398665690342527</c:v>
                </c:pt>
                <c:pt idx="21">
                  <c:v>0.004742088454466273</c:v>
                </c:pt>
                <c:pt idx="22">
                  <c:v>0.004075056861258529</c:v>
                </c:pt>
                <c:pt idx="23">
                  <c:v>0.004474050507059057</c:v>
                </c:pt>
                <c:pt idx="24">
                  <c:v>0.00392156862745098</c:v>
                </c:pt>
                <c:pt idx="25">
                  <c:v>0.004148576941630487</c:v>
                </c:pt>
                <c:pt idx="26">
                  <c:v>0.00398406374501992</c:v>
                </c:pt>
                <c:pt idx="27">
                  <c:v>0.004326229770870053</c:v>
                </c:pt>
                <c:pt idx="28">
                  <c:v>0.0033920323325635103</c:v>
                </c:pt>
                <c:pt idx="29">
                  <c:v>0.004102295539844637</c:v>
                </c:pt>
                <c:pt idx="30">
                  <c:v>0.004041311180960934</c:v>
                </c:pt>
                <c:pt idx="31">
                  <c:v>0.004301691998852882</c:v>
                </c:pt>
                <c:pt idx="32">
                  <c:v>0.0035637328029172882</c:v>
                </c:pt>
                <c:pt idx="33">
                  <c:v>0.002848633950537356</c:v>
                </c:pt>
                <c:pt idx="34">
                  <c:v>0.0028331640562356338</c:v>
                </c:pt>
                <c:pt idx="35">
                  <c:v>0.003877523733119401</c:v>
                </c:pt>
                <c:pt idx="36">
                  <c:v>0.0046267087276551</c:v>
                </c:pt>
                <c:pt idx="37">
                  <c:v>0.004762358319839985</c:v>
                </c:pt>
                <c:pt idx="38">
                  <c:v>0.0057203389830508475</c:v>
                </c:pt>
                <c:pt idx="39">
                  <c:v>0.005291417010349389</c:v>
                </c:pt>
                <c:pt idx="40">
                  <c:v>0.004725118127953199</c:v>
                </c:pt>
                <c:pt idx="41">
                  <c:v>0.004050596930073906</c:v>
                </c:pt>
                <c:pt idx="42">
                  <c:v>0.004612770089827628</c:v>
                </c:pt>
                <c:pt idx="43">
                  <c:v>0.0035323207347227126</c:v>
                </c:pt>
                <c:pt idx="44">
                  <c:v>0.002512320030920862</c:v>
                </c:pt>
                <c:pt idx="45">
                  <c:v>0.00202242407039455</c:v>
                </c:pt>
                <c:pt idx="46">
                  <c:v>0.002218965878166213</c:v>
                </c:pt>
                <c:pt idx="47">
                  <c:v>0.0020577729461096444</c:v>
                </c:pt>
                <c:pt idx="48">
                  <c:v>0.0023189152629714323</c:v>
                </c:pt>
                <c:pt idx="49">
                  <c:v>0.002085096095733108</c:v>
                </c:pt>
                <c:pt idx="50">
                  <c:v>0.0016871633296066673</c:v>
                </c:pt>
                <c:pt idx="51">
                  <c:v>0.002200542800557471</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0.985798944253113</c:v>
                </c:pt>
              </c:numCache>
            </c:numRef>
          </c:xVal>
          <c:yVal>
            <c:numRef>
              <c:f>Sheet1!$B$112:$B$113</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0.985798944253113</c:v>
                </c:pt>
                <c:pt idx="1">
                  <c:v>0.985798944253113</c:v>
                </c:pt>
              </c:numCache>
            </c:numRef>
          </c:xVal>
          <c:yVal>
            <c:numRef>
              <c:f>Sheet1!$B$116:$B$117</c:f>
              <c:numCache>
                <c:formatCode>General</c:formatCode>
                <c:ptCount val="2"/>
                <c:pt idx="0">
                  <c:v>0.0043611618000289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0.985798944253113</c:v>
                </c:pt>
              </c:numCache>
            </c:numRef>
          </c:xVal>
          <c:yVal>
            <c:numRef>
              <c:f>Sheet1!$B$120:$B$121</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0.985798944253113</c:v>
                </c:pt>
                <c:pt idx="1">
                  <c:v>0.985798944253113</c:v>
                </c:pt>
              </c:numCache>
            </c:numRef>
          </c:xVal>
          <c:yVal>
            <c:numRef>
              <c:f>Sheet1!$B$124:$B$125</c:f>
              <c:numCache>
                <c:formatCode>General</c:formatCode>
                <c:ptCount val="2"/>
                <c:pt idx="0">
                  <c:v>0.00436116180002893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1.365668651524141</c:v>
                </c:pt>
              </c:numCache>
            </c:numRef>
          </c:xVal>
          <c:yVal>
            <c:numRef>
              <c:f>Sheet1!$B$128:$B$129</c:f>
              <c:numCache>
                <c:formatCode>General</c:formatCode>
                <c:ptCount val="2"/>
                <c:pt idx="0">
                  <c:v>0.003024263331337445</c:v>
                </c:pt>
                <c:pt idx="1">
                  <c:v>0.003024263331337445</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1.365668651524141</c:v>
                </c:pt>
                <c:pt idx="1">
                  <c:v>1.365668651524141</c:v>
                </c:pt>
              </c:numCache>
            </c:numRef>
          </c:xVal>
          <c:yVal>
            <c:numRef>
              <c:f>Sheet1!$B$132:$B$133</c:f>
              <c:numCache>
                <c:formatCode>General</c:formatCode>
                <c:ptCount val="2"/>
                <c:pt idx="0">
                  <c:v>0.0030242633313374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1.318876427204974</c:v>
                </c:pt>
                <c:pt idx="1">
                  <c:v>1.1783613190577733</c:v>
                </c:pt>
                <c:pt idx="2">
                  <c:v>1.3595116643104044</c:v>
                </c:pt>
                <c:pt idx="3">
                  <c:v>1.1902362793600154</c:v>
                </c:pt>
                <c:pt idx="4">
                  <c:v>1.3698553945256007</c:v>
                </c:pt>
                <c:pt idx="5">
                  <c:v>1.3596839520037938</c:v>
                </c:pt>
                <c:pt idx="6">
                  <c:v>1.526219271779026</c:v>
                </c:pt>
                <c:pt idx="7">
                  <c:v>1.4570367068688823</c:v>
                </c:pt>
                <c:pt idx="8">
                  <c:v>1.2729922083899994</c:v>
                </c:pt>
                <c:pt idx="9">
                  <c:v>1.2872168323138422</c:v>
                </c:pt>
                <c:pt idx="10">
                  <c:v>1.4370100097277936</c:v>
                </c:pt>
                <c:pt idx="11">
                  <c:v>1.4791815765164475</c:v>
                </c:pt>
                <c:pt idx="12">
                  <c:v>1.48061603007424</c:v>
                </c:pt>
                <c:pt idx="13">
                  <c:v>1.3485304481926024</c:v>
                </c:pt>
                <c:pt idx="14">
                  <c:v>1.3609984513943385</c:v>
                </c:pt>
                <c:pt idx="15">
                  <c:v>1.2804868187951517</c:v>
                </c:pt>
                <c:pt idx="16">
                  <c:v>1.259820123523143</c:v>
                </c:pt>
                <c:pt idx="17">
                  <c:v>0.9169238002068076</c:v>
                </c:pt>
                <c:pt idx="18">
                  <c:v>1.2038039171176271</c:v>
                </c:pt>
                <c:pt idx="19">
                  <c:v>1.2521694876974416</c:v>
                </c:pt>
                <c:pt idx="20">
                  <c:v>1.1682523436465853</c:v>
                </c:pt>
                <c:pt idx="21">
                  <c:v>1.0394696789958382</c:v>
                </c:pt>
                <c:pt idx="22">
                  <c:v>1.1139278476960597</c:v>
                </c:pt>
                <c:pt idx="23">
                  <c:v>0.8546327920260306</c:v>
                </c:pt>
                <c:pt idx="24">
                  <c:v>1.1258494565224455</c:v>
                </c:pt>
                <c:pt idx="25">
                  <c:v>1.0381183162195977</c:v>
                </c:pt>
                <c:pt idx="26">
                  <c:v>1.0818365799683918</c:v>
                </c:pt>
                <c:pt idx="27">
                  <c:v>1.0344431372614082</c:v>
                </c:pt>
                <c:pt idx="28">
                  <c:v>1.2287393693759041</c:v>
                </c:pt>
                <c:pt idx="29">
                  <c:v>1.1693904201707026</c:v>
                </c:pt>
                <c:pt idx="30">
                  <c:v>1.1242428603257462</c:v>
                </c:pt>
                <c:pt idx="31">
                  <c:v>0.9510096894052269</c:v>
                </c:pt>
                <c:pt idx="32">
                  <c:v>1.034606524800708</c:v>
                </c:pt>
                <c:pt idx="33">
                  <c:v>1.0821136246577943</c:v>
                </c:pt>
                <c:pt idx="34">
                  <c:v>1.1511325476120011</c:v>
                </c:pt>
                <c:pt idx="35">
                  <c:v>0.9647616518240307</c:v>
                </c:pt>
                <c:pt idx="36">
                  <c:v>1.031718282303862</c:v>
                </c:pt>
                <c:pt idx="37">
                  <c:v>0.9997826695674594</c:v>
                </c:pt>
                <c:pt idx="38">
                  <c:v>0.8951261422839177</c:v>
                </c:pt>
                <c:pt idx="39">
                  <c:v>0.8405458295905573</c:v>
                </c:pt>
                <c:pt idx="40">
                  <c:v>0.8360350358242471</c:v>
                </c:pt>
                <c:pt idx="41">
                  <c:v>0.8918314411941918</c:v>
                </c:pt>
                <c:pt idx="42">
                  <c:v>0.8201800620054495</c:v>
                </c:pt>
                <c:pt idx="43">
                  <c:v>0.955742215307917</c:v>
                </c:pt>
                <c:pt idx="44">
                  <c:v>1.2896083878249347</c:v>
                </c:pt>
                <c:pt idx="45">
                  <c:v>1.4174545162947598</c:v>
                </c:pt>
                <c:pt idx="46">
                  <c:v>1.2932726365744809</c:v>
                </c:pt>
                <c:pt idx="47">
                  <c:v>1.4121504543147323</c:v>
                </c:pt>
                <c:pt idx="48">
                  <c:v>1.290841008262489</c:v>
                </c:pt>
                <c:pt idx="49">
                  <c:v>1.4340890638809407</c:v>
                </c:pt>
                <c:pt idx="50">
                  <c:v>1.6335958624277291</c:v>
                </c:pt>
                <c:pt idx="51">
                  <c:v>1.4629154077841757</c:v>
                </c:pt>
                <c:pt idx="52">
                  <c:v>0.985798944253113</c:v>
                </c:pt>
                <c:pt idx="53">
                  <c:v>0.985798944253113</c:v>
                </c:pt>
                <c:pt idx="54">
                  <c:v>1.365668651524141</c:v>
                </c:pt>
              </c:numCache>
            </c:numRef>
          </c:xVal>
          <c:yVal>
            <c:numRef>
              <c:f>Sheet1!$B$136:$B$190</c:f>
              <c:numCache>
                <c:formatCode>General</c:formatCode>
                <c:ptCount val="55"/>
                <c:pt idx="0">
                  <c:v>0.0031889420404884504</c:v>
                </c:pt>
                <c:pt idx="1">
                  <c:v>0.0036834653712892983</c:v>
                </c:pt>
                <c:pt idx="2">
                  <c:v>0.0030459319893542443</c:v>
                </c:pt>
                <c:pt idx="3">
                  <c:v>0.003641673104256768</c:v>
                </c:pt>
                <c:pt idx="4">
                  <c:v>0.003009528673110373</c:v>
                </c:pt>
                <c:pt idx="5">
                  <c:v>0.003045325646839803</c:v>
                </c:pt>
                <c:pt idx="6">
                  <c:v>0.002459227809268073</c:v>
                </c:pt>
                <c:pt idx="7">
                  <c:v>0.0027027062001957584</c:v>
                </c:pt>
                <c:pt idx="8">
                  <c:v>0.0033504251508726076</c:v>
                </c:pt>
                <c:pt idx="9">
                  <c:v>0.003300363570342497</c:v>
                </c:pt>
                <c:pt idx="10">
                  <c:v>0.002773187368418439</c:v>
                </c:pt>
                <c:pt idx="11">
                  <c:v>0.002624770419177874</c:v>
                </c:pt>
                <c:pt idx="12">
                  <c:v>0.002619722059890163</c:v>
                </c:pt>
                <c:pt idx="13">
                  <c:v>0.0030845788483463074</c:v>
                </c:pt>
                <c:pt idx="14">
                  <c:v>0.0030406994495182534</c:v>
                </c:pt>
                <c:pt idx="15">
                  <c:v>0.003324048914541294</c:v>
                </c:pt>
                <c:pt idx="16">
                  <c:v>0.003396782466949434</c:v>
                </c:pt>
                <c:pt idx="17">
                  <c:v>0.0046035582660906935</c:v>
                </c:pt>
                <c:pt idx="18">
                  <c:v>0.003593923694933717</c:v>
                </c:pt>
                <c:pt idx="19">
                  <c:v>0.0034237078129934102</c:v>
                </c:pt>
                <c:pt idx="20">
                  <c:v>0.003719042500732828</c:v>
                </c:pt>
                <c:pt idx="21">
                  <c:v>0.004172275132527695</c:v>
                </c:pt>
                <c:pt idx="22">
                  <c:v>0.003910229989649594</c:v>
                </c:pt>
                <c:pt idx="23">
                  <c:v>0.004822782784013924</c:v>
                </c:pt>
                <c:pt idx="24">
                  <c:v>0.003868273549640644</c:v>
                </c:pt>
                <c:pt idx="25">
                  <c:v>0.00417703106539526</c:v>
                </c:pt>
                <c:pt idx="26">
                  <c:v>0.004023170731862759</c:v>
                </c:pt>
                <c:pt idx="27">
                  <c:v>0.004189965345300514</c:v>
                </c:pt>
                <c:pt idx="28">
                  <c:v>0.003506166847514358</c:v>
                </c:pt>
                <c:pt idx="29">
                  <c:v>0.0037150371990906502</c:v>
                </c:pt>
                <c:pt idx="30">
                  <c:v>0.003873927740943771</c:v>
                </c:pt>
                <c:pt idx="31">
                  <c:v>0.004483597731725573</c:v>
                </c:pt>
                <c:pt idx="32">
                  <c:v>0.0041893903256374244</c:v>
                </c:pt>
                <c:pt idx="33">
                  <c:v>0.004022195711707343</c:v>
                </c:pt>
                <c:pt idx="34">
                  <c:v>0.0037792932358266286</c:v>
                </c:pt>
                <c:pt idx="35">
                  <c:v>0.004435199617458239</c:v>
                </c:pt>
                <c:pt idx="36">
                  <c:v>0.004199555092391222</c:v>
                </c:pt>
                <c:pt idx="37">
                  <c:v>0.004311948028565939</c:v>
                </c:pt>
                <c:pt idx="38">
                  <c:v>0.004680272083856059</c:v>
                </c:pt>
                <c:pt idx="39">
                  <c:v>0.004872359884130154</c:v>
                </c:pt>
                <c:pt idx="40">
                  <c:v>0.004888234993841023</c:v>
                </c:pt>
                <c:pt idx="41">
                  <c:v>0.004691867324954102</c:v>
                </c:pt>
                <c:pt idx="42">
                  <c:v>0.0049440343635032405</c:v>
                </c:pt>
                <c:pt idx="43">
                  <c:v>0.004466942266677302</c:v>
                </c:pt>
                <c:pt idx="44">
                  <c:v>0.003291946824180927</c:v>
                </c:pt>
                <c:pt idx="45">
                  <c:v>0.0028420102008915645</c:v>
                </c:pt>
                <c:pt idx="46">
                  <c:v>0.0032790510116209697</c:v>
                </c:pt>
                <c:pt idx="47">
                  <c:v>0.0028606771074735212</c:v>
                </c:pt>
                <c:pt idx="48">
                  <c:v>0.0032876087884178683</c:v>
                </c:pt>
                <c:pt idx="49">
                  <c:v>0.0027834672300526865</c:v>
                </c:pt>
                <c:pt idx="50">
                  <c:v>0.0020813308702285413</c:v>
                </c:pt>
                <c:pt idx="51">
                  <c:v>0.002682016932004274</c:v>
                </c:pt>
                <c:pt idx="52">
                  <c:v>0.004361161800028936</c:v>
                </c:pt>
                <c:pt idx="53">
                  <c:v>0.004361161800028936</c:v>
                </c:pt>
                <c:pt idx="54">
                  <c:v>0.003024263331337444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94548727179223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34.3125</c:v>
                </c:pt>
                <c:pt idx="1">
                  <c:v>3740.2</c:v>
                </c:pt>
                <c:pt idx="2">
                  <c:v>3175.8333</c:v>
                </c:pt>
                <c:pt idx="3">
                  <c:v>3027.4</c:v>
                </c:pt>
                <c:pt idx="4">
                  <c:v>3982.3333</c:v>
                </c:pt>
                <c:pt idx="5">
                  <c:v>3848.6667</c:v>
                </c:pt>
                <c:pt idx="6">
                  <c:v>3216.6364</c:v>
                </c:pt>
                <c:pt idx="7">
                  <c:v>3208.875</c:v>
                </c:pt>
                <c:pt idx="8">
                  <c:v>3023.0</c:v>
                </c:pt>
                <c:pt idx="9">
                  <c:v>3233.3333</c:v>
                </c:pt>
                <c:pt idx="10">
                  <c:v>3528.3333</c:v>
                </c:pt>
                <c:pt idx="11">
                  <c:v>3129.7</c:v>
                </c:pt>
                <c:pt idx="12">
                  <c:v>3208.4545</c:v>
                </c:pt>
                <c:pt idx="13">
                  <c:v>3153.0</c:v>
                </c:pt>
                <c:pt idx="14">
                  <c:v>3951.0</c:v>
                </c:pt>
                <c:pt idx="15">
                  <c:v>3128.3333</c:v>
                </c:pt>
                <c:pt idx="16">
                  <c:v>4342.0</c:v>
                </c:pt>
                <c:pt idx="17">
                  <c:v>3291.5</c:v>
                </c:pt>
                <c:pt idx="18">
                  <c:v>4434.0</c:v>
                </c:pt>
                <c:pt idx="19">
                  <c:v>3808.0</c:v>
                </c:pt>
                <c:pt idx="20">
                  <c:v>3044.2</c:v>
                </c:pt>
                <c:pt idx="21">
                  <c:v>6720.0</c:v>
                </c:pt>
                <c:pt idx="22">
                  <c:v>3122.1429</c:v>
                </c:pt>
                <c:pt idx="23">
                  <c:v>3924.6</c:v>
                </c:pt>
                <c:pt idx="24">
                  <c:v>2808.3333</c:v>
                </c:pt>
                <c:pt idx="25">
                  <c:v>2765.0</c:v>
                </c:pt>
                <c:pt idx="26">
                  <c:v>3202.0</c:v>
                </c:pt>
                <c:pt idx="27">
                  <c:v>3106.4</c:v>
                </c:pt>
                <c:pt idx="28">
                  <c:v>3346.6</c:v>
                </c:pt>
                <c:pt idx="29">
                  <c:v>3119.6667</c:v>
                </c:pt>
                <c:pt idx="30">
                  <c:v>3099.8</c:v>
                </c:pt>
                <c:pt idx="31">
                  <c:v>3342.0</c:v>
                </c:pt>
                <c:pt idx="32">
                  <c:v>4329.0</c:v>
                </c:pt>
                <c:pt idx="33">
                  <c:v>2663.4615</c:v>
                </c:pt>
                <c:pt idx="34">
                  <c:v>3005.3571</c:v>
                </c:pt>
                <c:pt idx="35">
                  <c:v>2884.4444</c:v>
                </c:pt>
                <c:pt idx="36">
                  <c:v>2882.1111</c:v>
                </c:pt>
                <c:pt idx="37">
                  <c:v>3050.0</c:v>
                </c:pt>
                <c:pt idx="38">
                  <c:v>3066.2</c:v>
                </c:pt>
                <c:pt idx="39">
                  <c:v>3735.1667</c:v>
                </c:pt>
                <c:pt idx="40">
                  <c:v>4272.75</c:v>
                </c:pt>
                <c:pt idx="41">
                  <c:v>4003.25</c:v>
                </c:pt>
                <c:pt idx="42">
                  <c:v>3549.6667</c:v>
                </c:pt>
                <c:pt idx="43">
                  <c:v>3104.1429</c:v>
                </c:pt>
                <c:pt idx="44">
                  <c:v>3004.2222</c:v>
                </c:pt>
                <c:pt idx="45">
                  <c:v>3138.1429</c:v>
                </c:pt>
                <c:pt idx="46">
                  <c:v>2995.8667</c:v>
                </c:pt>
                <c:pt idx="47">
                  <c:v>2660.1667</c:v>
                </c:pt>
                <c:pt idx="48">
                  <c:v>3669.0</c:v>
                </c:pt>
                <c:pt idx="49">
                  <c:v>3025.0556</c:v>
                </c:pt>
                <c:pt idx="50">
                  <c:v>3099.3571</c:v>
                </c:pt>
                <c:pt idx="51">
                  <c:v>2739.4667</c:v>
                </c:pt>
                <c:pt idx="52">
                  <c:v>3202.5</c:v>
                </c:pt>
                <c:pt idx="53">
                  <c:v>3334.5</c:v>
                </c:pt>
                <c:pt idx="54">
                  <c:v>2909.6923</c:v>
                </c:pt>
                <c:pt idx="55">
                  <c:v>3116.0</c:v>
                </c:pt>
                <c:pt idx="56">
                  <c:v>2599.75</c:v>
                </c:pt>
                <c:pt idx="57">
                  <c:v>2696.8333</c:v>
                </c:pt>
                <c:pt idx="58">
                  <c:v>2451.5714</c:v>
                </c:pt>
                <c:pt idx="59">
                  <c:v>2641.6154</c:v>
                </c:pt>
                <c:pt idx="60">
                  <c:v>2559.1905</c:v>
                </c:pt>
                <c:pt idx="61">
                  <c:v>2616.8125</c:v>
                </c:pt>
                <c:pt idx="62">
                  <c:v>2355.3889</c:v>
                </c:pt>
                <c:pt idx="63">
                  <c:v>2616.8235</c:v>
                </c:pt>
                <c:pt idx="64">
                  <c:v>2307.1667</c:v>
                </c:pt>
                <c:pt idx="65">
                  <c:v>2335.0625</c:v>
                </c:pt>
                <c:pt idx="66">
                  <c:v>2205.0588</c:v>
                </c:pt>
                <c:pt idx="67">
                  <c:v>2366.9167</c:v>
                </c:pt>
                <c:pt idx="68">
                  <c:v>1907.25</c:v>
                </c:pt>
                <c:pt idx="69">
                  <c:v>1806.8462</c:v>
                </c:pt>
                <c:pt idx="70">
                  <c:v>2093.8182</c:v>
                </c:pt>
                <c:pt idx="71">
                  <c:v>1689.1818</c:v>
                </c:pt>
                <c:pt idx="72">
                  <c:v>2030.4375</c:v>
                </c:pt>
                <c:pt idx="73">
                  <c:v>1540.12</c:v>
                </c:pt>
                <c:pt idx="74">
                  <c:v>1899.0714</c:v>
                </c:pt>
                <c:pt idx="75">
                  <c:v>2853.48</c:v>
                </c:pt>
                <c:pt idx="76">
                  <c:v>2875.1212</c:v>
                </c:pt>
                <c:pt idx="77">
                  <c:v>3425.6333</c:v>
                </c:pt>
                <c:pt idx="78">
                  <c:v>2855.7568</c:v>
                </c:pt>
                <c:pt idx="79">
                  <c:v>3978.3</c:v>
                </c:pt>
                <c:pt idx="80">
                  <c:v>3440.1333</c:v>
                </c:pt>
                <c:pt idx="81">
                  <c:v>3386.2927</c:v>
                </c:pt>
                <c:pt idx="82">
                  <c:v>3334.303</c:v>
                </c:pt>
                <c:pt idx="83">
                  <c:v>3918.6087</c:v>
                </c:pt>
                <c:pt idx="84">
                  <c:v>3499.875</c:v>
                </c:pt>
                <c:pt idx="85">
                  <c:v>3327.3478</c:v>
                </c:pt>
                <c:pt idx="86">
                  <c:v>4500.5714</c:v>
                </c:pt>
                <c:pt idx="87">
                  <c:v>4381.2143</c:v>
                </c:pt>
                <c:pt idx="88">
                  <c:v>3936.9063</c:v>
                </c:pt>
                <c:pt idx="89">
                  <c:v>3929.9118</c:v>
                </c:pt>
                <c:pt idx="90">
                  <c:v>4465.6207</c:v>
                </c:pt>
                <c:pt idx="91">
                  <c:v>3604.8857</c:v>
                </c:pt>
                <c:pt idx="92">
                  <c:v>4148.6286</c:v>
                </c:pt>
                <c:pt idx="93">
                  <c:v>4459.8824</c:v>
                </c:pt>
                <c:pt idx="94">
                  <c:v>4274.8824</c:v>
                </c:pt>
                <c:pt idx="95">
                  <c:v>4202.5714</c:v>
                </c:pt>
                <c:pt idx="96">
                  <c:v>3518.4405</c:v>
                </c:pt>
                <c:pt idx="97">
                  <c:v>3508.6293</c:v>
                </c:pt>
                <c:pt idx="98">
                  <c:v>3336.811</c:v>
                </c:pt>
                <c:pt idx="99">
                  <c:v>3491.1985</c:v>
                </c:pt>
                <c:pt idx="100">
                  <c:v>3901.069</c:v>
                </c:pt>
                <c:pt idx="101">
                  <c:v>3699.9652</c:v>
                </c:pt>
                <c:pt idx="102">
                  <c:v>3851.6974</c:v>
                </c:pt>
                <c:pt idx="103">
                  <c:v>3939.1392</c:v>
                </c:pt>
                <c:pt idx="104">
                  <c:v>4226.3208</c:v>
                </c:pt>
              </c:numCache>
            </c:numRef>
          </c:xVal>
          <c:yVal>
            <c:numRef>
              <c:f>Sheet1!$B$2:$B$106</c:f>
              <c:numCache>
                <c:formatCode>General</c:formatCode>
                <c:ptCount val="105"/>
                <c:pt idx="0">
                  <c:v>0.00036313292934794946</c:v>
                </c:pt>
                <c:pt idx="1">
                  <c:v>0.0001180052394326308</c:v>
                </c:pt>
                <c:pt idx="2">
                  <c:v>0.0001380738695201933</c:v>
                </c:pt>
                <c:pt idx="3">
                  <c:v>0.00012080796366096453</c:v>
                </c:pt>
                <c:pt idx="4">
                  <c:v>8.474336883138894e-05</c:v>
                </c:pt>
                <c:pt idx="5">
                  <c:v>0.0001727364329926587</c:v>
                </c:pt>
                <c:pt idx="6">
                  <c:v>0.0003101649513604963</c:v>
                </c:pt>
                <c:pt idx="7">
                  <c:v>0.0002557299491736726</c:v>
                </c:pt>
                <c:pt idx="8">
                  <c:v>0.00023386342376052386</c:v>
                </c:pt>
                <c:pt idx="9">
                  <c:v>0.00023664904945965134</c:v>
                </c:pt>
                <c:pt idx="10">
                  <c:v>0.0001504664459825459</c:v>
                </c:pt>
                <c:pt idx="11">
                  <c:v>0.0002527358657467081</c:v>
                </c:pt>
                <c:pt idx="12">
                  <c:v>0.00025539818899465987</c:v>
                </c:pt>
                <c:pt idx="13">
                  <c:v>0.0002448340025462736</c:v>
                </c:pt>
                <c:pt idx="14">
                  <c:v>7.259879486000533e-05</c:v>
                </c:pt>
                <c:pt idx="15">
                  <c:v>0.00017333025190663278</c:v>
                </c:pt>
                <c:pt idx="16">
                  <c:v>6.557377049180328e-05</c:v>
                </c:pt>
                <c:pt idx="17">
                  <c:v>0.00014304616815077065</c:v>
                </c:pt>
                <c:pt idx="18">
                  <c:v>7.897958377759349e-05</c:v>
                </c:pt>
                <c:pt idx="19">
                  <c:v>0.0001392757660167131</c:v>
                </c:pt>
                <c:pt idx="20">
                  <c:v>0.0001914168676543777</c:v>
                </c:pt>
                <c:pt idx="21">
                  <c:v>4.517323937299544e-05</c:v>
                </c:pt>
                <c:pt idx="22">
                  <c:v>0.0003266753780100803</c:v>
                </c:pt>
                <c:pt idx="23">
                  <c:v>0.0002457968734637695</c:v>
                </c:pt>
                <c:pt idx="24">
                  <c:v>0.0004160118332254784</c:v>
                </c:pt>
                <c:pt idx="25">
                  <c:v>0.0005229578495973225</c:v>
                </c:pt>
                <c:pt idx="26">
                  <c:v>0.0004661787329262039</c:v>
                </c:pt>
                <c:pt idx="27">
                  <c:v>0.00022744848291861893</c:v>
                </c:pt>
                <c:pt idx="28">
                  <c:v>0.0002318141777551115</c:v>
                </c:pt>
                <c:pt idx="29">
                  <c:v>0.00036586853124110735</c:v>
                </c:pt>
                <c:pt idx="30">
                  <c:v>0.00026104207998329333</c:v>
                </c:pt>
                <c:pt idx="31">
                  <c:v>0.0003045221539867025</c:v>
                </c:pt>
                <c:pt idx="32">
                  <c:v>0.00020004000800160032</c:v>
                </c:pt>
                <c:pt idx="33">
                  <c:v>0.0005195428023339461</c:v>
                </c:pt>
                <c:pt idx="34">
                  <c:v>0.0005066406108638222</c:v>
                </c:pt>
                <c:pt idx="35">
                  <c:v>0.0005345687811831789</c:v>
                </c:pt>
                <c:pt idx="36">
                  <c:v>0.00033811706364114506</c:v>
                </c:pt>
                <c:pt idx="37">
                  <c:v>0.00026327336551118914</c:v>
                </c:pt>
                <c:pt idx="38">
                  <c:v>0.00021714583514288196</c:v>
                </c:pt>
                <c:pt idx="39">
                  <c:v>0.00027820280984837946</c:v>
                </c:pt>
                <c:pt idx="40">
                  <c:v>0.00015428527347064721</c:v>
                </c:pt>
                <c:pt idx="41">
                  <c:v>0.00016618196925633567</c:v>
                </c:pt>
                <c:pt idx="42">
                  <c:v>0.00010635280771412365</c:v>
                </c:pt>
                <c:pt idx="43">
                  <c:v>0.00022198262193188305</c:v>
                </c:pt>
                <c:pt idx="44">
                  <c:v>0.00019422085068732602</c:v>
                </c:pt>
                <c:pt idx="45">
                  <c:v>0.0001392065228199264</c:v>
                </c:pt>
                <c:pt idx="46">
                  <c:v>0.0002866479390013186</c:v>
                </c:pt>
                <c:pt idx="47">
                  <c:v>0.0003465937536103516</c:v>
                </c:pt>
                <c:pt idx="48">
                  <c:v>0.00017395085888236573</c:v>
                </c:pt>
                <c:pt idx="49">
                  <c:v>0.0001764757786993735</c:v>
                </c:pt>
                <c:pt idx="50">
                  <c:v>0.0002607124899905026</c:v>
                </c:pt>
                <c:pt idx="51">
                  <c:v>0.00033724537973829757</c:v>
                </c:pt>
                <c:pt idx="52">
                  <c:v>0.00011712573447595994</c:v>
                </c:pt>
                <c:pt idx="53">
                  <c:v>0.00014421690222094028</c:v>
                </c:pt>
                <c:pt idx="54">
                  <c:v>0.00034161082643542243</c:v>
                </c:pt>
                <c:pt idx="55">
                  <c:v>0.0002166553825321598</c:v>
                </c:pt>
                <c:pt idx="56">
                  <c:v>0.00021784119376974185</c:v>
                </c:pt>
                <c:pt idx="57">
                  <c:v>0.00014241633040588654</c:v>
                </c:pt>
                <c:pt idx="58">
                  <c:v>0.00015347848012453683</c:v>
                </c:pt>
                <c:pt idx="59">
                  <c:v>0.0001909798736594682</c:v>
                </c:pt>
                <c:pt idx="60">
                  <c:v>0.00033729521362030194</c:v>
                </c:pt>
                <c:pt idx="61">
                  <c:v>0.00034526661056084244</c:v>
                </c:pt>
                <c:pt idx="62">
                  <c:v>0.00037922679869377434</c:v>
                </c:pt>
                <c:pt idx="63">
                  <c:v>0.0003265902061360536</c:v>
                </c:pt>
                <c:pt idx="64">
                  <c:v>0.00044982569254413917</c:v>
                </c:pt>
                <c:pt idx="65">
                  <c:v>0.0003264639869414405</c:v>
                </c:pt>
                <c:pt idx="66">
                  <c:v>0.00035840026985432084</c:v>
                </c:pt>
                <c:pt idx="67">
                  <c:v>0.00026140943252369025</c:v>
                </c:pt>
                <c:pt idx="68">
                  <c:v>0.00042267659956675646</c:v>
                </c:pt>
                <c:pt idx="69">
                  <c:v>0.00044499212706236737</c:v>
                </c:pt>
                <c:pt idx="70">
                  <c:v>0.00035560728025086475</c:v>
                </c:pt>
                <c:pt idx="71">
                  <c:v>0.00037821482602118004</c:v>
                </c:pt>
                <c:pt idx="72">
                  <c:v>0.0005287857756626346</c:v>
                </c:pt>
                <c:pt idx="73">
                  <c:v>0.0008655011251514627</c:v>
                </c:pt>
                <c:pt idx="74">
                  <c:v>0.0009342052582410249</c:v>
                </c:pt>
                <c:pt idx="75">
                  <c:v>0.0009785118791342127</c:v>
                </c:pt>
                <c:pt idx="76">
                  <c:v>0.001377582968065122</c:v>
                </c:pt>
                <c:pt idx="77">
                  <c:v>0.0012530804895367778</c:v>
                </c:pt>
                <c:pt idx="78">
                  <c:v>0.0017800442605599924</c:v>
                </c:pt>
                <c:pt idx="79">
                  <c:v>0.0012622012790306295</c:v>
                </c:pt>
                <c:pt idx="80">
                  <c:v>0.001277737552706674</c:v>
                </c:pt>
                <c:pt idx="81">
                  <c:v>0.001474607970076248</c:v>
                </c:pt>
                <c:pt idx="82">
                  <c:v>0.0015154298310066127</c:v>
                </c:pt>
                <c:pt idx="83">
                  <c:v>0.0012142329215499947</c:v>
                </c:pt>
                <c:pt idx="84">
                  <c:v>0.0013257471137380545</c:v>
                </c:pt>
                <c:pt idx="85">
                  <c:v>0.0011378252696151183</c:v>
                </c:pt>
                <c:pt idx="86">
                  <c:v>0.0010361927318481238</c:v>
                </c:pt>
                <c:pt idx="87">
                  <c:v>0.0009866450544416647</c:v>
                </c:pt>
                <c:pt idx="88">
                  <c:v>0.001400131262305841</c:v>
                </c:pt>
                <c:pt idx="89">
                  <c:v>0.0016241520970669723</c:v>
                </c:pt>
                <c:pt idx="90">
                  <c:v>0.0014310387367382185</c:v>
                </c:pt>
                <c:pt idx="91">
                  <c:v>0.0016291193446285608</c:v>
                </c:pt>
                <c:pt idx="92">
                  <c:v>0.001333790632978926</c:v>
                </c:pt>
                <c:pt idx="93">
                  <c:v>0.001266577261212934</c:v>
                </c:pt>
                <c:pt idx="94">
                  <c:v>0.0014334499768118387</c:v>
                </c:pt>
                <c:pt idx="95">
                  <c:v>0.0014944036109670927</c:v>
                </c:pt>
                <c:pt idx="96">
                  <c:v>0.0018807514049660793</c:v>
                </c:pt>
                <c:pt idx="97">
                  <c:v>0.002286209818876998</c:v>
                </c:pt>
                <c:pt idx="98">
                  <c:v>0.002183143382668936</c:v>
                </c:pt>
                <c:pt idx="99">
                  <c:v>0.0020329456784956203</c:v>
                </c:pt>
                <c:pt idx="100">
                  <c:v>0.0015614231564438318</c:v>
                </c:pt>
                <c:pt idx="101">
                  <c:v>0.0020515565070020514</c:v>
                </c:pt>
                <c:pt idx="102">
                  <c:v>0.0016952933303591344</c:v>
                </c:pt>
                <c:pt idx="103">
                  <c:v>0.001670790770467187</c:v>
                </c:pt>
                <c:pt idx="104">
                  <c:v>0.001277385457087079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109:$B$160</c:f>
              <c:numCache>
                <c:formatCode>General</c:formatCode>
                <c:ptCount val="52"/>
                <c:pt idx="0">
                  <c:v>0.0012644154258681956</c:v>
                </c:pt>
                <c:pt idx="1">
                  <c:v>0.0014919806042521448</c:v>
                </c:pt>
                <c:pt idx="2">
                  <c:v>0.0014490927419354839</c:v>
                </c:pt>
                <c:pt idx="3">
                  <c:v>0.0015493812943615083</c:v>
                </c:pt>
                <c:pt idx="4">
                  <c:v>0.001476399322593252</c:v>
                </c:pt>
                <c:pt idx="5">
                  <c:v>0.0012921877395475152</c:v>
                </c:pt>
                <c:pt idx="6">
                  <c:v>0.0015012792590869686</c:v>
                </c:pt>
                <c:pt idx="7">
                  <c:v>0.0017356665243989187</c:v>
                </c:pt>
                <c:pt idx="8">
                  <c:v>0.0020275117751645403</c:v>
                </c:pt>
                <c:pt idx="9">
                  <c:v>0.0020895351499885507</c:v>
                </c:pt>
                <c:pt idx="10">
                  <c:v>0.001986152106148796</c:v>
                </c:pt>
                <c:pt idx="11">
                  <c:v>0.0020591538749532012</c:v>
                </c:pt>
                <c:pt idx="12">
                  <c:v>0.002066261241165559</c:v>
                </c:pt>
                <c:pt idx="13">
                  <c:v>0.0030296420174992125</c:v>
                </c:pt>
                <c:pt idx="14">
                  <c:v>0.0029944086705355486</c:v>
                </c:pt>
                <c:pt idx="15">
                  <c:v>0.002915286858566132</c:v>
                </c:pt>
                <c:pt idx="16">
                  <c:v>0.002708645358656512</c:v>
                </c:pt>
                <c:pt idx="17">
                  <c:v>0.003584471797646422</c:v>
                </c:pt>
                <c:pt idx="18">
                  <c:v>0.0019437920142544747</c:v>
                </c:pt>
                <c:pt idx="19">
                  <c:v>0.0016996748448122967</c:v>
                </c:pt>
                <c:pt idx="20">
                  <c:v>0.0019800379844021497</c:v>
                </c:pt>
                <c:pt idx="21">
                  <c:v>0.0025989026855327752</c:v>
                </c:pt>
                <c:pt idx="22">
                  <c:v>0.0022795615481618005</c:v>
                </c:pt>
                <c:pt idx="23">
                  <c:v>0.0023307661126874745</c:v>
                </c:pt>
                <c:pt idx="24">
                  <c:v>0.002144286667302011</c:v>
                </c:pt>
                <c:pt idx="25">
                  <c:v>0.0024474301982917936</c:v>
                </c:pt>
                <c:pt idx="26">
                  <c:v>0.002500480861704174</c:v>
                </c:pt>
                <c:pt idx="27">
                  <c:v>0.0023867365639517538</c:v>
                </c:pt>
                <c:pt idx="28">
                  <c:v>0.0020089021940363177</c:v>
                </c:pt>
                <c:pt idx="29">
                  <c:v>0.002370329057445622</c:v>
                </c:pt>
                <c:pt idx="30">
                  <c:v>0.0022742669118358655</c:v>
                </c:pt>
                <c:pt idx="31">
                  <c:v>0.002381854598603367</c:v>
                </c:pt>
                <c:pt idx="32">
                  <c:v>0.002019619157530294</c:v>
                </c:pt>
                <c:pt idx="33">
                  <c:v>0.002039265864288856</c:v>
                </c:pt>
                <c:pt idx="34">
                  <c:v>0.001879817031142302</c:v>
                </c:pt>
                <c:pt idx="35">
                  <c:v>0.002231652886514963</c:v>
                </c:pt>
                <c:pt idx="36">
                  <c:v>0.002580228995323335</c:v>
                </c:pt>
                <c:pt idx="37">
                  <c:v>0.0026268424380989446</c:v>
                </c:pt>
                <c:pt idx="38">
                  <c:v>0.0029482712409541678</c:v>
                </c:pt>
                <c:pt idx="39">
                  <c:v>0.0028929206099929743</c:v>
                </c:pt>
                <c:pt idx="40">
                  <c:v>0.0027341358906345643</c:v>
                </c:pt>
                <c:pt idx="41">
                  <c:v>0.002220265666271102</c:v>
                </c:pt>
                <c:pt idx="42">
                  <c:v>0.002547987090198743</c:v>
                </c:pt>
                <c:pt idx="43">
                  <c:v>0.0018642923724727588</c:v>
                </c:pt>
                <c:pt idx="44">
                  <c:v>0.0014157873647655938</c:v>
                </c:pt>
                <c:pt idx="45">
                  <c:v>0.0011778802217664141</c:v>
                </c:pt>
                <c:pt idx="46">
                  <c:v>0.0012631169840652933</c:v>
                </c:pt>
                <c:pt idx="47">
                  <c:v>0.0013494659317033004</c:v>
                </c:pt>
                <c:pt idx="48">
                  <c:v>0.0014849957571549796</c:v>
                </c:pt>
                <c:pt idx="49">
                  <c:v>0.0013695022386094285</c:v>
                </c:pt>
                <c:pt idx="50">
                  <c:v>0.0011507750117426023</c:v>
                </c:pt>
                <c:pt idx="51">
                  <c:v>0.001245896452161531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88.2263941464134</c:v>
                </c:pt>
              </c:numCache>
            </c:numRef>
          </c:xVal>
          <c:yVal>
            <c:numRef>
              <c:f>Sheet1!$B$163:$B$164</c:f>
              <c:numCache>
                <c:formatCode>General</c:formatCode>
                <c:ptCount val="2"/>
                <c:pt idx="0">
                  <c:v>0.0024350742003201257</c:v>
                </c:pt>
                <c:pt idx="1">
                  <c:v>0.002435074200320125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88.2263941464134</c:v>
                </c:pt>
                <c:pt idx="1">
                  <c:v>3588.2263941464134</c:v>
                </c:pt>
              </c:numCache>
            </c:numRef>
          </c:xVal>
          <c:yVal>
            <c:numRef>
              <c:f>Sheet1!$B$167:$B$168</c:f>
              <c:numCache>
                <c:formatCode>General</c:formatCode>
                <c:ptCount val="2"/>
                <c:pt idx="0">
                  <c:v>0.002435074200320125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88.2263941464134</c:v>
                </c:pt>
              </c:numCache>
            </c:numRef>
          </c:xVal>
          <c:yVal>
            <c:numRef>
              <c:f>Sheet1!$B$171:$B$172</c:f>
              <c:numCache>
                <c:formatCode>General</c:formatCode>
                <c:ptCount val="2"/>
                <c:pt idx="0">
                  <c:v>0.0024350742003201257</c:v>
                </c:pt>
                <c:pt idx="1">
                  <c:v>0.002435074200320125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88.2263941464134</c:v>
                </c:pt>
                <c:pt idx="1">
                  <c:v>3588.2263941464134</c:v>
                </c:pt>
              </c:numCache>
            </c:numRef>
          </c:xVal>
          <c:yVal>
            <c:numRef>
              <c:f>Sheet1!$B$175:$B$176</c:f>
              <c:numCache>
                <c:formatCode>General</c:formatCode>
                <c:ptCount val="2"/>
                <c:pt idx="0">
                  <c:v>0.002435074200320125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39.55957973419</c:v>
                </c:pt>
              </c:numCache>
            </c:numRef>
          </c:xVal>
          <c:yVal>
            <c:numRef>
              <c:f>Sheet1!$B$179:$B$180</c:f>
              <c:numCache>
                <c:formatCode>General</c:formatCode>
                <c:ptCount val="2"/>
                <c:pt idx="0">
                  <c:v>0.0017474631993491757</c:v>
                </c:pt>
                <c:pt idx="1">
                  <c:v>0.001747463199349175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39.55957973419</c:v>
                </c:pt>
                <c:pt idx="1">
                  <c:v>4239.55957973419</c:v>
                </c:pt>
              </c:numCache>
            </c:numRef>
          </c:xVal>
          <c:yVal>
            <c:numRef>
              <c:f>Sheet1!$B$183:$B$184</c:f>
              <c:numCache>
                <c:formatCode>General</c:formatCode>
                <c:ptCount val="2"/>
                <c:pt idx="0">
                  <c:v>0.001747463199349175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588.2263941464134</c:v>
                </c:pt>
                <c:pt idx="53">
                  <c:v>3588.2263941464134</c:v>
                </c:pt>
                <c:pt idx="54">
                  <c:v>4239.55957973419</c:v>
                </c:pt>
              </c:numCache>
            </c:numRef>
          </c:xVal>
          <c:yVal>
            <c:numRef>
              <c:f>Sheet1!$B$187:$B$241</c:f>
              <c:numCache>
                <c:formatCode>General</c:formatCode>
                <c:ptCount val="55"/>
                <c:pt idx="0">
                  <c:v>0.001572007261874969</c:v>
                </c:pt>
                <c:pt idx="1">
                  <c:v>0.0020973744197537655</c:v>
                </c:pt>
                <c:pt idx="2">
                  <c:v>0.001687251877096986</c:v>
                </c:pt>
                <c:pt idx="3">
                  <c:v>0.0023238087150076817</c:v>
                </c:pt>
                <c:pt idx="4">
                  <c:v>0.0014441527588966814</c:v>
                </c:pt>
                <c:pt idx="5">
                  <c:v>0.001128699281642772</c:v>
                </c:pt>
                <c:pt idx="6">
                  <c:v>0.0015664144917222301</c:v>
                </c:pt>
                <c:pt idx="7">
                  <c:v>0.001700374517267171</c:v>
                </c:pt>
                <c:pt idx="8">
                  <c:v>0.0018212219317708788</c:v>
                </c:pt>
                <c:pt idx="9">
                  <c:v>0.0018967771665069685</c:v>
                </c:pt>
                <c:pt idx="10">
                  <c:v>0.0017885516747142768</c:v>
                </c:pt>
                <c:pt idx="11">
                  <c:v>0.0019093731190524864</c:v>
                </c:pt>
                <c:pt idx="12">
                  <c:v>0.0021624032918809944</c:v>
                </c:pt>
                <c:pt idx="13">
                  <c:v>0.00261979850334904</c:v>
                </c:pt>
                <c:pt idx="14">
                  <c:v>0.0025753286065857395</c:v>
                </c:pt>
                <c:pt idx="15">
                  <c:v>0.0023780288253687073</c:v>
                </c:pt>
                <c:pt idx="16">
                  <c:v>0.0021324024722421814</c:v>
                </c:pt>
                <c:pt idx="17">
                  <c:v>0.0031518631135422346</c:v>
                </c:pt>
                <c:pt idx="18">
                  <c:v>0.0019041872148258783</c:v>
                </c:pt>
                <c:pt idx="19">
                  <c:v>0.0015733588717484152</c:v>
                </c:pt>
                <c:pt idx="20">
                  <c:v>0.0017286851647530625</c:v>
                </c:pt>
                <c:pt idx="21">
                  <c:v>0.0023443863762223956</c:v>
                </c:pt>
                <c:pt idx="22">
                  <c:v>0.0021276783302264964</c:v>
                </c:pt>
                <c:pt idx="23">
                  <c:v>0.0029033544943245734</c:v>
                </c:pt>
                <c:pt idx="24">
                  <c:v>0.0019399093886075785</c:v>
                </c:pt>
                <c:pt idx="25">
                  <c:v>0.002413186623114834</c:v>
                </c:pt>
                <c:pt idx="26">
                  <c:v>0.002191853037276319</c:v>
                </c:pt>
                <c:pt idx="27">
                  <c:v>0.002305141866782842</c:v>
                </c:pt>
                <c:pt idx="28">
                  <c:v>0.0021971809328549365</c:v>
                </c:pt>
                <c:pt idx="29">
                  <c:v>0.002440219137293078</c:v>
                </c:pt>
                <c:pt idx="30">
                  <c:v>0.002456674193089693</c:v>
                </c:pt>
                <c:pt idx="31">
                  <c:v>0.002125273978522387</c:v>
                </c:pt>
                <c:pt idx="32">
                  <c:v>0.0015162780315310575</c:v>
                </c:pt>
                <c:pt idx="33">
                  <c:v>0.0018164258967360717</c:v>
                </c:pt>
                <c:pt idx="34">
                  <c:v>0.0016764072216061097</c:v>
                </c:pt>
                <c:pt idx="35">
                  <c:v>0.0019838207156731204</c:v>
                </c:pt>
                <c:pt idx="36">
                  <c:v>0.0018162124346440536</c:v>
                </c:pt>
                <c:pt idx="37">
                  <c:v>0.0018516296173358227</c:v>
                </c:pt>
                <c:pt idx="38">
                  <c:v>0.002418652392824102</c:v>
                </c:pt>
                <c:pt idx="39">
                  <c:v>0.002754797546653447</c:v>
                </c:pt>
                <c:pt idx="40">
                  <c:v>0.002822108309541789</c:v>
                </c:pt>
                <c:pt idx="41">
                  <c:v>0.0024947052834957874</c:v>
                </c:pt>
                <c:pt idx="42">
                  <c:v>0.0027320698513308996</c:v>
                </c:pt>
                <c:pt idx="43">
                  <c:v>0.0023506753790639872</c:v>
                </c:pt>
                <c:pt idx="44">
                  <c:v>0.0018648977326607063</c:v>
                </c:pt>
                <c:pt idx="45">
                  <c:v>0.0016863866271928409</c:v>
                </c:pt>
                <c:pt idx="46">
                  <c:v>0.001606204691346572</c:v>
                </c:pt>
                <c:pt idx="47">
                  <c:v>0.0016928535151111137</c:v>
                </c:pt>
                <c:pt idx="48">
                  <c:v>0.0020451712200099522</c:v>
                </c:pt>
                <c:pt idx="49">
                  <c:v>0.0021358468974035424</c:v>
                </c:pt>
                <c:pt idx="50">
                  <c:v>0.0019873741944156165</c:v>
                </c:pt>
                <c:pt idx="51">
                  <c:v>0.0017517740142876737</c:v>
                </c:pt>
                <c:pt idx="52">
                  <c:v>0.0024350742003201257</c:v>
                </c:pt>
                <c:pt idx="53">
                  <c:v>0.0024350742003201257</c:v>
                </c:pt>
                <c:pt idx="54">
                  <c:v>0.00174746319934917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64.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3013661571757065"/>
          <c:min val="3.6138591498396357e-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3.3447053314602983e-05</c:v>
                </c:pt>
                <c:pt idx="2">
                  <c:v>0.0</c:v>
                </c:pt>
                <c:pt idx="3">
                  <c:v>4.513450081242101e-05</c:v>
                </c:pt>
                <c:pt idx="4">
                  <c:v>4.6151006091932804e-05</c:v>
                </c:pt>
                <c:pt idx="5">
                  <c:v>9.649249770830318e-05</c:v>
                </c:pt>
                <c:pt idx="6">
                  <c:v>8.082440897150939e-05</c:v>
                </c:pt>
                <c:pt idx="7">
                  <c:v>0.00011228385358185493</c:v>
                </c:pt>
                <c:pt idx="8">
                  <c:v>0.0001445992191642165</c:v>
                </c:pt>
                <c:pt idx="9">
                  <c:v>0.0003262554036051222</c:v>
                </c:pt>
                <c:pt idx="10">
                  <c:v>0.00037863011623944567</c:v>
                </c:pt>
                <c:pt idx="11">
                  <c:v>0.0002848394217759738</c:v>
                </c:pt>
                <c:pt idx="12">
                  <c:v>0.00036425047186992946</c:v>
                </c:pt>
                <c:pt idx="13">
                  <c:v>0.0003590664272890485</c:v>
                </c:pt>
                <c:pt idx="14">
                  <c:v>0.0003894908292613838</c:v>
                </c:pt>
                <c:pt idx="15">
                  <c:v>0.00036115424897973926</c:v>
                </c:pt>
                <c:pt idx="16">
                  <c:v>0.0003822483850005734</c:v>
                </c:pt>
                <c:pt idx="17">
                  <c:v>0.000599050734989171</c:v>
                </c:pt>
                <c:pt idx="18">
                  <c:v>0.000715009235535959</c:v>
                </c:pt>
                <c:pt idx="19">
                  <c:v>0.00045488144652299997</c:v>
                </c:pt>
                <c:pt idx="20">
                  <c:v>0.0006357683260219976</c:v>
                </c:pt>
                <c:pt idx="21">
                  <c:v>0.0006580128013399533</c:v>
                </c:pt>
                <c:pt idx="22">
                  <c:v>0.0009732044378122364</c:v>
                </c:pt>
                <c:pt idx="23">
                  <c:v>0.0009017132551848512</c:v>
                </c:pt>
                <c:pt idx="24">
                  <c:v>0.0008434666479229634</c:v>
                </c:pt>
                <c:pt idx="25">
                  <c:v>0.0012189547463050433</c:v>
                </c:pt>
                <c:pt idx="26">
                  <c:v>0.0015781582892764145</c:v>
                </c:pt>
                <c:pt idx="27">
                  <c:v>0.002099737532808399</c:v>
                </c:pt>
                <c:pt idx="28">
                  <c:v>0.0014443561782335524</c:v>
                </c:pt>
                <c:pt idx="29">
                  <c:v>0.0013728323699421965</c:v>
                </c:pt>
                <c:pt idx="30">
                  <c:v>0.0018142008132624335</c:v>
                </c:pt>
                <c:pt idx="31">
                  <c:v>0.0019587039908593815</c:v>
                </c:pt>
                <c:pt idx="32">
                  <c:v>0.0017610529242747242</c:v>
                </c:pt>
                <c:pt idx="33">
                  <c:v>0.0017895827446547988</c:v>
                </c:pt>
                <c:pt idx="34">
                  <c:v>0.0019574259848299485</c:v>
                </c:pt>
                <c:pt idx="35">
                  <c:v>0.0017367572261506017</c:v>
                </c:pt>
                <c:pt idx="36">
                  <c:v>0.0016083874426639662</c:v>
                </c:pt>
                <c:pt idx="37">
                  <c:v>0.0023678582340360527</c:v>
                </c:pt>
                <c:pt idx="38">
                  <c:v>0.0030191211003019122</c:v>
                </c:pt>
                <c:pt idx="39">
                  <c:v>0.002665978672170623</c:v>
                </c:pt>
                <c:pt idx="40">
                  <c:v>0.00293895373247124</c:v>
                </c:pt>
                <c:pt idx="41">
                  <c:v>0.002329916123019571</c:v>
                </c:pt>
                <c:pt idx="42">
                  <c:v>0.002354326074161271</c:v>
                </c:pt>
                <c:pt idx="43">
                  <c:v>0.002270396953273766</c:v>
                </c:pt>
                <c:pt idx="44">
                  <c:v>0.0024226110363391655</c:v>
                </c:pt>
                <c:pt idx="45">
                  <c:v>0.0031187669990933816</c:v>
                </c:pt>
                <c:pt idx="46">
                  <c:v>0.0036477665429412516</c:v>
                </c:pt>
                <c:pt idx="47">
                  <c:v>0.003454947484798231</c:v>
                </c:pt>
                <c:pt idx="48">
                  <c:v>0.0031363486299108615</c:v>
                </c:pt>
                <c:pt idx="49">
                  <c:v>0.0024744163028685554</c:v>
                </c:pt>
                <c:pt idx="50">
                  <c:v>0.003520358889685037</c:v>
                </c:pt>
                <c:pt idx="51">
                  <c:v>0.0031836022677714784</c:v>
                </c:pt>
                <c:pt idx="52">
                  <c:v>0.0027420214791682536</c:v>
                </c:pt>
                <c:pt idx="53">
                  <c:v>0.0022801897117840204</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21953188054883</c:v>
                </c:pt>
                <c:pt idx="1">
                  <c:v>0.0027724461505651524</c:v>
                </c:pt>
                <c:pt idx="2">
                  <c:v>0.002474041308992765</c:v>
                </c:pt>
                <c:pt idx="3">
                  <c:v>0.0027802448160018536</c:v>
                </c:pt>
                <c:pt idx="4">
                  <c:v>0.0026056060007895775</c:v>
                </c:pt>
                <c:pt idx="5">
                  <c:v>0.002304147465437788</c:v>
                </c:pt>
                <c:pt idx="6">
                  <c:v>0.0023851280252542967</c:v>
                </c:pt>
                <c:pt idx="7">
                  <c:v>0.0028896166441918707</c:v>
                </c:pt>
                <c:pt idx="8">
                  <c:v>0.0035228442902823696</c:v>
                </c:pt>
                <c:pt idx="9">
                  <c:v>0.003538676236044657</c:v>
                </c:pt>
                <c:pt idx="10">
                  <c:v>0.003357500851540071</c:v>
                </c:pt>
                <c:pt idx="11">
                  <c:v>0.0033273874862788143</c:v>
                </c:pt>
                <c:pt idx="12">
                  <c:v>0.003576654202568688</c:v>
                </c:pt>
                <c:pt idx="13">
                  <c:v>0.005383638989801725</c:v>
                </c:pt>
                <c:pt idx="14">
                  <c:v>0.005304659498207885</c:v>
                </c:pt>
                <c:pt idx="15">
                  <c:v>0.005114957375355205</c:v>
                </c:pt>
                <c:pt idx="16">
                  <c:v>0.004994822440153499</c:v>
                </c:pt>
                <c:pt idx="17">
                  <c:v>0.0066212393931601955</c:v>
                </c:pt>
                <c:pt idx="18">
                  <c:v>0.0035177007709003816</c:v>
                </c:pt>
                <c:pt idx="19">
                  <c:v>0.0032291207984735063</c:v>
                </c:pt>
                <c:pt idx="20">
                  <c:v>0.00398665690342527</c:v>
                </c:pt>
                <c:pt idx="21">
                  <c:v>0.004742088454466273</c:v>
                </c:pt>
                <c:pt idx="22">
                  <c:v>0.004075056861258529</c:v>
                </c:pt>
                <c:pt idx="23">
                  <c:v>0.004474050507059057</c:v>
                </c:pt>
                <c:pt idx="24">
                  <c:v>0.00392156862745098</c:v>
                </c:pt>
                <c:pt idx="25">
                  <c:v>0.004148576941630487</c:v>
                </c:pt>
                <c:pt idx="26">
                  <c:v>0.00398406374501992</c:v>
                </c:pt>
                <c:pt idx="27">
                  <c:v>0.004326229770870053</c:v>
                </c:pt>
                <c:pt idx="28">
                  <c:v>0.0033920323325635103</c:v>
                </c:pt>
                <c:pt idx="29">
                  <c:v>0.004102295539844637</c:v>
                </c:pt>
                <c:pt idx="30">
                  <c:v>0.004041311180960934</c:v>
                </c:pt>
                <c:pt idx="31">
                  <c:v>0.004301691998852882</c:v>
                </c:pt>
                <c:pt idx="32">
                  <c:v>0.0035637328029172882</c:v>
                </c:pt>
                <c:pt idx="33">
                  <c:v>0.002848633950537356</c:v>
                </c:pt>
                <c:pt idx="34">
                  <c:v>0.0028331640562356338</c:v>
                </c:pt>
                <c:pt idx="35">
                  <c:v>0.003877523733119401</c:v>
                </c:pt>
                <c:pt idx="36">
                  <c:v>0.0046267087276551</c:v>
                </c:pt>
                <c:pt idx="37">
                  <c:v>0.004762358319839985</c:v>
                </c:pt>
                <c:pt idx="38">
                  <c:v>0.0057203389830508475</c:v>
                </c:pt>
                <c:pt idx="39">
                  <c:v>0.005291417010349389</c:v>
                </c:pt>
                <c:pt idx="40">
                  <c:v>0.004725118127953199</c:v>
                </c:pt>
                <c:pt idx="41">
                  <c:v>0.004050596930073906</c:v>
                </c:pt>
                <c:pt idx="42">
                  <c:v>0.004612770089827628</c:v>
                </c:pt>
                <c:pt idx="43">
                  <c:v>0.0035323207347227126</c:v>
                </c:pt>
                <c:pt idx="44">
                  <c:v>0.002512320030920862</c:v>
                </c:pt>
                <c:pt idx="45">
                  <c:v>0.00202242407039455</c:v>
                </c:pt>
                <c:pt idx="46">
                  <c:v>0.002218965878166213</c:v>
                </c:pt>
                <c:pt idx="47">
                  <c:v>0.0020577729461096444</c:v>
                </c:pt>
                <c:pt idx="48">
                  <c:v>0.0023189152629714323</c:v>
                </c:pt>
                <c:pt idx="49">
                  <c:v>0.002085096095733108</c:v>
                </c:pt>
                <c:pt idx="50">
                  <c:v>0.0016871633296066673</c:v>
                </c:pt>
                <c:pt idx="51">
                  <c:v>0.002200542800557471</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497.134574446532</c:v>
                </c:pt>
              </c:numCache>
            </c:numRef>
          </c:xVal>
          <c:yVal>
            <c:numRef>
              <c:f>Sheet1!$B$112:$B$113</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497.134574446532</c:v>
                </c:pt>
                <c:pt idx="1">
                  <c:v>3497.134574446532</c:v>
                </c:pt>
              </c:numCache>
            </c:numRef>
          </c:xVal>
          <c:yVal>
            <c:numRef>
              <c:f>Sheet1!$B$116:$B$117</c:f>
              <c:numCache>
                <c:formatCode>General</c:formatCode>
                <c:ptCount val="2"/>
                <c:pt idx="0">
                  <c:v>0.0043611618000289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497.134574446532</c:v>
                </c:pt>
              </c:numCache>
            </c:numRef>
          </c:xVal>
          <c:yVal>
            <c:numRef>
              <c:f>Sheet1!$B$120:$B$121</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497.134574446532</c:v>
                </c:pt>
                <c:pt idx="1">
                  <c:v>3497.134574446532</c:v>
                </c:pt>
              </c:numCache>
            </c:numRef>
          </c:xVal>
          <c:yVal>
            <c:numRef>
              <c:f>Sheet1!$B$124:$B$125</c:f>
              <c:numCache>
                <c:formatCode>General</c:formatCode>
                <c:ptCount val="2"/>
                <c:pt idx="0">
                  <c:v>0.00436116180002893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48.23595726061</c:v>
                </c:pt>
              </c:numCache>
            </c:numRef>
          </c:xVal>
          <c:yVal>
            <c:numRef>
              <c:f>Sheet1!$B$128:$B$129</c:f>
              <c:numCache>
                <c:formatCode>General</c:formatCode>
                <c:ptCount val="2"/>
                <c:pt idx="0">
                  <c:v>0.003024263331337445</c:v>
                </c:pt>
                <c:pt idx="1">
                  <c:v>0.003024263331337445</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48.23595726061</c:v>
                </c:pt>
                <c:pt idx="1">
                  <c:v>4248.23595726061</c:v>
                </c:pt>
              </c:numCache>
            </c:numRef>
          </c:xVal>
          <c:yVal>
            <c:numRef>
              <c:f>Sheet1!$B$132:$B$133</c:f>
              <c:numCache>
                <c:formatCode>General</c:formatCode>
                <c:ptCount val="2"/>
                <c:pt idx="0">
                  <c:v>0.0030242633313374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497.134574446532</c:v>
                </c:pt>
                <c:pt idx="53">
                  <c:v>3497.134574446532</c:v>
                </c:pt>
                <c:pt idx="54">
                  <c:v>4248.23595726061</c:v>
                </c:pt>
              </c:numCache>
            </c:numRef>
          </c:xVal>
          <c:yVal>
            <c:numRef>
              <c:f>Sheet1!$B$136:$B$190</c:f>
              <c:numCache>
                <c:formatCode>General</c:formatCode>
                <c:ptCount val="55"/>
                <c:pt idx="0">
                  <c:v>0.002699799786814415</c:v>
                </c:pt>
                <c:pt idx="1">
                  <c:v>0.003960810437056742</c:v>
                </c:pt>
                <c:pt idx="2">
                  <c:v>0.002834178215612734</c:v>
                </c:pt>
                <c:pt idx="3">
                  <c:v>0.00410561241850919</c:v>
                </c:pt>
                <c:pt idx="4">
                  <c:v>0.0026222870511226175</c:v>
                </c:pt>
                <c:pt idx="5">
                  <c:v>0.0019695669321136682</c:v>
                </c:pt>
                <c:pt idx="6">
                  <c:v>0.002559104074951985</c:v>
                </c:pt>
                <c:pt idx="7">
                  <c:v>0.0031149844024753468</c:v>
                </c:pt>
                <c:pt idx="8">
                  <c:v>0.003337893968036145</c:v>
                </c:pt>
                <c:pt idx="9">
                  <c:v>0.0033351911633666843</c:v>
                </c:pt>
                <c:pt idx="10">
                  <c:v>0.0029714920842930917</c:v>
                </c:pt>
                <c:pt idx="11">
                  <c:v>0.0034797916581621804</c:v>
                </c:pt>
                <c:pt idx="12">
                  <c:v>0.003813105766203597</c:v>
                </c:pt>
                <c:pt idx="13">
                  <c:v>0.004523880385193439</c:v>
                </c:pt>
                <c:pt idx="14">
                  <c:v>0.004542616152405606</c:v>
                </c:pt>
                <c:pt idx="15">
                  <c:v>0.004145060373285821</c:v>
                </c:pt>
                <c:pt idx="16">
                  <c:v>0.003920719754083769</c:v>
                </c:pt>
                <c:pt idx="17">
                  <c:v>0.005386927477224924</c:v>
                </c:pt>
                <c:pt idx="18">
                  <c:v>0.003300721993721046</c:v>
                </c:pt>
                <c:pt idx="19">
                  <c:v>0.0028608905049491793</c:v>
                </c:pt>
                <c:pt idx="20">
                  <c:v>0.0032686046290209183</c:v>
                </c:pt>
                <c:pt idx="21">
                  <c:v>0.00387305018254803</c:v>
                </c:pt>
                <c:pt idx="22">
                  <c:v>0.003479679879345425</c:v>
                </c:pt>
                <c:pt idx="23">
                  <c:v>0.005116798303263349</c:v>
                </c:pt>
                <c:pt idx="24">
                  <c:v>0.0034936709205731463</c:v>
                </c:pt>
                <c:pt idx="25">
                  <c:v>0.00399850517313109</c:v>
                </c:pt>
                <c:pt idx="26">
                  <c:v>0.0035415713474039982</c:v>
                </c:pt>
                <c:pt idx="27">
                  <c:v>0.00403808270589912</c:v>
                </c:pt>
                <c:pt idx="28">
                  <c:v>0.0037685752571078052</c:v>
                </c:pt>
                <c:pt idx="29">
                  <c:v>0.0040811590224266205</c:v>
                </c:pt>
                <c:pt idx="30">
                  <c:v>0.004214419663057393</c:v>
                </c:pt>
                <c:pt idx="31">
                  <c:v>0.003942448274520321</c:v>
                </c:pt>
                <c:pt idx="32">
                  <c:v>0.0030775840647495863</c:v>
                </c:pt>
                <c:pt idx="33">
                  <c:v>0.002338606119563498</c:v>
                </c:pt>
                <c:pt idx="34">
                  <c:v>0.0022455497206399153</c:v>
                </c:pt>
                <c:pt idx="35">
                  <c:v>0.0036092633884868084</c:v>
                </c:pt>
                <c:pt idx="36">
                  <c:v>0.0030669159514358684</c:v>
                </c:pt>
                <c:pt idx="37">
                  <c:v>0.0032041701928811755</c:v>
                </c:pt>
                <c:pt idx="38">
                  <c:v>0.0041939901263862486</c:v>
                </c:pt>
                <c:pt idx="39">
                  <c:v>0.0049209235480835185</c:v>
                </c:pt>
                <c:pt idx="40">
                  <c:v>0.004844098038524668</c:v>
                </c:pt>
                <c:pt idx="41">
                  <c:v>0.004480936850508771</c:v>
                </c:pt>
                <c:pt idx="42">
                  <c:v>0.00475944712183425</c:v>
                </c:pt>
                <c:pt idx="43">
                  <c:v>0.0044491809870456315</c:v>
                </c:pt>
                <c:pt idx="44">
                  <c:v>0.003336853428286545</c:v>
                </c:pt>
                <c:pt idx="45">
                  <c:v>0.003160644091210459</c:v>
                </c:pt>
                <c:pt idx="46">
                  <c:v>0.003279110769845388</c:v>
                </c:pt>
                <c:pt idx="47">
                  <c:v>0.0033466468901583307</c:v>
                </c:pt>
                <c:pt idx="48">
                  <c:v>0.004149591153191065</c:v>
                </c:pt>
                <c:pt idx="49">
                  <c:v>0.003827193990924865</c:v>
                </c:pt>
                <c:pt idx="50">
                  <c:v>0.003284851537642827</c:v>
                </c:pt>
                <c:pt idx="51">
                  <c:v>0.0030867134394154594</c:v>
                </c:pt>
                <c:pt idx="52">
                  <c:v>0.004361161800028936</c:v>
                </c:pt>
                <c:pt idx="53">
                  <c:v>0.004361161800028936</c:v>
                </c:pt>
                <c:pt idx="54">
                  <c:v>0.00302426333133744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94548727179223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0.20268506713661608</c:v>
                </c:pt>
                <c:pt idx="1">
                  <c:v>0.20400536323183696</c:v>
                </c:pt>
                <c:pt idx="2">
                  <c:v>0.20206454310036193</c:v>
                </c:pt>
                <c:pt idx="3">
                  <c:v>0.20036186912462808</c:v>
                </c:pt>
                <c:pt idx="4">
                  <c:v>0.1991287796159392</c:v>
                </c:pt>
                <c:pt idx="5">
                  <c:v>0.20008799148374334</c:v>
                </c:pt>
                <c:pt idx="6">
                  <c:v>0.19421657615984392</c:v>
                </c:pt>
                <c:pt idx="7">
                  <c:v>0.18564014322532724</c:v>
                </c:pt>
                <c:pt idx="8">
                  <c:v>0.18463252063952243</c:v>
                </c:pt>
                <c:pt idx="9">
                  <c:v>0.1858451161891542</c:v>
                </c:pt>
                <c:pt idx="10">
                  <c:v>0.186717850906368</c:v>
                </c:pt>
                <c:pt idx="11">
                  <c:v>0.18433883631633785</c:v>
                </c:pt>
                <c:pt idx="12">
                  <c:v>0.18323605110150476</c:v>
                </c:pt>
                <c:pt idx="13">
                  <c:v>0.1841559054509597</c:v>
                </c:pt>
                <c:pt idx="14">
                  <c:v>0.18374363578278063</c:v>
                </c:pt>
                <c:pt idx="15">
                  <c:v>0.1866016987011538</c:v>
                </c:pt>
                <c:pt idx="16">
                  <c:v>0.18278955589917106</c:v>
                </c:pt>
                <c:pt idx="17">
                  <c:v>0.18348092096163418</c:v>
                </c:pt>
                <c:pt idx="18">
                  <c:v>0.1788955434921318</c:v>
                </c:pt>
                <c:pt idx="19">
                  <c:v>0.1885555157752495</c:v>
                </c:pt>
                <c:pt idx="20">
                  <c:v>0.1790218789354663</c:v>
                </c:pt>
                <c:pt idx="21">
                  <c:v>0.18104199188534648</c:v>
                </c:pt>
                <c:pt idx="22">
                  <c:v>0.18232576470615466</c:v>
                </c:pt>
                <c:pt idx="23">
                  <c:v>0.17129189161860517</c:v>
                </c:pt>
                <c:pt idx="24">
                  <c:v>0.15378425607116708</c:v>
                </c:pt>
                <c:pt idx="25">
                  <c:v>0.16803982282807275</c:v>
                </c:pt>
                <c:pt idx="26">
                  <c:v>0.1684460758721472</c:v>
                </c:pt>
                <c:pt idx="27">
                  <c:v>0.1618915986702393</c:v>
                </c:pt>
                <c:pt idx="28">
                  <c:v>0.17214252660805182</c:v>
                </c:pt>
                <c:pt idx="29">
                  <c:v>0.16951321273470746</c:v>
                </c:pt>
                <c:pt idx="30">
                  <c:v>0.19498769113991657</c:v>
                </c:pt>
                <c:pt idx="31">
                  <c:v>0.1907440916761227</c:v>
                </c:pt>
                <c:pt idx="32">
                  <c:v>0.1729833138570693</c:v>
                </c:pt>
                <c:pt idx="33">
                  <c:v>0.1809798119705445</c:v>
                </c:pt>
                <c:pt idx="34">
                  <c:v>0.19062479908385313</c:v>
                </c:pt>
                <c:pt idx="35">
                  <c:v>0.14105408215737988</c:v>
                </c:pt>
                <c:pt idx="36">
                  <c:v>0.15488053548029954</c:v>
                </c:pt>
                <c:pt idx="37">
                  <c:v>0.1039699710442059</c:v>
                </c:pt>
                <c:pt idx="38">
                  <c:v>0.09148370464833103</c:v>
                </c:pt>
                <c:pt idx="39">
                  <c:v>0.08335142601670974</c:v>
                </c:pt>
                <c:pt idx="40">
                  <c:v>0.10415420404319131</c:v>
                </c:pt>
                <c:pt idx="41">
                  <c:v>0.0779843356483864</c:v>
                </c:pt>
                <c:pt idx="42">
                  <c:v>0.07743505931525543</c:v>
                </c:pt>
                <c:pt idx="43">
                  <c:v>0.05105133552128903</c:v>
                </c:pt>
                <c:pt idx="44">
                  <c:v>0.07342533323167598</c:v>
                </c:pt>
                <c:pt idx="45">
                  <c:v>0.05149766138348905</c:v>
                </c:pt>
                <c:pt idx="46">
                  <c:v>0.05162062096030685</c:v>
                </c:pt>
                <c:pt idx="47">
                  <c:v>0.02712753050833985</c:v>
                </c:pt>
                <c:pt idx="48">
                  <c:v>0.027098898671373644</c:v>
                </c:pt>
              </c:numCache>
            </c:numRef>
          </c:xVal>
          <c:yVal>
            <c:numRef>
              <c:f>Sheet1!$B$2:$B$50</c:f>
              <c:numCache>
                <c:formatCode>General</c:formatCode>
                <c:ptCount val="49"/>
                <c:pt idx="0">
                  <c:v>0.1441578148710167</c:v>
                </c:pt>
                <c:pt idx="1">
                  <c:v>0.1479944674965422</c:v>
                </c:pt>
                <c:pt idx="2">
                  <c:v>0.1220472440944882</c:v>
                </c:pt>
                <c:pt idx="3">
                  <c:v>0.11349306431273644</c:v>
                </c:pt>
                <c:pt idx="4">
                  <c:v>0.11846153846153847</c:v>
                </c:pt>
                <c:pt idx="5">
                  <c:v>0.07928802588996764</c:v>
                </c:pt>
                <c:pt idx="6">
                  <c:v>0.0680786686838124</c:v>
                </c:pt>
                <c:pt idx="7">
                  <c:v>0.06912442396313365</c:v>
                </c:pt>
                <c:pt idx="8">
                  <c:v>0.0706896551724138</c:v>
                </c:pt>
                <c:pt idx="9">
                  <c:v>0.05401459854014599</c:v>
                </c:pt>
                <c:pt idx="10">
                  <c:v>0.04263565891472868</c:v>
                </c:pt>
                <c:pt idx="11">
                  <c:v>0.02832512315270936</c:v>
                </c:pt>
                <c:pt idx="12">
                  <c:v>0.022946859903381644</c:v>
                </c:pt>
                <c:pt idx="13">
                  <c:v>0.02097902097902098</c:v>
                </c:pt>
                <c:pt idx="14">
                  <c:v>0.21557562076749437</c:v>
                </c:pt>
                <c:pt idx="15">
                  <c:v>0.244640605296343</c:v>
                </c:pt>
                <c:pt idx="16">
                  <c:v>0.20145985401459854</c:v>
                </c:pt>
                <c:pt idx="17">
                  <c:v>0.14492753623188406</c:v>
                </c:pt>
                <c:pt idx="18">
                  <c:v>0.14285714285714285</c:v>
                </c:pt>
                <c:pt idx="19">
                  <c:v>0.09263657957244656</c:v>
                </c:pt>
                <c:pt idx="20">
                  <c:v>0.08624229979466119</c:v>
                </c:pt>
                <c:pt idx="21">
                  <c:v>0.052884615384615384</c:v>
                </c:pt>
                <c:pt idx="22">
                  <c:v>0.05113636363636364</c:v>
                </c:pt>
                <c:pt idx="23">
                  <c:v>0.05362776025236593</c:v>
                </c:pt>
                <c:pt idx="24">
                  <c:v>0.06613756613756613</c:v>
                </c:pt>
                <c:pt idx="25">
                  <c:v>0.03225806451612903</c:v>
                </c:pt>
                <c:pt idx="26">
                  <c:v>0.0291005291005291</c:v>
                </c:pt>
                <c:pt idx="27">
                  <c:v>0.04132231404958678</c:v>
                </c:pt>
                <c:pt idx="28">
                  <c:v>0.03836317135549872</c:v>
                </c:pt>
                <c:pt idx="29">
                  <c:v>0.03248259860788863</c:v>
                </c:pt>
                <c:pt idx="30">
                  <c:v>0.01834862385321101</c:v>
                </c:pt>
                <c:pt idx="31">
                  <c:v>0.017793594306049824</c:v>
                </c:pt>
                <c:pt idx="32">
                  <c:v>0.020833333333333332</c:v>
                </c:pt>
                <c:pt idx="33">
                  <c:v>0.030726256983240222</c:v>
                </c:pt>
                <c:pt idx="34">
                  <c:v>0.01240694789081886</c:v>
                </c:pt>
                <c:pt idx="35">
                  <c:v>0.004291845493562232</c:v>
                </c:pt>
                <c:pt idx="36">
                  <c:v>0.008620689655172414</c:v>
                </c:pt>
                <c:pt idx="37">
                  <c:v>0.05555555555555555</c:v>
                </c:pt>
                <c:pt idx="38">
                  <c:v>0.046052631578947366</c:v>
                </c:pt>
                <c:pt idx="39">
                  <c:v>0.03825136612021858</c:v>
                </c:pt>
                <c:pt idx="40">
                  <c:v>0.0026954177897574125</c:v>
                </c:pt>
                <c:pt idx="41">
                  <c:v>0.006024096385542169</c:v>
                </c:pt>
                <c:pt idx="42">
                  <c:v>0.005390835579514825</c:v>
                </c:pt>
                <c:pt idx="43">
                  <c:v>0.002380952380952381</c:v>
                </c:pt>
                <c:pt idx="44">
                  <c:v>0.0035087719298245615</c:v>
                </c:pt>
                <c:pt idx="45">
                  <c:v>0.0012135922330097086</c:v>
                </c:pt>
                <c:pt idx="46">
                  <c:v>0.0009057971014492754</c:v>
                </c:pt>
                <c:pt idx="47">
                  <c:v>0.00303951367781155</c:v>
                </c:pt>
                <c:pt idx="48">
                  <c:v>0.0027472527472527475</c:v>
                </c:pt>
              </c:numCache>
            </c:numRef>
          </c:yVal>
          <c:smooth val="0"/>
          <c:extLst>
            <c:ext xmlns:c16="http://schemas.microsoft.com/office/drawing/2014/chart" uri="{C3380CC4-5D6E-409C-BE32-E72D297353CC}">
              <c16:uniqueId val="{00000000-096C-4121-9522-6AB7243CCAAE}"/>
            </c:ext>
          </c:extLst>
        </c:ser>
        <c:ser>
          <c:idx val="1"/>
          <c:order val="1"/>
          <c:tx>
            <c:strRef>
              <c:f>Sheet1!$B$5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5:$A$56</c:f>
              <c:numCache>
                <c:formatCode>General</c:formatCode>
                <c:ptCount val="2"/>
                <c:pt idx="0">
                  <c:v>0</c:v>
                </c:pt>
                <c:pt idx="1">
                  <c:v>0.10385580887762867</c:v>
                </c:pt>
              </c:numCache>
            </c:numRef>
          </c:xVal>
          <c:yVal>
            <c:numRef>
              <c:f>Sheet1!$B$55:$B$56</c:f>
              <c:numCache>
                <c:formatCode>General</c:formatCode>
                <c:ptCount val="2"/>
                <c:pt idx="0">
                  <c:v>0.10385580887762867</c:v>
                </c:pt>
                <c:pt idx="1">
                  <c:v>0.10385580887762867</c:v>
                </c:pt>
              </c:numCache>
            </c:numRef>
          </c:yVal>
          <c:smooth val="0"/>
          <c:extLst>
            <c:ext xmlns:c16="http://schemas.microsoft.com/office/drawing/2014/chart" uri="{C3380CC4-5D6E-409C-BE32-E72D297353CC}">
              <c16:uniqueId val="{00000005-096C-4121-9522-6AB7243CCAAE}"/>
            </c:ext>
          </c:extLst>
        </c:ser>
        <c:ser>
          <c:idx val="3"/>
          <c:order val="3"/>
          <c:tx>
            <c:strRef>
              <c:f>Sheet1!$B$5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0.10385580887762867</c:v>
                </c:pt>
                <c:pt idx="1">
                  <c:v>0.10385580887762867</c:v>
                </c:pt>
              </c:numCache>
            </c:numRef>
          </c:xVal>
          <c:yVal>
            <c:numRef>
              <c:f>Sheet1!$B$59:$B$60</c:f>
              <c:numCache>
                <c:formatCode>General</c:formatCode>
                <c:ptCount val="2"/>
                <c:pt idx="0">
                  <c:v>0.1038558088776286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2</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3:$A$65</c:f>
              <c:numCache>
                <c:formatCode>General</c:formatCode>
                <c:ptCount val="3"/>
                <c:pt idx="0">
                  <c:v>0</c:v>
                </c:pt>
                <c:pt idx="1">
                  <c:v>0.10385580887762867</c:v>
                </c:pt>
                <c:pt idx="2">
                  <c:v>0</c:v>
                </c:pt>
              </c:numCache>
            </c:numRef>
          </c:xVal>
          <c:yVal>
            <c:numRef>
              <c:f>Sheet1!$B$63:$B$65</c:f>
              <c:numCache>
                <c:formatCode>General</c:formatCode>
                <c:ptCount val="3"/>
                <c:pt idx="0">
                  <c:v>0</c:v>
                </c:pt>
                <c:pt idx="1">
                  <c:v>0.10385580887762867</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35687263556116"/>
          <c:min val="0.000724637681159420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550.6842</c:v>
                </c:pt>
                <c:pt idx="1">
                  <c:v>549.8131</c:v>
                </c:pt>
                <c:pt idx="2">
                  <c:v>551.9785</c:v>
                </c:pt>
                <c:pt idx="3">
                  <c:v>552.8444</c:v>
                </c:pt>
                <c:pt idx="4">
                  <c:v>545.3377</c:v>
                </c:pt>
                <c:pt idx="5">
                  <c:v>553.3878</c:v>
                </c:pt>
                <c:pt idx="6">
                  <c:v>530.8222</c:v>
                </c:pt>
                <c:pt idx="7">
                  <c:v>511.4</c:v>
                </c:pt>
                <c:pt idx="8">
                  <c:v>513.0</c:v>
                </c:pt>
                <c:pt idx="9">
                  <c:v>515.5676</c:v>
                </c:pt>
                <c:pt idx="10">
                  <c:v>514.5758</c:v>
                </c:pt>
                <c:pt idx="11">
                  <c:v>510.6522</c:v>
                </c:pt>
                <c:pt idx="12">
                  <c:v>508.0</c:v>
                </c:pt>
                <c:pt idx="13">
                  <c:v>515.6667</c:v>
                </c:pt>
                <c:pt idx="14">
                  <c:v>515.0471</c:v>
                </c:pt>
                <c:pt idx="15">
                  <c:v>513.9381</c:v>
                </c:pt>
                <c:pt idx="16">
                  <c:v>508.5652</c:v>
                </c:pt>
                <c:pt idx="17">
                  <c:v>514.5625</c:v>
                </c:pt>
                <c:pt idx="18">
                  <c:v>505.0923</c:v>
                </c:pt>
                <c:pt idx="19">
                  <c:v>515.2821</c:v>
                </c:pt>
                <c:pt idx="20">
                  <c:v>506.5952</c:v>
                </c:pt>
                <c:pt idx="21">
                  <c:v>511.2273</c:v>
                </c:pt>
                <c:pt idx="22">
                  <c:v>519.8889</c:v>
                </c:pt>
                <c:pt idx="23">
                  <c:v>491.9412</c:v>
                </c:pt>
                <c:pt idx="24">
                  <c:v>460.28</c:v>
                </c:pt>
                <c:pt idx="25">
                  <c:v>502.2</c:v>
                </c:pt>
                <c:pt idx="26">
                  <c:v>501.0</c:v>
                </c:pt>
                <c:pt idx="27">
                  <c:v>481.6667</c:v>
                </c:pt>
                <c:pt idx="28">
                  <c:v>520.8</c:v>
                </c:pt>
                <c:pt idx="29">
                  <c:v>496.0</c:v>
                </c:pt>
                <c:pt idx="30">
                  <c:v>558.0</c:v>
                </c:pt>
                <c:pt idx="31">
                  <c:v>558.0</c:v>
                </c:pt>
                <c:pt idx="32">
                  <c:v>511.5</c:v>
                </c:pt>
                <c:pt idx="33">
                  <c:v>532.6364</c:v>
                </c:pt>
                <c:pt idx="34">
                  <c:v>558.0</c:v>
                </c:pt>
                <c:pt idx="35">
                  <c:v>418.5</c:v>
                </c:pt>
                <c:pt idx="36">
                  <c:v>465.0</c:v>
                </c:pt>
                <c:pt idx="37">
                  <c:v>310.2353</c:v>
                </c:pt>
                <c:pt idx="38">
                  <c:v>273.2143</c:v>
                </c:pt>
                <c:pt idx="39">
                  <c:v>251.0</c:v>
                </c:pt>
                <c:pt idx="40">
                  <c:v>306.0</c:v>
                </c:pt>
                <c:pt idx="41">
                  <c:v>229.5</c:v>
                </c:pt>
                <c:pt idx="42">
                  <c:v>229.5</c:v>
                </c:pt>
                <c:pt idx="43">
                  <c:v>153.0</c:v>
                </c:pt>
                <c:pt idx="44">
                  <c:v>221.5</c:v>
                </c:pt>
                <c:pt idx="45">
                  <c:v>153.0</c:v>
                </c:pt>
                <c:pt idx="46">
                  <c:v>153.0</c:v>
                </c:pt>
                <c:pt idx="47">
                  <c:v>83.0</c:v>
                </c:pt>
                <c:pt idx="48">
                  <c:v>83.0</c:v>
                </c:pt>
              </c:numCache>
            </c:numRef>
          </c:xVal>
          <c:yVal>
            <c:numRef>
              <c:f>Sheet1!$B$2:$B$50</c:f>
              <c:numCache>
                <c:formatCode>General</c:formatCode>
                <c:ptCount val="49"/>
                <c:pt idx="0">
                  <c:v>0.1441578148710167</c:v>
                </c:pt>
                <c:pt idx="1">
                  <c:v>0.1479944674965422</c:v>
                </c:pt>
                <c:pt idx="2">
                  <c:v>0.1220472440944882</c:v>
                </c:pt>
                <c:pt idx="3">
                  <c:v>0.11349306431273644</c:v>
                </c:pt>
                <c:pt idx="4">
                  <c:v>0.11846153846153847</c:v>
                </c:pt>
                <c:pt idx="5">
                  <c:v>0.07928802588996764</c:v>
                </c:pt>
                <c:pt idx="6">
                  <c:v>0.0680786686838124</c:v>
                </c:pt>
                <c:pt idx="7">
                  <c:v>0.06912442396313365</c:v>
                </c:pt>
                <c:pt idx="8">
                  <c:v>0.0706896551724138</c:v>
                </c:pt>
                <c:pt idx="9">
                  <c:v>0.05401459854014599</c:v>
                </c:pt>
                <c:pt idx="10">
                  <c:v>0.04263565891472868</c:v>
                </c:pt>
                <c:pt idx="11">
                  <c:v>0.02832512315270936</c:v>
                </c:pt>
                <c:pt idx="12">
                  <c:v>0.022946859903381644</c:v>
                </c:pt>
                <c:pt idx="13">
                  <c:v>0.02097902097902098</c:v>
                </c:pt>
                <c:pt idx="14">
                  <c:v>0.21557562076749437</c:v>
                </c:pt>
                <c:pt idx="15">
                  <c:v>0.244640605296343</c:v>
                </c:pt>
                <c:pt idx="16">
                  <c:v>0.20145985401459854</c:v>
                </c:pt>
                <c:pt idx="17">
                  <c:v>0.14492753623188406</c:v>
                </c:pt>
                <c:pt idx="18">
                  <c:v>0.14285714285714285</c:v>
                </c:pt>
                <c:pt idx="19">
                  <c:v>0.09263657957244656</c:v>
                </c:pt>
                <c:pt idx="20">
                  <c:v>0.08624229979466119</c:v>
                </c:pt>
                <c:pt idx="21">
                  <c:v>0.052884615384615384</c:v>
                </c:pt>
                <c:pt idx="22">
                  <c:v>0.05113636363636364</c:v>
                </c:pt>
                <c:pt idx="23">
                  <c:v>0.05362776025236593</c:v>
                </c:pt>
                <c:pt idx="24">
                  <c:v>0.06613756613756613</c:v>
                </c:pt>
                <c:pt idx="25">
                  <c:v>0.03225806451612903</c:v>
                </c:pt>
                <c:pt idx="26">
                  <c:v>0.0291005291005291</c:v>
                </c:pt>
                <c:pt idx="27">
                  <c:v>0.04132231404958678</c:v>
                </c:pt>
                <c:pt idx="28">
                  <c:v>0.03836317135549872</c:v>
                </c:pt>
                <c:pt idx="29">
                  <c:v>0.03248259860788863</c:v>
                </c:pt>
                <c:pt idx="30">
                  <c:v>0.01834862385321101</c:v>
                </c:pt>
                <c:pt idx="31">
                  <c:v>0.017793594306049824</c:v>
                </c:pt>
                <c:pt idx="32">
                  <c:v>0.020833333333333332</c:v>
                </c:pt>
                <c:pt idx="33">
                  <c:v>0.030726256983240222</c:v>
                </c:pt>
                <c:pt idx="34">
                  <c:v>0.01240694789081886</c:v>
                </c:pt>
                <c:pt idx="35">
                  <c:v>0.004291845493562232</c:v>
                </c:pt>
                <c:pt idx="36">
                  <c:v>0.008620689655172414</c:v>
                </c:pt>
                <c:pt idx="37">
                  <c:v>0.05555555555555555</c:v>
                </c:pt>
                <c:pt idx="38">
                  <c:v>0.046052631578947366</c:v>
                </c:pt>
                <c:pt idx="39">
                  <c:v>0.03825136612021858</c:v>
                </c:pt>
                <c:pt idx="40">
                  <c:v>0.0026954177897574125</c:v>
                </c:pt>
                <c:pt idx="41">
                  <c:v>0.006024096385542169</c:v>
                </c:pt>
                <c:pt idx="42">
                  <c:v>0.005390835579514825</c:v>
                </c:pt>
                <c:pt idx="43">
                  <c:v>0.002380952380952381</c:v>
                </c:pt>
                <c:pt idx="44">
                  <c:v>0.0035087719298245615</c:v>
                </c:pt>
                <c:pt idx="45">
                  <c:v>0.0012135922330097086</c:v>
                </c:pt>
                <c:pt idx="46">
                  <c:v>0.0009057971014492754</c:v>
                </c:pt>
                <c:pt idx="47">
                  <c:v>0.00303951367781155</c:v>
                </c:pt>
                <c:pt idx="48">
                  <c:v>0.0027472527472527475</c:v>
                </c:pt>
              </c:numCache>
            </c:numRef>
          </c:yVal>
          <c:smooth val="0"/>
          <c:extLst>
            <c:ext xmlns:c16="http://schemas.microsoft.com/office/drawing/2014/chart" uri="{C3380CC4-5D6E-409C-BE32-E72D297353CC}">
              <c16:uniqueId val="{00000000-F32D-48B7-BC20-E66FC6253BAD}"/>
            </c:ext>
          </c:extLst>
        </c:ser>
        <c:ser>
          <c:idx val="1"/>
          <c:order val="1"/>
          <c:tx>
            <c:strRef>
              <c:f>Sheet1!$B$5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4</c:f>
              <c:strCache>
                <c:ptCount val="1"/>
                <c:pt idx="0">
                  <c:v>Custom Linep3yQ</c:v>
                </c:pt>
              </c:strCache>
            </c:strRef>
          </c:tx>
          <c:spPr>
            <a:ln w="19050" cap="rnd">
              <a:solidFill>
                <a:srgbClr val="C00000"/>
              </a:solidFill>
              <a:prstDash val="sysDot"/>
              <a:round/>
            </a:ln>
            <a:effectLst/>
          </c:spPr>
          <c:marker>
            <c:symbol val="none"/>
          </c:marker>
          <c:xVal>
            <c:numRef>
              <c:f>Sheet1!$A$55:$A$56</c:f>
              <c:numCache>
                <c:formatCode>General</c:formatCode>
                <c:ptCount val="2"/>
                <c:pt idx="0">
                  <c:v>0</c:v>
                </c:pt>
                <c:pt idx="1">
                  <c:v>0.10385580887762867</c:v>
                </c:pt>
              </c:numCache>
            </c:numRef>
          </c:xVal>
          <c:yVal>
            <c:numRef>
              <c:f>Sheet1!$B$55:$B$56</c:f>
              <c:numCache>
                <c:formatCode>General</c:formatCode>
                <c:ptCount val="2"/>
                <c:pt idx="0">
                  <c:v>0.10385580887762867</c:v>
                </c:pt>
                <c:pt idx="1">
                  <c:v>0.10385580887762867</c:v>
                </c:pt>
              </c:numCache>
            </c:numRef>
          </c:yVal>
          <c:smooth val="0"/>
          <c:extLst>
            <c:ext xmlns:c16="http://schemas.microsoft.com/office/drawing/2014/chart" uri="{C3380CC4-5D6E-409C-BE32-E72D297353CC}">
              <c16:uniqueId val="{00000003-F32D-48B7-BC20-E66FC6253BAD}"/>
            </c:ext>
          </c:extLst>
        </c:ser>
        <c:ser>
          <c:idx val="3"/>
          <c:order val="3"/>
          <c:tx>
            <c:strRef>
              <c:f>Sheet1!$B$5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0.10385580887762867</c:v>
                </c:pt>
                <c:pt idx="1">
                  <c:v>0.10385580887762867</c:v>
                </c:pt>
              </c:numCache>
            </c:numRef>
          </c:xVal>
          <c:yVal>
            <c:numRef>
              <c:f>Sheet1!$B$59:$B$60</c:f>
              <c:numCache>
                <c:formatCode>General</c:formatCode>
                <c:ptCount val="2"/>
                <c:pt idx="0">
                  <c:v>0.1038558088776286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2</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3:$A$65</c:f>
              <c:numCache>
                <c:formatCode>General</c:formatCode>
                <c:ptCount val="3"/>
                <c:pt idx="0">
                  <c:v>0</c:v>
                </c:pt>
                <c:pt idx="1">
                  <c:v>0.10385580887762867</c:v>
                </c:pt>
                <c:pt idx="2">
                  <c:v>0</c:v>
                </c:pt>
              </c:numCache>
            </c:numRef>
          </c:xVal>
          <c:yVal>
            <c:numRef>
              <c:f>Sheet1!$B$63:$B$65</c:f>
              <c:numCache>
                <c:formatCode>General</c:formatCode>
                <c:ptCount val="3"/>
                <c:pt idx="0">
                  <c:v>0</c:v>
                </c:pt>
                <c:pt idx="1">
                  <c:v>0.10385580887762867</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35687263556116"/>
          <c:min val="0.000724637681159420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0.11456214183220889</c:v>
                </c:pt>
                <c:pt idx="1">
                  <c:v>0.12374816565383749</c:v>
                </c:pt>
                <c:pt idx="2">
                  <c:v>0.12637294557550857</c:v>
                </c:pt>
                <c:pt idx="3">
                  <c:v>0.11730227703668765</c:v>
                </c:pt>
                <c:pt idx="4">
                  <c:v>0.11198388709880384</c:v>
                </c:pt>
                <c:pt idx="5">
                  <c:v>0.11419407990311571</c:v>
                </c:pt>
                <c:pt idx="6">
                  <c:v>0.11503940324873466</c:v>
                </c:pt>
                <c:pt idx="7">
                  <c:v>0.11111534800842468</c:v>
                </c:pt>
                <c:pt idx="8">
                  <c:v>0.1053329519171706</c:v>
                </c:pt>
                <c:pt idx="9">
                  <c:v>0.10873854537954572</c:v>
                </c:pt>
                <c:pt idx="10">
                  <c:v>0.11070372976383284</c:v>
                </c:pt>
                <c:pt idx="11">
                  <c:v>0.11070387503300072</c:v>
                </c:pt>
                <c:pt idx="12">
                  <c:v>0.11645419354531084</c:v>
                </c:pt>
                <c:pt idx="13">
                  <c:v>0.11221792408982383</c:v>
                </c:pt>
                <c:pt idx="14">
                  <c:v>0.11550143884813033</c:v>
                </c:pt>
                <c:pt idx="15">
                  <c:v>0.1156284430462567</c:v>
                </c:pt>
                <c:pt idx="16">
                  <c:v>0.1142329739442947</c:v>
                </c:pt>
                <c:pt idx="17">
                  <c:v>0.11255542982377163</c:v>
                </c:pt>
                <c:pt idx="18">
                  <c:v>0.11843353863845829</c:v>
                </c:pt>
                <c:pt idx="19">
                  <c:v>0.12484533710574955</c:v>
                </c:pt>
                <c:pt idx="20">
                  <c:v>0.11999720493400208</c:v>
                </c:pt>
                <c:pt idx="21">
                  <c:v>0.11799652053490285</c:v>
                </c:pt>
                <c:pt idx="22">
                  <c:v>0.11898989770449649</c:v>
                </c:pt>
                <c:pt idx="23">
                  <c:v>0.12079151174183493</c:v>
                </c:pt>
                <c:pt idx="24">
                  <c:v>0.1105307056379857</c:v>
                </c:pt>
                <c:pt idx="25">
                  <c:v>0.10019952114924181</c:v>
                </c:pt>
                <c:pt idx="26">
                  <c:v>0.09044449243679144</c:v>
                </c:pt>
                <c:pt idx="27">
                  <c:v>0.08705180357890242</c:v>
                </c:pt>
                <c:pt idx="28">
                  <c:v>0.09295684146646199</c:v>
                </c:pt>
                <c:pt idx="29">
                  <c:v>0.09202624670192125</c:v>
                </c:pt>
                <c:pt idx="30">
                  <c:v>0.10088097657413554</c:v>
                </c:pt>
                <c:pt idx="31">
                  <c:v>0.10228299306579963</c:v>
                </c:pt>
                <c:pt idx="32">
                  <c:v>0.090802616308299</c:v>
                </c:pt>
                <c:pt idx="33">
                  <c:v>0.09963650127383276</c:v>
                </c:pt>
                <c:pt idx="34">
                  <c:v>0.10168134847544762</c:v>
                </c:pt>
                <c:pt idx="35">
                  <c:v>0.07608102824027782</c:v>
                </c:pt>
                <c:pt idx="36">
                  <c:v>0.08020536713618716</c:v>
                </c:pt>
                <c:pt idx="37">
                  <c:v>0.0556506010612485</c:v>
                </c:pt>
                <c:pt idx="38">
                  <c:v>0.04934747164339612</c:v>
                </c:pt>
                <c:pt idx="39">
                  <c:v>0.0471181763095704</c:v>
                </c:pt>
                <c:pt idx="40">
                  <c:v>0.05970806386085726</c:v>
                </c:pt>
                <c:pt idx="41">
                  <c:v>0.04341366633462936</c:v>
                </c:pt>
                <c:pt idx="42">
                  <c:v>0.039377751230824966</c:v>
                </c:pt>
                <c:pt idx="43">
                  <c:v>0.025969958868168087</c:v>
                </c:pt>
                <c:pt idx="44">
                  <c:v>0.03748646087191985</c:v>
                </c:pt>
                <c:pt idx="45">
                  <c:v>0.028378056625054854</c:v>
                </c:pt>
                <c:pt idx="46">
                  <c:v>0.029042983577730358</c:v>
                </c:pt>
                <c:pt idx="47">
                  <c:v>0.013578217411374362</c:v>
                </c:pt>
                <c:pt idx="48">
                  <c:v>0.013712546142098226</c:v>
                </c:pt>
              </c:numCache>
            </c:numRef>
          </c:xVal>
          <c:yVal>
            <c:numRef>
              <c:f>Sheet1!$B$2:$B$50</c:f>
              <c:numCache>
                <c:formatCode>General</c:formatCode>
                <c:ptCount val="49"/>
                <c:pt idx="0">
                  <c:v>0.1441578148710167</c:v>
                </c:pt>
                <c:pt idx="1">
                  <c:v>0.1479944674965422</c:v>
                </c:pt>
                <c:pt idx="2">
                  <c:v>0.1220472440944882</c:v>
                </c:pt>
                <c:pt idx="3">
                  <c:v>0.11349306431273644</c:v>
                </c:pt>
                <c:pt idx="4">
                  <c:v>0.11846153846153847</c:v>
                </c:pt>
                <c:pt idx="5">
                  <c:v>0.07928802588996764</c:v>
                </c:pt>
                <c:pt idx="6">
                  <c:v>0.0680786686838124</c:v>
                </c:pt>
                <c:pt idx="7">
                  <c:v>0.06912442396313365</c:v>
                </c:pt>
                <c:pt idx="8">
                  <c:v>0.0706896551724138</c:v>
                </c:pt>
                <c:pt idx="9">
                  <c:v>0.05401459854014599</c:v>
                </c:pt>
                <c:pt idx="10">
                  <c:v>0.04263565891472868</c:v>
                </c:pt>
                <c:pt idx="11">
                  <c:v>0.02832512315270936</c:v>
                </c:pt>
                <c:pt idx="12">
                  <c:v>0.022946859903381644</c:v>
                </c:pt>
                <c:pt idx="13">
                  <c:v>0.02097902097902098</c:v>
                </c:pt>
                <c:pt idx="14">
                  <c:v>0.21557562076749437</c:v>
                </c:pt>
                <c:pt idx="15">
                  <c:v>0.244640605296343</c:v>
                </c:pt>
                <c:pt idx="16">
                  <c:v>0.20145985401459854</c:v>
                </c:pt>
                <c:pt idx="17">
                  <c:v>0.14492753623188406</c:v>
                </c:pt>
                <c:pt idx="18">
                  <c:v>0.14285714285714285</c:v>
                </c:pt>
                <c:pt idx="19">
                  <c:v>0.09263657957244656</c:v>
                </c:pt>
                <c:pt idx="20">
                  <c:v>0.08624229979466119</c:v>
                </c:pt>
                <c:pt idx="21">
                  <c:v>0.052884615384615384</c:v>
                </c:pt>
                <c:pt idx="22">
                  <c:v>0.05113636363636364</c:v>
                </c:pt>
                <c:pt idx="23">
                  <c:v>0.05362776025236593</c:v>
                </c:pt>
                <c:pt idx="24">
                  <c:v>0.06613756613756613</c:v>
                </c:pt>
                <c:pt idx="25">
                  <c:v>0.03225806451612903</c:v>
                </c:pt>
                <c:pt idx="26">
                  <c:v>0.0291005291005291</c:v>
                </c:pt>
                <c:pt idx="27">
                  <c:v>0.04132231404958678</c:v>
                </c:pt>
                <c:pt idx="28">
                  <c:v>0.03836317135549872</c:v>
                </c:pt>
                <c:pt idx="29">
                  <c:v>0.03248259860788863</c:v>
                </c:pt>
                <c:pt idx="30">
                  <c:v>0.01834862385321101</c:v>
                </c:pt>
                <c:pt idx="31">
                  <c:v>0.017793594306049824</c:v>
                </c:pt>
                <c:pt idx="32">
                  <c:v>0.020833333333333332</c:v>
                </c:pt>
                <c:pt idx="33">
                  <c:v>0.030726256983240222</c:v>
                </c:pt>
                <c:pt idx="34">
                  <c:v>0.01240694789081886</c:v>
                </c:pt>
                <c:pt idx="35">
                  <c:v>0.004291845493562232</c:v>
                </c:pt>
                <c:pt idx="36">
                  <c:v>0.008620689655172414</c:v>
                </c:pt>
                <c:pt idx="37">
                  <c:v>0.05555555555555555</c:v>
                </c:pt>
                <c:pt idx="38">
                  <c:v>0.046052631578947366</c:v>
                </c:pt>
                <c:pt idx="39">
                  <c:v>0.03825136612021858</c:v>
                </c:pt>
                <c:pt idx="40">
                  <c:v>0.0026954177897574125</c:v>
                </c:pt>
                <c:pt idx="41">
                  <c:v>0.006024096385542169</c:v>
                </c:pt>
                <c:pt idx="42">
                  <c:v>0.005390835579514825</c:v>
                </c:pt>
                <c:pt idx="43">
                  <c:v>0.002380952380952381</c:v>
                </c:pt>
                <c:pt idx="44">
                  <c:v>0.0035087719298245615</c:v>
                </c:pt>
                <c:pt idx="45">
                  <c:v>0.0012135922330097086</c:v>
                </c:pt>
                <c:pt idx="46">
                  <c:v>0.0009057971014492754</c:v>
                </c:pt>
                <c:pt idx="47">
                  <c:v>0.00303951367781155</c:v>
                </c:pt>
                <c:pt idx="48">
                  <c:v>0.0027472527472527475</c:v>
                </c:pt>
              </c:numCache>
            </c:numRef>
          </c:yVal>
          <c:smooth val="0"/>
          <c:extLst>
            <c:ext xmlns:c16="http://schemas.microsoft.com/office/drawing/2014/chart" uri="{C3380CC4-5D6E-409C-BE32-E72D297353CC}">
              <c16:uniqueId val="{00000000-096C-4121-9522-6AB7243CCAAE}"/>
            </c:ext>
          </c:extLst>
        </c:ser>
        <c:ser>
          <c:idx val="1"/>
          <c:order val="1"/>
          <c:tx>
            <c:strRef>
              <c:f>Sheet1!$B$5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5:$A$56</c:f>
              <c:numCache>
                <c:formatCode>General</c:formatCode>
                <c:ptCount val="2"/>
                <c:pt idx="0">
                  <c:v>0</c:v>
                </c:pt>
                <c:pt idx="1">
                  <c:v>0.10385580887762867</c:v>
                </c:pt>
              </c:numCache>
            </c:numRef>
          </c:xVal>
          <c:yVal>
            <c:numRef>
              <c:f>Sheet1!$B$55:$B$56</c:f>
              <c:numCache>
                <c:formatCode>General</c:formatCode>
                <c:ptCount val="2"/>
                <c:pt idx="0">
                  <c:v>0.10385580887762867</c:v>
                </c:pt>
                <c:pt idx="1">
                  <c:v>0.10385580887762867</c:v>
                </c:pt>
              </c:numCache>
            </c:numRef>
          </c:yVal>
          <c:smooth val="0"/>
          <c:extLst>
            <c:ext xmlns:c16="http://schemas.microsoft.com/office/drawing/2014/chart" uri="{C3380CC4-5D6E-409C-BE32-E72D297353CC}">
              <c16:uniqueId val="{00000005-096C-4121-9522-6AB7243CCAAE}"/>
            </c:ext>
          </c:extLst>
        </c:ser>
        <c:ser>
          <c:idx val="3"/>
          <c:order val="3"/>
          <c:tx>
            <c:strRef>
              <c:f>Sheet1!$B$5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0.10385580887762867</c:v>
                </c:pt>
                <c:pt idx="1">
                  <c:v>0.10385580887762867</c:v>
                </c:pt>
              </c:numCache>
            </c:numRef>
          </c:xVal>
          <c:yVal>
            <c:numRef>
              <c:f>Sheet1!$B$59:$B$60</c:f>
              <c:numCache>
                <c:formatCode>General</c:formatCode>
                <c:ptCount val="2"/>
                <c:pt idx="0">
                  <c:v>0.1038558088776286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2</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3:$A$65</c:f>
              <c:numCache>
                <c:formatCode>General</c:formatCode>
                <c:ptCount val="3"/>
                <c:pt idx="0">
                  <c:v>0</c:v>
                </c:pt>
                <c:pt idx="1">
                  <c:v>0.10385580887762867</c:v>
                </c:pt>
                <c:pt idx="2">
                  <c:v>0</c:v>
                </c:pt>
              </c:numCache>
            </c:numRef>
          </c:xVal>
          <c:yVal>
            <c:numRef>
              <c:f>Sheet1!$B$63:$B$65</c:f>
              <c:numCache>
                <c:formatCode>General</c:formatCode>
                <c:ptCount val="3"/>
                <c:pt idx="0">
                  <c:v>0</c:v>
                </c:pt>
                <c:pt idx="1">
                  <c:v>0.10385580887762867</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35687263556116"/>
          <c:min val="0.000724637681159420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550.6842</c:v>
                </c:pt>
                <c:pt idx="1">
                  <c:v>549.8131</c:v>
                </c:pt>
                <c:pt idx="2">
                  <c:v>551.9785</c:v>
                </c:pt>
                <c:pt idx="3">
                  <c:v>552.8444</c:v>
                </c:pt>
                <c:pt idx="4">
                  <c:v>545.3377</c:v>
                </c:pt>
                <c:pt idx="5">
                  <c:v>553.3878</c:v>
                </c:pt>
                <c:pt idx="6">
                  <c:v>530.8222</c:v>
                </c:pt>
                <c:pt idx="7">
                  <c:v>511.4</c:v>
                </c:pt>
                <c:pt idx="8">
                  <c:v>513.0</c:v>
                </c:pt>
                <c:pt idx="9">
                  <c:v>515.5676</c:v>
                </c:pt>
                <c:pt idx="10">
                  <c:v>514.5758</c:v>
                </c:pt>
                <c:pt idx="11">
                  <c:v>510.6522</c:v>
                </c:pt>
                <c:pt idx="12">
                  <c:v>508.0</c:v>
                </c:pt>
                <c:pt idx="13">
                  <c:v>515.6667</c:v>
                </c:pt>
                <c:pt idx="14">
                  <c:v>515.0471</c:v>
                </c:pt>
                <c:pt idx="15">
                  <c:v>513.9381</c:v>
                </c:pt>
                <c:pt idx="16">
                  <c:v>508.5652</c:v>
                </c:pt>
                <c:pt idx="17">
                  <c:v>514.5625</c:v>
                </c:pt>
                <c:pt idx="18">
                  <c:v>505.0923</c:v>
                </c:pt>
                <c:pt idx="19">
                  <c:v>515.2821</c:v>
                </c:pt>
                <c:pt idx="20">
                  <c:v>506.5952</c:v>
                </c:pt>
                <c:pt idx="21">
                  <c:v>511.2273</c:v>
                </c:pt>
                <c:pt idx="22">
                  <c:v>519.8889</c:v>
                </c:pt>
                <c:pt idx="23">
                  <c:v>491.9412</c:v>
                </c:pt>
                <c:pt idx="24">
                  <c:v>460.28</c:v>
                </c:pt>
                <c:pt idx="25">
                  <c:v>502.2</c:v>
                </c:pt>
                <c:pt idx="26">
                  <c:v>501.0</c:v>
                </c:pt>
                <c:pt idx="27">
                  <c:v>481.6667</c:v>
                </c:pt>
                <c:pt idx="28">
                  <c:v>520.8</c:v>
                </c:pt>
                <c:pt idx="29">
                  <c:v>496.0</c:v>
                </c:pt>
                <c:pt idx="30">
                  <c:v>558.0</c:v>
                </c:pt>
                <c:pt idx="31">
                  <c:v>558.0</c:v>
                </c:pt>
                <c:pt idx="32">
                  <c:v>511.5</c:v>
                </c:pt>
                <c:pt idx="33">
                  <c:v>532.6364</c:v>
                </c:pt>
                <c:pt idx="34">
                  <c:v>558.0</c:v>
                </c:pt>
                <c:pt idx="35">
                  <c:v>418.5</c:v>
                </c:pt>
                <c:pt idx="36">
                  <c:v>465.0</c:v>
                </c:pt>
                <c:pt idx="37">
                  <c:v>310.2353</c:v>
                </c:pt>
                <c:pt idx="38">
                  <c:v>273.2143</c:v>
                </c:pt>
                <c:pt idx="39">
                  <c:v>251.0</c:v>
                </c:pt>
                <c:pt idx="40">
                  <c:v>306.0</c:v>
                </c:pt>
                <c:pt idx="41">
                  <c:v>229.5</c:v>
                </c:pt>
                <c:pt idx="42">
                  <c:v>229.5</c:v>
                </c:pt>
                <c:pt idx="43">
                  <c:v>153.0</c:v>
                </c:pt>
                <c:pt idx="44">
                  <c:v>221.5</c:v>
                </c:pt>
                <c:pt idx="45">
                  <c:v>153.0</c:v>
                </c:pt>
                <c:pt idx="46">
                  <c:v>153.0</c:v>
                </c:pt>
                <c:pt idx="47">
                  <c:v>83.0</c:v>
                </c:pt>
                <c:pt idx="48">
                  <c:v>83.0</c:v>
                </c:pt>
              </c:numCache>
            </c:numRef>
          </c:xVal>
          <c:yVal>
            <c:numRef>
              <c:f>Sheet1!$B$2:$B$50</c:f>
              <c:numCache>
                <c:formatCode>General</c:formatCode>
                <c:ptCount val="49"/>
                <c:pt idx="0">
                  <c:v>0.1441578148710167</c:v>
                </c:pt>
                <c:pt idx="1">
                  <c:v>0.1479944674965422</c:v>
                </c:pt>
                <c:pt idx="2">
                  <c:v>0.1220472440944882</c:v>
                </c:pt>
                <c:pt idx="3">
                  <c:v>0.11349306431273644</c:v>
                </c:pt>
                <c:pt idx="4">
                  <c:v>0.11846153846153847</c:v>
                </c:pt>
                <c:pt idx="5">
                  <c:v>0.07928802588996764</c:v>
                </c:pt>
                <c:pt idx="6">
                  <c:v>0.0680786686838124</c:v>
                </c:pt>
                <c:pt idx="7">
                  <c:v>0.06912442396313365</c:v>
                </c:pt>
                <c:pt idx="8">
                  <c:v>0.0706896551724138</c:v>
                </c:pt>
                <c:pt idx="9">
                  <c:v>0.05401459854014599</c:v>
                </c:pt>
                <c:pt idx="10">
                  <c:v>0.04263565891472868</c:v>
                </c:pt>
                <c:pt idx="11">
                  <c:v>0.02832512315270936</c:v>
                </c:pt>
                <c:pt idx="12">
                  <c:v>0.022946859903381644</c:v>
                </c:pt>
                <c:pt idx="13">
                  <c:v>0.02097902097902098</c:v>
                </c:pt>
                <c:pt idx="14">
                  <c:v>0.21557562076749437</c:v>
                </c:pt>
                <c:pt idx="15">
                  <c:v>0.244640605296343</c:v>
                </c:pt>
                <c:pt idx="16">
                  <c:v>0.20145985401459854</c:v>
                </c:pt>
                <c:pt idx="17">
                  <c:v>0.14492753623188406</c:v>
                </c:pt>
                <c:pt idx="18">
                  <c:v>0.14285714285714285</c:v>
                </c:pt>
                <c:pt idx="19">
                  <c:v>0.09263657957244656</c:v>
                </c:pt>
                <c:pt idx="20">
                  <c:v>0.08624229979466119</c:v>
                </c:pt>
                <c:pt idx="21">
                  <c:v>0.052884615384615384</c:v>
                </c:pt>
                <c:pt idx="22">
                  <c:v>0.05113636363636364</c:v>
                </c:pt>
                <c:pt idx="23">
                  <c:v>0.05362776025236593</c:v>
                </c:pt>
                <c:pt idx="24">
                  <c:v>0.06613756613756613</c:v>
                </c:pt>
                <c:pt idx="25">
                  <c:v>0.03225806451612903</c:v>
                </c:pt>
                <c:pt idx="26">
                  <c:v>0.0291005291005291</c:v>
                </c:pt>
                <c:pt idx="27">
                  <c:v>0.04132231404958678</c:v>
                </c:pt>
                <c:pt idx="28">
                  <c:v>0.03836317135549872</c:v>
                </c:pt>
                <c:pt idx="29">
                  <c:v>0.03248259860788863</c:v>
                </c:pt>
                <c:pt idx="30">
                  <c:v>0.01834862385321101</c:v>
                </c:pt>
                <c:pt idx="31">
                  <c:v>0.017793594306049824</c:v>
                </c:pt>
                <c:pt idx="32">
                  <c:v>0.020833333333333332</c:v>
                </c:pt>
                <c:pt idx="33">
                  <c:v>0.030726256983240222</c:v>
                </c:pt>
                <c:pt idx="34">
                  <c:v>0.01240694789081886</c:v>
                </c:pt>
                <c:pt idx="35">
                  <c:v>0.004291845493562232</c:v>
                </c:pt>
                <c:pt idx="36">
                  <c:v>0.008620689655172414</c:v>
                </c:pt>
                <c:pt idx="37">
                  <c:v>0.05555555555555555</c:v>
                </c:pt>
                <c:pt idx="38">
                  <c:v>0.046052631578947366</c:v>
                </c:pt>
                <c:pt idx="39">
                  <c:v>0.03825136612021858</c:v>
                </c:pt>
                <c:pt idx="40">
                  <c:v>0.0026954177897574125</c:v>
                </c:pt>
                <c:pt idx="41">
                  <c:v>0.006024096385542169</c:v>
                </c:pt>
                <c:pt idx="42">
                  <c:v>0.005390835579514825</c:v>
                </c:pt>
                <c:pt idx="43">
                  <c:v>0.002380952380952381</c:v>
                </c:pt>
                <c:pt idx="44">
                  <c:v>0.0035087719298245615</c:v>
                </c:pt>
                <c:pt idx="45">
                  <c:v>0.0012135922330097086</c:v>
                </c:pt>
                <c:pt idx="46">
                  <c:v>0.0009057971014492754</c:v>
                </c:pt>
                <c:pt idx="47">
                  <c:v>0.00303951367781155</c:v>
                </c:pt>
                <c:pt idx="48">
                  <c:v>0.0027472527472527475</c:v>
                </c:pt>
              </c:numCache>
            </c:numRef>
          </c:yVal>
          <c:smooth val="0"/>
          <c:extLst>
            <c:ext xmlns:c16="http://schemas.microsoft.com/office/drawing/2014/chart" uri="{C3380CC4-5D6E-409C-BE32-E72D297353CC}">
              <c16:uniqueId val="{00000000-F32D-48B7-BC20-E66FC6253BAD}"/>
            </c:ext>
          </c:extLst>
        </c:ser>
        <c:ser>
          <c:idx val="1"/>
          <c:order val="1"/>
          <c:tx>
            <c:strRef>
              <c:f>Sheet1!$B$5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4</c:f>
              <c:strCache>
                <c:ptCount val="1"/>
                <c:pt idx="0">
                  <c:v>Custom Linep3yQ</c:v>
                </c:pt>
              </c:strCache>
            </c:strRef>
          </c:tx>
          <c:spPr>
            <a:ln w="19050" cap="rnd">
              <a:solidFill>
                <a:srgbClr val="C00000"/>
              </a:solidFill>
              <a:prstDash val="sysDot"/>
              <a:round/>
            </a:ln>
            <a:effectLst/>
          </c:spPr>
          <c:marker>
            <c:symbol val="none"/>
          </c:marker>
          <c:xVal>
            <c:numRef>
              <c:f>Sheet1!$A$55:$A$56</c:f>
              <c:numCache>
                <c:formatCode>General</c:formatCode>
                <c:ptCount val="2"/>
                <c:pt idx="0">
                  <c:v>0</c:v>
                </c:pt>
                <c:pt idx="1">
                  <c:v>0.10385580887762867</c:v>
                </c:pt>
              </c:numCache>
            </c:numRef>
          </c:xVal>
          <c:yVal>
            <c:numRef>
              <c:f>Sheet1!$B$55:$B$56</c:f>
              <c:numCache>
                <c:formatCode>General</c:formatCode>
                <c:ptCount val="2"/>
                <c:pt idx="0">
                  <c:v>0.10385580887762867</c:v>
                </c:pt>
                <c:pt idx="1">
                  <c:v>0.10385580887762867</c:v>
                </c:pt>
              </c:numCache>
            </c:numRef>
          </c:yVal>
          <c:smooth val="0"/>
          <c:extLst>
            <c:ext xmlns:c16="http://schemas.microsoft.com/office/drawing/2014/chart" uri="{C3380CC4-5D6E-409C-BE32-E72D297353CC}">
              <c16:uniqueId val="{00000003-F32D-48B7-BC20-E66FC6253BAD}"/>
            </c:ext>
          </c:extLst>
        </c:ser>
        <c:ser>
          <c:idx val="3"/>
          <c:order val="3"/>
          <c:tx>
            <c:strRef>
              <c:f>Sheet1!$B$5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0.10385580887762867</c:v>
                </c:pt>
                <c:pt idx="1">
                  <c:v>0.10385580887762867</c:v>
                </c:pt>
              </c:numCache>
            </c:numRef>
          </c:xVal>
          <c:yVal>
            <c:numRef>
              <c:f>Sheet1!$B$59:$B$60</c:f>
              <c:numCache>
                <c:formatCode>General</c:formatCode>
                <c:ptCount val="2"/>
                <c:pt idx="0">
                  <c:v>0.1038558088776286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2</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3:$A$65</c:f>
              <c:numCache>
                <c:formatCode>General</c:formatCode>
                <c:ptCount val="3"/>
                <c:pt idx="0">
                  <c:v>0</c:v>
                </c:pt>
                <c:pt idx="1">
                  <c:v>0.10385580887762867</c:v>
                </c:pt>
                <c:pt idx="2">
                  <c:v>0</c:v>
                </c:pt>
              </c:numCache>
            </c:numRef>
          </c:xVal>
          <c:yVal>
            <c:numRef>
              <c:f>Sheet1!$B$63:$B$65</c:f>
              <c:numCache>
                <c:formatCode>General</c:formatCode>
                <c:ptCount val="3"/>
                <c:pt idx="0">
                  <c:v>0</c:v>
                </c:pt>
                <c:pt idx="1">
                  <c:v>0.10385580887762867</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35687263556116"/>
          <c:min val="0.000724637681159420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0.4644862766809981</c:v>
                </c:pt>
                <c:pt idx="1">
                  <c:v>0.4678177875264439</c:v>
                </c:pt>
                <c:pt idx="2">
                  <c:v>0.4774775367047041</c:v>
                </c:pt>
                <c:pt idx="3">
                  <c:v>0.5130281803197482</c:v>
                </c:pt>
                <c:pt idx="4">
                  <c:v>0.4677416117675071</c:v>
                </c:pt>
                <c:pt idx="5">
                  <c:v>0.48987995817427077</c:v>
                </c:pt>
                <c:pt idx="6">
                  <c:v>0.4535099157145891</c:v>
                </c:pt>
                <c:pt idx="7">
                  <c:v>0.44643367670781614</c:v>
                </c:pt>
                <c:pt idx="8">
                  <c:v>0.43105519960124455</c:v>
                </c:pt>
                <c:pt idx="9">
                  <c:v>0.44332172019981</c:v>
                </c:pt>
                <c:pt idx="10">
                  <c:v>0.43473601006783075</c:v>
                </c:pt>
                <c:pt idx="11">
                  <c:v>0.4503837395809795</c:v>
                </c:pt>
                <c:pt idx="12">
                  <c:v>0.44467596383734</c:v>
                </c:pt>
                <c:pt idx="13">
                  <c:v>0.4356407932097488</c:v>
                </c:pt>
                <c:pt idx="14">
                  <c:v>0.454367541610306</c:v>
                </c:pt>
                <c:pt idx="15">
                  <c:v>0.4402637857497203</c:v>
                </c:pt>
                <c:pt idx="16">
                  <c:v>0.4389764571329923</c:v>
                </c:pt>
                <c:pt idx="17">
                  <c:v>0.4268096292814403</c:v>
                </c:pt>
                <c:pt idx="18">
                  <c:v>0.43760703709874327</c:v>
                </c:pt>
                <c:pt idx="19">
                  <c:v>0.43309271044262887</c:v>
                </c:pt>
                <c:pt idx="20">
                  <c:v>0.4220028330936324</c:v>
                </c:pt>
                <c:pt idx="21">
                  <c:v>0.47254788520694446</c:v>
                </c:pt>
                <c:pt idx="22">
                  <c:v>0.45963872102596315</c:v>
                </c:pt>
                <c:pt idx="23">
                  <c:v>0.43669449861612547</c:v>
                </c:pt>
                <c:pt idx="24">
                  <c:v>0.38680278772302</c:v>
                </c:pt>
                <c:pt idx="25">
                  <c:v>0.4279044483061689</c:v>
                </c:pt>
                <c:pt idx="26">
                  <c:v>0.42867487526288417</c:v>
                </c:pt>
                <c:pt idx="27">
                  <c:v>0.39912961024706234</c:v>
                </c:pt>
                <c:pt idx="28">
                  <c:v>0.41764940850242127</c:v>
                </c:pt>
                <c:pt idx="29">
                  <c:v>0.40867892313433335</c:v>
                </c:pt>
                <c:pt idx="30">
                  <c:v>0.43978004377466523</c:v>
                </c:pt>
                <c:pt idx="31">
                  <c:v>0.4402831636191655</c:v>
                </c:pt>
                <c:pt idx="32">
                  <c:v>0.43390914731380975</c:v>
                </c:pt>
                <c:pt idx="33">
                  <c:v>0.45626694126474276</c:v>
                </c:pt>
                <c:pt idx="34">
                  <c:v>0.4984120484949564</c:v>
                </c:pt>
                <c:pt idx="35">
                  <c:v>0.36979663659134626</c:v>
                </c:pt>
                <c:pt idx="36">
                  <c:v>0.37114671884750083</c:v>
                </c:pt>
                <c:pt idx="37">
                  <c:v>0.2491727714545713</c:v>
                </c:pt>
                <c:pt idx="38">
                  <c:v>0.23016550240637565</c:v>
                </c:pt>
                <c:pt idx="39">
                  <c:v>0.1622963891575149</c:v>
                </c:pt>
                <c:pt idx="40">
                  <c:v>0.2574562614624828</c:v>
                </c:pt>
                <c:pt idx="41">
                  <c:v>0.17979552665595988</c:v>
                </c:pt>
                <c:pt idx="42">
                  <c:v>0.17837078225963837</c:v>
                </c:pt>
                <c:pt idx="43">
                  <c:v>0.12496944170432836</c:v>
                </c:pt>
                <c:pt idx="44">
                  <c:v>0.19809620159700417</c:v>
                </c:pt>
                <c:pt idx="45">
                  <c:v>0.13142648676642654</c:v>
                </c:pt>
                <c:pt idx="46">
                  <c:v>0.13123430495610214</c:v>
                </c:pt>
                <c:pt idx="47">
                  <c:v>0.06618629240418199</c:v>
                </c:pt>
                <c:pt idx="48">
                  <c:v>0.0678422058950463</c:v>
                </c:pt>
              </c:numCache>
            </c:numRef>
          </c:xVal>
          <c:yVal>
            <c:numRef>
              <c:f>Sheet1!$B$2:$B$50</c:f>
              <c:numCache>
                <c:formatCode>General</c:formatCode>
                <c:ptCount val="49"/>
                <c:pt idx="0">
                  <c:v>0.1441578148710167</c:v>
                </c:pt>
                <c:pt idx="1">
                  <c:v>0.1479944674965422</c:v>
                </c:pt>
                <c:pt idx="2">
                  <c:v>0.1220472440944882</c:v>
                </c:pt>
                <c:pt idx="3">
                  <c:v>0.11349306431273644</c:v>
                </c:pt>
                <c:pt idx="4">
                  <c:v>0.11846153846153847</c:v>
                </c:pt>
                <c:pt idx="5">
                  <c:v>0.07928802588996764</c:v>
                </c:pt>
                <c:pt idx="6">
                  <c:v>0.0680786686838124</c:v>
                </c:pt>
                <c:pt idx="7">
                  <c:v>0.06912442396313365</c:v>
                </c:pt>
                <c:pt idx="8">
                  <c:v>0.0706896551724138</c:v>
                </c:pt>
                <c:pt idx="9">
                  <c:v>0.05401459854014599</c:v>
                </c:pt>
                <c:pt idx="10">
                  <c:v>0.04263565891472868</c:v>
                </c:pt>
                <c:pt idx="11">
                  <c:v>0.02832512315270936</c:v>
                </c:pt>
                <c:pt idx="12">
                  <c:v>0.022946859903381644</c:v>
                </c:pt>
                <c:pt idx="13">
                  <c:v>0.02097902097902098</c:v>
                </c:pt>
                <c:pt idx="14">
                  <c:v>0.21557562076749437</c:v>
                </c:pt>
                <c:pt idx="15">
                  <c:v>0.244640605296343</c:v>
                </c:pt>
                <c:pt idx="16">
                  <c:v>0.20145985401459854</c:v>
                </c:pt>
                <c:pt idx="17">
                  <c:v>0.14492753623188406</c:v>
                </c:pt>
                <c:pt idx="18">
                  <c:v>0.14285714285714285</c:v>
                </c:pt>
                <c:pt idx="19">
                  <c:v>0.09263657957244656</c:v>
                </c:pt>
                <c:pt idx="20">
                  <c:v>0.08624229979466119</c:v>
                </c:pt>
                <c:pt idx="21">
                  <c:v>0.052884615384615384</c:v>
                </c:pt>
                <c:pt idx="22">
                  <c:v>0.05113636363636364</c:v>
                </c:pt>
                <c:pt idx="23">
                  <c:v>0.05362776025236593</c:v>
                </c:pt>
                <c:pt idx="24">
                  <c:v>0.06613756613756613</c:v>
                </c:pt>
                <c:pt idx="25">
                  <c:v>0.03225806451612903</c:v>
                </c:pt>
                <c:pt idx="26">
                  <c:v>0.0291005291005291</c:v>
                </c:pt>
                <c:pt idx="27">
                  <c:v>0.04132231404958678</c:v>
                </c:pt>
                <c:pt idx="28">
                  <c:v>0.03836317135549872</c:v>
                </c:pt>
                <c:pt idx="29">
                  <c:v>0.03248259860788863</c:v>
                </c:pt>
                <c:pt idx="30">
                  <c:v>0.01834862385321101</c:v>
                </c:pt>
                <c:pt idx="31">
                  <c:v>0.017793594306049824</c:v>
                </c:pt>
                <c:pt idx="32">
                  <c:v>0.020833333333333332</c:v>
                </c:pt>
                <c:pt idx="33">
                  <c:v>0.030726256983240222</c:v>
                </c:pt>
                <c:pt idx="34">
                  <c:v>0.01240694789081886</c:v>
                </c:pt>
                <c:pt idx="35">
                  <c:v>0.004291845493562232</c:v>
                </c:pt>
                <c:pt idx="36">
                  <c:v>0.008620689655172414</c:v>
                </c:pt>
                <c:pt idx="37">
                  <c:v>0.05555555555555555</c:v>
                </c:pt>
                <c:pt idx="38">
                  <c:v>0.046052631578947366</c:v>
                </c:pt>
                <c:pt idx="39">
                  <c:v>0.03825136612021858</c:v>
                </c:pt>
                <c:pt idx="40">
                  <c:v>0.0026954177897574125</c:v>
                </c:pt>
                <c:pt idx="41">
                  <c:v>0.006024096385542169</c:v>
                </c:pt>
                <c:pt idx="42">
                  <c:v>0.005390835579514825</c:v>
                </c:pt>
                <c:pt idx="43">
                  <c:v>0.002380952380952381</c:v>
                </c:pt>
                <c:pt idx="44">
                  <c:v>0.0035087719298245615</c:v>
                </c:pt>
                <c:pt idx="45">
                  <c:v>0.0012135922330097086</c:v>
                </c:pt>
                <c:pt idx="46">
                  <c:v>0.0009057971014492754</c:v>
                </c:pt>
                <c:pt idx="47">
                  <c:v>0.00303951367781155</c:v>
                </c:pt>
                <c:pt idx="48">
                  <c:v>0.0027472527472527475</c:v>
                </c:pt>
              </c:numCache>
            </c:numRef>
          </c:yVal>
          <c:smooth val="0"/>
          <c:extLst>
            <c:ext xmlns:c16="http://schemas.microsoft.com/office/drawing/2014/chart" uri="{C3380CC4-5D6E-409C-BE32-E72D297353CC}">
              <c16:uniqueId val="{00000000-096C-4121-9522-6AB7243CCAAE}"/>
            </c:ext>
          </c:extLst>
        </c:ser>
        <c:ser>
          <c:idx val="1"/>
          <c:order val="1"/>
          <c:tx>
            <c:strRef>
              <c:f>Sheet1!$B$5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5:$A$56</c:f>
              <c:numCache>
                <c:formatCode>General</c:formatCode>
                <c:ptCount val="2"/>
                <c:pt idx="0">
                  <c:v>0</c:v>
                </c:pt>
                <c:pt idx="1">
                  <c:v>0.10385580887762867</c:v>
                </c:pt>
              </c:numCache>
            </c:numRef>
          </c:xVal>
          <c:yVal>
            <c:numRef>
              <c:f>Sheet1!$B$55:$B$56</c:f>
              <c:numCache>
                <c:formatCode>General</c:formatCode>
                <c:ptCount val="2"/>
                <c:pt idx="0">
                  <c:v>0.10385580887762867</c:v>
                </c:pt>
                <c:pt idx="1">
                  <c:v>0.10385580887762867</c:v>
                </c:pt>
              </c:numCache>
            </c:numRef>
          </c:yVal>
          <c:smooth val="0"/>
          <c:extLst>
            <c:ext xmlns:c16="http://schemas.microsoft.com/office/drawing/2014/chart" uri="{C3380CC4-5D6E-409C-BE32-E72D297353CC}">
              <c16:uniqueId val="{00000005-096C-4121-9522-6AB7243CCAAE}"/>
            </c:ext>
          </c:extLst>
        </c:ser>
        <c:ser>
          <c:idx val="3"/>
          <c:order val="3"/>
          <c:tx>
            <c:strRef>
              <c:f>Sheet1!$B$5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0.10385580887762867</c:v>
                </c:pt>
                <c:pt idx="1">
                  <c:v>0.10385580887762867</c:v>
                </c:pt>
              </c:numCache>
            </c:numRef>
          </c:xVal>
          <c:yVal>
            <c:numRef>
              <c:f>Sheet1!$B$59:$B$60</c:f>
              <c:numCache>
                <c:formatCode>General</c:formatCode>
                <c:ptCount val="2"/>
                <c:pt idx="0">
                  <c:v>0.1038558088776286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2</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3:$A$65</c:f>
              <c:numCache>
                <c:formatCode>General</c:formatCode>
                <c:ptCount val="3"/>
                <c:pt idx="0">
                  <c:v>0</c:v>
                </c:pt>
                <c:pt idx="1">
                  <c:v>0.10385580887762867</c:v>
                </c:pt>
                <c:pt idx="2">
                  <c:v>0</c:v>
                </c:pt>
              </c:numCache>
            </c:numRef>
          </c:xVal>
          <c:yVal>
            <c:numRef>
              <c:f>Sheet1!$B$63:$B$65</c:f>
              <c:numCache>
                <c:formatCode>General</c:formatCode>
                <c:ptCount val="3"/>
                <c:pt idx="0">
                  <c:v>0</c:v>
                </c:pt>
                <c:pt idx="1">
                  <c:v>0.10385580887762867</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35687263556116"/>
          <c:min val="0.000724637681159420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550.6842</c:v>
                </c:pt>
                <c:pt idx="1">
                  <c:v>549.8131</c:v>
                </c:pt>
                <c:pt idx="2">
                  <c:v>551.9785</c:v>
                </c:pt>
                <c:pt idx="3">
                  <c:v>552.8444</c:v>
                </c:pt>
                <c:pt idx="4">
                  <c:v>545.3377</c:v>
                </c:pt>
                <c:pt idx="5">
                  <c:v>553.3878</c:v>
                </c:pt>
                <c:pt idx="6">
                  <c:v>530.8222</c:v>
                </c:pt>
                <c:pt idx="7">
                  <c:v>511.4</c:v>
                </c:pt>
                <c:pt idx="8">
                  <c:v>513.0</c:v>
                </c:pt>
                <c:pt idx="9">
                  <c:v>515.5676</c:v>
                </c:pt>
                <c:pt idx="10">
                  <c:v>514.5758</c:v>
                </c:pt>
                <c:pt idx="11">
                  <c:v>510.6522</c:v>
                </c:pt>
                <c:pt idx="12">
                  <c:v>508.0</c:v>
                </c:pt>
                <c:pt idx="13">
                  <c:v>515.6667</c:v>
                </c:pt>
                <c:pt idx="14">
                  <c:v>515.0471</c:v>
                </c:pt>
                <c:pt idx="15">
                  <c:v>513.9381</c:v>
                </c:pt>
                <c:pt idx="16">
                  <c:v>508.5652</c:v>
                </c:pt>
                <c:pt idx="17">
                  <c:v>514.5625</c:v>
                </c:pt>
                <c:pt idx="18">
                  <c:v>505.0923</c:v>
                </c:pt>
                <c:pt idx="19">
                  <c:v>515.2821</c:v>
                </c:pt>
                <c:pt idx="20">
                  <c:v>506.5952</c:v>
                </c:pt>
                <c:pt idx="21">
                  <c:v>511.2273</c:v>
                </c:pt>
                <c:pt idx="22">
                  <c:v>519.8889</c:v>
                </c:pt>
                <c:pt idx="23">
                  <c:v>491.9412</c:v>
                </c:pt>
                <c:pt idx="24">
                  <c:v>460.28</c:v>
                </c:pt>
                <c:pt idx="25">
                  <c:v>502.2</c:v>
                </c:pt>
                <c:pt idx="26">
                  <c:v>501.0</c:v>
                </c:pt>
                <c:pt idx="27">
                  <c:v>481.6667</c:v>
                </c:pt>
                <c:pt idx="28">
                  <c:v>520.8</c:v>
                </c:pt>
                <c:pt idx="29">
                  <c:v>496.0</c:v>
                </c:pt>
                <c:pt idx="30">
                  <c:v>558.0</c:v>
                </c:pt>
                <c:pt idx="31">
                  <c:v>558.0</c:v>
                </c:pt>
                <c:pt idx="32">
                  <c:v>511.5</c:v>
                </c:pt>
                <c:pt idx="33">
                  <c:v>532.6364</c:v>
                </c:pt>
                <c:pt idx="34">
                  <c:v>558.0</c:v>
                </c:pt>
                <c:pt idx="35">
                  <c:v>418.5</c:v>
                </c:pt>
                <c:pt idx="36">
                  <c:v>465.0</c:v>
                </c:pt>
                <c:pt idx="37">
                  <c:v>310.2353</c:v>
                </c:pt>
                <c:pt idx="38">
                  <c:v>273.2143</c:v>
                </c:pt>
                <c:pt idx="39">
                  <c:v>251.0</c:v>
                </c:pt>
                <c:pt idx="40">
                  <c:v>306.0</c:v>
                </c:pt>
                <c:pt idx="41">
                  <c:v>229.5</c:v>
                </c:pt>
                <c:pt idx="42">
                  <c:v>229.5</c:v>
                </c:pt>
                <c:pt idx="43">
                  <c:v>153.0</c:v>
                </c:pt>
                <c:pt idx="44">
                  <c:v>221.5</c:v>
                </c:pt>
                <c:pt idx="45">
                  <c:v>153.0</c:v>
                </c:pt>
                <c:pt idx="46">
                  <c:v>153.0</c:v>
                </c:pt>
                <c:pt idx="47">
                  <c:v>83.0</c:v>
                </c:pt>
                <c:pt idx="48">
                  <c:v>83.0</c:v>
                </c:pt>
              </c:numCache>
            </c:numRef>
          </c:xVal>
          <c:yVal>
            <c:numRef>
              <c:f>Sheet1!$B$2:$B$50</c:f>
              <c:numCache>
                <c:formatCode>General</c:formatCode>
                <c:ptCount val="49"/>
                <c:pt idx="0">
                  <c:v>0.1441578148710167</c:v>
                </c:pt>
                <c:pt idx="1">
                  <c:v>0.1479944674965422</c:v>
                </c:pt>
                <c:pt idx="2">
                  <c:v>0.1220472440944882</c:v>
                </c:pt>
                <c:pt idx="3">
                  <c:v>0.11349306431273644</c:v>
                </c:pt>
                <c:pt idx="4">
                  <c:v>0.11846153846153847</c:v>
                </c:pt>
                <c:pt idx="5">
                  <c:v>0.07928802588996764</c:v>
                </c:pt>
                <c:pt idx="6">
                  <c:v>0.0680786686838124</c:v>
                </c:pt>
                <c:pt idx="7">
                  <c:v>0.06912442396313365</c:v>
                </c:pt>
                <c:pt idx="8">
                  <c:v>0.0706896551724138</c:v>
                </c:pt>
                <c:pt idx="9">
                  <c:v>0.05401459854014599</c:v>
                </c:pt>
                <c:pt idx="10">
                  <c:v>0.04263565891472868</c:v>
                </c:pt>
                <c:pt idx="11">
                  <c:v>0.02832512315270936</c:v>
                </c:pt>
                <c:pt idx="12">
                  <c:v>0.022946859903381644</c:v>
                </c:pt>
                <c:pt idx="13">
                  <c:v>0.02097902097902098</c:v>
                </c:pt>
                <c:pt idx="14">
                  <c:v>0.21557562076749437</c:v>
                </c:pt>
                <c:pt idx="15">
                  <c:v>0.244640605296343</c:v>
                </c:pt>
                <c:pt idx="16">
                  <c:v>0.20145985401459854</c:v>
                </c:pt>
                <c:pt idx="17">
                  <c:v>0.14492753623188406</c:v>
                </c:pt>
                <c:pt idx="18">
                  <c:v>0.14285714285714285</c:v>
                </c:pt>
                <c:pt idx="19">
                  <c:v>0.09263657957244656</c:v>
                </c:pt>
                <c:pt idx="20">
                  <c:v>0.08624229979466119</c:v>
                </c:pt>
                <c:pt idx="21">
                  <c:v>0.052884615384615384</c:v>
                </c:pt>
                <c:pt idx="22">
                  <c:v>0.05113636363636364</c:v>
                </c:pt>
                <c:pt idx="23">
                  <c:v>0.05362776025236593</c:v>
                </c:pt>
                <c:pt idx="24">
                  <c:v>0.06613756613756613</c:v>
                </c:pt>
                <c:pt idx="25">
                  <c:v>0.03225806451612903</c:v>
                </c:pt>
                <c:pt idx="26">
                  <c:v>0.0291005291005291</c:v>
                </c:pt>
                <c:pt idx="27">
                  <c:v>0.04132231404958678</c:v>
                </c:pt>
                <c:pt idx="28">
                  <c:v>0.03836317135549872</c:v>
                </c:pt>
                <c:pt idx="29">
                  <c:v>0.03248259860788863</c:v>
                </c:pt>
                <c:pt idx="30">
                  <c:v>0.01834862385321101</c:v>
                </c:pt>
                <c:pt idx="31">
                  <c:v>0.017793594306049824</c:v>
                </c:pt>
                <c:pt idx="32">
                  <c:v>0.020833333333333332</c:v>
                </c:pt>
                <c:pt idx="33">
                  <c:v>0.030726256983240222</c:v>
                </c:pt>
                <c:pt idx="34">
                  <c:v>0.01240694789081886</c:v>
                </c:pt>
                <c:pt idx="35">
                  <c:v>0.004291845493562232</c:v>
                </c:pt>
                <c:pt idx="36">
                  <c:v>0.008620689655172414</c:v>
                </c:pt>
                <c:pt idx="37">
                  <c:v>0.05555555555555555</c:v>
                </c:pt>
                <c:pt idx="38">
                  <c:v>0.046052631578947366</c:v>
                </c:pt>
                <c:pt idx="39">
                  <c:v>0.03825136612021858</c:v>
                </c:pt>
                <c:pt idx="40">
                  <c:v>0.0026954177897574125</c:v>
                </c:pt>
                <c:pt idx="41">
                  <c:v>0.006024096385542169</c:v>
                </c:pt>
                <c:pt idx="42">
                  <c:v>0.005390835579514825</c:v>
                </c:pt>
                <c:pt idx="43">
                  <c:v>0.002380952380952381</c:v>
                </c:pt>
                <c:pt idx="44">
                  <c:v>0.0035087719298245615</c:v>
                </c:pt>
                <c:pt idx="45">
                  <c:v>0.0012135922330097086</c:v>
                </c:pt>
                <c:pt idx="46">
                  <c:v>0.0009057971014492754</c:v>
                </c:pt>
                <c:pt idx="47">
                  <c:v>0.00303951367781155</c:v>
                </c:pt>
                <c:pt idx="48">
                  <c:v>0.0027472527472527475</c:v>
                </c:pt>
              </c:numCache>
            </c:numRef>
          </c:yVal>
          <c:smooth val="0"/>
          <c:extLst>
            <c:ext xmlns:c16="http://schemas.microsoft.com/office/drawing/2014/chart" uri="{C3380CC4-5D6E-409C-BE32-E72D297353CC}">
              <c16:uniqueId val="{00000000-F32D-48B7-BC20-E66FC6253BAD}"/>
            </c:ext>
          </c:extLst>
        </c:ser>
        <c:ser>
          <c:idx val="1"/>
          <c:order val="1"/>
          <c:tx>
            <c:strRef>
              <c:f>Sheet1!$B$5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4</c:f>
              <c:strCache>
                <c:ptCount val="1"/>
                <c:pt idx="0">
                  <c:v>Custom Linep3yQ</c:v>
                </c:pt>
              </c:strCache>
            </c:strRef>
          </c:tx>
          <c:spPr>
            <a:ln w="19050" cap="rnd">
              <a:solidFill>
                <a:srgbClr val="C00000"/>
              </a:solidFill>
              <a:prstDash val="sysDot"/>
              <a:round/>
            </a:ln>
            <a:effectLst/>
          </c:spPr>
          <c:marker>
            <c:symbol val="none"/>
          </c:marker>
          <c:xVal>
            <c:numRef>
              <c:f>Sheet1!$A$55:$A$56</c:f>
              <c:numCache>
                <c:formatCode>General</c:formatCode>
                <c:ptCount val="2"/>
                <c:pt idx="0">
                  <c:v>0</c:v>
                </c:pt>
                <c:pt idx="1">
                  <c:v>0.10385580887762867</c:v>
                </c:pt>
              </c:numCache>
            </c:numRef>
          </c:xVal>
          <c:yVal>
            <c:numRef>
              <c:f>Sheet1!$B$55:$B$56</c:f>
              <c:numCache>
                <c:formatCode>General</c:formatCode>
                <c:ptCount val="2"/>
                <c:pt idx="0">
                  <c:v>0.10385580887762867</c:v>
                </c:pt>
                <c:pt idx="1">
                  <c:v>0.10385580887762867</c:v>
                </c:pt>
              </c:numCache>
            </c:numRef>
          </c:yVal>
          <c:smooth val="0"/>
          <c:extLst>
            <c:ext xmlns:c16="http://schemas.microsoft.com/office/drawing/2014/chart" uri="{C3380CC4-5D6E-409C-BE32-E72D297353CC}">
              <c16:uniqueId val="{00000003-F32D-48B7-BC20-E66FC6253BAD}"/>
            </c:ext>
          </c:extLst>
        </c:ser>
        <c:ser>
          <c:idx val="3"/>
          <c:order val="3"/>
          <c:tx>
            <c:strRef>
              <c:f>Sheet1!$B$5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0.10385580887762867</c:v>
                </c:pt>
                <c:pt idx="1">
                  <c:v>0.10385580887762867</c:v>
                </c:pt>
              </c:numCache>
            </c:numRef>
          </c:xVal>
          <c:yVal>
            <c:numRef>
              <c:f>Sheet1!$B$59:$B$60</c:f>
              <c:numCache>
                <c:formatCode>General</c:formatCode>
                <c:ptCount val="2"/>
                <c:pt idx="0">
                  <c:v>0.1038558088776286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2</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3:$A$65</c:f>
              <c:numCache>
                <c:formatCode>General</c:formatCode>
                <c:ptCount val="3"/>
                <c:pt idx="0">
                  <c:v>0</c:v>
                </c:pt>
                <c:pt idx="1">
                  <c:v>0.10385580887762867</c:v>
                </c:pt>
                <c:pt idx="2">
                  <c:v>0</c:v>
                </c:pt>
              </c:numCache>
            </c:numRef>
          </c:xVal>
          <c:yVal>
            <c:numRef>
              <c:f>Sheet1!$B$63:$B$65</c:f>
              <c:numCache>
                <c:formatCode>General</c:formatCode>
                <c:ptCount val="3"/>
                <c:pt idx="0">
                  <c:v>0</c:v>
                </c:pt>
                <c:pt idx="1">
                  <c:v>0.10385580887762867</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35687263556116"/>
          <c:min val="0.000724637681159420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0.46167265421870296</c:v>
                </c:pt>
                <c:pt idx="1">
                  <c:v>0.40868413519230196</c:v>
                </c:pt>
                <c:pt idx="2">
                  <c:v>0.4402798882702621</c:v>
                </c:pt>
                <c:pt idx="3">
                  <c:v>0.40403587473419994</c:v>
                </c:pt>
                <c:pt idx="4">
                  <c:v>0.39844927303255545</c:v>
                </c:pt>
                <c:pt idx="5">
                  <c:v>0.3843190650245979</c:v>
                </c:pt>
                <c:pt idx="6">
                  <c:v>0.4688799201943406</c:v>
                </c:pt>
                <c:pt idx="7">
                  <c:v>0.431768980016175</c:v>
                </c:pt>
                <c:pt idx="8">
                  <c:v>0.49654331953862096</c:v>
                </c:pt>
                <c:pt idx="9">
                  <c:v>0.4020464600244624</c:v>
                </c:pt>
                <c:pt idx="10">
                  <c:v>0.397807740024628</c:v>
                </c:pt>
                <c:pt idx="11">
                  <c:v>0.4305566386601664</c:v>
                </c:pt>
                <c:pt idx="12">
                  <c:v>0.4475928515324711</c:v>
                </c:pt>
                <c:pt idx="13">
                  <c:v>0.3858263488894069</c:v>
                </c:pt>
                <c:pt idx="14">
                  <c:v>0.5564232409691328</c:v>
                </c:pt>
                <c:pt idx="15">
                  <c:v>0.49636187591434733</c:v>
                </c:pt>
                <c:pt idx="16">
                  <c:v>0.4368062736363452</c:v>
                </c:pt>
                <c:pt idx="17">
                  <c:v>0.49497195271092864</c:v>
                </c:pt>
                <c:pt idx="18">
                  <c:v>0.3906268296338624</c:v>
                </c:pt>
                <c:pt idx="19">
                  <c:v>0.41352820305104093</c:v>
                </c:pt>
                <c:pt idx="20">
                  <c:v>0.49534225998812736</c:v>
                </c:pt>
                <c:pt idx="21">
                  <c:v>0.47531728481646</c:v>
                </c:pt>
                <c:pt idx="22">
                  <c:v>0.4706447556758363</c:v>
                </c:pt>
                <c:pt idx="23">
                  <c:v>0.3742034561564855</c:v>
                </c:pt>
                <c:pt idx="24">
                  <c:v>0.52232210958706</c:v>
                </c:pt>
                <c:pt idx="25">
                  <c:v>0.4517672313275003</c:v>
                </c:pt>
                <c:pt idx="26">
                  <c:v>0.4139999228970308</c:v>
                </c:pt>
                <c:pt idx="27">
                  <c:v>0.3816024327361671</c:v>
                </c:pt>
                <c:pt idx="28">
                  <c:v>0.5375892815155138</c:v>
                </c:pt>
                <c:pt idx="29">
                  <c:v>0.45441217483574825</c:v>
                </c:pt>
                <c:pt idx="30">
                  <c:v>0.48284234676079446</c:v>
                </c:pt>
                <c:pt idx="31">
                  <c:v>0.4168170759117066</c:v>
                </c:pt>
                <c:pt idx="32">
                  <c:v>0.4365055370057696</c:v>
                </c:pt>
                <c:pt idx="33">
                  <c:v>0.44906146665900526</c:v>
                </c:pt>
                <c:pt idx="34">
                  <c:v>0.4193199130513651</c:v>
                </c:pt>
                <c:pt idx="35">
                  <c:v>0.4464175632528776</c:v>
                </c:pt>
                <c:pt idx="36">
                  <c:v>0.4153298645095654</c:v>
                </c:pt>
                <c:pt idx="37">
                  <c:v>0.45726064509713016</c:v>
                </c:pt>
                <c:pt idx="38">
                  <c:v>0.3945743601316913</c:v>
                </c:pt>
                <c:pt idx="39">
                  <c:v>0.4369419644946487</c:v>
                </c:pt>
                <c:pt idx="40">
                  <c:v>0.4208193098865414</c:v>
                </c:pt>
                <c:pt idx="41">
                  <c:v>0.41624860169828076</c:v>
                </c:pt>
                <c:pt idx="42">
                  <c:v>0.4343997846100777</c:v>
                </c:pt>
                <c:pt idx="43">
                  <c:v>0.46406362147189273</c:v>
                </c:pt>
                <c:pt idx="44">
                  <c:v>0.4648726114079505</c:v>
                </c:pt>
                <c:pt idx="45">
                  <c:v>0.4041306411506828</c:v>
                </c:pt>
                <c:pt idx="46">
                  <c:v>0.44044151332429465</c:v>
                </c:pt>
                <c:pt idx="47">
                  <c:v>0.4666765196614874</c:v>
                </c:pt>
                <c:pt idx="48">
                  <c:v>0.4351362942966502</c:v>
                </c:pt>
                <c:pt idx="49">
                  <c:v>0.4190378542457192</c:v>
                </c:pt>
                <c:pt idx="50">
                  <c:v>0.44775408629438196</c:v>
                </c:pt>
                <c:pt idx="51">
                  <c:v>0.4102457320680372</c:v>
                </c:pt>
                <c:pt idx="52">
                  <c:v>0.43234938478099044</c:v>
                </c:pt>
                <c:pt idx="53">
                  <c:v>0.46202735792563626</c:v>
                </c:pt>
                <c:pt idx="54">
                  <c:v>0.47632950418859654</c:v>
                </c:pt>
                <c:pt idx="55">
                  <c:v>0.416411948846317</c:v>
                </c:pt>
                <c:pt idx="56">
                  <c:v>0.4110306505514387</c:v>
                </c:pt>
                <c:pt idx="57">
                  <c:v>0.39317729083665337</c:v>
                </c:pt>
                <c:pt idx="58">
                  <c:v>0.4411213120298702</c:v>
                </c:pt>
                <c:pt idx="59">
                  <c:v>0.476479190997447</c:v>
                </c:pt>
                <c:pt idx="60">
                  <c:v>0.438974200409606</c:v>
                </c:pt>
                <c:pt idx="61">
                  <c:v>0.4088997407830775</c:v>
                </c:pt>
                <c:pt idx="62">
                  <c:v>0.36494167625471574</c:v>
                </c:pt>
                <c:pt idx="63">
                  <c:v>0.395878519362528</c:v>
                </c:pt>
                <c:pt idx="64">
                  <c:v>0.3726516693111315</c:v>
                </c:pt>
                <c:pt idx="65">
                  <c:v>0.5248872895637734</c:v>
                </c:pt>
                <c:pt idx="66">
                  <c:v>0.5167026815565718</c:v>
                </c:pt>
                <c:pt idx="67">
                  <c:v>0.6888076231040355</c:v>
                </c:pt>
                <c:pt idx="68">
                  <c:v>0.5742538687126881</c:v>
                </c:pt>
                <c:pt idx="69">
                  <c:v>0.5664649300582322</c:v>
                </c:pt>
                <c:pt idx="70">
                  <c:v>0.39092313462820033</c:v>
                </c:pt>
                <c:pt idx="71">
                  <c:v>0.5528953345135136</c:v>
                </c:pt>
                <c:pt idx="72">
                  <c:v>0.4411013876668638</c:v>
                </c:pt>
                <c:pt idx="73">
                  <c:v>0.434321005228836</c:v>
                </c:pt>
                <c:pt idx="74">
                  <c:v>0.44064152159812287</c:v>
                </c:pt>
                <c:pt idx="75">
                  <c:v>0.5466218006276562</c:v>
                </c:pt>
                <c:pt idx="76">
                  <c:v>0.39232507447059595</c:v>
                </c:pt>
                <c:pt idx="77">
                  <c:v>0.546221188173492</c:v>
                </c:pt>
                <c:pt idx="78">
                  <c:v>0.4353203700493777</c:v>
                </c:pt>
                <c:pt idx="79">
                  <c:v>0.4497492925628918</c:v>
                </c:pt>
                <c:pt idx="80">
                  <c:v>0.6750333470570765</c:v>
                </c:pt>
                <c:pt idx="81">
                  <c:v>0.4601208406051712</c:v>
                </c:pt>
                <c:pt idx="82">
                  <c:v>0.3297437666184317</c:v>
                </c:pt>
                <c:pt idx="83">
                  <c:v>0.3893728351148258</c:v>
                </c:pt>
                <c:pt idx="84">
                  <c:v>0.5562757402835129</c:v>
                </c:pt>
                <c:pt idx="85">
                  <c:v>0.43293924515148796</c:v>
                </c:pt>
                <c:pt idx="86">
                  <c:v>0.3966667912022325</c:v>
                </c:pt>
                <c:pt idx="87">
                  <c:v>0.5581449009132019</c:v>
                </c:pt>
                <c:pt idx="88">
                  <c:v>0.4427845879335929</c:v>
                </c:pt>
                <c:pt idx="89">
                  <c:v>0.32774291196232963</c:v>
                </c:pt>
                <c:pt idx="90">
                  <c:v>0.6610119324811825</c:v>
                </c:pt>
                <c:pt idx="91">
                  <c:v>0.43055143798029555</c:v>
                </c:pt>
                <c:pt idx="92">
                  <c:v>0.43221455902521727</c:v>
                </c:pt>
                <c:pt idx="93">
                  <c:v>0.4312715361688977</c:v>
                </c:pt>
                <c:pt idx="94">
                  <c:v>0.552693701407131</c:v>
                </c:pt>
                <c:pt idx="95">
                  <c:v>0.33020863120435623</c:v>
                </c:pt>
                <c:pt idx="96">
                  <c:v>0.3876351323988973</c:v>
                </c:pt>
                <c:pt idx="97">
                  <c:v>0.44821869026623995</c:v>
                </c:pt>
                <c:pt idx="98">
                  <c:v>0.32369154276848366</c:v>
                </c:pt>
                <c:pt idx="99">
                  <c:v>0.33131330988332824</c:v>
                </c:pt>
              </c:numCache>
            </c:numRef>
          </c:xVal>
          <c:yVal>
            <c:numRef>
              <c:f>Sheet1!$B$2:$B$101</c:f>
              <c:numCache>
                <c:formatCode>General</c:formatCode>
                <c:ptCount val="100"/>
                <c:pt idx="0">
                  <c:v>0.005532503457814661</c:v>
                </c:pt>
                <c:pt idx="1">
                  <c:v>0.006561679790026247</c:v>
                </c:pt>
                <c:pt idx="2">
                  <c:v>0.007566204287515763</c:v>
                </c:pt>
                <c:pt idx="3">
                  <c:v>0.006153846153846154</c:v>
                </c:pt>
                <c:pt idx="4">
                  <c:v>0.0048543689320388345</c:v>
                </c:pt>
                <c:pt idx="5">
                  <c:v>0.007564296520423601</c:v>
                </c:pt>
                <c:pt idx="6">
                  <c:v>0.004608294930875576</c:v>
                </c:pt>
                <c:pt idx="7">
                  <c:v>0.005172413793103448</c:v>
                </c:pt>
                <c:pt idx="8">
                  <c:v>0.00291970802919708</c:v>
                </c:pt>
                <c:pt idx="9">
                  <c:v>0.003875968992248062</c:v>
                </c:pt>
                <c:pt idx="10">
                  <c:v>0.0024630541871921183</c:v>
                </c:pt>
                <c:pt idx="11">
                  <c:v>0.0036231884057971015</c:v>
                </c:pt>
                <c:pt idx="12">
                  <c:v>0.004195804195804196</c:v>
                </c:pt>
                <c:pt idx="13">
                  <c:v>0.002257336343115124</c:v>
                </c:pt>
                <c:pt idx="14">
                  <c:v>0.0025220680958385876</c:v>
                </c:pt>
                <c:pt idx="15">
                  <c:v>0.00291970802919708</c:v>
                </c:pt>
                <c:pt idx="16">
                  <c:v>0.0036231884057971015</c:v>
                </c:pt>
                <c:pt idx="17">
                  <c:v>0.004395604395604396</c:v>
                </c:pt>
                <c:pt idx="18">
                  <c:v>0.004750593824228029</c:v>
                </c:pt>
                <c:pt idx="19">
                  <c:v>0.01026694045174538</c:v>
                </c:pt>
                <c:pt idx="20">
                  <c:v>0.009615384615384616</c:v>
                </c:pt>
                <c:pt idx="21">
                  <c:v>0.008522727272727272</c:v>
                </c:pt>
                <c:pt idx="22">
                  <c:v>0.00946372239747634</c:v>
                </c:pt>
                <c:pt idx="23">
                  <c:v>0.007936507936507936</c:v>
                </c:pt>
                <c:pt idx="24">
                  <c:v>0.0032258064516129032</c:v>
                </c:pt>
                <c:pt idx="25">
                  <c:v>0.007936507936507936</c:v>
                </c:pt>
                <c:pt idx="26">
                  <c:v>0.011019283746556474</c:v>
                </c:pt>
                <c:pt idx="27">
                  <c:v>0.010230179028132993</c:v>
                </c:pt>
                <c:pt idx="28">
                  <c:v>0.004640371229698376</c:v>
                </c:pt>
                <c:pt idx="29">
                  <c:v>0.01529051987767584</c:v>
                </c:pt>
                <c:pt idx="30">
                  <c:v>0.0071174377224199285</c:v>
                </c:pt>
                <c:pt idx="31">
                  <c:v>0.013888888888888888</c:v>
                </c:pt>
                <c:pt idx="32">
                  <c:v>0.01675977653631285</c:v>
                </c:pt>
                <c:pt idx="33">
                  <c:v>0.009925558312655087</c:v>
                </c:pt>
                <c:pt idx="34">
                  <c:v>0.02145922746781116</c:v>
                </c:pt>
                <c:pt idx="35">
                  <c:v>0.020114942528735632</c:v>
                </c:pt>
                <c:pt idx="36">
                  <c:v>0.032679738562091505</c:v>
                </c:pt>
                <c:pt idx="37">
                  <c:v>0.01644736842105263</c:v>
                </c:pt>
                <c:pt idx="38">
                  <c:v>0.01366120218579235</c:v>
                </c:pt>
                <c:pt idx="39">
                  <c:v>0.018867924528301886</c:v>
                </c:pt>
                <c:pt idx="40">
                  <c:v>0.02108433734939759</c:v>
                </c:pt>
                <c:pt idx="41">
                  <c:v>0.016172506738544475</c:v>
                </c:pt>
                <c:pt idx="42">
                  <c:v>0.02142857142857143</c:v>
                </c:pt>
                <c:pt idx="43">
                  <c:v>0.011857707509881422</c:v>
                </c:pt>
                <c:pt idx="44">
                  <c:v>0.009259259259259259</c:v>
                </c:pt>
                <c:pt idx="45">
                  <c:v>0.0106951871657754</c:v>
                </c:pt>
                <c:pt idx="46">
                  <c:v>0.005263157894736842</c:v>
                </c:pt>
                <c:pt idx="47">
                  <c:v>0.0048543689320388345</c:v>
                </c:pt>
                <c:pt idx="48">
                  <c:v>0.006340579710144928</c:v>
                </c:pt>
                <c:pt idx="49">
                  <c:v>0.01867572156196944</c:v>
                </c:pt>
                <c:pt idx="50">
                  <c:v>0.0136986301369863</c:v>
                </c:pt>
                <c:pt idx="51">
                  <c:v>0.010869565217391304</c:v>
                </c:pt>
                <c:pt idx="52">
                  <c:v>0.013651877133105802</c:v>
                </c:pt>
                <c:pt idx="53">
                  <c:v>0.013725490196078431</c:v>
                </c:pt>
                <c:pt idx="54">
                  <c:v>0.006564551422319475</c:v>
                </c:pt>
                <c:pt idx="55">
                  <c:v>0.01606425702811245</c:v>
                </c:pt>
                <c:pt idx="56">
                  <c:v>0.007434944237918215</c:v>
                </c:pt>
                <c:pt idx="57">
                  <c:v>0.006578947368421052</c:v>
                </c:pt>
                <c:pt idx="58">
                  <c:v>0.002288329519450801</c:v>
                </c:pt>
                <c:pt idx="59">
                  <c:v>0.0022598870056497176</c:v>
                </c:pt>
                <c:pt idx="60">
                  <c:v>0.0049079754601227</c:v>
                </c:pt>
                <c:pt idx="61">
                  <c:v>0.0038363171355498722</c:v>
                </c:pt>
                <c:pt idx="62">
                  <c:v>0.003468208092485549</c:v>
                </c:pt>
                <c:pt idx="63">
                  <c:v>0.0023014959723820483</c:v>
                </c:pt>
                <c:pt idx="64">
                  <c:v>0.007352941176470588</c:v>
                </c:pt>
                <c:pt idx="65">
                  <c:v>0.0016778523489932886</c:v>
                </c:pt>
                <c:pt idx="66">
                  <c:v>0.003418803418803419</c:v>
                </c:pt>
                <c:pt idx="67">
                  <c:v>0.0020920502092050207</c:v>
                </c:pt>
                <c:pt idx="68">
                  <c:v>0.00303951367781155</c:v>
                </c:pt>
                <c:pt idx="69">
                  <c:v>0.0027472527472527475</c:v>
                </c:pt>
                <c:pt idx="70">
                  <c:v>0.00546448087431694</c:v>
                </c:pt>
                <c:pt idx="71">
                  <c:v>0.0024875621890547263</c:v>
                </c:pt>
                <c:pt idx="72">
                  <c:v>0.005434782608695652</c:v>
                </c:pt>
                <c:pt idx="73">
                  <c:v>0.002932551319648094</c:v>
                </c:pt>
                <c:pt idx="74">
                  <c:v>0.006779661016949152</c:v>
                </c:pt>
                <c:pt idx="75">
                  <c:v>0.003401360544217687</c:v>
                </c:pt>
                <c:pt idx="76">
                  <c:v>0.007272727272727273</c:v>
                </c:pt>
                <c:pt idx="77">
                  <c:v>0.0040650406504065045</c:v>
                </c:pt>
                <c:pt idx="78">
                  <c:v>0.004166666666666667</c:v>
                </c:pt>
                <c:pt idx="79">
                  <c:v>0.0031746031746031746</c:v>
                </c:pt>
                <c:pt idx="80">
                  <c:v>0.004081632653061225</c:v>
                </c:pt>
                <c:pt idx="81">
                  <c:v>0.005</c:v>
                </c:pt>
                <c:pt idx="82">
                  <c:v>0.004629629629629629</c:v>
                </c:pt>
                <c:pt idx="83">
                  <c:v>0.0051813471502590676</c:v>
                </c:pt>
                <c:pt idx="84">
                  <c:v>0.0036101083032490976</c:v>
                </c:pt>
                <c:pt idx="85">
                  <c:v>0.007575757575757576</c:v>
                </c:pt>
                <c:pt idx="86">
                  <c:v>0.008</c:v>
                </c:pt>
                <c:pt idx="87">
                  <c:v>0.003875968992248062</c:v>
                </c:pt>
                <c:pt idx="88">
                  <c:v>0.0031446540880503146</c:v>
                </c:pt>
                <c:pt idx="89">
                  <c:v>0.003246753246753247</c:v>
                </c:pt>
                <c:pt idx="90">
                  <c:v>0.00392156862745098</c:v>
                </c:pt>
                <c:pt idx="91">
                  <c:v>0.002932551319648094</c:v>
                </c:pt>
                <c:pt idx="92">
                  <c:v>0.002369668246445498</c:v>
                </c:pt>
                <c:pt idx="93">
                  <c:v>0.0042643923240938165</c:v>
                </c:pt>
                <c:pt idx="94">
                  <c:v>0.0018115942028985507</c:v>
                </c:pt>
                <c:pt idx="95">
                  <c:v>0.001422475106685633</c:v>
                </c:pt>
                <c:pt idx="96">
                  <c:v>0.002105263157894737</c:v>
                </c:pt>
                <c:pt idx="97">
                  <c:v>0.0017921146953405018</c:v>
                </c:pt>
                <c:pt idx="98">
                  <c:v>0.0018796992481203006</c:v>
                </c:pt>
                <c:pt idx="99">
                  <c:v>0.00202020202020202</c:v>
                </c:pt>
              </c:numCache>
            </c:numRef>
          </c:yVal>
          <c:smooth val="0"/>
          <c:extLst>
            <c:ext xmlns:c16="http://schemas.microsoft.com/office/drawing/2014/chart" uri="{C3380CC4-5D6E-409C-BE32-E72D297353CC}">
              <c16:uniqueId val="{00000000-096C-4121-9522-6AB7243CCAAE}"/>
            </c:ext>
          </c:extLst>
        </c:ser>
        <c:ser>
          <c:idx val="1"/>
          <c:order val="1"/>
          <c:tx>
            <c:strRef>
              <c:f>Sheet1!$B$10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0.3411129480146139</c:v>
                </c:pt>
                <c:pt idx="4">
                  <c:v>0.32900428914163066</c:v>
                </c:pt>
                <c:pt idx="5">
                  <c:v>0.5323858291981659</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7189944448068187</c:v>
                </c:pt>
                <c:pt idx="23">
                  <c:v>0.0</c:v>
                </c:pt>
                <c:pt idx="24">
                  <c:v>0.5950491907331006</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019569471624266144</c:v>
                </c:pt>
                <c:pt idx="4">
                  <c:v>0.001834862385321101</c:v>
                </c:pt>
                <c:pt idx="5">
                  <c:v>0.001692047377326565</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23923444976076554</c:v>
                </c:pt>
                <c:pt idx="23">
                  <c:v>0.0</c:v>
                </c:pt>
                <c:pt idx="24">
                  <c:v>0.0049261083743842365</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096C-4121-9522-6AB7243CCAAE}"/>
            </c:ext>
          </c:extLst>
        </c:ser>
        <c:ser>
          <c:idx val="2"/>
          <c:order val="2"/>
          <c:tx>
            <c:strRef>
              <c:f>Sheet1!$B$13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0:$A$141</c:f>
              <c:numCache>
                <c:formatCode>General</c:formatCode>
                <c:ptCount val="2"/>
                <c:pt idx="0">
                  <c:v>0</c:v>
                </c:pt>
                <c:pt idx="1">
                  <c:v>3.417255139933591</c:v>
                </c:pt>
              </c:numCache>
            </c:numRef>
          </c:xVal>
          <c:yVal>
            <c:numRef>
              <c:f>Sheet1!$B$140:$B$141</c:f>
              <c:numCache>
                <c:formatCode>General</c:formatCode>
                <c:ptCount val="2"/>
                <c:pt idx="0">
                  <c:v>0.016845471618457813</c:v>
                </c:pt>
                <c:pt idx="1">
                  <c:v>0.016845471618457813</c:v>
                </c:pt>
              </c:numCache>
            </c:numRef>
          </c:yVal>
          <c:smooth val="0"/>
          <c:extLst>
            <c:ext xmlns:c16="http://schemas.microsoft.com/office/drawing/2014/chart" uri="{C3380CC4-5D6E-409C-BE32-E72D297353CC}">
              <c16:uniqueId val="{00000005-096C-4121-9522-6AB7243CCAAE}"/>
            </c:ext>
          </c:extLst>
        </c:ser>
        <c:ser>
          <c:idx val="3"/>
          <c:order val="3"/>
          <c:tx>
            <c:strRef>
              <c:f>Sheet1!$B$14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4:$A$145</c:f>
              <c:numCache>
                <c:formatCode>General</c:formatCode>
                <c:ptCount val="2"/>
                <c:pt idx="0">
                  <c:v>3.417255139933591</c:v>
                </c:pt>
                <c:pt idx="1">
                  <c:v>3.417255139933591</c:v>
                </c:pt>
              </c:numCache>
            </c:numRef>
          </c:xVal>
          <c:yVal>
            <c:numRef>
              <c:f>Sheet1!$B$144:$B$145</c:f>
              <c:numCache>
                <c:formatCode>General</c:formatCode>
                <c:ptCount val="2"/>
                <c:pt idx="0">
                  <c:v>0.01684547161845781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8:$A$149</c:f>
              <c:numCache>
                <c:formatCode>General</c:formatCode>
                <c:ptCount val="2"/>
                <c:pt idx="0">
                  <c:v>0</c:v>
                </c:pt>
                <c:pt idx="1">
                  <c:v>0.18311740796729709</c:v>
                </c:pt>
              </c:numCache>
            </c:numRef>
          </c:xVal>
          <c:yVal>
            <c:numRef>
              <c:f>Sheet1!$B$148:$B$149</c:f>
              <c:numCache>
                <c:formatCode>General</c:formatCode>
                <c:ptCount val="2"/>
                <c:pt idx="0">
                  <c:v>0.0009139761541790467</c:v>
                </c:pt>
                <c:pt idx="1">
                  <c:v>0.0009139761541790467</c:v>
                </c:pt>
              </c:numCache>
            </c:numRef>
          </c:yVal>
          <c:smooth val="0"/>
          <c:extLst>
            <c:ext xmlns:c16="http://schemas.microsoft.com/office/drawing/2014/chart" uri="{C3380CC4-5D6E-409C-BE32-E72D297353CC}">
              <c16:uniqueId val="{0000000D-096C-4121-9522-6AB7243CCAAE}"/>
            </c:ext>
          </c:extLst>
        </c:ser>
        <c:ser>
          <c:idx val="5"/>
          <c:order val="5"/>
          <c:tx>
            <c:strRef>
              <c:f>Sheet1!$B$15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2:$A$153</c:f>
              <c:numCache>
                <c:formatCode>General</c:formatCode>
                <c:ptCount val="2"/>
                <c:pt idx="0">
                  <c:v>0.18311740796729709</c:v>
                </c:pt>
                <c:pt idx="1">
                  <c:v>0.18311740796729709</c:v>
                </c:pt>
              </c:numCache>
            </c:numRef>
          </c:xVal>
          <c:yVal>
            <c:numRef>
              <c:f>Sheet1!$B$152:$B$153</c:f>
              <c:numCache>
                <c:formatCode>General</c:formatCode>
                <c:ptCount val="2"/>
                <c:pt idx="0">
                  <c:v>0.000913976154179046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6:$A$157</c:f>
              <c:numCache>
                <c:formatCode>General</c:formatCode>
                <c:ptCount val="2"/>
                <c:pt idx="0">
                  <c:v>0</c:v>
                </c:pt>
                <c:pt idx="1">
                  <c:v>-0.002422284334383205</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5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0:$A$161</c:f>
              <c:numCache>
                <c:formatCode>General</c:formatCode>
                <c:ptCount val="2"/>
                <c:pt idx="0">
                  <c:v>-0.002422284334383205</c:v>
                </c:pt>
                <c:pt idx="1">
                  <c:v>-0.002422284334383205</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4:$A$200</c:f>
              <c:numCache>
                <c:formatCode>General</c:formatCode>
                <c:ptCount val="37"/>
                <c:pt idx="0">
                  <c:v>0.0</c:v>
                </c:pt>
                <c:pt idx="1">
                  <c:v>0.0</c:v>
                </c:pt>
                <c:pt idx="2">
                  <c:v>0.0</c:v>
                </c:pt>
                <c:pt idx="3">
                  <c:v>0.3411129480146139</c:v>
                </c:pt>
                <c:pt idx="4">
                  <c:v>0.32900428914163066</c:v>
                </c:pt>
                <c:pt idx="5">
                  <c:v>0.5323858291981659</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7189944448068187</c:v>
                </c:pt>
                <c:pt idx="23">
                  <c:v>0.0</c:v>
                </c:pt>
                <c:pt idx="24">
                  <c:v>0.5950491907331006</c:v>
                </c:pt>
                <c:pt idx="25">
                  <c:v>0.0</c:v>
                </c:pt>
                <c:pt idx="26">
                  <c:v>0.0</c:v>
                </c:pt>
                <c:pt idx="27">
                  <c:v>0.0</c:v>
                </c:pt>
                <c:pt idx="28">
                  <c:v>0.0</c:v>
                </c:pt>
                <c:pt idx="29">
                  <c:v>0.0</c:v>
                </c:pt>
                <c:pt idx="30">
                  <c:v>0.0</c:v>
                </c:pt>
                <c:pt idx="31">
                  <c:v>0.0</c:v>
                </c:pt>
                <c:pt idx="32">
                  <c:v>0.0</c:v>
                </c:pt>
                <c:pt idx="33">
                  <c:v>0.0</c:v>
                </c:pt>
                <c:pt idx="34">
                  <c:v>0.18311740796729709</c:v>
                </c:pt>
                <c:pt idx="35">
                  <c:v>3.417255139933591</c:v>
                </c:pt>
                <c:pt idx="36">
                  <c:v>-0.002422284334383205</c:v>
                </c:pt>
              </c:numCache>
            </c:numRef>
          </c:xVal>
          <c:yVal>
            <c:numRef>
              <c:f>Sheet1!$B$164:$B$200</c:f>
              <c:numCache>
                <c:formatCode>General</c:formatCode>
                <c:ptCount val="37"/>
                <c:pt idx="0">
                  <c:v>1.1932272242146346e-05</c:v>
                </c:pt>
                <c:pt idx="1">
                  <c:v>1.1932272242146346e-05</c:v>
                </c:pt>
                <c:pt idx="2">
                  <c:v>1.1932272242146346e-05</c:v>
                </c:pt>
                <c:pt idx="3">
                  <c:v>0.0016922686816620216</c:v>
                </c:pt>
                <c:pt idx="4">
                  <c:v>0.0016326209301124467</c:v>
                </c:pt>
                <c:pt idx="5">
                  <c:v>0.002634486760037618</c:v>
                </c:pt>
                <c:pt idx="6">
                  <c:v>1.1932272242146346e-05</c:v>
                </c:pt>
                <c:pt idx="7">
                  <c:v>1.1932272242146346e-05</c:v>
                </c:pt>
                <c:pt idx="8">
                  <c:v>1.1932272242146346e-05</c:v>
                </c:pt>
                <c:pt idx="9">
                  <c:v>1.1932272242146346e-05</c:v>
                </c:pt>
                <c:pt idx="10">
                  <c:v>1.1932272242146346e-05</c:v>
                </c:pt>
                <c:pt idx="11">
                  <c:v>1.1932272242146346e-05</c:v>
                </c:pt>
                <c:pt idx="12">
                  <c:v>1.1932272242146346e-05</c:v>
                </c:pt>
                <c:pt idx="13">
                  <c:v>1.1932272242146346e-05</c:v>
                </c:pt>
                <c:pt idx="14">
                  <c:v>1.1932272242146346e-05</c:v>
                </c:pt>
                <c:pt idx="15">
                  <c:v>1.1932272242146346e-05</c:v>
                </c:pt>
                <c:pt idx="16">
                  <c:v>1.1932272242146346e-05</c:v>
                </c:pt>
                <c:pt idx="17">
                  <c:v>1.1932272242146346e-05</c:v>
                </c:pt>
                <c:pt idx="18">
                  <c:v>1.1932272242146346e-05</c:v>
                </c:pt>
                <c:pt idx="19">
                  <c:v>1.1932272242146346e-05</c:v>
                </c:pt>
                <c:pt idx="20">
                  <c:v>1.1932272242146346e-05</c:v>
                </c:pt>
                <c:pt idx="21">
                  <c:v>1.1932272242146346e-05</c:v>
                </c:pt>
                <c:pt idx="22">
                  <c:v>0.0035537284743838693</c:v>
                </c:pt>
                <c:pt idx="23">
                  <c:v>1.1932272242146346e-05</c:v>
                </c:pt>
                <c:pt idx="24">
                  <c:v>0.0029431690558479797</c:v>
                </c:pt>
                <c:pt idx="25">
                  <c:v>1.1932272242146346e-05</c:v>
                </c:pt>
                <c:pt idx="26">
                  <c:v>1.1932272242146346e-05</c:v>
                </c:pt>
                <c:pt idx="27">
                  <c:v>1.1932272242146346e-05</c:v>
                </c:pt>
                <c:pt idx="28">
                  <c:v>1.1932272242146346e-05</c:v>
                </c:pt>
                <c:pt idx="29">
                  <c:v>1.1932272242146346e-05</c:v>
                </c:pt>
                <c:pt idx="30">
                  <c:v>1.1932272242146346e-05</c:v>
                </c:pt>
                <c:pt idx="31">
                  <c:v>1.1932272242146346e-05</c:v>
                </c:pt>
                <c:pt idx="32">
                  <c:v>1.1932272242146346e-05</c:v>
                </c:pt>
                <c:pt idx="33">
                  <c:v>1.1932272242146346e-05</c:v>
                </c:pt>
                <c:pt idx="34">
                  <c:v>0.0009139761541790467</c:v>
                </c:pt>
                <c:pt idx="35">
                  <c:v>0.016845471618457813</c:v>
                </c:pt>
                <c:pt idx="36">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9215686274509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1244.25</c:v>
                </c:pt>
                <c:pt idx="1">
                  <c:v>1116.4</c:v>
                </c:pt>
                <c:pt idx="2">
                  <c:v>1214.8333</c:v>
                </c:pt>
                <c:pt idx="3">
                  <c:v>1106.5</c:v>
                </c:pt>
                <c:pt idx="4">
                  <c:v>1102.0</c:v>
                </c:pt>
                <c:pt idx="5">
                  <c:v>1050.4</c:v>
                </c:pt>
                <c:pt idx="6">
                  <c:v>1291.6667</c:v>
                </c:pt>
                <c:pt idx="7">
                  <c:v>1199.6667</c:v>
                </c:pt>
                <c:pt idx="8">
                  <c:v>1377.5</c:v>
                </c:pt>
                <c:pt idx="9">
                  <c:v>1108.0</c:v>
                </c:pt>
                <c:pt idx="10">
                  <c:v>1102.0</c:v>
                </c:pt>
                <c:pt idx="11">
                  <c:v>1193.6667</c:v>
                </c:pt>
                <c:pt idx="12">
                  <c:v>1253.3333</c:v>
                </c:pt>
                <c:pt idx="13">
                  <c:v>1081.5</c:v>
                </c:pt>
                <c:pt idx="14">
                  <c:v>1532.5</c:v>
                </c:pt>
                <c:pt idx="15">
                  <c:v>1381.0</c:v>
                </c:pt>
                <c:pt idx="16">
                  <c:v>1225.0</c:v>
                </c:pt>
                <c:pt idx="17">
                  <c:v>1397.5</c:v>
                </c:pt>
                <c:pt idx="18">
                  <c:v>1067.5</c:v>
                </c:pt>
                <c:pt idx="19">
                  <c:v>1170.2</c:v>
                </c:pt>
                <c:pt idx="20">
                  <c:v>1398.75</c:v>
                </c:pt>
                <c:pt idx="21">
                  <c:v>1355.3333</c:v>
                </c:pt>
                <c:pt idx="22">
                  <c:v>1351.6667</c:v>
                </c:pt>
                <c:pt idx="23">
                  <c:v>1120.0</c:v>
                </c:pt>
                <c:pt idx="24">
                  <c:v>1561.0</c:v>
                </c:pt>
                <c:pt idx="25">
                  <c:v>1343.6667</c:v>
                </c:pt>
                <c:pt idx="26">
                  <c:v>1231.75</c:v>
                </c:pt>
                <c:pt idx="27">
                  <c:v>1154.5</c:v>
                </c:pt>
                <c:pt idx="28">
                  <c:v>1573.0</c:v>
                </c:pt>
                <c:pt idx="29">
                  <c:v>1300.4</c:v>
                </c:pt>
                <c:pt idx="30">
                  <c:v>1412.5</c:v>
                </c:pt>
                <c:pt idx="31">
                  <c:v>1232.5</c:v>
                </c:pt>
                <c:pt idx="32">
                  <c:v>1284.6667</c:v>
                </c:pt>
                <c:pt idx="33">
                  <c:v>1314.5</c:v>
                </c:pt>
                <c:pt idx="34">
                  <c:v>1244.1</c:v>
                </c:pt>
                <c:pt idx="35">
                  <c:v>1340.2857</c:v>
                </c:pt>
                <c:pt idx="36">
                  <c:v>1239.3</c:v>
                </c:pt>
                <c:pt idx="37">
                  <c:v>1365.6</c:v>
                </c:pt>
                <c:pt idx="38">
                  <c:v>1188.2</c:v>
                </c:pt>
                <c:pt idx="39">
                  <c:v>1283.7143</c:v>
                </c:pt>
                <c:pt idx="40">
                  <c:v>1238.4286</c:v>
                </c:pt>
                <c:pt idx="41">
                  <c:v>1233.6667</c:v>
                </c:pt>
                <c:pt idx="42">
                  <c:v>1301.8889</c:v>
                </c:pt>
                <c:pt idx="43">
                  <c:v>1376.3333</c:v>
                </c:pt>
                <c:pt idx="44">
                  <c:v>1350.2</c:v>
                </c:pt>
                <c:pt idx="45">
                  <c:v>1179.8333</c:v>
                </c:pt>
                <c:pt idx="46">
                  <c:v>1328.6667</c:v>
                </c:pt>
                <c:pt idx="47">
                  <c:v>1386.5</c:v>
                </c:pt>
                <c:pt idx="48">
                  <c:v>1289.7143</c:v>
                </c:pt>
                <c:pt idx="49">
                  <c:v>1256.4545</c:v>
                </c:pt>
                <c:pt idx="50">
                  <c:v>1356.75</c:v>
                </c:pt>
                <c:pt idx="51">
                  <c:v>1232.8571</c:v>
                </c:pt>
                <c:pt idx="52">
                  <c:v>1278.125</c:v>
                </c:pt>
                <c:pt idx="53">
                  <c:v>1385.7143</c:v>
                </c:pt>
                <c:pt idx="54">
                  <c:v>1440.3333</c:v>
                </c:pt>
                <c:pt idx="55">
                  <c:v>1268.875</c:v>
                </c:pt>
                <c:pt idx="56">
                  <c:v>1231.25</c:v>
                </c:pt>
                <c:pt idx="57">
                  <c:v>1184.25</c:v>
                </c:pt>
                <c:pt idx="58">
                  <c:v>1322.5</c:v>
                </c:pt>
                <c:pt idx="59">
                  <c:v>1467.0</c:v>
                </c:pt>
                <c:pt idx="60">
                  <c:v>1332.25</c:v>
                </c:pt>
                <c:pt idx="61">
                  <c:v>1186.0</c:v>
                </c:pt>
                <c:pt idx="62">
                  <c:v>1077.0</c:v>
                </c:pt>
                <c:pt idx="63">
                  <c:v>1192.0</c:v>
                </c:pt>
                <c:pt idx="64">
                  <c:v>1140.0</c:v>
                </c:pt>
                <c:pt idx="65">
                  <c:v>1599.0</c:v>
                </c:pt>
                <c:pt idx="66">
                  <c:v>1546.0</c:v>
                </c:pt>
                <c:pt idx="67">
                  <c:v>2084.0</c:v>
                </c:pt>
                <c:pt idx="68">
                  <c:v>1757.0</c:v>
                </c:pt>
                <c:pt idx="69">
                  <c:v>1735.0</c:v>
                </c:pt>
                <c:pt idx="70">
                  <c:v>1194.5</c:v>
                </c:pt>
                <c:pt idx="71">
                  <c:v>1705.0</c:v>
                </c:pt>
                <c:pt idx="72">
                  <c:v>1354.5</c:v>
                </c:pt>
                <c:pt idx="73">
                  <c:v>1340.0</c:v>
                </c:pt>
                <c:pt idx="74">
                  <c:v>1344.0</c:v>
                </c:pt>
                <c:pt idx="75">
                  <c:v>1676.0</c:v>
                </c:pt>
                <c:pt idx="76">
                  <c:v>1199.0</c:v>
                </c:pt>
                <c:pt idx="77">
                  <c:v>1680.0</c:v>
                </c:pt>
                <c:pt idx="78">
                  <c:v>1319.0</c:v>
                </c:pt>
                <c:pt idx="79">
                  <c:v>1335.0</c:v>
                </c:pt>
                <c:pt idx="80">
                  <c:v>1977.0</c:v>
                </c:pt>
                <c:pt idx="81">
                  <c:v>1344.0</c:v>
                </c:pt>
                <c:pt idx="82">
                  <c:v>983.0</c:v>
                </c:pt>
                <c:pt idx="83">
                  <c:v>1191.0</c:v>
                </c:pt>
                <c:pt idx="84">
                  <c:v>1748.0</c:v>
                </c:pt>
                <c:pt idx="85">
                  <c:v>1354.5</c:v>
                </c:pt>
                <c:pt idx="86">
                  <c:v>1195.5</c:v>
                </c:pt>
                <c:pt idx="87">
                  <c:v>1701.0</c:v>
                </c:pt>
                <c:pt idx="88">
                  <c:v>1344.0</c:v>
                </c:pt>
                <c:pt idx="89">
                  <c:v>1029.0</c:v>
                </c:pt>
                <c:pt idx="90">
                  <c:v>2066.0</c:v>
                </c:pt>
                <c:pt idx="91">
                  <c:v>1365.0</c:v>
                </c:pt>
                <c:pt idx="92">
                  <c:v>1344.0</c:v>
                </c:pt>
                <c:pt idx="93">
                  <c:v>1337.5</c:v>
                </c:pt>
                <c:pt idx="94">
                  <c:v>1714.0</c:v>
                </c:pt>
                <c:pt idx="95">
                  <c:v>1029.0</c:v>
                </c:pt>
                <c:pt idx="96">
                  <c:v>1208.0</c:v>
                </c:pt>
                <c:pt idx="97">
                  <c:v>1365.0</c:v>
                </c:pt>
                <c:pt idx="98">
                  <c:v>1008.0</c:v>
                </c:pt>
                <c:pt idx="99">
                  <c:v>1051.0</c:v>
                </c:pt>
              </c:numCache>
            </c:numRef>
          </c:xVal>
          <c:yVal>
            <c:numRef>
              <c:f>Sheet1!$B$2:$B$101</c:f>
              <c:numCache>
                <c:formatCode>General</c:formatCode>
                <c:ptCount val="100"/>
                <c:pt idx="0">
                  <c:v>0.005532503457814661</c:v>
                </c:pt>
                <c:pt idx="1">
                  <c:v>0.006561679790026247</c:v>
                </c:pt>
                <c:pt idx="2">
                  <c:v>0.007566204287515763</c:v>
                </c:pt>
                <c:pt idx="3">
                  <c:v>0.006153846153846154</c:v>
                </c:pt>
                <c:pt idx="4">
                  <c:v>0.0048543689320388345</c:v>
                </c:pt>
                <c:pt idx="5">
                  <c:v>0.007564296520423601</c:v>
                </c:pt>
                <c:pt idx="6">
                  <c:v>0.004608294930875576</c:v>
                </c:pt>
                <c:pt idx="7">
                  <c:v>0.005172413793103448</c:v>
                </c:pt>
                <c:pt idx="8">
                  <c:v>0.00291970802919708</c:v>
                </c:pt>
                <c:pt idx="9">
                  <c:v>0.003875968992248062</c:v>
                </c:pt>
                <c:pt idx="10">
                  <c:v>0.0024630541871921183</c:v>
                </c:pt>
                <c:pt idx="11">
                  <c:v>0.0036231884057971015</c:v>
                </c:pt>
                <c:pt idx="12">
                  <c:v>0.004195804195804196</c:v>
                </c:pt>
                <c:pt idx="13">
                  <c:v>0.002257336343115124</c:v>
                </c:pt>
                <c:pt idx="14">
                  <c:v>0.0025220680958385876</c:v>
                </c:pt>
                <c:pt idx="15">
                  <c:v>0.00291970802919708</c:v>
                </c:pt>
                <c:pt idx="16">
                  <c:v>0.0036231884057971015</c:v>
                </c:pt>
                <c:pt idx="17">
                  <c:v>0.004395604395604396</c:v>
                </c:pt>
                <c:pt idx="18">
                  <c:v>0.004750593824228029</c:v>
                </c:pt>
                <c:pt idx="19">
                  <c:v>0.01026694045174538</c:v>
                </c:pt>
                <c:pt idx="20">
                  <c:v>0.009615384615384616</c:v>
                </c:pt>
                <c:pt idx="21">
                  <c:v>0.008522727272727272</c:v>
                </c:pt>
                <c:pt idx="22">
                  <c:v>0.00946372239747634</c:v>
                </c:pt>
                <c:pt idx="23">
                  <c:v>0.007936507936507936</c:v>
                </c:pt>
                <c:pt idx="24">
                  <c:v>0.0032258064516129032</c:v>
                </c:pt>
                <c:pt idx="25">
                  <c:v>0.007936507936507936</c:v>
                </c:pt>
                <c:pt idx="26">
                  <c:v>0.011019283746556474</c:v>
                </c:pt>
                <c:pt idx="27">
                  <c:v>0.010230179028132993</c:v>
                </c:pt>
                <c:pt idx="28">
                  <c:v>0.004640371229698376</c:v>
                </c:pt>
                <c:pt idx="29">
                  <c:v>0.01529051987767584</c:v>
                </c:pt>
                <c:pt idx="30">
                  <c:v>0.0071174377224199285</c:v>
                </c:pt>
                <c:pt idx="31">
                  <c:v>0.013888888888888888</c:v>
                </c:pt>
                <c:pt idx="32">
                  <c:v>0.01675977653631285</c:v>
                </c:pt>
                <c:pt idx="33">
                  <c:v>0.009925558312655087</c:v>
                </c:pt>
                <c:pt idx="34">
                  <c:v>0.02145922746781116</c:v>
                </c:pt>
                <c:pt idx="35">
                  <c:v>0.020114942528735632</c:v>
                </c:pt>
                <c:pt idx="36">
                  <c:v>0.032679738562091505</c:v>
                </c:pt>
                <c:pt idx="37">
                  <c:v>0.01644736842105263</c:v>
                </c:pt>
                <c:pt idx="38">
                  <c:v>0.01366120218579235</c:v>
                </c:pt>
                <c:pt idx="39">
                  <c:v>0.018867924528301886</c:v>
                </c:pt>
                <c:pt idx="40">
                  <c:v>0.02108433734939759</c:v>
                </c:pt>
                <c:pt idx="41">
                  <c:v>0.016172506738544475</c:v>
                </c:pt>
                <c:pt idx="42">
                  <c:v>0.02142857142857143</c:v>
                </c:pt>
                <c:pt idx="43">
                  <c:v>0.011857707509881422</c:v>
                </c:pt>
                <c:pt idx="44">
                  <c:v>0.009259259259259259</c:v>
                </c:pt>
                <c:pt idx="45">
                  <c:v>0.0106951871657754</c:v>
                </c:pt>
                <c:pt idx="46">
                  <c:v>0.005263157894736842</c:v>
                </c:pt>
                <c:pt idx="47">
                  <c:v>0.0048543689320388345</c:v>
                </c:pt>
                <c:pt idx="48">
                  <c:v>0.006340579710144928</c:v>
                </c:pt>
                <c:pt idx="49">
                  <c:v>0.01867572156196944</c:v>
                </c:pt>
                <c:pt idx="50">
                  <c:v>0.0136986301369863</c:v>
                </c:pt>
                <c:pt idx="51">
                  <c:v>0.010869565217391304</c:v>
                </c:pt>
                <c:pt idx="52">
                  <c:v>0.013651877133105802</c:v>
                </c:pt>
                <c:pt idx="53">
                  <c:v>0.013725490196078431</c:v>
                </c:pt>
                <c:pt idx="54">
                  <c:v>0.006564551422319475</c:v>
                </c:pt>
                <c:pt idx="55">
                  <c:v>0.01606425702811245</c:v>
                </c:pt>
                <c:pt idx="56">
                  <c:v>0.007434944237918215</c:v>
                </c:pt>
                <c:pt idx="57">
                  <c:v>0.006578947368421052</c:v>
                </c:pt>
                <c:pt idx="58">
                  <c:v>0.002288329519450801</c:v>
                </c:pt>
                <c:pt idx="59">
                  <c:v>0.0022598870056497176</c:v>
                </c:pt>
                <c:pt idx="60">
                  <c:v>0.0049079754601227</c:v>
                </c:pt>
                <c:pt idx="61">
                  <c:v>0.0038363171355498722</c:v>
                </c:pt>
                <c:pt idx="62">
                  <c:v>0.003468208092485549</c:v>
                </c:pt>
                <c:pt idx="63">
                  <c:v>0.0023014959723820483</c:v>
                </c:pt>
                <c:pt idx="64">
                  <c:v>0.007352941176470588</c:v>
                </c:pt>
                <c:pt idx="65">
                  <c:v>0.0016778523489932886</c:v>
                </c:pt>
                <c:pt idx="66">
                  <c:v>0.003418803418803419</c:v>
                </c:pt>
                <c:pt idx="67">
                  <c:v>0.0020920502092050207</c:v>
                </c:pt>
                <c:pt idx="68">
                  <c:v>0.00303951367781155</c:v>
                </c:pt>
                <c:pt idx="69">
                  <c:v>0.0027472527472527475</c:v>
                </c:pt>
                <c:pt idx="70">
                  <c:v>0.00546448087431694</c:v>
                </c:pt>
                <c:pt idx="71">
                  <c:v>0.0024875621890547263</c:v>
                </c:pt>
                <c:pt idx="72">
                  <c:v>0.005434782608695652</c:v>
                </c:pt>
                <c:pt idx="73">
                  <c:v>0.002932551319648094</c:v>
                </c:pt>
                <c:pt idx="74">
                  <c:v>0.006779661016949152</c:v>
                </c:pt>
                <c:pt idx="75">
                  <c:v>0.003401360544217687</c:v>
                </c:pt>
                <c:pt idx="76">
                  <c:v>0.007272727272727273</c:v>
                </c:pt>
                <c:pt idx="77">
                  <c:v>0.0040650406504065045</c:v>
                </c:pt>
                <c:pt idx="78">
                  <c:v>0.004166666666666667</c:v>
                </c:pt>
                <c:pt idx="79">
                  <c:v>0.0031746031746031746</c:v>
                </c:pt>
                <c:pt idx="80">
                  <c:v>0.004081632653061225</c:v>
                </c:pt>
                <c:pt idx="81">
                  <c:v>0.005</c:v>
                </c:pt>
                <c:pt idx="82">
                  <c:v>0.004629629629629629</c:v>
                </c:pt>
                <c:pt idx="83">
                  <c:v>0.0051813471502590676</c:v>
                </c:pt>
                <c:pt idx="84">
                  <c:v>0.0036101083032490976</c:v>
                </c:pt>
                <c:pt idx="85">
                  <c:v>0.007575757575757576</c:v>
                </c:pt>
                <c:pt idx="86">
                  <c:v>0.008</c:v>
                </c:pt>
                <c:pt idx="87">
                  <c:v>0.003875968992248062</c:v>
                </c:pt>
                <c:pt idx="88">
                  <c:v>0.0031446540880503146</c:v>
                </c:pt>
                <c:pt idx="89">
                  <c:v>0.003246753246753247</c:v>
                </c:pt>
                <c:pt idx="90">
                  <c:v>0.00392156862745098</c:v>
                </c:pt>
                <c:pt idx="91">
                  <c:v>0.002932551319648094</c:v>
                </c:pt>
                <c:pt idx="92">
                  <c:v>0.002369668246445498</c:v>
                </c:pt>
                <c:pt idx="93">
                  <c:v>0.0042643923240938165</c:v>
                </c:pt>
                <c:pt idx="94">
                  <c:v>0.0018115942028985507</c:v>
                </c:pt>
                <c:pt idx="95">
                  <c:v>0.001422475106685633</c:v>
                </c:pt>
                <c:pt idx="96">
                  <c:v>0.002105263157894737</c:v>
                </c:pt>
                <c:pt idx="97">
                  <c:v>0.0017921146953405018</c:v>
                </c:pt>
                <c:pt idx="98">
                  <c:v>0.0018796992481203006</c:v>
                </c:pt>
                <c:pt idx="99">
                  <c:v>0.00202020202020202</c:v>
                </c:pt>
              </c:numCache>
            </c:numRef>
          </c:yVal>
          <c:smooth val="0"/>
          <c:extLst>
            <c:ext xmlns:c16="http://schemas.microsoft.com/office/drawing/2014/chart" uri="{C3380CC4-5D6E-409C-BE32-E72D297353CC}">
              <c16:uniqueId val="{00000000-F32D-48B7-BC20-E66FC6253BAD}"/>
            </c:ext>
          </c:extLst>
        </c:ser>
        <c:ser>
          <c:idx val="1"/>
          <c:order val="1"/>
          <c:tx>
            <c:strRef>
              <c:f>Sheet1!$B$10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019569471624266144</c:v>
                </c:pt>
                <c:pt idx="4">
                  <c:v>0.001834862385321101</c:v>
                </c:pt>
                <c:pt idx="5">
                  <c:v>0.001692047377326565</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23923444976076554</c:v>
                </c:pt>
                <c:pt idx="23">
                  <c:v>0.0</c:v>
                </c:pt>
                <c:pt idx="24">
                  <c:v>0.0049261083743842365</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F32D-48B7-BC20-E66FC6253BAD}"/>
            </c:ext>
          </c:extLst>
        </c:ser>
        <c:ser>
          <c:idx val="2"/>
          <c:order val="2"/>
          <c:tx>
            <c:strRef>
              <c:f>Sheet1!$B$139</c:f>
              <c:strCache>
                <c:ptCount val="1"/>
                <c:pt idx="0">
                  <c:v>Custom Linep3yQ</c:v>
                </c:pt>
              </c:strCache>
            </c:strRef>
          </c:tx>
          <c:spPr>
            <a:ln w="19050" cap="rnd">
              <a:solidFill>
                <a:srgbClr val="C00000"/>
              </a:solidFill>
              <a:prstDash val="sysDot"/>
              <a:round/>
            </a:ln>
            <a:effectLst/>
          </c:spPr>
          <c:marker>
            <c:symbol val="none"/>
          </c:marker>
          <c:xVal>
            <c:numRef>
              <c:f>Sheet1!$A$140:$A$141</c:f>
              <c:numCache>
                <c:formatCode>General</c:formatCode>
                <c:ptCount val="2"/>
                <c:pt idx="0">
                  <c:v>0</c:v>
                </c:pt>
                <c:pt idx="1">
                  <c:v>10769.081638256122</c:v>
                </c:pt>
              </c:numCache>
            </c:numRef>
          </c:xVal>
          <c:yVal>
            <c:numRef>
              <c:f>Sheet1!$B$140:$B$141</c:f>
              <c:numCache>
                <c:formatCode>General</c:formatCode>
                <c:ptCount val="2"/>
                <c:pt idx="0">
                  <c:v>0.016845471618457813</c:v>
                </c:pt>
                <c:pt idx="1">
                  <c:v>0.016845471618457813</c:v>
                </c:pt>
              </c:numCache>
            </c:numRef>
          </c:yVal>
          <c:smooth val="0"/>
          <c:extLst>
            <c:ext xmlns:c16="http://schemas.microsoft.com/office/drawing/2014/chart" uri="{C3380CC4-5D6E-409C-BE32-E72D297353CC}">
              <c16:uniqueId val="{00000003-F32D-48B7-BC20-E66FC6253BAD}"/>
            </c:ext>
          </c:extLst>
        </c:ser>
        <c:ser>
          <c:idx val="3"/>
          <c:order val="3"/>
          <c:tx>
            <c:strRef>
              <c:f>Sheet1!$B$14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4:$A$145</c:f>
              <c:numCache>
                <c:formatCode>General</c:formatCode>
                <c:ptCount val="2"/>
                <c:pt idx="0">
                  <c:v>10769.081638256122</c:v>
                </c:pt>
                <c:pt idx="1">
                  <c:v>10769.081638256122</c:v>
                </c:pt>
              </c:numCache>
            </c:numRef>
          </c:xVal>
          <c:yVal>
            <c:numRef>
              <c:f>Sheet1!$B$144:$B$145</c:f>
              <c:numCache>
                <c:formatCode>General</c:formatCode>
                <c:ptCount val="2"/>
                <c:pt idx="0">
                  <c:v>0.01684547161845781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8:$A$149</c:f>
              <c:numCache>
                <c:formatCode>General</c:formatCode>
                <c:ptCount val="2"/>
                <c:pt idx="0">
                  <c:v>0</c:v>
                </c:pt>
                <c:pt idx="1">
                  <c:v>576.4869666126056</c:v>
                </c:pt>
              </c:numCache>
            </c:numRef>
          </c:xVal>
          <c:yVal>
            <c:numRef>
              <c:f>Sheet1!$B$148:$B$149</c:f>
              <c:numCache>
                <c:formatCode>General</c:formatCode>
                <c:ptCount val="2"/>
                <c:pt idx="0">
                  <c:v>0.0009139761541790467</c:v>
                </c:pt>
                <c:pt idx="1">
                  <c:v>0.0009139761541790467</c:v>
                </c:pt>
              </c:numCache>
            </c:numRef>
          </c:yVal>
          <c:smooth val="0"/>
          <c:extLst>
            <c:ext xmlns:c16="http://schemas.microsoft.com/office/drawing/2014/chart" uri="{C3380CC4-5D6E-409C-BE32-E72D297353CC}">
              <c16:uniqueId val="{0000000A-F32D-48B7-BC20-E66FC6253BAD}"/>
            </c:ext>
          </c:extLst>
        </c:ser>
        <c:ser>
          <c:idx val="5"/>
          <c:order val="5"/>
          <c:tx>
            <c:strRef>
              <c:f>Sheet1!$B$15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2:$A$153</c:f>
              <c:numCache>
                <c:formatCode>General</c:formatCode>
                <c:ptCount val="2"/>
                <c:pt idx="0">
                  <c:v>576.4869666126056</c:v>
                </c:pt>
                <c:pt idx="1">
                  <c:v>576.4869666126056</c:v>
                </c:pt>
              </c:numCache>
            </c:numRef>
          </c:xVal>
          <c:yVal>
            <c:numRef>
              <c:f>Sheet1!$B$152:$B$153</c:f>
              <c:numCache>
                <c:formatCode>General</c:formatCode>
                <c:ptCount val="2"/>
                <c:pt idx="0">
                  <c:v>0.000913976154179046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6:$A$157</c:f>
              <c:numCache>
                <c:formatCode>General</c:formatCode>
                <c:ptCount val="2"/>
                <c:pt idx="0">
                  <c:v>0</c:v>
                </c:pt>
                <c:pt idx="1">
                  <c:v>-8.25339878386546</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5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0:$A$161</c:f>
              <c:numCache>
                <c:formatCode>General</c:formatCode>
                <c:ptCount val="2"/>
                <c:pt idx="0">
                  <c:v>-8.25339878386546</c:v>
                </c:pt>
                <c:pt idx="1">
                  <c:v>-8.25339878386546</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4:$A$200</c:f>
              <c:numCache>
                <c:formatCode>General</c:formatCode>
                <c:ptCount val="37"/>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pt idx="34">
                  <c:v>576.4869666126056</c:v>
                </c:pt>
                <c:pt idx="35">
                  <c:v>10769.081638256122</c:v>
                </c:pt>
                <c:pt idx="36">
                  <c:v>-8.25339878386546</c:v>
                </c:pt>
              </c:numCache>
            </c:numRef>
          </c:xVal>
          <c:yVal>
            <c:numRef>
              <c:f>Sheet1!$B$164:$B$200</c:f>
              <c:numCache>
                <c:formatCode>General</c:formatCode>
                <c:ptCount val="37"/>
                <c:pt idx="0">
                  <c:v>1.2900442873083894e-05</c:v>
                </c:pt>
                <c:pt idx="1">
                  <c:v>1.2900442873083894e-05</c:v>
                </c:pt>
                <c:pt idx="2">
                  <c:v>1.2900442873083894e-05</c:v>
                </c:pt>
                <c:pt idx="3">
                  <c:v>0.0016556619057162911</c:v>
                </c:pt>
                <c:pt idx="4">
                  <c:v>0.0016212748912704771</c:v>
                </c:pt>
                <c:pt idx="5">
                  <c:v>0.0026575744629784184</c:v>
                </c:pt>
                <c:pt idx="6">
                  <c:v>1.2900442873083894e-05</c:v>
                </c:pt>
                <c:pt idx="7">
                  <c:v>1.2900442873083894e-05</c:v>
                </c:pt>
                <c:pt idx="8">
                  <c:v>1.2900442873083894e-05</c:v>
                </c:pt>
                <c:pt idx="9">
                  <c:v>1.2900442873083894e-05</c:v>
                </c:pt>
                <c:pt idx="10">
                  <c:v>1.2900442873083894e-05</c:v>
                </c:pt>
                <c:pt idx="11">
                  <c:v>1.2900442873083894e-05</c:v>
                </c:pt>
                <c:pt idx="12">
                  <c:v>1.2900442873083894e-05</c:v>
                </c:pt>
                <c:pt idx="13">
                  <c:v>1.2900442873083894e-05</c:v>
                </c:pt>
                <c:pt idx="14">
                  <c:v>1.2900442873083894e-05</c:v>
                </c:pt>
                <c:pt idx="15">
                  <c:v>1.2900442873083894e-05</c:v>
                </c:pt>
                <c:pt idx="16">
                  <c:v>1.2900442873083894e-05</c:v>
                </c:pt>
                <c:pt idx="17">
                  <c:v>1.2900442873083894e-05</c:v>
                </c:pt>
                <c:pt idx="18">
                  <c:v>1.2900442873083894e-05</c:v>
                </c:pt>
                <c:pt idx="19">
                  <c:v>1.2900442873083894e-05</c:v>
                </c:pt>
                <c:pt idx="20">
                  <c:v>1.2900442873083894e-05</c:v>
                </c:pt>
                <c:pt idx="21">
                  <c:v>1.2900442873083894e-05</c:v>
                </c:pt>
                <c:pt idx="22">
                  <c:v>0.00355007379245841</c:v>
                </c:pt>
                <c:pt idx="23">
                  <c:v>1.2900442873083894e-05</c:v>
                </c:pt>
                <c:pt idx="24">
                  <c:v>0.002943611901323144</c:v>
                </c:pt>
                <c:pt idx="25">
                  <c:v>1.2900442873083894e-05</c:v>
                </c:pt>
                <c:pt idx="26">
                  <c:v>1.2900442873083894e-05</c:v>
                </c:pt>
                <c:pt idx="27">
                  <c:v>1.2900442873083894e-05</c:v>
                </c:pt>
                <c:pt idx="28">
                  <c:v>1.2900442873083894e-05</c:v>
                </c:pt>
                <c:pt idx="29">
                  <c:v>1.2900442873083894e-05</c:v>
                </c:pt>
                <c:pt idx="30">
                  <c:v>1.2900442873083894e-05</c:v>
                </c:pt>
                <c:pt idx="31">
                  <c:v>1.2900442873083894e-05</c:v>
                </c:pt>
                <c:pt idx="32">
                  <c:v>1.2900442873083894e-05</c:v>
                </c:pt>
                <c:pt idx="33">
                  <c:v>1.2900442873083894e-05</c:v>
                </c:pt>
                <c:pt idx="34">
                  <c:v>0.0009139761541790469</c:v>
                </c:pt>
                <c:pt idx="35">
                  <c:v>0.016845471618457813</c:v>
                </c:pt>
                <c:pt idx="36">
                  <c:v>1.6940658945086007e-2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92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9215686274509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0.2800472653612424</c:v>
                </c:pt>
                <c:pt idx="1">
                  <c:v>0.25559465892330546</c:v>
                </c:pt>
                <c:pt idx="2">
                  <c:v>0.2577627851706438</c:v>
                </c:pt>
                <c:pt idx="3">
                  <c:v>0.22721732070756603</c:v>
                </c:pt>
                <c:pt idx="4">
                  <c:v>0.2274026931082209</c:v>
                </c:pt>
                <c:pt idx="5">
                  <c:v>0.22764192826236526</c:v>
                </c:pt>
                <c:pt idx="6">
                  <c:v>0.28064918827022584</c:v>
                </c:pt>
                <c:pt idx="7">
                  <c:v>0.24632443436204818</c:v>
                </c:pt>
                <c:pt idx="8">
                  <c:v>0.2905290135771221</c:v>
                </c:pt>
                <c:pt idx="9">
                  <c:v>0.2383705813182952</c:v>
                </c:pt>
                <c:pt idx="10">
                  <c:v>0.23890168354580046</c:v>
                </c:pt>
                <c:pt idx="11">
                  <c:v>0.2736367970677017</c:v>
                </c:pt>
                <c:pt idx="12">
                  <c:v>0.27274683651018844</c:v>
                </c:pt>
                <c:pt idx="13">
                  <c:v>0.24253084060516591</c:v>
                </c:pt>
                <c:pt idx="14">
                  <c:v>0.34478974991032657</c:v>
                </c:pt>
                <c:pt idx="15">
                  <c:v>0.31019766397124887</c:v>
                </c:pt>
                <c:pt idx="16">
                  <c:v>0.26795656802452616</c:v>
                </c:pt>
                <c:pt idx="17">
                  <c:v>0.3276844058942206</c:v>
                </c:pt>
                <c:pt idx="18">
                  <c:v>0.2586396798188558</c:v>
                </c:pt>
                <c:pt idx="19">
                  <c:v>0.27718527379211105</c:v>
                </c:pt>
                <c:pt idx="20">
                  <c:v>0.3228458908555849</c:v>
                </c:pt>
                <c:pt idx="21">
                  <c:v>0.3102027581710201</c:v>
                </c:pt>
                <c:pt idx="22">
                  <c:v>0.33188898198422345</c:v>
                </c:pt>
                <c:pt idx="23">
                  <c:v>0.26895452836217953</c:v>
                </c:pt>
                <c:pt idx="24">
                  <c:v>0.31145251396648044</c:v>
                </c:pt>
                <c:pt idx="25">
                  <c:v>0.2425693666381607</c:v>
                </c:pt>
                <c:pt idx="26">
                  <c:v>0.22261464007852952</c:v>
                </c:pt>
                <c:pt idx="27">
                  <c:v>0.2060650412308571</c:v>
                </c:pt>
                <c:pt idx="28">
                  <c:v>0.2918493670607301</c:v>
                </c:pt>
                <c:pt idx="29">
                  <c:v>0.23509968089069153</c:v>
                </c:pt>
                <c:pt idx="30">
                  <c:v>0.25891528262624014</c:v>
                </c:pt>
                <c:pt idx="31">
                  <c:v>0.21879613802537345</c:v>
                </c:pt>
                <c:pt idx="32">
                  <c:v>0.24031345828223633</c:v>
                </c:pt>
                <c:pt idx="33">
                  <c:v>0.23953428776160557</c:v>
                </c:pt>
                <c:pt idx="34">
                  <c:v>0.22617062660389398</c:v>
                </c:pt>
                <c:pt idx="35">
                  <c:v>0.23117872394813246</c:v>
                </c:pt>
                <c:pt idx="36">
                  <c:v>0.22230800265219744</c:v>
                </c:pt>
                <c:pt idx="37">
                  <c:v>0.24665219674161176</c:v>
                </c:pt>
                <c:pt idx="38">
                  <c:v>0.22305106410769543</c:v>
                </c:pt>
                <c:pt idx="39">
                  <c:v>0.2504839719068486</c:v>
                </c:pt>
                <c:pt idx="40">
                  <c:v>0.23426895869133843</c:v>
                </c:pt>
                <c:pt idx="41">
                  <c:v>0.21167329156580728</c:v>
                </c:pt>
                <c:pt idx="42">
                  <c:v>0.22098039989493198</c:v>
                </c:pt>
                <c:pt idx="43">
                  <c:v>0.24496645101609138</c:v>
                </c:pt>
                <c:pt idx="44">
                  <c:v>0.24133611049197212</c:v>
                </c:pt>
                <c:pt idx="45">
                  <c:v>0.2113825104560441</c:v>
                </c:pt>
                <c:pt idx="46">
                  <c:v>0.22486235783915515</c:v>
                </c:pt>
                <c:pt idx="47">
                  <c:v>0.257164545821167</c:v>
                </c:pt>
                <c:pt idx="48">
                  <c:v>0.24481798192721574</c:v>
                </c:pt>
                <c:pt idx="49">
                  <c:v>0.23132658310255072</c:v>
                </c:pt>
                <c:pt idx="50">
                  <c:v>0.2338846696464157</c:v>
                </c:pt>
                <c:pt idx="51">
                  <c:v>0.22133365121941959</c:v>
                </c:pt>
                <c:pt idx="52">
                  <c:v>0.23635898664282548</c:v>
                </c:pt>
                <c:pt idx="53">
                  <c:v>0.2508775872491266</c:v>
                </c:pt>
                <c:pt idx="54">
                  <c:v>0.24437107392708132</c:v>
                </c:pt>
                <c:pt idx="55">
                  <c:v>0.2145365049449872</c:v>
                </c:pt>
                <c:pt idx="56">
                  <c:v>0.20846333191366628</c:v>
                </c:pt>
                <c:pt idx="57">
                  <c:v>0.20937275687831716</c:v>
                </c:pt>
                <c:pt idx="58">
                  <c:v>0.23486169842568075</c:v>
                </c:pt>
                <c:pt idx="59">
                  <c:v>0.2593084715017073</c:v>
                </c:pt>
                <c:pt idx="60">
                  <c:v>0.2446879886068791</c:v>
                </c:pt>
                <c:pt idx="61">
                  <c:v>0.20928129732099823</c:v>
                </c:pt>
                <c:pt idx="62">
                  <c:v>0.1888668382519846</c:v>
                </c:pt>
                <c:pt idx="63">
                  <c:v>0.20660714393425347</c:v>
                </c:pt>
                <c:pt idx="64">
                  <c:v>0.19316146402360107</c:v>
                </c:pt>
                <c:pt idx="65">
                  <c:v>0.2720518297016796</c:v>
                </c:pt>
                <c:pt idx="66">
                  <c:v>0.26443686749386713</c:v>
                </c:pt>
                <c:pt idx="67">
                  <c:v>0.35325087422811124</c:v>
                </c:pt>
                <c:pt idx="68">
                  <c:v>0.2874328673709006</c:v>
                </c:pt>
                <c:pt idx="69">
                  <c:v>0.2866417777896436</c:v>
                </c:pt>
                <c:pt idx="70">
                  <c:v>0.19943698496692594</c:v>
                </c:pt>
                <c:pt idx="71">
                  <c:v>0.28046580814191086</c:v>
                </c:pt>
                <c:pt idx="72">
                  <c:v>0.22916801807275333</c:v>
                </c:pt>
                <c:pt idx="73">
                  <c:v>0.2161929591212834</c:v>
                </c:pt>
                <c:pt idx="74">
                  <c:v>0.22552256674616394</c:v>
                </c:pt>
                <c:pt idx="75">
                  <c:v>0.281947038772159</c:v>
                </c:pt>
                <c:pt idx="76">
                  <c:v>0.20243560935228877</c:v>
                </c:pt>
                <c:pt idx="77">
                  <c:v>0.2666675470928539</c:v>
                </c:pt>
                <c:pt idx="78">
                  <c:v>0.21099432732393017</c:v>
                </c:pt>
                <c:pt idx="79">
                  <c:v>0.22408225225256378</c:v>
                </c:pt>
                <c:pt idx="80">
                  <c:v>0.3423937734142267</c:v>
                </c:pt>
                <c:pt idx="81">
                  <c:v>0.21212977632524999</c:v>
                </c:pt>
                <c:pt idx="82">
                  <c:v>0.16598466051831115</c:v>
                </c:pt>
                <c:pt idx="83">
                  <c:v>0.2030015319030799</c:v>
                </c:pt>
                <c:pt idx="84">
                  <c:v>0.29786146374712447</c:v>
                </c:pt>
                <c:pt idx="85">
                  <c:v>0.21906507232147504</c:v>
                </c:pt>
                <c:pt idx="86">
                  <c:v>0.19219249614582104</c:v>
                </c:pt>
                <c:pt idx="87">
                  <c:v>0.279408022936097</c:v>
                </c:pt>
                <c:pt idx="88">
                  <c:v>0.2255303020349126</c:v>
                </c:pt>
                <c:pt idx="89">
                  <c:v>0.16328890060915646</c:v>
                </c:pt>
                <c:pt idx="90">
                  <c:v>0.3409371504146223</c:v>
                </c:pt>
                <c:pt idx="91">
                  <c:v>0.21738152754524945</c:v>
                </c:pt>
                <c:pt idx="92">
                  <c:v>0.2194473561222555</c:v>
                </c:pt>
                <c:pt idx="93">
                  <c:v>0.2208540918979243</c:v>
                </c:pt>
                <c:pt idx="94">
                  <c:v>0.2820159884966435</c:v>
                </c:pt>
                <c:pt idx="95">
                  <c:v>0.17390876685248202</c:v>
                </c:pt>
                <c:pt idx="96">
                  <c:v>0.21691990719060225</c:v>
                </c:pt>
                <c:pt idx="97">
                  <c:v>0.23761635389594468</c:v>
                </c:pt>
                <c:pt idx="98">
                  <c:v>0.17468810893883213</c:v>
                </c:pt>
                <c:pt idx="99">
                  <c:v>0.17888650418938237</c:v>
                </c:pt>
              </c:numCache>
            </c:numRef>
          </c:xVal>
          <c:yVal>
            <c:numRef>
              <c:f>Sheet1!$B$2:$B$101</c:f>
              <c:numCache>
                <c:formatCode>General</c:formatCode>
                <c:ptCount val="100"/>
                <c:pt idx="0">
                  <c:v>0.005532503457814661</c:v>
                </c:pt>
                <c:pt idx="1">
                  <c:v>0.006561679790026247</c:v>
                </c:pt>
                <c:pt idx="2">
                  <c:v>0.007566204287515763</c:v>
                </c:pt>
                <c:pt idx="3">
                  <c:v>0.006153846153846154</c:v>
                </c:pt>
                <c:pt idx="4">
                  <c:v>0.0048543689320388345</c:v>
                </c:pt>
                <c:pt idx="5">
                  <c:v>0.007564296520423601</c:v>
                </c:pt>
                <c:pt idx="6">
                  <c:v>0.004608294930875576</c:v>
                </c:pt>
                <c:pt idx="7">
                  <c:v>0.005172413793103448</c:v>
                </c:pt>
                <c:pt idx="8">
                  <c:v>0.00291970802919708</c:v>
                </c:pt>
                <c:pt idx="9">
                  <c:v>0.003875968992248062</c:v>
                </c:pt>
                <c:pt idx="10">
                  <c:v>0.0024630541871921183</c:v>
                </c:pt>
                <c:pt idx="11">
                  <c:v>0.0036231884057971015</c:v>
                </c:pt>
                <c:pt idx="12">
                  <c:v>0.004195804195804196</c:v>
                </c:pt>
                <c:pt idx="13">
                  <c:v>0.002257336343115124</c:v>
                </c:pt>
                <c:pt idx="14">
                  <c:v>0.0025220680958385876</c:v>
                </c:pt>
                <c:pt idx="15">
                  <c:v>0.00291970802919708</c:v>
                </c:pt>
                <c:pt idx="16">
                  <c:v>0.0036231884057971015</c:v>
                </c:pt>
                <c:pt idx="17">
                  <c:v>0.004395604395604396</c:v>
                </c:pt>
                <c:pt idx="18">
                  <c:v>0.004750593824228029</c:v>
                </c:pt>
                <c:pt idx="19">
                  <c:v>0.01026694045174538</c:v>
                </c:pt>
                <c:pt idx="20">
                  <c:v>0.009615384615384616</c:v>
                </c:pt>
                <c:pt idx="21">
                  <c:v>0.008522727272727272</c:v>
                </c:pt>
                <c:pt idx="22">
                  <c:v>0.00946372239747634</c:v>
                </c:pt>
                <c:pt idx="23">
                  <c:v>0.007936507936507936</c:v>
                </c:pt>
                <c:pt idx="24">
                  <c:v>0.0032258064516129032</c:v>
                </c:pt>
                <c:pt idx="25">
                  <c:v>0.007936507936507936</c:v>
                </c:pt>
                <c:pt idx="26">
                  <c:v>0.011019283746556474</c:v>
                </c:pt>
                <c:pt idx="27">
                  <c:v>0.010230179028132993</c:v>
                </c:pt>
                <c:pt idx="28">
                  <c:v>0.004640371229698376</c:v>
                </c:pt>
                <c:pt idx="29">
                  <c:v>0.01529051987767584</c:v>
                </c:pt>
                <c:pt idx="30">
                  <c:v>0.0071174377224199285</c:v>
                </c:pt>
                <c:pt idx="31">
                  <c:v>0.013888888888888888</c:v>
                </c:pt>
                <c:pt idx="32">
                  <c:v>0.01675977653631285</c:v>
                </c:pt>
                <c:pt idx="33">
                  <c:v>0.009925558312655087</c:v>
                </c:pt>
                <c:pt idx="34">
                  <c:v>0.02145922746781116</c:v>
                </c:pt>
                <c:pt idx="35">
                  <c:v>0.020114942528735632</c:v>
                </c:pt>
                <c:pt idx="36">
                  <c:v>0.032679738562091505</c:v>
                </c:pt>
                <c:pt idx="37">
                  <c:v>0.01644736842105263</c:v>
                </c:pt>
                <c:pt idx="38">
                  <c:v>0.01366120218579235</c:v>
                </c:pt>
                <c:pt idx="39">
                  <c:v>0.018867924528301886</c:v>
                </c:pt>
                <c:pt idx="40">
                  <c:v>0.02108433734939759</c:v>
                </c:pt>
                <c:pt idx="41">
                  <c:v>0.016172506738544475</c:v>
                </c:pt>
                <c:pt idx="42">
                  <c:v>0.02142857142857143</c:v>
                </c:pt>
                <c:pt idx="43">
                  <c:v>0.011857707509881422</c:v>
                </c:pt>
                <c:pt idx="44">
                  <c:v>0.009259259259259259</c:v>
                </c:pt>
                <c:pt idx="45">
                  <c:v>0.0106951871657754</c:v>
                </c:pt>
                <c:pt idx="46">
                  <c:v>0.005263157894736842</c:v>
                </c:pt>
                <c:pt idx="47">
                  <c:v>0.0048543689320388345</c:v>
                </c:pt>
                <c:pt idx="48">
                  <c:v>0.006340579710144928</c:v>
                </c:pt>
                <c:pt idx="49">
                  <c:v>0.01867572156196944</c:v>
                </c:pt>
                <c:pt idx="50">
                  <c:v>0.0136986301369863</c:v>
                </c:pt>
                <c:pt idx="51">
                  <c:v>0.010869565217391304</c:v>
                </c:pt>
                <c:pt idx="52">
                  <c:v>0.013651877133105802</c:v>
                </c:pt>
                <c:pt idx="53">
                  <c:v>0.013725490196078431</c:v>
                </c:pt>
                <c:pt idx="54">
                  <c:v>0.006564551422319475</c:v>
                </c:pt>
                <c:pt idx="55">
                  <c:v>0.01606425702811245</c:v>
                </c:pt>
                <c:pt idx="56">
                  <c:v>0.007434944237918215</c:v>
                </c:pt>
                <c:pt idx="57">
                  <c:v>0.006578947368421052</c:v>
                </c:pt>
                <c:pt idx="58">
                  <c:v>0.002288329519450801</c:v>
                </c:pt>
                <c:pt idx="59">
                  <c:v>0.0022598870056497176</c:v>
                </c:pt>
                <c:pt idx="60">
                  <c:v>0.0049079754601227</c:v>
                </c:pt>
                <c:pt idx="61">
                  <c:v>0.0038363171355498722</c:v>
                </c:pt>
                <c:pt idx="62">
                  <c:v>0.003468208092485549</c:v>
                </c:pt>
                <c:pt idx="63">
                  <c:v>0.0023014959723820483</c:v>
                </c:pt>
                <c:pt idx="64">
                  <c:v>0.007352941176470588</c:v>
                </c:pt>
                <c:pt idx="65">
                  <c:v>0.0016778523489932886</c:v>
                </c:pt>
                <c:pt idx="66">
                  <c:v>0.003418803418803419</c:v>
                </c:pt>
                <c:pt idx="67">
                  <c:v>0.0020920502092050207</c:v>
                </c:pt>
                <c:pt idx="68">
                  <c:v>0.00303951367781155</c:v>
                </c:pt>
                <c:pt idx="69">
                  <c:v>0.0027472527472527475</c:v>
                </c:pt>
                <c:pt idx="70">
                  <c:v>0.00546448087431694</c:v>
                </c:pt>
                <c:pt idx="71">
                  <c:v>0.0024875621890547263</c:v>
                </c:pt>
                <c:pt idx="72">
                  <c:v>0.005434782608695652</c:v>
                </c:pt>
                <c:pt idx="73">
                  <c:v>0.002932551319648094</c:v>
                </c:pt>
                <c:pt idx="74">
                  <c:v>0.006779661016949152</c:v>
                </c:pt>
                <c:pt idx="75">
                  <c:v>0.003401360544217687</c:v>
                </c:pt>
                <c:pt idx="76">
                  <c:v>0.007272727272727273</c:v>
                </c:pt>
                <c:pt idx="77">
                  <c:v>0.0040650406504065045</c:v>
                </c:pt>
                <c:pt idx="78">
                  <c:v>0.004166666666666667</c:v>
                </c:pt>
                <c:pt idx="79">
                  <c:v>0.0031746031746031746</c:v>
                </c:pt>
                <c:pt idx="80">
                  <c:v>0.004081632653061225</c:v>
                </c:pt>
                <c:pt idx="81">
                  <c:v>0.005</c:v>
                </c:pt>
                <c:pt idx="82">
                  <c:v>0.004629629629629629</c:v>
                </c:pt>
                <c:pt idx="83">
                  <c:v>0.0051813471502590676</c:v>
                </c:pt>
                <c:pt idx="84">
                  <c:v>0.0036101083032490976</c:v>
                </c:pt>
                <c:pt idx="85">
                  <c:v>0.007575757575757576</c:v>
                </c:pt>
                <c:pt idx="86">
                  <c:v>0.008</c:v>
                </c:pt>
                <c:pt idx="87">
                  <c:v>0.003875968992248062</c:v>
                </c:pt>
                <c:pt idx="88">
                  <c:v>0.0031446540880503146</c:v>
                </c:pt>
                <c:pt idx="89">
                  <c:v>0.003246753246753247</c:v>
                </c:pt>
                <c:pt idx="90">
                  <c:v>0.00392156862745098</c:v>
                </c:pt>
                <c:pt idx="91">
                  <c:v>0.002932551319648094</c:v>
                </c:pt>
                <c:pt idx="92">
                  <c:v>0.002369668246445498</c:v>
                </c:pt>
                <c:pt idx="93">
                  <c:v>0.0042643923240938165</c:v>
                </c:pt>
                <c:pt idx="94">
                  <c:v>0.0018115942028985507</c:v>
                </c:pt>
                <c:pt idx="95">
                  <c:v>0.001422475106685633</c:v>
                </c:pt>
                <c:pt idx="96">
                  <c:v>0.002105263157894737</c:v>
                </c:pt>
                <c:pt idx="97">
                  <c:v>0.0017921146953405018</c:v>
                </c:pt>
                <c:pt idx="98">
                  <c:v>0.0018796992481203006</c:v>
                </c:pt>
                <c:pt idx="99">
                  <c:v>0.00202020202020202</c:v>
                </c:pt>
              </c:numCache>
            </c:numRef>
          </c:yVal>
          <c:smooth val="0"/>
          <c:extLst>
            <c:ext xmlns:c16="http://schemas.microsoft.com/office/drawing/2014/chart" uri="{C3380CC4-5D6E-409C-BE32-E72D297353CC}">
              <c16:uniqueId val="{00000000-096C-4121-9522-6AB7243CCAAE}"/>
            </c:ext>
          </c:extLst>
        </c:ser>
        <c:ser>
          <c:idx val="1"/>
          <c:order val="1"/>
          <c:tx>
            <c:strRef>
              <c:f>Sheet1!$B$10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0.17830353399470542</c:v>
                </c:pt>
                <c:pt idx="4">
                  <c:v>0.16927018133195662</c:v>
                </c:pt>
                <c:pt idx="5">
                  <c:v>0.27085123934291616</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35613097172074587</c:v>
                </c:pt>
                <c:pt idx="23">
                  <c:v>0.0</c:v>
                </c:pt>
                <c:pt idx="24">
                  <c:v>0.28303020194906825</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019569471624266144</c:v>
                </c:pt>
                <c:pt idx="4">
                  <c:v>0.001834862385321101</c:v>
                </c:pt>
                <c:pt idx="5">
                  <c:v>0.001692047377326565</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23923444976076554</c:v>
                </c:pt>
                <c:pt idx="23">
                  <c:v>0.0</c:v>
                </c:pt>
                <c:pt idx="24">
                  <c:v>0.0049261083743842365</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096C-4121-9522-6AB7243CCAAE}"/>
            </c:ext>
          </c:extLst>
        </c:ser>
        <c:ser>
          <c:idx val="2"/>
          <c:order val="2"/>
          <c:tx>
            <c:strRef>
              <c:f>Sheet1!$B$13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0:$A$141</c:f>
              <c:numCache>
                <c:formatCode>General</c:formatCode>
                <c:ptCount val="2"/>
                <c:pt idx="0">
                  <c:v>0</c:v>
                </c:pt>
                <c:pt idx="1">
                  <c:v>1.7133617564619084</c:v>
                </c:pt>
              </c:numCache>
            </c:numRef>
          </c:xVal>
          <c:yVal>
            <c:numRef>
              <c:f>Sheet1!$B$140:$B$141</c:f>
              <c:numCache>
                <c:formatCode>General</c:formatCode>
                <c:ptCount val="2"/>
                <c:pt idx="0">
                  <c:v>0.016845471618457813</c:v>
                </c:pt>
                <c:pt idx="1">
                  <c:v>0.016845471618457813</c:v>
                </c:pt>
              </c:numCache>
            </c:numRef>
          </c:yVal>
          <c:smooth val="0"/>
          <c:extLst>
            <c:ext xmlns:c16="http://schemas.microsoft.com/office/drawing/2014/chart" uri="{C3380CC4-5D6E-409C-BE32-E72D297353CC}">
              <c16:uniqueId val="{00000005-096C-4121-9522-6AB7243CCAAE}"/>
            </c:ext>
          </c:extLst>
        </c:ser>
        <c:ser>
          <c:idx val="3"/>
          <c:order val="3"/>
          <c:tx>
            <c:strRef>
              <c:f>Sheet1!$B$14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4:$A$145</c:f>
              <c:numCache>
                <c:formatCode>General</c:formatCode>
                <c:ptCount val="2"/>
                <c:pt idx="0">
                  <c:v>1.7133617564619084</c:v>
                </c:pt>
                <c:pt idx="1">
                  <c:v>1.7133617564619084</c:v>
                </c:pt>
              </c:numCache>
            </c:numRef>
          </c:xVal>
          <c:yVal>
            <c:numRef>
              <c:f>Sheet1!$B$144:$B$145</c:f>
              <c:numCache>
                <c:formatCode>General</c:formatCode>
                <c:ptCount val="2"/>
                <c:pt idx="0">
                  <c:v>0.01684547161845781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8:$A$149</c:f>
              <c:numCache>
                <c:formatCode>General</c:formatCode>
                <c:ptCount val="2"/>
                <c:pt idx="0">
                  <c:v>0</c:v>
                </c:pt>
                <c:pt idx="1">
                  <c:v>0.09169364385676827</c:v>
                </c:pt>
              </c:numCache>
            </c:numRef>
          </c:xVal>
          <c:yVal>
            <c:numRef>
              <c:f>Sheet1!$B$148:$B$149</c:f>
              <c:numCache>
                <c:formatCode>General</c:formatCode>
                <c:ptCount val="2"/>
                <c:pt idx="0">
                  <c:v>0.0009139761541790467</c:v>
                </c:pt>
                <c:pt idx="1">
                  <c:v>0.0009139761541790467</c:v>
                </c:pt>
              </c:numCache>
            </c:numRef>
          </c:yVal>
          <c:smooth val="0"/>
          <c:extLst>
            <c:ext xmlns:c16="http://schemas.microsoft.com/office/drawing/2014/chart" uri="{C3380CC4-5D6E-409C-BE32-E72D297353CC}">
              <c16:uniqueId val="{0000000D-096C-4121-9522-6AB7243CCAAE}"/>
            </c:ext>
          </c:extLst>
        </c:ser>
        <c:ser>
          <c:idx val="5"/>
          <c:order val="5"/>
          <c:tx>
            <c:strRef>
              <c:f>Sheet1!$B$15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2:$A$153</c:f>
              <c:numCache>
                <c:formatCode>General</c:formatCode>
                <c:ptCount val="2"/>
                <c:pt idx="0">
                  <c:v>0.09169364385676827</c:v>
                </c:pt>
                <c:pt idx="1">
                  <c:v>0.09169364385676827</c:v>
                </c:pt>
              </c:numCache>
            </c:numRef>
          </c:xVal>
          <c:yVal>
            <c:numRef>
              <c:f>Sheet1!$B$152:$B$153</c:f>
              <c:numCache>
                <c:formatCode>General</c:formatCode>
                <c:ptCount val="2"/>
                <c:pt idx="0">
                  <c:v>0.000913976154179046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6:$A$157</c:f>
              <c:numCache>
                <c:formatCode>General</c:formatCode>
                <c:ptCount val="2"/>
                <c:pt idx="0">
                  <c:v>0</c:v>
                </c:pt>
                <c:pt idx="1">
                  <c:v>-0.0013400571060143993</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5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0:$A$161</c:f>
              <c:numCache>
                <c:formatCode>General</c:formatCode>
                <c:ptCount val="2"/>
                <c:pt idx="0">
                  <c:v>-0.0013400571060143993</c:v>
                </c:pt>
                <c:pt idx="1">
                  <c:v>-0.0013400571060143993</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4:$A$200</c:f>
              <c:numCache>
                <c:formatCode>General</c:formatCode>
                <c:ptCount val="37"/>
                <c:pt idx="0">
                  <c:v>0.0</c:v>
                </c:pt>
                <c:pt idx="1">
                  <c:v>0.0</c:v>
                </c:pt>
                <c:pt idx="2">
                  <c:v>0.0</c:v>
                </c:pt>
                <c:pt idx="3">
                  <c:v>0.17830353399470542</c:v>
                </c:pt>
                <c:pt idx="4">
                  <c:v>0.16927018133195662</c:v>
                </c:pt>
                <c:pt idx="5">
                  <c:v>0.27085123934291616</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35613097172074587</c:v>
                </c:pt>
                <c:pt idx="23">
                  <c:v>0.0</c:v>
                </c:pt>
                <c:pt idx="24">
                  <c:v>0.28303020194906825</c:v>
                </c:pt>
                <c:pt idx="25">
                  <c:v>0.0</c:v>
                </c:pt>
                <c:pt idx="26">
                  <c:v>0.0</c:v>
                </c:pt>
                <c:pt idx="27">
                  <c:v>0.0</c:v>
                </c:pt>
                <c:pt idx="28">
                  <c:v>0.0</c:v>
                </c:pt>
                <c:pt idx="29">
                  <c:v>0.0</c:v>
                </c:pt>
                <c:pt idx="30">
                  <c:v>0.0</c:v>
                </c:pt>
                <c:pt idx="31">
                  <c:v>0.0</c:v>
                </c:pt>
                <c:pt idx="32">
                  <c:v>0.0</c:v>
                </c:pt>
                <c:pt idx="33">
                  <c:v>0.0</c:v>
                </c:pt>
                <c:pt idx="34">
                  <c:v>0.09169364385676827</c:v>
                </c:pt>
                <c:pt idx="35">
                  <c:v>1.7133617564619084</c:v>
                </c:pt>
                <c:pt idx="36">
                  <c:v>-0.0013400571060143993</c:v>
                </c:pt>
              </c:numCache>
            </c:numRef>
          </c:xVal>
          <c:yVal>
            <c:numRef>
              <c:f>Sheet1!$B$164:$B$200</c:f>
              <c:numCache>
                <c:formatCode>General</c:formatCode>
                <c:ptCount val="37"/>
                <c:pt idx="0">
                  <c:v>1.3164909355001437e-05</c:v>
                </c:pt>
                <c:pt idx="1">
                  <c:v>1.3164909355001437e-05</c:v>
                </c:pt>
                <c:pt idx="2">
                  <c:v>1.3164909355001437e-05</c:v>
                </c:pt>
                <c:pt idx="3">
                  <c:v>0.001764843887945852</c:v>
                </c:pt>
                <c:pt idx="4">
                  <c:v>0.0016760989617459897</c:v>
                </c:pt>
                <c:pt idx="5">
                  <c:v>0.0026740455529004827</c:v>
                </c:pt>
                <c:pt idx="6">
                  <c:v>1.3164909355001437e-05</c:v>
                </c:pt>
                <c:pt idx="7">
                  <c:v>1.3164909355001437e-05</c:v>
                </c:pt>
                <c:pt idx="8">
                  <c:v>1.3164909355001437e-05</c:v>
                </c:pt>
                <c:pt idx="9">
                  <c:v>1.3164909355001437e-05</c:v>
                </c:pt>
                <c:pt idx="10">
                  <c:v>1.3164909355001437e-05</c:v>
                </c:pt>
                <c:pt idx="11">
                  <c:v>1.3164909355001437e-05</c:v>
                </c:pt>
                <c:pt idx="12">
                  <c:v>1.3164909355001437e-05</c:v>
                </c:pt>
                <c:pt idx="13">
                  <c:v>1.3164909355001437e-05</c:v>
                </c:pt>
                <c:pt idx="14">
                  <c:v>1.3164909355001437e-05</c:v>
                </c:pt>
                <c:pt idx="15">
                  <c:v>1.3164909355001437e-05</c:v>
                </c:pt>
                <c:pt idx="16">
                  <c:v>1.3164909355001437e-05</c:v>
                </c:pt>
                <c:pt idx="17">
                  <c:v>1.3164909355001437e-05</c:v>
                </c:pt>
                <c:pt idx="18">
                  <c:v>1.3164909355001437e-05</c:v>
                </c:pt>
                <c:pt idx="19">
                  <c:v>1.3164909355001437e-05</c:v>
                </c:pt>
                <c:pt idx="20">
                  <c:v>1.3164909355001437e-05</c:v>
                </c:pt>
                <c:pt idx="21">
                  <c:v>1.3164909355001437e-05</c:v>
                </c:pt>
                <c:pt idx="22">
                  <c:v>0.0035118456298778335</c:v>
                </c:pt>
                <c:pt idx="23">
                  <c:v>1.3164909355001437e-05</c:v>
                </c:pt>
                <c:pt idx="24">
                  <c:v>0.0027936933933009663</c:v>
                </c:pt>
                <c:pt idx="25">
                  <c:v>1.3164909355001437e-05</c:v>
                </c:pt>
                <c:pt idx="26">
                  <c:v>1.3164909355001437e-05</c:v>
                </c:pt>
                <c:pt idx="27">
                  <c:v>1.3164909355001437e-05</c:v>
                </c:pt>
                <c:pt idx="28">
                  <c:v>1.3164909355001437e-05</c:v>
                </c:pt>
                <c:pt idx="29">
                  <c:v>1.3164909355001437e-05</c:v>
                </c:pt>
                <c:pt idx="30">
                  <c:v>1.3164909355001437e-05</c:v>
                </c:pt>
                <c:pt idx="31">
                  <c:v>1.3164909355001437e-05</c:v>
                </c:pt>
                <c:pt idx="32">
                  <c:v>1.3164909355001437e-05</c:v>
                </c:pt>
                <c:pt idx="33">
                  <c:v>1.3164909355001437e-05</c:v>
                </c:pt>
                <c:pt idx="34">
                  <c:v>0.0009139761541790467</c:v>
                </c:pt>
                <c:pt idx="35">
                  <c:v>0.016845471618457813</c:v>
                </c:pt>
                <c:pt idx="36">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9215686274509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10502528494157</c:v>
                </c:pt>
                <c:pt idx="1">
                  <c:v>0.6460023248375529</c:v>
                </c:pt>
                <c:pt idx="2">
                  <c:v>0.6295643293851801</c:v>
                </c:pt>
                <c:pt idx="3">
                  <c:v>0.6286638338361127</c:v>
                </c:pt>
                <c:pt idx="4">
                  <c:v>0.6115663191086302</c:v>
                </c:pt>
                <c:pt idx="5">
                  <c:v>0.6075587773793926</c:v>
                </c:pt>
                <c:pt idx="6">
                  <c:v>0.5759580762222459</c:v>
                </c:pt>
                <c:pt idx="7">
                  <c:v>0.5695582620933184</c:v>
                </c:pt>
                <c:pt idx="8">
                  <c:v>0.5811057509209107</c:v>
                </c:pt>
                <c:pt idx="9">
                  <c:v>0.607901221485945</c:v>
                </c:pt>
                <c:pt idx="10">
                  <c:v>0.6143065959407812</c:v>
                </c:pt>
                <c:pt idx="11">
                  <c:v>0.6318391256625324</c:v>
                </c:pt>
                <c:pt idx="12">
                  <c:v>0.6541350728919981</c:v>
                </c:pt>
                <c:pt idx="13">
                  <c:v>0.6548744414526574</c:v>
                </c:pt>
                <c:pt idx="14">
                  <c:v>0.6624481939077403</c:v>
                </c:pt>
                <c:pt idx="15">
                  <c:v>0.6721858882761188</c:v>
                </c:pt>
                <c:pt idx="16">
                  <c:v>0.6775146426805683</c:v>
                </c:pt>
                <c:pt idx="17">
                  <c:v>0.6524884277113078</c:v>
                </c:pt>
                <c:pt idx="18">
                  <c:v>0.6795918978012069</c:v>
                </c:pt>
                <c:pt idx="19">
                  <c:v>0.6895281278433365</c:v>
                </c:pt>
                <c:pt idx="20">
                  <c:v>0.7115090371747539</c:v>
                </c:pt>
                <c:pt idx="21">
                  <c:v>0.6473732852314861</c:v>
                </c:pt>
                <c:pt idx="22">
                  <c:v>0.6129072433772947</c:v>
                </c:pt>
                <c:pt idx="23">
                  <c:v>0.6028414121789232</c:v>
                </c:pt>
                <c:pt idx="24">
                  <c:v>0.5972828275602219</c:v>
                </c:pt>
                <c:pt idx="25">
                  <c:v>0.5705718576936746</c:v>
                </c:pt>
                <c:pt idx="26">
                  <c:v>0.5693737185520943</c:v>
                </c:pt>
                <c:pt idx="27">
                  <c:v>0.5839637584917593</c:v>
                </c:pt>
                <c:pt idx="28">
                  <c:v>0.5791248668059947</c:v>
                </c:pt>
                <c:pt idx="29">
                  <c:v>0.5786164712734039</c:v>
                </c:pt>
                <c:pt idx="30">
                  <c:v>0.5723650620264855</c:v>
                </c:pt>
                <c:pt idx="31">
                  <c:v>0.5682323344884799</c:v>
                </c:pt>
                <c:pt idx="32">
                  <c:v>0.549490344577755</c:v>
                </c:pt>
                <c:pt idx="33">
                  <c:v>0.5400476144182604</c:v>
                </c:pt>
                <c:pt idx="34">
                  <c:v>0.5745010651370072</c:v>
                </c:pt>
                <c:pt idx="35">
                  <c:v>0.624264583772005</c:v>
                </c:pt>
                <c:pt idx="36">
                  <c:v>0.6429212487343219</c:v>
                </c:pt>
                <c:pt idx="37">
                  <c:v>0.6259710006991499</c:v>
                </c:pt>
                <c:pt idx="38">
                  <c:v>0.6567105140280427</c:v>
                </c:pt>
                <c:pt idx="39">
                  <c:v>0.6803107974673198</c:v>
                </c:pt>
                <c:pt idx="40">
                  <c:v>0.671759132337851</c:v>
                </c:pt>
                <c:pt idx="41">
                  <c:v>0.6560564119403179</c:v>
                </c:pt>
                <c:pt idx="42">
                  <c:v>0.6786427164572945</c:v>
                </c:pt>
                <c:pt idx="43">
                  <c:v>0.6882504512786243</c:v>
                </c:pt>
                <c:pt idx="44">
                  <c:v>0.6975855611355368</c:v>
                </c:pt>
                <c:pt idx="45">
                  <c:v>0.6951591963392071</c:v>
                </c:pt>
                <c:pt idx="46">
                  <c:v>0.695230271313186</c:v>
                </c:pt>
                <c:pt idx="47">
                  <c:v>0.6982460323272528</c:v>
                </c:pt>
                <c:pt idx="48">
                  <c:v>0.7079875334150244</c:v>
                </c:pt>
                <c:pt idx="49">
                  <c:v>0.7047068864373446</c:v>
                </c:pt>
                <c:pt idx="50">
                  <c:v>0.6604709171240708</c:v>
                </c:pt>
                <c:pt idx="51">
                  <c:v>0.6560063799725644</c:v>
                </c:pt>
                <c:pt idx="52">
                  <c:v>0.6659150042001328</c:v>
                </c:pt>
                <c:pt idx="53">
                  <c:v>0.651519891784837</c:v>
                </c:pt>
                <c:pt idx="54">
                  <c:v>0.6252917131573169</c:v>
                </c:pt>
                <c:pt idx="55">
                  <c:v>0.6337472078443785</c:v>
                </c:pt>
                <c:pt idx="56">
                  <c:v>0.6324808994065965</c:v>
                </c:pt>
                <c:pt idx="57">
                  <c:v>0.6285088240297422</c:v>
                </c:pt>
                <c:pt idx="58">
                  <c:v>0.6117778993584044</c:v>
                </c:pt>
                <c:pt idx="59">
                  <c:v>0.6363876587767948</c:v>
                </c:pt>
                <c:pt idx="60">
                  <c:v>0.6409854886067338</c:v>
                </c:pt>
                <c:pt idx="61">
                  <c:v>0.6498708010335917</c:v>
                </c:pt>
                <c:pt idx="62">
                  <c:v>0.629059997434636</c:v>
                </c:pt>
                <c:pt idx="63">
                  <c:v>0.6452226911114858</c:v>
                </c:pt>
                <c:pt idx="64">
                  <c:v>0.6841108622882572</c:v>
                </c:pt>
                <c:pt idx="65">
                  <c:v>0.6929746380699415</c:v>
                </c:pt>
                <c:pt idx="66">
                  <c:v>0.7031068489071677</c:v>
                </c:pt>
                <c:pt idx="67">
                  <c:v>0.7201813358463832</c:v>
                </c:pt>
                <c:pt idx="68">
                  <c:v>0.7265079984759042</c:v>
                </c:pt>
                <c:pt idx="69">
                  <c:v>0.7333934782162326</c:v>
                </c:pt>
                <c:pt idx="70">
                  <c:v>0.7083241665413412</c:v>
                </c:pt>
                <c:pt idx="71">
                  <c:v>0.6847340246534065</c:v>
                </c:pt>
                <c:pt idx="72">
                  <c:v>0.7314240134186106</c:v>
                </c:pt>
                <c:pt idx="73">
                  <c:v>0.6987610218330907</c:v>
                </c:pt>
                <c:pt idx="74">
                  <c:v>0.6875462412129798</c:v>
                </c:pt>
                <c:pt idx="75">
                  <c:v>0.6660438474248948</c:v>
                </c:pt>
                <c:pt idx="76">
                  <c:v>0.6471975469068546</c:v>
                </c:pt>
                <c:pt idx="77">
                  <c:v>0.6574234651243427</c:v>
                </c:pt>
                <c:pt idx="78">
                  <c:v>0.6798006126997369</c:v>
                </c:pt>
                <c:pt idx="79">
                  <c:v>0.6645645405612601</c:v>
                </c:pt>
                <c:pt idx="80">
                  <c:v>0.7040785556479139</c:v>
                </c:pt>
                <c:pt idx="81">
                  <c:v>0.709556367999542</c:v>
                </c:pt>
                <c:pt idx="82">
                  <c:v>0.698560798844633</c:v>
                </c:pt>
                <c:pt idx="83">
                  <c:v>0.664464541915534</c:v>
                </c:pt>
                <c:pt idx="84">
                  <c:v>0.6834332315034072</c:v>
                </c:pt>
                <c:pt idx="85">
                  <c:v>0.6746049409307286</c:v>
                </c:pt>
                <c:pt idx="86">
                  <c:v>0.6913630449735764</c:v>
                </c:pt>
                <c:pt idx="87">
                  <c:v>0.7133465430485333</c:v>
                </c:pt>
                <c:pt idx="88">
                  <c:v>0.6880404496615472</c:v>
                </c:pt>
                <c:pt idx="89">
                  <c:v>0.6652290071331165</c:v>
                </c:pt>
                <c:pt idx="90">
                  <c:v>0.6836347172013092</c:v>
                </c:pt>
                <c:pt idx="91">
                  <c:v>0.7012607791238484</c:v>
                </c:pt>
                <c:pt idx="92">
                  <c:v>0.7046178150247387</c:v>
                </c:pt>
                <c:pt idx="93">
                  <c:v>0.7124174280496699</c:v>
                </c:pt>
                <c:pt idx="94">
                  <c:v>0.7169898597472252</c:v>
                </c:pt>
                <c:pt idx="95">
                  <c:v>0.7245498991141457</c:v>
                </c:pt>
                <c:pt idx="96">
                  <c:v>0.7273024073453437</c:v>
                </c:pt>
                <c:pt idx="97">
                  <c:v>0.7649932792815027</c:v>
                </c:pt>
                <c:pt idx="98">
                  <c:v>0.7746287617558835</c:v>
                </c:pt>
                <c:pt idx="99">
                  <c:v>0.767554734181134</c:v>
                </c:pt>
                <c:pt idx="100">
                  <c:v>0.7603286119217738</c:v>
                </c:pt>
                <c:pt idx="101">
                  <c:v>0.714861927549096</c:v>
                </c:pt>
                <c:pt idx="102">
                  <c:v>0.6962128978537848</c:v>
                </c:pt>
                <c:pt idx="103">
                  <c:v>0.7088944501417115</c:v>
                </c:pt>
                <c:pt idx="104">
                  <c:v>0.6985688781563689</c:v>
                </c:pt>
              </c:numCache>
            </c:numRef>
          </c:xVal>
          <c:yVal>
            <c:numRef>
              <c:f>Sheet1!$B$2:$B$106</c:f>
              <c:numCache>
                <c:formatCode>General</c:formatCode>
                <c:ptCount val="105"/>
                <c:pt idx="0">
                  <c:v>0.23418296003728872</c:v>
                </c:pt>
                <c:pt idx="1">
                  <c:v>0.23165931366074022</c:v>
                </c:pt>
                <c:pt idx="2">
                  <c:v>0.23278705032349017</c:v>
                </c:pt>
                <c:pt idx="3">
                  <c:v>0.2333306651724966</c:v>
                </c:pt>
                <c:pt idx="4">
                  <c:v>0.24390852650297945</c:v>
                </c:pt>
                <c:pt idx="5">
                  <c:v>0.24503670603255664</c:v>
                </c:pt>
                <c:pt idx="6">
                  <c:v>0.2710683172856488</c:v>
                </c:pt>
                <c:pt idx="7">
                  <c:v>0.27163461538461536</c:v>
                </c:pt>
                <c:pt idx="8">
                  <c:v>0.2694881600235329</c:v>
                </c:pt>
                <c:pt idx="9">
                  <c:v>0.26030640668523675</c:v>
                </c:pt>
                <c:pt idx="10">
                  <c:v>0.25559079668852813</c:v>
                </c:pt>
                <c:pt idx="11">
                  <c:v>0.23839553955666223</c:v>
                </c:pt>
                <c:pt idx="12">
                  <c:v>0.22530389481518234</c:v>
                </c:pt>
                <c:pt idx="13">
                  <c:v>0.2139519185835194</c:v>
                </c:pt>
                <c:pt idx="14">
                  <c:v>0.19948627892957305</c:v>
                </c:pt>
                <c:pt idx="15">
                  <c:v>0.19059006211180124</c:v>
                </c:pt>
                <c:pt idx="16">
                  <c:v>0.18442418631151627</c:v>
                </c:pt>
                <c:pt idx="17">
                  <c:v>0.18214480981020073</c:v>
                </c:pt>
                <c:pt idx="18">
                  <c:v>0.16781849002477506</c:v>
                </c:pt>
                <c:pt idx="19">
                  <c:v>0.1664623557053836</c:v>
                </c:pt>
                <c:pt idx="20">
                  <c:v>0.1770842061164642</c:v>
                </c:pt>
                <c:pt idx="21">
                  <c:v>0.18134497081865503</c:v>
                </c:pt>
                <c:pt idx="22">
                  <c:v>0.1921511324496399</c:v>
                </c:pt>
                <c:pt idx="23">
                  <c:v>0.20127326150832517</c:v>
                </c:pt>
                <c:pt idx="24">
                  <c:v>0.20410230438085591</c:v>
                </c:pt>
                <c:pt idx="25">
                  <c:v>0.20850965161439916</c:v>
                </c:pt>
                <c:pt idx="26">
                  <c:v>0.2231766279189384</c:v>
                </c:pt>
                <c:pt idx="27">
                  <c:v>0.22059716599190282</c:v>
                </c:pt>
                <c:pt idx="28">
                  <c:v>0.2278031977790345</c:v>
                </c:pt>
                <c:pt idx="29">
                  <c:v>0.22411392120749293</c:v>
                </c:pt>
                <c:pt idx="30">
                  <c:v>0.22836372028617585</c:v>
                </c:pt>
                <c:pt idx="31">
                  <c:v>0.23155645524066576</c:v>
                </c:pt>
                <c:pt idx="32">
                  <c:v>0.2391124358337473</c:v>
                </c:pt>
                <c:pt idx="33">
                  <c:v>0.23732728936930655</c:v>
                </c:pt>
                <c:pt idx="34">
                  <c:v>0.2376046610332986</c:v>
                </c:pt>
                <c:pt idx="35">
                  <c:v>0.25597164957235835</c:v>
                </c:pt>
                <c:pt idx="36">
                  <c:v>0.2249256444150694</c:v>
                </c:pt>
                <c:pt idx="37">
                  <c:v>0.21881479338444476</c:v>
                </c:pt>
                <c:pt idx="38">
                  <c:v>0.20735478882767952</c:v>
                </c:pt>
                <c:pt idx="39">
                  <c:v>0.20157617317435136</c:v>
                </c:pt>
                <c:pt idx="40">
                  <c:v>0.2043353918846106</c:v>
                </c:pt>
                <c:pt idx="41">
                  <c:v>0.19930262433474033</c:v>
                </c:pt>
                <c:pt idx="42">
                  <c:v>0.19792563600782778</c:v>
                </c:pt>
                <c:pt idx="43">
                  <c:v>0.19148566463944397</c:v>
                </c:pt>
                <c:pt idx="44">
                  <c:v>0.18882872746876686</c:v>
                </c:pt>
                <c:pt idx="45">
                  <c:v>0.20146325946347152</c:v>
                </c:pt>
                <c:pt idx="46">
                  <c:v>0.20674221893734088</c:v>
                </c:pt>
                <c:pt idx="47">
                  <c:v>0.20248705097825404</c:v>
                </c:pt>
                <c:pt idx="48">
                  <c:v>0.20068823124569857</c:v>
                </c:pt>
                <c:pt idx="49">
                  <c:v>0.21421377913941334</c:v>
                </c:pt>
                <c:pt idx="50">
                  <c:v>0.20370295834171864</c:v>
                </c:pt>
                <c:pt idx="51">
                  <c:v>0.19657907167540958</c:v>
                </c:pt>
                <c:pt idx="52">
                  <c:v>0.1990873753591347</c:v>
                </c:pt>
                <c:pt idx="53">
                  <c:v>0.1924849250862364</c:v>
                </c:pt>
                <c:pt idx="54">
                  <c:v>0.19632599504300918</c:v>
                </c:pt>
                <c:pt idx="55">
                  <c:v>0.1932637372498579</c:v>
                </c:pt>
                <c:pt idx="56">
                  <c:v>0.1963961784980046</c:v>
                </c:pt>
                <c:pt idx="57">
                  <c:v>0.1902930783620869</c:v>
                </c:pt>
                <c:pt idx="58">
                  <c:v>0.2004390569819605</c:v>
                </c:pt>
                <c:pt idx="59">
                  <c:v>0.19565183241961073</c:v>
                </c:pt>
                <c:pt idx="60">
                  <c:v>0.1985710596539554</c:v>
                </c:pt>
                <c:pt idx="61">
                  <c:v>0.19782154510669264</c:v>
                </c:pt>
                <c:pt idx="62">
                  <c:v>0.21214106590154305</c:v>
                </c:pt>
                <c:pt idx="63">
                  <c:v>0.2160689782292584</c:v>
                </c:pt>
                <c:pt idx="64">
                  <c:v>0.2057314629258517</c:v>
                </c:pt>
                <c:pt idx="65">
                  <c:v>0.20019627085377822</c:v>
                </c:pt>
                <c:pt idx="66">
                  <c:v>0.1993405749644317</c:v>
                </c:pt>
                <c:pt idx="67">
                  <c:v>0.18906573406609092</c:v>
                </c:pt>
                <c:pt idx="68">
                  <c:v>0.1790146244498083</c:v>
                </c:pt>
                <c:pt idx="69">
                  <c:v>0.17184334908845375</c:v>
                </c:pt>
                <c:pt idx="70">
                  <c:v>0.17183179516644523</c:v>
                </c:pt>
                <c:pt idx="71">
                  <c:v>0.1720010810393421</c:v>
                </c:pt>
                <c:pt idx="72">
                  <c:v>0.1703549517966696</c:v>
                </c:pt>
                <c:pt idx="73">
                  <c:v>0.17289084055492948</c:v>
                </c:pt>
                <c:pt idx="74">
                  <c:v>0.1736186858238989</c:v>
                </c:pt>
                <c:pt idx="75">
                  <c:v>0.18380130535722108</c:v>
                </c:pt>
                <c:pt idx="76">
                  <c:v>0.1867787900023359</c:v>
                </c:pt>
                <c:pt idx="77">
                  <c:v>0.17921302316620913</c:v>
                </c:pt>
                <c:pt idx="78">
                  <c:v>0.183714055361462</c:v>
                </c:pt>
                <c:pt idx="79">
                  <c:v>0.16925569427237205</c:v>
                </c:pt>
                <c:pt idx="80">
                  <c:v>0.1642047079005051</c:v>
                </c:pt>
                <c:pt idx="81">
                  <c:v>0.1722029753413491</c:v>
                </c:pt>
                <c:pt idx="82">
                  <c:v>0.17136125654450263</c:v>
                </c:pt>
                <c:pt idx="83">
                  <c:v>0.17091711623344777</c:v>
                </c:pt>
                <c:pt idx="84">
                  <c:v>0.1731971525843392</c:v>
                </c:pt>
                <c:pt idx="85">
                  <c:v>0.1781016320069865</c:v>
                </c:pt>
                <c:pt idx="86">
                  <c:v>0.18914164143687096</c:v>
                </c:pt>
                <c:pt idx="87">
                  <c:v>0.20626872551279096</c:v>
                </c:pt>
                <c:pt idx="88">
                  <c:v>0.19925086345283846</c:v>
                </c:pt>
                <c:pt idx="89">
                  <c:v>0.18920077137347333</c:v>
                </c:pt>
                <c:pt idx="90">
                  <c:v>0.17882288228822882</c:v>
                </c:pt>
                <c:pt idx="91">
                  <c:v>0.17116303770578864</c:v>
                </c:pt>
                <c:pt idx="92">
                  <c:v>0.18376905390445372</c:v>
                </c:pt>
                <c:pt idx="93">
                  <c:v>0.17386494017374202</c:v>
                </c:pt>
                <c:pt idx="94">
                  <c:v>0.17872005918801442</c:v>
                </c:pt>
                <c:pt idx="95">
                  <c:v>0.18349928876244664</c:v>
                </c:pt>
                <c:pt idx="96">
                  <c:v>0.1838017571962526</c:v>
                </c:pt>
                <c:pt idx="97">
                  <c:v>0.18564141638622558</c:v>
                </c:pt>
                <c:pt idx="98">
                  <c:v>0.19047008859925313</c:v>
                </c:pt>
                <c:pt idx="99">
                  <c:v>0.19314582541492462</c:v>
                </c:pt>
                <c:pt idx="100">
                  <c:v>0.19683051921857891</c:v>
                </c:pt>
                <c:pt idx="101">
                  <c:v>0.19314315106433488</c:v>
                </c:pt>
                <c:pt idx="102">
                  <c:v>0.17887716504081227</c:v>
                </c:pt>
                <c:pt idx="103">
                  <c:v>0.1841797332085186</c:v>
                </c:pt>
                <c:pt idx="104">
                  <c:v>0.1828788495455162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984679949274117</c:v>
                </c:pt>
                <c:pt idx="1">
                  <c:v>0.6682346129986132</c:v>
                </c:pt>
                <c:pt idx="2">
                  <c:v>0.6848741701742131</c:v>
                </c:pt>
                <c:pt idx="3">
                  <c:v>0.6642042005329124</c:v>
                </c:pt>
                <c:pt idx="4">
                  <c:v>0.6701547226296386</c:v>
                </c:pt>
                <c:pt idx="5">
                  <c:v>0.6780705716780593</c:v>
                </c:pt>
                <c:pt idx="6">
                  <c:v>0.6793578252622248</c:v>
                </c:pt>
                <c:pt idx="7">
                  <c:v>0.67754683068356</c:v>
                </c:pt>
                <c:pt idx="8">
                  <c:v>0.6892475431808063</c:v>
                </c:pt>
                <c:pt idx="9">
                  <c:v>0.6645363172489088</c:v>
                </c:pt>
                <c:pt idx="10">
                  <c:v>0.6809440209779833</c:v>
                </c:pt>
                <c:pt idx="11">
                  <c:v>0.6861103542933628</c:v>
                </c:pt>
                <c:pt idx="12">
                  <c:v>0.690775633439098</c:v>
                </c:pt>
                <c:pt idx="13">
                  <c:v>0.6572334744318832</c:v>
                </c:pt>
                <c:pt idx="14">
                  <c:v>0.6603900728280822</c:v>
                </c:pt>
                <c:pt idx="15">
                  <c:v>0.655622056065113</c:v>
                </c:pt>
                <c:pt idx="16">
                  <c:v>0.6808592525831239</c:v>
                </c:pt>
                <c:pt idx="17">
                  <c:v>0.6554769294919907</c:v>
                </c:pt>
                <c:pt idx="18">
                  <c:v>0.6688754844345223</c:v>
                </c:pt>
                <c:pt idx="19">
                  <c:v>0.676262997174144</c:v>
                </c:pt>
                <c:pt idx="20">
                  <c:v>0.6428167720046394</c:v>
                </c:pt>
                <c:pt idx="21">
                  <c:v>0.6109279272069456</c:v>
                </c:pt>
                <c:pt idx="22">
                  <c:v>0.618473384892179</c:v>
                </c:pt>
                <c:pt idx="23">
                  <c:v>0.6194685121031388</c:v>
                </c:pt>
                <c:pt idx="24">
                  <c:v>0.613637390853087</c:v>
                </c:pt>
                <c:pt idx="25">
                  <c:v>0.6444274850481203</c:v>
                </c:pt>
                <c:pt idx="26">
                  <c:v>0.6462056427475092</c:v>
                </c:pt>
                <c:pt idx="27">
                  <c:v>0.6704637939265877</c:v>
                </c:pt>
                <c:pt idx="28">
                  <c:v>0.684611207146992</c:v>
                </c:pt>
                <c:pt idx="29">
                  <c:v>0.6517132582518061</c:v>
                </c:pt>
                <c:pt idx="30">
                  <c:v>0.6450395025087821</c:v>
                </c:pt>
                <c:pt idx="31">
                  <c:v>0.6436930147326965</c:v>
                </c:pt>
                <c:pt idx="32">
                  <c:v>0.6474388731002954</c:v>
                </c:pt>
                <c:pt idx="33">
                  <c:v>0.6707805935740853</c:v>
                </c:pt>
                <c:pt idx="34">
                  <c:v>0.6941821174009283</c:v>
                </c:pt>
                <c:pt idx="35">
                  <c:v>0.6720579649751159</c:v>
                </c:pt>
                <c:pt idx="36">
                  <c:v>0.6199576343946392</c:v>
                </c:pt>
                <c:pt idx="37">
                  <c:v>0.6188315776795508</c:v>
                </c:pt>
                <c:pt idx="38">
                  <c:v>0.6231741752053583</c:v>
                </c:pt>
                <c:pt idx="39">
                  <c:v>0.6588436428421832</c:v>
                </c:pt>
                <c:pt idx="40">
                  <c:v>0.6629296301914179</c:v>
                </c:pt>
                <c:pt idx="41">
                  <c:v>0.6755474094572056</c:v>
                </c:pt>
                <c:pt idx="42">
                  <c:v>0.6519203296361079</c:v>
                </c:pt>
                <c:pt idx="43">
                  <c:v>0.7003653632262122</c:v>
                </c:pt>
                <c:pt idx="44">
                  <c:v>0.7336056405017437</c:v>
                </c:pt>
                <c:pt idx="45">
                  <c:v>0.7425235930316524</c:v>
                </c:pt>
                <c:pt idx="46">
                  <c:v>0.7145924906807818</c:v>
                </c:pt>
                <c:pt idx="47">
                  <c:v>0.7234639160726449</c:v>
                </c:pt>
                <c:pt idx="48">
                  <c:v>0.758586755003538</c:v>
                </c:pt>
                <c:pt idx="49">
                  <c:v>0.7769592645724673</c:v>
                </c:pt>
                <c:pt idx="50">
                  <c:v>0.7597565042965331</c:v>
                </c:pt>
                <c:pt idx="51">
                  <c:v>0.7274957681716812</c:v>
                </c:pt>
              </c:numCache>
            </c:numRef>
          </c:xVal>
          <c:yVal>
            <c:numRef>
              <c:f>Sheet1!$B$109:$B$160</c:f>
              <c:numCache>
                <c:formatCode>General</c:formatCode>
                <c:ptCount val="52"/>
                <c:pt idx="0">
                  <c:v>0.1894963069094143</c:v>
                </c:pt>
                <c:pt idx="1">
                  <c:v>0.18750654793085386</c:v>
                </c:pt>
                <c:pt idx="2">
                  <c:v>0.20014538973829848</c:v>
                </c:pt>
                <c:pt idx="3">
                  <c:v>0.21038936683935394</c:v>
                </c:pt>
                <c:pt idx="4">
                  <c:v>0.1959896821920475</c:v>
                </c:pt>
                <c:pt idx="5">
                  <c:v>0.19458164213408968</c:v>
                </c:pt>
                <c:pt idx="6">
                  <c:v>0.20185614849187936</c:v>
                </c:pt>
                <c:pt idx="7">
                  <c:v>0.19727827016154378</c:v>
                </c:pt>
                <c:pt idx="8">
                  <c:v>0.18963312016156175</c:v>
                </c:pt>
                <c:pt idx="9">
                  <c:v>0.19934265604167312</c:v>
                </c:pt>
                <c:pt idx="10">
                  <c:v>0.20140063503368053</c:v>
                </c:pt>
                <c:pt idx="11">
                  <c:v>0.20503451986012733</c:v>
                </c:pt>
                <c:pt idx="12">
                  <c:v>0.2040353661301292</c:v>
                </c:pt>
                <c:pt idx="13">
                  <c:v>0.2056782334384858</c:v>
                </c:pt>
                <c:pt idx="14">
                  <c:v>0.20327488769743515</c:v>
                </c:pt>
                <c:pt idx="15">
                  <c:v>0.20087417464893517</c:v>
                </c:pt>
                <c:pt idx="16">
                  <c:v>0.1910104279036318</c:v>
                </c:pt>
                <c:pt idx="17">
                  <c:v>0.1925306829305022</c:v>
                </c:pt>
                <c:pt idx="18">
                  <c:v>0.196917183509668</c:v>
                </c:pt>
                <c:pt idx="19">
                  <c:v>0.19663485685585133</c:v>
                </c:pt>
                <c:pt idx="20">
                  <c:v>0.1837483739081955</c:v>
                </c:pt>
                <c:pt idx="21">
                  <c:v>0.1940855584266437</c:v>
                </c:pt>
                <c:pt idx="22">
                  <c:v>0.19056251062142412</c:v>
                </c:pt>
                <c:pt idx="23">
                  <c:v>0.1984478935698448</c:v>
                </c:pt>
                <c:pt idx="24">
                  <c:v>0.19864755206924534</c:v>
                </c:pt>
                <c:pt idx="25">
                  <c:v>0.19644681575661255</c:v>
                </c:pt>
                <c:pt idx="26">
                  <c:v>0.19033461268176657</c:v>
                </c:pt>
                <c:pt idx="27">
                  <c:v>0.19085876647234606</c:v>
                </c:pt>
                <c:pt idx="28">
                  <c:v>0.1812658003282033</c:v>
                </c:pt>
                <c:pt idx="29">
                  <c:v>0.18279283123533177</c:v>
                </c:pt>
                <c:pt idx="30">
                  <c:v>0.19084139157496943</c:v>
                </c:pt>
                <c:pt idx="31">
                  <c:v>0.1821759399406672</c:v>
                </c:pt>
                <c:pt idx="32">
                  <c:v>0.17766712575484692</c:v>
                </c:pt>
                <c:pt idx="33">
                  <c:v>0.1963195611784482</c:v>
                </c:pt>
                <c:pt idx="34">
                  <c:v>0.21426120376089494</c:v>
                </c:pt>
                <c:pt idx="35">
                  <c:v>0.2104092893024788</c:v>
                </c:pt>
                <c:pt idx="36">
                  <c:v>0.19495100266078266</c:v>
                </c:pt>
                <c:pt idx="37">
                  <c:v>0.1963151207115629</c:v>
                </c:pt>
                <c:pt idx="38">
                  <c:v>0.1955647775904552</c:v>
                </c:pt>
                <c:pt idx="39">
                  <c:v>0.20316422718014304</c:v>
                </c:pt>
                <c:pt idx="40">
                  <c:v>0.18989506772061202</c:v>
                </c:pt>
                <c:pt idx="41">
                  <c:v>0.1931857638888889</c:v>
                </c:pt>
                <c:pt idx="42">
                  <c:v>0.19118435808669365</c:v>
                </c:pt>
                <c:pt idx="43">
                  <c:v>0.1848424212106053</c:v>
                </c:pt>
                <c:pt idx="44">
                  <c:v>0.18245932342268523</c:v>
                </c:pt>
                <c:pt idx="45">
                  <c:v>0.19764369081700067</c:v>
                </c:pt>
                <c:pt idx="46">
                  <c:v>0.20973189782562804</c:v>
                </c:pt>
                <c:pt idx="47">
                  <c:v>0.2101964475933312</c:v>
                </c:pt>
                <c:pt idx="48">
                  <c:v>0.2043618236577007</c:v>
                </c:pt>
                <c:pt idx="49">
                  <c:v>0.21280588500225192</c:v>
                </c:pt>
                <c:pt idx="50">
                  <c:v>0.21910028766987402</c:v>
                </c:pt>
                <c:pt idx="51">
                  <c:v>0.2106088600524212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736992043651355</c:v>
                </c:pt>
              </c:numCache>
            </c:numRef>
          </c:xVal>
          <c:yVal>
            <c:numRef>
              <c:f>Sheet1!$B$163:$B$164</c:f>
              <c:numCache>
                <c:formatCode>General</c:formatCode>
                <c:ptCount val="2"/>
                <c:pt idx="0">
                  <c:v>0.24812181271370543</c:v>
                </c:pt>
                <c:pt idx="1">
                  <c:v>0.248121812713705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736992043651355</c:v>
                </c:pt>
                <c:pt idx="1">
                  <c:v>1.1736992043651355</c:v>
                </c:pt>
              </c:numCache>
            </c:numRef>
          </c:xVal>
          <c:yVal>
            <c:numRef>
              <c:f>Sheet1!$B$167:$B$168</c:f>
              <c:numCache>
                <c:formatCode>General</c:formatCode>
                <c:ptCount val="2"/>
                <c:pt idx="0">
                  <c:v>0.248121812713705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181164981435877</c:v>
                </c:pt>
              </c:numCache>
            </c:numRef>
          </c:xVal>
          <c:yVal>
            <c:numRef>
              <c:f>Sheet1!$B$171:$B$172</c:f>
              <c:numCache>
                <c:formatCode>General</c:formatCode>
                <c:ptCount val="2"/>
                <c:pt idx="0">
                  <c:v>0.211719214095562</c:v>
                </c:pt>
                <c:pt idx="1">
                  <c:v>0.21171921409556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181164981435877</c:v>
                </c:pt>
                <c:pt idx="1">
                  <c:v>0.8181164981435877</c:v>
                </c:pt>
              </c:numCache>
            </c:numRef>
          </c:xVal>
          <c:yVal>
            <c:numRef>
              <c:f>Sheet1!$B$175:$B$176</c:f>
              <c:numCache>
                <c:formatCode>General</c:formatCode>
                <c:ptCount val="2"/>
                <c:pt idx="0">
                  <c:v>0.2117192140955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105403240409728</c:v>
                </c:pt>
              </c:numCache>
            </c:numRef>
          </c:xVal>
          <c:yVal>
            <c:numRef>
              <c:f>Sheet1!$B$179:$B$180</c:f>
              <c:numCache>
                <c:formatCode>General</c:formatCode>
                <c:ptCount val="2"/>
                <c:pt idx="0">
                  <c:v>0.20070615800983355</c:v>
                </c:pt>
                <c:pt idx="1">
                  <c:v>0.2007061580098335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105403240409728</c:v>
                </c:pt>
                <c:pt idx="1">
                  <c:v>0.7105403240409728</c:v>
                </c:pt>
              </c:numCache>
            </c:numRef>
          </c:xVal>
          <c:yVal>
            <c:numRef>
              <c:f>Sheet1!$B$183:$B$184</c:f>
              <c:numCache>
                <c:formatCode>General</c:formatCode>
                <c:ptCount val="2"/>
                <c:pt idx="0">
                  <c:v>0.200706158009833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984679949274117</c:v>
                </c:pt>
                <c:pt idx="1">
                  <c:v>0.6682346129986132</c:v>
                </c:pt>
                <c:pt idx="2">
                  <c:v>0.6848741701742131</c:v>
                </c:pt>
                <c:pt idx="3">
                  <c:v>0.6642042005329124</c:v>
                </c:pt>
                <c:pt idx="4">
                  <c:v>0.6701547226296386</c:v>
                </c:pt>
                <c:pt idx="5">
                  <c:v>0.6780705716780593</c:v>
                </c:pt>
                <c:pt idx="6">
                  <c:v>0.6793578252622248</c:v>
                </c:pt>
                <c:pt idx="7">
                  <c:v>0.67754683068356</c:v>
                </c:pt>
                <c:pt idx="8">
                  <c:v>0.6892475431808063</c:v>
                </c:pt>
                <c:pt idx="9">
                  <c:v>0.6645363172489088</c:v>
                </c:pt>
                <c:pt idx="10">
                  <c:v>0.6809440209779833</c:v>
                </c:pt>
                <c:pt idx="11">
                  <c:v>0.6861103542933628</c:v>
                </c:pt>
                <c:pt idx="12">
                  <c:v>0.690775633439098</c:v>
                </c:pt>
                <c:pt idx="13">
                  <c:v>0.6572334744318832</c:v>
                </c:pt>
                <c:pt idx="14">
                  <c:v>0.6603900728280822</c:v>
                </c:pt>
                <c:pt idx="15">
                  <c:v>0.655622056065113</c:v>
                </c:pt>
                <c:pt idx="16">
                  <c:v>0.6808592525831239</c:v>
                </c:pt>
                <c:pt idx="17">
                  <c:v>0.6554769294919907</c:v>
                </c:pt>
                <c:pt idx="18">
                  <c:v>0.6688754844345223</c:v>
                </c:pt>
                <c:pt idx="19">
                  <c:v>0.676262997174144</c:v>
                </c:pt>
                <c:pt idx="20">
                  <c:v>0.6428167720046394</c:v>
                </c:pt>
                <c:pt idx="21">
                  <c:v>0.6109279272069456</c:v>
                </c:pt>
                <c:pt idx="22">
                  <c:v>0.618473384892179</c:v>
                </c:pt>
                <c:pt idx="23">
                  <c:v>0.6194685121031388</c:v>
                </c:pt>
                <c:pt idx="24">
                  <c:v>0.613637390853087</c:v>
                </c:pt>
                <c:pt idx="25">
                  <c:v>0.6444274850481203</c:v>
                </c:pt>
                <c:pt idx="26">
                  <c:v>0.6462056427475092</c:v>
                </c:pt>
                <c:pt idx="27">
                  <c:v>0.6704637939265877</c:v>
                </c:pt>
                <c:pt idx="28">
                  <c:v>0.684611207146992</c:v>
                </c:pt>
                <c:pt idx="29">
                  <c:v>0.6517132582518061</c:v>
                </c:pt>
                <c:pt idx="30">
                  <c:v>0.6450395025087821</c:v>
                </c:pt>
                <c:pt idx="31">
                  <c:v>0.6436930147326965</c:v>
                </c:pt>
                <c:pt idx="32">
                  <c:v>0.6474388731002954</c:v>
                </c:pt>
                <c:pt idx="33">
                  <c:v>0.6707805935740853</c:v>
                </c:pt>
                <c:pt idx="34">
                  <c:v>0.6941821174009283</c:v>
                </c:pt>
                <c:pt idx="35">
                  <c:v>0.6720579649751159</c:v>
                </c:pt>
                <c:pt idx="36">
                  <c:v>0.6199576343946392</c:v>
                </c:pt>
                <c:pt idx="37">
                  <c:v>0.6188315776795508</c:v>
                </c:pt>
                <c:pt idx="38">
                  <c:v>0.6231741752053583</c:v>
                </c:pt>
                <c:pt idx="39">
                  <c:v>0.6588436428421832</c:v>
                </c:pt>
                <c:pt idx="40">
                  <c:v>0.6629296301914179</c:v>
                </c:pt>
                <c:pt idx="41">
                  <c:v>0.6755474094572056</c:v>
                </c:pt>
                <c:pt idx="42">
                  <c:v>0.6519203296361079</c:v>
                </c:pt>
                <c:pt idx="43">
                  <c:v>0.7003653632262122</c:v>
                </c:pt>
                <c:pt idx="44">
                  <c:v>0.7336056405017437</c:v>
                </c:pt>
                <c:pt idx="45">
                  <c:v>0.7425235930316524</c:v>
                </c:pt>
                <c:pt idx="46">
                  <c:v>0.7145924906807818</c:v>
                </c:pt>
                <c:pt idx="47">
                  <c:v>0.7234639160726449</c:v>
                </c:pt>
                <c:pt idx="48">
                  <c:v>0.758586755003538</c:v>
                </c:pt>
                <c:pt idx="49">
                  <c:v>0.7769592645724673</c:v>
                </c:pt>
                <c:pt idx="50">
                  <c:v>0.7597565042965331</c:v>
                </c:pt>
                <c:pt idx="51">
                  <c:v>0.7274957681716812</c:v>
                </c:pt>
                <c:pt idx="52">
                  <c:v>0.8181164981435877</c:v>
                </c:pt>
                <c:pt idx="53">
                  <c:v>1.1736992043651355</c:v>
                </c:pt>
                <c:pt idx="54">
                  <c:v>0.7105403240409728</c:v>
                </c:pt>
              </c:numCache>
            </c:numRef>
          </c:xVal>
          <c:yVal>
            <c:numRef>
              <c:f>Sheet1!$B$187:$B$241</c:f>
              <c:numCache>
                <c:formatCode>General</c:formatCode>
                <c:ptCount val="55"/>
                <c:pt idx="0">
                  <c:v>0.19947025945960067</c:v>
                </c:pt>
                <c:pt idx="1">
                  <c:v>0.1963751323683035</c:v>
                </c:pt>
                <c:pt idx="2">
                  <c:v>0.19807859856744314</c:v>
                </c:pt>
                <c:pt idx="3">
                  <c:v>0.1959625209429237</c:v>
                </c:pt>
                <c:pt idx="4">
                  <c:v>0.19657170261476958</c:v>
                </c:pt>
                <c:pt idx="5">
                  <c:v>0.19738208363327708</c:v>
                </c:pt>
                <c:pt idx="6">
                  <c:v>0.19751386556396228</c:v>
                </c:pt>
                <c:pt idx="7">
                  <c:v>0.19732846591546055</c:v>
                </c:pt>
                <c:pt idx="8">
                  <c:v>0.198526320403688</c:v>
                </c:pt>
                <c:pt idx="9">
                  <c:v>0.19599652122273276</c:v>
                </c:pt>
                <c:pt idx="10">
                  <c:v>0.19767625154325846</c:v>
                </c:pt>
                <c:pt idx="11">
                  <c:v>0.19820515228763302</c:v>
                </c:pt>
                <c:pt idx="12">
                  <c:v>0.19868275786634187</c:v>
                </c:pt>
                <c:pt idx="13">
                  <c:v>0.19524889640524815</c:v>
                </c:pt>
                <c:pt idx="14">
                  <c:v>0.19557205155988583</c:v>
                </c:pt>
                <c:pt idx="15">
                  <c:v>0.19508392826988868</c:v>
                </c:pt>
                <c:pt idx="16">
                  <c:v>0.19766757342196745</c:v>
                </c:pt>
                <c:pt idx="17">
                  <c:v>0.1950690710108101</c:v>
                </c:pt>
                <c:pt idx="18">
                  <c:v>0.1964407412554598</c:v>
                </c:pt>
                <c:pt idx="19">
                  <c:v>0.1971970341131876</c:v>
                </c:pt>
                <c:pt idx="20">
                  <c:v>0.1937729938299154</c:v>
                </c:pt>
                <c:pt idx="21">
                  <c:v>0.19050838956976485</c:v>
                </c:pt>
                <c:pt idx="22">
                  <c:v>0.19128085196093245</c:v>
                </c:pt>
                <c:pt idx="23">
                  <c:v>0.1913827276028035</c:v>
                </c:pt>
                <c:pt idx="24">
                  <c:v>0.19078576953188114</c:v>
                </c:pt>
                <c:pt idx="25">
                  <c:v>0.193937889758162</c:v>
                </c:pt>
                <c:pt idx="26">
                  <c:v>0.19411992774785627</c:v>
                </c:pt>
                <c:pt idx="27">
                  <c:v>0.19660334363152987</c:v>
                </c:pt>
                <c:pt idx="28">
                  <c:v>0.19805167786133496</c:v>
                </c:pt>
                <c:pt idx="29">
                  <c:v>0.19468376708266652</c:v>
                </c:pt>
                <c:pt idx="30">
                  <c:v>0.19400054473428419</c:v>
                </c:pt>
                <c:pt idx="31">
                  <c:v>0.1938626987333413</c:v>
                </c:pt>
                <c:pt idx="32">
                  <c:v>0.19424617907771768</c:v>
                </c:pt>
                <c:pt idx="33">
                  <c:v>0.19663577583424513</c:v>
                </c:pt>
                <c:pt idx="34">
                  <c:v>0.19903149492861166</c:v>
                </c:pt>
                <c:pt idx="35">
                  <c:v>0.19676654608146027</c:v>
                </c:pt>
                <c:pt idx="36">
                  <c:v>0.19143280124851558</c:v>
                </c:pt>
                <c:pt idx="37">
                  <c:v>0.19131752176528027</c:v>
                </c:pt>
                <c:pt idx="38">
                  <c:v>0.1917620929773392</c:v>
                </c:pt>
                <c:pt idx="39">
                  <c:v>0.19541373657695</c:v>
                </c:pt>
                <c:pt idx="40">
                  <c:v>0.19583203745275335</c:v>
                </c:pt>
                <c:pt idx="41">
                  <c:v>0.1971237761847788</c:v>
                </c:pt>
                <c:pt idx="42">
                  <c:v>0.1947049659102702</c:v>
                </c:pt>
                <c:pt idx="43">
                  <c:v>0.19966450157375173</c:v>
                </c:pt>
                <c:pt idx="44">
                  <c:v>0.203067458046171</c:v>
                </c:pt>
                <c:pt idx="45">
                  <c:v>0.2039804288986951</c:v>
                </c:pt>
                <c:pt idx="46">
                  <c:v>0.20112099650771847</c:v>
                </c:pt>
                <c:pt idx="47">
                  <c:v>0.2020292041681596</c:v>
                </c:pt>
                <c:pt idx="48">
                  <c:v>0.2056248869321419</c:v>
                </c:pt>
                <c:pt idx="49">
                  <c:v>0.2075057632507698</c:v>
                </c:pt>
                <c:pt idx="50">
                  <c:v>0.20574463942080828</c:v>
                </c:pt>
                <c:pt idx="51">
                  <c:v>0.20244196297526956</c:v>
                </c:pt>
                <c:pt idx="52">
                  <c:v>0.211719214095562</c:v>
                </c:pt>
                <c:pt idx="53">
                  <c:v>0.24812181271370543</c:v>
                </c:pt>
                <c:pt idx="54">
                  <c:v>0.2007061580098335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59615384615384"/>
          <c:min val="0.1313637663204040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1244.25</c:v>
                </c:pt>
                <c:pt idx="1">
                  <c:v>1116.4</c:v>
                </c:pt>
                <c:pt idx="2">
                  <c:v>1214.8333</c:v>
                </c:pt>
                <c:pt idx="3">
                  <c:v>1106.5</c:v>
                </c:pt>
                <c:pt idx="4">
                  <c:v>1102.0</c:v>
                </c:pt>
                <c:pt idx="5">
                  <c:v>1050.4</c:v>
                </c:pt>
                <c:pt idx="6">
                  <c:v>1291.6667</c:v>
                </c:pt>
                <c:pt idx="7">
                  <c:v>1199.6667</c:v>
                </c:pt>
                <c:pt idx="8">
                  <c:v>1377.5</c:v>
                </c:pt>
                <c:pt idx="9">
                  <c:v>1108.0</c:v>
                </c:pt>
                <c:pt idx="10">
                  <c:v>1102.0</c:v>
                </c:pt>
                <c:pt idx="11">
                  <c:v>1193.6667</c:v>
                </c:pt>
                <c:pt idx="12">
                  <c:v>1253.3333</c:v>
                </c:pt>
                <c:pt idx="13">
                  <c:v>1081.5</c:v>
                </c:pt>
                <c:pt idx="14">
                  <c:v>1532.5</c:v>
                </c:pt>
                <c:pt idx="15">
                  <c:v>1381.0</c:v>
                </c:pt>
                <c:pt idx="16">
                  <c:v>1225.0</c:v>
                </c:pt>
                <c:pt idx="17">
                  <c:v>1397.5</c:v>
                </c:pt>
                <c:pt idx="18">
                  <c:v>1067.5</c:v>
                </c:pt>
                <c:pt idx="19">
                  <c:v>1170.2</c:v>
                </c:pt>
                <c:pt idx="20">
                  <c:v>1398.75</c:v>
                </c:pt>
                <c:pt idx="21">
                  <c:v>1355.3333</c:v>
                </c:pt>
                <c:pt idx="22">
                  <c:v>1351.6667</c:v>
                </c:pt>
                <c:pt idx="23">
                  <c:v>1120.0</c:v>
                </c:pt>
                <c:pt idx="24">
                  <c:v>1561.0</c:v>
                </c:pt>
                <c:pt idx="25">
                  <c:v>1343.6667</c:v>
                </c:pt>
                <c:pt idx="26">
                  <c:v>1231.75</c:v>
                </c:pt>
                <c:pt idx="27">
                  <c:v>1154.5</c:v>
                </c:pt>
                <c:pt idx="28">
                  <c:v>1573.0</c:v>
                </c:pt>
                <c:pt idx="29">
                  <c:v>1300.4</c:v>
                </c:pt>
                <c:pt idx="30">
                  <c:v>1412.5</c:v>
                </c:pt>
                <c:pt idx="31">
                  <c:v>1232.5</c:v>
                </c:pt>
                <c:pt idx="32">
                  <c:v>1284.6667</c:v>
                </c:pt>
                <c:pt idx="33">
                  <c:v>1314.5</c:v>
                </c:pt>
                <c:pt idx="34">
                  <c:v>1244.1</c:v>
                </c:pt>
                <c:pt idx="35">
                  <c:v>1340.2857</c:v>
                </c:pt>
                <c:pt idx="36">
                  <c:v>1239.3</c:v>
                </c:pt>
                <c:pt idx="37">
                  <c:v>1365.6</c:v>
                </c:pt>
                <c:pt idx="38">
                  <c:v>1188.2</c:v>
                </c:pt>
                <c:pt idx="39">
                  <c:v>1283.7143</c:v>
                </c:pt>
                <c:pt idx="40">
                  <c:v>1238.4286</c:v>
                </c:pt>
                <c:pt idx="41">
                  <c:v>1233.6667</c:v>
                </c:pt>
                <c:pt idx="42">
                  <c:v>1301.8889</c:v>
                </c:pt>
                <c:pt idx="43">
                  <c:v>1376.3333</c:v>
                </c:pt>
                <c:pt idx="44">
                  <c:v>1350.2</c:v>
                </c:pt>
                <c:pt idx="45">
                  <c:v>1179.8333</c:v>
                </c:pt>
                <c:pt idx="46">
                  <c:v>1328.6667</c:v>
                </c:pt>
                <c:pt idx="47">
                  <c:v>1386.5</c:v>
                </c:pt>
                <c:pt idx="48">
                  <c:v>1289.7143</c:v>
                </c:pt>
                <c:pt idx="49">
                  <c:v>1256.4545</c:v>
                </c:pt>
                <c:pt idx="50">
                  <c:v>1356.75</c:v>
                </c:pt>
                <c:pt idx="51">
                  <c:v>1232.8571</c:v>
                </c:pt>
                <c:pt idx="52">
                  <c:v>1278.125</c:v>
                </c:pt>
                <c:pt idx="53">
                  <c:v>1385.7143</c:v>
                </c:pt>
                <c:pt idx="54">
                  <c:v>1440.3333</c:v>
                </c:pt>
                <c:pt idx="55">
                  <c:v>1268.875</c:v>
                </c:pt>
                <c:pt idx="56">
                  <c:v>1231.25</c:v>
                </c:pt>
                <c:pt idx="57">
                  <c:v>1184.25</c:v>
                </c:pt>
                <c:pt idx="58">
                  <c:v>1322.5</c:v>
                </c:pt>
                <c:pt idx="59">
                  <c:v>1467.0</c:v>
                </c:pt>
                <c:pt idx="60">
                  <c:v>1332.25</c:v>
                </c:pt>
                <c:pt idx="61">
                  <c:v>1186.0</c:v>
                </c:pt>
                <c:pt idx="62">
                  <c:v>1077.0</c:v>
                </c:pt>
                <c:pt idx="63">
                  <c:v>1192.0</c:v>
                </c:pt>
                <c:pt idx="64">
                  <c:v>1140.0</c:v>
                </c:pt>
                <c:pt idx="65">
                  <c:v>1599.0</c:v>
                </c:pt>
                <c:pt idx="66">
                  <c:v>1546.0</c:v>
                </c:pt>
                <c:pt idx="67">
                  <c:v>2084.0</c:v>
                </c:pt>
                <c:pt idx="68">
                  <c:v>1757.0</c:v>
                </c:pt>
                <c:pt idx="69">
                  <c:v>1735.0</c:v>
                </c:pt>
                <c:pt idx="70">
                  <c:v>1194.5</c:v>
                </c:pt>
                <c:pt idx="71">
                  <c:v>1705.0</c:v>
                </c:pt>
                <c:pt idx="72">
                  <c:v>1354.5</c:v>
                </c:pt>
                <c:pt idx="73">
                  <c:v>1340.0</c:v>
                </c:pt>
                <c:pt idx="74">
                  <c:v>1344.0</c:v>
                </c:pt>
                <c:pt idx="75">
                  <c:v>1676.0</c:v>
                </c:pt>
                <c:pt idx="76">
                  <c:v>1199.0</c:v>
                </c:pt>
                <c:pt idx="77">
                  <c:v>1680.0</c:v>
                </c:pt>
                <c:pt idx="78">
                  <c:v>1319.0</c:v>
                </c:pt>
                <c:pt idx="79">
                  <c:v>1335.0</c:v>
                </c:pt>
                <c:pt idx="80">
                  <c:v>1977.0</c:v>
                </c:pt>
                <c:pt idx="81">
                  <c:v>1344.0</c:v>
                </c:pt>
                <c:pt idx="82">
                  <c:v>983.0</c:v>
                </c:pt>
                <c:pt idx="83">
                  <c:v>1191.0</c:v>
                </c:pt>
                <c:pt idx="84">
                  <c:v>1748.0</c:v>
                </c:pt>
                <c:pt idx="85">
                  <c:v>1354.5</c:v>
                </c:pt>
                <c:pt idx="86">
                  <c:v>1195.5</c:v>
                </c:pt>
                <c:pt idx="87">
                  <c:v>1701.0</c:v>
                </c:pt>
                <c:pt idx="88">
                  <c:v>1344.0</c:v>
                </c:pt>
                <c:pt idx="89">
                  <c:v>1029.0</c:v>
                </c:pt>
                <c:pt idx="90">
                  <c:v>2066.0</c:v>
                </c:pt>
                <c:pt idx="91">
                  <c:v>1365.0</c:v>
                </c:pt>
                <c:pt idx="92">
                  <c:v>1344.0</c:v>
                </c:pt>
                <c:pt idx="93">
                  <c:v>1337.5</c:v>
                </c:pt>
                <c:pt idx="94">
                  <c:v>1714.0</c:v>
                </c:pt>
                <c:pt idx="95">
                  <c:v>1029.0</c:v>
                </c:pt>
                <c:pt idx="96">
                  <c:v>1208.0</c:v>
                </c:pt>
                <c:pt idx="97">
                  <c:v>1365.0</c:v>
                </c:pt>
                <c:pt idx="98">
                  <c:v>1008.0</c:v>
                </c:pt>
                <c:pt idx="99">
                  <c:v>1051.0</c:v>
                </c:pt>
              </c:numCache>
            </c:numRef>
          </c:xVal>
          <c:yVal>
            <c:numRef>
              <c:f>Sheet1!$B$2:$B$101</c:f>
              <c:numCache>
                <c:formatCode>General</c:formatCode>
                <c:ptCount val="100"/>
                <c:pt idx="0">
                  <c:v>0.005532503457814661</c:v>
                </c:pt>
                <c:pt idx="1">
                  <c:v>0.006561679790026247</c:v>
                </c:pt>
                <c:pt idx="2">
                  <c:v>0.007566204287515763</c:v>
                </c:pt>
                <c:pt idx="3">
                  <c:v>0.006153846153846154</c:v>
                </c:pt>
                <c:pt idx="4">
                  <c:v>0.0048543689320388345</c:v>
                </c:pt>
                <c:pt idx="5">
                  <c:v>0.007564296520423601</c:v>
                </c:pt>
                <c:pt idx="6">
                  <c:v>0.004608294930875576</c:v>
                </c:pt>
                <c:pt idx="7">
                  <c:v>0.005172413793103448</c:v>
                </c:pt>
                <c:pt idx="8">
                  <c:v>0.00291970802919708</c:v>
                </c:pt>
                <c:pt idx="9">
                  <c:v>0.003875968992248062</c:v>
                </c:pt>
                <c:pt idx="10">
                  <c:v>0.0024630541871921183</c:v>
                </c:pt>
                <c:pt idx="11">
                  <c:v>0.0036231884057971015</c:v>
                </c:pt>
                <c:pt idx="12">
                  <c:v>0.004195804195804196</c:v>
                </c:pt>
                <c:pt idx="13">
                  <c:v>0.002257336343115124</c:v>
                </c:pt>
                <c:pt idx="14">
                  <c:v>0.0025220680958385876</c:v>
                </c:pt>
                <c:pt idx="15">
                  <c:v>0.00291970802919708</c:v>
                </c:pt>
                <c:pt idx="16">
                  <c:v>0.0036231884057971015</c:v>
                </c:pt>
                <c:pt idx="17">
                  <c:v>0.004395604395604396</c:v>
                </c:pt>
                <c:pt idx="18">
                  <c:v>0.004750593824228029</c:v>
                </c:pt>
                <c:pt idx="19">
                  <c:v>0.01026694045174538</c:v>
                </c:pt>
                <c:pt idx="20">
                  <c:v>0.009615384615384616</c:v>
                </c:pt>
                <c:pt idx="21">
                  <c:v>0.008522727272727272</c:v>
                </c:pt>
                <c:pt idx="22">
                  <c:v>0.00946372239747634</c:v>
                </c:pt>
                <c:pt idx="23">
                  <c:v>0.007936507936507936</c:v>
                </c:pt>
                <c:pt idx="24">
                  <c:v>0.0032258064516129032</c:v>
                </c:pt>
                <c:pt idx="25">
                  <c:v>0.007936507936507936</c:v>
                </c:pt>
                <c:pt idx="26">
                  <c:v>0.011019283746556474</c:v>
                </c:pt>
                <c:pt idx="27">
                  <c:v>0.010230179028132993</c:v>
                </c:pt>
                <c:pt idx="28">
                  <c:v>0.004640371229698376</c:v>
                </c:pt>
                <c:pt idx="29">
                  <c:v>0.01529051987767584</c:v>
                </c:pt>
                <c:pt idx="30">
                  <c:v>0.0071174377224199285</c:v>
                </c:pt>
                <c:pt idx="31">
                  <c:v>0.013888888888888888</c:v>
                </c:pt>
                <c:pt idx="32">
                  <c:v>0.01675977653631285</c:v>
                </c:pt>
                <c:pt idx="33">
                  <c:v>0.009925558312655087</c:v>
                </c:pt>
                <c:pt idx="34">
                  <c:v>0.02145922746781116</c:v>
                </c:pt>
                <c:pt idx="35">
                  <c:v>0.020114942528735632</c:v>
                </c:pt>
                <c:pt idx="36">
                  <c:v>0.032679738562091505</c:v>
                </c:pt>
                <c:pt idx="37">
                  <c:v>0.01644736842105263</c:v>
                </c:pt>
                <c:pt idx="38">
                  <c:v>0.01366120218579235</c:v>
                </c:pt>
                <c:pt idx="39">
                  <c:v>0.018867924528301886</c:v>
                </c:pt>
                <c:pt idx="40">
                  <c:v>0.02108433734939759</c:v>
                </c:pt>
                <c:pt idx="41">
                  <c:v>0.016172506738544475</c:v>
                </c:pt>
                <c:pt idx="42">
                  <c:v>0.02142857142857143</c:v>
                </c:pt>
                <c:pt idx="43">
                  <c:v>0.011857707509881422</c:v>
                </c:pt>
                <c:pt idx="44">
                  <c:v>0.009259259259259259</c:v>
                </c:pt>
                <c:pt idx="45">
                  <c:v>0.0106951871657754</c:v>
                </c:pt>
                <c:pt idx="46">
                  <c:v>0.005263157894736842</c:v>
                </c:pt>
                <c:pt idx="47">
                  <c:v>0.0048543689320388345</c:v>
                </c:pt>
                <c:pt idx="48">
                  <c:v>0.006340579710144928</c:v>
                </c:pt>
                <c:pt idx="49">
                  <c:v>0.01867572156196944</c:v>
                </c:pt>
                <c:pt idx="50">
                  <c:v>0.0136986301369863</c:v>
                </c:pt>
                <c:pt idx="51">
                  <c:v>0.010869565217391304</c:v>
                </c:pt>
                <c:pt idx="52">
                  <c:v>0.013651877133105802</c:v>
                </c:pt>
                <c:pt idx="53">
                  <c:v>0.013725490196078431</c:v>
                </c:pt>
                <c:pt idx="54">
                  <c:v>0.006564551422319475</c:v>
                </c:pt>
                <c:pt idx="55">
                  <c:v>0.01606425702811245</c:v>
                </c:pt>
                <c:pt idx="56">
                  <c:v>0.007434944237918215</c:v>
                </c:pt>
                <c:pt idx="57">
                  <c:v>0.006578947368421052</c:v>
                </c:pt>
                <c:pt idx="58">
                  <c:v>0.002288329519450801</c:v>
                </c:pt>
                <c:pt idx="59">
                  <c:v>0.0022598870056497176</c:v>
                </c:pt>
                <c:pt idx="60">
                  <c:v>0.0049079754601227</c:v>
                </c:pt>
                <c:pt idx="61">
                  <c:v>0.0038363171355498722</c:v>
                </c:pt>
                <c:pt idx="62">
                  <c:v>0.003468208092485549</c:v>
                </c:pt>
                <c:pt idx="63">
                  <c:v>0.0023014959723820483</c:v>
                </c:pt>
                <c:pt idx="64">
                  <c:v>0.007352941176470588</c:v>
                </c:pt>
                <c:pt idx="65">
                  <c:v>0.0016778523489932886</c:v>
                </c:pt>
                <c:pt idx="66">
                  <c:v>0.003418803418803419</c:v>
                </c:pt>
                <c:pt idx="67">
                  <c:v>0.0020920502092050207</c:v>
                </c:pt>
                <c:pt idx="68">
                  <c:v>0.00303951367781155</c:v>
                </c:pt>
                <c:pt idx="69">
                  <c:v>0.0027472527472527475</c:v>
                </c:pt>
                <c:pt idx="70">
                  <c:v>0.00546448087431694</c:v>
                </c:pt>
                <c:pt idx="71">
                  <c:v>0.0024875621890547263</c:v>
                </c:pt>
                <c:pt idx="72">
                  <c:v>0.005434782608695652</c:v>
                </c:pt>
                <c:pt idx="73">
                  <c:v>0.002932551319648094</c:v>
                </c:pt>
                <c:pt idx="74">
                  <c:v>0.006779661016949152</c:v>
                </c:pt>
                <c:pt idx="75">
                  <c:v>0.003401360544217687</c:v>
                </c:pt>
                <c:pt idx="76">
                  <c:v>0.007272727272727273</c:v>
                </c:pt>
                <c:pt idx="77">
                  <c:v>0.0040650406504065045</c:v>
                </c:pt>
                <c:pt idx="78">
                  <c:v>0.004166666666666667</c:v>
                </c:pt>
                <c:pt idx="79">
                  <c:v>0.0031746031746031746</c:v>
                </c:pt>
                <c:pt idx="80">
                  <c:v>0.004081632653061225</c:v>
                </c:pt>
                <c:pt idx="81">
                  <c:v>0.005</c:v>
                </c:pt>
                <c:pt idx="82">
                  <c:v>0.004629629629629629</c:v>
                </c:pt>
                <c:pt idx="83">
                  <c:v>0.0051813471502590676</c:v>
                </c:pt>
                <c:pt idx="84">
                  <c:v>0.0036101083032490976</c:v>
                </c:pt>
                <c:pt idx="85">
                  <c:v>0.007575757575757576</c:v>
                </c:pt>
                <c:pt idx="86">
                  <c:v>0.008</c:v>
                </c:pt>
                <c:pt idx="87">
                  <c:v>0.003875968992248062</c:v>
                </c:pt>
                <c:pt idx="88">
                  <c:v>0.0031446540880503146</c:v>
                </c:pt>
                <c:pt idx="89">
                  <c:v>0.003246753246753247</c:v>
                </c:pt>
                <c:pt idx="90">
                  <c:v>0.00392156862745098</c:v>
                </c:pt>
                <c:pt idx="91">
                  <c:v>0.002932551319648094</c:v>
                </c:pt>
                <c:pt idx="92">
                  <c:v>0.002369668246445498</c:v>
                </c:pt>
                <c:pt idx="93">
                  <c:v>0.0042643923240938165</c:v>
                </c:pt>
                <c:pt idx="94">
                  <c:v>0.0018115942028985507</c:v>
                </c:pt>
                <c:pt idx="95">
                  <c:v>0.001422475106685633</c:v>
                </c:pt>
                <c:pt idx="96">
                  <c:v>0.002105263157894737</c:v>
                </c:pt>
                <c:pt idx="97">
                  <c:v>0.0017921146953405018</c:v>
                </c:pt>
                <c:pt idx="98">
                  <c:v>0.0018796992481203006</c:v>
                </c:pt>
                <c:pt idx="99">
                  <c:v>0.00202020202020202</c:v>
                </c:pt>
              </c:numCache>
            </c:numRef>
          </c:yVal>
          <c:smooth val="0"/>
          <c:extLst>
            <c:ext xmlns:c16="http://schemas.microsoft.com/office/drawing/2014/chart" uri="{C3380CC4-5D6E-409C-BE32-E72D297353CC}">
              <c16:uniqueId val="{00000000-F32D-48B7-BC20-E66FC6253BAD}"/>
            </c:ext>
          </c:extLst>
        </c:ser>
        <c:ser>
          <c:idx val="1"/>
          <c:order val="1"/>
          <c:tx>
            <c:strRef>
              <c:f>Sheet1!$B$10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019569471624266144</c:v>
                </c:pt>
                <c:pt idx="4">
                  <c:v>0.001834862385321101</c:v>
                </c:pt>
                <c:pt idx="5">
                  <c:v>0.001692047377326565</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23923444976076554</c:v>
                </c:pt>
                <c:pt idx="23">
                  <c:v>0.0</c:v>
                </c:pt>
                <c:pt idx="24">
                  <c:v>0.0049261083743842365</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F32D-48B7-BC20-E66FC6253BAD}"/>
            </c:ext>
          </c:extLst>
        </c:ser>
        <c:ser>
          <c:idx val="2"/>
          <c:order val="2"/>
          <c:tx>
            <c:strRef>
              <c:f>Sheet1!$B$139</c:f>
              <c:strCache>
                <c:ptCount val="1"/>
                <c:pt idx="0">
                  <c:v>Custom Linep3yQ</c:v>
                </c:pt>
              </c:strCache>
            </c:strRef>
          </c:tx>
          <c:spPr>
            <a:ln w="19050" cap="rnd">
              <a:solidFill>
                <a:srgbClr val="C00000"/>
              </a:solidFill>
              <a:prstDash val="sysDot"/>
              <a:round/>
            </a:ln>
            <a:effectLst/>
          </c:spPr>
          <c:marker>
            <c:symbol val="none"/>
          </c:marker>
          <c:xVal>
            <c:numRef>
              <c:f>Sheet1!$A$140:$A$141</c:f>
              <c:numCache>
                <c:formatCode>General</c:formatCode>
                <c:ptCount val="2"/>
                <c:pt idx="0">
                  <c:v>0</c:v>
                </c:pt>
                <c:pt idx="1">
                  <c:v>10769.081638256122</c:v>
                </c:pt>
              </c:numCache>
            </c:numRef>
          </c:xVal>
          <c:yVal>
            <c:numRef>
              <c:f>Sheet1!$B$140:$B$141</c:f>
              <c:numCache>
                <c:formatCode>General</c:formatCode>
                <c:ptCount val="2"/>
                <c:pt idx="0">
                  <c:v>0.016845471618457813</c:v>
                </c:pt>
                <c:pt idx="1">
                  <c:v>0.016845471618457813</c:v>
                </c:pt>
              </c:numCache>
            </c:numRef>
          </c:yVal>
          <c:smooth val="0"/>
          <c:extLst>
            <c:ext xmlns:c16="http://schemas.microsoft.com/office/drawing/2014/chart" uri="{C3380CC4-5D6E-409C-BE32-E72D297353CC}">
              <c16:uniqueId val="{00000003-F32D-48B7-BC20-E66FC6253BAD}"/>
            </c:ext>
          </c:extLst>
        </c:ser>
        <c:ser>
          <c:idx val="3"/>
          <c:order val="3"/>
          <c:tx>
            <c:strRef>
              <c:f>Sheet1!$B$14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4:$A$145</c:f>
              <c:numCache>
                <c:formatCode>General</c:formatCode>
                <c:ptCount val="2"/>
                <c:pt idx="0">
                  <c:v>10769.081638256122</c:v>
                </c:pt>
                <c:pt idx="1">
                  <c:v>10769.081638256122</c:v>
                </c:pt>
              </c:numCache>
            </c:numRef>
          </c:xVal>
          <c:yVal>
            <c:numRef>
              <c:f>Sheet1!$B$144:$B$145</c:f>
              <c:numCache>
                <c:formatCode>General</c:formatCode>
                <c:ptCount val="2"/>
                <c:pt idx="0">
                  <c:v>0.01684547161845781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8:$A$149</c:f>
              <c:numCache>
                <c:formatCode>General</c:formatCode>
                <c:ptCount val="2"/>
                <c:pt idx="0">
                  <c:v>0</c:v>
                </c:pt>
                <c:pt idx="1">
                  <c:v>576.4869666126056</c:v>
                </c:pt>
              </c:numCache>
            </c:numRef>
          </c:xVal>
          <c:yVal>
            <c:numRef>
              <c:f>Sheet1!$B$148:$B$149</c:f>
              <c:numCache>
                <c:formatCode>General</c:formatCode>
                <c:ptCount val="2"/>
                <c:pt idx="0">
                  <c:v>0.0009139761541790467</c:v>
                </c:pt>
                <c:pt idx="1">
                  <c:v>0.0009139761541790467</c:v>
                </c:pt>
              </c:numCache>
            </c:numRef>
          </c:yVal>
          <c:smooth val="0"/>
          <c:extLst>
            <c:ext xmlns:c16="http://schemas.microsoft.com/office/drawing/2014/chart" uri="{C3380CC4-5D6E-409C-BE32-E72D297353CC}">
              <c16:uniqueId val="{0000000A-F32D-48B7-BC20-E66FC6253BAD}"/>
            </c:ext>
          </c:extLst>
        </c:ser>
        <c:ser>
          <c:idx val="5"/>
          <c:order val="5"/>
          <c:tx>
            <c:strRef>
              <c:f>Sheet1!$B$15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2:$A$153</c:f>
              <c:numCache>
                <c:formatCode>General</c:formatCode>
                <c:ptCount val="2"/>
                <c:pt idx="0">
                  <c:v>576.4869666126056</c:v>
                </c:pt>
                <c:pt idx="1">
                  <c:v>576.4869666126056</c:v>
                </c:pt>
              </c:numCache>
            </c:numRef>
          </c:xVal>
          <c:yVal>
            <c:numRef>
              <c:f>Sheet1!$B$152:$B$153</c:f>
              <c:numCache>
                <c:formatCode>General</c:formatCode>
                <c:ptCount val="2"/>
                <c:pt idx="0">
                  <c:v>0.000913976154179046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6:$A$157</c:f>
              <c:numCache>
                <c:formatCode>General</c:formatCode>
                <c:ptCount val="2"/>
                <c:pt idx="0">
                  <c:v>0</c:v>
                </c:pt>
                <c:pt idx="1">
                  <c:v>-8.25339878386546</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5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0:$A$161</c:f>
              <c:numCache>
                <c:formatCode>General</c:formatCode>
                <c:ptCount val="2"/>
                <c:pt idx="0">
                  <c:v>-8.25339878386546</c:v>
                </c:pt>
                <c:pt idx="1">
                  <c:v>-8.25339878386546</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4:$A$200</c:f>
              <c:numCache>
                <c:formatCode>General</c:formatCode>
                <c:ptCount val="37"/>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pt idx="34">
                  <c:v>576.4869666126056</c:v>
                </c:pt>
                <c:pt idx="35">
                  <c:v>10769.081638256122</c:v>
                </c:pt>
                <c:pt idx="36">
                  <c:v>-8.25339878386546</c:v>
                </c:pt>
              </c:numCache>
            </c:numRef>
          </c:xVal>
          <c:yVal>
            <c:numRef>
              <c:f>Sheet1!$B$164:$B$200</c:f>
              <c:numCache>
                <c:formatCode>General</c:formatCode>
                <c:ptCount val="37"/>
                <c:pt idx="0">
                  <c:v>1.2900442873083894e-05</c:v>
                </c:pt>
                <c:pt idx="1">
                  <c:v>1.2900442873083894e-05</c:v>
                </c:pt>
                <c:pt idx="2">
                  <c:v>1.2900442873083894e-05</c:v>
                </c:pt>
                <c:pt idx="3">
                  <c:v>0.0016556619057162911</c:v>
                </c:pt>
                <c:pt idx="4">
                  <c:v>0.0016212748912704771</c:v>
                </c:pt>
                <c:pt idx="5">
                  <c:v>0.0026575744629784184</c:v>
                </c:pt>
                <c:pt idx="6">
                  <c:v>1.2900442873083894e-05</c:v>
                </c:pt>
                <c:pt idx="7">
                  <c:v>1.2900442873083894e-05</c:v>
                </c:pt>
                <c:pt idx="8">
                  <c:v>1.2900442873083894e-05</c:v>
                </c:pt>
                <c:pt idx="9">
                  <c:v>1.2900442873083894e-05</c:v>
                </c:pt>
                <c:pt idx="10">
                  <c:v>1.2900442873083894e-05</c:v>
                </c:pt>
                <c:pt idx="11">
                  <c:v>1.2900442873083894e-05</c:v>
                </c:pt>
                <c:pt idx="12">
                  <c:v>1.2900442873083894e-05</c:v>
                </c:pt>
                <c:pt idx="13">
                  <c:v>1.2900442873083894e-05</c:v>
                </c:pt>
                <c:pt idx="14">
                  <c:v>1.2900442873083894e-05</c:v>
                </c:pt>
                <c:pt idx="15">
                  <c:v>1.2900442873083894e-05</c:v>
                </c:pt>
                <c:pt idx="16">
                  <c:v>1.2900442873083894e-05</c:v>
                </c:pt>
                <c:pt idx="17">
                  <c:v>1.2900442873083894e-05</c:v>
                </c:pt>
                <c:pt idx="18">
                  <c:v>1.2900442873083894e-05</c:v>
                </c:pt>
                <c:pt idx="19">
                  <c:v>1.2900442873083894e-05</c:v>
                </c:pt>
                <c:pt idx="20">
                  <c:v>1.2900442873083894e-05</c:v>
                </c:pt>
                <c:pt idx="21">
                  <c:v>1.2900442873083894e-05</c:v>
                </c:pt>
                <c:pt idx="22">
                  <c:v>0.00355007379245841</c:v>
                </c:pt>
                <c:pt idx="23">
                  <c:v>1.2900442873083894e-05</c:v>
                </c:pt>
                <c:pt idx="24">
                  <c:v>0.002943611901323144</c:v>
                </c:pt>
                <c:pt idx="25">
                  <c:v>1.2900442873083894e-05</c:v>
                </c:pt>
                <c:pt idx="26">
                  <c:v>1.2900442873083894e-05</c:v>
                </c:pt>
                <c:pt idx="27">
                  <c:v>1.2900442873083894e-05</c:v>
                </c:pt>
                <c:pt idx="28">
                  <c:v>1.2900442873083894e-05</c:v>
                </c:pt>
                <c:pt idx="29">
                  <c:v>1.2900442873083894e-05</c:v>
                </c:pt>
                <c:pt idx="30">
                  <c:v>1.2900442873083894e-05</c:v>
                </c:pt>
                <c:pt idx="31">
                  <c:v>1.2900442873083894e-05</c:v>
                </c:pt>
                <c:pt idx="32">
                  <c:v>1.2900442873083894e-05</c:v>
                </c:pt>
                <c:pt idx="33">
                  <c:v>1.2900442873083894e-05</c:v>
                </c:pt>
                <c:pt idx="34">
                  <c:v>0.0009139761541790469</c:v>
                </c:pt>
                <c:pt idx="35">
                  <c:v>0.016845471618457813</c:v>
                </c:pt>
                <c:pt idx="36">
                  <c:v>1.6940658945086007e-2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92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9215686274509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1.0586911845675882</c:v>
                </c:pt>
                <c:pt idx="1">
                  <c:v>0.9657186321154386</c:v>
                </c:pt>
                <c:pt idx="2">
                  <c:v>1.1273402014940095</c:v>
                </c:pt>
                <c:pt idx="3">
                  <c:v>0.9490561415811645</c:v>
                </c:pt>
                <c:pt idx="4">
                  <c:v>0.9755323733339377</c:v>
                </c:pt>
                <c:pt idx="5">
                  <c:v>0.8974131365768132</c:v>
                </c:pt>
                <c:pt idx="6">
                  <c:v>1.127578243961775</c:v>
                </c:pt>
                <c:pt idx="7">
                  <c:v>1.0080361965369715</c:v>
                </c:pt>
                <c:pt idx="8">
                  <c:v>1.1844725494294799</c:v>
                </c:pt>
                <c:pt idx="9">
                  <c:v>0.9360865768564253</c:v>
                </c:pt>
                <c:pt idx="10">
                  <c:v>0.9719391809498509</c:v>
                </c:pt>
                <c:pt idx="11">
                  <c:v>1.0448718313445609</c:v>
                </c:pt>
                <c:pt idx="12">
                  <c:v>1.0588294977515362</c:v>
                </c:pt>
                <c:pt idx="13">
                  <c:v>0.9540845803258498</c:v>
                </c:pt>
                <c:pt idx="14">
                  <c:v>1.3128122854901132</c:v>
                </c:pt>
                <c:pt idx="15">
                  <c:v>1.1920329729613084</c:v>
                </c:pt>
                <c:pt idx="16">
                  <c:v>1.016089971324697</c:v>
                </c:pt>
                <c:pt idx="17">
                  <c:v>1.2107803550865726</c:v>
                </c:pt>
                <c:pt idx="18">
                  <c:v>0.8972298249784075</c:v>
                </c:pt>
                <c:pt idx="19">
                  <c:v>0.9747974621278858</c:v>
                </c:pt>
                <c:pt idx="20">
                  <c:v>1.2929206918981313</c:v>
                </c:pt>
                <c:pt idx="21">
                  <c:v>1.1982630607729805</c:v>
                </c:pt>
                <c:pt idx="22">
                  <c:v>1.1998698459340524</c:v>
                </c:pt>
                <c:pt idx="23">
                  <c:v>0.941207791452556</c:v>
                </c:pt>
                <c:pt idx="24">
                  <c:v>1.3300653998525083</c:v>
                </c:pt>
                <c:pt idx="25">
                  <c:v>1.1496929241864096</c:v>
                </c:pt>
                <c:pt idx="26">
                  <c:v>1.0206806852577084</c:v>
                </c:pt>
                <c:pt idx="27">
                  <c:v>0.9258376384716693</c:v>
                </c:pt>
                <c:pt idx="28">
                  <c:v>1.2960724719562629</c:v>
                </c:pt>
                <c:pt idx="29">
                  <c:v>1.024892417427553</c:v>
                </c:pt>
                <c:pt idx="30">
                  <c:v>1.1145160727814898</c:v>
                </c:pt>
                <c:pt idx="31">
                  <c:v>1.045538658972181</c:v>
                </c:pt>
                <c:pt idx="32">
                  <c:v>1.10047106385082</c:v>
                </c:pt>
                <c:pt idx="33">
                  <c:v>1.174126590943764</c:v>
                </c:pt>
                <c:pt idx="34">
                  <c:v>1.0993165963758516</c:v>
                </c:pt>
                <c:pt idx="35">
                  <c:v>1.0697691180069373</c:v>
                </c:pt>
                <c:pt idx="36">
                  <c:v>0.9953729174715135</c:v>
                </c:pt>
                <c:pt idx="37">
                  <c:v>1.1504303035607821</c:v>
                </c:pt>
                <c:pt idx="38">
                  <c:v>0.7682891219002359</c:v>
                </c:pt>
                <c:pt idx="39">
                  <c:v>1.0800662890978043</c:v>
                </c:pt>
                <c:pt idx="40">
                  <c:v>0.9702131693368325</c:v>
                </c:pt>
                <c:pt idx="41">
                  <c:v>0.9588239404212052</c:v>
                </c:pt>
                <c:pt idx="42">
                  <c:v>1.0633746993075959</c:v>
                </c:pt>
                <c:pt idx="43">
                  <c:v>1.1239589870649438</c:v>
                </c:pt>
                <c:pt idx="44">
                  <c:v>1.1037118872189886</c:v>
                </c:pt>
                <c:pt idx="45">
                  <c:v>0.9842828694731591</c:v>
                </c:pt>
                <c:pt idx="46">
                  <c:v>1.1882791262231434</c:v>
                </c:pt>
                <c:pt idx="47">
                  <c:v>1.1909988490303947</c:v>
                </c:pt>
                <c:pt idx="48">
                  <c:v>1.1062402598199073</c:v>
                </c:pt>
                <c:pt idx="49">
                  <c:v>1.0409416816261714</c:v>
                </c:pt>
                <c:pt idx="50">
                  <c:v>1.016449132442779</c:v>
                </c:pt>
                <c:pt idx="51">
                  <c:v>1.064222067514719</c:v>
                </c:pt>
                <c:pt idx="52">
                  <c:v>1.0496310308257488</c:v>
                </c:pt>
                <c:pt idx="53">
                  <c:v>1.1236953911124292</c:v>
                </c:pt>
                <c:pt idx="54">
                  <c:v>1.1635400398210212</c:v>
                </c:pt>
                <c:pt idx="55">
                  <c:v>1.0663922740210663</c:v>
                </c:pt>
                <c:pt idx="56">
                  <c:v>1.0537835730097207</c:v>
                </c:pt>
                <c:pt idx="57">
                  <c:v>0.9990031479671077</c:v>
                </c:pt>
                <c:pt idx="58">
                  <c:v>1.1376163046007441</c:v>
                </c:pt>
                <c:pt idx="59">
                  <c:v>1.2936340243208488</c:v>
                </c:pt>
                <c:pt idx="60">
                  <c:v>1.1768351495329274</c:v>
                </c:pt>
                <c:pt idx="61">
                  <c:v>1.0446481381084733</c:v>
                </c:pt>
                <c:pt idx="62">
                  <c:v>0.9632072709359852</c:v>
                </c:pt>
                <c:pt idx="63">
                  <c:v>1.0423999685181216</c:v>
                </c:pt>
                <c:pt idx="64">
                  <c:v>0.9368344315251689</c:v>
                </c:pt>
                <c:pt idx="65">
                  <c:v>1.2669336497577375</c:v>
                </c:pt>
                <c:pt idx="66">
                  <c:v>1.327798492064085</c:v>
                </c:pt>
                <c:pt idx="67">
                  <c:v>1.8883862253642165</c:v>
                </c:pt>
                <c:pt idx="68">
                  <c:v>1.4010760934234667</c:v>
                </c:pt>
                <c:pt idx="69">
                  <c:v>1.4181473159988596</c:v>
                </c:pt>
                <c:pt idx="70">
                  <c:v>0.9387250283032079</c:v>
                </c:pt>
                <c:pt idx="71">
                  <c:v>1.3493935168645697</c:v>
                </c:pt>
                <c:pt idx="72">
                  <c:v>1.012781004669784</c:v>
                </c:pt>
                <c:pt idx="73">
                  <c:v>1.0168160893086267</c:v>
                </c:pt>
                <c:pt idx="74">
                  <c:v>1.0511076046383876</c:v>
                </c:pt>
                <c:pt idx="75">
                  <c:v>1.2710514097825758</c:v>
                </c:pt>
                <c:pt idx="76">
                  <c:v>0.8543374584508048</c:v>
                </c:pt>
                <c:pt idx="77">
                  <c:v>1.3135138685172618</c:v>
                </c:pt>
                <c:pt idx="78">
                  <c:v>0.9519229818529127</c:v>
                </c:pt>
                <c:pt idx="79">
                  <c:v>0.8784438948741515</c:v>
                </c:pt>
                <c:pt idx="80">
                  <c:v>1.3570409834613977</c:v>
                </c:pt>
                <c:pt idx="81">
                  <c:v>0.9898193690122464</c:v>
                </c:pt>
                <c:pt idx="82">
                  <c:v>0.6896473341377114</c:v>
                </c:pt>
                <c:pt idx="83">
                  <c:v>0.8713571728169046</c:v>
                </c:pt>
                <c:pt idx="84">
                  <c:v>1.251428170922465</c:v>
                </c:pt>
                <c:pt idx="85">
                  <c:v>0.8651214088839059</c:v>
                </c:pt>
                <c:pt idx="86">
                  <c:v>0.8319606504533507</c:v>
                </c:pt>
                <c:pt idx="87">
                  <c:v>1.1502838787004348</c:v>
                </c:pt>
                <c:pt idx="88">
                  <c:v>0.9915384294178828</c:v>
                </c:pt>
                <c:pt idx="89">
                  <c:v>0.7165171334635366</c:v>
                </c:pt>
                <c:pt idx="90">
                  <c:v>1.424138990450893</c:v>
                </c:pt>
                <c:pt idx="91">
                  <c:v>0.9256099176017305</c:v>
                </c:pt>
                <c:pt idx="92">
                  <c:v>0.9806138336156611</c:v>
                </c:pt>
                <c:pt idx="93">
                  <c:v>0.991647473808644</c:v>
                </c:pt>
                <c:pt idx="94">
                  <c:v>1.2811652414637695</c:v>
                </c:pt>
                <c:pt idx="95">
                  <c:v>0.8448840505432793</c:v>
                </c:pt>
                <c:pt idx="96">
                  <c:v>0.8889423300870994</c:v>
                </c:pt>
                <c:pt idx="97">
                  <c:v>1.0233111018684087</c:v>
                </c:pt>
                <c:pt idx="98">
                  <c:v>0.732280500917639</c:v>
                </c:pt>
                <c:pt idx="99">
                  <c:v>0.7959079878870529</c:v>
                </c:pt>
              </c:numCache>
            </c:numRef>
          </c:xVal>
          <c:yVal>
            <c:numRef>
              <c:f>Sheet1!$B$2:$B$101</c:f>
              <c:numCache>
                <c:formatCode>General</c:formatCode>
                <c:ptCount val="100"/>
                <c:pt idx="0">
                  <c:v>0.005532503457814661</c:v>
                </c:pt>
                <c:pt idx="1">
                  <c:v>0.006561679790026247</c:v>
                </c:pt>
                <c:pt idx="2">
                  <c:v>0.007566204287515763</c:v>
                </c:pt>
                <c:pt idx="3">
                  <c:v>0.006153846153846154</c:v>
                </c:pt>
                <c:pt idx="4">
                  <c:v>0.0048543689320388345</c:v>
                </c:pt>
                <c:pt idx="5">
                  <c:v>0.007564296520423601</c:v>
                </c:pt>
                <c:pt idx="6">
                  <c:v>0.004608294930875576</c:v>
                </c:pt>
                <c:pt idx="7">
                  <c:v>0.005172413793103448</c:v>
                </c:pt>
                <c:pt idx="8">
                  <c:v>0.00291970802919708</c:v>
                </c:pt>
                <c:pt idx="9">
                  <c:v>0.003875968992248062</c:v>
                </c:pt>
                <c:pt idx="10">
                  <c:v>0.0024630541871921183</c:v>
                </c:pt>
                <c:pt idx="11">
                  <c:v>0.0036231884057971015</c:v>
                </c:pt>
                <c:pt idx="12">
                  <c:v>0.004195804195804196</c:v>
                </c:pt>
                <c:pt idx="13">
                  <c:v>0.002257336343115124</c:v>
                </c:pt>
                <c:pt idx="14">
                  <c:v>0.0025220680958385876</c:v>
                </c:pt>
                <c:pt idx="15">
                  <c:v>0.00291970802919708</c:v>
                </c:pt>
                <c:pt idx="16">
                  <c:v>0.0036231884057971015</c:v>
                </c:pt>
                <c:pt idx="17">
                  <c:v>0.004395604395604396</c:v>
                </c:pt>
                <c:pt idx="18">
                  <c:v>0.004750593824228029</c:v>
                </c:pt>
                <c:pt idx="19">
                  <c:v>0.01026694045174538</c:v>
                </c:pt>
                <c:pt idx="20">
                  <c:v>0.009615384615384616</c:v>
                </c:pt>
                <c:pt idx="21">
                  <c:v>0.008522727272727272</c:v>
                </c:pt>
                <c:pt idx="22">
                  <c:v>0.00946372239747634</c:v>
                </c:pt>
                <c:pt idx="23">
                  <c:v>0.007936507936507936</c:v>
                </c:pt>
                <c:pt idx="24">
                  <c:v>0.0032258064516129032</c:v>
                </c:pt>
                <c:pt idx="25">
                  <c:v>0.007936507936507936</c:v>
                </c:pt>
                <c:pt idx="26">
                  <c:v>0.011019283746556474</c:v>
                </c:pt>
                <c:pt idx="27">
                  <c:v>0.010230179028132993</c:v>
                </c:pt>
                <c:pt idx="28">
                  <c:v>0.004640371229698376</c:v>
                </c:pt>
                <c:pt idx="29">
                  <c:v>0.01529051987767584</c:v>
                </c:pt>
                <c:pt idx="30">
                  <c:v>0.0071174377224199285</c:v>
                </c:pt>
                <c:pt idx="31">
                  <c:v>0.013888888888888888</c:v>
                </c:pt>
                <c:pt idx="32">
                  <c:v>0.01675977653631285</c:v>
                </c:pt>
                <c:pt idx="33">
                  <c:v>0.009925558312655087</c:v>
                </c:pt>
                <c:pt idx="34">
                  <c:v>0.02145922746781116</c:v>
                </c:pt>
                <c:pt idx="35">
                  <c:v>0.020114942528735632</c:v>
                </c:pt>
                <c:pt idx="36">
                  <c:v>0.032679738562091505</c:v>
                </c:pt>
                <c:pt idx="37">
                  <c:v>0.01644736842105263</c:v>
                </c:pt>
                <c:pt idx="38">
                  <c:v>0.01366120218579235</c:v>
                </c:pt>
                <c:pt idx="39">
                  <c:v>0.018867924528301886</c:v>
                </c:pt>
                <c:pt idx="40">
                  <c:v>0.02108433734939759</c:v>
                </c:pt>
                <c:pt idx="41">
                  <c:v>0.016172506738544475</c:v>
                </c:pt>
                <c:pt idx="42">
                  <c:v>0.02142857142857143</c:v>
                </c:pt>
                <c:pt idx="43">
                  <c:v>0.011857707509881422</c:v>
                </c:pt>
                <c:pt idx="44">
                  <c:v>0.009259259259259259</c:v>
                </c:pt>
                <c:pt idx="45">
                  <c:v>0.0106951871657754</c:v>
                </c:pt>
                <c:pt idx="46">
                  <c:v>0.005263157894736842</c:v>
                </c:pt>
                <c:pt idx="47">
                  <c:v>0.0048543689320388345</c:v>
                </c:pt>
                <c:pt idx="48">
                  <c:v>0.006340579710144928</c:v>
                </c:pt>
                <c:pt idx="49">
                  <c:v>0.01867572156196944</c:v>
                </c:pt>
                <c:pt idx="50">
                  <c:v>0.0136986301369863</c:v>
                </c:pt>
                <c:pt idx="51">
                  <c:v>0.010869565217391304</c:v>
                </c:pt>
                <c:pt idx="52">
                  <c:v>0.013651877133105802</c:v>
                </c:pt>
                <c:pt idx="53">
                  <c:v>0.013725490196078431</c:v>
                </c:pt>
                <c:pt idx="54">
                  <c:v>0.006564551422319475</c:v>
                </c:pt>
                <c:pt idx="55">
                  <c:v>0.01606425702811245</c:v>
                </c:pt>
                <c:pt idx="56">
                  <c:v>0.007434944237918215</c:v>
                </c:pt>
                <c:pt idx="57">
                  <c:v>0.006578947368421052</c:v>
                </c:pt>
                <c:pt idx="58">
                  <c:v>0.002288329519450801</c:v>
                </c:pt>
                <c:pt idx="59">
                  <c:v>0.0022598870056497176</c:v>
                </c:pt>
                <c:pt idx="60">
                  <c:v>0.0049079754601227</c:v>
                </c:pt>
                <c:pt idx="61">
                  <c:v>0.0038363171355498722</c:v>
                </c:pt>
                <c:pt idx="62">
                  <c:v>0.003468208092485549</c:v>
                </c:pt>
                <c:pt idx="63">
                  <c:v>0.0023014959723820483</c:v>
                </c:pt>
                <c:pt idx="64">
                  <c:v>0.007352941176470588</c:v>
                </c:pt>
                <c:pt idx="65">
                  <c:v>0.0016778523489932886</c:v>
                </c:pt>
                <c:pt idx="66">
                  <c:v>0.003418803418803419</c:v>
                </c:pt>
                <c:pt idx="67">
                  <c:v>0.0020920502092050207</c:v>
                </c:pt>
                <c:pt idx="68">
                  <c:v>0.00303951367781155</c:v>
                </c:pt>
                <c:pt idx="69">
                  <c:v>0.0027472527472527475</c:v>
                </c:pt>
                <c:pt idx="70">
                  <c:v>0.00546448087431694</c:v>
                </c:pt>
                <c:pt idx="71">
                  <c:v>0.0024875621890547263</c:v>
                </c:pt>
                <c:pt idx="72">
                  <c:v>0.005434782608695652</c:v>
                </c:pt>
                <c:pt idx="73">
                  <c:v>0.002932551319648094</c:v>
                </c:pt>
                <c:pt idx="74">
                  <c:v>0.006779661016949152</c:v>
                </c:pt>
                <c:pt idx="75">
                  <c:v>0.003401360544217687</c:v>
                </c:pt>
                <c:pt idx="76">
                  <c:v>0.007272727272727273</c:v>
                </c:pt>
                <c:pt idx="77">
                  <c:v>0.0040650406504065045</c:v>
                </c:pt>
                <c:pt idx="78">
                  <c:v>0.004166666666666667</c:v>
                </c:pt>
                <c:pt idx="79">
                  <c:v>0.0031746031746031746</c:v>
                </c:pt>
                <c:pt idx="80">
                  <c:v>0.004081632653061225</c:v>
                </c:pt>
                <c:pt idx="81">
                  <c:v>0.005</c:v>
                </c:pt>
                <c:pt idx="82">
                  <c:v>0.004629629629629629</c:v>
                </c:pt>
                <c:pt idx="83">
                  <c:v>0.0051813471502590676</c:v>
                </c:pt>
                <c:pt idx="84">
                  <c:v>0.0036101083032490976</c:v>
                </c:pt>
                <c:pt idx="85">
                  <c:v>0.007575757575757576</c:v>
                </c:pt>
                <c:pt idx="86">
                  <c:v>0.008</c:v>
                </c:pt>
                <c:pt idx="87">
                  <c:v>0.003875968992248062</c:v>
                </c:pt>
                <c:pt idx="88">
                  <c:v>0.0031446540880503146</c:v>
                </c:pt>
                <c:pt idx="89">
                  <c:v>0.003246753246753247</c:v>
                </c:pt>
                <c:pt idx="90">
                  <c:v>0.00392156862745098</c:v>
                </c:pt>
                <c:pt idx="91">
                  <c:v>0.002932551319648094</c:v>
                </c:pt>
                <c:pt idx="92">
                  <c:v>0.002369668246445498</c:v>
                </c:pt>
                <c:pt idx="93">
                  <c:v>0.0042643923240938165</c:v>
                </c:pt>
                <c:pt idx="94">
                  <c:v>0.0018115942028985507</c:v>
                </c:pt>
                <c:pt idx="95">
                  <c:v>0.001422475106685633</c:v>
                </c:pt>
                <c:pt idx="96">
                  <c:v>0.002105263157894737</c:v>
                </c:pt>
                <c:pt idx="97">
                  <c:v>0.0017921146953405018</c:v>
                </c:pt>
                <c:pt idx="98">
                  <c:v>0.0018796992481203006</c:v>
                </c:pt>
                <c:pt idx="99">
                  <c:v>0.00202020202020202</c:v>
                </c:pt>
              </c:numCache>
            </c:numRef>
          </c:yVal>
          <c:smooth val="0"/>
          <c:extLst>
            <c:ext xmlns:c16="http://schemas.microsoft.com/office/drawing/2014/chart" uri="{C3380CC4-5D6E-409C-BE32-E72D297353CC}">
              <c16:uniqueId val="{00000000-096C-4121-9522-6AB7243CCAAE}"/>
            </c:ext>
          </c:extLst>
        </c:ser>
        <c:ser>
          <c:idx val="1"/>
          <c:order val="1"/>
          <c:tx>
            <c:strRef>
              <c:f>Sheet1!$B$10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0.7742201058405294</c:v>
                </c:pt>
                <c:pt idx="4">
                  <c:v>0.7104397919191582</c:v>
                </c:pt>
                <c:pt idx="5">
                  <c:v>1.3973901838790395</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313991484002704</c:v>
                </c:pt>
                <c:pt idx="23">
                  <c:v>0.0</c:v>
                </c:pt>
                <c:pt idx="24">
                  <c:v>1.5174112623963396</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019569471624266144</c:v>
                </c:pt>
                <c:pt idx="4">
                  <c:v>0.001834862385321101</c:v>
                </c:pt>
                <c:pt idx="5">
                  <c:v>0.001692047377326565</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23923444976076554</c:v>
                </c:pt>
                <c:pt idx="23">
                  <c:v>0.0</c:v>
                </c:pt>
                <c:pt idx="24">
                  <c:v>0.0049261083743842365</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096C-4121-9522-6AB7243CCAAE}"/>
            </c:ext>
          </c:extLst>
        </c:ser>
        <c:ser>
          <c:idx val="2"/>
          <c:order val="2"/>
          <c:tx>
            <c:strRef>
              <c:f>Sheet1!$B$13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0:$A$141</c:f>
              <c:numCache>
                <c:formatCode>General</c:formatCode>
                <c:ptCount val="2"/>
                <c:pt idx="0">
                  <c:v>0</c:v>
                </c:pt>
                <c:pt idx="1">
                  <c:v>9.80607832283609</c:v>
                </c:pt>
              </c:numCache>
            </c:numRef>
          </c:xVal>
          <c:yVal>
            <c:numRef>
              <c:f>Sheet1!$B$140:$B$141</c:f>
              <c:numCache>
                <c:formatCode>General</c:formatCode>
                <c:ptCount val="2"/>
                <c:pt idx="0">
                  <c:v>0.016845471618457813</c:v>
                </c:pt>
                <c:pt idx="1">
                  <c:v>0.016845471618457813</c:v>
                </c:pt>
              </c:numCache>
            </c:numRef>
          </c:yVal>
          <c:smooth val="0"/>
          <c:extLst>
            <c:ext xmlns:c16="http://schemas.microsoft.com/office/drawing/2014/chart" uri="{C3380CC4-5D6E-409C-BE32-E72D297353CC}">
              <c16:uniqueId val="{00000005-096C-4121-9522-6AB7243CCAAE}"/>
            </c:ext>
          </c:extLst>
        </c:ser>
        <c:ser>
          <c:idx val="3"/>
          <c:order val="3"/>
          <c:tx>
            <c:strRef>
              <c:f>Sheet1!$B$14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4:$A$145</c:f>
              <c:numCache>
                <c:formatCode>General</c:formatCode>
                <c:ptCount val="2"/>
                <c:pt idx="0">
                  <c:v>9.80607832283609</c:v>
                </c:pt>
                <c:pt idx="1">
                  <c:v>9.80607832283609</c:v>
                </c:pt>
              </c:numCache>
            </c:numRef>
          </c:xVal>
          <c:yVal>
            <c:numRef>
              <c:f>Sheet1!$B$144:$B$145</c:f>
              <c:numCache>
                <c:formatCode>General</c:formatCode>
                <c:ptCount val="2"/>
                <c:pt idx="0">
                  <c:v>0.01684547161845781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8:$A$149</c:f>
              <c:numCache>
                <c:formatCode>General</c:formatCode>
                <c:ptCount val="2"/>
                <c:pt idx="0">
                  <c:v>0</c:v>
                </c:pt>
                <c:pt idx="1">
                  <c:v>0.5086668499836713</c:v>
                </c:pt>
              </c:numCache>
            </c:numRef>
          </c:xVal>
          <c:yVal>
            <c:numRef>
              <c:f>Sheet1!$B$148:$B$149</c:f>
              <c:numCache>
                <c:formatCode>General</c:formatCode>
                <c:ptCount val="2"/>
                <c:pt idx="0">
                  <c:v>0.0009139761541790467</c:v>
                </c:pt>
                <c:pt idx="1">
                  <c:v>0.0009139761541790467</c:v>
                </c:pt>
              </c:numCache>
            </c:numRef>
          </c:yVal>
          <c:smooth val="0"/>
          <c:extLst>
            <c:ext xmlns:c16="http://schemas.microsoft.com/office/drawing/2014/chart" uri="{C3380CC4-5D6E-409C-BE32-E72D297353CC}">
              <c16:uniqueId val="{0000000D-096C-4121-9522-6AB7243CCAAE}"/>
            </c:ext>
          </c:extLst>
        </c:ser>
        <c:ser>
          <c:idx val="5"/>
          <c:order val="5"/>
          <c:tx>
            <c:strRef>
              <c:f>Sheet1!$B$15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2:$A$153</c:f>
              <c:numCache>
                <c:formatCode>General</c:formatCode>
                <c:ptCount val="2"/>
                <c:pt idx="0">
                  <c:v>0.5086668499836713</c:v>
                </c:pt>
                <c:pt idx="1">
                  <c:v>0.5086668499836713</c:v>
                </c:pt>
              </c:numCache>
            </c:numRef>
          </c:xVal>
          <c:yVal>
            <c:numRef>
              <c:f>Sheet1!$B$152:$B$153</c:f>
              <c:numCache>
                <c:formatCode>General</c:formatCode>
                <c:ptCount val="2"/>
                <c:pt idx="0">
                  <c:v>0.000913976154179046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6:$A$157</c:f>
              <c:numCache>
                <c:formatCode>General</c:formatCode>
                <c:ptCount val="2"/>
                <c:pt idx="0">
                  <c:v>0</c:v>
                </c:pt>
                <c:pt idx="1">
                  <c:v>-0.02471762737634513</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5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0:$A$161</c:f>
              <c:numCache>
                <c:formatCode>General</c:formatCode>
                <c:ptCount val="2"/>
                <c:pt idx="0">
                  <c:v>-0.02471762737634513</c:v>
                </c:pt>
                <c:pt idx="1">
                  <c:v>-0.02471762737634513</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4:$A$200</c:f>
              <c:numCache>
                <c:formatCode>General</c:formatCode>
                <c:ptCount val="37"/>
                <c:pt idx="0">
                  <c:v>0.0</c:v>
                </c:pt>
                <c:pt idx="1">
                  <c:v>0.0</c:v>
                </c:pt>
                <c:pt idx="2">
                  <c:v>0.0</c:v>
                </c:pt>
                <c:pt idx="3">
                  <c:v>0.7742201058405294</c:v>
                </c:pt>
                <c:pt idx="4">
                  <c:v>0.7104397919191582</c:v>
                </c:pt>
                <c:pt idx="5">
                  <c:v>1.3973901838790395</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313991484002704</c:v>
                </c:pt>
                <c:pt idx="23">
                  <c:v>0.0</c:v>
                </c:pt>
                <c:pt idx="24">
                  <c:v>1.5174112623963396</c:v>
                </c:pt>
                <c:pt idx="25">
                  <c:v>0.0</c:v>
                </c:pt>
                <c:pt idx="26">
                  <c:v>0.0</c:v>
                </c:pt>
                <c:pt idx="27">
                  <c:v>0.0</c:v>
                </c:pt>
                <c:pt idx="28">
                  <c:v>0.0</c:v>
                </c:pt>
                <c:pt idx="29">
                  <c:v>0.0</c:v>
                </c:pt>
                <c:pt idx="30">
                  <c:v>0.0</c:v>
                </c:pt>
                <c:pt idx="31">
                  <c:v>0.0</c:v>
                </c:pt>
                <c:pt idx="32">
                  <c:v>0.0</c:v>
                </c:pt>
                <c:pt idx="33">
                  <c:v>0.0</c:v>
                </c:pt>
                <c:pt idx="34">
                  <c:v>0.5086668499836713</c:v>
                </c:pt>
                <c:pt idx="35">
                  <c:v>9.80607832283609</c:v>
                </c:pt>
                <c:pt idx="36">
                  <c:v>-0.02471762737634513</c:v>
                </c:pt>
              </c:numCache>
            </c:numRef>
          </c:xVal>
          <c:yVal>
            <c:numRef>
              <c:f>Sheet1!$B$164:$B$200</c:f>
              <c:numCache>
                <c:formatCode>General</c:formatCode>
                <c:ptCount val="37"/>
                <c:pt idx="0">
                  <c:v>4.235466716556558e-05</c:v>
                </c:pt>
                <c:pt idx="1">
                  <c:v>4.235466716556558e-05</c:v>
                </c:pt>
                <c:pt idx="2">
                  <c:v>4.235466716556558e-05</c:v>
                </c:pt>
                <c:pt idx="3">
                  <c:v>0.001369012537538128</c:v>
                </c:pt>
                <c:pt idx="4">
                  <c:v>0.0012597223566188941</c:v>
                </c:pt>
                <c:pt idx="5">
                  <c:v>0.0024368399969050387</c:v>
                </c:pt>
                <c:pt idx="6">
                  <c:v>4.235466716556558e-05</c:v>
                </c:pt>
                <c:pt idx="7">
                  <c:v>4.235466716556558e-05</c:v>
                </c:pt>
                <c:pt idx="8">
                  <c:v>4.235466716556558e-05</c:v>
                </c:pt>
                <c:pt idx="9">
                  <c:v>4.235466716556558e-05</c:v>
                </c:pt>
                <c:pt idx="10">
                  <c:v>4.235466716556558e-05</c:v>
                </c:pt>
                <c:pt idx="11">
                  <c:v>4.235466716556558e-05</c:v>
                </c:pt>
                <c:pt idx="12">
                  <c:v>4.235466716556558e-05</c:v>
                </c:pt>
                <c:pt idx="13">
                  <c:v>4.235466716556558e-05</c:v>
                </c:pt>
                <c:pt idx="14">
                  <c:v>4.235466716556558e-05</c:v>
                </c:pt>
                <c:pt idx="15">
                  <c:v>4.235466716556558e-05</c:v>
                </c:pt>
                <c:pt idx="16">
                  <c:v>4.235466716556558e-05</c:v>
                </c:pt>
                <c:pt idx="17">
                  <c:v>4.235466716556558e-05</c:v>
                </c:pt>
                <c:pt idx="18">
                  <c:v>4.235466716556558e-05</c:v>
                </c:pt>
                <c:pt idx="19">
                  <c:v>4.235466716556558e-05</c:v>
                </c:pt>
                <c:pt idx="20">
                  <c:v>4.235466716556558e-05</c:v>
                </c:pt>
                <c:pt idx="21">
                  <c:v>4.235466716556558e-05</c:v>
                </c:pt>
                <c:pt idx="22">
                  <c:v>0.0038659485261160627</c:v>
                </c:pt>
                <c:pt idx="23">
                  <c:v>4.235466716556558e-05</c:v>
                </c:pt>
                <c:pt idx="24">
                  <c:v>0.0026425010320866495</c:v>
                </c:pt>
                <c:pt idx="25">
                  <c:v>4.235466716556558e-05</c:v>
                </c:pt>
                <c:pt idx="26">
                  <c:v>4.235466716556558e-05</c:v>
                </c:pt>
                <c:pt idx="27">
                  <c:v>4.235466716556558e-05</c:v>
                </c:pt>
                <c:pt idx="28">
                  <c:v>4.235466716556558e-05</c:v>
                </c:pt>
                <c:pt idx="29">
                  <c:v>4.235466716556558e-05</c:v>
                </c:pt>
                <c:pt idx="30">
                  <c:v>4.235466716556558e-05</c:v>
                </c:pt>
                <c:pt idx="31">
                  <c:v>4.235466716556558e-05</c:v>
                </c:pt>
                <c:pt idx="32">
                  <c:v>4.235466716556558e-05</c:v>
                </c:pt>
                <c:pt idx="33">
                  <c:v>4.235466716556558e-05</c:v>
                </c:pt>
                <c:pt idx="34">
                  <c:v>0.0009139761541790469</c:v>
                </c:pt>
                <c:pt idx="35">
                  <c:v>0.016845471618457813</c:v>
                </c:pt>
                <c:pt idx="36">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9215686274509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1244.25</c:v>
                </c:pt>
                <c:pt idx="1">
                  <c:v>1116.4</c:v>
                </c:pt>
                <c:pt idx="2">
                  <c:v>1214.8333</c:v>
                </c:pt>
                <c:pt idx="3">
                  <c:v>1106.5</c:v>
                </c:pt>
                <c:pt idx="4">
                  <c:v>1102.0</c:v>
                </c:pt>
                <c:pt idx="5">
                  <c:v>1050.4</c:v>
                </c:pt>
                <c:pt idx="6">
                  <c:v>1291.6667</c:v>
                </c:pt>
                <c:pt idx="7">
                  <c:v>1199.6667</c:v>
                </c:pt>
                <c:pt idx="8">
                  <c:v>1377.5</c:v>
                </c:pt>
                <c:pt idx="9">
                  <c:v>1108.0</c:v>
                </c:pt>
                <c:pt idx="10">
                  <c:v>1102.0</c:v>
                </c:pt>
                <c:pt idx="11">
                  <c:v>1193.6667</c:v>
                </c:pt>
                <c:pt idx="12">
                  <c:v>1253.3333</c:v>
                </c:pt>
                <c:pt idx="13">
                  <c:v>1081.5</c:v>
                </c:pt>
                <c:pt idx="14">
                  <c:v>1532.5</c:v>
                </c:pt>
                <c:pt idx="15">
                  <c:v>1381.0</c:v>
                </c:pt>
                <c:pt idx="16">
                  <c:v>1225.0</c:v>
                </c:pt>
                <c:pt idx="17">
                  <c:v>1397.5</c:v>
                </c:pt>
                <c:pt idx="18">
                  <c:v>1067.5</c:v>
                </c:pt>
                <c:pt idx="19">
                  <c:v>1170.2</c:v>
                </c:pt>
                <c:pt idx="20">
                  <c:v>1398.75</c:v>
                </c:pt>
                <c:pt idx="21">
                  <c:v>1355.3333</c:v>
                </c:pt>
                <c:pt idx="22">
                  <c:v>1351.6667</c:v>
                </c:pt>
                <c:pt idx="23">
                  <c:v>1120.0</c:v>
                </c:pt>
                <c:pt idx="24">
                  <c:v>1561.0</c:v>
                </c:pt>
                <c:pt idx="25">
                  <c:v>1343.6667</c:v>
                </c:pt>
                <c:pt idx="26">
                  <c:v>1231.75</c:v>
                </c:pt>
                <c:pt idx="27">
                  <c:v>1154.5</c:v>
                </c:pt>
                <c:pt idx="28">
                  <c:v>1573.0</c:v>
                </c:pt>
                <c:pt idx="29">
                  <c:v>1300.4</c:v>
                </c:pt>
                <c:pt idx="30">
                  <c:v>1412.5</c:v>
                </c:pt>
                <c:pt idx="31">
                  <c:v>1232.5</c:v>
                </c:pt>
                <c:pt idx="32">
                  <c:v>1284.6667</c:v>
                </c:pt>
                <c:pt idx="33">
                  <c:v>1314.5</c:v>
                </c:pt>
                <c:pt idx="34">
                  <c:v>1244.1</c:v>
                </c:pt>
                <c:pt idx="35">
                  <c:v>1340.2857</c:v>
                </c:pt>
                <c:pt idx="36">
                  <c:v>1239.3</c:v>
                </c:pt>
                <c:pt idx="37">
                  <c:v>1365.6</c:v>
                </c:pt>
                <c:pt idx="38">
                  <c:v>1188.2</c:v>
                </c:pt>
                <c:pt idx="39">
                  <c:v>1283.7143</c:v>
                </c:pt>
                <c:pt idx="40">
                  <c:v>1238.4286</c:v>
                </c:pt>
                <c:pt idx="41">
                  <c:v>1233.6667</c:v>
                </c:pt>
                <c:pt idx="42">
                  <c:v>1301.8889</c:v>
                </c:pt>
                <c:pt idx="43">
                  <c:v>1376.3333</c:v>
                </c:pt>
                <c:pt idx="44">
                  <c:v>1350.2</c:v>
                </c:pt>
                <c:pt idx="45">
                  <c:v>1179.8333</c:v>
                </c:pt>
                <c:pt idx="46">
                  <c:v>1328.6667</c:v>
                </c:pt>
                <c:pt idx="47">
                  <c:v>1386.5</c:v>
                </c:pt>
                <c:pt idx="48">
                  <c:v>1289.7143</c:v>
                </c:pt>
                <c:pt idx="49">
                  <c:v>1256.4545</c:v>
                </c:pt>
                <c:pt idx="50">
                  <c:v>1356.75</c:v>
                </c:pt>
                <c:pt idx="51">
                  <c:v>1232.8571</c:v>
                </c:pt>
                <c:pt idx="52">
                  <c:v>1278.125</c:v>
                </c:pt>
                <c:pt idx="53">
                  <c:v>1385.7143</c:v>
                </c:pt>
                <c:pt idx="54">
                  <c:v>1440.3333</c:v>
                </c:pt>
                <c:pt idx="55">
                  <c:v>1268.875</c:v>
                </c:pt>
                <c:pt idx="56">
                  <c:v>1231.25</c:v>
                </c:pt>
                <c:pt idx="57">
                  <c:v>1184.25</c:v>
                </c:pt>
                <c:pt idx="58">
                  <c:v>1322.5</c:v>
                </c:pt>
                <c:pt idx="59">
                  <c:v>1467.0</c:v>
                </c:pt>
                <c:pt idx="60">
                  <c:v>1332.25</c:v>
                </c:pt>
                <c:pt idx="61">
                  <c:v>1186.0</c:v>
                </c:pt>
                <c:pt idx="62">
                  <c:v>1077.0</c:v>
                </c:pt>
                <c:pt idx="63">
                  <c:v>1192.0</c:v>
                </c:pt>
                <c:pt idx="64">
                  <c:v>1140.0</c:v>
                </c:pt>
                <c:pt idx="65">
                  <c:v>1599.0</c:v>
                </c:pt>
                <c:pt idx="66">
                  <c:v>1546.0</c:v>
                </c:pt>
                <c:pt idx="67">
                  <c:v>2084.0</c:v>
                </c:pt>
                <c:pt idx="68">
                  <c:v>1757.0</c:v>
                </c:pt>
                <c:pt idx="69">
                  <c:v>1735.0</c:v>
                </c:pt>
                <c:pt idx="70">
                  <c:v>1194.5</c:v>
                </c:pt>
                <c:pt idx="71">
                  <c:v>1705.0</c:v>
                </c:pt>
                <c:pt idx="72">
                  <c:v>1354.5</c:v>
                </c:pt>
                <c:pt idx="73">
                  <c:v>1340.0</c:v>
                </c:pt>
                <c:pt idx="74">
                  <c:v>1344.0</c:v>
                </c:pt>
                <c:pt idx="75">
                  <c:v>1676.0</c:v>
                </c:pt>
                <c:pt idx="76">
                  <c:v>1199.0</c:v>
                </c:pt>
                <c:pt idx="77">
                  <c:v>1680.0</c:v>
                </c:pt>
                <c:pt idx="78">
                  <c:v>1319.0</c:v>
                </c:pt>
                <c:pt idx="79">
                  <c:v>1335.0</c:v>
                </c:pt>
                <c:pt idx="80">
                  <c:v>1977.0</c:v>
                </c:pt>
                <c:pt idx="81">
                  <c:v>1344.0</c:v>
                </c:pt>
                <c:pt idx="82">
                  <c:v>983.0</c:v>
                </c:pt>
                <c:pt idx="83">
                  <c:v>1191.0</c:v>
                </c:pt>
                <c:pt idx="84">
                  <c:v>1748.0</c:v>
                </c:pt>
                <c:pt idx="85">
                  <c:v>1354.5</c:v>
                </c:pt>
                <c:pt idx="86">
                  <c:v>1195.5</c:v>
                </c:pt>
                <c:pt idx="87">
                  <c:v>1701.0</c:v>
                </c:pt>
                <c:pt idx="88">
                  <c:v>1344.0</c:v>
                </c:pt>
                <c:pt idx="89">
                  <c:v>1029.0</c:v>
                </c:pt>
                <c:pt idx="90">
                  <c:v>2066.0</c:v>
                </c:pt>
                <c:pt idx="91">
                  <c:v>1365.0</c:v>
                </c:pt>
                <c:pt idx="92">
                  <c:v>1344.0</c:v>
                </c:pt>
                <c:pt idx="93">
                  <c:v>1337.5</c:v>
                </c:pt>
                <c:pt idx="94">
                  <c:v>1714.0</c:v>
                </c:pt>
                <c:pt idx="95">
                  <c:v>1029.0</c:v>
                </c:pt>
                <c:pt idx="96">
                  <c:v>1208.0</c:v>
                </c:pt>
                <c:pt idx="97">
                  <c:v>1365.0</c:v>
                </c:pt>
                <c:pt idx="98">
                  <c:v>1008.0</c:v>
                </c:pt>
                <c:pt idx="99">
                  <c:v>1051.0</c:v>
                </c:pt>
              </c:numCache>
            </c:numRef>
          </c:xVal>
          <c:yVal>
            <c:numRef>
              <c:f>Sheet1!$B$2:$B$101</c:f>
              <c:numCache>
                <c:formatCode>General</c:formatCode>
                <c:ptCount val="100"/>
                <c:pt idx="0">
                  <c:v>0.005532503457814661</c:v>
                </c:pt>
                <c:pt idx="1">
                  <c:v>0.006561679790026247</c:v>
                </c:pt>
                <c:pt idx="2">
                  <c:v>0.007566204287515763</c:v>
                </c:pt>
                <c:pt idx="3">
                  <c:v>0.006153846153846154</c:v>
                </c:pt>
                <c:pt idx="4">
                  <c:v>0.0048543689320388345</c:v>
                </c:pt>
                <c:pt idx="5">
                  <c:v>0.007564296520423601</c:v>
                </c:pt>
                <c:pt idx="6">
                  <c:v>0.004608294930875576</c:v>
                </c:pt>
                <c:pt idx="7">
                  <c:v>0.005172413793103448</c:v>
                </c:pt>
                <c:pt idx="8">
                  <c:v>0.00291970802919708</c:v>
                </c:pt>
                <c:pt idx="9">
                  <c:v>0.003875968992248062</c:v>
                </c:pt>
                <c:pt idx="10">
                  <c:v>0.0024630541871921183</c:v>
                </c:pt>
                <c:pt idx="11">
                  <c:v>0.0036231884057971015</c:v>
                </c:pt>
                <c:pt idx="12">
                  <c:v>0.004195804195804196</c:v>
                </c:pt>
                <c:pt idx="13">
                  <c:v>0.002257336343115124</c:v>
                </c:pt>
                <c:pt idx="14">
                  <c:v>0.0025220680958385876</c:v>
                </c:pt>
                <c:pt idx="15">
                  <c:v>0.00291970802919708</c:v>
                </c:pt>
                <c:pt idx="16">
                  <c:v>0.0036231884057971015</c:v>
                </c:pt>
                <c:pt idx="17">
                  <c:v>0.004395604395604396</c:v>
                </c:pt>
                <c:pt idx="18">
                  <c:v>0.004750593824228029</c:v>
                </c:pt>
                <c:pt idx="19">
                  <c:v>0.01026694045174538</c:v>
                </c:pt>
                <c:pt idx="20">
                  <c:v>0.009615384615384616</c:v>
                </c:pt>
                <c:pt idx="21">
                  <c:v>0.008522727272727272</c:v>
                </c:pt>
                <c:pt idx="22">
                  <c:v>0.00946372239747634</c:v>
                </c:pt>
                <c:pt idx="23">
                  <c:v>0.007936507936507936</c:v>
                </c:pt>
                <c:pt idx="24">
                  <c:v>0.0032258064516129032</c:v>
                </c:pt>
                <c:pt idx="25">
                  <c:v>0.007936507936507936</c:v>
                </c:pt>
                <c:pt idx="26">
                  <c:v>0.011019283746556474</c:v>
                </c:pt>
                <c:pt idx="27">
                  <c:v>0.010230179028132993</c:v>
                </c:pt>
                <c:pt idx="28">
                  <c:v>0.004640371229698376</c:v>
                </c:pt>
                <c:pt idx="29">
                  <c:v>0.01529051987767584</c:v>
                </c:pt>
                <c:pt idx="30">
                  <c:v>0.0071174377224199285</c:v>
                </c:pt>
                <c:pt idx="31">
                  <c:v>0.013888888888888888</c:v>
                </c:pt>
                <c:pt idx="32">
                  <c:v>0.01675977653631285</c:v>
                </c:pt>
                <c:pt idx="33">
                  <c:v>0.009925558312655087</c:v>
                </c:pt>
                <c:pt idx="34">
                  <c:v>0.02145922746781116</c:v>
                </c:pt>
                <c:pt idx="35">
                  <c:v>0.020114942528735632</c:v>
                </c:pt>
                <c:pt idx="36">
                  <c:v>0.032679738562091505</c:v>
                </c:pt>
                <c:pt idx="37">
                  <c:v>0.01644736842105263</c:v>
                </c:pt>
                <c:pt idx="38">
                  <c:v>0.01366120218579235</c:v>
                </c:pt>
                <c:pt idx="39">
                  <c:v>0.018867924528301886</c:v>
                </c:pt>
                <c:pt idx="40">
                  <c:v>0.02108433734939759</c:v>
                </c:pt>
                <c:pt idx="41">
                  <c:v>0.016172506738544475</c:v>
                </c:pt>
                <c:pt idx="42">
                  <c:v>0.02142857142857143</c:v>
                </c:pt>
                <c:pt idx="43">
                  <c:v>0.011857707509881422</c:v>
                </c:pt>
                <c:pt idx="44">
                  <c:v>0.009259259259259259</c:v>
                </c:pt>
                <c:pt idx="45">
                  <c:v>0.0106951871657754</c:v>
                </c:pt>
                <c:pt idx="46">
                  <c:v>0.005263157894736842</c:v>
                </c:pt>
                <c:pt idx="47">
                  <c:v>0.0048543689320388345</c:v>
                </c:pt>
                <c:pt idx="48">
                  <c:v>0.006340579710144928</c:v>
                </c:pt>
                <c:pt idx="49">
                  <c:v>0.01867572156196944</c:v>
                </c:pt>
                <c:pt idx="50">
                  <c:v>0.0136986301369863</c:v>
                </c:pt>
                <c:pt idx="51">
                  <c:v>0.010869565217391304</c:v>
                </c:pt>
                <c:pt idx="52">
                  <c:v>0.013651877133105802</c:v>
                </c:pt>
                <c:pt idx="53">
                  <c:v>0.013725490196078431</c:v>
                </c:pt>
                <c:pt idx="54">
                  <c:v>0.006564551422319475</c:v>
                </c:pt>
                <c:pt idx="55">
                  <c:v>0.01606425702811245</c:v>
                </c:pt>
                <c:pt idx="56">
                  <c:v>0.007434944237918215</c:v>
                </c:pt>
                <c:pt idx="57">
                  <c:v>0.006578947368421052</c:v>
                </c:pt>
                <c:pt idx="58">
                  <c:v>0.002288329519450801</c:v>
                </c:pt>
                <c:pt idx="59">
                  <c:v>0.0022598870056497176</c:v>
                </c:pt>
                <c:pt idx="60">
                  <c:v>0.0049079754601227</c:v>
                </c:pt>
                <c:pt idx="61">
                  <c:v>0.0038363171355498722</c:v>
                </c:pt>
                <c:pt idx="62">
                  <c:v>0.003468208092485549</c:v>
                </c:pt>
                <c:pt idx="63">
                  <c:v>0.0023014959723820483</c:v>
                </c:pt>
                <c:pt idx="64">
                  <c:v>0.007352941176470588</c:v>
                </c:pt>
                <c:pt idx="65">
                  <c:v>0.0016778523489932886</c:v>
                </c:pt>
                <c:pt idx="66">
                  <c:v>0.003418803418803419</c:v>
                </c:pt>
                <c:pt idx="67">
                  <c:v>0.0020920502092050207</c:v>
                </c:pt>
                <c:pt idx="68">
                  <c:v>0.00303951367781155</c:v>
                </c:pt>
                <c:pt idx="69">
                  <c:v>0.0027472527472527475</c:v>
                </c:pt>
                <c:pt idx="70">
                  <c:v>0.00546448087431694</c:v>
                </c:pt>
                <c:pt idx="71">
                  <c:v>0.0024875621890547263</c:v>
                </c:pt>
                <c:pt idx="72">
                  <c:v>0.005434782608695652</c:v>
                </c:pt>
                <c:pt idx="73">
                  <c:v>0.002932551319648094</c:v>
                </c:pt>
                <c:pt idx="74">
                  <c:v>0.006779661016949152</c:v>
                </c:pt>
                <c:pt idx="75">
                  <c:v>0.003401360544217687</c:v>
                </c:pt>
                <c:pt idx="76">
                  <c:v>0.007272727272727273</c:v>
                </c:pt>
                <c:pt idx="77">
                  <c:v>0.0040650406504065045</c:v>
                </c:pt>
                <c:pt idx="78">
                  <c:v>0.004166666666666667</c:v>
                </c:pt>
                <c:pt idx="79">
                  <c:v>0.0031746031746031746</c:v>
                </c:pt>
                <c:pt idx="80">
                  <c:v>0.004081632653061225</c:v>
                </c:pt>
                <c:pt idx="81">
                  <c:v>0.005</c:v>
                </c:pt>
                <c:pt idx="82">
                  <c:v>0.004629629629629629</c:v>
                </c:pt>
                <c:pt idx="83">
                  <c:v>0.0051813471502590676</c:v>
                </c:pt>
                <c:pt idx="84">
                  <c:v>0.0036101083032490976</c:v>
                </c:pt>
                <c:pt idx="85">
                  <c:v>0.007575757575757576</c:v>
                </c:pt>
                <c:pt idx="86">
                  <c:v>0.008</c:v>
                </c:pt>
                <c:pt idx="87">
                  <c:v>0.003875968992248062</c:v>
                </c:pt>
                <c:pt idx="88">
                  <c:v>0.0031446540880503146</c:v>
                </c:pt>
                <c:pt idx="89">
                  <c:v>0.003246753246753247</c:v>
                </c:pt>
                <c:pt idx="90">
                  <c:v>0.00392156862745098</c:v>
                </c:pt>
                <c:pt idx="91">
                  <c:v>0.002932551319648094</c:v>
                </c:pt>
                <c:pt idx="92">
                  <c:v>0.002369668246445498</c:v>
                </c:pt>
                <c:pt idx="93">
                  <c:v>0.0042643923240938165</c:v>
                </c:pt>
                <c:pt idx="94">
                  <c:v>0.0018115942028985507</c:v>
                </c:pt>
                <c:pt idx="95">
                  <c:v>0.001422475106685633</c:v>
                </c:pt>
                <c:pt idx="96">
                  <c:v>0.002105263157894737</c:v>
                </c:pt>
                <c:pt idx="97">
                  <c:v>0.0017921146953405018</c:v>
                </c:pt>
                <c:pt idx="98">
                  <c:v>0.0018796992481203006</c:v>
                </c:pt>
                <c:pt idx="99">
                  <c:v>0.00202020202020202</c:v>
                </c:pt>
              </c:numCache>
            </c:numRef>
          </c:yVal>
          <c:smooth val="0"/>
          <c:extLst>
            <c:ext xmlns:c16="http://schemas.microsoft.com/office/drawing/2014/chart" uri="{C3380CC4-5D6E-409C-BE32-E72D297353CC}">
              <c16:uniqueId val="{00000000-F32D-48B7-BC20-E66FC6253BAD}"/>
            </c:ext>
          </c:extLst>
        </c:ser>
        <c:ser>
          <c:idx val="1"/>
          <c:order val="1"/>
          <c:tx>
            <c:strRef>
              <c:f>Sheet1!$B$10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019569471624266144</c:v>
                </c:pt>
                <c:pt idx="4">
                  <c:v>0.001834862385321101</c:v>
                </c:pt>
                <c:pt idx="5">
                  <c:v>0.001692047377326565</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23923444976076554</c:v>
                </c:pt>
                <c:pt idx="23">
                  <c:v>0.0</c:v>
                </c:pt>
                <c:pt idx="24">
                  <c:v>0.0049261083743842365</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F32D-48B7-BC20-E66FC6253BAD}"/>
            </c:ext>
          </c:extLst>
        </c:ser>
        <c:ser>
          <c:idx val="2"/>
          <c:order val="2"/>
          <c:tx>
            <c:strRef>
              <c:f>Sheet1!$B$139</c:f>
              <c:strCache>
                <c:ptCount val="1"/>
                <c:pt idx="0">
                  <c:v>Custom Linep3yQ</c:v>
                </c:pt>
              </c:strCache>
            </c:strRef>
          </c:tx>
          <c:spPr>
            <a:ln w="19050" cap="rnd">
              <a:solidFill>
                <a:srgbClr val="C00000"/>
              </a:solidFill>
              <a:prstDash val="sysDot"/>
              <a:round/>
            </a:ln>
            <a:effectLst/>
          </c:spPr>
          <c:marker>
            <c:symbol val="none"/>
          </c:marker>
          <c:xVal>
            <c:numRef>
              <c:f>Sheet1!$A$140:$A$141</c:f>
              <c:numCache>
                <c:formatCode>General</c:formatCode>
                <c:ptCount val="2"/>
                <c:pt idx="0">
                  <c:v>0</c:v>
                </c:pt>
                <c:pt idx="1">
                  <c:v>10769.081638256122</c:v>
                </c:pt>
              </c:numCache>
            </c:numRef>
          </c:xVal>
          <c:yVal>
            <c:numRef>
              <c:f>Sheet1!$B$140:$B$141</c:f>
              <c:numCache>
                <c:formatCode>General</c:formatCode>
                <c:ptCount val="2"/>
                <c:pt idx="0">
                  <c:v>0.016845471618457813</c:v>
                </c:pt>
                <c:pt idx="1">
                  <c:v>0.016845471618457813</c:v>
                </c:pt>
              </c:numCache>
            </c:numRef>
          </c:yVal>
          <c:smooth val="0"/>
          <c:extLst>
            <c:ext xmlns:c16="http://schemas.microsoft.com/office/drawing/2014/chart" uri="{C3380CC4-5D6E-409C-BE32-E72D297353CC}">
              <c16:uniqueId val="{00000003-F32D-48B7-BC20-E66FC6253BAD}"/>
            </c:ext>
          </c:extLst>
        </c:ser>
        <c:ser>
          <c:idx val="3"/>
          <c:order val="3"/>
          <c:tx>
            <c:strRef>
              <c:f>Sheet1!$B$14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4:$A$145</c:f>
              <c:numCache>
                <c:formatCode>General</c:formatCode>
                <c:ptCount val="2"/>
                <c:pt idx="0">
                  <c:v>10769.081638256122</c:v>
                </c:pt>
                <c:pt idx="1">
                  <c:v>10769.081638256122</c:v>
                </c:pt>
              </c:numCache>
            </c:numRef>
          </c:xVal>
          <c:yVal>
            <c:numRef>
              <c:f>Sheet1!$B$144:$B$145</c:f>
              <c:numCache>
                <c:formatCode>General</c:formatCode>
                <c:ptCount val="2"/>
                <c:pt idx="0">
                  <c:v>0.01684547161845781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8:$A$149</c:f>
              <c:numCache>
                <c:formatCode>General</c:formatCode>
                <c:ptCount val="2"/>
                <c:pt idx="0">
                  <c:v>0</c:v>
                </c:pt>
                <c:pt idx="1">
                  <c:v>576.4869666126056</c:v>
                </c:pt>
              </c:numCache>
            </c:numRef>
          </c:xVal>
          <c:yVal>
            <c:numRef>
              <c:f>Sheet1!$B$148:$B$149</c:f>
              <c:numCache>
                <c:formatCode>General</c:formatCode>
                <c:ptCount val="2"/>
                <c:pt idx="0">
                  <c:v>0.0009139761541790467</c:v>
                </c:pt>
                <c:pt idx="1">
                  <c:v>0.0009139761541790467</c:v>
                </c:pt>
              </c:numCache>
            </c:numRef>
          </c:yVal>
          <c:smooth val="0"/>
          <c:extLst>
            <c:ext xmlns:c16="http://schemas.microsoft.com/office/drawing/2014/chart" uri="{C3380CC4-5D6E-409C-BE32-E72D297353CC}">
              <c16:uniqueId val="{0000000A-F32D-48B7-BC20-E66FC6253BAD}"/>
            </c:ext>
          </c:extLst>
        </c:ser>
        <c:ser>
          <c:idx val="5"/>
          <c:order val="5"/>
          <c:tx>
            <c:strRef>
              <c:f>Sheet1!$B$15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2:$A$153</c:f>
              <c:numCache>
                <c:formatCode>General</c:formatCode>
                <c:ptCount val="2"/>
                <c:pt idx="0">
                  <c:v>576.4869666126056</c:v>
                </c:pt>
                <c:pt idx="1">
                  <c:v>576.4869666126056</c:v>
                </c:pt>
              </c:numCache>
            </c:numRef>
          </c:xVal>
          <c:yVal>
            <c:numRef>
              <c:f>Sheet1!$B$152:$B$153</c:f>
              <c:numCache>
                <c:formatCode>General</c:formatCode>
                <c:ptCount val="2"/>
                <c:pt idx="0">
                  <c:v>0.000913976154179046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6:$A$157</c:f>
              <c:numCache>
                <c:formatCode>General</c:formatCode>
                <c:ptCount val="2"/>
                <c:pt idx="0">
                  <c:v>0</c:v>
                </c:pt>
                <c:pt idx="1">
                  <c:v>-8.25339878386546</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5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0:$A$161</c:f>
              <c:numCache>
                <c:formatCode>General</c:formatCode>
                <c:ptCount val="2"/>
                <c:pt idx="0">
                  <c:v>-8.25339878386546</c:v>
                </c:pt>
                <c:pt idx="1">
                  <c:v>-8.25339878386546</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4:$A$200</c:f>
              <c:numCache>
                <c:formatCode>General</c:formatCode>
                <c:ptCount val="37"/>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pt idx="34">
                  <c:v>576.4869666126056</c:v>
                </c:pt>
                <c:pt idx="35">
                  <c:v>10769.081638256122</c:v>
                </c:pt>
                <c:pt idx="36">
                  <c:v>-8.25339878386546</c:v>
                </c:pt>
              </c:numCache>
            </c:numRef>
          </c:xVal>
          <c:yVal>
            <c:numRef>
              <c:f>Sheet1!$B$164:$B$200</c:f>
              <c:numCache>
                <c:formatCode>General</c:formatCode>
                <c:ptCount val="37"/>
                <c:pt idx="0">
                  <c:v>1.2900442873083894e-05</c:v>
                </c:pt>
                <c:pt idx="1">
                  <c:v>1.2900442873083894e-05</c:v>
                </c:pt>
                <c:pt idx="2">
                  <c:v>1.2900442873083894e-05</c:v>
                </c:pt>
                <c:pt idx="3">
                  <c:v>0.0016556619057162911</c:v>
                </c:pt>
                <c:pt idx="4">
                  <c:v>0.0016212748912704771</c:v>
                </c:pt>
                <c:pt idx="5">
                  <c:v>0.0026575744629784184</c:v>
                </c:pt>
                <c:pt idx="6">
                  <c:v>1.2900442873083894e-05</c:v>
                </c:pt>
                <c:pt idx="7">
                  <c:v>1.2900442873083894e-05</c:v>
                </c:pt>
                <c:pt idx="8">
                  <c:v>1.2900442873083894e-05</c:v>
                </c:pt>
                <c:pt idx="9">
                  <c:v>1.2900442873083894e-05</c:v>
                </c:pt>
                <c:pt idx="10">
                  <c:v>1.2900442873083894e-05</c:v>
                </c:pt>
                <c:pt idx="11">
                  <c:v>1.2900442873083894e-05</c:v>
                </c:pt>
                <c:pt idx="12">
                  <c:v>1.2900442873083894e-05</c:v>
                </c:pt>
                <c:pt idx="13">
                  <c:v>1.2900442873083894e-05</c:v>
                </c:pt>
                <c:pt idx="14">
                  <c:v>1.2900442873083894e-05</c:v>
                </c:pt>
                <c:pt idx="15">
                  <c:v>1.2900442873083894e-05</c:v>
                </c:pt>
                <c:pt idx="16">
                  <c:v>1.2900442873083894e-05</c:v>
                </c:pt>
                <c:pt idx="17">
                  <c:v>1.2900442873083894e-05</c:v>
                </c:pt>
                <c:pt idx="18">
                  <c:v>1.2900442873083894e-05</c:v>
                </c:pt>
                <c:pt idx="19">
                  <c:v>1.2900442873083894e-05</c:v>
                </c:pt>
                <c:pt idx="20">
                  <c:v>1.2900442873083894e-05</c:v>
                </c:pt>
                <c:pt idx="21">
                  <c:v>1.2900442873083894e-05</c:v>
                </c:pt>
                <c:pt idx="22">
                  <c:v>0.00355007379245841</c:v>
                </c:pt>
                <c:pt idx="23">
                  <c:v>1.2900442873083894e-05</c:v>
                </c:pt>
                <c:pt idx="24">
                  <c:v>0.002943611901323144</c:v>
                </c:pt>
                <c:pt idx="25">
                  <c:v>1.2900442873083894e-05</c:v>
                </c:pt>
                <c:pt idx="26">
                  <c:v>1.2900442873083894e-05</c:v>
                </c:pt>
                <c:pt idx="27">
                  <c:v>1.2900442873083894e-05</c:v>
                </c:pt>
                <c:pt idx="28">
                  <c:v>1.2900442873083894e-05</c:v>
                </c:pt>
                <c:pt idx="29">
                  <c:v>1.2900442873083894e-05</c:v>
                </c:pt>
                <c:pt idx="30">
                  <c:v>1.2900442873083894e-05</c:v>
                </c:pt>
                <c:pt idx="31">
                  <c:v>1.2900442873083894e-05</c:v>
                </c:pt>
                <c:pt idx="32">
                  <c:v>1.2900442873083894e-05</c:v>
                </c:pt>
                <c:pt idx="33">
                  <c:v>1.2900442873083894e-05</c:v>
                </c:pt>
                <c:pt idx="34">
                  <c:v>0.0009139761541790469</c:v>
                </c:pt>
                <c:pt idx="35">
                  <c:v>0.016845471618457813</c:v>
                </c:pt>
                <c:pt idx="36">
                  <c:v>1.6940658945086007e-2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92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9215686274509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6761825779297309</c:v>
                </c:pt>
                <c:pt idx="1">
                  <c:v>0.07856599487307485</c:v>
                </c:pt>
                <c:pt idx="2">
                  <c:v>0.08069842111149304</c:v>
                </c:pt>
                <c:pt idx="3">
                  <c:v>0.08015593383068477</c:v>
                </c:pt>
                <c:pt idx="4">
                  <c:v>0.07877976757007187</c:v>
                </c:pt>
                <c:pt idx="5">
                  <c:v>0.07680008369708223</c:v>
                </c:pt>
                <c:pt idx="6">
                  <c:v>0.07416832895895462</c:v>
                </c:pt>
                <c:pt idx="7">
                  <c:v>0.0750110352017267</c:v>
                </c:pt>
                <c:pt idx="8">
                  <c:v>0.0724075820275612</c:v>
                </c:pt>
                <c:pt idx="9">
                  <c:v>0.07179644693574208</c:v>
                </c:pt>
                <c:pt idx="10">
                  <c:v>0.06972869638995947</c:v>
                </c:pt>
                <c:pt idx="11">
                  <c:v>0.0707232314376867</c:v>
                </c:pt>
                <c:pt idx="12">
                  <c:v>0.07263102263846913</c:v>
                </c:pt>
                <c:pt idx="13">
                  <c:v>0.07136424679984349</c:v>
                </c:pt>
                <c:pt idx="14">
                  <c:v>0.0787310792467042</c:v>
                </c:pt>
                <c:pt idx="15">
                  <c:v>0.08135152430026583</c:v>
                </c:pt>
                <c:pt idx="16">
                  <c:v>0.08244038492753035</c:v>
                </c:pt>
                <c:pt idx="17">
                  <c:v>0.08223659963596032</c:v>
                </c:pt>
                <c:pt idx="18">
                  <c:v>0.08456840690838334</c:v>
                </c:pt>
                <c:pt idx="19">
                  <c:v>0.08498866902509168</c:v>
                </c:pt>
                <c:pt idx="20">
                  <c:v>0.08741577260830309</c:v>
                </c:pt>
                <c:pt idx="21">
                  <c:v>0.08831241203403005</c:v>
                </c:pt>
                <c:pt idx="22">
                  <c:v>0.08481609460228111</c:v>
                </c:pt>
                <c:pt idx="23">
                  <c:v>0.08518173290012444</c:v>
                </c:pt>
                <c:pt idx="24">
                  <c:v>0.08701253332040905</c:v>
                </c:pt>
                <c:pt idx="25">
                  <c:v>0.085264367726483</c:v>
                </c:pt>
                <c:pt idx="26">
                  <c:v>0.0825546004877932</c:v>
                </c:pt>
                <c:pt idx="27">
                  <c:v>0.08585968725415036</c:v>
                </c:pt>
                <c:pt idx="28">
                  <c:v>0.08368874816290456</c:v>
                </c:pt>
                <c:pt idx="29">
                  <c:v>0.0856452900478627</c:v>
                </c:pt>
                <c:pt idx="30">
                  <c:v>0.08545881883232752</c:v>
                </c:pt>
                <c:pt idx="31">
                  <c:v>0.08529680845777687</c:v>
                </c:pt>
                <c:pt idx="32">
                  <c:v>0.08329064955674963</c:v>
                </c:pt>
                <c:pt idx="33">
                  <c:v>0.0833882058555786</c:v>
                </c:pt>
                <c:pt idx="34">
                  <c:v>0.08325417391966897</c:v>
                </c:pt>
                <c:pt idx="35">
                  <c:v>0.08590323849438161</c:v>
                </c:pt>
                <c:pt idx="36">
                  <c:v>0.08981999235274843</c:v>
                </c:pt>
                <c:pt idx="37">
                  <c:v>0.0933411653776558</c:v>
                </c:pt>
                <c:pt idx="38">
                  <c:v>0.09646007414822867</c:v>
                </c:pt>
                <c:pt idx="39">
                  <c:v>0.09920992899775159</c:v>
                </c:pt>
                <c:pt idx="40">
                  <c:v>0.10121180902460457</c:v>
                </c:pt>
                <c:pt idx="41">
                  <c:v>0.1029838808298959</c:v>
                </c:pt>
                <c:pt idx="42">
                  <c:v>0.10147860305206202</c:v>
                </c:pt>
                <c:pt idx="43">
                  <c:v>0.10221985743904563</c:v>
                </c:pt>
                <c:pt idx="44">
                  <c:v>0.09646705107667819</c:v>
                </c:pt>
                <c:pt idx="45">
                  <c:v>0.09475478925008612</c:v>
                </c:pt>
                <c:pt idx="46">
                  <c:v>0.09273710050406296</c:v>
                </c:pt>
                <c:pt idx="47">
                  <c:v>0.08989847381163325</c:v>
                </c:pt>
                <c:pt idx="48">
                  <c:v>0.09037761247496834</c:v>
                </c:pt>
                <c:pt idx="49">
                  <c:v>0.08781939146810659</c:v>
                </c:pt>
                <c:pt idx="50">
                  <c:v>0.086417276323221</c:v>
                </c:pt>
                <c:pt idx="51">
                  <c:v>0.08613436767421646</c:v>
                </c:pt>
                <c:pt idx="52">
                  <c:v>0.08791251382744446</c:v>
                </c:pt>
                <c:pt idx="53">
                  <c:v>0.09665320386855553</c:v>
                </c:pt>
                <c:pt idx="54">
                  <c:v>0.09466646138882467</c:v>
                </c:pt>
                <c:pt idx="55">
                  <c:v>0.09425871597847497</c:v>
                </c:pt>
                <c:pt idx="56">
                  <c:v>0.0938931507477012</c:v>
                </c:pt>
                <c:pt idx="57">
                  <c:v>0.09293911715529123</c:v>
                </c:pt>
                <c:pt idx="58">
                  <c:v>0.0901478866954308</c:v>
                </c:pt>
                <c:pt idx="59">
                  <c:v>0.09099032246710469</c:v>
                </c:pt>
                <c:pt idx="60">
                  <c:v>0.08930811926484102</c:v>
                </c:pt>
                <c:pt idx="61">
                  <c:v>0.09146323032415521</c:v>
                </c:pt>
                <c:pt idx="62">
                  <c:v>0.08727084718360391</c:v>
                </c:pt>
                <c:pt idx="63">
                  <c:v>0.08831335502403415</c:v>
                </c:pt>
                <c:pt idx="64">
                  <c:v>0.08905163794574304</c:v>
                </c:pt>
                <c:pt idx="65">
                  <c:v>0.08609724727638567</c:v>
                </c:pt>
                <c:pt idx="66">
                  <c:v>0.08801453593020869</c:v>
                </c:pt>
                <c:pt idx="67">
                  <c:v>0.09171389039631775</c:v>
                </c:pt>
                <c:pt idx="68">
                  <c:v>0.09110232947346021</c:v>
                </c:pt>
                <c:pt idx="69">
                  <c:v>0.0931079352543668</c:v>
                </c:pt>
                <c:pt idx="70">
                  <c:v>0.092136698645974</c:v>
                </c:pt>
                <c:pt idx="71">
                  <c:v>0.09590078335491313</c:v>
                </c:pt>
                <c:pt idx="72">
                  <c:v>0.10268112368709138</c:v>
                </c:pt>
                <c:pt idx="73">
                  <c:v>0.0999493342210386</c:v>
                </c:pt>
                <c:pt idx="74">
                  <c:v>0.09989024025319446</c:v>
                </c:pt>
                <c:pt idx="75">
                  <c:v>0.09718505018178969</c:v>
                </c:pt>
                <c:pt idx="76">
                  <c:v>0.09356779794650581</c:v>
                </c:pt>
                <c:pt idx="77">
                  <c:v>0.09355223728645991</c:v>
                </c:pt>
                <c:pt idx="78">
                  <c:v>0.09422753907802345</c:v>
                </c:pt>
                <c:pt idx="79">
                  <c:v>0.10137413941802884</c:v>
                </c:pt>
                <c:pt idx="80">
                  <c:v>0.09589224614179054</c:v>
                </c:pt>
                <c:pt idx="81">
                  <c:v>0.10119297998881792</c:v>
                </c:pt>
                <c:pt idx="82">
                  <c:v>0.1076604055443536</c:v>
                </c:pt>
                <c:pt idx="83">
                  <c:v>0.09673480049874131</c:v>
                </c:pt>
                <c:pt idx="84">
                  <c:v>0.09749550430678947</c:v>
                </c:pt>
                <c:pt idx="85">
                  <c:v>0.09611960566001479</c:v>
                </c:pt>
                <c:pt idx="86">
                  <c:v>0.09562146766519285</c:v>
                </c:pt>
                <c:pt idx="87">
                  <c:v>0.09901859480423243</c:v>
                </c:pt>
                <c:pt idx="88">
                  <c:v>0.09917420701057247</c:v>
                </c:pt>
                <c:pt idx="89">
                  <c:v>0.09802195454603332</c:v>
                </c:pt>
                <c:pt idx="90">
                  <c:v>0.10513292822805506</c:v>
                </c:pt>
                <c:pt idx="91">
                  <c:v>0.10501020399416695</c:v>
                </c:pt>
                <c:pt idx="92">
                  <c:v>0.10084042707310888</c:v>
                </c:pt>
                <c:pt idx="93">
                  <c:v>0.10318256925481248</c:v>
                </c:pt>
                <c:pt idx="94">
                  <c:v>0.1005773795769688</c:v>
                </c:pt>
                <c:pt idx="95">
                  <c:v>0.09783566505425134</c:v>
                </c:pt>
                <c:pt idx="96">
                  <c:v>0.09235502656742876</c:v>
                </c:pt>
                <c:pt idx="97">
                  <c:v>0.09237079169451112</c:v>
                </c:pt>
                <c:pt idx="98">
                  <c:v>0.09148737048907471</c:v>
                </c:pt>
                <c:pt idx="99">
                  <c:v>0.08839776036656602</c:v>
                </c:pt>
                <c:pt idx="100">
                  <c:v>0.08959374659781101</c:v>
                </c:pt>
                <c:pt idx="101">
                  <c:v>0.09290251494020213</c:v>
                </c:pt>
                <c:pt idx="102">
                  <c:v>0.09164611309090065</c:v>
                </c:pt>
                <c:pt idx="103">
                  <c:v>0.08856067717348412</c:v>
                </c:pt>
                <c:pt idx="104">
                  <c:v>0.09021374507159352</c:v>
                </c:pt>
              </c:numCache>
            </c:numRef>
          </c:xVal>
          <c:yVal>
            <c:numRef>
              <c:f>Sheet1!$B$2:$B$106</c:f>
              <c:numCache>
                <c:formatCode>General</c:formatCode>
                <c:ptCount val="105"/>
                <c:pt idx="0">
                  <c:v>0.11161192179841117</c:v>
                </c:pt>
                <c:pt idx="1">
                  <c:v>0.0923679060665362</c:v>
                </c:pt>
                <c:pt idx="2">
                  <c:v>0.09798698970445116</c:v>
                </c:pt>
                <c:pt idx="3">
                  <c:v>0.09666721035176426</c:v>
                </c:pt>
                <c:pt idx="4">
                  <c:v>0.10624081250835227</c:v>
                </c:pt>
                <c:pt idx="5">
                  <c:v>0.12701315141711794</c:v>
                </c:pt>
                <c:pt idx="6">
                  <c:v>0.1488462089723377</c:v>
                </c:pt>
                <c:pt idx="7">
                  <c:v>0.15231515749650465</c:v>
                </c:pt>
                <c:pt idx="8">
                  <c:v>0.1564456642936787</c:v>
                </c:pt>
                <c:pt idx="9">
                  <c:v>0.14047985029740026</c:v>
                </c:pt>
                <c:pt idx="10">
                  <c:v>0.1478868763902129</c:v>
                </c:pt>
                <c:pt idx="11">
                  <c:v>0.14233369132604712</c:v>
                </c:pt>
                <c:pt idx="12">
                  <c:v>0.12890878040162534</c:v>
                </c:pt>
                <c:pt idx="13">
                  <c:v>0.12000726216412491</c:v>
                </c:pt>
                <c:pt idx="14">
                  <c:v>0.09403877514042398</c:v>
                </c:pt>
                <c:pt idx="15">
                  <c:v>0.08468428455104005</c:v>
                </c:pt>
                <c:pt idx="16">
                  <c:v>0.08020449212202481</c:v>
                </c:pt>
                <c:pt idx="17">
                  <c:v>0.06952767007402186</c:v>
                </c:pt>
                <c:pt idx="18">
                  <c:v>0.06445125454893698</c:v>
                </c:pt>
                <c:pt idx="19">
                  <c:v>0.06243614485185606</c:v>
                </c:pt>
                <c:pt idx="20">
                  <c:v>0.060835798816568046</c:v>
                </c:pt>
                <c:pt idx="21">
                  <c:v>0.059258453843644664</c:v>
                </c:pt>
                <c:pt idx="22">
                  <c:v>0.06481679880008571</c:v>
                </c:pt>
                <c:pt idx="23">
                  <c:v>0.07247992863514718</c:v>
                </c:pt>
                <c:pt idx="24">
                  <c:v>0.07399577167019028</c:v>
                </c:pt>
                <c:pt idx="25">
                  <c:v>0.0766247502644259</c:v>
                </c:pt>
                <c:pt idx="26">
                  <c:v>0.09095027749462001</c:v>
                </c:pt>
                <c:pt idx="27">
                  <c:v>0.09469613259668508</c:v>
                </c:pt>
                <c:pt idx="28">
                  <c:v>0.11374045801526718</c:v>
                </c:pt>
                <c:pt idx="29">
                  <c:v>0.11356224822558987</c:v>
                </c:pt>
                <c:pt idx="30">
                  <c:v>0.11730021327311504</c:v>
                </c:pt>
                <c:pt idx="31">
                  <c:v>0.11637881071055987</c:v>
                </c:pt>
                <c:pt idx="32">
                  <c:v>0.12771493212669682</c:v>
                </c:pt>
                <c:pt idx="33">
                  <c:v>0.11790195901417351</c:v>
                </c:pt>
                <c:pt idx="34">
                  <c:v>0.11959134615384616</c:v>
                </c:pt>
                <c:pt idx="35">
                  <c:v>0.13572263342423063</c:v>
                </c:pt>
                <c:pt idx="36">
                  <c:v>0.10583807600514045</c:v>
                </c:pt>
                <c:pt idx="37">
                  <c:v>0.10197571516772999</c:v>
                </c:pt>
                <c:pt idx="38">
                  <c:v>0.09675486769845232</c:v>
                </c:pt>
                <c:pt idx="39">
                  <c:v>0.0886299802350983</c:v>
                </c:pt>
                <c:pt idx="40">
                  <c:v>0.09395673162882175</c:v>
                </c:pt>
                <c:pt idx="41">
                  <c:v>0.09259434408398752</c:v>
                </c:pt>
                <c:pt idx="42">
                  <c:v>0.09036870431359949</c:v>
                </c:pt>
                <c:pt idx="43">
                  <c:v>0.087968092178152</c:v>
                </c:pt>
                <c:pt idx="44">
                  <c:v>0.09342703596527491</c:v>
                </c:pt>
                <c:pt idx="45">
                  <c:v>0.1081802015411974</c:v>
                </c:pt>
                <c:pt idx="46">
                  <c:v>0.11185143181173803</c:v>
                </c:pt>
                <c:pt idx="47">
                  <c:v>0.10358032665866937</c:v>
                </c:pt>
                <c:pt idx="48">
                  <c:v>0.10720056199508254</c:v>
                </c:pt>
                <c:pt idx="49">
                  <c:v>0.10757608774605942</c:v>
                </c:pt>
                <c:pt idx="50">
                  <c:v>0.10438673370542921</c:v>
                </c:pt>
                <c:pt idx="51">
                  <c:v>0.09654148100997241</c:v>
                </c:pt>
                <c:pt idx="52">
                  <c:v>0.09940467949605428</c:v>
                </c:pt>
                <c:pt idx="53">
                  <c:v>0.08989323449687447</c:v>
                </c:pt>
                <c:pt idx="54">
                  <c:v>0.09183551847437425</c:v>
                </c:pt>
                <c:pt idx="55">
                  <c:v>0.08999877134783144</c:v>
                </c:pt>
                <c:pt idx="56">
                  <c:v>0.09457872287816035</c:v>
                </c:pt>
                <c:pt idx="57">
                  <c:v>0.0905018399018719</c:v>
                </c:pt>
                <c:pt idx="58">
                  <c:v>0.10347506344191827</c:v>
                </c:pt>
                <c:pt idx="59">
                  <c:v>0.09794723476297969</c:v>
                </c:pt>
                <c:pt idx="60">
                  <c:v>0.09967678863572882</c:v>
                </c:pt>
                <c:pt idx="61">
                  <c:v>0.10098018095648427</c:v>
                </c:pt>
                <c:pt idx="62">
                  <c:v>0.11095868727905872</c:v>
                </c:pt>
                <c:pt idx="63">
                  <c:v>0.11437699680511182</c:v>
                </c:pt>
                <c:pt idx="64">
                  <c:v>0.10774878460164698</c:v>
                </c:pt>
                <c:pt idx="65">
                  <c:v>0.10945485519591142</c:v>
                </c:pt>
                <c:pt idx="66">
                  <c:v>0.10667888523529728</c:v>
                </c:pt>
                <c:pt idx="67">
                  <c:v>0.09876887081499638</c:v>
                </c:pt>
                <c:pt idx="68">
                  <c:v>0.09202414173534947</c:v>
                </c:pt>
                <c:pt idx="69">
                  <c:v>0.08543128353281057</c:v>
                </c:pt>
                <c:pt idx="70">
                  <c:v>0.08832403077387238</c:v>
                </c:pt>
                <c:pt idx="71">
                  <c:v>0.08039169233199084</c:v>
                </c:pt>
                <c:pt idx="72">
                  <c:v>0.08137111093955068</c:v>
                </c:pt>
                <c:pt idx="73">
                  <c:v>0.0812126047068209</c:v>
                </c:pt>
                <c:pt idx="74">
                  <c:v>0.07855051244509517</c:v>
                </c:pt>
                <c:pt idx="75">
                  <c:v>0.0859437751004016</c:v>
                </c:pt>
                <c:pt idx="76">
                  <c:v>0.09480330257406508</c:v>
                </c:pt>
                <c:pt idx="77">
                  <c:v>0.08502406341417382</c:v>
                </c:pt>
                <c:pt idx="78">
                  <c:v>0.096081307627829</c:v>
                </c:pt>
                <c:pt idx="79">
                  <c:v>0.10028795551583755</c:v>
                </c:pt>
                <c:pt idx="80">
                  <c:v>0.08607843137254902</c:v>
                </c:pt>
                <c:pt idx="81">
                  <c:v>0.0840855106888361</c:v>
                </c:pt>
                <c:pt idx="82">
                  <c:v>0.093727394853777</c:v>
                </c:pt>
                <c:pt idx="83">
                  <c:v>0.08385202583675866</c:v>
                </c:pt>
                <c:pt idx="84">
                  <c:v>0.08458807687599461</c:v>
                </c:pt>
                <c:pt idx="85">
                  <c:v>0.08871402393014984</c:v>
                </c:pt>
                <c:pt idx="86">
                  <c:v>0.09915316944832689</c:v>
                </c:pt>
                <c:pt idx="87">
                  <c:v>0.11427596793450452</c:v>
                </c:pt>
                <c:pt idx="88">
                  <c:v>0.09438112377524495</c:v>
                </c:pt>
                <c:pt idx="89">
                  <c:v>0.10145993067955046</c:v>
                </c:pt>
                <c:pt idx="90">
                  <c:v>0.08703643637149962</c:v>
                </c:pt>
                <c:pt idx="91">
                  <c:v>0.08679871409312455</c:v>
                </c:pt>
                <c:pt idx="92">
                  <c:v>0.09280900793312293</c:v>
                </c:pt>
                <c:pt idx="93">
                  <c:v>0.09282981201131259</c:v>
                </c:pt>
                <c:pt idx="94">
                  <c:v>0.09474506739597578</c:v>
                </c:pt>
                <c:pt idx="95">
                  <c:v>0.09582700513488103</c:v>
                </c:pt>
                <c:pt idx="96">
                  <c:v>0.09726858877086494</c:v>
                </c:pt>
                <c:pt idx="97">
                  <c:v>0.10004616805170821</c:v>
                </c:pt>
                <c:pt idx="98">
                  <c:v>0.1054962018117561</c:v>
                </c:pt>
                <c:pt idx="99">
                  <c:v>0.10254591872916814</c:v>
                </c:pt>
                <c:pt idx="100">
                  <c:v>0.1075742948835025</c:v>
                </c:pt>
                <c:pt idx="101">
                  <c:v>0.09748155475866617</c:v>
                </c:pt>
                <c:pt idx="102">
                  <c:v>0.09748443849992283</c:v>
                </c:pt>
                <c:pt idx="103">
                  <c:v>0.09680249561317995</c:v>
                </c:pt>
                <c:pt idx="104">
                  <c:v>0.0937220732797140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9180000152604449</c:v>
                </c:pt>
                <c:pt idx="1">
                  <c:v>0.09605046778586143</c:v>
                </c:pt>
                <c:pt idx="2">
                  <c:v>0.09484173726528972</c:v>
                </c:pt>
                <c:pt idx="3">
                  <c:v>0.0889623483211359</c:v>
                </c:pt>
                <c:pt idx="4">
                  <c:v>0.08953102827729774</c:v>
                </c:pt>
                <c:pt idx="5">
                  <c:v>0.09292066608730098</c:v>
                </c:pt>
                <c:pt idx="6">
                  <c:v>0.08986617646762839</c:v>
                </c:pt>
                <c:pt idx="7">
                  <c:v>0.08789647263773863</c:v>
                </c:pt>
                <c:pt idx="8">
                  <c:v>0.09443376937867685</c:v>
                </c:pt>
                <c:pt idx="9">
                  <c:v>0.09002426609036221</c:v>
                </c:pt>
                <c:pt idx="10">
                  <c:v>0.08951943359444085</c:v>
                </c:pt>
                <c:pt idx="11">
                  <c:v>0.08625982355891516</c:v>
                </c:pt>
                <c:pt idx="12">
                  <c:v>0.08784870940573566</c:v>
                </c:pt>
                <c:pt idx="13">
                  <c:v>0.0882515982210128</c:v>
                </c:pt>
                <c:pt idx="14">
                  <c:v>0.08989114830948636</c:v>
                </c:pt>
                <c:pt idx="15">
                  <c:v>0.09077115584670317</c:v>
                </c:pt>
                <c:pt idx="16">
                  <c:v>0.09333472950942431</c:v>
                </c:pt>
                <c:pt idx="17">
                  <c:v>0.08542073905187364</c:v>
                </c:pt>
                <c:pt idx="18">
                  <c:v>0.09229364266771975</c:v>
                </c:pt>
                <c:pt idx="19">
                  <c:v>0.09996730537373617</c:v>
                </c:pt>
                <c:pt idx="20">
                  <c:v>0.10207624848712353</c:v>
                </c:pt>
                <c:pt idx="21">
                  <c:v>0.09904432459440195</c:v>
                </c:pt>
                <c:pt idx="22">
                  <c:v>0.09999353678089701</c:v>
                </c:pt>
                <c:pt idx="23">
                  <c:v>0.09812629312599931</c:v>
                </c:pt>
                <c:pt idx="24">
                  <c:v>0.0965113012318743</c:v>
                </c:pt>
                <c:pt idx="25">
                  <c:v>0.09695530503858733</c:v>
                </c:pt>
                <c:pt idx="26">
                  <c:v>0.09615545474955432</c:v>
                </c:pt>
                <c:pt idx="27">
                  <c:v>0.09435917809624218</c:v>
                </c:pt>
                <c:pt idx="28">
                  <c:v>0.1013880881385905</c:v>
                </c:pt>
                <c:pt idx="29">
                  <c:v>0.10011656993393026</c:v>
                </c:pt>
                <c:pt idx="30">
                  <c:v>0.09988426302327003</c:v>
                </c:pt>
                <c:pt idx="31">
                  <c:v>0.101672050777048</c:v>
                </c:pt>
                <c:pt idx="32">
                  <c:v>0.09981332944916775</c:v>
                </c:pt>
                <c:pt idx="33">
                  <c:v>0.09831167109722345</c:v>
                </c:pt>
                <c:pt idx="34">
                  <c:v>0.09824760744304593</c:v>
                </c:pt>
                <c:pt idx="35">
                  <c:v>0.09998448046595944</c:v>
                </c:pt>
                <c:pt idx="36">
                  <c:v>0.10184211585515833</c:v>
                </c:pt>
                <c:pt idx="37">
                  <c:v>0.1040097991446447</c:v>
                </c:pt>
                <c:pt idx="38">
                  <c:v>0.10330596826686624</c:v>
                </c:pt>
                <c:pt idx="39">
                  <c:v>0.09918815323379837</c:v>
                </c:pt>
                <c:pt idx="40">
                  <c:v>0.10202448132839952</c:v>
                </c:pt>
                <c:pt idx="41">
                  <c:v>0.10143057347371048</c:v>
                </c:pt>
                <c:pt idx="42">
                  <c:v>0.10230413527889057</c:v>
                </c:pt>
                <c:pt idx="43">
                  <c:v>0.10224333425233247</c:v>
                </c:pt>
                <c:pt idx="44">
                  <c:v>0.09814848673526527</c:v>
                </c:pt>
                <c:pt idx="45">
                  <c:v>0.09552633028753989</c:v>
                </c:pt>
                <c:pt idx="46">
                  <c:v>0.09380648826478179</c:v>
                </c:pt>
                <c:pt idx="47">
                  <c:v>0.09201199000181873</c:v>
                </c:pt>
                <c:pt idx="48">
                  <c:v>0.08985648967683818</c:v>
                </c:pt>
                <c:pt idx="49">
                  <c:v>0.09021779085417275</c:v>
                </c:pt>
                <c:pt idx="50">
                  <c:v>0.09025940298810237</c:v>
                </c:pt>
                <c:pt idx="51">
                  <c:v>0.08784801038148883</c:v>
                </c:pt>
              </c:numCache>
            </c:numRef>
          </c:xVal>
          <c:yVal>
            <c:numRef>
              <c:f>Sheet1!$B$109:$B$160</c:f>
              <c:numCache>
                <c:formatCode>General</c:formatCode>
                <c:ptCount val="52"/>
                <c:pt idx="0">
                  <c:v>0.10216208119039297</c:v>
                </c:pt>
                <c:pt idx="1">
                  <c:v>0.0928518400678757</c:v>
                </c:pt>
                <c:pt idx="2">
                  <c:v>0.11049535754217102</c:v>
                </c:pt>
                <c:pt idx="3">
                  <c:v>0.13015048800423099</c:v>
                </c:pt>
                <c:pt idx="4">
                  <c:v>0.11893110727307618</c:v>
                </c:pt>
                <c:pt idx="5">
                  <c:v>0.11790212678092092</c:v>
                </c:pt>
                <c:pt idx="6">
                  <c:v>0.12324230935355378</c:v>
                </c:pt>
                <c:pt idx="7">
                  <c:v>0.13000193936259616</c:v>
                </c:pt>
                <c:pt idx="8">
                  <c:v>0.11820781696854146</c:v>
                </c:pt>
                <c:pt idx="9">
                  <c:v>0.123335811313104</c:v>
                </c:pt>
                <c:pt idx="10">
                  <c:v>0.13297024442082891</c:v>
                </c:pt>
                <c:pt idx="11">
                  <c:v>0.1244347264324405</c:v>
                </c:pt>
                <c:pt idx="12">
                  <c:v>0.11905717726673166</c:v>
                </c:pt>
                <c:pt idx="13">
                  <c:v>0.11784395198522622</c:v>
                </c:pt>
                <c:pt idx="14">
                  <c:v>0.11651696606786427</c:v>
                </c:pt>
                <c:pt idx="15">
                  <c:v>0.11267136962598163</c:v>
                </c:pt>
                <c:pt idx="16">
                  <c:v>0.10218458692094215</c:v>
                </c:pt>
                <c:pt idx="17">
                  <c:v>0.1145166209210125</c:v>
                </c:pt>
                <c:pt idx="18">
                  <c:v>0.10506533023089315</c:v>
                </c:pt>
                <c:pt idx="19">
                  <c:v>0.10435355114805366</c:v>
                </c:pt>
                <c:pt idx="20">
                  <c:v>0.08961038961038961</c:v>
                </c:pt>
                <c:pt idx="21">
                  <c:v>0.09209832260787003</c:v>
                </c:pt>
                <c:pt idx="22">
                  <c:v>0.09597030752916225</c:v>
                </c:pt>
                <c:pt idx="23">
                  <c:v>0.09503119429590018</c:v>
                </c:pt>
                <c:pt idx="24">
                  <c:v>0.10725219043597593</c:v>
                </c:pt>
                <c:pt idx="25">
                  <c:v>0.10236398597443729</c:v>
                </c:pt>
                <c:pt idx="26">
                  <c:v>0.10047281323877069</c:v>
                </c:pt>
                <c:pt idx="27">
                  <c:v>0.10155963302752294</c:v>
                </c:pt>
                <c:pt idx="28">
                  <c:v>0.0937975325333784</c:v>
                </c:pt>
                <c:pt idx="29">
                  <c:v>0.09361157594251403</c:v>
                </c:pt>
                <c:pt idx="30">
                  <c:v>0.09845273420941077</c:v>
                </c:pt>
                <c:pt idx="31">
                  <c:v>0.09674482130662418</c:v>
                </c:pt>
                <c:pt idx="32">
                  <c:v>0.09459597507406273</c:v>
                </c:pt>
                <c:pt idx="33">
                  <c:v>0.11179961598882876</c:v>
                </c:pt>
                <c:pt idx="34">
                  <c:v>0.11988840760590265</c:v>
                </c:pt>
                <c:pt idx="35">
                  <c:v>0.11571295748457443</c:v>
                </c:pt>
                <c:pt idx="36">
                  <c:v>0.11209575325123719</c:v>
                </c:pt>
                <c:pt idx="37">
                  <c:v>0.09614187927815805</c:v>
                </c:pt>
                <c:pt idx="38">
                  <c:v>0.09749056184765711</c:v>
                </c:pt>
                <c:pt idx="39">
                  <c:v>0.10878923766816144</c:v>
                </c:pt>
                <c:pt idx="40">
                  <c:v>0.10347537548026546</c:v>
                </c:pt>
                <c:pt idx="41">
                  <c:v>0.11093247588424437</c:v>
                </c:pt>
                <c:pt idx="42">
                  <c:v>0.10399926110649303</c:v>
                </c:pt>
                <c:pt idx="43">
                  <c:v>0.10621634850709741</c:v>
                </c:pt>
                <c:pt idx="44">
                  <c:v>0.11007798440311937</c:v>
                </c:pt>
                <c:pt idx="45">
                  <c:v>0.11837413834086047</c:v>
                </c:pt>
                <c:pt idx="46">
                  <c:v>0.1341164680993208</c:v>
                </c:pt>
                <c:pt idx="47">
                  <c:v>0.13342077649527806</c:v>
                </c:pt>
                <c:pt idx="48">
                  <c:v>0.13739433785052999</c:v>
                </c:pt>
                <c:pt idx="49">
                  <c:v>0.13845122360040227</c:v>
                </c:pt>
                <c:pt idx="50">
                  <c:v>0.14342776203966007</c:v>
                </c:pt>
                <c:pt idx="51">
                  <c:v>0.1328157493414667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8136636413229266</c:v>
                </c:pt>
              </c:numCache>
            </c:numRef>
          </c:xVal>
          <c:yVal>
            <c:numRef>
              <c:f>Sheet1!$B$163:$B$164</c:f>
              <c:numCache>
                <c:formatCode>General</c:formatCode>
                <c:ptCount val="2"/>
                <c:pt idx="0">
                  <c:v>0.13802226820801478</c:v>
                </c:pt>
                <c:pt idx="1">
                  <c:v>0.1380222682080147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8136636413229266</c:v>
                </c:pt>
                <c:pt idx="1">
                  <c:v>0.08136636413229266</c:v>
                </c:pt>
              </c:numCache>
            </c:numRef>
          </c:xVal>
          <c:yVal>
            <c:numRef>
              <c:f>Sheet1!$B$167:$B$168</c:f>
              <c:numCache>
                <c:formatCode>General</c:formatCode>
                <c:ptCount val="2"/>
                <c:pt idx="0">
                  <c:v>0.1380222682080147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136636413229266</c:v>
                </c:pt>
              </c:numCache>
            </c:numRef>
          </c:xVal>
          <c:yVal>
            <c:numRef>
              <c:f>Sheet1!$B$171:$B$172</c:f>
              <c:numCache>
                <c:formatCode>General</c:formatCode>
                <c:ptCount val="2"/>
                <c:pt idx="0">
                  <c:v>0.13802226820801478</c:v>
                </c:pt>
                <c:pt idx="1">
                  <c:v>0.1380222682080147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136636413229266</c:v>
                </c:pt>
                <c:pt idx="1">
                  <c:v>0.08136636413229266</c:v>
                </c:pt>
              </c:numCache>
            </c:numRef>
          </c:xVal>
          <c:yVal>
            <c:numRef>
              <c:f>Sheet1!$B$175:$B$176</c:f>
              <c:numCache>
                <c:formatCode>General</c:formatCode>
                <c:ptCount val="2"/>
                <c:pt idx="0">
                  <c:v>0.1380222682080147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9007240618356677</c:v>
                </c:pt>
              </c:numCache>
            </c:numRef>
          </c:xVal>
          <c:yVal>
            <c:numRef>
              <c:f>Sheet1!$B$179:$B$180</c:f>
              <c:numCache>
                <c:formatCode>General</c:formatCode>
                <c:ptCount val="2"/>
                <c:pt idx="0">
                  <c:v>0.12165316452437688</c:v>
                </c:pt>
                <c:pt idx="1">
                  <c:v>0.1216531645243768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9007240618356677</c:v>
                </c:pt>
                <c:pt idx="1">
                  <c:v>0.09007240618356677</c:v>
                </c:pt>
              </c:numCache>
            </c:numRef>
          </c:xVal>
          <c:yVal>
            <c:numRef>
              <c:f>Sheet1!$B$183:$B$184</c:f>
              <c:numCache>
                <c:formatCode>General</c:formatCode>
                <c:ptCount val="2"/>
                <c:pt idx="0">
                  <c:v>0.121653164524376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9180000152604449</c:v>
                </c:pt>
                <c:pt idx="1">
                  <c:v>0.09605046778586143</c:v>
                </c:pt>
                <c:pt idx="2">
                  <c:v>0.09484173726528972</c:v>
                </c:pt>
                <c:pt idx="3">
                  <c:v>0.0889623483211359</c:v>
                </c:pt>
                <c:pt idx="4">
                  <c:v>0.08953102827729774</c:v>
                </c:pt>
                <c:pt idx="5">
                  <c:v>0.09292066608730098</c:v>
                </c:pt>
                <c:pt idx="6">
                  <c:v>0.08986617646762839</c:v>
                </c:pt>
                <c:pt idx="7">
                  <c:v>0.08789647263773863</c:v>
                </c:pt>
                <c:pt idx="8">
                  <c:v>0.09443376937867685</c:v>
                </c:pt>
                <c:pt idx="9">
                  <c:v>0.09002426609036221</c:v>
                </c:pt>
                <c:pt idx="10">
                  <c:v>0.08951943359444085</c:v>
                </c:pt>
                <c:pt idx="11">
                  <c:v>0.08625982355891516</c:v>
                </c:pt>
                <c:pt idx="12">
                  <c:v>0.08784870940573566</c:v>
                </c:pt>
                <c:pt idx="13">
                  <c:v>0.0882515982210128</c:v>
                </c:pt>
                <c:pt idx="14">
                  <c:v>0.08989114830948636</c:v>
                </c:pt>
                <c:pt idx="15">
                  <c:v>0.09077115584670317</c:v>
                </c:pt>
                <c:pt idx="16">
                  <c:v>0.09333472950942431</c:v>
                </c:pt>
                <c:pt idx="17">
                  <c:v>0.08542073905187364</c:v>
                </c:pt>
                <c:pt idx="18">
                  <c:v>0.09229364266771975</c:v>
                </c:pt>
                <c:pt idx="19">
                  <c:v>0.09996730537373617</c:v>
                </c:pt>
                <c:pt idx="20">
                  <c:v>0.10207624848712353</c:v>
                </c:pt>
                <c:pt idx="21">
                  <c:v>0.09904432459440195</c:v>
                </c:pt>
                <c:pt idx="22">
                  <c:v>0.09999353678089701</c:v>
                </c:pt>
                <c:pt idx="23">
                  <c:v>0.09812629312599931</c:v>
                </c:pt>
                <c:pt idx="24">
                  <c:v>0.0965113012318743</c:v>
                </c:pt>
                <c:pt idx="25">
                  <c:v>0.09695530503858733</c:v>
                </c:pt>
                <c:pt idx="26">
                  <c:v>0.09615545474955432</c:v>
                </c:pt>
                <c:pt idx="27">
                  <c:v>0.09435917809624218</c:v>
                </c:pt>
                <c:pt idx="28">
                  <c:v>0.1013880881385905</c:v>
                </c:pt>
                <c:pt idx="29">
                  <c:v>0.10011656993393026</c:v>
                </c:pt>
                <c:pt idx="30">
                  <c:v>0.09988426302327003</c:v>
                </c:pt>
                <c:pt idx="31">
                  <c:v>0.101672050777048</c:v>
                </c:pt>
                <c:pt idx="32">
                  <c:v>0.09981332944916775</c:v>
                </c:pt>
                <c:pt idx="33">
                  <c:v>0.09831167109722345</c:v>
                </c:pt>
                <c:pt idx="34">
                  <c:v>0.09824760744304593</c:v>
                </c:pt>
                <c:pt idx="35">
                  <c:v>0.09998448046595944</c:v>
                </c:pt>
                <c:pt idx="36">
                  <c:v>0.10184211585515833</c:v>
                </c:pt>
                <c:pt idx="37">
                  <c:v>0.1040097991446447</c:v>
                </c:pt>
                <c:pt idx="38">
                  <c:v>0.10330596826686624</c:v>
                </c:pt>
                <c:pt idx="39">
                  <c:v>0.09918815323379837</c:v>
                </c:pt>
                <c:pt idx="40">
                  <c:v>0.10202448132839952</c:v>
                </c:pt>
                <c:pt idx="41">
                  <c:v>0.10143057347371048</c:v>
                </c:pt>
                <c:pt idx="42">
                  <c:v>0.10230413527889057</c:v>
                </c:pt>
                <c:pt idx="43">
                  <c:v>0.10224333425233247</c:v>
                </c:pt>
                <c:pt idx="44">
                  <c:v>0.09814848673526527</c:v>
                </c:pt>
                <c:pt idx="45">
                  <c:v>0.09552633028753989</c:v>
                </c:pt>
                <c:pt idx="46">
                  <c:v>0.09380648826478179</c:v>
                </c:pt>
                <c:pt idx="47">
                  <c:v>0.09201199000181873</c:v>
                </c:pt>
                <c:pt idx="48">
                  <c:v>0.08985648967683818</c:v>
                </c:pt>
                <c:pt idx="49">
                  <c:v>0.09021779085417275</c:v>
                </c:pt>
                <c:pt idx="50">
                  <c:v>0.09025940298810237</c:v>
                </c:pt>
                <c:pt idx="51">
                  <c:v>0.08784801038148883</c:v>
                </c:pt>
                <c:pt idx="52">
                  <c:v>0.08136636413229266</c:v>
                </c:pt>
                <c:pt idx="53">
                  <c:v>0.08136636413229266</c:v>
                </c:pt>
                <c:pt idx="54">
                  <c:v>0.09007240618356677</c:v>
                </c:pt>
              </c:numCache>
            </c:numRef>
          </c:xVal>
          <c:yVal>
            <c:numRef>
              <c:f>Sheet1!$B$187:$B$241</c:f>
              <c:numCache>
                <c:formatCode>General</c:formatCode>
                <c:ptCount val="55"/>
                <c:pt idx="0">
                  <c:v>0.11840493908302963</c:v>
                </c:pt>
                <c:pt idx="1">
                  <c:v>0.11041321075217855</c:v>
                </c:pt>
                <c:pt idx="2">
                  <c:v>0.11268586635162176</c:v>
                </c:pt>
                <c:pt idx="3">
                  <c:v>0.12374029575323525</c:v>
                </c:pt>
                <c:pt idx="4">
                  <c:v>0.12267106347634113</c:v>
                </c:pt>
                <c:pt idx="5">
                  <c:v>0.11629786513487411</c:v>
                </c:pt>
                <c:pt idx="6">
                  <c:v>0.12204091771726991</c:v>
                </c:pt>
                <c:pt idx="7">
                  <c:v>0.12574435563172445</c:v>
                </c:pt>
                <c:pt idx="8">
                  <c:v>0.1134529277322388</c:v>
                </c:pt>
                <c:pt idx="9">
                  <c:v>0.12174367754652454</c:v>
                </c:pt>
                <c:pt idx="10">
                  <c:v>0.12269286380360184</c:v>
                </c:pt>
                <c:pt idx="11">
                  <c:v>0.12882158387243473</c:v>
                </c:pt>
                <c:pt idx="12">
                  <c:v>0.12583416007929288</c:v>
                </c:pt>
                <c:pt idx="13">
                  <c:v>0.12507664837059576</c:v>
                </c:pt>
                <c:pt idx="14">
                  <c:v>0.12199396565040221</c:v>
                </c:pt>
                <c:pt idx="15">
                  <c:v>0.12033937513335127</c:v>
                </c:pt>
                <c:pt idx="16">
                  <c:v>0.11551934292599655</c:v>
                </c:pt>
                <c:pt idx="17">
                  <c:v>0.13039923089207975</c:v>
                </c:pt>
                <c:pt idx="18">
                  <c:v>0.11747679481460063</c:v>
                </c:pt>
                <c:pt idx="19">
                  <c:v>0.10304877118132802</c:v>
                </c:pt>
                <c:pt idx="20">
                  <c:v>0.09908353551136254</c:v>
                </c:pt>
                <c:pt idx="21">
                  <c:v>0.10478416000508356</c:v>
                </c:pt>
                <c:pt idx="22">
                  <c:v>0.10299945087928325</c:v>
                </c:pt>
                <c:pt idx="23">
                  <c:v>0.10651024313248195</c:v>
                </c:pt>
                <c:pt idx="24">
                  <c:v>0.10954675152601748</c:v>
                </c:pt>
                <c:pt idx="25">
                  <c:v>0.1087119353942769</c:v>
                </c:pt>
                <c:pt idx="26">
                  <c:v>0.11021581422181517</c:v>
                </c:pt>
                <c:pt idx="27">
                  <c:v>0.11359317429076421</c:v>
                </c:pt>
                <c:pt idx="28">
                  <c:v>0.1003774148689125</c:v>
                </c:pt>
                <c:pt idx="29">
                  <c:v>0.10276812389663545</c:v>
                </c:pt>
                <c:pt idx="30">
                  <c:v>0.10320490744128491</c:v>
                </c:pt>
                <c:pt idx="31">
                  <c:v>0.09984350820457358</c:v>
                </c:pt>
                <c:pt idx="32">
                  <c:v>0.10333827677516738</c:v>
                </c:pt>
                <c:pt idx="33">
                  <c:v>0.10616169539818904</c:v>
                </c:pt>
                <c:pt idx="34">
                  <c:v>0.10628214790593118</c:v>
                </c:pt>
                <c:pt idx="35">
                  <c:v>0.10301647856618526</c:v>
                </c:pt>
                <c:pt idx="36">
                  <c:v>0.09952375177792655</c:v>
                </c:pt>
                <c:pt idx="37">
                  <c:v>0.09544807280579265</c:v>
                </c:pt>
                <c:pt idx="38">
                  <c:v>0.09677141589858362</c:v>
                </c:pt>
                <c:pt idx="39">
                  <c:v>0.1045137333408094</c:v>
                </c:pt>
                <c:pt idx="40">
                  <c:v>0.0991808681435242</c:v>
                </c:pt>
                <c:pt idx="41">
                  <c:v>0.10029753392513605</c:v>
                </c:pt>
                <c:pt idx="42">
                  <c:v>0.0986550626759918</c:v>
                </c:pt>
                <c:pt idx="43">
                  <c:v>0.09876938079000269</c:v>
                </c:pt>
                <c:pt idx="44">
                  <c:v>0.10646851469962473</c:v>
                </c:pt>
                <c:pt idx="45">
                  <c:v>0.11139869428234969</c:v>
                </c:pt>
                <c:pt idx="46">
                  <c:v>0.11463234192891542</c:v>
                </c:pt>
                <c:pt idx="47">
                  <c:v>0.11800635826763176</c:v>
                </c:pt>
                <c:pt idx="48">
                  <c:v>0.12205913082511763</c:v>
                </c:pt>
                <c:pt idx="49">
                  <c:v>0.12137981220961147</c:v>
                </c:pt>
                <c:pt idx="50">
                  <c:v>0.12130157305905606</c:v>
                </c:pt>
                <c:pt idx="51">
                  <c:v>0.1258354743849563</c:v>
                </c:pt>
                <c:pt idx="52">
                  <c:v>0.13802226820801478</c:v>
                </c:pt>
                <c:pt idx="53">
                  <c:v>0.13802226820801478</c:v>
                </c:pt>
                <c:pt idx="54">
                  <c:v>0.1216531645243768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73479715241445"/>
          <c:min val="0.0474067630749157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1.3397</c:v>
                </c:pt>
                <c:pt idx="1">
                  <c:v>863.5551</c:v>
                </c:pt>
                <c:pt idx="2">
                  <c:v>897.2039</c:v>
                </c:pt>
                <c:pt idx="3">
                  <c:v>910.8735</c:v>
                </c:pt>
                <c:pt idx="4">
                  <c:v>896.5</c:v>
                </c:pt>
                <c:pt idx="5">
                  <c:v>877.2215</c:v>
                </c:pt>
                <c:pt idx="6">
                  <c:v>836.5002</c:v>
                </c:pt>
                <c:pt idx="7">
                  <c:v>843.6463</c:v>
                </c:pt>
                <c:pt idx="8">
                  <c:v>837.9156</c:v>
                </c:pt>
                <c:pt idx="9">
                  <c:v>826.8154</c:v>
                </c:pt>
                <c:pt idx="10">
                  <c:v>797.3752</c:v>
                </c:pt>
                <c:pt idx="11">
                  <c:v>808.9015</c:v>
                </c:pt>
                <c:pt idx="12">
                  <c:v>829.2133</c:v>
                </c:pt>
                <c:pt idx="13">
                  <c:v>817.4029</c:v>
                </c:pt>
                <c:pt idx="14">
                  <c:v>898.7521</c:v>
                </c:pt>
                <c:pt idx="15">
                  <c:v>914.6836</c:v>
                </c:pt>
                <c:pt idx="16">
                  <c:v>934.9446</c:v>
                </c:pt>
                <c:pt idx="17">
                  <c:v>937.9417</c:v>
                </c:pt>
                <c:pt idx="18">
                  <c:v>958.5275</c:v>
                </c:pt>
                <c:pt idx="19">
                  <c:v>954.5364</c:v>
                </c:pt>
                <c:pt idx="20">
                  <c:v>987.4225</c:v>
                </c:pt>
                <c:pt idx="21">
                  <c:v>998.0716</c:v>
                </c:pt>
                <c:pt idx="22">
                  <c:v>985.6992</c:v>
                </c:pt>
                <c:pt idx="23">
                  <c:v>991.1369</c:v>
                </c:pt>
                <c:pt idx="24">
                  <c:v>1009.8729</c:v>
                </c:pt>
                <c:pt idx="25">
                  <c:v>993.0767</c:v>
                </c:pt>
                <c:pt idx="26">
                  <c:v>960.4832</c:v>
                </c:pt>
                <c:pt idx="27">
                  <c:v>1000.5846</c:v>
                </c:pt>
                <c:pt idx="28">
                  <c:v>989.9655</c:v>
                </c:pt>
                <c:pt idx="29">
                  <c:v>973.2576</c:v>
                </c:pt>
                <c:pt idx="30">
                  <c:v>974.8567</c:v>
                </c:pt>
                <c:pt idx="31">
                  <c:v>986.3516</c:v>
                </c:pt>
                <c:pt idx="32">
                  <c:v>971.248</c:v>
                </c:pt>
                <c:pt idx="33">
                  <c:v>957.7856</c:v>
                </c:pt>
                <c:pt idx="34">
                  <c:v>949.0969</c:v>
                </c:pt>
                <c:pt idx="35">
                  <c:v>1004.7813</c:v>
                </c:pt>
                <c:pt idx="36">
                  <c:v>1055.2298</c:v>
                </c:pt>
                <c:pt idx="37">
                  <c:v>1089.3078</c:v>
                </c:pt>
                <c:pt idx="38">
                  <c:v>1111.2466</c:v>
                </c:pt>
                <c:pt idx="39">
                  <c:v>1134.0258</c:v>
                </c:pt>
                <c:pt idx="40">
                  <c:v>1140.4443</c:v>
                </c:pt>
                <c:pt idx="41">
                  <c:v>1155.7303</c:v>
                </c:pt>
                <c:pt idx="42">
                  <c:v>1169.44</c:v>
                </c:pt>
                <c:pt idx="43">
                  <c:v>1178.0688</c:v>
                </c:pt>
                <c:pt idx="44">
                  <c:v>1116.1178</c:v>
                </c:pt>
                <c:pt idx="45">
                  <c:v>1086.926</c:v>
                </c:pt>
                <c:pt idx="46">
                  <c:v>1074.755</c:v>
                </c:pt>
                <c:pt idx="47">
                  <c:v>1051.1893</c:v>
                </c:pt>
                <c:pt idx="48">
                  <c:v>1052.1763</c:v>
                </c:pt>
                <c:pt idx="49">
                  <c:v>1009.8998</c:v>
                </c:pt>
                <c:pt idx="50">
                  <c:v>1002.5409</c:v>
                </c:pt>
                <c:pt idx="51">
                  <c:v>1017.967</c:v>
                </c:pt>
                <c:pt idx="52">
                  <c:v>1021.1546</c:v>
                </c:pt>
                <c:pt idx="53">
                  <c:v>1122.0665</c:v>
                </c:pt>
                <c:pt idx="54">
                  <c:v>1103.7158</c:v>
                </c:pt>
                <c:pt idx="55">
                  <c:v>1103.6662</c:v>
                </c:pt>
                <c:pt idx="56">
                  <c:v>1101.5908</c:v>
                </c:pt>
                <c:pt idx="57">
                  <c:v>1109.2263</c:v>
                </c:pt>
                <c:pt idx="58">
                  <c:v>1057.6481</c:v>
                </c:pt>
                <c:pt idx="59">
                  <c:v>1055.7681</c:v>
                </c:pt>
                <c:pt idx="60">
                  <c:v>1066.3343</c:v>
                </c:pt>
                <c:pt idx="61">
                  <c:v>1077.5211</c:v>
                </c:pt>
                <c:pt idx="62">
                  <c:v>1001.9805</c:v>
                </c:pt>
                <c:pt idx="63">
                  <c:v>1033.3618</c:v>
                </c:pt>
                <c:pt idx="64">
                  <c:v>1043.8633</c:v>
                </c:pt>
                <c:pt idx="65">
                  <c:v>1026.9815</c:v>
                </c:pt>
                <c:pt idx="66">
                  <c:v>1046.4189</c:v>
                </c:pt>
                <c:pt idx="67">
                  <c:v>1075.454</c:v>
                </c:pt>
                <c:pt idx="68">
                  <c:v>1077.4605</c:v>
                </c:pt>
                <c:pt idx="69">
                  <c:v>1113.6184</c:v>
                </c:pt>
                <c:pt idx="70">
                  <c:v>1100.3544</c:v>
                </c:pt>
                <c:pt idx="71">
                  <c:v>1153.9607</c:v>
                </c:pt>
                <c:pt idx="72">
                  <c:v>1225.0484</c:v>
                </c:pt>
                <c:pt idx="73">
                  <c:v>1200.9912</c:v>
                </c:pt>
                <c:pt idx="74">
                  <c:v>1191.3868</c:v>
                </c:pt>
                <c:pt idx="75">
                  <c:v>1175.8962</c:v>
                </c:pt>
                <c:pt idx="76">
                  <c:v>1128.835</c:v>
                </c:pt>
                <c:pt idx="77">
                  <c:v>1125.8557</c:v>
                </c:pt>
                <c:pt idx="78">
                  <c:v>1147.0185</c:v>
                </c:pt>
                <c:pt idx="79">
                  <c:v>1224.0851</c:v>
                </c:pt>
                <c:pt idx="80">
                  <c:v>1158.5661</c:v>
                </c:pt>
                <c:pt idx="81">
                  <c:v>1183.4849</c:v>
                </c:pt>
                <c:pt idx="82">
                  <c:v>1240.7552</c:v>
                </c:pt>
                <c:pt idx="83">
                  <c:v>1143.3894</c:v>
                </c:pt>
                <c:pt idx="84">
                  <c:v>1164.6585</c:v>
                </c:pt>
                <c:pt idx="85">
                  <c:v>1142.2892</c:v>
                </c:pt>
                <c:pt idx="86">
                  <c:v>1119.9909</c:v>
                </c:pt>
                <c:pt idx="87">
                  <c:v>1182.1672</c:v>
                </c:pt>
                <c:pt idx="88">
                  <c:v>1177.4449</c:v>
                </c:pt>
                <c:pt idx="89">
                  <c:v>1168.5673</c:v>
                </c:pt>
                <c:pt idx="90">
                  <c:v>1246.0075</c:v>
                </c:pt>
                <c:pt idx="91">
                  <c:v>1248.3656</c:v>
                </c:pt>
                <c:pt idx="92">
                  <c:v>1193.6811</c:v>
                </c:pt>
                <c:pt idx="93">
                  <c:v>1235.198</c:v>
                </c:pt>
                <c:pt idx="94">
                  <c:v>1233.5536</c:v>
                </c:pt>
                <c:pt idx="95">
                  <c:v>1204.5472</c:v>
                </c:pt>
                <c:pt idx="96">
                  <c:v>1133.5252</c:v>
                </c:pt>
                <c:pt idx="97">
                  <c:v>1129.9705</c:v>
                </c:pt>
                <c:pt idx="98">
                  <c:v>1120.4359</c:v>
                </c:pt>
                <c:pt idx="99">
                  <c:v>1082.4246</c:v>
                </c:pt>
                <c:pt idx="100">
                  <c:v>1090.316</c:v>
                </c:pt>
                <c:pt idx="101">
                  <c:v>1128.0414</c:v>
                </c:pt>
                <c:pt idx="102">
                  <c:v>1128.7789</c:v>
                </c:pt>
                <c:pt idx="103">
                  <c:v>1099.8359</c:v>
                </c:pt>
                <c:pt idx="104">
                  <c:v>1115.7104</c:v>
                </c:pt>
              </c:numCache>
            </c:numRef>
          </c:xVal>
          <c:yVal>
            <c:numRef>
              <c:f>Sheet1!$B$2:$B$106</c:f>
              <c:numCache>
                <c:formatCode>General</c:formatCode>
                <c:ptCount val="105"/>
                <c:pt idx="0">
                  <c:v>0.11161192179841117</c:v>
                </c:pt>
                <c:pt idx="1">
                  <c:v>0.0923679060665362</c:v>
                </c:pt>
                <c:pt idx="2">
                  <c:v>0.09798698970445116</c:v>
                </c:pt>
                <c:pt idx="3">
                  <c:v>0.09666721035176426</c:v>
                </c:pt>
                <c:pt idx="4">
                  <c:v>0.10624081250835227</c:v>
                </c:pt>
                <c:pt idx="5">
                  <c:v>0.12701315141711794</c:v>
                </c:pt>
                <c:pt idx="6">
                  <c:v>0.1488462089723377</c:v>
                </c:pt>
                <c:pt idx="7">
                  <c:v>0.15231515749650465</c:v>
                </c:pt>
                <c:pt idx="8">
                  <c:v>0.1564456642936787</c:v>
                </c:pt>
                <c:pt idx="9">
                  <c:v>0.14047985029740026</c:v>
                </c:pt>
                <c:pt idx="10">
                  <c:v>0.1478868763902129</c:v>
                </c:pt>
                <c:pt idx="11">
                  <c:v>0.14233369132604712</c:v>
                </c:pt>
                <c:pt idx="12">
                  <c:v>0.12890878040162534</c:v>
                </c:pt>
                <c:pt idx="13">
                  <c:v>0.12000726216412491</c:v>
                </c:pt>
                <c:pt idx="14">
                  <c:v>0.09403877514042398</c:v>
                </c:pt>
                <c:pt idx="15">
                  <c:v>0.08468428455104005</c:v>
                </c:pt>
                <c:pt idx="16">
                  <c:v>0.08020449212202481</c:v>
                </c:pt>
                <c:pt idx="17">
                  <c:v>0.06952767007402186</c:v>
                </c:pt>
                <c:pt idx="18">
                  <c:v>0.06445125454893698</c:v>
                </c:pt>
                <c:pt idx="19">
                  <c:v>0.06243614485185606</c:v>
                </c:pt>
                <c:pt idx="20">
                  <c:v>0.060835798816568046</c:v>
                </c:pt>
                <c:pt idx="21">
                  <c:v>0.059258453843644664</c:v>
                </c:pt>
                <c:pt idx="22">
                  <c:v>0.06481679880008571</c:v>
                </c:pt>
                <c:pt idx="23">
                  <c:v>0.07247992863514718</c:v>
                </c:pt>
                <c:pt idx="24">
                  <c:v>0.07399577167019028</c:v>
                </c:pt>
                <c:pt idx="25">
                  <c:v>0.0766247502644259</c:v>
                </c:pt>
                <c:pt idx="26">
                  <c:v>0.09095027749462001</c:v>
                </c:pt>
                <c:pt idx="27">
                  <c:v>0.09469613259668508</c:v>
                </c:pt>
                <c:pt idx="28">
                  <c:v>0.11374045801526718</c:v>
                </c:pt>
                <c:pt idx="29">
                  <c:v>0.11356224822558987</c:v>
                </c:pt>
                <c:pt idx="30">
                  <c:v>0.11730021327311504</c:v>
                </c:pt>
                <c:pt idx="31">
                  <c:v>0.11637881071055987</c:v>
                </c:pt>
                <c:pt idx="32">
                  <c:v>0.12771493212669682</c:v>
                </c:pt>
                <c:pt idx="33">
                  <c:v>0.11790195901417351</c:v>
                </c:pt>
                <c:pt idx="34">
                  <c:v>0.11959134615384616</c:v>
                </c:pt>
                <c:pt idx="35">
                  <c:v>0.13572263342423063</c:v>
                </c:pt>
                <c:pt idx="36">
                  <c:v>0.10583807600514045</c:v>
                </c:pt>
                <c:pt idx="37">
                  <c:v>0.10197571516772999</c:v>
                </c:pt>
                <c:pt idx="38">
                  <c:v>0.09675486769845232</c:v>
                </c:pt>
                <c:pt idx="39">
                  <c:v>0.0886299802350983</c:v>
                </c:pt>
                <c:pt idx="40">
                  <c:v>0.09395673162882175</c:v>
                </c:pt>
                <c:pt idx="41">
                  <c:v>0.09259434408398752</c:v>
                </c:pt>
                <c:pt idx="42">
                  <c:v>0.09036870431359949</c:v>
                </c:pt>
                <c:pt idx="43">
                  <c:v>0.087968092178152</c:v>
                </c:pt>
                <c:pt idx="44">
                  <c:v>0.09342703596527491</c:v>
                </c:pt>
                <c:pt idx="45">
                  <c:v>0.1081802015411974</c:v>
                </c:pt>
                <c:pt idx="46">
                  <c:v>0.11185143181173803</c:v>
                </c:pt>
                <c:pt idx="47">
                  <c:v>0.10358032665866937</c:v>
                </c:pt>
                <c:pt idx="48">
                  <c:v>0.10720056199508254</c:v>
                </c:pt>
                <c:pt idx="49">
                  <c:v>0.10757608774605942</c:v>
                </c:pt>
                <c:pt idx="50">
                  <c:v>0.10438673370542921</c:v>
                </c:pt>
                <c:pt idx="51">
                  <c:v>0.09654148100997241</c:v>
                </c:pt>
                <c:pt idx="52">
                  <c:v>0.09940467949605428</c:v>
                </c:pt>
                <c:pt idx="53">
                  <c:v>0.08989323449687447</c:v>
                </c:pt>
                <c:pt idx="54">
                  <c:v>0.09183551847437425</c:v>
                </c:pt>
                <c:pt idx="55">
                  <c:v>0.08999877134783144</c:v>
                </c:pt>
                <c:pt idx="56">
                  <c:v>0.09457872287816035</c:v>
                </c:pt>
                <c:pt idx="57">
                  <c:v>0.0905018399018719</c:v>
                </c:pt>
                <c:pt idx="58">
                  <c:v>0.10347506344191827</c:v>
                </c:pt>
                <c:pt idx="59">
                  <c:v>0.09794723476297969</c:v>
                </c:pt>
                <c:pt idx="60">
                  <c:v>0.09967678863572882</c:v>
                </c:pt>
                <c:pt idx="61">
                  <c:v>0.10098018095648427</c:v>
                </c:pt>
                <c:pt idx="62">
                  <c:v>0.11095868727905872</c:v>
                </c:pt>
                <c:pt idx="63">
                  <c:v>0.11437699680511182</c:v>
                </c:pt>
                <c:pt idx="64">
                  <c:v>0.10774878460164698</c:v>
                </c:pt>
                <c:pt idx="65">
                  <c:v>0.10945485519591142</c:v>
                </c:pt>
                <c:pt idx="66">
                  <c:v>0.10667888523529728</c:v>
                </c:pt>
                <c:pt idx="67">
                  <c:v>0.09876887081499638</c:v>
                </c:pt>
                <c:pt idx="68">
                  <c:v>0.09202414173534947</c:v>
                </c:pt>
                <c:pt idx="69">
                  <c:v>0.08543128353281057</c:v>
                </c:pt>
                <c:pt idx="70">
                  <c:v>0.08832403077387238</c:v>
                </c:pt>
                <c:pt idx="71">
                  <c:v>0.08039169233199084</c:v>
                </c:pt>
                <c:pt idx="72">
                  <c:v>0.08137111093955068</c:v>
                </c:pt>
                <c:pt idx="73">
                  <c:v>0.0812126047068209</c:v>
                </c:pt>
                <c:pt idx="74">
                  <c:v>0.07855051244509517</c:v>
                </c:pt>
                <c:pt idx="75">
                  <c:v>0.0859437751004016</c:v>
                </c:pt>
                <c:pt idx="76">
                  <c:v>0.09480330257406508</c:v>
                </c:pt>
                <c:pt idx="77">
                  <c:v>0.08502406341417382</c:v>
                </c:pt>
                <c:pt idx="78">
                  <c:v>0.096081307627829</c:v>
                </c:pt>
                <c:pt idx="79">
                  <c:v>0.10028795551583755</c:v>
                </c:pt>
                <c:pt idx="80">
                  <c:v>0.08607843137254902</c:v>
                </c:pt>
                <c:pt idx="81">
                  <c:v>0.0840855106888361</c:v>
                </c:pt>
                <c:pt idx="82">
                  <c:v>0.093727394853777</c:v>
                </c:pt>
                <c:pt idx="83">
                  <c:v>0.08385202583675866</c:v>
                </c:pt>
                <c:pt idx="84">
                  <c:v>0.08458807687599461</c:v>
                </c:pt>
                <c:pt idx="85">
                  <c:v>0.08871402393014984</c:v>
                </c:pt>
                <c:pt idx="86">
                  <c:v>0.09915316944832689</c:v>
                </c:pt>
                <c:pt idx="87">
                  <c:v>0.11427596793450452</c:v>
                </c:pt>
                <c:pt idx="88">
                  <c:v>0.09438112377524495</c:v>
                </c:pt>
                <c:pt idx="89">
                  <c:v>0.10145993067955046</c:v>
                </c:pt>
                <c:pt idx="90">
                  <c:v>0.08703643637149962</c:v>
                </c:pt>
                <c:pt idx="91">
                  <c:v>0.08679871409312455</c:v>
                </c:pt>
                <c:pt idx="92">
                  <c:v>0.09280900793312293</c:v>
                </c:pt>
                <c:pt idx="93">
                  <c:v>0.09282981201131259</c:v>
                </c:pt>
                <c:pt idx="94">
                  <c:v>0.09474506739597578</c:v>
                </c:pt>
                <c:pt idx="95">
                  <c:v>0.09582700513488103</c:v>
                </c:pt>
                <c:pt idx="96">
                  <c:v>0.09726858877086494</c:v>
                </c:pt>
                <c:pt idx="97">
                  <c:v>0.10004616805170821</c:v>
                </c:pt>
                <c:pt idx="98">
                  <c:v>0.1054962018117561</c:v>
                </c:pt>
                <c:pt idx="99">
                  <c:v>0.10254591872916814</c:v>
                </c:pt>
                <c:pt idx="100">
                  <c:v>0.1075742948835025</c:v>
                </c:pt>
                <c:pt idx="101">
                  <c:v>0.09748155475866617</c:v>
                </c:pt>
                <c:pt idx="102">
                  <c:v>0.09748443849992283</c:v>
                </c:pt>
                <c:pt idx="103">
                  <c:v>0.09680249561317995</c:v>
                </c:pt>
                <c:pt idx="104">
                  <c:v>0.0937220732797140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20.0958</c:v>
                </c:pt>
                <c:pt idx="1">
                  <c:v>1174.9937</c:v>
                </c:pt>
                <c:pt idx="2">
                  <c:v>1170.388</c:v>
                </c:pt>
                <c:pt idx="3">
                  <c:v>1091.4839</c:v>
                </c:pt>
                <c:pt idx="4">
                  <c:v>1110.4615</c:v>
                </c:pt>
                <c:pt idx="5">
                  <c:v>1145.7045</c:v>
                </c:pt>
                <c:pt idx="6">
                  <c:v>1098.3812</c:v>
                </c:pt>
                <c:pt idx="7">
                  <c:v>1089.2621</c:v>
                </c:pt>
                <c:pt idx="8">
                  <c:v>1144.4919</c:v>
                </c:pt>
                <c:pt idx="9">
                  <c:v>1098.7364</c:v>
                </c:pt>
                <c:pt idx="10">
                  <c:v>1103.4401</c:v>
                </c:pt>
                <c:pt idx="11">
                  <c:v>1037.4924</c:v>
                </c:pt>
                <c:pt idx="12">
                  <c:v>1075.303</c:v>
                </c:pt>
                <c:pt idx="13">
                  <c:v>1083.7791</c:v>
                </c:pt>
                <c:pt idx="14">
                  <c:v>1097.4395</c:v>
                </c:pt>
                <c:pt idx="15">
                  <c:v>1111.6326</c:v>
                </c:pt>
                <c:pt idx="16">
                  <c:v>1147.6852</c:v>
                </c:pt>
                <c:pt idx="17">
                  <c:v>1058.0619</c:v>
                </c:pt>
                <c:pt idx="18">
                  <c:v>1151.8279</c:v>
                </c:pt>
                <c:pt idx="19">
                  <c:v>1239.7066</c:v>
                </c:pt>
                <c:pt idx="20">
                  <c:v>1255.5459</c:v>
                </c:pt>
                <c:pt idx="21">
                  <c:v>1221.7308</c:v>
                </c:pt>
                <c:pt idx="22">
                  <c:v>1211.2376</c:v>
                </c:pt>
                <c:pt idx="23">
                  <c:v>1211.7995</c:v>
                </c:pt>
                <c:pt idx="24">
                  <c:v>1193.8671</c:v>
                </c:pt>
                <c:pt idx="25">
                  <c:v>1198.6287</c:v>
                </c:pt>
                <c:pt idx="26">
                  <c:v>1177.2428</c:v>
                </c:pt>
                <c:pt idx="27">
                  <c:v>1158.4237</c:v>
                </c:pt>
                <c:pt idx="28">
                  <c:v>1224.7495</c:v>
                </c:pt>
                <c:pt idx="29">
                  <c:v>1211.2334</c:v>
                </c:pt>
                <c:pt idx="30">
                  <c:v>1225.7847</c:v>
                </c:pt>
                <c:pt idx="31">
                  <c:v>1223.98</c:v>
                </c:pt>
                <c:pt idx="32">
                  <c:v>1230.122</c:v>
                </c:pt>
                <c:pt idx="33">
                  <c:v>1206.9477</c:v>
                </c:pt>
                <c:pt idx="34">
                  <c:v>1216.6614</c:v>
                </c:pt>
                <c:pt idx="35">
                  <c:v>1254.16</c:v>
                </c:pt>
                <c:pt idx="36">
                  <c:v>1265.385</c:v>
                </c:pt>
                <c:pt idx="37">
                  <c:v>1278.3538</c:v>
                </c:pt>
                <c:pt idx="38">
                  <c:v>1282.6834</c:v>
                </c:pt>
                <c:pt idx="39">
                  <c:v>1243.2564</c:v>
                </c:pt>
                <c:pt idx="40">
                  <c:v>1258.6354</c:v>
                </c:pt>
                <c:pt idx="41">
                  <c:v>1286.8741</c:v>
                </c:pt>
                <c:pt idx="42">
                  <c:v>1284.3721</c:v>
                </c:pt>
                <c:pt idx="43">
                  <c:v>1286.2943</c:v>
                </c:pt>
                <c:pt idx="44">
                  <c:v>1211.5232</c:v>
                </c:pt>
                <c:pt idx="45">
                  <c:v>1180.9739</c:v>
                </c:pt>
                <c:pt idx="46">
                  <c:v>1166.9502</c:v>
                </c:pt>
                <c:pt idx="47">
                  <c:v>1148.0731</c:v>
                </c:pt>
                <c:pt idx="48">
                  <c:v>1133.8779</c:v>
                </c:pt>
                <c:pt idx="49">
                  <c:v>1141.1174</c:v>
                </c:pt>
                <c:pt idx="50">
                  <c:v>1112.3456</c:v>
                </c:pt>
                <c:pt idx="51">
                  <c:v>1096.0167</c:v>
                </c:pt>
              </c:numCache>
            </c:numRef>
          </c:xVal>
          <c:yVal>
            <c:numRef>
              <c:f>Sheet1!$B$109:$B$160</c:f>
              <c:numCache>
                <c:formatCode>General</c:formatCode>
                <c:ptCount val="52"/>
                <c:pt idx="0">
                  <c:v>0.10216208119039297</c:v>
                </c:pt>
                <c:pt idx="1">
                  <c:v>0.0928518400678757</c:v>
                </c:pt>
                <c:pt idx="2">
                  <c:v>0.11049535754217102</c:v>
                </c:pt>
                <c:pt idx="3">
                  <c:v>0.13015048800423099</c:v>
                </c:pt>
                <c:pt idx="4">
                  <c:v>0.11893110727307618</c:v>
                </c:pt>
                <c:pt idx="5">
                  <c:v>0.11790212678092092</c:v>
                </c:pt>
                <c:pt idx="6">
                  <c:v>0.12324230935355378</c:v>
                </c:pt>
                <c:pt idx="7">
                  <c:v>0.13000193936259616</c:v>
                </c:pt>
                <c:pt idx="8">
                  <c:v>0.11820781696854146</c:v>
                </c:pt>
                <c:pt idx="9">
                  <c:v>0.123335811313104</c:v>
                </c:pt>
                <c:pt idx="10">
                  <c:v>0.13297024442082891</c:v>
                </c:pt>
                <c:pt idx="11">
                  <c:v>0.1244347264324405</c:v>
                </c:pt>
                <c:pt idx="12">
                  <c:v>0.11905717726673166</c:v>
                </c:pt>
                <c:pt idx="13">
                  <c:v>0.11784395198522622</c:v>
                </c:pt>
                <c:pt idx="14">
                  <c:v>0.11651696606786427</c:v>
                </c:pt>
                <c:pt idx="15">
                  <c:v>0.11267136962598163</c:v>
                </c:pt>
                <c:pt idx="16">
                  <c:v>0.10218458692094215</c:v>
                </c:pt>
                <c:pt idx="17">
                  <c:v>0.1145166209210125</c:v>
                </c:pt>
                <c:pt idx="18">
                  <c:v>0.10506533023089315</c:v>
                </c:pt>
                <c:pt idx="19">
                  <c:v>0.10435355114805366</c:v>
                </c:pt>
                <c:pt idx="20">
                  <c:v>0.08961038961038961</c:v>
                </c:pt>
                <c:pt idx="21">
                  <c:v>0.09209832260787003</c:v>
                </c:pt>
                <c:pt idx="22">
                  <c:v>0.09597030752916225</c:v>
                </c:pt>
                <c:pt idx="23">
                  <c:v>0.09503119429590018</c:v>
                </c:pt>
                <c:pt idx="24">
                  <c:v>0.10725219043597593</c:v>
                </c:pt>
                <c:pt idx="25">
                  <c:v>0.10236398597443729</c:v>
                </c:pt>
                <c:pt idx="26">
                  <c:v>0.10047281323877069</c:v>
                </c:pt>
                <c:pt idx="27">
                  <c:v>0.10155963302752294</c:v>
                </c:pt>
                <c:pt idx="28">
                  <c:v>0.0937975325333784</c:v>
                </c:pt>
                <c:pt idx="29">
                  <c:v>0.09361157594251403</c:v>
                </c:pt>
                <c:pt idx="30">
                  <c:v>0.09845273420941077</c:v>
                </c:pt>
                <c:pt idx="31">
                  <c:v>0.09674482130662418</c:v>
                </c:pt>
                <c:pt idx="32">
                  <c:v>0.09459597507406273</c:v>
                </c:pt>
                <c:pt idx="33">
                  <c:v>0.11179961598882876</c:v>
                </c:pt>
                <c:pt idx="34">
                  <c:v>0.11988840760590265</c:v>
                </c:pt>
                <c:pt idx="35">
                  <c:v>0.11571295748457443</c:v>
                </c:pt>
                <c:pt idx="36">
                  <c:v>0.11209575325123719</c:v>
                </c:pt>
                <c:pt idx="37">
                  <c:v>0.09614187927815805</c:v>
                </c:pt>
                <c:pt idx="38">
                  <c:v>0.09749056184765711</c:v>
                </c:pt>
                <c:pt idx="39">
                  <c:v>0.10878923766816144</c:v>
                </c:pt>
                <c:pt idx="40">
                  <c:v>0.10347537548026546</c:v>
                </c:pt>
                <c:pt idx="41">
                  <c:v>0.11093247588424437</c:v>
                </c:pt>
                <c:pt idx="42">
                  <c:v>0.10399926110649303</c:v>
                </c:pt>
                <c:pt idx="43">
                  <c:v>0.10621634850709741</c:v>
                </c:pt>
                <c:pt idx="44">
                  <c:v>0.11007798440311937</c:v>
                </c:pt>
                <c:pt idx="45">
                  <c:v>0.11837413834086047</c:v>
                </c:pt>
                <c:pt idx="46">
                  <c:v>0.1341164680993208</c:v>
                </c:pt>
                <c:pt idx="47">
                  <c:v>0.13342077649527806</c:v>
                </c:pt>
                <c:pt idx="48">
                  <c:v>0.13739433785052999</c:v>
                </c:pt>
                <c:pt idx="49">
                  <c:v>0.13845122360040227</c:v>
                </c:pt>
                <c:pt idx="50">
                  <c:v>0.14342776203966007</c:v>
                </c:pt>
                <c:pt idx="51">
                  <c:v>0.1328157493414667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70.0429481793751</c:v>
                </c:pt>
              </c:numCache>
            </c:numRef>
          </c:xVal>
          <c:yVal>
            <c:numRef>
              <c:f>Sheet1!$B$163:$B$164</c:f>
              <c:numCache>
                <c:formatCode>General</c:formatCode>
                <c:ptCount val="2"/>
                <c:pt idx="0">
                  <c:v>0.13802226820801478</c:v>
                </c:pt>
                <c:pt idx="1">
                  <c:v>0.1380222682080147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70.0429481793751</c:v>
                </c:pt>
                <c:pt idx="1">
                  <c:v>970.0429481793751</c:v>
                </c:pt>
              </c:numCache>
            </c:numRef>
          </c:xVal>
          <c:yVal>
            <c:numRef>
              <c:f>Sheet1!$B$167:$B$168</c:f>
              <c:numCache>
                <c:formatCode>General</c:formatCode>
                <c:ptCount val="2"/>
                <c:pt idx="0">
                  <c:v>0.1380222682080147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70.0429481793751</c:v>
                </c:pt>
              </c:numCache>
            </c:numRef>
          </c:xVal>
          <c:yVal>
            <c:numRef>
              <c:f>Sheet1!$B$171:$B$172</c:f>
              <c:numCache>
                <c:formatCode>General</c:formatCode>
                <c:ptCount val="2"/>
                <c:pt idx="0">
                  <c:v>0.13802226820801478</c:v>
                </c:pt>
                <c:pt idx="1">
                  <c:v>0.1380222682080147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70.0429481793751</c:v>
                </c:pt>
                <c:pt idx="1">
                  <c:v>970.0429481793751</c:v>
                </c:pt>
              </c:numCache>
            </c:numRef>
          </c:xVal>
          <c:yVal>
            <c:numRef>
              <c:f>Sheet1!$B$175:$B$176</c:f>
              <c:numCache>
                <c:formatCode>General</c:formatCode>
                <c:ptCount val="2"/>
                <c:pt idx="0">
                  <c:v>0.1380222682080147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98.5277805125122</c:v>
                </c:pt>
              </c:numCache>
            </c:numRef>
          </c:xVal>
          <c:yVal>
            <c:numRef>
              <c:f>Sheet1!$B$179:$B$180</c:f>
              <c:numCache>
                <c:formatCode>General</c:formatCode>
                <c:ptCount val="2"/>
                <c:pt idx="0">
                  <c:v>0.12165316452437688</c:v>
                </c:pt>
                <c:pt idx="1">
                  <c:v>0.1216531645243768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98.5277805125122</c:v>
                </c:pt>
                <c:pt idx="1">
                  <c:v>1098.5277805125122</c:v>
                </c:pt>
              </c:numCache>
            </c:numRef>
          </c:xVal>
          <c:yVal>
            <c:numRef>
              <c:f>Sheet1!$B$183:$B$184</c:f>
              <c:numCache>
                <c:formatCode>General</c:formatCode>
                <c:ptCount val="2"/>
                <c:pt idx="0">
                  <c:v>0.121653164524376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20.0958</c:v>
                </c:pt>
                <c:pt idx="1">
                  <c:v>1174.9937</c:v>
                </c:pt>
                <c:pt idx="2">
                  <c:v>1170.388</c:v>
                </c:pt>
                <c:pt idx="3">
                  <c:v>1091.4839</c:v>
                </c:pt>
                <c:pt idx="4">
                  <c:v>1110.4615</c:v>
                </c:pt>
                <c:pt idx="5">
                  <c:v>1145.7045</c:v>
                </c:pt>
                <c:pt idx="6">
                  <c:v>1098.3812</c:v>
                </c:pt>
                <c:pt idx="7">
                  <c:v>1089.2621</c:v>
                </c:pt>
                <c:pt idx="8">
                  <c:v>1144.4919</c:v>
                </c:pt>
                <c:pt idx="9">
                  <c:v>1098.7364</c:v>
                </c:pt>
                <c:pt idx="10">
                  <c:v>1103.4401</c:v>
                </c:pt>
                <c:pt idx="11">
                  <c:v>1037.4924</c:v>
                </c:pt>
                <c:pt idx="12">
                  <c:v>1075.303</c:v>
                </c:pt>
                <c:pt idx="13">
                  <c:v>1083.7791</c:v>
                </c:pt>
                <c:pt idx="14">
                  <c:v>1097.4395</c:v>
                </c:pt>
                <c:pt idx="15">
                  <c:v>1111.6326</c:v>
                </c:pt>
                <c:pt idx="16">
                  <c:v>1147.6852</c:v>
                </c:pt>
                <c:pt idx="17">
                  <c:v>1058.0619</c:v>
                </c:pt>
                <c:pt idx="18">
                  <c:v>1151.8279</c:v>
                </c:pt>
                <c:pt idx="19">
                  <c:v>1239.7066</c:v>
                </c:pt>
                <c:pt idx="20">
                  <c:v>1255.5459</c:v>
                </c:pt>
                <c:pt idx="21">
                  <c:v>1221.7308</c:v>
                </c:pt>
                <c:pt idx="22">
                  <c:v>1211.2376</c:v>
                </c:pt>
                <c:pt idx="23">
                  <c:v>1211.7995</c:v>
                </c:pt>
                <c:pt idx="24">
                  <c:v>1193.8671</c:v>
                </c:pt>
                <c:pt idx="25">
                  <c:v>1198.6287</c:v>
                </c:pt>
                <c:pt idx="26">
                  <c:v>1177.2428</c:v>
                </c:pt>
                <c:pt idx="27">
                  <c:v>1158.4237</c:v>
                </c:pt>
                <c:pt idx="28">
                  <c:v>1224.7495</c:v>
                </c:pt>
                <c:pt idx="29">
                  <c:v>1211.2334</c:v>
                </c:pt>
                <c:pt idx="30">
                  <c:v>1225.7847</c:v>
                </c:pt>
                <c:pt idx="31">
                  <c:v>1223.98</c:v>
                </c:pt>
                <c:pt idx="32">
                  <c:v>1230.122</c:v>
                </c:pt>
                <c:pt idx="33">
                  <c:v>1206.9477</c:v>
                </c:pt>
                <c:pt idx="34">
                  <c:v>1216.6614</c:v>
                </c:pt>
                <c:pt idx="35">
                  <c:v>1254.16</c:v>
                </c:pt>
                <c:pt idx="36">
                  <c:v>1265.385</c:v>
                </c:pt>
                <c:pt idx="37">
                  <c:v>1278.3538</c:v>
                </c:pt>
                <c:pt idx="38">
                  <c:v>1282.6834</c:v>
                </c:pt>
                <c:pt idx="39">
                  <c:v>1243.2564</c:v>
                </c:pt>
                <c:pt idx="40">
                  <c:v>1258.6354</c:v>
                </c:pt>
                <c:pt idx="41">
                  <c:v>1286.8741</c:v>
                </c:pt>
                <c:pt idx="42">
                  <c:v>1284.3721</c:v>
                </c:pt>
                <c:pt idx="43">
                  <c:v>1286.2943</c:v>
                </c:pt>
                <c:pt idx="44">
                  <c:v>1211.5232</c:v>
                </c:pt>
                <c:pt idx="45">
                  <c:v>1180.9739</c:v>
                </c:pt>
                <c:pt idx="46">
                  <c:v>1166.9502</c:v>
                </c:pt>
                <c:pt idx="47">
                  <c:v>1148.0731</c:v>
                </c:pt>
                <c:pt idx="48">
                  <c:v>1133.8779</c:v>
                </c:pt>
                <c:pt idx="49">
                  <c:v>1141.1174</c:v>
                </c:pt>
                <c:pt idx="50">
                  <c:v>1112.3456</c:v>
                </c:pt>
                <c:pt idx="51">
                  <c:v>1096.0167</c:v>
                </c:pt>
                <c:pt idx="52">
                  <c:v>970.0429481793751</c:v>
                </c:pt>
                <c:pt idx="53">
                  <c:v>970.0429481793751</c:v>
                </c:pt>
                <c:pt idx="54">
                  <c:v>1098.5277805125122</c:v>
                </c:pt>
              </c:numCache>
            </c:numRef>
          </c:xVal>
          <c:yVal>
            <c:numRef>
              <c:f>Sheet1!$B$187:$B$241</c:f>
              <c:numCache>
                <c:formatCode>General</c:formatCode>
                <c:ptCount val="55"/>
                <c:pt idx="0">
                  <c:v>0.11890537600467035</c:v>
                </c:pt>
                <c:pt idx="1">
                  <c:v>0.11191132541678456</c:v>
                </c:pt>
                <c:pt idx="2">
                  <c:v>0.11249809647346662</c:v>
                </c:pt>
                <c:pt idx="3">
                  <c:v>0.12255056235998688</c:v>
                </c:pt>
                <c:pt idx="4">
                  <c:v>0.12013279602581634</c:v>
                </c:pt>
                <c:pt idx="5">
                  <c:v>0.11564280050925085</c:v>
                </c:pt>
                <c:pt idx="6">
                  <c:v>0.12167183903687567</c:v>
                </c:pt>
                <c:pt idx="7">
                  <c:v>0.12283362203250922</c:v>
                </c:pt>
                <c:pt idx="8">
                  <c:v>0.11579728703319567</c:v>
                </c:pt>
                <c:pt idx="9">
                  <c:v>0.12162658618077707</c:v>
                </c:pt>
                <c:pt idx="10">
                  <c:v>0.12102732982032904</c:v>
                </c:pt>
                <c:pt idx="11">
                  <c:v>0.12942913662814348</c:v>
                </c:pt>
                <c:pt idx="12">
                  <c:v>0.12461202615291009</c:v>
                </c:pt>
                <c:pt idx="13">
                  <c:v>0.1235321620381083</c:v>
                </c:pt>
                <c:pt idx="14">
                  <c:v>0.12179181261398178</c:v>
                </c:pt>
                <c:pt idx="15">
                  <c:v>0.1199835966458132</c:v>
                </c:pt>
                <c:pt idx="16">
                  <c:v>0.11539045723201394</c:v>
                </c:pt>
                <c:pt idx="17">
                  <c:v>0.12680856054841155</c:v>
                </c:pt>
                <c:pt idx="18">
                  <c:v>0.11486267286557303</c:v>
                </c:pt>
                <c:pt idx="19">
                  <c:v>0.10366683343642111</c:v>
                </c:pt>
                <c:pt idx="20">
                  <c:v>0.10164888984519632</c:v>
                </c:pt>
                <c:pt idx="21">
                  <c:v>0.10595696938984953</c:v>
                </c:pt>
                <c:pt idx="22">
                  <c:v>0.10729381418042994</c:v>
                </c:pt>
                <c:pt idx="23">
                  <c:v>0.10722222752546984</c:v>
                </c:pt>
                <c:pt idx="24">
                  <c:v>0.10950683427294475</c:v>
                </c:pt>
                <c:pt idx="25">
                  <c:v>0.10890020139119014</c:v>
                </c:pt>
                <c:pt idx="26">
                  <c:v>0.111624787695356</c:v>
                </c:pt>
                <c:pt idx="27">
                  <c:v>0.11402236096170099</c:v>
                </c:pt>
                <c:pt idx="28">
                  <c:v>0.10557238381354059</c:v>
                </c:pt>
                <c:pt idx="29">
                  <c:v>0.10729434926487702</c:v>
                </c:pt>
                <c:pt idx="30">
                  <c:v>0.10544049823743332</c:v>
                </c:pt>
                <c:pt idx="31">
                  <c:v>0.10567041892831505</c:v>
                </c:pt>
                <c:pt idx="32">
                  <c:v>0.1048879216249429</c:v>
                </c:pt>
                <c:pt idx="33">
                  <c:v>0.10784035198273148</c:v>
                </c:pt>
                <c:pt idx="34">
                  <c:v>0.10660281631751395</c:v>
                </c:pt>
                <c:pt idx="35">
                  <c:v>0.10182545497263745</c:v>
                </c:pt>
                <c:pt idx="36">
                  <c:v>0.10039537808720073</c:v>
                </c:pt>
                <c:pt idx="37">
                  <c:v>0.09874313923536532</c:v>
                </c:pt>
                <c:pt idx="38">
                  <c:v>0.098191543611028</c:v>
                </c:pt>
                <c:pt idx="39">
                  <c:v>0.10321458515776424</c:v>
                </c:pt>
                <c:pt idx="40">
                  <c:v>0.10125528427392178</c:v>
                </c:pt>
                <c:pt idx="41">
                  <c:v>0.09765764399376295</c:v>
                </c:pt>
                <c:pt idx="42">
                  <c:v>0.0979764014429712</c:v>
                </c:pt>
                <c:pt idx="43">
                  <c:v>0.0977315111276762</c:v>
                </c:pt>
                <c:pt idx="44">
                  <c:v>0.10725742843802627</c:v>
                </c:pt>
                <c:pt idx="45">
                  <c:v>0.11114944160473211</c:v>
                </c:pt>
                <c:pt idx="46">
                  <c:v>0.11293607583353382</c:v>
                </c:pt>
                <c:pt idx="47">
                  <c:v>0.11534103836129134</c:v>
                </c:pt>
                <c:pt idx="48">
                  <c:v>0.11714952187168348</c:v>
                </c:pt>
                <c:pt idx="49">
                  <c:v>0.11622720190623853</c:v>
                </c:pt>
                <c:pt idx="50">
                  <c:v>0.11989275969086294</c:v>
                </c:pt>
                <c:pt idx="51">
                  <c:v>0.12197307884049399</c:v>
                </c:pt>
                <c:pt idx="52">
                  <c:v>0.13802226820801478</c:v>
                </c:pt>
                <c:pt idx="53">
                  <c:v>0.13802226820801478</c:v>
                </c:pt>
                <c:pt idx="54">
                  <c:v>0.1216531645243768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4.0"/>
          <c:min val="60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73479715241445"/>
          <c:min val="0.0474067630749157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926163812486334</c:v>
                </c:pt>
                <c:pt idx="1">
                  <c:v>0.3805827396665488</c:v>
                </c:pt>
                <c:pt idx="2">
                  <c:v>0.46657912712327815</c:v>
                </c:pt>
                <c:pt idx="3">
                  <c:v>0.4706693516975335</c:v>
                </c:pt>
                <c:pt idx="4">
                  <c:v>0.43683174245043654</c:v>
                </c:pt>
                <c:pt idx="5">
                  <c:v>0.44786061685722994</c:v>
                </c:pt>
                <c:pt idx="6">
                  <c:v>0.4054827655323735</c:v>
                </c:pt>
                <c:pt idx="7">
                  <c:v>0.3823655836198425</c:v>
                </c:pt>
                <c:pt idx="8">
                  <c:v>0.38052412168752286</c:v>
                </c:pt>
                <c:pt idx="9">
                  <c:v>0.39265313507600386</c:v>
                </c:pt>
                <c:pt idx="10">
                  <c:v>0.4208723497320484</c:v>
                </c:pt>
                <c:pt idx="11">
                  <c:v>0.424150260391282</c:v>
                </c:pt>
                <c:pt idx="12">
                  <c:v>0.45365661775748306</c:v>
                </c:pt>
                <c:pt idx="13">
                  <c:v>0.4545129461220019</c:v>
                </c:pt>
                <c:pt idx="14">
                  <c:v>0.49167782182337616</c:v>
                </c:pt>
                <c:pt idx="15">
                  <c:v>0.4824368884810286</c:v>
                </c:pt>
                <c:pt idx="16">
                  <c:v>0.46496798244654297</c:v>
                </c:pt>
                <c:pt idx="17">
                  <c:v>0.45590785889153834</c:v>
                </c:pt>
                <c:pt idx="18">
                  <c:v>0.44851258356377915</c:v>
                </c:pt>
                <c:pt idx="19">
                  <c:v>0.441913833838494</c:v>
                </c:pt>
                <c:pt idx="20">
                  <c:v>0.5020414990839248</c:v>
                </c:pt>
                <c:pt idx="21">
                  <c:v>0.4387301475662774</c:v>
                </c:pt>
                <c:pt idx="22">
                  <c:v>0.4031859940999079</c:v>
                </c:pt>
                <c:pt idx="23">
                  <c:v>0.3954678935995958</c:v>
                </c:pt>
                <c:pt idx="24">
                  <c:v>0.3930504526623431</c:v>
                </c:pt>
                <c:pt idx="25">
                  <c:v>0.3706602139197429</c:v>
                </c:pt>
                <c:pt idx="26">
                  <c:v>0.3498891409413811</c:v>
                </c:pt>
                <c:pt idx="27">
                  <c:v>0.36839571212602024</c:v>
                </c:pt>
                <c:pt idx="28">
                  <c:v>0.35388110102896125</c:v>
                </c:pt>
                <c:pt idx="29">
                  <c:v>0.3732313974410696</c:v>
                </c:pt>
                <c:pt idx="30">
                  <c:v>0.35578137754128203</c:v>
                </c:pt>
                <c:pt idx="31">
                  <c:v>0.3513682231836321</c:v>
                </c:pt>
                <c:pt idx="32">
                  <c:v>0.34729770363246076</c:v>
                </c:pt>
                <c:pt idx="33">
                  <c:v>0.34664195958075167</c:v>
                </c:pt>
                <c:pt idx="34">
                  <c:v>0.36669431854539297</c:v>
                </c:pt>
                <c:pt idx="35">
                  <c:v>0.4243688641594819</c:v>
                </c:pt>
                <c:pt idx="36">
                  <c:v>0.41552695970045733</c:v>
                </c:pt>
                <c:pt idx="37">
                  <c:v>0.3931924518707261</c:v>
                </c:pt>
                <c:pt idx="38">
                  <c:v>0.4048703068465426</c:v>
                </c:pt>
                <c:pt idx="39">
                  <c:v>0.41178893675392636</c:v>
                </c:pt>
                <c:pt idx="40">
                  <c:v>0.418907702761047</c:v>
                </c:pt>
                <c:pt idx="41">
                  <c:v>0.4093076535549635</c:v>
                </c:pt>
                <c:pt idx="42">
                  <c:v>0.42854638403361295</c:v>
                </c:pt>
                <c:pt idx="43">
                  <c:v>0.42677193382726103</c:v>
                </c:pt>
                <c:pt idx="44">
                  <c:v>0.4359085768106819</c:v>
                </c:pt>
                <c:pt idx="45">
                  <c:v>0.4318397626348548</c:v>
                </c:pt>
                <c:pt idx="46">
                  <c:v>0.44755865437613923</c:v>
                </c:pt>
                <c:pt idx="47">
                  <c:v>0.4306473520674212</c:v>
                </c:pt>
                <c:pt idx="48">
                  <c:v>0.45609920281409405</c:v>
                </c:pt>
                <c:pt idx="49">
                  <c:v>0.49743656832831235</c:v>
                </c:pt>
                <c:pt idx="50">
                  <c:v>0.4170390503594979</c:v>
                </c:pt>
                <c:pt idx="51">
                  <c:v>0.41914952874207256</c:v>
                </c:pt>
                <c:pt idx="52">
                  <c:v>0.43890055937380396</c:v>
                </c:pt>
                <c:pt idx="53">
                  <c:v>0.42972611638966735</c:v>
                </c:pt>
                <c:pt idx="54">
                  <c:v>0.4010557167317563</c:v>
                </c:pt>
                <c:pt idx="55">
                  <c:v>0.4008781013930477</c:v>
                </c:pt>
                <c:pt idx="56">
                  <c:v>0.38574847770599596</c:v>
                </c:pt>
                <c:pt idx="57">
                  <c:v>0.4114817223462702</c:v>
                </c:pt>
                <c:pt idx="58">
                  <c:v>0.37724410532065134</c:v>
                </c:pt>
                <c:pt idx="59">
                  <c:v>0.40172738864360974</c:v>
                </c:pt>
                <c:pt idx="60">
                  <c:v>0.39798952891618355</c:v>
                </c:pt>
                <c:pt idx="61">
                  <c:v>0.38580029921046927</c:v>
                </c:pt>
                <c:pt idx="62">
                  <c:v>0.3520361135651254</c:v>
                </c:pt>
                <c:pt idx="63">
                  <c:v>0.35618037676894265</c:v>
                </c:pt>
                <c:pt idx="64">
                  <c:v>0.3767591932529328</c:v>
                </c:pt>
                <c:pt idx="65">
                  <c:v>0.4091629041527596</c:v>
                </c:pt>
                <c:pt idx="66">
                  <c:v>0.42989434748442396</c:v>
                </c:pt>
                <c:pt idx="67">
                  <c:v>0.4530791701138809</c:v>
                </c:pt>
                <c:pt idx="68">
                  <c:v>0.46150320380630094</c:v>
                </c:pt>
                <c:pt idx="69">
                  <c:v>0.4548899844937201</c:v>
                </c:pt>
                <c:pt idx="70">
                  <c:v>0.45050608497058997</c:v>
                </c:pt>
                <c:pt idx="71">
                  <c:v>0.43555543494125826</c:v>
                </c:pt>
                <c:pt idx="72">
                  <c:v>0.4326552145766766</c:v>
                </c:pt>
                <c:pt idx="73">
                  <c:v>0.44946251037916085</c:v>
                </c:pt>
                <c:pt idx="74">
                  <c:v>0.4287644924651921</c:v>
                </c:pt>
                <c:pt idx="75">
                  <c:v>0.40920346421309434</c:v>
                </c:pt>
                <c:pt idx="76">
                  <c:v>0.39726414272630256</c:v>
                </c:pt>
                <c:pt idx="77">
                  <c:v>0.40190914175617254</c:v>
                </c:pt>
                <c:pt idx="78">
                  <c:v>0.41174524759597775</c:v>
                </c:pt>
                <c:pt idx="79">
                  <c:v>0.4337870924638311</c:v>
                </c:pt>
                <c:pt idx="80">
                  <c:v>0.4258894783362916</c:v>
                </c:pt>
                <c:pt idx="81">
                  <c:v>0.45754755095080246</c:v>
                </c:pt>
                <c:pt idx="82">
                  <c:v>0.4699489056040893</c:v>
                </c:pt>
                <c:pt idx="83">
                  <c:v>0.4195325819200548</c:v>
                </c:pt>
                <c:pt idx="84">
                  <c:v>0.4278439697694156</c:v>
                </c:pt>
                <c:pt idx="85">
                  <c:v>0.4256649433340064</c:v>
                </c:pt>
                <c:pt idx="86">
                  <c:v>0.4323426173231058</c:v>
                </c:pt>
                <c:pt idx="87">
                  <c:v>0.47205824422763815</c:v>
                </c:pt>
                <c:pt idx="88">
                  <c:v>0.42974074306983706</c:v>
                </c:pt>
                <c:pt idx="89">
                  <c:v>0.40677027961139717</c:v>
                </c:pt>
                <c:pt idx="90">
                  <c:v>0.4160745042699138</c:v>
                </c:pt>
                <c:pt idx="91">
                  <c:v>0.44517912356207895</c:v>
                </c:pt>
                <c:pt idx="92">
                  <c:v>0.4376109648413231</c:v>
                </c:pt>
                <c:pt idx="93">
                  <c:v>0.46152346407100153</c:v>
                </c:pt>
                <c:pt idx="94">
                  <c:v>0.46268829535747075</c:v>
                </c:pt>
                <c:pt idx="95">
                  <c:v>0.49298238728283783</c:v>
                </c:pt>
                <c:pt idx="96">
                  <c:v>0.48896258896031136</c:v>
                </c:pt>
                <c:pt idx="97">
                  <c:v>0.5202072651925664</c:v>
                </c:pt>
                <c:pt idx="98">
                  <c:v>0.5424037563112808</c:v>
                </c:pt>
                <c:pt idx="99">
                  <c:v>0.5269212986153443</c:v>
                </c:pt>
                <c:pt idx="100">
                  <c:v>0.5541390704495434</c:v>
                </c:pt>
                <c:pt idx="101">
                  <c:v>0.5207134565006266</c:v>
                </c:pt>
                <c:pt idx="102">
                  <c:v>0.468280827553316</c:v>
                </c:pt>
                <c:pt idx="103">
                  <c:v>0.48260324313888103</c:v>
                </c:pt>
                <c:pt idx="104">
                  <c:v>0.47346810392199123</c:v>
                </c:pt>
              </c:numCache>
            </c:numRef>
          </c:xVal>
          <c:yVal>
            <c:numRef>
              <c:f>Sheet1!$B$2:$B$106</c:f>
              <c:numCache>
                <c:formatCode>General</c:formatCode>
                <c:ptCount val="105"/>
                <c:pt idx="0">
                  <c:v>0.11161192179841117</c:v>
                </c:pt>
                <c:pt idx="1">
                  <c:v>0.0923679060665362</c:v>
                </c:pt>
                <c:pt idx="2">
                  <c:v>0.09798698970445116</c:v>
                </c:pt>
                <c:pt idx="3">
                  <c:v>0.09666721035176426</c:v>
                </c:pt>
                <c:pt idx="4">
                  <c:v>0.10624081250835227</c:v>
                </c:pt>
                <c:pt idx="5">
                  <c:v>0.12701315141711794</c:v>
                </c:pt>
                <c:pt idx="6">
                  <c:v>0.1488462089723377</c:v>
                </c:pt>
                <c:pt idx="7">
                  <c:v>0.15231515749650465</c:v>
                </c:pt>
                <c:pt idx="8">
                  <c:v>0.1564456642936787</c:v>
                </c:pt>
                <c:pt idx="9">
                  <c:v>0.14047985029740026</c:v>
                </c:pt>
                <c:pt idx="10">
                  <c:v>0.1478868763902129</c:v>
                </c:pt>
                <c:pt idx="11">
                  <c:v>0.14233369132604712</c:v>
                </c:pt>
                <c:pt idx="12">
                  <c:v>0.12890878040162534</c:v>
                </c:pt>
                <c:pt idx="13">
                  <c:v>0.12000726216412491</c:v>
                </c:pt>
                <c:pt idx="14">
                  <c:v>0.09403877514042398</c:v>
                </c:pt>
                <c:pt idx="15">
                  <c:v>0.08468428455104005</c:v>
                </c:pt>
                <c:pt idx="16">
                  <c:v>0.08020449212202481</c:v>
                </c:pt>
                <c:pt idx="17">
                  <c:v>0.06952767007402186</c:v>
                </c:pt>
                <c:pt idx="18">
                  <c:v>0.06445125454893698</c:v>
                </c:pt>
                <c:pt idx="19">
                  <c:v>0.06243614485185606</c:v>
                </c:pt>
                <c:pt idx="20">
                  <c:v>0.060835798816568046</c:v>
                </c:pt>
                <c:pt idx="21">
                  <c:v>0.059258453843644664</c:v>
                </c:pt>
                <c:pt idx="22">
                  <c:v>0.06481679880008571</c:v>
                </c:pt>
                <c:pt idx="23">
                  <c:v>0.07247992863514718</c:v>
                </c:pt>
                <c:pt idx="24">
                  <c:v>0.07399577167019028</c:v>
                </c:pt>
                <c:pt idx="25">
                  <c:v>0.0766247502644259</c:v>
                </c:pt>
                <c:pt idx="26">
                  <c:v>0.09095027749462001</c:v>
                </c:pt>
                <c:pt idx="27">
                  <c:v>0.09469613259668508</c:v>
                </c:pt>
                <c:pt idx="28">
                  <c:v>0.11374045801526718</c:v>
                </c:pt>
                <c:pt idx="29">
                  <c:v>0.11356224822558987</c:v>
                </c:pt>
                <c:pt idx="30">
                  <c:v>0.11730021327311504</c:v>
                </c:pt>
                <c:pt idx="31">
                  <c:v>0.11637881071055987</c:v>
                </c:pt>
                <c:pt idx="32">
                  <c:v>0.12771493212669682</c:v>
                </c:pt>
                <c:pt idx="33">
                  <c:v>0.11790195901417351</c:v>
                </c:pt>
                <c:pt idx="34">
                  <c:v>0.11959134615384616</c:v>
                </c:pt>
                <c:pt idx="35">
                  <c:v>0.13572263342423063</c:v>
                </c:pt>
                <c:pt idx="36">
                  <c:v>0.10583807600514045</c:v>
                </c:pt>
                <c:pt idx="37">
                  <c:v>0.10197571516772999</c:v>
                </c:pt>
                <c:pt idx="38">
                  <c:v>0.09675486769845232</c:v>
                </c:pt>
                <c:pt idx="39">
                  <c:v>0.0886299802350983</c:v>
                </c:pt>
                <c:pt idx="40">
                  <c:v>0.09395673162882175</c:v>
                </c:pt>
                <c:pt idx="41">
                  <c:v>0.09259434408398752</c:v>
                </c:pt>
                <c:pt idx="42">
                  <c:v>0.09036870431359949</c:v>
                </c:pt>
                <c:pt idx="43">
                  <c:v>0.087968092178152</c:v>
                </c:pt>
                <c:pt idx="44">
                  <c:v>0.09342703596527491</c:v>
                </c:pt>
                <c:pt idx="45">
                  <c:v>0.1081802015411974</c:v>
                </c:pt>
                <c:pt idx="46">
                  <c:v>0.11185143181173803</c:v>
                </c:pt>
                <c:pt idx="47">
                  <c:v>0.10358032665866937</c:v>
                </c:pt>
                <c:pt idx="48">
                  <c:v>0.10720056199508254</c:v>
                </c:pt>
                <c:pt idx="49">
                  <c:v>0.10757608774605942</c:v>
                </c:pt>
                <c:pt idx="50">
                  <c:v>0.10438673370542921</c:v>
                </c:pt>
                <c:pt idx="51">
                  <c:v>0.09654148100997241</c:v>
                </c:pt>
                <c:pt idx="52">
                  <c:v>0.09940467949605428</c:v>
                </c:pt>
                <c:pt idx="53">
                  <c:v>0.08989323449687447</c:v>
                </c:pt>
                <c:pt idx="54">
                  <c:v>0.09183551847437425</c:v>
                </c:pt>
                <c:pt idx="55">
                  <c:v>0.08999877134783144</c:v>
                </c:pt>
                <c:pt idx="56">
                  <c:v>0.09457872287816035</c:v>
                </c:pt>
                <c:pt idx="57">
                  <c:v>0.0905018399018719</c:v>
                </c:pt>
                <c:pt idx="58">
                  <c:v>0.10347506344191827</c:v>
                </c:pt>
                <c:pt idx="59">
                  <c:v>0.09794723476297969</c:v>
                </c:pt>
                <c:pt idx="60">
                  <c:v>0.09967678863572882</c:v>
                </c:pt>
                <c:pt idx="61">
                  <c:v>0.10098018095648427</c:v>
                </c:pt>
                <c:pt idx="62">
                  <c:v>0.11095868727905872</c:v>
                </c:pt>
                <c:pt idx="63">
                  <c:v>0.11437699680511182</c:v>
                </c:pt>
                <c:pt idx="64">
                  <c:v>0.10774878460164698</c:v>
                </c:pt>
                <c:pt idx="65">
                  <c:v>0.10945485519591142</c:v>
                </c:pt>
                <c:pt idx="66">
                  <c:v>0.10667888523529728</c:v>
                </c:pt>
                <c:pt idx="67">
                  <c:v>0.09876887081499638</c:v>
                </c:pt>
                <c:pt idx="68">
                  <c:v>0.09202414173534947</c:v>
                </c:pt>
                <c:pt idx="69">
                  <c:v>0.08543128353281057</c:v>
                </c:pt>
                <c:pt idx="70">
                  <c:v>0.08832403077387238</c:v>
                </c:pt>
                <c:pt idx="71">
                  <c:v>0.08039169233199084</c:v>
                </c:pt>
                <c:pt idx="72">
                  <c:v>0.08137111093955068</c:v>
                </c:pt>
                <c:pt idx="73">
                  <c:v>0.0812126047068209</c:v>
                </c:pt>
                <c:pt idx="74">
                  <c:v>0.07855051244509517</c:v>
                </c:pt>
                <c:pt idx="75">
                  <c:v>0.0859437751004016</c:v>
                </c:pt>
                <c:pt idx="76">
                  <c:v>0.09480330257406508</c:v>
                </c:pt>
                <c:pt idx="77">
                  <c:v>0.08502406341417382</c:v>
                </c:pt>
                <c:pt idx="78">
                  <c:v>0.096081307627829</c:v>
                </c:pt>
                <c:pt idx="79">
                  <c:v>0.10028795551583755</c:v>
                </c:pt>
                <c:pt idx="80">
                  <c:v>0.08607843137254902</c:v>
                </c:pt>
                <c:pt idx="81">
                  <c:v>0.0840855106888361</c:v>
                </c:pt>
                <c:pt idx="82">
                  <c:v>0.093727394853777</c:v>
                </c:pt>
                <c:pt idx="83">
                  <c:v>0.08385202583675866</c:v>
                </c:pt>
                <c:pt idx="84">
                  <c:v>0.08458807687599461</c:v>
                </c:pt>
                <c:pt idx="85">
                  <c:v>0.08871402393014984</c:v>
                </c:pt>
                <c:pt idx="86">
                  <c:v>0.09915316944832689</c:v>
                </c:pt>
                <c:pt idx="87">
                  <c:v>0.11427596793450452</c:v>
                </c:pt>
                <c:pt idx="88">
                  <c:v>0.09438112377524495</c:v>
                </c:pt>
                <c:pt idx="89">
                  <c:v>0.10145993067955046</c:v>
                </c:pt>
                <c:pt idx="90">
                  <c:v>0.08703643637149962</c:v>
                </c:pt>
                <c:pt idx="91">
                  <c:v>0.08679871409312455</c:v>
                </c:pt>
                <c:pt idx="92">
                  <c:v>0.09280900793312293</c:v>
                </c:pt>
                <c:pt idx="93">
                  <c:v>0.09282981201131259</c:v>
                </c:pt>
                <c:pt idx="94">
                  <c:v>0.09474506739597578</c:v>
                </c:pt>
                <c:pt idx="95">
                  <c:v>0.09582700513488103</c:v>
                </c:pt>
                <c:pt idx="96">
                  <c:v>0.09726858877086494</c:v>
                </c:pt>
                <c:pt idx="97">
                  <c:v>0.10004616805170821</c:v>
                </c:pt>
                <c:pt idx="98">
                  <c:v>0.1054962018117561</c:v>
                </c:pt>
                <c:pt idx="99">
                  <c:v>0.10254591872916814</c:v>
                </c:pt>
                <c:pt idx="100">
                  <c:v>0.1075742948835025</c:v>
                </c:pt>
                <c:pt idx="101">
                  <c:v>0.09748155475866617</c:v>
                </c:pt>
                <c:pt idx="102">
                  <c:v>0.09748443849992283</c:v>
                </c:pt>
                <c:pt idx="103">
                  <c:v>0.09680249561317995</c:v>
                </c:pt>
                <c:pt idx="104">
                  <c:v>0.0937220732797140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350951613515339</c:v>
                </c:pt>
                <c:pt idx="1">
                  <c:v>0.44266585582405027</c:v>
                </c:pt>
                <c:pt idx="2">
                  <c:v>0.45347197691515706</c:v>
                </c:pt>
                <c:pt idx="3">
                  <c:v>0.4063499567229982</c:v>
                </c:pt>
                <c:pt idx="4">
                  <c:v>0.40413067531685504</c:v>
                </c:pt>
                <c:pt idx="5">
                  <c:v>0.43989477890296425</c:v>
                </c:pt>
                <c:pt idx="6">
                  <c:v>0.4667731231311119</c:v>
                </c:pt>
                <c:pt idx="7">
                  <c:v>0.4419230867225019</c:v>
                </c:pt>
                <c:pt idx="8">
                  <c:v>0.44070639516290794</c:v>
                </c:pt>
                <c:pt idx="9">
                  <c:v>0.4368962332457913</c:v>
                </c:pt>
                <c:pt idx="10">
                  <c:v>0.43222250102881205</c:v>
                </c:pt>
                <c:pt idx="11">
                  <c:v>0.4487403107606726</c:v>
                </c:pt>
                <c:pt idx="12">
                  <c:v>0.4542194687053671</c:v>
                </c:pt>
                <c:pt idx="13">
                  <c:v>0.422970570468654</c:v>
                </c:pt>
                <c:pt idx="14">
                  <c:v>0.4288833177663229</c:v>
                </c:pt>
                <c:pt idx="15">
                  <c:v>0.42241017074279</c:v>
                </c:pt>
                <c:pt idx="16">
                  <c:v>0.4244712357945745</c:v>
                </c:pt>
                <c:pt idx="17">
                  <c:v>0.3894844253075707</c:v>
                </c:pt>
                <c:pt idx="18">
                  <c:v>0.4184953382390834</c:v>
                </c:pt>
                <c:pt idx="19">
                  <c:v>0.43799818406785407</c:v>
                </c:pt>
                <c:pt idx="20">
                  <c:v>0.4293302286364044</c:v>
                </c:pt>
                <c:pt idx="21">
                  <c:v>0.4157644569452336</c:v>
                </c:pt>
                <c:pt idx="22">
                  <c:v>0.4037548434826867</c:v>
                </c:pt>
                <c:pt idx="23">
                  <c:v>0.4184593555039532</c:v>
                </c:pt>
                <c:pt idx="24">
                  <c:v>0.422722429419006</c:v>
                </c:pt>
                <c:pt idx="25">
                  <c:v>0.4378447885791071</c:v>
                </c:pt>
                <c:pt idx="26">
                  <c:v>0.4160809658750023</c:v>
                </c:pt>
                <c:pt idx="27">
                  <c:v>0.41584889629628513</c:v>
                </c:pt>
                <c:pt idx="28">
                  <c:v>0.44022163384601426</c:v>
                </c:pt>
                <c:pt idx="29">
                  <c:v>0.4064365260930122</c:v>
                </c:pt>
                <c:pt idx="30">
                  <c:v>0.4085747027905254</c:v>
                </c:pt>
                <c:pt idx="31">
                  <c:v>0.43248917416680166</c:v>
                </c:pt>
                <c:pt idx="32">
                  <c:v>0.425722303826286</c:v>
                </c:pt>
                <c:pt idx="33">
                  <c:v>0.44303852436450397</c:v>
                </c:pt>
                <c:pt idx="34">
                  <c:v>0.4569248563666144</c:v>
                </c:pt>
                <c:pt idx="35">
                  <c:v>0.4542107991391667</c:v>
                </c:pt>
                <c:pt idx="36">
                  <c:v>0.40985532686900406</c:v>
                </c:pt>
                <c:pt idx="37">
                  <c:v>0.43324347431392535</c:v>
                </c:pt>
                <c:pt idx="38">
                  <c:v>0.4021460902441676</c:v>
                </c:pt>
                <c:pt idx="39">
                  <c:v>0.4339034817255243</c:v>
                </c:pt>
                <c:pt idx="40">
                  <c:v>0.41498011689212044</c:v>
                </c:pt>
                <c:pt idx="41">
                  <c:v>0.42779982235428543</c:v>
                </c:pt>
                <c:pt idx="42">
                  <c:v>0.41075058432650585</c:v>
                </c:pt>
                <c:pt idx="43">
                  <c:v>0.47508085883978785</c:v>
                </c:pt>
                <c:pt idx="44">
                  <c:v>0.5199120350572354</c:v>
                </c:pt>
                <c:pt idx="45">
                  <c:v>0.545346947144046</c:v>
                </c:pt>
                <c:pt idx="46">
                  <c:v>0.5106891762271439</c:v>
                </c:pt>
                <c:pt idx="47">
                  <c:v>0.5027661544836332</c:v>
                </c:pt>
                <c:pt idx="48">
                  <c:v>0.5495485147288318</c:v>
                </c:pt>
                <c:pt idx="49">
                  <c:v>0.5596102061223199</c:v>
                </c:pt>
                <c:pt idx="50">
                  <c:v>0.5776115756445158</c:v>
                </c:pt>
                <c:pt idx="51">
                  <c:v>0.5370363746441943</c:v>
                </c:pt>
              </c:numCache>
            </c:numRef>
          </c:xVal>
          <c:yVal>
            <c:numRef>
              <c:f>Sheet1!$B$109:$B$160</c:f>
              <c:numCache>
                <c:formatCode>General</c:formatCode>
                <c:ptCount val="52"/>
                <c:pt idx="0">
                  <c:v>0.10216208119039297</c:v>
                </c:pt>
                <c:pt idx="1">
                  <c:v>0.0928518400678757</c:v>
                </c:pt>
                <c:pt idx="2">
                  <c:v>0.11049535754217102</c:v>
                </c:pt>
                <c:pt idx="3">
                  <c:v>0.13015048800423099</c:v>
                </c:pt>
                <c:pt idx="4">
                  <c:v>0.11893110727307618</c:v>
                </c:pt>
                <c:pt idx="5">
                  <c:v>0.11790212678092092</c:v>
                </c:pt>
                <c:pt idx="6">
                  <c:v>0.12324230935355378</c:v>
                </c:pt>
                <c:pt idx="7">
                  <c:v>0.13000193936259616</c:v>
                </c:pt>
                <c:pt idx="8">
                  <c:v>0.11820781696854146</c:v>
                </c:pt>
                <c:pt idx="9">
                  <c:v>0.123335811313104</c:v>
                </c:pt>
                <c:pt idx="10">
                  <c:v>0.13297024442082891</c:v>
                </c:pt>
                <c:pt idx="11">
                  <c:v>0.1244347264324405</c:v>
                </c:pt>
                <c:pt idx="12">
                  <c:v>0.11905717726673166</c:v>
                </c:pt>
                <c:pt idx="13">
                  <c:v>0.11784395198522622</c:v>
                </c:pt>
                <c:pt idx="14">
                  <c:v>0.11651696606786427</c:v>
                </c:pt>
                <c:pt idx="15">
                  <c:v>0.11267136962598163</c:v>
                </c:pt>
                <c:pt idx="16">
                  <c:v>0.10218458692094215</c:v>
                </c:pt>
                <c:pt idx="17">
                  <c:v>0.1145166209210125</c:v>
                </c:pt>
                <c:pt idx="18">
                  <c:v>0.10506533023089315</c:v>
                </c:pt>
                <c:pt idx="19">
                  <c:v>0.10435355114805366</c:v>
                </c:pt>
                <c:pt idx="20">
                  <c:v>0.08961038961038961</c:v>
                </c:pt>
                <c:pt idx="21">
                  <c:v>0.09209832260787003</c:v>
                </c:pt>
                <c:pt idx="22">
                  <c:v>0.09597030752916225</c:v>
                </c:pt>
                <c:pt idx="23">
                  <c:v>0.09503119429590018</c:v>
                </c:pt>
                <c:pt idx="24">
                  <c:v>0.10725219043597593</c:v>
                </c:pt>
                <c:pt idx="25">
                  <c:v>0.10236398597443729</c:v>
                </c:pt>
                <c:pt idx="26">
                  <c:v>0.10047281323877069</c:v>
                </c:pt>
                <c:pt idx="27">
                  <c:v>0.10155963302752294</c:v>
                </c:pt>
                <c:pt idx="28">
                  <c:v>0.0937975325333784</c:v>
                </c:pt>
                <c:pt idx="29">
                  <c:v>0.09361157594251403</c:v>
                </c:pt>
                <c:pt idx="30">
                  <c:v>0.09845273420941077</c:v>
                </c:pt>
                <c:pt idx="31">
                  <c:v>0.09674482130662418</c:v>
                </c:pt>
                <c:pt idx="32">
                  <c:v>0.09459597507406273</c:v>
                </c:pt>
                <c:pt idx="33">
                  <c:v>0.11179961598882876</c:v>
                </c:pt>
                <c:pt idx="34">
                  <c:v>0.11988840760590265</c:v>
                </c:pt>
                <c:pt idx="35">
                  <c:v>0.11571295748457443</c:v>
                </c:pt>
                <c:pt idx="36">
                  <c:v>0.11209575325123719</c:v>
                </c:pt>
                <c:pt idx="37">
                  <c:v>0.09614187927815805</c:v>
                </c:pt>
                <c:pt idx="38">
                  <c:v>0.09749056184765711</c:v>
                </c:pt>
                <c:pt idx="39">
                  <c:v>0.10878923766816144</c:v>
                </c:pt>
                <c:pt idx="40">
                  <c:v>0.10347537548026546</c:v>
                </c:pt>
                <c:pt idx="41">
                  <c:v>0.11093247588424437</c:v>
                </c:pt>
                <c:pt idx="42">
                  <c:v>0.10399926110649303</c:v>
                </c:pt>
                <c:pt idx="43">
                  <c:v>0.10621634850709741</c:v>
                </c:pt>
                <c:pt idx="44">
                  <c:v>0.11007798440311937</c:v>
                </c:pt>
                <c:pt idx="45">
                  <c:v>0.11837413834086047</c:v>
                </c:pt>
                <c:pt idx="46">
                  <c:v>0.1341164680993208</c:v>
                </c:pt>
                <c:pt idx="47">
                  <c:v>0.13342077649527806</c:v>
                </c:pt>
                <c:pt idx="48">
                  <c:v>0.13739433785052999</c:v>
                </c:pt>
                <c:pt idx="49">
                  <c:v>0.13845122360040227</c:v>
                </c:pt>
                <c:pt idx="50">
                  <c:v>0.14342776203966007</c:v>
                </c:pt>
                <c:pt idx="51">
                  <c:v>0.1328157493414667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752098307093265</c:v>
                </c:pt>
              </c:numCache>
            </c:numRef>
          </c:xVal>
          <c:yVal>
            <c:numRef>
              <c:f>Sheet1!$B$163:$B$164</c:f>
              <c:numCache>
                <c:formatCode>General</c:formatCode>
                <c:ptCount val="2"/>
                <c:pt idx="0">
                  <c:v>0.13802226820801478</c:v>
                </c:pt>
                <c:pt idx="1">
                  <c:v>0.1380222682080147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752098307093265</c:v>
                </c:pt>
                <c:pt idx="1">
                  <c:v>0.5752098307093265</c:v>
                </c:pt>
              </c:numCache>
            </c:numRef>
          </c:xVal>
          <c:yVal>
            <c:numRef>
              <c:f>Sheet1!$B$167:$B$168</c:f>
              <c:numCache>
                <c:formatCode>General</c:formatCode>
                <c:ptCount val="2"/>
                <c:pt idx="0">
                  <c:v>0.1380222682080147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752098307093265</c:v>
                </c:pt>
              </c:numCache>
            </c:numRef>
          </c:xVal>
          <c:yVal>
            <c:numRef>
              <c:f>Sheet1!$B$171:$B$172</c:f>
              <c:numCache>
                <c:formatCode>General</c:formatCode>
                <c:ptCount val="2"/>
                <c:pt idx="0">
                  <c:v>0.13802226820801478</c:v>
                </c:pt>
                <c:pt idx="1">
                  <c:v>0.1380222682080147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752098307093265</c:v>
                </c:pt>
                <c:pt idx="1">
                  <c:v>0.5752098307093265</c:v>
                </c:pt>
              </c:numCache>
            </c:numRef>
          </c:xVal>
          <c:yVal>
            <c:numRef>
              <c:f>Sheet1!$B$175:$B$176</c:f>
              <c:numCache>
                <c:formatCode>General</c:formatCode>
                <c:ptCount val="2"/>
                <c:pt idx="0">
                  <c:v>0.1380222682080147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9450432843160097</c:v>
                </c:pt>
              </c:numCache>
            </c:numRef>
          </c:xVal>
          <c:yVal>
            <c:numRef>
              <c:f>Sheet1!$B$179:$B$180</c:f>
              <c:numCache>
                <c:formatCode>General</c:formatCode>
                <c:ptCount val="2"/>
                <c:pt idx="0">
                  <c:v>0.12165316452437688</c:v>
                </c:pt>
                <c:pt idx="1">
                  <c:v>0.1216531645243768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9450432843160097</c:v>
                </c:pt>
                <c:pt idx="1">
                  <c:v>0.49450432843160097</c:v>
                </c:pt>
              </c:numCache>
            </c:numRef>
          </c:xVal>
          <c:yVal>
            <c:numRef>
              <c:f>Sheet1!$B$183:$B$184</c:f>
              <c:numCache>
                <c:formatCode>General</c:formatCode>
                <c:ptCount val="2"/>
                <c:pt idx="0">
                  <c:v>0.121653164524376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350951613515339</c:v>
                </c:pt>
                <c:pt idx="1">
                  <c:v>0.44266585582405027</c:v>
                </c:pt>
                <c:pt idx="2">
                  <c:v>0.45347197691515706</c:v>
                </c:pt>
                <c:pt idx="3">
                  <c:v>0.4063499567229982</c:v>
                </c:pt>
                <c:pt idx="4">
                  <c:v>0.40413067531685504</c:v>
                </c:pt>
                <c:pt idx="5">
                  <c:v>0.43989477890296425</c:v>
                </c:pt>
                <c:pt idx="6">
                  <c:v>0.4667731231311119</c:v>
                </c:pt>
                <c:pt idx="7">
                  <c:v>0.4419230867225019</c:v>
                </c:pt>
                <c:pt idx="8">
                  <c:v>0.44070639516290794</c:v>
                </c:pt>
                <c:pt idx="9">
                  <c:v>0.4368962332457913</c:v>
                </c:pt>
                <c:pt idx="10">
                  <c:v>0.43222250102881205</c:v>
                </c:pt>
                <c:pt idx="11">
                  <c:v>0.4487403107606726</c:v>
                </c:pt>
                <c:pt idx="12">
                  <c:v>0.4542194687053671</c:v>
                </c:pt>
                <c:pt idx="13">
                  <c:v>0.422970570468654</c:v>
                </c:pt>
                <c:pt idx="14">
                  <c:v>0.4288833177663229</c:v>
                </c:pt>
                <c:pt idx="15">
                  <c:v>0.42241017074279</c:v>
                </c:pt>
                <c:pt idx="16">
                  <c:v>0.4244712357945745</c:v>
                </c:pt>
                <c:pt idx="17">
                  <c:v>0.3894844253075707</c:v>
                </c:pt>
                <c:pt idx="18">
                  <c:v>0.4184953382390834</c:v>
                </c:pt>
                <c:pt idx="19">
                  <c:v>0.43799818406785407</c:v>
                </c:pt>
                <c:pt idx="20">
                  <c:v>0.4293302286364044</c:v>
                </c:pt>
                <c:pt idx="21">
                  <c:v>0.4157644569452336</c:v>
                </c:pt>
                <c:pt idx="22">
                  <c:v>0.4037548434826867</c:v>
                </c:pt>
                <c:pt idx="23">
                  <c:v>0.4184593555039532</c:v>
                </c:pt>
                <c:pt idx="24">
                  <c:v>0.422722429419006</c:v>
                </c:pt>
                <c:pt idx="25">
                  <c:v>0.4378447885791071</c:v>
                </c:pt>
                <c:pt idx="26">
                  <c:v>0.4160809658750023</c:v>
                </c:pt>
                <c:pt idx="27">
                  <c:v>0.41584889629628513</c:v>
                </c:pt>
                <c:pt idx="28">
                  <c:v>0.44022163384601426</c:v>
                </c:pt>
                <c:pt idx="29">
                  <c:v>0.4064365260930122</c:v>
                </c:pt>
                <c:pt idx="30">
                  <c:v>0.4085747027905254</c:v>
                </c:pt>
                <c:pt idx="31">
                  <c:v>0.43248917416680166</c:v>
                </c:pt>
                <c:pt idx="32">
                  <c:v>0.425722303826286</c:v>
                </c:pt>
                <c:pt idx="33">
                  <c:v>0.44303852436450397</c:v>
                </c:pt>
                <c:pt idx="34">
                  <c:v>0.4569248563666144</c:v>
                </c:pt>
                <c:pt idx="35">
                  <c:v>0.4542107991391667</c:v>
                </c:pt>
                <c:pt idx="36">
                  <c:v>0.40985532686900406</c:v>
                </c:pt>
                <c:pt idx="37">
                  <c:v>0.43324347431392535</c:v>
                </c:pt>
                <c:pt idx="38">
                  <c:v>0.4021460902441676</c:v>
                </c:pt>
                <c:pt idx="39">
                  <c:v>0.4339034817255243</c:v>
                </c:pt>
                <c:pt idx="40">
                  <c:v>0.41498011689212044</c:v>
                </c:pt>
                <c:pt idx="41">
                  <c:v>0.42779982235428543</c:v>
                </c:pt>
                <c:pt idx="42">
                  <c:v>0.41075058432650585</c:v>
                </c:pt>
                <c:pt idx="43">
                  <c:v>0.47508085883978785</c:v>
                </c:pt>
                <c:pt idx="44">
                  <c:v>0.5199120350572354</c:v>
                </c:pt>
                <c:pt idx="45">
                  <c:v>0.545346947144046</c:v>
                </c:pt>
                <c:pt idx="46">
                  <c:v>0.5106891762271439</c:v>
                </c:pt>
                <c:pt idx="47">
                  <c:v>0.5027661544836332</c:v>
                </c:pt>
                <c:pt idx="48">
                  <c:v>0.5495485147288318</c:v>
                </c:pt>
                <c:pt idx="49">
                  <c:v>0.5596102061223199</c:v>
                </c:pt>
                <c:pt idx="50">
                  <c:v>0.5776115756445158</c:v>
                </c:pt>
                <c:pt idx="51">
                  <c:v>0.5370363746441943</c:v>
                </c:pt>
                <c:pt idx="52">
                  <c:v>0.5752098307093265</c:v>
                </c:pt>
                <c:pt idx="53">
                  <c:v>0.5752098307093265</c:v>
                </c:pt>
                <c:pt idx="54">
                  <c:v>0.49450432843160097</c:v>
                </c:pt>
              </c:numCache>
            </c:numRef>
          </c:xVal>
          <c:yVal>
            <c:numRef>
              <c:f>Sheet1!$B$187:$B$241</c:f>
              <c:numCache>
                <c:formatCode>General</c:formatCode>
                <c:ptCount val="55"/>
                <c:pt idx="0">
                  <c:v>0.10960349271457039</c:v>
                </c:pt>
                <c:pt idx="1">
                  <c:v>0.11113901977629796</c:v>
                </c:pt>
                <c:pt idx="2">
                  <c:v>0.11333077265021686</c:v>
                </c:pt>
                <c:pt idx="3">
                  <c:v>0.10377324295845487</c:v>
                </c:pt>
                <c:pt idx="4">
                  <c:v>0.10332311692720467</c:v>
                </c:pt>
                <c:pt idx="5">
                  <c:v>0.11057697575009887</c:v>
                </c:pt>
                <c:pt idx="6">
                  <c:v>0.11602857930992815</c:v>
                </c:pt>
                <c:pt idx="7">
                  <c:v>0.11098836753954702</c:v>
                </c:pt>
                <c:pt idx="8">
                  <c:v>0.1107415919204391</c:v>
                </c:pt>
                <c:pt idx="9">
                  <c:v>0.10996879534879886</c:v>
                </c:pt>
                <c:pt idx="10">
                  <c:v>0.10902084502211577</c:v>
                </c:pt>
                <c:pt idx="11">
                  <c:v>0.11237107186534866</c:v>
                </c:pt>
                <c:pt idx="12">
                  <c:v>0.11348238276689156</c:v>
                </c:pt>
                <c:pt idx="13">
                  <c:v>0.10714432103875852</c:v>
                </c:pt>
                <c:pt idx="14">
                  <c:v>0.10834357475553273</c:v>
                </c:pt>
                <c:pt idx="15">
                  <c:v>0.1070306578936438</c:v>
                </c:pt>
                <c:pt idx="16">
                  <c:v>0.10744869367285602</c:v>
                </c:pt>
                <c:pt idx="17">
                  <c:v>0.10035248942087382</c:v>
                </c:pt>
                <c:pt idx="18">
                  <c:v>0.10623663149707015</c:v>
                </c:pt>
                <c:pt idx="19">
                  <c:v>0.11019229866333796</c:v>
                </c:pt>
                <c:pt idx="20">
                  <c:v>0.10843421950915232</c:v>
                </c:pt>
                <c:pt idx="21">
                  <c:v>0.10568274015403749</c:v>
                </c:pt>
                <c:pt idx="22">
                  <c:v>0.10324688878801358</c:v>
                </c:pt>
                <c:pt idx="23">
                  <c:v>0.10622933329427672</c:v>
                </c:pt>
                <c:pt idx="24">
                  <c:v>0.10709399179905096</c:v>
                </c:pt>
                <c:pt idx="25">
                  <c:v>0.11016118620397601</c:v>
                </c:pt>
                <c:pt idx="26">
                  <c:v>0.10574693611765781</c:v>
                </c:pt>
                <c:pt idx="27">
                  <c:v>0.10569986657606985</c:v>
                </c:pt>
                <c:pt idx="28">
                  <c:v>0.11064327014516853</c:v>
                </c:pt>
                <c:pt idx="29">
                  <c:v>0.10379080140185207</c:v>
                </c:pt>
                <c:pt idx="30">
                  <c:v>0.10422447736033988</c:v>
                </c:pt>
                <c:pt idx="31">
                  <c:v>0.10907493303497977</c:v>
                </c:pt>
                <c:pt idx="32">
                  <c:v>0.1077024417042591</c:v>
                </c:pt>
                <c:pt idx="33">
                  <c:v>0.11121460632004221</c:v>
                </c:pt>
                <c:pt idx="34">
                  <c:v>0.1140311033606746</c:v>
                </c:pt>
                <c:pt idx="35">
                  <c:v>0.11348062436103296</c:v>
                </c:pt>
                <c:pt idx="36">
                  <c:v>0.10448422010065817</c:v>
                </c:pt>
                <c:pt idx="37">
                  <c:v>0.10922792405750462</c:v>
                </c:pt>
                <c:pt idx="38">
                  <c:v>0.10292059320940375</c:v>
                </c:pt>
                <c:pt idx="39">
                  <c:v>0.10936179014404794</c:v>
                </c:pt>
                <c:pt idx="40">
                  <c:v>0.10552365628378961</c:v>
                </c:pt>
                <c:pt idx="41">
                  <c:v>0.10812381466186087</c:v>
                </c:pt>
                <c:pt idx="42">
                  <c:v>0.10466580080744774</c:v>
                </c:pt>
                <c:pt idx="43">
                  <c:v>0.1177135968533864</c:v>
                </c:pt>
                <c:pt idx="44">
                  <c:v>0.1268064858268979</c:v>
                </c:pt>
                <c:pt idx="45">
                  <c:v>0.13196532508051503</c:v>
                </c:pt>
                <c:pt idx="46">
                  <c:v>0.12493585832085997</c:v>
                </c:pt>
                <c:pt idx="47">
                  <c:v>0.12332887043593307</c:v>
                </c:pt>
                <c:pt idx="48">
                  <c:v>0.13281750855609145</c:v>
                </c:pt>
                <c:pt idx="49">
                  <c:v>0.13485827238265188</c:v>
                </c:pt>
                <c:pt idx="50">
                  <c:v>0.13850940242756868</c:v>
                </c:pt>
                <c:pt idx="51">
                  <c:v>0.1302797321645286</c:v>
                </c:pt>
                <c:pt idx="52">
                  <c:v>0.13802226820801478</c:v>
                </c:pt>
                <c:pt idx="53">
                  <c:v>0.13802226820801478</c:v>
                </c:pt>
                <c:pt idx="54">
                  <c:v>0.1216531645243768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73479715241445"/>
          <c:min val="0.0474067630749157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1.3397</c:v>
                </c:pt>
                <c:pt idx="1">
                  <c:v>863.5551</c:v>
                </c:pt>
                <c:pt idx="2">
                  <c:v>897.2039</c:v>
                </c:pt>
                <c:pt idx="3">
                  <c:v>910.8735</c:v>
                </c:pt>
                <c:pt idx="4">
                  <c:v>896.5</c:v>
                </c:pt>
                <c:pt idx="5">
                  <c:v>877.2215</c:v>
                </c:pt>
                <c:pt idx="6">
                  <c:v>836.5002</c:v>
                </c:pt>
                <c:pt idx="7">
                  <c:v>843.6463</c:v>
                </c:pt>
                <c:pt idx="8">
                  <c:v>837.9156</c:v>
                </c:pt>
                <c:pt idx="9">
                  <c:v>826.8154</c:v>
                </c:pt>
                <c:pt idx="10">
                  <c:v>797.3752</c:v>
                </c:pt>
                <c:pt idx="11">
                  <c:v>808.9015</c:v>
                </c:pt>
                <c:pt idx="12">
                  <c:v>829.2133</c:v>
                </c:pt>
                <c:pt idx="13">
                  <c:v>817.4029</c:v>
                </c:pt>
                <c:pt idx="14">
                  <c:v>898.7521</c:v>
                </c:pt>
                <c:pt idx="15">
                  <c:v>914.6836</c:v>
                </c:pt>
                <c:pt idx="16">
                  <c:v>934.9446</c:v>
                </c:pt>
                <c:pt idx="17">
                  <c:v>937.9417</c:v>
                </c:pt>
                <c:pt idx="18">
                  <c:v>958.5275</c:v>
                </c:pt>
                <c:pt idx="19">
                  <c:v>954.5364</c:v>
                </c:pt>
                <c:pt idx="20">
                  <c:v>987.4225</c:v>
                </c:pt>
                <c:pt idx="21">
                  <c:v>998.0716</c:v>
                </c:pt>
                <c:pt idx="22">
                  <c:v>985.6992</c:v>
                </c:pt>
                <c:pt idx="23">
                  <c:v>991.1369</c:v>
                </c:pt>
                <c:pt idx="24">
                  <c:v>1009.8729</c:v>
                </c:pt>
                <c:pt idx="25">
                  <c:v>993.0767</c:v>
                </c:pt>
                <c:pt idx="26">
                  <c:v>960.4832</c:v>
                </c:pt>
                <c:pt idx="27">
                  <c:v>1000.5846</c:v>
                </c:pt>
                <c:pt idx="28">
                  <c:v>989.9655</c:v>
                </c:pt>
                <c:pt idx="29">
                  <c:v>973.2576</c:v>
                </c:pt>
                <c:pt idx="30">
                  <c:v>974.8567</c:v>
                </c:pt>
                <c:pt idx="31">
                  <c:v>986.3516</c:v>
                </c:pt>
                <c:pt idx="32">
                  <c:v>971.248</c:v>
                </c:pt>
                <c:pt idx="33">
                  <c:v>957.7856</c:v>
                </c:pt>
                <c:pt idx="34">
                  <c:v>949.0969</c:v>
                </c:pt>
                <c:pt idx="35">
                  <c:v>1004.7813</c:v>
                </c:pt>
                <c:pt idx="36">
                  <c:v>1055.2298</c:v>
                </c:pt>
                <c:pt idx="37">
                  <c:v>1089.3078</c:v>
                </c:pt>
                <c:pt idx="38">
                  <c:v>1111.2466</c:v>
                </c:pt>
                <c:pt idx="39">
                  <c:v>1134.0258</c:v>
                </c:pt>
                <c:pt idx="40">
                  <c:v>1140.4443</c:v>
                </c:pt>
                <c:pt idx="41">
                  <c:v>1155.7303</c:v>
                </c:pt>
                <c:pt idx="42">
                  <c:v>1169.44</c:v>
                </c:pt>
                <c:pt idx="43">
                  <c:v>1178.0688</c:v>
                </c:pt>
                <c:pt idx="44">
                  <c:v>1116.1178</c:v>
                </c:pt>
                <c:pt idx="45">
                  <c:v>1086.926</c:v>
                </c:pt>
                <c:pt idx="46">
                  <c:v>1074.755</c:v>
                </c:pt>
                <c:pt idx="47">
                  <c:v>1051.1893</c:v>
                </c:pt>
                <c:pt idx="48">
                  <c:v>1052.1763</c:v>
                </c:pt>
                <c:pt idx="49">
                  <c:v>1009.8998</c:v>
                </c:pt>
                <c:pt idx="50">
                  <c:v>1002.5409</c:v>
                </c:pt>
                <c:pt idx="51">
                  <c:v>1017.967</c:v>
                </c:pt>
                <c:pt idx="52">
                  <c:v>1021.1546</c:v>
                </c:pt>
                <c:pt idx="53">
                  <c:v>1122.0665</c:v>
                </c:pt>
                <c:pt idx="54">
                  <c:v>1103.7158</c:v>
                </c:pt>
                <c:pt idx="55">
                  <c:v>1103.6662</c:v>
                </c:pt>
                <c:pt idx="56">
                  <c:v>1101.5908</c:v>
                </c:pt>
                <c:pt idx="57">
                  <c:v>1109.2263</c:v>
                </c:pt>
                <c:pt idx="58">
                  <c:v>1057.6481</c:v>
                </c:pt>
                <c:pt idx="59">
                  <c:v>1055.7681</c:v>
                </c:pt>
                <c:pt idx="60">
                  <c:v>1066.3343</c:v>
                </c:pt>
                <c:pt idx="61">
                  <c:v>1077.5211</c:v>
                </c:pt>
                <c:pt idx="62">
                  <c:v>1001.9805</c:v>
                </c:pt>
                <c:pt idx="63">
                  <c:v>1033.3618</c:v>
                </c:pt>
                <c:pt idx="64">
                  <c:v>1043.8633</c:v>
                </c:pt>
                <c:pt idx="65">
                  <c:v>1026.9815</c:v>
                </c:pt>
                <c:pt idx="66">
                  <c:v>1046.4189</c:v>
                </c:pt>
                <c:pt idx="67">
                  <c:v>1075.454</c:v>
                </c:pt>
                <c:pt idx="68">
                  <c:v>1077.4605</c:v>
                </c:pt>
                <c:pt idx="69">
                  <c:v>1113.6184</c:v>
                </c:pt>
                <c:pt idx="70">
                  <c:v>1100.3544</c:v>
                </c:pt>
                <c:pt idx="71">
                  <c:v>1153.9607</c:v>
                </c:pt>
                <c:pt idx="72">
                  <c:v>1225.0484</c:v>
                </c:pt>
                <c:pt idx="73">
                  <c:v>1200.9912</c:v>
                </c:pt>
                <c:pt idx="74">
                  <c:v>1191.3868</c:v>
                </c:pt>
                <c:pt idx="75">
                  <c:v>1175.8962</c:v>
                </c:pt>
                <c:pt idx="76">
                  <c:v>1128.835</c:v>
                </c:pt>
                <c:pt idx="77">
                  <c:v>1125.8557</c:v>
                </c:pt>
                <c:pt idx="78">
                  <c:v>1147.0185</c:v>
                </c:pt>
                <c:pt idx="79">
                  <c:v>1224.0851</c:v>
                </c:pt>
                <c:pt idx="80">
                  <c:v>1158.5661</c:v>
                </c:pt>
                <c:pt idx="81">
                  <c:v>1183.4849</c:v>
                </c:pt>
                <c:pt idx="82">
                  <c:v>1240.7552</c:v>
                </c:pt>
                <c:pt idx="83">
                  <c:v>1143.3894</c:v>
                </c:pt>
                <c:pt idx="84">
                  <c:v>1164.6585</c:v>
                </c:pt>
                <c:pt idx="85">
                  <c:v>1142.2892</c:v>
                </c:pt>
                <c:pt idx="86">
                  <c:v>1119.9909</c:v>
                </c:pt>
                <c:pt idx="87">
                  <c:v>1182.1672</c:v>
                </c:pt>
                <c:pt idx="88">
                  <c:v>1177.4449</c:v>
                </c:pt>
                <c:pt idx="89">
                  <c:v>1168.5673</c:v>
                </c:pt>
                <c:pt idx="90">
                  <c:v>1246.0075</c:v>
                </c:pt>
                <c:pt idx="91">
                  <c:v>1248.3656</c:v>
                </c:pt>
                <c:pt idx="92">
                  <c:v>1193.6811</c:v>
                </c:pt>
                <c:pt idx="93">
                  <c:v>1235.198</c:v>
                </c:pt>
                <c:pt idx="94">
                  <c:v>1233.5536</c:v>
                </c:pt>
                <c:pt idx="95">
                  <c:v>1204.5472</c:v>
                </c:pt>
                <c:pt idx="96">
                  <c:v>1133.5252</c:v>
                </c:pt>
                <c:pt idx="97">
                  <c:v>1129.9705</c:v>
                </c:pt>
                <c:pt idx="98">
                  <c:v>1120.4359</c:v>
                </c:pt>
                <c:pt idx="99">
                  <c:v>1082.4246</c:v>
                </c:pt>
                <c:pt idx="100">
                  <c:v>1090.316</c:v>
                </c:pt>
                <c:pt idx="101">
                  <c:v>1128.0414</c:v>
                </c:pt>
                <c:pt idx="102">
                  <c:v>1128.7789</c:v>
                </c:pt>
                <c:pt idx="103">
                  <c:v>1099.8359</c:v>
                </c:pt>
                <c:pt idx="104">
                  <c:v>1115.7104</c:v>
                </c:pt>
              </c:numCache>
            </c:numRef>
          </c:xVal>
          <c:yVal>
            <c:numRef>
              <c:f>Sheet1!$B$2:$B$106</c:f>
              <c:numCache>
                <c:formatCode>General</c:formatCode>
                <c:ptCount val="105"/>
                <c:pt idx="0">
                  <c:v>0.11161192179841117</c:v>
                </c:pt>
                <c:pt idx="1">
                  <c:v>0.0923679060665362</c:v>
                </c:pt>
                <c:pt idx="2">
                  <c:v>0.09798698970445116</c:v>
                </c:pt>
                <c:pt idx="3">
                  <c:v>0.09666721035176426</c:v>
                </c:pt>
                <c:pt idx="4">
                  <c:v>0.10624081250835227</c:v>
                </c:pt>
                <c:pt idx="5">
                  <c:v>0.12701315141711794</c:v>
                </c:pt>
                <c:pt idx="6">
                  <c:v>0.1488462089723377</c:v>
                </c:pt>
                <c:pt idx="7">
                  <c:v>0.15231515749650465</c:v>
                </c:pt>
                <c:pt idx="8">
                  <c:v>0.1564456642936787</c:v>
                </c:pt>
                <c:pt idx="9">
                  <c:v>0.14047985029740026</c:v>
                </c:pt>
                <c:pt idx="10">
                  <c:v>0.1478868763902129</c:v>
                </c:pt>
                <c:pt idx="11">
                  <c:v>0.14233369132604712</c:v>
                </c:pt>
                <c:pt idx="12">
                  <c:v>0.12890878040162534</c:v>
                </c:pt>
                <c:pt idx="13">
                  <c:v>0.12000726216412491</c:v>
                </c:pt>
                <c:pt idx="14">
                  <c:v>0.09403877514042398</c:v>
                </c:pt>
                <c:pt idx="15">
                  <c:v>0.08468428455104005</c:v>
                </c:pt>
                <c:pt idx="16">
                  <c:v>0.08020449212202481</c:v>
                </c:pt>
                <c:pt idx="17">
                  <c:v>0.06952767007402186</c:v>
                </c:pt>
                <c:pt idx="18">
                  <c:v>0.06445125454893698</c:v>
                </c:pt>
                <c:pt idx="19">
                  <c:v>0.06243614485185606</c:v>
                </c:pt>
                <c:pt idx="20">
                  <c:v>0.060835798816568046</c:v>
                </c:pt>
                <c:pt idx="21">
                  <c:v>0.059258453843644664</c:v>
                </c:pt>
                <c:pt idx="22">
                  <c:v>0.06481679880008571</c:v>
                </c:pt>
                <c:pt idx="23">
                  <c:v>0.07247992863514718</c:v>
                </c:pt>
                <c:pt idx="24">
                  <c:v>0.07399577167019028</c:v>
                </c:pt>
                <c:pt idx="25">
                  <c:v>0.0766247502644259</c:v>
                </c:pt>
                <c:pt idx="26">
                  <c:v>0.09095027749462001</c:v>
                </c:pt>
                <c:pt idx="27">
                  <c:v>0.09469613259668508</c:v>
                </c:pt>
                <c:pt idx="28">
                  <c:v>0.11374045801526718</c:v>
                </c:pt>
                <c:pt idx="29">
                  <c:v>0.11356224822558987</c:v>
                </c:pt>
                <c:pt idx="30">
                  <c:v>0.11730021327311504</c:v>
                </c:pt>
                <c:pt idx="31">
                  <c:v>0.11637881071055987</c:v>
                </c:pt>
                <c:pt idx="32">
                  <c:v>0.12771493212669682</c:v>
                </c:pt>
                <c:pt idx="33">
                  <c:v>0.11790195901417351</c:v>
                </c:pt>
                <c:pt idx="34">
                  <c:v>0.11959134615384616</c:v>
                </c:pt>
                <c:pt idx="35">
                  <c:v>0.13572263342423063</c:v>
                </c:pt>
                <c:pt idx="36">
                  <c:v>0.10583807600514045</c:v>
                </c:pt>
                <c:pt idx="37">
                  <c:v>0.10197571516772999</c:v>
                </c:pt>
                <c:pt idx="38">
                  <c:v>0.09675486769845232</c:v>
                </c:pt>
                <c:pt idx="39">
                  <c:v>0.0886299802350983</c:v>
                </c:pt>
                <c:pt idx="40">
                  <c:v>0.09395673162882175</c:v>
                </c:pt>
                <c:pt idx="41">
                  <c:v>0.09259434408398752</c:v>
                </c:pt>
                <c:pt idx="42">
                  <c:v>0.09036870431359949</c:v>
                </c:pt>
                <c:pt idx="43">
                  <c:v>0.087968092178152</c:v>
                </c:pt>
                <c:pt idx="44">
                  <c:v>0.09342703596527491</c:v>
                </c:pt>
                <c:pt idx="45">
                  <c:v>0.1081802015411974</c:v>
                </c:pt>
                <c:pt idx="46">
                  <c:v>0.11185143181173803</c:v>
                </c:pt>
                <c:pt idx="47">
                  <c:v>0.10358032665866937</c:v>
                </c:pt>
                <c:pt idx="48">
                  <c:v>0.10720056199508254</c:v>
                </c:pt>
                <c:pt idx="49">
                  <c:v>0.10757608774605942</c:v>
                </c:pt>
                <c:pt idx="50">
                  <c:v>0.10438673370542921</c:v>
                </c:pt>
                <c:pt idx="51">
                  <c:v>0.09654148100997241</c:v>
                </c:pt>
                <c:pt idx="52">
                  <c:v>0.09940467949605428</c:v>
                </c:pt>
                <c:pt idx="53">
                  <c:v>0.08989323449687447</c:v>
                </c:pt>
                <c:pt idx="54">
                  <c:v>0.09183551847437425</c:v>
                </c:pt>
                <c:pt idx="55">
                  <c:v>0.08999877134783144</c:v>
                </c:pt>
                <c:pt idx="56">
                  <c:v>0.09457872287816035</c:v>
                </c:pt>
                <c:pt idx="57">
                  <c:v>0.0905018399018719</c:v>
                </c:pt>
                <c:pt idx="58">
                  <c:v>0.10347506344191827</c:v>
                </c:pt>
                <c:pt idx="59">
                  <c:v>0.09794723476297969</c:v>
                </c:pt>
                <c:pt idx="60">
                  <c:v>0.09967678863572882</c:v>
                </c:pt>
                <c:pt idx="61">
                  <c:v>0.10098018095648427</c:v>
                </c:pt>
                <c:pt idx="62">
                  <c:v>0.11095868727905872</c:v>
                </c:pt>
                <c:pt idx="63">
                  <c:v>0.11437699680511182</c:v>
                </c:pt>
                <c:pt idx="64">
                  <c:v>0.10774878460164698</c:v>
                </c:pt>
                <c:pt idx="65">
                  <c:v>0.10945485519591142</c:v>
                </c:pt>
                <c:pt idx="66">
                  <c:v>0.10667888523529728</c:v>
                </c:pt>
                <c:pt idx="67">
                  <c:v>0.09876887081499638</c:v>
                </c:pt>
                <c:pt idx="68">
                  <c:v>0.09202414173534947</c:v>
                </c:pt>
                <c:pt idx="69">
                  <c:v>0.08543128353281057</c:v>
                </c:pt>
                <c:pt idx="70">
                  <c:v>0.08832403077387238</c:v>
                </c:pt>
                <c:pt idx="71">
                  <c:v>0.08039169233199084</c:v>
                </c:pt>
                <c:pt idx="72">
                  <c:v>0.08137111093955068</c:v>
                </c:pt>
                <c:pt idx="73">
                  <c:v>0.0812126047068209</c:v>
                </c:pt>
                <c:pt idx="74">
                  <c:v>0.07855051244509517</c:v>
                </c:pt>
                <c:pt idx="75">
                  <c:v>0.0859437751004016</c:v>
                </c:pt>
                <c:pt idx="76">
                  <c:v>0.09480330257406508</c:v>
                </c:pt>
                <c:pt idx="77">
                  <c:v>0.08502406341417382</c:v>
                </c:pt>
                <c:pt idx="78">
                  <c:v>0.096081307627829</c:v>
                </c:pt>
                <c:pt idx="79">
                  <c:v>0.10028795551583755</c:v>
                </c:pt>
                <c:pt idx="80">
                  <c:v>0.08607843137254902</c:v>
                </c:pt>
                <c:pt idx="81">
                  <c:v>0.0840855106888361</c:v>
                </c:pt>
                <c:pt idx="82">
                  <c:v>0.093727394853777</c:v>
                </c:pt>
                <c:pt idx="83">
                  <c:v>0.08385202583675866</c:v>
                </c:pt>
                <c:pt idx="84">
                  <c:v>0.08458807687599461</c:v>
                </c:pt>
                <c:pt idx="85">
                  <c:v>0.08871402393014984</c:v>
                </c:pt>
                <c:pt idx="86">
                  <c:v>0.09915316944832689</c:v>
                </c:pt>
                <c:pt idx="87">
                  <c:v>0.11427596793450452</c:v>
                </c:pt>
                <c:pt idx="88">
                  <c:v>0.09438112377524495</c:v>
                </c:pt>
                <c:pt idx="89">
                  <c:v>0.10145993067955046</c:v>
                </c:pt>
                <c:pt idx="90">
                  <c:v>0.08703643637149962</c:v>
                </c:pt>
                <c:pt idx="91">
                  <c:v>0.08679871409312455</c:v>
                </c:pt>
                <c:pt idx="92">
                  <c:v>0.09280900793312293</c:v>
                </c:pt>
                <c:pt idx="93">
                  <c:v>0.09282981201131259</c:v>
                </c:pt>
                <c:pt idx="94">
                  <c:v>0.09474506739597578</c:v>
                </c:pt>
                <c:pt idx="95">
                  <c:v>0.09582700513488103</c:v>
                </c:pt>
                <c:pt idx="96">
                  <c:v>0.09726858877086494</c:v>
                </c:pt>
                <c:pt idx="97">
                  <c:v>0.10004616805170821</c:v>
                </c:pt>
                <c:pt idx="98">
                  <c:v>0.1054962018117561</c:v>
                </c:pt>
                <c:pt idx="99">
                  <c:v>0.10254591872916814</c:v>
                </c:pt>
                <c:pt idx="100">
                  <c:v>0.1075742948835025</c:v>
                </c:pt>
                <c:pt idx="101">
                  <c:v>0.09748155475866617</c:v>
                </c:pt>
                <c:pt idx="102">
                  <c:v>0.09748443849992283</c:v>
                </c:pt>
                <c:pt idx="103">
                  <c:v>0.09680249561317995</c:v>
                </c:pt>
                <c:pt idx="104">
                  <c:v>0.0937220732797140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20.0958</c:v>
                </c:pt>
                <c:pt idx="1">
                  <c:v>1174.9937</c:v>
                </c:pt>
                <c:pt idx="2">
                  <c:v>1170.388</c:v>
                </c:pt>
                <c:pt idx="3">
                  <c:v>1091.4839</c:v>
                </c:pt>
                <c:pt idx="4">
                  <c:v>1110.4615</c:v>
                </c:pt>
                <c:pt idx="5">
                  <c:v>1145.7045</c:v>
                </c:pt>
                <c:pt idx="6">
                  <c:v>1098.3812</c:v>
                </c:pt>
                <c:pt idx="7">
                  <c:v>1089.2621</c:v>
                </c:pt>
                <c:pt idx="8">
                  <c:v>1144.4919</c:v>
                </c:pt>
                <c:pt idx="9">
                  <c:v>1098.7364</c:v>
                </c:pt>
                <c:pt idx="10">
                  <c:v>1103.4401</c:v>
                </c:pt>
                <c:pt idx="11">
                  <c:v>1037.4924</c:v>
                </c:pt>
                <c:pt idx="12">
                  <c:v>1075.303</c:v>
                </c:pt>
                <c:pt idx="13">
                  <c:v>1083.7791</c:v>
                </c:pt>
                <c:pt idx="14">
                  <c:v>1097.4395</c:v>
                </c:pt>
                <c:pt idx="15">
                  <c:v>1111.6326</c:v>
                </c:pt>
                <c:pt idx="16">
                  <c:v>1147.6852</c:v>
                </c:pt>
                <c:pt idx="17">
                  <c:v>1058.0619</c:v>
                </c:pt>
                <c:pt idx="18">
                  <c:v>1151.8279</c:v>
                </c:pt>
                <c:pt idx="19">
                  <c:v>1239.7066</c:v>
                </c:pt>
                <c:pt idx="20">
                  <c:v>1255.5459</c:v>
                </c:pt>
                <c:pt idx="21">
                  <c:v>1221.7308</c:v>
                </c:pt>
                <c:pt idx="22">
                  <c:v>1211.2376</c:v>
                </c:pt>
                <c:pt idx="23">
                  <c:v>1211.7995</c:v>
                </c:pt>
                <c:pt idx="24">
                  <c:v>1193.8671</c:v>
                </c:pt>
                <c:pt idx="25">
                  <c:v>1198.6287</c:v>
                </c:pt>
                <c:pt idx="26">
                  <c:v>1177.2428</c:v>
                </c:pt>
                <c:pt idx="27">
                  <c:v>1158.4237</c:v>
                </c:pt>
                <c:pt idx="28">
                  <c:v>1224.7495</c:v>
                </c:pt>
                <c:pt idx="29">
                  <c:v>1211.2334</c:v>
                </c:pt>
                <c:pt idx="30">
                  <c:v>1225.7847</c:v>
                </c:pt>
                <c:pt idx="31">
                  <c:v>1223.98</c:v>
                </c:pt>
                <c:pt idx="32">
                  <c:v>1230.122</c:v>
                </c:pt>
                <c:pt idx="33">
                  <c:v>1206.9477</c:v>
                </c:pt>
                <c:pt idx="34">
                  <c:v>1216.6614</c:v>
                </c:pt>
                <c:pt idx="35">
                  <c:v>1254.16</c:v>
                </c:pt>
                <c:pt idx="36">
                  <c:v>1265.385</c:v>
                </c:pt>
                <c:pt idx="37">
                  <c:v>1278.3538</c:v>
                </c:pt>
                <c:pt idx="38">
                  <c:v>1282.6834</c:v>
                </c:pt>
                <c:pt idx="39">
                  <c:v>1243.2564</c:v>
                </c:pt>
                <c:pt idx="40">
                  <c:v>1258.6354</c:v>
                </c:pt>
                <c:pt idx="41">
                  <c:v>1286.8741</c:v>
                </c:pt>
                <c:pt idx="42">
                  <c:v>1284.3721</c:v>
                </c:pt>
                <c:pt idx="43">
                  <c:v>1286.2943</c:v>
                </c:pt>
                <c:pt idx="44">
                  <c:v>1211.5232</c:v>
                </c:pt>
                <c:pt idx="45">
                  <c:v>1180.9739</c:v>
                </c:pt>
                <c:pt idx="46">
                  <c:v>1166.9502</c:v>
                </c:pt>
                <c:pt idx="47">
                  <c:v>1148.0731</c:v>
                </c:pt>
                <c:pt idx="48">
                  <c:v>1133.8779</c:v>
                </c:pt>
                <c:pt idx="49">
                  <c:v>1141.1174</c:v>
                </c:pt>
                <c:pt idx="50">
                  <c:v>1112.3456</c:v>
                </c:pt>
                <c:pt idx="51">
                  <c:v>1096.0167</c:v>
                </c:pt>
              </c:numCache>
            </c:numRef>
          </c:xVal>
          <c:yVal>
            <c:numRef>
              <c:f>Sheet1!$B$109:$B$160</c:f>
              <c:numCache>
                <c:formatCode>General</c:formatCode>
                <c:ptCount val="52"/>
                <c:pt idx="0">
                  <c:v>0.10216208119039297</c:v>
                </c:pt>
                <c:pt idx="1">
                  <c:v>0.0928518400678757</c:v>
                </c:pt>
                <c:pt idx="2">
                  <c:v>0.11049535754217102</c:v>
                </c:pt>
                <c:pt idx="3">
                  <c:v>0.13015048800423099</c:v>
                </c:pt>
                <c:pt idx="4">
                  <c:v>0.11893110727307618</c:v>
                </c:pt>
                <c:pt idx="5">
                  <c:v>0.11790212678092092</c:v>
                </c:pt>
                <c:pt idx="6">
                  <c:v>0.12324230935355378</c:v>
                </c:pt>
                <c:pt idx="7">
                  <c:v>0.13000193936259616</c:v>
                </c:pt>
                <c:pt idx="8">
                  <c:v>0.11820781696854146</c:v>
                </c:pt>
                <c:pt idx="9">
                  <c:v>0.123335811313104</c:v>
                </c:pt>
                <c:pt idx="10">
                  <c:v>0.13297024442082891</c:v>
                </c:pt>
                <c:pt idx="11">
                  <c:v>0.1244347264324405</c:v>
                </c:pt>
                <c:pt idx="12">
                  <c:v>0.11905717726673166</c:v>
                </c:pt>
                <c:pt idx="13">
                  <c:v>0.11784395198522622</c:v>
                </c:pt>
                <c:pt idx="14">
                  <c:v>0.11651696606786427</c:v>
                </c:pt>
                <c:pt idx="15">
                  <c:v>0.11267136962598163</c:v>
                </c:pt>
                <c:pt idx="16">
                  <c:v>0.10218458692094215</c:v>
                </c:pt>
                <c:pt idx="17">
                  <c:v>0.1145166209210125</c:v>
                </c:pt>
                <c:pt idx="18">
                  <c:v>0.10506533023089315</c:v>
                </c:pt>
                <c:pt idx="19">
                  <c:v>0.10435355114805366</c:v>
                </c:pt>
                <c:pt idx="20">
                  <c:v>0.08961038961038961</c:v>
                </c:pt>
                <c:pt idx="21">
                  <c:v>0.09209832260787003</c:v>
                </c:pt>
                <c:pt idx="22">
                  <c:v>0.09597030752916225</c:v>
                </c:pt>
                <c:pt idx="23">
                  <c:v>0.09503119429590018</c:v>
                </c:pt>
                <c:pt idx="24">
                  <c:v>0.10725219043597593</c:v>
                </c:pt>
                <c:pt idx="25">
                  <c:v>0.10236398597443729</c:v>
                </c:pt>
                <c:pt idx="26">
                  <c:v>0.10047281323877069</c:v>
                </c:pt>
                <c:pt idx="27">
                  <c:v>0.10155963302752294</c:v>
                </c:pt>
                <c:pt idx="28">
                  <c:v>0.0937975325333784</c:v>
                </c:pt>
                <c:pt idx="29">
                  <c:v>0.09361157594251403</c:v>
                </c:pt>
                <c:pt idx="30">
                  <c:v>0.09845273420941077</c:v>
                </c:pt>
                <c:pt idx="31">
                  <c:v>0.09674482130662418</c:v>
                </c:pt>
                <c:pt idx="32">
                  <c:v>0.09459597507406273</c:v>
                </c:pt>
                <c:pt idx="33">
                  <c:v>0.11179961598882876</c:v>
                </c:pt>
                <c:pt idx="34">
                  <c:v>0.11988840760590265</c:v>
                </c:pt>
                <c:pt idx="35">
                  <c:v>0.11571295748457443</c:v>
                </c:pt>
                <c:pt idx="36">
                  <c:v>0.11209575325123719</c:v>
                </c:pt>
                <c:pt idx="37">
                  <c:v>0.09614187927815805</c:v>
                </c:pt>
                <c:pt idx="38">
                  <c:v>0.09749056184765711</c:v>
                </c:pt>
                <c:pt idx="39">
                  <c:v>0.10878923766816144</c:v>
                </c:pt>
                <c:pt idx="40">
                  <c:v>0.10347537548026546</c:v>
                </c:pt>
                <c:pt idx="41">
                  <c:v>0.11093247588424437</c:v>
                </c:pt>
                <c:pt idx="42">
                  <c:v>0.10399926110649303</c:v>
                </c:pt>
                <c:pt idx="43">
                  <c:v>0.10621634850709741</c:v>
                </c:pt>
                <c:pt idx="44">
                  <c:v>0.11007798440311937</c:v>
                </c:pt>
                <c:pt idx="45">
                  <c:v>0.11837413834086047</c:v>
                </c:pt>
                <c:pt idx="46">
                  <c:v>0.1341164680993208</c:v>
                </c:pt>
                <c:pt idx="47">
                  <c:v>0.13342077649527806</c:v>
                </c:pt>
                <c:pt idx="48">
                  <c:v>0.13739433785052999</c:v>
                </c:pt>
                <c:pt idx="49">
                  <c:v>0.13845122360040227</c:v>
                </c:pt>
                <c:pt idx="50">
                  <c:v>0.14342776203966007</c:v>
                </c:pt>
                <c:pt idx="51">
                  <c:v>0.1328157493414667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70.0429481793751</c:v>
                </c:pt>
              </c:numCache>
            </c:numRef>
          </c:xVal>
          <c:yVal>
            <c:numRef>
              <c:f>Sheet1!$B$163:$B$164</c:f>
              <c:numCache>
                <c:formatCode>General</c:formatCode>
                <c:ptCount val="2"/>
                <c:pt idx="0">
                  <c:v>0.13802226820801478</c:v>
                </c:pt>
                <c:pt idx="1">
                  <c:v>0.1380222682080147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70.0429481793751</c:v>
                </c:pt>
                <c:pt idx="1">
                  <c:v>970.0429481793751</c:v>
                </c:pt>
              </c:numCache>
            </c:numRef>
          </c:xVal>
          <c:yVal>
            <c:numRef>
              <c:f>Sheet1!$B$167:$B$168</c:f>
              <c:numCache>
                <c:formatCode>General</c:formatCode>
                <c:ptCount val="2"/>
                <c:pt idx="0">
                  <c:v>0.1380222682080147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70.0429481793751</c:v>
                </c:pt>
              </c:numCache>
            </c:numRef>
          </c:xVal>
          <c:yVal>
            <c:numRef>
              <c:f>Sheet1!$B$171:$B$172</c:f>
              <c:numCache>
                <c:formatCode>General</c:formatCode>
                <c:ptCount val="2"/>
                <c:pt idx="0">
                  <c:v>0.13802226820801478</c:v>
                </c:pt>
                <c:pt idx="1">
                  <c:v>0.1380222682080147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70.0429481793751</c:v>
                </c:pt>
                <c:pt idx="1">
                  <c:v>970.0429481793751</c:v>
                </c:pt>
              </c:numCache>
            </c:numRef>
          </c:xVal>
          <c:yVal>
            <c:numRef>
              <c:f>Sheet1!$B$175:$B$176</c:f>
              <c:numCache>
                <c:formatCode>General</c:formatCode>
                <c:ptCount val="2"/>
                <c:pt idx="0">
                  <c:v>0.1380222682080147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98.5277805125122</c:v>
                </c:pt>
              </c:numCache>
            </c:numRef>
          </c:xVal>
          <c:yVal>
            <c:numRef>
              <c:f>Sheet1!$B$179:$B$180</c:f>
              <c:numCache>
                <c:formatCode>General</c:formatCode>
                <c:ptCount val="2"/>
                <c:pt idx="0">
                  <c:v>0.12165316452437688</c:v>
                </c:pt>
                <c:pt idx="1">
                  <c:v>0.1216531645243768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98.5277805125122</c:v>
                </c:pt>
                <c:pt idx="1">
                  <c:v>1098.5277805125122</c:v>
                </c:pt>
              </c:numCache>
            </c:numRef>
          </c:xVal>
          <c:yVal>
            <c:numRef>
              <c:f>Sheet1!$B$183:$B$184</c:f>
              <c:numCache>
                <c:formatCode>General</c:formatCode>
                <c:ptCount val="2"/>
                <c:pt idx="0">
                  <c:v>0.121653164524376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20.0958</c:v>
                </c:pt>
                <c:pt idx="1">
                  <c:v>1174.9937</c:v>
                </c:pt>
                <c:pt idx="2">
                  <c:v>1170.388</c:v>
                </c:pt>
                <c:pt idx="3">
                  <c:v>1091.4839</c:v>
                </c:pt>
                <c:pt idx="4">
                  <c:v>1110.4615</c:v>
                </c:pt>
                <c:pt idx="5">
                  <c:v>1145.7045</c:v>
                </c:pt>
                <c:pt idx="6">
                  <c:v>1098.3812</c:v>
                </c:pt>
                <c:pt idx="7">
                  <c:v>1089.2621</c:v>
                </c:pt>
                <c:pt idx="8">
                  <c:v>1144.4919</c:v>
                </c:pt>
                <c:pt idx="9">
                  <c:v>1098.7364</c:v>
                </c:pt>
                <c:pt idx="10">
                  <c:v>1103.4401</c:v>
                </c:pt>
                <c:pt idx="11">
                  <c:v>1037.4924</c:v>
                </c:pt>
                <c:pt idx="12">
                  <c:v>1075.303</c:v>
                </c:pt>
                <c:pt idx="13">
                  <c:v>1083.7791</c:v>
                </c:pt>
                <c:pt idx="14">
                  <c:v>1097.4395</c:v>
                </c:pt>
                <c:pt idx="15">
                  <c:v>1111.6326</c:v>
                </c:pt>
                <c:pt idx="16">
                  <c:v>1147.6852</c:v>
                </c:pt>
                <c:pt idx="17">
                  <c:v>1058.0619</c:v>
                </c:pt>
                <c:pt idx="18">
                  <c:v>1151.8279</c:v>
                </c:pt>
                <c:pt idx="19">
                  <c:v>1239.7066</c:v>
                </c:pt>
                <c:pt idx="20">
                  <c:v>1255.5459</c:v>
                </c:pt>
                <c:pt idx="21">
                  <c:v>1221.7308</c:v>
                </c:pt>
                <c:pt idx="22">
                  <c:v>1211.2376</c:v>
                </c:pt>
                <c:pt idx="23">
                  <c:v>1211.7995</c:v>
                </c:pt>
                <c:pt idx="24">
                  <c:v>1193.8671</c:v>
                </c:pt>
                <c:pt idx="25">
                  <c:v>1198.6287</c:v>
                </c:pt>
                <c:pt idx="26">
                  <c:v>1177.2428</c:v>
                </c:pt>
                <c:pt idx="27">
                  <c:v>1158.4237</c:v>
                </c:pt>
                <c:pt idx="28">
                  <c:v>1224.7495</c:v>
                </c:pt>
                <c:pt idx="29">
                  <c:v>1211.2334</c:v>
                </c:pt>
                <c:pt idx="30">
                  <c:v>1225.7847</c:v>
                </c:pt>
                <c:pt idx="31">
                  <c:v>1223.98</c:v>
                </c:pt>
                <c:pt idx="32">
                  <c:v>1230.122</c:v>
                </c:pt>
                <c:pt idx="33">
                  <c:v>1206.9477</c:v>
                </c:pt>
                <c:pt idx="34">
                  <c:v>1216.6614</c:v>
                </c:pt>
                <c:pt idx="35">
                  <c:v>1254.16</c:v>
                </c:pt>
                <c:pt idx="36">
                  <c:v>1265.385</c:v>
                </c:pt>
                <c:pt idx="37">
                  <c:v>1278.3538</c:v>
                </c:pt>
                <c:pt idx="38">
                  <c:v>1282.6834</c:v>
                </c:pt>
                <c:pt idx="39">
                  <c:v>1243.2564</c:v>
                </c:pt>
                <c:pt idx="40">
                  <c:v>1258.6354</c:v>
                </c:pt>
                <c:pt idx="41">
                  <c:v>1286.8741</c:v>
                </c:pt>
                <c:pt idx="42">
                  <c:v>1284.3721</c:v>
                </c:pt>
                <c:pt idx="43">
                  <c:v>1286.2943</c:v>
                </c:pt>
                <c:pt idx="44">
                  <c:v>1211.5232</c:v>
                </c:pt>
                <c:pt idx="45">
                  <c:v>1180.9739</c:v>
                </c:pt>
                <c:pt idx="46">
                  <c:v>1166.9502</c:v>
                </c:pt>
                <c:pt idx="47">
                  <c:v>1148.0731</c:v>
                </c:pt>
                <c:pt idx="48">
                  <c:v>1133.8779</c:v>
                </c:pt>
                <c:pt idx="49">
                  <c:v>1141.1174</c:v>
                </c:pt>
                <c:pt idx="50">
                  <c:v>1112.3456</c:v>
                </c:pt>
                <c:pt idx="51">
                  <c:v>1096.0167</c:v>
                </c:pt>
                <c:pt idx="52">
                  <c:v>970.0429481793751</c:v>
                </c:pt>
                <c:pt idx="53">
                  <c:v>970.0429481793751</c:v>
                </c:pt>
                <c:pt idx="54">
                  <c:v>1098.5277805125122</c:v>
                </c:pt>
              </c:numCache>
            </c:numRef>
          </c:xVal>
          <c:yVal>
            <c:numRef>
              <c:f>Sheet1!$B$187:$B$241</c:f>
              <c:numCache>
                <c:formatCode>General</c:formatCode>
                <c:ptCount val="55"/>
                <c:pt idx="0">
                  <c:v>0.11890537600467035</c:v>
                </c:pt>
                <c:pt idx="1">
                  <c:v>0.11191132541678456</c:v>
                </c:pt>
                <c:pt idx="2">
                  <c:v>0.11249809647346662</c:v>
                </c:pt>
                <c:pt idx="3">
                  <c:v>0.12255056235998688</c:v>
                </c:pt>
                <c:pt idx="4">
                  <c:v>0.12013279602581634</c:v>
                </c:pt>
                <c:pt idx="5">
                  <c:v>0.11564280050925085</c:v>
                </c:pt>
                <c:pt idx="6">
                  <c:v>0.12167183903687567</c:v>
                </c:pt>
                <c:pt idx="7">
                  <c:v>0.12283362203250922</c:v>
                </c:pt>
                <c:pt idx="8">
                  <c:v>0.11579728703319567</c:v>
                </c:pt>
                <c:pt idx="9">
                  <c:v>0.12162658618077707</c:v>
                </c:pt>
                <c:pt idx="10">
                  <c:v>0.12102732982032904</c:v>
                </c:pt>
                <c:pt idx="11">
                  <c:v>0.12942913662814348</c:v>
                </c:pt>
                <c:pt idx="12">
                  <c:v>0.12461202615291009</c:v>
                </c:pt>
                <c:pt idx="13">
                  <c:v>0.1235321620381083</c:v>
                </c:pt>
                <c:pt idx="14">
                  <c:v>0.12179181261398178</c:v>
                </c:pt>
                <c:pt idx="15">
                  <c:v>0.1199835966458132</c:v>
                </c:pt>
                <c:pt idx="16">
                  <c:v>0.11539045723201394</c:v>
                </c:pt>
                <c:pt idx="17">
                  <c:v>0.12680856054841155</c:v>
                </c:pt>
                <c:pt idx="18">
                  <c:v>0.11486267286557303</c:v>
                </c:pt>
                <c:pt idx="19">
                  <c:v>0.10366683343642111</c:v>
                </c:pt>
                <c:pt idx="20">
                  <c:v>0.10164888984519632</c:v>
                </c:pt>
                <c:pt idx="21">
                  <c:v>0.10595696938984953</c:v>
                </c:pt>
                <c:pt idx="22">
                  <c:v>0.10729381418042994</c:v>
                </c:pt>
                <c:pt idx="23">
                  <c:v>0.10722222752546984</c:v>
                </c:pt>
                <c:pt idx="24">
                  <c:v>0.10950683427294475</c:v>
                </c:pt>
                <c:pt idx="25">
                  <c:v>0.10890020139119014</c:v>
                </c:pt>
                <c:pt idx="26">
                  <c:v>0.111624787695356</c:v>
                </c:pt>
                <c:pt idx="27">
                  <c:v>0.11402236096170099</c:v>
                </c:pt>
                <c:pt idx="28">
                  <c:v>0.10557238381354059</c:v>
                </c:pt>
                <c:pt idx="29">
                  <c:v>0.10729434926487702</c:v>
                </c:pt>
                <c:pt idx="30">
                  <c:v>0.10544049823743332</c:v>
                </c:pt>
                <c:pt idx="31">
                  <c:v>0.10567041892831505</c:v>
                </c:pt>
                <c:pt idx="32">
                  <c:v>0.1048879216249429</c:v>
                </c:pt>
                <c:pt idx="33">
                  <c:v>0.10784035198273148</c:v>
                </c:pt>
                <c:pt idx="34">
                  <c:v>0.10660281631751395</c:v>
                </c:pt>
                <c:pt idx="35">
                  <c:v>0.10182545497263745</c:v>
                </c:pt>
                <c:pt idx="36">
                  <c:v>0.10039537808720073</c:v>
                </c:pt>
                <c:pt idx="37">
                  <c:v>0.09874313923536532</c:v>
                </c:pt>
                <c:pt idx="38">
                  <c:v>0.098191543611028</c:v>
                </c:pt>
                <c:pt idx="39">
                  <c:v>0.10321458515776424</c:v>
                </c:pt>
                <c:pt idx="40">
                  <c:v>0.10125528427392178</c:v>
                </c:pt>
                <c:pt idx="41">
                  <c:v>0.09765764399376295</c:v>
                </c:pt>
                <c:pt idx="42">
                  <c:v>0.0979764014429712</c:v>
                </c:pt>
                <c:pt idx="43">
                  <c:v>0.0977315111276762</c:v>
                </c:pt>
                <c:pt idx="44">
                  <c:v>0.10725742843802627</c:v>
                </c:pt>
                <c:pt idx="45">
                  <c:v>0.11114944160473211</c:v>
                </c:pt>
                <c:pt idx="46">
                  <c:v>0.11293607583353382</c:v>
                </c:pt>
                <c:pt idx="47">
                  <c:v>0.11534103836129134</c:v>
                </c:pt>
                <c:pt idx="48">
                  <c:v>0.11714952187168348</c:v>
                </c:pt>
                <c:pt idx="49">
                  <c:v>0.11622720190623853</c:v>
                </c:pt>
                <c:pt idx="50">
                  <c:v>0.11989275969086294</c:v>
                </c:pt>
                <c:pt idx="51">
                  <c:v>0.12197307884049399</c:v>
                </c:pt>
                <c:pt idx="52">
                  <c:v>0.13802226820801478</c:v>
                </c:pt>
                <c:pt idx="53">
                  <c:v>0.13802226820801478</c:v>
                </c:pt>
                <c:pt idx="54">
                  <c:v>0.1216531645243768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4.0"/>
          <c:min val="60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73479715241445"/>
          <c:min val="0.0474067630749157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1015265438717907</c:v>
                </c:pt>
                <c:pt idx="1">
                  <c:v>0.12694129885634586</c:v>
                </c:pt>
                <c:pt idx="2">
                  <c:v>0.12996687090488257</c:v>
                </c:pt>
                <c:pt idx="3">
                  <c:v>0.12554470676594978</c:v>
                </c:pt>
                <c:pt idx="4">
                  <c:v>0.1308610974042282</c:v>
                </c:pt>
                <c:pt idx="5">
                  <c:v>0.13063090934203292</c:v>
                </c:pt>
                <c:pt idx="6">
                  <c:v>0.13306834418748145</c:v>
                </c:pt>
                <c:pt idx="7">
                  <c:v>0.12945081281779958</c:v>
                </c:pt>
                <c:pt idx="8">
                  <c:v>0.13245153457160172</c:v>
                </c:pt>
                <c:pt idx="9">
                  <c:v>0.1297066453651367</c:v>
                </c:pt>
                <c:pt idx="10">
                  <c:v>0.12540786741016205</c:v>
                </c:pt>
                <c:pt idx="11">
                  <c:v>0.13316269202805714</c:v>
                </c:pt>
                <c:pt idx="12">
                  <c:v>0.13609358939722552</c:v>
                </c:pt>
                <c:pt idx="13">
                  <c:v>0.1316802117933533</c:v>
                </c:pt>
                <c:pt idx="14">
                  <c:v>0.14363087225358637</c:v>
                </c:pt>
                <c:pt idx="15">
                  <c:v>0.14716652223537455</c:v>
                </c:pt>
                <c:pt idx="16">
                  <c:v>0.14012361343590213</c:v>
                </c:pt>
                <c:pt idx="17">
                  <c:v>0.13596330444126806</c:v>
                </c:pt>
                <c:pt idx="18">
                  <c:v>0.1292555877906881</c:v>
                </c:pt>
                <c:pt idx="19">
                  <c:v>0.12773353218591646</c:v>
                </c:pt>
                <c:pt idx="20">
                  <c:v>0.13629749943820318</c:v>
                </c:pt>
                <c:pt idx="21">
                  <c:v>0.13477359147799403</c:v>
                </c:pt>
                <c:pt idx="22">
                  <c:v>0.1374303055108705</c:v>
                </c:pt>
                <c:pt idx="23">
                  <c:v>0.14235205061690173</c:v>
                </c:pt>
                <c:pt idx="24">
                  <c:v>0.13900960425357953</c:v>
                </c:pt>
                <c:pt idx="25">
                  <c:v>0.14038614970988325</c:v>
                </c:pt>
                <c:pt idx="26">
                  <c:v>0.1339160976782837</c:v>
                </c:pt>
                <c:pt idx="27">
                  <c:v>0.12869347501306216</c:v>
                </c:pt>
                <c:pt idx="28">
                  <c:v>0.13441777498323895</c:v>
                </c:pt>
                <c:pt idx="29">
                  <c:v>0.1314240239835459</c:v>
                </c:pt>
                <c:pt idx="30">
                  <c:v>0.1290285234792511</c:v>
                </c:pt>
                <c:pt idx="31">
                  <c:v>0.12966835047914635</c:v>
                </c:pt>
                <c:pt idx="32">
                  <c:v>0.1243442706586989</c:v>
                </c:pt>
                <c:pt idx="33">
                  <c:v>0.12967174778251953</c:v>
                </c:pt>
                <c:pt idx="34">
                  <c:v>0.1301659729236063</c:v>
                </c:pt>
                <c:pt idx="35">
                  <c:v>0.13753117743907967</c:v>
                </c:pt>
                <c:pt idx="36">
                  <c:v>0.13719250462793858</c:v>
                </c:pt>
                <c:pt idx="37">
                  <c:v>0.1339697702508069</c:v>
                </c:pt>
                <c:pt idx="38">
                  <c:v>0.13222007084090484</c:v>
                </c:pt>
                <c:pt idx="39">
                  <c:v>0.13920882867347903</c:v>
                </c:pt>
                <c:pt idx="40">
                  <c:v>0.14904398090366494</c:v>
                </c:pt>
                <c:pt idx="41">
                  <c:v>0.1487185486273742</c:v>
                </c:pt>
                <c:pt idx="42">
                  <c:v>0.1503309243286056</c:v>
                </c:pt>
                <c:pt idx="43">
                  <c:v>0.15827542633893493</c:v>
                </c:pt>
                <c:pt idx="44">
                  <c:v>0.15577875097274677</c:v>
                </c:pt>
                <c:pt idx="45">
                  <c:v>0.16192213678596878</c:v>
                </c:pt>
                <c:pt idx="46">
                  <c:v>0.15672033653995482</c:v>
                </c:pt>
                <c:pt idx="47">
                  <c:v>0.1525971118409001</c:v>
                </c:pt>
                <c:pt idx="48">
                  <c:v>0.16376141071695496</c:v>
                </c:pt>
                <c:pt idx="49">
                  <c:v>0.16961188865537413</c:v>
                </c:pt>
                <c:pt idx="50">
                  <c:v>0.15127408170042453</c:v>
                </c:pt>
                <c:pt idx="51">
                  <c:v>0.15142944960334462</c:v>
                </c:pt>
                <c:pt idx="52">
                  <c:v>0.15664631529074224</c:v>
                </c:pt>
                <c:pt idx="53">
                  <c:v>0.16571568191380637</c:v>
                </c:pt>
                <c:pt idx="54">
                  <c:v>0.15830391621960113</c:v>
                </c:pt>
                <c:pt idx="55">
                  <c:v>0.1605082775259002</c:v>
                </c:pt>
                <c:pt idx="56">
                  <c:v>0.15592706940169976</c:v>
                </c:pt>
                <c:pt idx="57">
                  <c:v>0.1598677798554107</c:v>
                </c:pt>
                <c:pt idx="58">
                  <c:v>0.15118188885603298</c:v>
                </c:pt>
                <c:pt idx="59">
                  <c:v>0.17784827574357034</c:v>
                </c:pt>
                <c:pt idx="60">
                  <c:v>0.16910920882542468</c:v>
                </c:pt>
                <c:pt idx="61">
                  <c:v>0.16025193579804065</c:v>
                </c:pt>
                <c:pt idx="62">
                  <c:v>0.1527621302810073</c:v>
                </c:pt>
                <c:pt idx="63">
                  <c:v>0.16240890192105836</c:v>
                </c:pt>
                <c:pt idx="64">
                  <c:v>0.1667229856343429</c:v>
                </c:pt>
                <c:pt idx="65">
                  <c:v>0.15737439431411857</c:v>
                </c:pt>
                <c:pt idx="66">
                  <c:v>0.15853050511778857</c:v>
                </c:pt>
                <c:pt idx="67">
                  <c:v>0.16556278035072605</c:v>
                </c:pt>
                <c:pt idx="68">
                  <c:v>0.15727016797098892</c:v>
                </c:pt>
                <c:pt idx="69">
                  <c:v>0.15793308938255338</c:v>
                </c:pt>
                <c:pt idx="70">
                  <c:v>0.1518708653275667</c:v>
                </c:pt>
                <c:pt idx="71">
                  <c:v>0.15535091257431974</c:v>
                </c:pt>
                <c:pt idx="72">
                  <c:v>0.171170310286816</c:v>
                </c:pt>
                <c:pt idx="73">
                  <c:v>0.16122034790746873</c:v>
                </c:pt>
                <c:pt idx="74">
                  <c:v>0.16623186705779353</c:v>
                </c:pt>
                <c:pt idx="75">
                  <c:v>0.14763762155236507</c:v>
                </c:pt>
                <c:pt idx="76">
                  <c:v>0.1437251546885052</c:v>
                </c:pt>
                <c:pt idx="77">
                  <c:v>0.1635315400319799</c:v>
                </c:pt>
                <c:pt idx="78">
                  <c:v>0.14914988472538274</c:v>
                </c:pt>
                <c:pt idx="79">
                  <c:v>0.15875462181818</c:v>
                </c:pt>
                <c:pt idx="80">
                  <c:v>0.14840216493148087</c:v>
                </c:pt>
                <c:pt idx="81">
                  <c:v>0.16611656141489042</c:v>
                </c:pt>
                <c:pt idx="82">
                  <c:v>0.16289010029865839</c:v>
                </c:pt>
                <c:pt idx="83">
                  <c:v>0.15423033560503027</c:v>
                </c:pt>
                <c:pt idx="84">
                  <c:v>0.14871944698962636</c:v>
                </c:pt>
                <c:pt idx="85">
                  <c:v>0.14472255405453702</c:v>
                </c:pt>
                <c:pt idx="86">
                  <c:v>0.14594777784493168</c:v>
                </c:pt>
                <c:pt idx="87">
                  <c:v>0.15267400663895936</c:v>
                </c:pt>
                <c:pt idx="88">
                  <c:v>0.14984485591116115</c:v>
                </c:pt>
                <c:pt idx="89">
                  <c:v>0.14663191521020058</c:v>
                </c:pt>
                <c:pt idx="90">
                  <c:v>0.1459389048840948</c:v>
                </c:pt>
                <c:pt idx="91">
                  <c:v>0.1522315146625097</c:v>
                </c:pt>
                <c:pt idx="92">
                  <c:v>0.15502732066988864</c:v>
                </c:pt>
                <c:pt idx="93">
                  <c:v>0.15312643288954822</c:v>
                </c:pt>
                <c:pt idx="94">
                  <c:v>0.15494963175028334</c:v>
                </c:pt>
                <c:pt idx="95">
                  <c:v>0.15624941181763013</c:v>
                </c:pt>
                <c:pt idx="96">
                  <c:v>0.14860614857872229</c:v>
                </c:pt>
                <c:pt idx="97">
                  <c:v>0.15148220967264361</c:v>
                </c:pt>
                <c:pt idx="98">
                  <c:v>0.16059173319624898</c:v>
                </c:pt>
                <c:pt idx="99">
                  <c:v>0.16270127399236856</c:v>
                </c:pt>
                <c:pt idx="100">
                  <c:v>0.17385127934119832</c:v>
                </c:pt>
                <c:pt idx="101">
                  <c:v>0.16794087376161737</c:v>
                </c:pt>
                <c:pt idx="102">
                  <c:v>0.16832725171173063</c:v>
                </c:pt>
                <c:pt idx="103">
                  <c:v>0.16035558704048392</c:v>
                </c:pt>
                <c:pt idx="104">
                  <c:v>0.15748477936569724</c:v>
                </c:pt>
              </c:numCache>
            </c:numRef>
          </c:xVal>
          <c:yVal>
            <c:numRef>
              <c:f>Sheet1!$B$2:$B$106</c:f>
              <c:numCache>
                <c:formatCode>General</c:formatCode>
                <c:ptCount val="105"/>
                <c:pt idx="0">
                  <c:v>0.11161192179841117</c:v>
                </c:pt>
                <c:pt idx="1">
                  <c:v>0.0923679060665362</c:v>
                </c:pt>
                <c:pt idx="2">
                  <c:v>0.09798698970445116</c:v>
                </c:pt>
                <c:pt idx="3">
                  <c:v>0.09666721035176426</c:v>
                </c:pt>
                <c:pt idx="4">
                  <c:v>0.10624081250835227</c:v>
                </c:pt>
                <c:pt idx="5">
                  <c:v>0.12701315141711794</c:v>
                </c:pt>
                <c:pt idx="6">
                  <c:v>0.1488462089723377</c:v>
                </c:pt>
                <c:pt idx="7">
                  <c:v>0.15231515749650465</c:v>
                </c:pt>
                <c:pt idx="8">
                  <c:v>0.1564456642936787</c:v>
                </c:pt>
                <c:pt idx="9">
                  <c:v>0.14047985029740026</c:v>
                </c:pt>
                <c:pt idx="10">
                  <c:v>0.1478868763902129</c:v>
                </c:pt>
                <c:pt idx="11">
                  <c:v>0.14233369132604712</c:v>
                </c:pt>
                <c:pt idx="12">
                  <c:v>0.12890878040162534</c:v>
                </c:pt>
                <c:pt idx="13">
                  <c:v>0.12000726216412491</c:v>
                </c:pt>
                <c:pt idx="14">
                  <c:v>0.09403877514042398</c:v>
                </c:pt>
                <c:pt idx="15">
                  <c:v>0.08468428455104005</c:v>
                </c:pt>
                <c:pt idx="16">
                  <c:v>0.08020449212202481</c:v>
                </c:pt>
                <c:pt idx="17">
                  <c:v>0.06952767007402186</c:v>
                </c:pt>
                <c:pt idx="18">
                  <c:v>0.06445125454893698</c:v>
                </c:pt>
                <c:pt idx="19">
                  <c:v>0.06243614485185606</c:v>
                </c:pt>
                <c:pt idx="20">
                  <c:v>0.060835798816568046</c:v>
                </c:pt>
                <c:pt idx="21">
                  <c:v>0.059258453843644664</c:v>
                </c:pt>
                <c:pt idx="22">
                  <c:v>0.06481679880008571</c:v>
                </c:pt>
                <c:pt idx="23">
                  <c:v>0.07247992863514718</c:v>
                </c:pt>
                <c:pt idx="24">
                  <c:v>0.07399577167019028</c:v>
                </c:pt>
                <c:pt idx="25">
                  <c:v>0.0766247502644259</c:v>
                </c:pt>
                <c:pt idx="26">
                  <c:v>0.09095027749462001</c:v>
                </c:pt>
                <c:pt idx="27">
                  <c:v>0.09469613259668508</c:v>
                </c:pt>
                <c:pt idx="28">
                  <c:v>0.11374045801526718</c:v>
                </c:pt>
                <c:pt idx="29">
                  <c:v>0.11356224822558987</c:v>
                </c:pt>
                <c:pt idx="30">
                  <c:v>0.11730021327311504</c:v>
                </c:pt>
                <c:pt idx="31">
                  <c:v>0.11637881071055987</c:v>
                </c:pt>
                <c:pt idx="32">
                  <c:v>0.12771493212669682</c:v>
                </c:pt>
                <c:pt idx="33">
                  <c:v>0.11790195901417351</c:v>
                </c:pt>
                <c:pt idx="34">
                  <c:v>0.11959134615384616</c:v>
                </c:pt>
                <c:pt idx="35">
                  <c:v>0.13572263342423063</c:v>
                </c:pt>
                <c:pt idx="36">
                  <c:v>0.10583807600514045</c:v>
                </c:pt>
                <c:pt idx="37">
                  <c:v>0.10197571516772999</c:v>
                </c:pt>
                <c:pt idx="38">
                  <c:v>0.09675486769845232</c:v>
                </c:pt>
                <c:pt idx="39">
                  <c:v>0.0886299802350983</c:v>
                </c:pt>
                <c:pt idx="40">
                  <c:v>0.09395673162882175</c:v>
                </c:pt>
                <c:pt idx="41">
                  <c:v>0.09259434408398752</c:v>
                </c:pt>
                <c:pt idx="42">
                  <c:v>0.09036870431359949</c:v>
                </c:pt>
                <c:pt idx="43">
                  <c:v>0.087968092178152</c:v>
                </c:pt>
                <c:pt idx="44">
                  <c:v>0.09342703596527491</c:v>
                </c:pt>
                <c:pt idx="45">
                  <c:v>0.1081802015411974</c:v>
                </c:pt>
                <c:pt idx="46">
                  <c:v>0.11185143181173803</c:v>
                </c:pt>
                <c:pt idx="47">
                  <c:v>0.10358032665866937</c:v>
                </c:pt>
                <c:pt idx="48">
                  <c:v>0.10720056199508254</c:v>
                </c:pt>
                <c:pt idx="49">
                  <c:v>0.10757608774605942</c:v>
                </c:pt>
                <c:pt idx="50">
                  <c:v>0.10438673370542921</c:v>
                </c:pt>
                <c:pt idx="51">
                  <c:v>0.09654148100997241</c:v>
                </c:pt>
                <c:pt idx="52">
                  <c:v>0.09940467949605428</c:v>
                </c:pt>
                <c:pt idx="53">
                  <c:v>0.08989323449687447</c:v>
                </c:pt>
                <c:pt idx="54">
                  <c:v>0.09183551847437425</c:v>
                </c:pt>
                <c:pt idx="55">
                  <c:v>0.08999877134783144</c:v>
                </c:pt>
                <c:pt idx="56">
                  <c:v>0.09457872287816035</c:v>
                </c:pt>
                <c:pt idx="57">
                  <c:v>0.0905018399018719</c:v>
                </c:pt>
                <c:pt idx="58">
                  <c:v>0.10347506344191827</c:v>
                </c:pt>
                <c:pt idx="59">
                  <c:v>0.09794723476297969</c:v>
                </c:pt>
                <c:pt idx="60">
                  <c:v>0.09967678863572882</c:v>
                </c:pt>
                <c:pt idx="61">
                  <c:v>0.10098018095648427</c:v>
                </c:pt>
                <c:pt idx="62">
                  <c:v>0.11095868727905872</c:v>
                </c:pt>
                <c:pt idx="63">
                  <c:v>0.11437699680511182</c:v>
                </c:pt>
                <c:pt idx="64">
                  <c:v>0.10774878460164698</c:v>
                </c:pt>
                <c:pt idx="65">
                  <c:v>0.10945485519591142</c:v>
                </c:pt>
                <c:pt idx="66">
                  <c:v>0.10667888523529728</c:v>
                </c:pt>
                <c:pt idx="67">
                  <c:v>0.09876887081499638</c:v>
                </c:pt>
                <c:pt idx="68">
                  <c:v>0.09202414173534947</c:v>
                </c:pt>
                <c:pt idx="69">
                  <c:v>0.08543128353281057</c:v>
                </c:pt>
                <c:pt idx="70">
                  <c:v>0.08832403077387238</c:v>
                </c:pt>
                <c:pt idx="71">
                  <c:v>0.08039169233199084</c:v>
                </c:pt>
                <c:pt idx="72">
                  <c:v>0.08137111093955068</c:v>
                </c:pt>
                <c:pt idx="73">
                  <c:v>0.0812126047068209</c:v>
                </c:pt>
                <c:pt idx="74">
                  <c:v>0.07855051244509517</c:v>
                </c:pt>
                <c:pt idx="75">
                  <c:v>0.0859437751004016</c:v>
                </c:pt>
                <c:pt idx="76">
                  <c:v>0.09480330257406508</c:v>
                </c:pt>
                <c:pt idx="77">
                  <c:v>0.08502406341417382</c:v>
                </c:pt>
                <c:pt idx="78">
                  <c:v>0.096081307627829</c:v>
                </c:pt>
                <c:pt idx="79">
                  <c:v>0.10028795551583755</c:v>
                </c:pt>
                <c:pt idx="80">
                  <c:v>0.08607843137254902</c:v>
                </c:pt>
                <c:pt idx="81">
                  <c:v>0.0840855106888361</c:v>
                </c:pt>
                <c:pt idx="82">
                  <c:v>0.093727394853777</c:v>
                </c:pt>
                <c:pt idx="83">
                  <c:v>0.08385202583675866</c:v>
                </c:pt>
                <c:pt idx="84">
                  <c:v>0.08458807687599461</c:v>
                </c:pt>
                <c:pt idx="85">
                  <c:v>0.08871402393014984</c:v>
                </c:pt>
                <c:pt idx="86">
                  <c:v>0.09915316944832689</c:v>
                </c:pt>
                <c:pt idx="87">
                  <c:v>0.11427596793450452</c:v>
                </c:pt>
                <c:pt idx="88">
                  <c:v>0.09438112377524495</c:v>
                </c:pt>
                <c:pt idx="89">
                  <c:v>0.10145993067955046</c:v>
                </c:pt>
                <c:pt idx="90">
                  <c:v>0.08703643637149962</c:v>
                </c:pt>
                <c:pt idx="91">
                  <c:v>0.08679871409312455</c:v>
                </c:pt>
                <c:pt idx="92">
                  <c:v>0.09280900793312293</c:v>
                </c:pt>
                <c:pt idx="93">
                  <c:v>0.09282981201131259</c:v>
                </c:pt>
                <c:pt idx="94">
                  <c:v>0.09474506739597578</c:v>
                </c:pt>
                <c:pt idx="95">
                  <c:v>0.09582700513488103</c:v>
                </c:pt>
                <c:pt idx="96">
                  <c:v>0.09726858877086494</c:v>
                </c:pt>
                <c:pt idx="97">
                  <c:v>0.10004616805170821</c:v>
                </c:pt>
                <c:pt idx="98">
                  <c:v>0.1054962018117561</c:v>
                </c:pt>
                <c:pt idx="99">
                  <c:v>0.10254591872916814</c:v>
                </c:pt>
                <c:pt idx="100">
                  <c:v>0.1075742948835025</c:v>
                </c:pt>
                <c:pt idx="101">
                  <c:v>0.09748155475866617</c:v>
                </c:pt>
                <c:pt idx="102">
                  <c:v>0.09748443849992283</c:v>
                </c:pt>
                <c:pt idx="103">
                  <c:v>0.09680249561317995</c:v>
                </c:pt>
                <c:pt idx="104">
                  <c:v>0.0937220732797140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5651435345125786</c:v>
                </c:pt>
                <c:pt idx="1">
                  <c:v>0.1658496562969754</c:v>
                </c:pt>
                <c:pt idx="2">
                  <c:v>0.16919355387345536</c:v>
                </c:pt>
                <c:pt idx="3">
                  <c:v>0.15572570561834675</c:v>
                </c:pt>
                <c:pt idx="4">
                  <c:v>0.1552977261317125</c:v>
                </c:pt>
                <c:pt idx="5">
                  <c:v>0.15954629317708954</c:v>
                </c:pt>
                <c:pt idx="6">
                  <c:v>0.15362267889977652</c:v>
                </c:pt>
                <c:pt idx="7">
                  <c:v>0.1443105414417049</c:v>
                </c:pt>
                <c:pt idx="8">
                  <c:v>0.1567189225614897</c:v>
                </c:pt>
                <c:pt idx="9">
                  <c:v>0.1515065424816573</c:v>
                </c:pt>
                <c:pt idx="10">
                  <c:v>0.16004090365725282</c:v>
                </c:pt>
                <c:pt idx="11">
                  <c:v>0.15305987821537453</c:v>
                </c:pt>
                <c:pt idx="12">
                  <c:v>0.16443375788564563</c:v>
                </c:pt>
                <c:pt idx="13">
                  <c:v>0.1613019464272537</c:v>
                </c:pt>
                <c:pt idx="14">
                  <c:v>0.1633104676649695</c:v>
                </c:pt>
                <c:pt idx="15">
                  <c:v>0.1662575185536738</c:v>
                </c:pt>
                <c:pt idx="16">
                  <c:v>0.18974358626747928</c:v>
                </c:pt>
                <c:pt idx="17">
                  <c:v>0.15791602150129203</c:v>
                </c:pt>
                <c:pt idx="18">
                  <c:v>0.14309574416382775</c:v>
                </c:pt>
                <c:pt idx="19">
                  <c:v>0.15425860996623028</c:v>
                </c:pt>
                <c:pt idx="20">
                  <c:v>0.15191513148859892</c:v>
                </c:pt>
                <c:pt idx="21">
                  <c:v>0.13720205139128885</c:v>
                </c:pt>
                <c:pt idx="22">
                  <c:v>0.14195567262315834</c:v>
                </c:pt>
                <c:pt idx="23">
                  <c:v>0.1443934495535455</c:v>
                </c:pt>
                <c:pt idx="24">
                  <c:v>0.13522046685611872</c:v>
                </c:pt>
                <c:pt idx="25">
                  <c:v>0.1313019295542908</c:v>
                </c:pt>
                <c:pt idx="26">
                  <c:v>0.13219687976847927</c:v>
                </c:pt>
                <c:pt idx="27">
                  <c:v>0.1292862757881447</c:v>
                </c:pt>
                <c:pt idx="28">
                  <c:v>0.14759650013155043</c:v>
                </c:pt>
                <c:pt idx="29">
                  <c:v>0.14870836375783433</c:v>
                </c:pt>
                <c:pt idx="30">
                  <c:v>0.14631521515438708</c:v>
                </c:pt>
                <c:pt idx="31">
                  <c:v>0.1435597880164347</c:v>
                </c:pt>
                <c:pt idx="32">
                  <c:v>0.1501684050984515</c:v>
                </c:pt>
                <c:pt idx="33">
                  <c:v>0.15091924871368276</c:v>
                </c:pt>
                <c:pt idx="34">
                  <c:v>0.1615262850250466</c:v>
                </c:pt>
                <c:pt idx="35">
                  <c:v>0.15822483982378022</c:v>
                </c:pt>
                <c:pt idx="36">
                  <c:v>0.14500764026512716</c:v>
                </c:pt>
                <c:pt idx="37">
                  <c:v>0.15088083232765098</c:v>
                </c:pt>
                <c:pt idx="38">
                  <c:v>0.1515444059919971</c:v>
                </c:pt>
                <c:pt idx="39">
                  <c:v>0.15667860656731838</c:v>
                </c:pt>
                <c:pt idx="40">
                  <c:v>0.16121564087422172</c:v>
                </c:pt>
                <c:pt idx="41">
                  <c:v>0.15084852449614125</c:v>
                </c:pt>
                <c:pt idx="42">
                  <c:v>0.14577672454467336</c:v>
                </c:pt>
                <c:pt idx="43">
                  <c:v>0.16274196334480082</c:v>
                </c:pt>
                <c:pt idx="44">
                  <c:v>0.15793238850336802</c:v>
                </c:pt>
                <c:pt idx="45">
                  <c:v>0.17316708632386743</c:v>
                </c:pt>
                <c:pt idx="46">
                  <c:v>0.1604757777672898</c:v>
                </c:pt>
                <c:pt idx="47">
                  <c:v>0.16280175610503164</c:v>
                </c:pt>
                <c:pt idx="48">
                  <c:v>0.16657549569259014</c:v>
                </c:pt>
                <c:pt idx="49">
                  <c:v>0.17886663171523964</c:v>
                </c:pt>
                <c:pt idx="50">
                  <c:v>0.18433710880514578</c:v>
                </c:pt>
                <c:pt idx="51">
                  <c:v>0.16645260013983626</c:v>
                </c:pt>
              </c:numCache>
            </c:numRef>
          </c:xVal>
          <c:yVal>
            <c:numRef>
              <c:f>Sheet1!$B$109:$B$160</c:f>
              <c:numCache>
                <c:formatCode>General</c:formatCode>
                <c:ptCount val="52"/>
                <c:pt idx="0">
                  <c:v>0.10216208119039297</c:v>
                </c:pt>
                <c:pt idx="1">
                  <c:v>0.0928518400678757</c:v>
                </c:pt>
                <c:pt idx="2">
                  <c:v>0.11049535754217102</c:v>
                </c:pt>
                <c:pt idx="3">
                  <c:v>0.13015048800423099</c:v>
                </c:pt>
                <c:pt idx="4">
                  <c:v>0.11893110727307618</c:v>
                </c:pt>
                <c:pt idx="5">
                  <c:v>0.11790212678092092</c:v>
                </c:pt>
                <c:pt idx="6">
                  <c:v>0.12324230935355378</c:v>
                </c:pt>
                <c:pt idx="7">
                  <c:v>0.13000193936259616</c:v>
                </c:pt>
                <c:pt idx="8">
                  <c:v>0.11820781696854146</c:v>
                </c:pt>
                <c:pt idx="9">
                  <c:v>0.123335811313104</c:v>
                </c:pt>
                <c:pt idx="10">
                  <c:v>0.13297024442082891</c:v>
                </c:pt>
                <c:pt idx="11">
                  <c:v>0.1244347264324405</c:v>
                </c:pt>
                <c:pt idx="12">
                  <c:v>0.11905717726673166</c:v>
                </c:pt>
                <c:pt idx="13">
                  <c:v>0.11784395198522622</c:v>
                </c:pt>
                <c:pt idx="14">
                  <c:v>0.11651696606786427</c:v>
                </c:pt>
                <c:pt idx="15">
                  <c:v>0.11267136962598163</c:v>
                </c:pt>
                <c:pt idx="16">
                  <c:v>0.10218458692094215</c:v>
                </c:pt>
                <c:pt idx="17">
                  <c:v>0.1145166209210125</c:v>
                </c:pt>
                <c:pt idx="18">
                  <c:v>0.10506533023089315</c:v>
                </c:pt>
                <c:pt idx="19">
                  <c:v>0.10435355114805366</c:v>
                </c:pt>
                <c:pt idx="20">
                  <c:v>0.08961038961038961</c:v>
                </c:pt>
                <c:pt idx="21">
                  <c:v>0.09209832260787003</c:v>
                </c:pt>
                <c:pt idx="22">
                  <c:v>0.09597030752916225</c:v>
                </c:pt>
                <c:pt idx="23">
                  <c:v>0.09503119429590018</c:v>
                </c:pt>
                <c:pt idx="24">
                  <c:v>0.10725219043597593</c:v>
                </c:pt>
                <c:pt idx="25">
                  <c:v>0.10236398597443729</c:v>
                </c:pt>
                <c:pt idx="26">
                  <c:v>0.10047281323877069</c:v>
                </c:pt>
                <c:pt idx="27">
                  <c:v>0.10155963302752294</c:v>
                </c:pt>
                <c:pt idx="28">
                  <c:v>0.0937975325333784</c:v>
                </c:pt>
                <c:pt idx="29">
                  <c:v>0.09361157594251403</c:v>
                </c:pt>
                <c:pt idx="30">
                  <c:v>0.09845273420941077</c:v>
                </c:pt>
                <c:pt idx="31">
                  <c:v>0.09674482130662418</c:v>
                </c:pt>
                <c:pt idx="32">
                  <c:v>0.09459597507406273</c:v>
                </c:pt>
                <c:pt idx="33">
                  <c:v>0.11179961598882876</c:v>
                </c:pt>
                <c:pt idx="34">
                  <c:v>0.11988840760590265</c:v>
                </c:pt>
                <c:pt idx="35">
                  <c:v>0.11571295748457443</c:v>
                </c:pt>
                <c:pt idx="36">
                  <c:v>0.11209575325123719</c:v>
                </c:pt>
                <c:pt idx="37">
                  <c:v>0.09614187927815805</c:v>
                </c:pt>
                <c:pt idx="38">
                  <c:v>0.09749056184765711</c:v>
                </c:pt>
                <c:pt idx="39">
                  <c:v>0.10878923766816144</c:v>
                </c:pt>
                <c:pt idx="40">
                  <c:v>0.10347537548026546</c:v>
                </c:pt>
                <c:pt idx="41">
                  <c:v>0.11093247588424437</c:v>
                </c:pt>
                <c:pt idx="42">
                  <c:v>0.10399926110649303</c:v>
                </c:pt>
                <c:pt idx="43">
                  <c:v>0.10621634850709741</c:v>
                </c:pt>
                <c:pt idx="44">
                  <c:v>0.11007798440311937</c:v>
                </c:pt>
                <c:pt idx="45">
                  <c:v>0.11837413834086047</c:v>
                </c:pt>
                <c:pt idx="46">
                  <c:v>0.1341164680993208</c:v>
                </c:pt>
                <c:pt idx="47">
                  <c:v>0.13342077649527806</c:v>
                </c:pt>
                <c:pt idx="48">
                  <c:v>0.13739433785052999</c:v>
                </c:pt>
                <c:pt idx="49">
                  <c:v>0.13845122360040227</c:v>
                </c:pt>
                <c:pt idx="50">
                  <c:v>0.14342776203966007</c:v>
                </c:pt>
                <c:pt idx="51">
                  <c:v>0.1328157493414667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0071178883610843</c:v>
                </c:pt>
              </c:numCache>
            </c:numRef>
          </c:xVal>
          <c:yVal>
            <c:numRef>
              <c:f>Sheet1!$B$163:$B$164</c:f>
              <c:numCache>
                <c:formatCode>General</c:formatCode>
                <c:ptCount val="2"/>
                <c:pt idx="0">
                  <c:v>0.13802226820801478</c:v>
                </c:pt>
                <c:pt idx="1">
                  <c:v>0.1380222682080147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0071178883610843</c:v>
                </c:pt>
                <c:pt idx="1">
                  <c:v>0.20071178883610843</c:v>
                </c:pt>
              </c:numCache>
            </c:numRef>
          </c:xVal>
          <c:yVal>
            <c:numRef>
              <c:f>Sheet1!$B$167:$B$168</c:f>
              <c:numCache>
                <c:formatCode>General</c:formatCode>
                <c:ptCount val="2"/>
                <c:pt idx="0">
                  <c:v>0.1380222682080147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0071178883610843</c:v>
                </c:pt>
              </c:numCache>
            </c:numRef>
          </c:xVal>
          <c:yVal>
            <c:numRef>
              <c:f>Sheet1!$B$171:$B$172</c:f>
              <c:numCache>
                <c:formatCode>General</c:formatCode>
                <c:ptCount val="2"/>
                <c:pt idx="0">
                  <c:v>0.13802226820801478</c:v>
                </c:pt>
                <c:pt idx="1">
                  <c:v>0.1380222682080147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0071178883610843</c:v>
                </c:pt>
                <c:pt idx="1">
                  <c:v>0.20071178883610843</c:v>
                </c:pt>
              </c:numCache>
            </c:numRef>
          </c:xVal>
          <c:yVal>
            <c:numRef>
              <c:f>Sheet1!$B$175:$B$176</c:f>
              <c:numCache>
                <c:formatCode>General</c:formatCode>
                <c:ptCount val="2"/>
                <c:pt idx="0">
                  <c:v>0.1380222682080147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7227737586061398</c:v>
                </c:pt>
              </c:numCache>
            </c:numRef>
          </c:xVal>
          <c:yVal>
            <c:numRef>
              <c:f>Sheet1!$B$179:$B$180</c:f>
              <c:numCache>
                <c:formatCode>General</c:formatCode>
                <c:ptCount val="2"/>
                <c:pt idx="0">
                  <c:v>0.12165316452437688</c:v>
                </c:pt>
                <c:pt idx="1">
                  <c:v>0.1216531645243768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7227737586061398</c:v>
                </c:pt>
                <c:pt idx="1">
                  <c:v>0.17227737586061398</c:v>
                </c:pt>
              </c:numCache>
            </c:numRef>
          </c:xVal>
          <c:yVal>
            <c:numRef>
              <c:f>Sheet1!$B$183:$B$184</c:f>
              <c:numCache>
                <c:formatCode>General</c:formatCode>
                <c:ptCount val="2"/>
                <c:pt idx="0">
                  <c:v>0.121653164524376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5651435345125786</c:v>
                </c:pt>
                <c:pt idx="1">
                  <c:v>0.1658496562969754</c:v>
                </c:pt>
                <c:pt idx="2">
                  <c:v>0.16919355387345536</c:v>
                </c:pt>
                <c:pt idx="3">
                  <c:v>0.15572570561834675</c:v>
                </c:pt>
                <c:pt idx="4">
                  <c:v>0.1552977261317125</c:v>
                </c:pt>
                <c:pt idx="5">
                  <c:v>0.15954629317708954</c:v>
                </c:pt>
                <c:pt idx="6">
                  <c:v>0.15362267889977652</c:v>
                </c:pt>
                <c:pt idx="7">
                  <c:v>0.1443105414417049</c:v>
                </c:pt>
                <c:pt idx="8">
                  <c:v>0.1567189225614897</c:v>
                </c:pt>
                <c:pt idx="9">
                  <c:v>0.1515065424816573</c:v>
                </c:pt>
                <c:pt idx="10">
                  <c:v>0.16004090365725282</c:v>
                </c:pt>
                <c:pt idx="11">
                  <c:v>0.15305987821537453</c:v>
                </c:pt>
                <c:pt idx="12">
                  <c:v>0.16443375788564563</c:v>
                </c:pt>
                <c:pt idx="13">
                  <c:v>0.1613019464272537</c:v>
                </c:pt>
                <c:pt idx="14">
                  <c:v>0.1633104676649695</c:v>
                </c:pt>
                <c:pt idx="15">
                  <c:v>0.1662575185536738</c:v>
                </c:pt>
                <c:pt idx="16">
                  <c:v>0.18974358626747928</c:v>
                </c:pt>
                <c:pt idx="17">
                  <c:v>0.15791602150129203</c:v>
                </c:pt>
                <c:pt idx="18">
                  <c:v>0.14309574416382775</c:v>
                </c:pt>
                <c:pt idx="19">
                  <c:v>0.15425860996623028</c:v>
                </c:pt>
                <c:pt idx="20">
                  <c:v>0.15191513148859892</c:v>
                </c:pt>
                <c:pt idx="21">
                  <c:v>0.13720205139128885</c:v>
                </c:pt>
                <c:pt idx="22">
                  <c:v>0.14195567262315834</c:v>
                </c:pt>
                <c:pt idx="23">
                  <c:v>0.1443934495535455</c:v>
                </c:pt>
                <c:pt idx="24">
                  <c:v>0.13522046685611872</c:v>
                </c:pt>
                <c:pt idx="25">
                  <c:v>0.1313019295542908</c:v>
                </c:pt>
                <c:pt idx="26">
                  <c:v>0.13219687976847927</c:v>
                </c:pt>
                <c:pt idx="27">
                  <c:v>0.1292862757881447</c:v>
                </c:pt>
                <c:pt idx="28">
                  <c:v>0.14759650013155043</c:v>
                </c:pt>
                <c:pt idx="29">
                  <c:v>0.14870836375783433</c:v>
                </c:pt>
                <c:pt idx="30">
                  <c:v>0.14631521515438708</c:v>
                </c:pt>
                <c:pt idx="31">
                  <c:v>0.1435597880164347</c:v>
                </c:pt>
                <c:pt idx="32">
                  <c:v>0.1501684050984515</c:v>
                </c:pt>
                <c:pt idx="33">
                  <c:v>0.15091924871368276</c:v>
                </c:pt>
                <c:pt idx="34">
                  <c:v>0.1615262850250466</c:v>
                </c:pt>
                <c:pt idx="35">
                  <c:v>0.15822483982378022</c:v>
                </c:pt>
                <c:pt idx="36">
                  <c:v>0.14500764026512716</c:v>
                </c:pt>
                <c:pt idx="37">
                  <c:v>0.15088083232765098</c:v>
                </c:pt>
                <c:pt idx="38">
                  <c:v>0.1515444059919971</c:v>
                </c:pt>
                <c:pt idx="39">
                  <c:v>0.15667860656731838</c:v>
                </c:pt>
                <c:pt idx="40">
                  <c:v>0.16121564087422172</c:v>
                </c:pt>
                <c:pt idx="41">
                  <c:v>0.15084852449614125</c:v>
                </c:pt>
                <c:pt idx="42">
                  <c:v>0.14577672454467336</c:v>
                </c:pt>
                <c:pt idx="43">
                  <c:v>0.16274196334480082</c:v>
                </c:pt>
                <c:pt idx="44">
                  <c:v>0.15793238850336802</c:v>
                </c:pt>
                <c:pt idx="45">
                  <c:v>0.17316708632386743</c:v>
                </c:pt>
                <c:pt idx="46">
                  <c:v>0.1604757777672898</c:v>
                </c:pt>
                <c:pt idx="47">
                  <c:v>0.16280175610503164</c:v>
                </c:pt>
                <c:pt idx="48">
                  <c:v>0.16657549569259014</c:v>
                </c:pt>
                <c:pt idx="49">
                  <c:v>0.17886663171523964</c:v>
                </c:pt>
                <c:pt idx="50">
                  <c:v>0.18433710880514578</c:v>
                </c:pt>
                <c:pt idx="51">
                  <c:v>0.16645260013983626</c:v>
                </c:pt>
                <c:pt idx="52">
                  <c:v>0.20071178883610843</c:v>
                </c:pt>
                <c:pt idx="53">
                  <c:v>0.20071178883610843</c:v>
                </c:pt>
                <c:pt idx="54">
                  <c:v>0.17227737586061398</c:v>
                </c:pt>
              </c:numCache>
            </c:numRef>
          </c:xVal>
          <c:yVal>
            <c:numRef>
              <c:f>Sheet1!$B$187:$B$241</c:f>
              <c:numCache>
                <c:formatCode>General</c:formatCode>
                <c:ptCount val="55"/>
                <c:pt idx="0">
                  <c:v>0.11257871841540912</c:v>
                </c:pt>
                <c:pt idx="1">
                  <c:v>0.11795285926127103</c:v>
                </c:pt>
                <c:pt idx="2">
                  <c:v>0.1198778719627479</c:v>
                </c:pt>
                <c:pt idx="3">
                  <c:v>0.1121247101628764</c:v>
                </c:pt>
                <c:pt idx="4">
                  <c:v>0.11187833122066915</c:v>
                </c:pt>
                <c:pt idx="5">
                  <c:v>0.11432414343183032</c:v>
                </c:pt>
                <c:pt idx="6">
                  <c:v>0.1109140411599536</c:v>
                </c:pt>
                <c:pt idx="7">
                  <c:v>0.1055532361488274</c:v>
                </c:pt>
                <c:pt idx="8">
                  <c:v>0.11269648462281212</c:v>
                </c:pt>
                <c:pt idx="9">
                  <c:v>0.1096958251740365</c:v>
                </c:pt>
                <c:pt idx="10">
                  <c:v>0.11460888045945189</c:v>
                </c:pt>
                <c:pt idx="11">
                  <c:v>0.11059004844154798</c:v>
                </c:pt>
                <c:pt idx="12">
                  <c:v>0.11713775581881453</c:v>
                </c:pt>
                <c:pt idx="13">
                  <c:v>0.11533483671075331</c:v>
                </c:pt>
                <c:pt idx="14">
                  <c:v>0.11649110086219873</c:v>
                </c:pt>
                <c:pt idx="15">
                  <c:v>0.11818765713011721</c:v>
                </c:pt>
                <c:pt idx="16">
                  <c:v>0.13170810075100534</c:v>
                </c:pt>
                <c:pt idx="17">
                  <c:v>0.11338562973307288</c:v>
                </c:pt>
                <c:pt idx="18">
                  <c:v>0.10485390247124067</c:v>
                </c:pt>
                <c:pt idx="19">
                  <c:v>0.1112801335273747</c:v>
                </c:pt>
                <c:pt idx="20">
                  <c:v>0.10993104141797255</c:v>
                </c:pt>
                <c:pt idx="21">
                  <c:v>0.10146102539105123</c:v>
                </c:pt>
                <c:pt idx="22">
                  <c:v>0.1041975868556496</c:v>
                </c:pt>
                <c:pt idx="23">
                  <c:v>0.10560096463473294</c:v>
                </c:pt>
                <c:pt idx="24">
                  <c:v>0.10032026814235936</c:v>
                </c:pt>
                <c:pt idx="25">
                  <c:v>0.09806444723137013</c:v>
                </c:pt>
                <c:pt idx="26">
                  <c:v>0.09857965156705908</c:v>
                </c:pt>
                <c:pt idx="27">
                  <c:v>0.09690407703076862</c:v>
                </c:pt>
                <c:pt idx="28">
                  <c:v>0.10744489463112449</c:v>
                </c:pt>
                <c:pt idx="29">
                  <c:v>0.10808497153358743</c:v>
                </c:pt>
                <c:pt idx="30">
                  <c:v>0.1067072853596565</c:v>
                </c:pt>
                <c:pt idx="31">
                  <c:v>0.10512104292332683</c:v>
                </c:pt>
                <c:pt idx="32">
                  <c:v>0.10892548714780312</c:v>
                </c:pt>
                <c:pt idx="33">
                  <c:v>0.10935773229379964</c:v>
                </c:pt>
                <c:pt idx="34">
                  <c:v>0.11546398380342157</c:v>
                </c:pt>
                <c:pt idx="35">
                  <c:v>0.11356341005667489</c:v>
                </c:pt>
                <c:pt idx="36">
                  <c:v>0.10595454152932444</c:v>
                </c:pt>
                <c:pt idx="37">
                  <c:v>0.10933561677459948</c:v>
                </c:pt>
                <c:pt idx="38">
                  <c:v>0.1097176224141312</c:v>
                </c:pt>
                <c:pt idx="39">
                  <c:v>0.11267327553847942</c:v>
                </c:pt>
                <c:pt idx="40">
                  <c:v>0.11528515238819417</c:v>
                </c:pt>
                <c:pt idx="41">
                  <c:v>0.10931701782394654</c:v>
                </c:pt>
                <c:pt idx="42">
                  <c:v>0.10639728744865105</c:v>
                </c:pt>
                <c:pt idx="43">
                  <c:v>0.11616382467860185</c:v>
                </c:pt>
                <c:pt idx="44">
                  <c:v>0.11339505187778898</c:v>
                </c:pt>
                <c:pt idx="45">
                  <c:v>0.1221653524437816</c:v>
                </c:pt>
                <c:pt idx="46">
                  <c:v>0.11485922849380942</c:v>
                </c:pt>
                <c:pt idx="47">
                  <c:v>0.11619824613448325</c:v>
                </c:pt>
                <c:pt idx="48">
                  <c:v>0.11837070999498325</c:v>
                </c:pt>
                <c:pt idx="49">
                  <c:v>0.12544646289052716</c:v>
                </c:pt>
                <c:pt idx="50">
                  <c:v>0.12859570345198393</c:v>
                </c:pt>
                <c:pt idx="51">
                  <c:v>0.11829996156606298</c:v>
                </c:pt>
                <c:pt idx="52">
                  <c:v>0.13802226820801478</c:v>
                </c:pt>
                <c:pt idx="53">
                  <c:v>0.13802226820801478</c:v>
                </c:pt>
                <c:pt idx="54">
                  <c:v>0.1216531645243768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ve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73479715241445"/>
          <c:min val="0.0474067630749157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1.3397</c:v>
                </c:pt>
                <c:pt idx="1">
                  <c:v>863.5551</c:v>
                </c:pt>
                <c:pt idx="2">
                  <c:v>897.2039</c:v>
                </c:pt>
                <c:pt idx="3">
                  <c:v>910.8735</c:v>
                </c:pt>
                <c:pt idx="4">
                  <c:v>896.5</c:v>
                </c:pt>
                <c:pt idx="5">
                  <c:v>877.2215</c:v>
                </c:pt>
                <c:pt idx="6">
                  <c:v>836.5002</c:v>
                </c:pt>
                <c:pt idx="7">
                  <c:v>843.6463</c:v>
                </c:pt>
                <c:pt idx="8">
                  <c:v>837.9156</c:v>
                </c:pt>
                <c:pt idx="9">
                  <c:v>826.8154</c:v>
                </c:pt>
                <c:pt idx="10">
                  <c:v>797.3752</c:v>
                </c:pt>
                <c:pt idx="11">
                  <c:v>808.9015</c:v>
                </c:pt>
                <c:pt idx="12">
                  <c:v>829.2133</c:v>
                </c:pt>
                <c:pt idx="13">
                  <c:v>817.4029</c:v>
                </c:pt>
                <c:pt idx="14">
                  <c:v>898.7521</c:v>
                </c:pt>
                <c:pt idx="15">
                  <c:v>914.6836</c:v>
                </c:pt>
                <c:pt idx="16">
                  <c:v>934.9446</c:v>
                </c:pt>
                <c:pt idx="17">
                  <c:v>937.9417</c:v>
                </c:pt>
                <c:pt idx="18">
                  <c:v>958.5275</c:v>
                </c:pt>
                <c:pt idx="19">
                  <c:v>954.5364</c:v>
                </c:pt>
                <c:pt idx="20">
                  <c:v>987.4225</c:v>
                </c:pt>
                <c:pt idx="21">
                  <c:v>998.0716</c:v>
                </c:pt>
                <c:pt idx="22">
                  <c:v>985.6992</c:v>
                </c:pt>
                <c:pt idx="23">
                  <c:v>991.1369</c:v>
                </c:pt>
                <c:pt idx="24">
                  <c:v>1009.8729</c:v>
                </c:pt>
                <c:pt idx="25">
                  <c:v>993.0767</c:v>
                </c:pt>
                <c:pt idx="26">
                  <c:v>960.4832</c:v>
                </c:pt>
                <c:pt idx="27">
                  <c:v>1000.5846</c:v>
                </c:pt>
                <c:pt idx="28">
                  <c:v>989.9655</c:v>
                </c:pt>
                <c:pt idx="29">
                  <c:v>973.2576</c:v>
                </c:pt>
                <c:pt idx="30">
                  <c:v>974.8567</c:v>
                </c:pt>
                <c:pt idx="31">
                  <c:v>986.3516</c:v>
                </c:pt>
                <c:pt idx="32">
                  <c:v>971.248</c:v>
                </c:pt>
                <c:pt idx="33">
                  <c:v>957.7856</c:v>
                </c:pt>
                <c:pt idx="34">
                  <c:v>949.0969</c:v>
                </c:pt>
                <c:pt idx="35">
                  <c:v>1004.7813</c:v>
                </c:pt>
                <c:pt idx="36">
                  <c:v>1055.2298</c:v>
                </c:pt>
                <c:pt idx="37">
                  <c:v>1089.3078</c:v>
                </c:pt>
                <c:pt idx="38">
                  <c:v>1111.2466</c:v>
                </c:pt>
                <c:pt idx="39">
                  <c:v>1134.0258</c:v>
                </c:pt>
                <c:pt idx="40">
                  <c:v>1140.4443</c:v>
                </c:pt>
                <c:pt idx="41">
                  <c:v>1155.7303</c:v>
                </c:pt>
                <c:pt idx="42">
                  <c:v>1169.44</c:v>
                </c:pt>
                <c:pt idx="43">
                  <c:v>1178.0688</c:v>
                </c:pt>
                <c:pt idx="44">
                  <c:v>1116.1178</c:v>
                </c:pt>
                <c:pt idx="45">
                  <c:v>1086.926</c:v>
                </c:pt>
                <c:pt idx="46">
                  <c:v>1074.755</c:v>
                </c:pt>
                <c:pt idx="47">
                  <c:v>1051.1893</c:v>
                </c:pt>
                <c:pt idx="48">
                  <c:v>1052.1763</c:v>
                </c:pt>
                <c:pt idx="49">
                  <c:v>1009.8998</c:v>
                </c:pt>
                <c:pt idx="50">
                  <c:v>1002.5409</c:v>
                </c:pt>
                <c:pt idx="51">
                  <c:v>1017.967</c:v>
                </c:pt>
                <c:pt idx="52">
                  <c:v>1021.1546</c:v>
                </c:pt>
                <c:pt idx="53">
                  <c:v>1122.0665</c:v>
                </c:pt>
                <c:pt idx="54">
                  <c:v>1103.7158</c:v>
                </c:pt>
                <c:pt idx="55">
                  <c:v>1103.6662</c:v>
                </c:pt>
                <c:pt idx="56">
                  <c:v>1101.5908</c:v>
                </c:pt>
                <c:pt idx="57">
                  <c:v>1109.2263</c:v>
                </c:pt>
                <c:pt idx="58">
                  <c:v>1057.6481</c:v>
                </c:pt>
                <c:pt idx="59">
                  <c:v>1055.7681</c:v>
                </c:pt>
                <c:pt idx="60">
                  <c:v>1066.3343</c:v>
                </c:pt>
                <c:pt idx="61">
                  <c:v>1077.5211</c:v>
                </c:pt>
                <c:pt idx="62">
                  <c:v>1001.9805</c:v>
                </c:pt>
                <c:pt idx="63">
                  <c:v>1033.3618</c:v>
                </c:pt>
                <c:pt idx="64">
                  <c:v>1043.8633</c:v>
                </c:pt>
                <c:pt idx="65">
                  <c:v>1026.9815</c:v>
                </c:pt>
                <c:pt idx="66">
                  <c:v>1046.4189</c:v>
                </c:pt>
                <c:pt idx="67">
                  <c:v>1075.454</c:v>
                </c:pt>
                <c:pt idx="68">
                  <c:v>1077.4605</c:v>
                </c:pt>
                <c:pt idx="69">
                  <c:v>1113.6184</c:v>
                </c:pt>
                <c:pt idx="70">
                  <c:v>1100.3544</c:v>
                </c:pt>
                <c:pt idx="71">
                  <c:v>1153.9607</c:v>
                </c:pt>
                <c:pt idx="72">
                  <c:v>1225.0484</c:v>
                </c:pt>
                <c:pt idx="73">
                  <c:v>1200.9912</c:v>
                </c:pt>
                <c:pt idx="74">
                  <c:v>1191.3868</c:v>
                </c:pt>
                <c:pt idx="75">
                  <c:v>1175.8962</c:v>
                </c:pt>
                <c:pt idx="76">
                  <c:v>1128.835</c:v>
                </c:pt>
                <c:pt idx="77">
                  <c:v>1125.8557</c:v>
                </c:pt>
                <c:pt idx="78">
                  <c:v>1147.0185</c:v>
                </c:pt>
                <c:pt idx="79">
                  <c:v>1224.0851</c:v>
                </c:pt>
                <c:pt idx="80">
                  <c:v>1158.5661</c:v>
                </c:pt>
                <c:pt idx="81">
                  <c:v>1183.4849</c:v>
                </c:pt>
                <c:pt idx="82">
                  <c:v>1240.7552</c:v>
                </c:pt>
                <c:pt idx="83">
                  <c:v>1143.3894</c:v>
                </c:pt>
                <c:pt idx="84">
                  <c:v>1164.6585</c:v>
                </c:pt>
                <c:pt idx="85">
                  <c:v>1142.2892</c:v>
                </c:pt>
                <c:pt idx="86">
                  <c:v>1119.9909</c:v>
                </c:pt>
                <c:pt idx="87">
                  <c:v>1182.1672</c:v>
                </c:pt>
                <c:pt idx="88">
                  <c:v>1177.4449</c:v>
                </c:pt>
                <c:pt idx="89">
                  <c:v>1168.5673</c:v>
                </c:pt>
                <c:pt idx="90">
                  <c:v>1246.0075</c:v>
                </c:pt>
                <c:pt idx="91">
                  <c:v>1248.3656</c:v>
                </c:pt>
                <c:pt idx="92">
                  <c:v>1193.6811</c:v>
                </c:pt>
                <c:pt idx="93">
                  <c:v>1235.198</c:v>
                </c:pt>
                <c:pt idx="94">
                  <c:v>1233.5536</c:v>
                </c:pt>
                <c:pt idx="95">
                  <c:v>1204.5472</c:v>
                </c:pt>
                <c:pt idx="96">
                  <c:v>1133.5252</c:v>
                </c:pt>
                <c:pt idx="97">
                  <c:v>1129.9705</c:v>
                </c:pt>
                <c:pt idx="98">
                  <c:v>1120.4359</c:v>
                </c:pt>
                <c:pt idx="99">
                  <c:v>1082.4246</c:v>
                </c:pt>
                <c:pt idx="100">
                  <c:v>1090.316</c:v>
                </c:pt>
                <c:pt idx="101">
                  <c:v>1128.0414</c:v>
                </c:pt>
                <c:pt idx="102">
                  <c:v>1128.7789</c:v>
                </c:pt>
                <c:pt idx="103">
                  <c:v>1099.8359</c:v>
                </c:pt>
                <c:pt idx="104">
                  <c:v>1115.7104</c:v>
                </c:pt>
              </c:numCache>
            </c:numRef>
          </c:xVal>
          <c:yVal>
            <c:numRef>
              <c:f>Sheet1!$B$2:$B$106</c:f>
              <c:numCache>
                <c:formatCode>General</c:formatCode>
                <c:ptCount val="105"/>
                <c:pt idx="0">
                  <c:v>0.11161192179841117</c:v>
                </c:pt>
                <c:pt idx="1">
                  <c:v>0.0923679060665362</c:v>
                </c:pt>
                <c:pt idx="2">
                  <c:v>0.09798698970445116</c:v>
                </c:pt>
                <c:pt idx="3">
                  <c:v>0.09666721035176426</c:v>
                </c:pt>
                <c:pt idx="4">
                  <c:v>0.10624081250835227</c:v>
                </c:pt>
                <c:pt idx="5">
                  <c:v>0.12701315141711794</c:v>
                </c:pt>
                <c:pt idx="6">
                  <c:v>0.1488462089723377</c:v>
                </c:pt>
                <c:pt idx="7">
                  <c:v>0.15231515749650465</c:v>
                </c:pt>
                <c:pt idx="8">
                  <c:v>0.1564456642936787</c:v>
                </c:pt>
                <c:pt idx="9">
                  <c:v>0.14047985029740026</c:v>
                </c:pt>
                <c:pt idx="10">
                  <c:v>0.1478868763902129</c:v>
                </c:pt>
                <c:pt idx="11">
                  <c:v>0.14233369132604712</c:v>
                </c:pt>
                <c:pt idx="12">
                  <c:v>0.12890878040162534</c:v>
                </c:pt>
                <c:pt idx="13">
                  <c:v>0.12000726216412491</c:v>
                </c:pt>
                <c:pt idx="14">
                  <c:v>0.09403877514042398</c:v>
                </c:pt>
                <c:pt idx="15">
                  <c:v>0.08468428455104005</c:v>
                </c:pt>
                <c:pt idx="16">
                  <c:v>0.08020449212202481</c:v>
                </c:pt>
                <c:pt idx="17">
                  <c:v>0.06952767007402186</c:v>
                </c:pt>
                <c:pt idx="18">
                  <c:v>0.06445125454893698</c:v>
                </c:pt>
                <c:pt idx="19">
                  <c:v>0.06243614485185606</c:v>
                </c:pt>
                <c:pt idx="20">
                  <c:v>0.060835798816568046</c:v>
                </c:pt>
                <c:pt idx="21">
                  <c:v>0.059258453843644664</c:v>
                </c:pt>
                <c:pt idx="22">
                  <c:v>0.06481679880008571</c:v>
                </c:pt>
                <c:pt idx="23">
                  <c:v>0.07247992863514718</c:v>
                </c:pt>
                <c:pt idx="24">
                  <c:v>0.07399577167019028</c:v>
                </c:pt>
                <c:pt idx="25">
                  <c:v>0.0766247502644259</c:v>
                </c:pt>
                <c:pt idx="26">
                  <c:v>0.09095027749462001</c:v>
                </c:pt>
                <c:pt idx="27">
                  <c:v>0.09469613259668508</c:v>
                </c:pt>
                <c:pt idx="28">
                  <c:v>0.11374045801526718</c:v>
                </c:pt>
                <c:pt idx="29">
                  <c:v>0.11356224822558987</c:v>
                </c:pt>
                <c:pt idx="30">
                  <c:v>0.11730021327311504</c:v>
                </c:pt>
                <c:pt idx="31">
                  <c:v>0.11637881071055987</c:v>
                </c:pt>
                <c:pt idx="32">
                  <c:v>0.12771493212669682</c:v>
                </c:pt>
                <c:pt idx="33">
                  <c:v>0.11790195901417351</c:v>
                </c:pt>
                <c:pt idx="34">
                  <c:v>0.11959134615384616</c:v>
                </c:pt>
                <c:pt idx="35">
                  <c:v>0.13572263342423063</c:v>
                </c:pt>
                <c:pt idx="36">
                  <c:v>0.10583807600514045</c:v>
                </c:pt>
                <c:pt idx="37">
                  <c:v>0.10197571516772999</c:v>
                </c:pt>
                <c:pt idx="38">
                  <c:v>0.09675486769845232</c:v>
                </c:pt>
                <c:pt idx="39">
                  <c:v>0.0886299802350983</c:v>
                </c:pt>
                <c:pt idx="40">
                  <c:v>0.09395673162882175</c:v>
                </c:pt>
                <c:pt idx="41">
                  <c:v>0.09259434408398752</c:v>
                </c:pt>
                <c:pt idx="42">
                  <c:v>0.09036870431359949</c:v>
                </c:pt>
                <c:pt idx="43">
                  <c:v>0.087968092178152</c:v>
                </c:pt>
                <c:pt idx="44">
                  <c:v>0.09342703596527491</c:v>
                </c:pt>
                <c:pt idx="45">
                  <c:v>0.1081802015411974</c:v>
                </c:pt>
                <c:pt idx="46">
                  <c:v>0.11185143181173803</c:v>
                </c:pt>
                <c:pt idx="47">
                  <c:v>0.10358032665866937</c:v>
                </c:pt>
                <c:pt idx="48">
                  <c:v>0.10720056199508254</c:v>
                </c:pt>
                <c:pt idx="49">
                  <c:v>0.10757608774605942</c:v>
                </c:pt>
                <c:pt idx="50">
                  <c:v>0.10438673370542921</c:v>
                </c:pt>
                <c:pt idx="51">
                  <c:v>0.09654148100997241</c:v>
                </c:pt>
                <c:pt idx="52">
                  <c:v>0.09940467949605428</c:v>
                </c:pt>
                <c:pt idx="53">
                  <c:v>0.08989323449687447</c:v>
                </c:pt>
                <c:pt idx="54">
                  <c:v>0.09183551847437425</c:v>
                </c:pt>
                <c:pt idx="55">
                  <c:v>0.08999877134783144</c:v>
                </c:pt>
                <c:pt idx="56">
                  <c:v>0.09457872287816035</c:v>
                </c:pt>
                <c:pt idx="57">
                  <c:v>0.0905018399018719</c:v>
                </c:pt>
                <c:pt idx="58">
                  <c:v>0.10347506344191827</c:v>
                </c:pt>
                <c:pt idx="59">
                  <c:v>0.09794723476297969</c:v>
                </c:pt>
                <c:pt idx="60">
                  <c:v>0.09967678863572882</c:v>
                </c:pt>
                <c:pt idx="61">
                  <c:v>0.10098018095648427</c:v>
                </c:pt>
                <c:pt idx="62">
                  <c:v>0.11095868727905872</c:v>
                </c:pt>
                <c:pt idx="63">
                  <c:v>0.11437699680511182</c:v>
                </c:pt>
                <c:pt idx="64">
                  <c:v>0.10774878460164698</c:v>
                </c:pt>
                <c:pt idx="65">
                  <c:v>0.10945485519591142</c:v>
                </c:pt>
                <c:pt idx="66">
                  <c:v>0.10667888523529728</c:v>
                </c:pt>
                <c:pt idx="67">
                  <c:v>0.09876887081499638</c:v>
                </c:pt>
                <c:pt idx="68">
                  <c:v>0.09202414173534947</c:v>
                </c:pt>
                <c:pt idx="69">
                  <c:v>0.08543128353281057</c:v>
                </c:pt>
                <c:pt idx="70">
                  <c:v>0.08832403077387238</c:v>
                </c:pt>
                <c:pt idx="71">
                  <c:v>0.08039169233199084</c:v>
                </c:pt>
                <c:pt idx="72">
                  <c:v>0.08137111093955068</c:v>
                </c:pt>
                <c:pt idx="73">
                  <c:v>0.0812126047068209</c:v>
                </c:pt>
                <c:pt idx="74">
                  <c:v>0.07855051244509517</c:v>
                </c:pt>
                <c:pt idx="75">
                  <c:v>0.0859437751004016</c:v>
                </c:pt>
                <c:pt idx="76">
                  <c:v>0.09480330257406508</c:v>
                </c:pt>
                <c:pt idx="77">
                  <c:v>0.08502406341417382</c:v>
                </c:pt>
                <c:pt idx="78">
                  <c:v>0.096081307627829</c:v>
                </c:pt>
                <c:pt idx="79">
                  <c:v>0.10028795551583755</c:v>
                </c:pt>
                <c:pt idx="80">
                  <c:v>0.08607843137254902</c:v>
                </c:pt>
                <c:pt idx="81">
                  <c:v>0.0840855106888361</c:v>
                </c:pt>
                <c:pt idx="82">
                  <c:v>0.093727394853777</c:v>
                </c:pt>
                <c:pt idx="83">
                  <c:v>0.08385202583675866</c:v>
                </c:pt>
                <c:pt idx="84">
                  <c:v>0.08458807687599461</c:v>
                </c:pt>
                <c:pt idx="85">
                  <c:v>0.08871402393014984</c:v>
                </c:pt>
                <c:pt idx="86">
                  <c:v>0.09915316944832689</c:v>
                </c:pt>
                <c:pt idx="87">
                  <c:v>0.11427596793450452</c:v>
                </c:pt>
                <c:pt idx="88">
                  <c:v>0.09438112377524495</c:v>
                </c:pt>
                <c:pt idx="89">
                  <c:v>0.10145993067955046</c:v>
                </c:pt>
                <c:pt idx="90">
                  <c:v>0.08703643637149962</c:v>
                </c:pt>
                <c:pt idx="91">
                  <c:v>0.08679871409312455</c:v>
                </c:pt>
                <c:pt idx="92">
                  <c:v>0.09280900793312293</c:v>
                </c:pt>
                <c:pt idx="93">
                  <c:v>0.09282981201131259</c:v>
                </c:pt>
                <c:pt idx="94">
                  <c:v>0.09474506739597578</c:v>
                </c:pt>
                <c:pt idx="95">
                  <c:v>0.09582700513488103</c:v>
                </c:pt>
                <c:pt idx="96">
                  <c:v>0.09726858877086494</c:v>
                </c:pt>
                <c:pt idx="97">
                  <c:v>0.10004616805170821</c:v>
                </c:pt>
                <c:pt idx="98">
                  <c:v>0.1054962018117561</c:v>
                </c:pt>
                <c:pt idx="99">
                  <c:v>0.10254591872916814</c:v>
                </c:pt>
                <c:pt idx="100">
                  <c:v>0.1075742948835025</c:v>
                </c:pt>
                <c:pt idx="101">
                  <c:v>0.09748155475866617</c:v>
                </c:pt>
                <c:pt idx="102">
                  <c:v>0.09748443849992283</c:v>
                </c:pt>
                <c:pt idx="103">
                  <c:v>0.09680249561317995</c:v>
                </c:pt>
                <c:pt idx="104">
                  <c:v>0.0937220732797140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20.0958</c:v>
                </c:pt>
                <c:pt idx="1">
                  <c:v>1174.9937</c:v>
                </c:pt>
                <c:pt idx="2">
                  <c:v>1170.388</c:v>
                </c:pt>
                <c:pt idx="3">
                  <c:v>1091.4839</c:v>
                </c:pt>
                <c:pt idx="4">
                  <c:v>1110.4615</c:v>
                </c:pt>
                <c:pt idx="5">
                  <c:v>1145.7045</c:v>
                </c:pt>
                <c:pt idx="6">
                  <c:v>1098.3812</c:v>
                </c:pt>
                <c:pt idx="7">
                  <c:v>1089.2621</c:v>
                </c:pt>
                <c:pt idx="8">
                  <c:v>1144.4919</c:v>
                </c:pt>
                <c:pt idx="9">
                  <c:v>1098.7364</c:v>
                </c:pt>
                <c:pt idx="10">
                  <c:v>1103.4401</c:v>
                </c:pt>
                <c:pt idx="11">
                  <c:v>1037.4924</c:v>
                </c:pt>
                <c:pt idx="12">
                  <c:v>1075.303</c:v>
                </c:pt>
                <c:pt idx="13">
                  <c:v>1083.7791</c:v>
                </c:pt>
                <c:pt idx="14">
                  <c:v>1097.4395</c:v>
                </c:pt>
                <c:pt idx="15">
                  <c:v>1111.6326</c:v>
                </c:pt>
                <c:pt idx="16">
                  <c:v>1147.6852</c:v>
                </c:pt>
                <c:pt idx="17">
                  <c:v>1058.0619</c:v>
                </c:pt>
                <c:pt idx="18">
                  <c:v>1151.8279</c:v>
                </c:pt>
                <c:pt idx="19">
                  <c:v>1239.7066</c:v>
                </c:pt>
                <c:pt idx="20">
                  <c:v>1255.5459</c:v>
                </c:pt>
                <c:pt idx="21">
                  <c:v>1221.7308</c:v>
                </c:pt>
                <c:pt idx="22">
                  <c:v>1211.2376</c:v>
                </c:pt>
                <c:pt idx="23">
                  <c:v>1211.7995</c:v>
                </c:pt>
                <c:pt idx="24">
                  <c:v>1193.8671</c:v>
                </c:pt>
                <c:pt idx="25">
                  <c:v>1198.6287</c:v>
                </c:pt>
                <c:pt idx="26">
                  <c:v>1177.2428</c:v>
                </c:pt>
                <c:pt idx="27">
                  <c:v>1158.4237</c:v>
                </c:pt>
                <c:pt idx="28">
                  <c:v>1224.7495</c:v>
                </c:pt>
                <c:pt idx="29">
                  <c:v>1211.2334</c:v>
                </c:pt>
                <c:pt idx="30">
                  <c:v>1225.7847</c:v>
                </c:pt>
                <c:pt idx="31">
                  <c:v>1223.98</c:v>
                </c:pt>
                <c:pt idx="32">
                  <c:v>1230.122</c:v>
                </c:pt>
                <c:pt idx="33">
                  <c:v>1206.9477</c:v>
                </c:pt>
                <c:pt idx="34">
                  <c:v>1216.6614</c:v>
                </c:pt>
                <c:pt idx="35">
                  <c:v>1254.16</c:v>
                </c:pt>
                <c:pt idx="36">
                  <c:v>1265.385</c:v>
                </c:pt>
                <c:pt idx="37">
                  <c:v>1278.3538</c:v>
                </c:pt>
                <c:pt idx="38">
                  <c:v>1282.6834</c:v>
                </c:pt>
                <c:pt idx="39">
                  <c:v>1243.2564</c:v>
                </c:pt>
                <c:pt idx="40">
                  <c:v>1258.6354</c:v>
                </c:pt>
                <c:pt idx="41">
                  <c:v>1286.8741</c:v>
                </c:pt>
                <c:pt idx="42">
                  <c:v>1284.3721</c:v>
                </c:pt>
                <c:pt idx="43">
                  <c:v>1286.2943</c:v>
                </c:pt>
                <c:pt idx="44">
                  <c:v>1211.5232</c:v>
                </c:pt>
                <c:pt idx="45">
                  <c:v>1180.9739</c:v>
                </c:pt>
                <c:pt idx="46">
                  <c:v>1166.9502</c:v>
                </c:pt>
                <c:pt idx="47">
                  <c:v>1148.0731</c:v>
                </c:pt>
                <c:pt idx="48">
                  <c:v>1133.8779</c:v>
                </c:pt>
                <c:pt idx="49">
                  <c:v>1141.1174</c:v>
                </c:pt>
                <c:pt idx="50">
                  <c:v>1112.3456</c:v>
                </c:pt>
                <c:pt idx="51">
                  <c:v>1096.0167</c:v>
                </c:pt>
              </c:numCache>
            </c:numRef>
          </c:xVal>
          <c:yVal>
            <c:numRef>
              <c:f>Sheet1!$B$109:$B$160</c:f>
              <c:numCache>
                <c:formatCode>General</c:formatCode>
                <c:ptCount val="52"/>
                <c:pt idx="0">
                  <c:v>0.10216208119039297</c:v>
                </c:pt>
                <c:pt idx="1">
                  <c:v>0.0928518400678757</c:v>
                </c:pt>
                <c:pt idx="2">
                  <c:v>0.11049535754217102</c:v>
                </c:pt>
                <c:pt idx="3">
                  <c:v>0.13015048800423099</c:v>
                </c:pt>
                <c:pt idx="4">
                  <c:v>0.11893110727307618</c:v>
                </c:pt>
                <c:pt idx="5">
                  <c:v>0.11790212678092092</c:v>
                </c:pt>
                <c:pt idx="6">
                  <c:v>0.12324230935355378</c:v>
                </c:pt>
                <c:pt idx="7">
                  <c:v>0.13000193936259616</c:v>
                </c:pt>
                <c:pt idx="8">
                  <c:v>0.11820781696854146</c:v>
                </c:pt>
                <c:pt idx="9">
                  <c:v>0.123335811313104</c:v>
                </c:pt>
                <c:pt idx="10">
                  <c:v>0.13297024442082891</c:v>
                </c:pt>
                <c:pt idx="11">
                  <c:v>0.1244347264324405</c:v>
                </c:pt>
                <c:pt idx="12">
                  <c:v>0.11905717726673166</c:v>
                </c:pt>
                <c:pt idx="13">
                  <c:v>0.11784395198522622</c:v>
                </c:pt>
                <c:pt idx="14">
                  <c:v>0.11651696606786427</c:v>
                </c:pt>
                <c:pt idx="15">
                  <c:v>0.11267136962598163</c:v>
                </c:pt>
                <c:pt idx="16">
                  <c:v>0.10218458692094215</c:v>
                </c:pt>
                <c:pt idx="17">
                  <c:v>0.1145166209210125</c:v>
                </c:pt>
                <c:pt idx="18">
                  <c:v>0.10506533023089315</c:v>
                </c:pt>
                <c:pt idx="19">
                  <c:v>0.10435355114805366</c:v>
                </c:pt>
                <c:pt idx="20">
                  <c:v>0.08961038961038961</c:v>
                </c:pt>
                <c:pt idx="21">
                  <c:v>0.09209832260787003</c:v>
                </c:pt>
                <c:pt idx="22">
                  <c:v>0.09597030752916225</c:v>
                </c:pt>
                <c:pt idx="23">
                  <c:v>0.09503119429590018</c:v>
                </c:pt>
                <c:pt idx="24">
                  <c:v>0.10725219043597593</c:v>
                </c:pt>
                <c:pt idx="25">
                  <c:v>0.10236398597443729</c:v>
                </c:pt>
                <c:pt idx="26">
                  <c:v>0.10047281323877069</c:v>
                </c:pt>
                <c:pt idx="27">
                  <c:v>0.10155963302752294</c:v>
                </c:pt>
                <c:pt idx="28">
                  <c:v>0.0937975325333784</c:v>
                </c:pt>
                <c:pt idx="29">
                  <c:v>0.09361157594251403</c:v>
                </c:pt>
                <c:pt idx="30">
                  <c:v>0.09845273420941077</c:v>
                </c:pt>
                <c:pt idx="31">
                  <c:v>0.09674482130662418</c:v>
                </c:pt>
                <c:pt idx="32">
                  <c:v>0.09459597507406273</c:v>
                </c:pt>
                <c:pt idx="33">
                  <c:v>0.11179961598882876</c:v>
                </c:pt>
                <c:pt idx="34">
                  <c:v>0.11988840760590265</c:v>
                </c:pt>
                <c:pt idx="35">
                  <c:v>0.11571295748457443</c:v>
                </c:pt>
                <c:pt idx="36">
                  <c:v>0.11209575325123719</c:v>
                </c:pt>
                <c:pt idx="37">
                  <c:v>0.09614187927815805</c:v>
                </c:pt>
                <c:pt idx="38">
                  <c:v>0.09749056184765711</c:v>
                </c:pt>
                <c:pt idx="39">
                  <c:v>0.10878923766816144</c:v>
                </c:pt>
                <c:pt idx="40">
                  <c:v>0.10347537548026546</c:v>
                </c:pt>
                <c:pt idx="41">
                  <c:v>0.11093247588424437</c:v>
                </c:pt>
                <c:pt idx="42">
                  <c:v>0.10399926110649303</c:v>
                </c:pt>
                <c:pt idx="43">
                  <c:v>0.10621634850709741</c:v>
                </c:pt>
                <c:pt idx="44">
                  <c:v>0.11007798440311937</c:v>
                </c:pt>
                <c:pt idx="45">
                  <c:v>0.11837413834086047</c:v>
                </c:pt>
                <c:pt idx="46">
                  <c:v>0.1341164680993208</c:v>
                </c:pt>
                <c:pt idx="47">
                  <c:v>0.13342077649527806</c:v>
                </c:pt>
                <c:pt idx="48">
                  <c:v>0.13739433785052999</c:v>
                </c:pt>
                <c:pt idx="49">
                  <c:v>0.13845122360040227</c:v>
                </c:pt>
                <c:pt idx="50">
                  <c:v>0.14342776203966007</c:v>
                </c:pt>
                <c:pt idx="51">
                  <c:v>0.1328157493414667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70.0429481793751</c:v>
                </c:pt>
              </c:numCache>
            </c:numRef>
          </c:xVal>
          <c:yVal>
            <c:numRef>
              <c:f>Sheet1!$B$163:$B$164</c:f>
              <c:numCache>
                <c:formatCode>General</c:formatCode>
                <c:ptCount val="2"/>
                <c:pt idx="0">
                  <c:v>0.13802226820801478</c:v>
                </c:pt>
                <c:pt idx="1">
                  <c:v>0.1380222682080147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70.0429481793751</c:v>
                </c:pt>
                <c:pt idx="1">
                  <c:v>970.0429481793751</c:v>
                </c:pt>
              </c:numCache>
            </c:numRef>
          </c:xVal>
          <c:yVal>
            <c:numRef>
              <c:f>Sheet1!$B$167:$B$168</c:f>
              <c:numCache>
                <c:formatCode>General</c:formatCode>
                <c:ptCount val="2"/>
                <c:pt idx="0">
                  <c:v>0.1380222682080147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70.0429481793751</c:v>
                </c:pt>
              </c:numCache>
            </c:numRef>
          </c:xVal>
          <c:yVal>
            <c:numRef>
              <c:f>Sheet1!$B$171:$B$172</c:f>
              <c:numCache>
                <c:formatCode>General</c:formatCode>
                <c:ptCount val="2"/>
                <c:pt idx="0">
                  <c:v>0.13802226820801478</c:v>
                </c:pt>
                <c:pt idx="1">
                  <c:v>0.1380222682080147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70.0429481793751</c:v>
                </c:pt>
                <c:pt idx="1">
                  <c:v>970.0429481793751</c:v>
                </c:pt>
              </c:numCache>
            </c:numRef>
          </c:xVal>
          <c:yVal>
            <c:numRef>
              <c:f>Sheet1!$B$175:$B$176</c:f>
              <c:numCache>
                <c:formatCode>General</c:formatCode>
                <c:ptCount val="2"/>
                <c:pt idx="0">
                  <c:v>0.1380222682080147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98.5277805125122</c:v>
                </c:pt>
              </c:numCache>
            </c:numRef>
          </c:xVal>
          <c:yVal>
            <c:numRef>
              <c:f>Sheet1!$B$179:$B$180</c:f>
              <c:numCache>
                <c:formatCode>General</c:formatCode>
                <c:ptCount val="2"/>
                <c:pt idx="0">
                  <c:v>0.12165316452437688</c:v>
                </c:pt>
                <c:pt idx="1">
                  <c:v>0.1216531645243768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98.5277805125122</c:v>
                </c:pt>
                <c:pt idx="1">
                  <c:v>1098.5277805125122</c:v>
                </c:pt>
              </c:numCache>
            </c:numRef>
          </c:xVal>
          <c:yVal>
            <c:numRef>
              <c:f>Sheet1!$B$183:$B$184</c:f>
              <c:numCache>
                <c:formatCode>General</c:formatCode>
                <c:ptCount val="2"/>
                <c:pt idx="0">
                  <c:v>0.121653164524376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20.0958</c:v>
                </c:pt>
                <c:pt idx="1">
                  <c:v>1174.9937</c:v>
                </c:pt>
                <c:pt idx="2">
                  <c:v>1170.388</c:v>
                </c:pt>
                <c:pt idx="3">
                  <c:v>1091.4839</c:v>
                </c:pt>
                <c:pt idx="4">
                  <c:v>1110.4615</c:v>
                </c:pt>
                <c:pt idx="5">
                  <c:v>1145.7045</c:v>
                </c:pt>
                <c:pt idx="6">
                  <c:v>1098.3812</c:v>
                </c:pt>
                <c:pt idx="7">
                  <c:v>1089.2621</c:v>
                </c:pt>
                <c:pt idx="8">
                  <c:v>1144.4919</c:v>
                </c:pt>
                <c:pt idx="9">
                  <c:v>1098.7364</c:v>
                </c:pt>
                <c:pt idx="10">
                  <c:v>1103.4401</c:v>
                </c:pt>
                <c:pt idx="11">
                  <c:v>1037.4924</c:v>
                </c:pt>
                <c:pt idx="12">
                  <c:v>1075.303</c:v>
                </c:pt>
                <c:pt idx="13">
                  <c:v>1083.7791</c:v>
                </c:pt>
                <c:pt idx="14">
                  <c:v>1097.4395</c:v>
                </c:pt>
                <c:pt idx="15">
                  <c:v>1111.6326</c:v>
                </c:pt>
                <c:pt idx="16">
                  <c:v>1147.6852</c:v>
                </c:pt>
                <c:pt idx="17">
                  <c:v>1058.0619</c:v>
                </c:pt>
                <c:pt idx="18">
                  <c:v>1151.8279</c:v>
                </c:pt>
                <c:pt idx="19">
                  <c:v>1239.7066</c:v>
                </c:pt>
                <c:pt idx="20">
                  <c:v>1255.5459</c:v>
                </c:pt>
                <c:pt idx="21">
                  <c:v>1221.7308</c:v>
                </c:pt>
                <c:pt idx="22">
                  <c:v>1211.2376</c:v>
                </c:pt>
                <c:pt idx="23">
                  <c:v>1211.7995</c:v>
                </c:pt>
                <c:pt idx="24">
                  <c:v>1193.8671</c:v>
                </c:pt>
                <c:pt idx="25">
                  <c:v>1198.6287</c:v>
                </c:pt>
                <c:pt idx="26">
                  <c:v>1177.2428</c:v>
                </c:pt>
                <c:pt idx="27">
                  <c:v>1158.4237</c:v>
                </c:pt>
                <c:pt idx="28">
                  <c:v>1224.7495</c:v>
                </c:pt>
                <c:pt idx="29">
                  <c:v>1211.2334</c:v>
                </c:pt>
                <c:pt idx="30">
                  <c:v>1225.7847</c:v>
                </c:pt>
                <c:pt idx="31">
                  <c:v>1223.98</c:v>
                </c:pt>
                <c:pt idx="32">
                  <c:v>1230.122</c:v>
                </c:pt>
                <c:pt idx="33">
                  <c:v>1206.9477</c:v>
                </c:pt>
                <c:pt idx="34">
                  <c:v>1216.6614</c:v>
                </c:pt>
                <c:pt idx="35">
                  <c:v>1254.16</c:v>
                </c:pt>
                <c:pt idx="36">
                  <c:v>1265.385</c:v>
                </c:pt>
                <c:pt idx="37">
                  <c:v>1278.3538</c:v>
                </c:pt>
                <c:pt idx="38">
                  <c:v>1282.6834</c:v>
                </c:pt>
                <c:pt idx="39">
                  <c:v>1243.2564</c:v>
                </c:pt>
                <c:pt idx="40">
                  <c:v>1258.6354</c:v>
                </c:pt>
                <c:pt idx="41">
                  <c:v>1286.8741</c:v>
                </c:pt>
                <c:pt idx="42">
                  <c:v>1284.3721</c:v>
                </c:pt>
                <c:pt idx="43">
                  <c:v>1286.2943</c:v>
                </c:pt>
                <c:pt idx="44">
                  <c:v>1211.5232</c:v>
                </c:pt>
                <c:pt idx="45">
                  <c:v>1180.9739</c:v>
                </c:pt>
                <c:pt idx="46">
                  <c:v>1166.9502</c:v>
                </c:pt>
                <c:pt idx="47">
                  <c:v>1148.0731</c:v>
                </c:pt>
                <c:pt idx="48">
                  <c:v>1133.8779</c:v>
                </c:pt>
                <c:pt idx="49">
                  <c:v>1141.1174</c:v>
                </c:pt>
                <c:pt idx="50">
                  <c:v>1112.3456</c:v>
                </c:pt>
                <c:pt idx="51">
                  <c:v>1096.0167</c:v>
                </c:pt>
                <c:pt idx="52">
                  <c:v>970.0429481793751</c:v>
                </c:pt>
                <c:pt idx="53">
                  <c:v>970.0429481793751</c:v>
                </c:pt>
                <c:pt idx="54">
                  <c:v>1098.5277805125122</c:v>
                </c:pt>
              </c:numCache>
            </c:numRef>
          </c:xVal>
          <c:yVal>
            <c:numRef>
              <c:f>Sheet1!$B$187:$B$241</c:f>
              <c:numCache>
                <c:formatCode>General</c:formatCode>
                <c:ptCount val="55"/>
                <c:pt idx="0">
                  <c:v>0.11890537600467035</c:v>
                </c:pt>
                <c:pt idx="1">
                  <c:v>0.11191132541678456</c:v>
                </c:pt>
                <c:pt idx="2">
                  <c:v>0.11249809647346662</c:v>
                </c:pt>
                <c:pt idx="3">
                  <c:v>0.12255056235998688</c:v>
                </c:pt>
                <c:pt idx="4">
                  <c:v>0.12013279602581634</c:v>
                </c:pt>
                <c:pt idx="5">
                  <c:v>0.11564280050925085</c:v>
                </c:pt>
                <c:pt idx="6">
                  <c:v>0.12167183903687567</c:v>
                </c:pt>
                <c:pt idx="7">
                  <c:v>0.12283362203250922</c:v>
                </c:pt>
                <c:pt idx="8">
                  <c:v>0.11579728703319567</c:v>
                </c:pt>
                <c:pt idx="9">
                  <c:v>0.12162658618077707</c:v>
                </c:pt>
                <c:pt idx="10">
                  <c:v>0.12102732982032904</c:v>
                </c:pt>
                <c:pt idx="11">
                  <c:v>0.12942913662814348</c:v>
                </c:pt>
                <c:pt idx="12">
                  <c:v>0.12461202615291009</c:v>
                </c:pt>
                <c:pt idx="13">
                  <c:v>0.1235321620381083</c:v>
                </c:pt>
                <c:pt idx="14">
                  <c:v>0.12179181261398178</c:v>
                </c:pt>
                <c:pt idx="15">
                  <c:v>0.1199835966458132</c:v>
                </c:pt>
                <c:pt idx="16">
                  <c:v>0.11539045723201394</c:v>
                </c:pt>
                <c:pt idx="17">
                  <c:v>0.12680856054841155</c:v>
                </c:pt>
                <c:pt idx="18">
                  <c:v>0.11486267286557303</c:v>
                </c:pt>
                <c:pt idx="19">
                  <c:v>0.10366683343642111</c:v>
                </c:pt>
                <c:pt idx="20">
                  <c:v>0.10164888984519632</c:v>
                </c:pt>
                <c:pt idx="21">
                  <c:v>0.10595696938984953</c:v>
                </c:pt>
                <c:pt idx="22">
                  <c:v>0.10729381418042994</c:v>
                </c:pt>
                <c:pt idx="23">
                  <c:v>0.10722222752546984</c:v>
                </c:pt>
                <c:pt idx="24">
                  <c:v>0.10950683427294475</c:v>
                </c:pt>
                <c:pt idx="25">
                  <c:v>0.10890020139119014</c:v>
                </c:pt>
                <c:pt idx="26">
                  <c:v>0.111624787695356</c:v>
                </c:pt>
                <c:pt idx="27">
                  <c:v>0.11402236096170099</c:v>
                </c:pt>
                <c:pt idx="28">
                  <c:v>0.10557238381354059</c:v>
                </c:pt>
                <c:pt idx="29">
                  <c:v>0.10729434926487702</c:v>
                </c:pt>
                <c:pt idx="30">
                  <c:v>0.10544049823743332</c:v>
                </c:pt>
                <c:pt idx="31">
                  <c:v>0.10567041892831505</c:v>
                </c:pt>
                <c:pt idx="32">
                  <c:v>0.1048879216249429</c:v>
                </c:pt>
                <c:pt idx="33">
                  <c:v>0.10784035198273148</c:v>
                </c:pt>
                <c:pt idx="34">
                  <c:v>0.10660281631751395</c:v>
                </c:pt>
                <c:pt idx="35">
                  <c:v>0.10182545497263745</c:v>
                </c:pt>
                <c:pt idx="36">
                  <c:v>0.10039537808720073</c:v>
                </c:pt>
                <c:pt idx="37">
                  <c:v>0.09874313923536532</c:v>
                </c:pt>
                <c:pt idx="38">
                  <c:v>0.098191543611028</c:v>
                </c:pt>
                <c:pt idx="39">
                  <c:v>0.10321458515776424</c:v>
                </c:pt>
                <c:pt idx="40">
                  <c:v>0.10125528427392178</c:v>
                </c:pt>
                <c:pt idx="41">
                  <c:v>0.09765764399376295</c:v>
                </c:pt>
                <c:pt idx="42">
                  <c:v>0.0979764014429712</c:v>
                </c:pt>
                <c:pt idx="43">
                  <c:v>0.0977315111276762</c:v>
                </c:pt>
                <c:pt idx="44">
                  <c:v>0.10725742843802627</c:v>
                </c:pt>
                <c:pt idx="45">
                  <c:v>0.11114944160473211</c:v>
                </c:pt>
                <c:pt idx="46">
                  <c:v>0.11293607583353382</c:v>
                </c:pt>
                <c:pt idx="47">
                  <c:v>0.11534103836129134</c:v>
                </c:pt>
                <c:pt idx="48">
                  <c:v>0.11714952187168348</c:v>
                </c:pt>
                <c:pt idx="49">
                  <c:v>0.11622720190623853</c:v>
                </c:pt>
                <c:pt idx="50">
                  <c:v>0.11989275969086294</c:v>
                </c:pt>
                <c:pt idx="51">
                  <c:v>0.12197307884049399</c:v>
                </c:pt>
                <c:pt idx="52">
                  <c:v>0.13802226820801478</c:v>
                </c:pt>
                <c:pt idx="53">
                  <c:v>0.13802226820801478</c:v>
                </c:pt>
                <c:pt idx="54">
                  <c:v>0.1216531645243768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4.0"/>
          <c:min val="60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73479715241445"/>
          <c:min val="0.0474067630749157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6871168383809674</c:v>
                </c:pt>
                <c:pt idx="1">
                  <c:v>0.07793081091109504</c:v>
                </c:pt>
                <c:pt idx="2">
                  <c:v>0.07933347063638092</c:v>
                </c:pt>
                <c:pt idx="3">
                  <c:v>0.0788407803580094</c:v>
                </c:pt>
                <c:pt idx="4">
                  <c:v>0.07711214092968421</c:v>
                </c:pt>
                <c:pt idx="5">
                  <c:v>0.0776463522495889</c:v>
                </c:pt>
                <c:pt idx="6">
                  <c:v>0.07632550520279399</c:v>
                </c:pt>
                <c:pt idx="7">
                  <c:v>0.07679461899157217</c:v>
                </c:pt>
                <c:pt idx="8">
                  <c:v>0.07403840304287651</c:v>
                </c:pt>
                <c:pt idx="9">
                  <c:v>0.0719595750115054</c:v>
                </c:pt>
                <c:pt idx="10">
                  <c:v>0.07144437824064007</c:v>
                </c:pt>
                <c:pt idx="11">
                  <c:v>0.07426527057220803</c:v>
                </c:pt>
                <c:pt idx="12">
                  <c:v>0.07473237469687523</c:v>
                </c:pt>
                <c:pt idx="13">
                  <c:v>0.07448513375562821</c:v>
                </c:pt>
                <c:pt idx="14">
                  <c:v>0.07823268530440776</c:v>
                </c:pt>
                <c:pt idx="15">
                  <c:v>0.0803869840528142</c:v>
                </c:pt>
                <c:pt idx="16">
                  <c:v>0.0803719785968905</c:v>
                </c:pt>
                <c:pt idx="17">
                  <c:v>0.07949681960868955</c:v>
                </c:pt>
                <c:pt idx="18">
                  <c:v>0.08855496281434878</c:v>
                </c:pt>
                <c:pt idx="19">
                  <c:v>0.08582534589024715</c:v>
                </c:pt>
                <c:pt idx="20">
                  <c:v>0.08590213491648654</c:v>
                </c:pt>
                <c:pt idx="21">
                  <c:v>0.08538875533602519</c:v>
                </c:pt>
                <c:pt idx="22">
                  <c:v>0.08113284278034698</c:v>
                </c:pt>
                <c:pt idx="23">
                  <c:v>0.08001714125088417</c:v>
                </c:pt>
                <c:pt idx="24">
                  <c:v>0.07970462850773034</c:v>
                </c:pt>
                <c:pt idx="25">
                  <c:v>0.07819404200758259</c:v>
                </c:pt>
                <c:pt idx="26">
                  <c:v>0.07935387556922628</c:v>
                </c:pt>
                <c:pt idx="27">
                  <c:v>0.08243577573379113</c:v>
                </c:pt>
                <c:pt idx="28">
                  <c:v>0.08026332441044928</c:v>
                </c:pt>
                <c:pt idx="29">
                  <c:v>0.06940087475695782</c:v>
                </c:pt>
                <c:pt idx="30">
                  <c:v>0.07467920333414477</c:v>
                </c:pt>
                <c:pt idx="31">
                  <c:v>0.07601370122136945</c:v>
                </c:pt>
                <c:pt idx="32">
                  <c:v>0.0739843056338606</c:v>
                </c:pt>
                <c:pt idx="33">
                  <c:v>0.0679484880898077</c:v>
                </c:pt>
                <c:pt idx="34">
                  <c:v>0.07901867087307905</c:v>
                </c:pt>
                <c:pt idx="35">
                  <c:v>0.08028076347718911</c:v>
                </c:pt>
                <c:pt idx="36">
                  <c:v>0.08721027263147295</c:v>
                </c:pt>
                <c:pt idx="37">
                  <c:v>0.08821582694766113</c:v>
                </c:pt>
                <c:pt idx="38">
                  <c:v>0.09183239823993095</c:v>
                </c:pt>
                <c:pt idx="39">
                  <c:v>0.0945642979269026</c:v>
                </c:pt>
                <c:pt idx="40">
                  <c:v>0.09791275525968571</c:v>
                </c:pt>
                <c:pt idx="41">
                  <c:v>0.10007756068137347</c:v>
                </c:pt>
                <c:pt idx="42">
                  <c:v>0.09827404892727536</c:v>
                </c:pt>
                <c:pt idx="43">
                  <c:v>0.09810708470052723</c:v>
                </c:pt>
                <c:pt idx="44">
                  <c:v>0.0907019467174327</c:v>
                </c:pt>
                <c:pt idx="45">
                  <c:v>0.08925461845755255</c:v>
                </c:pt>
                <c:pt idx="46">
                  <c:v>0.08611343730562834</c:v>
                </c:pt>
                <c:pt idx="47">
                  <c:v>0.08497701249877737</c:v>
                </c:pt>
                <c:pt idx="48">
                  <c:v>0.08367939997259062</c:v>
                </c:pt>
                <c:pt idx="49">
                  <c:v>0.08141182686997035</c:v>
                </c:pt>
                <c:pt idx="50">
                  <c:v>0.08061602169210123</c:v>
                </c:pt>
                <c:pt idx="51">
                  <c:v>0.07825384137041548</c:v>
                </c:pt>
                <c:pt idx="52">
                  <c:v>0.07884156562756463</c:v>
                </c:pt>
                <c:pt idx="53">
                  <c:v>0.09136239200193728</c:v>
                </c:pt>
                <c:pt idx="54">
                  <c:v>0.08863623322593413</c:v>
                </c:pt>
                <c:pt idx="55">
                  <c:v>0.09158218010407364</c:v>
                </c:pt>
                <c:pt idx="56">
                  <c:v>0.08757666981873903</c:v>
                </c:pt>
                <c:pt idx="57">
                  <c:v>0.08833842154276986</c:v>
                </c:pt>
                <c:pt idx="58">
                  <c:v>0.08579166432663023</c:v>
                </c:pt>
                <c:pt idx="59">
                  <c:v>0.08906745391043198</c:v>
                </c:pt>
                <c:pt idx="60">
                  <c:v>0.08950233284098054</c:v>
                </c:pt>
                <c:pt idx="61">
                  <c:v>0.08625876460542632</c:v>
                </c:pt>
                <c:pt idx="62">
                  <c:v>0.08277740852432759</c:v>
                </c:pt>
                <c:pt idx="63">
                  <c:v>0.08608625327201581</c:v>
                </c:pt>
                <c:pt idx="64">
                  <c:v>0.08723830404367855</c:v>
                </c:pt>
                <c:pt idx="65">
                  <c:v>0.08246226835441102</c:v>
                </c:pt>
                <c:pt idx="66">
                  <c:v>0.08862227440794808</c:v>
                </c:pt>
                <c:pt idx="67">
                  <c:v>0.0869195602371769</c:v>
                </c:pt>
                <c:pt idx="68">
                  <c:v>0.08795422485905657</c:v>
                </c:pt>
                <c:pt idx="69">
                  <c:v>0.08772154291312376</c:v>
                </c:pt>
                <c:pt idx="70">
                  <c:v>0.08816169444903374</c:v>
                </c:pt>
                <c:pt idx="71">
                  <c:v>0.08718647935735975</c:v>
                </c:pt>
                <c:pt idx="72">
                  <c:v>0.09507728758470145</c:v>
                </c:pt>
                <c:pt idx="73">
                  <c:v>0.09803912283621838</c:v>
                </c:pt>
                <c:pt idx="74">
                  <c:v>0.097015970290499</c:v>
                </c:pt>
                <c:pt idx="75">
                  <c:v>0.09370957626263801</c:v>
                </c:pt>
                <c:pt idx="76">
                  <c:v>0.09518589541341028</c:v>
                </c:pt>
                <c:pt idx="77">
                  <c:v>0.08695428903031971</c:v>
                </c:pt>
                <c:pt idx="78">
                  <c:v>0.0907699206394291</c:v>
                </c:pt>
                <c:pt idx="79">
                  <c:v>0.09548733666223196</c:v>
                </c:pt>
                <c:pt idx="80">
                  <c:v>0.08901834380637358</c:v>
                </c:pt>
                <c:pt idx="81">
                  <c:v>0.09076453199539258</c:v>
                </c:pt>
                <c:pt idx="82">
                  <c:v>0.09470912345464798</c:v>
                </c:pt>
                <c:pt idx="83">
                  <c:v>0.09713419693025839</c:v>
                </c:pt>
                <c:pt idx="84">
                  <c:v>0.09340311716464031</c:v>
                </c:pt>
                <c:pt idx="85">
                  <c:v>0.09344272127804085</c:v>
                </c:pt>
                <c:pt idx="86">
                  <c:v>0.09678338892713874</c:v>
                </c:pt>
                <c:pt idx="87">
                  <c:v>0.09621349825565974</c:v>
                </c:pt>
                <c:pt idx="88">
                  <c:v>0.09712495722885858</c:v>
                </c:pt>
                <c:pt idx="89">
                  <c:v>0.09484010272746717</c:v>
                </c:pt>
                <c:pt idx="90">
                  <c:v>0.09914606588369262</c:v>
                </c:pt>
                <c:pt idx="91">
                  <c:v>0.09980933023203176</c:v>
                </c:pt>
                <c:pt idx="92">
                  <c:v>0.0954879939997264</c:v>
                </c:pt>
                <c:pt idx="93">
                  <c:v>0.09758163122750667</c:v>
                </c:pt>
                <c:pt idx="94">
                  <c:v>0.09397063382276419</c:v>
                </c:pt>
                <c:pt idx="95">
                  <c:v>0.09293055003167372</c:v>
                </c:pt>
                <c:pt idx="96">
                  <c:v>0.08755131130385892</c:v>
                </c:pt>
                <c:pt idx="97">
                  <c:v>0.0895984675007651</c:v>
                </c:pt>
                <c:pt idx="98">
                  <c:v>0.08820635015832386</c:v>
                </c:pt>
                <c:pt idx="99">
                  <c:v>0.08380479911836834</c:v>
                </c:pt>
                <c:pt idx="100">
                  <c:v>0.08445321339489932</c:v>
                </c:pt>
                <c:pt idx="101">
                  <c:v>0.08725577294641668</c:v>
                </c:pt>
                <c:pt idx="102">
                  <c:v>0.08737962586171427</c:v>
                </c:pt>
                <c:pt idx="103">
                  <c:v>0.08211944694849098</c:v>
                </c:pt>
                <c:pt idx="104">
                  <c:v>0.08754106751030975</c:v>
                </c:pt>
              </c:numCache>
            </c:numRef>
          </c:xVal>
          <c:yVal>
            <c:numRef>
              <c:f>Sheet1!$B$2:$B$106</c:f>
              <c:numCache>
                <c:formatCode>General</c:formatCode>
                <c:ptCount val="105"/>
                <c:pt idx="0">
                  <c:v>0.23635134373767536</c:v>
                </c:pt>
                <c:pt idx="1">
                  <c:v>0.21945764607212748</c:v>
                </c:pt>
                <c:pt idx="2">
                  <c:v>0.18578087384111047</c:v>
                </c:pt>
                <c:pt idx="3">
                  <c:v>0.18142771706627522</c:v>
                </c:pt>
                <c:pt idx="4">
                  <c:v>0.15468395028731793</c:v>
                </c:pt>
                <c:pt idx="5">
                  <c:v>0.13777340178634223</c:v>
                </c:pt>
                <c:pt idx="6">
                  <c:v>0.1590941665472266</c:v>
                </c:pt>
                <c:pt idx="7">
                  <c:v>0.14277489925158318</c:v>
                </c:pt>
                <c:pt idx="8">
                  <c:v>0.1609057380564371</c:v>
                </c:pt>
                <c:pt idx="9">
                  <c:v>0.18238321192274276</c:v>
                </c:pt>
                <c:pt idx="10">
                  <c:v>0.19110263743247538</c:v>
                </c:pt>
                <c:pt idx="11">
                  <c:v>0.18504011624234</c:v>
                </c:pt>
                <c:pt idx="12">
                  <c:v>0.20558271008774512</c:v>
                </c:pt>
                <c:pt idx="13">
                  <c:v>0.2106632776567417</c:v>
                </c:pt>
                <c:pt idx="14">
                  <c:v>0.20710273600289908</c:v>
                </c:pt>
                <c:pt idx="15">
                  <c:v>0.20608483233399955</c:v>
                </c:pt>
                <c:pt idx="16">
                  <c:v>0.19837412001340932</c:v>
                </c:pt>
                <c:pt idx="17">
                  <c:v>0.18020796616143814</c:v>
                </c:pt>
                <c:pt idx="18">
                  <c:v>0.1958437081018962</c:v>
                </c:pt>
                <c:pt idx="19">
                  <c:v>0.15518220002270405</c:v>
                </c:pt>
                <c:pt idx="20">
                  <c:v>0.1707655325443787</c:v>
                </c:pt>
                <c:pt idx="21">
                  <c:v>0.16146569533543548</c:v>
                </c:pt>
                <c:pt idx="22">
                  <c:v>0.16455967430897794</c:v>
                </c:pt>
                <c:pt idx="23">
                  <c:v>0.16971454058876004</c:v>
                </c:pt>
                <c:pt idx="24">
                  <c:v>0.17272727272727273</c:v>
                </c:pt>
                <c:pt idx="25">
                  <c:v>0.16617698907039605</c:v>
                </c:pt>
                <c:pt idx="26">
                  <c:v>0.15947445916864877</c:v>
                </c:pt>
                <c:pt idx="27">
                  <c:v>0.15248618784530388</c:v>
                </c:pt>
                <c:pt idx="28">
                  <c:v>0.14558342420937842</c:v>
                </c:pt>
                <c:pt idx="29">
                  <c:v>0.16650680989833108</c:v>
                </c:pt>
                <c:pt idx="30">
                  <c:v>0.15067118303851462</c:v>
                </c:pt>
                <c:pt idx="31">
                  <c:v>0.14489393763764924</c:v>
                </c:pt>
                <c:pt idx="32">
                  <c:v>0.15509049773755657</c:v>
                </c:pt>
                <c:pt idx="33">
                  <c:v>0.18335289338268485</c:v>
                </c:pt>
                <c:pt idx="34">
                  <c:v>0.16912774725274726</c:v>
                </c:pt>
                <c:pt idx="35">
                  <c:v>0.18659914296844565</c:v>
                </c:pt>
                <c:pt idx="36">
                  <c:v>0.136864328988434</c:v>
                </c:pt>
                <c:pt idx="37">
                  <c:v>0.12492282362626055</c:v>
                </c:pt>
                <c:pt idx="38">
                  <c:v>0.11882176734897654</c:v>
                </c:pt>
                <c:pt idx="39">
                  <c:v>0.1116196816810569</c:v>
                </c:pt>
                <c:pt idx="40">
                  <c:v>0.11648489182907205</c:v>
                </c:pt>
                <c:pt idx="41">
                  <c:v>0.09429679371985246</c:v>
                </c:pt>
                <c:pt idx="42">
                  <c:v>0.0975178729215198</c:v>
                </c:pt>
                <c:pt idx="43">
                  <c:v>0.10665484895487111</c:v>
                </c:pt>
                <c:pt idx="44">
                  <c:v>0.12773873501446878</c:v>
                </c:pt>
                <c:pt idx="45">
                  <c:v>0.1412270302311796</c:v>
                </c:pt>
                <c:pt idx="46">
                  <c:v>0.152112276722427</c:v>
                </c:pt>
                <c:pt idx="47">
                  <c:v>0.1359693642151887</c:v>
                </c:pt>
                <c:pt idx="48">
                  <c:v>0.16153846153846155</c:v>
                </c:pt>
                <c:pt idx="49">
                  <c:v>0.1857824265756277</c:v>
                </c:pt>
                <c:pt idx="50">
                  <c:v>0.14806956040407768</c:v>
                </c:pt>
                <c:pt idx="51">
                  <c:v>0.13584765542117547</c:v>
                </c:pt>
                <c:pt idx="52">
                  <c:v>0.15649083944805944</c:v>
                </c:pt>
                <c:pt idx="53">
                  <c:v>0.12756541461525694</c:v>
                </c:pt>
                <c:pt idx="54">
                  <c:v>0.12169249106078665</c:v>
                </c:pt>
                <c:pt idx="55">
                  <c:v>0.11088585821353975</c:v>
                </c:pt>
                <c:pt idx="56">
                  <c:v>0.12443592755146195</c:v>
                </c:pt>
                <c:pt idx="57">
                  <c:v>0.11284731480987681</c:v>
                </c:pt>
                <c:pt idx="58">
                  <c:v>0.1311823501993889</c:v>
                </c:pt>
                <c:pt idx="59">
                  <c:v>0.13709791196388263</c:v>
                </c:pt>
                <c:pt idx="60">
                  <c:v>0.14013806312597263</c:v>
                </c:pt>
                <c:pt idx="61">
                  <c:v>0.14212623869021973</c:v>
                </c:pt>
                <c:pt idx="62">
                  <c:v>0.16245449269244974</c:v>
                </c:pt>
                <c:pt idx="63">
                  <c:v>0.1760629147210617</c:v>
                </c:pt>
                <c:pt idx="64">
                  <c:v>0.17372755233654133</c:v>
                </c:pt>
                <c:pt idx="65">
                  <c:v>0.17802385008517888</c:v>
                </c:pt>
                <c:pt idx="66">
                  <c:v>0.16888577435178698</c:v>
                </c:pt>
                <c:pt idx="67">
                  <c:v>0.15208066402985906</c:v>
                </c:pt>
                <c:pt idx="68">
                  <c:v>0.13316892725030827</c:v>
                </c:pt>
                <c:pt idx="69">
                  <c:v>0.1154766817994222</c:v>
                </c:pt>
                <c:pt idx="70">
                  <c:v>0.10393724543671745</c:v>
                </c:pt>
                <c:pt idx="71">
                  <c:v>0.11537550343520493</c:v>
                </c:pt>
                <c:pt idx="72">
                  <c:v>0.11418204277001467</c:v>
                </c:pt>
                <c:pt idx="73">
                  <c:v>0.10666134822497009</c:v>
                </c:pt>
                <c:pt idx="74">
                  <c:v>0.11383601756954612</c:v>
                </c:pt>
                <c:pt idx="75">
                  <c:v>0.09701026327532351</c:v>
                </c:pt>
                <c:pt idx="76">
                  <c:v>0.09567751335599806</c:v>
                </c:pt>
                <c:pt idx="77">
                  <c:v>0.1223931301311692</c:v>
                </c:pt>
                <c:pt idx="78">
                  <c:v>0.09943419949706622</c:v>
                </c:pt>
                <c:pt idx="79">
                  <c:v>0.0840035746201966</c:v>
                </c:pt>
                <c:pt idx="80">
                  <c:v>0.09843137254901961</c:v>
                </c:pt>
                <c:pt idx="81">
                  <c:v>0.11235154394299288</c:v>
                </c:pt>
                <c:pt idx="82">
                  <c:v>0.08949054459026558</c:v>
                </c:pt>
                <c:pt idx="83">
                  <c:v>0.0745742806811509</c:v>
                </c:pt>
                <c:pt idx="84">
                  <c:v>0.07993634471783571</c:v>
                </c:pt>
                <c:pt idx="85">
                  <c:v>0.0890374043332974</c:v>
                </c:pt>
                <c:pt idx="86">
                  <c:v>0.10630601003042013</c:v>
                </c:pt>
                <c:pt idx="87">
                  <c:v>0.11717550741940985</c:v>
                </c:pt>
                <c:pt idx="88">
                  <c:v>0.10587882423515296</c:v>
                </c:pt>
                <c:pt idx="89">
                  <c:v>0.0805587648356265</c:v>
                </c:pt>
                <c:pt idx="90">
                  <c:v>0.07979240999026922</c:v>
                </c:pt>
                <c:pt idx="91">
                  <c:v>0.08047288188323136</c:v>
                </c:pt>
                <c:pt idx="92">
                  <c:v>0.09758594216497483</c:v>
                </c:pt>
                <c:pt idx="93">
                  <c:v>0.08251538845450009</c:v>
                </c:pt>
                <c:pt idx="94">
                  <c:v>0.08878687243602267</c:v>
                </c:pt>
                <c:pt idx="95">
                  <c:v>0.09799667317567079</c:v>
                </c:pt>
                <c:pt idx="96">
                  <c:v>0.09893778452200304</c:v>
                </c:pt>
                <c:pt idx="97">
                  <c:v>0.10909510618651892</c:v>
                </c:pt>
                <c:pt idx="98">
                  <c:v>0.12865093228256896</c:v>
                </c:pt>
                <c:pt idx="99">
                  <c:v>0.1371533933763563</c:v>
                </c:pt>
                <c:pt idx="100">
                  <c:v>0.1578260756124925</c:v>
                </c:pt>
                <c:pt idx="101">
                  <c:v>0.12386134124726927</c:v>
                </c:pt>
                <c:pt idx="102">
                  <c:v>0.09918205669015896</c:v>
                </c:pt>
                <c:pt idx="103">
                  <c:v>0.1105966075258335</c:v>
                </c:pt>
                <c:pt idx="104">
                  <c:v>0.1090259159964253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9199478938582127</c:v>
                </c:pt>
                <c:pt idx="1">
                  <c:v>0.09162483087772115</c:v>
                </c:pt>
                <c:pt idx="2">
                  <c:v>0.08971308370495525</c:v>
                </c:pt>
                <c:pt idx="3">
                  <c:v>0.08840296536297886</c:v>
                </c:pt>
                <c:pt idx="4">
                  <c:v>0.08908916262011492</c:v>
                </c:pt>
                <c:pt idx="5">
                  <c:v>0.08965710916581437</c:v>
                </c:pt>
                <c:pt idx="6">
                  <c:v>0.08366089422597806</c:v>
                </c:pt>
                <c:pt idx="7">
                  <c:v>0.08471525684092847</c:v>
                </c:pt>
                <c:pt idx="8">
                  <c:v>0.09385870532126878</c:v>
                </c:pt>
                <c:pt idx="9">
                  <c:v>0.0868084816649128</c:v>
                </c:pt>
                <c:pt idx="10">
                  <c:v>0.08871429096208168</c:v>
                </c:pt>
                <c:pt idx="11">
                  <c:v>0.08240123333744195</c:v>
                </c:pt>
                <c:pt idx="12">
                  <c:v>0.08515361688336213</c:v>
                </c:pt>
                <c:pt idx="13">
                  <c:v>0.08788409871125916</c:v>
                </c:pt>
                <c:pt idx="14">
                  <c:v>0.08917462516805862</c:v>
                </c:pt>
                <c:pt idx="15">
                  <c:v>0.09115360672358391</c:v>
                </c:pt>
                <c:pt idx="16">
                  <c:v>0.08997661209869208</c:v>
                </c:pt>
                <c:pt idx="17">
                  <c:v>0.09085004777307275</c:v>
                </c:pt>
                <c:pt idx="18">
                  <c:v>0.08388980412402847</c:v>
                </c:pt>
                <c:pt idx="19">
                  <c:v>0.08803485136685833</c:v>
                </c:pt>
                <c:pt idx="20">
                  <c:v>0.08635530855298262</c:v>
                </c:pt>
                <c:pt idx="21">
                  <c:v>0.0845517577820675</c:v>
                </c:pt>
                <c:pt idx="22">
                  <c:v>0.08772667053843403</c:v>
                </c:pt>
                <c:pt idx="23">
                  <c:v>0.0876282977721735</c:v>
                </c:pt>
                <c:pt idx="24">
                  <c:v>0.092982886956736</c:v>
                </c:pt>
                <c:pt idx="25">
                  <c:v>0.09000168272394171</c:v>
                </c:pt>
                <c:pt idx="26">
                  <c:v>0.09408895541114629</c:v>
                </c:pt>
                <c:pt idx="27">
                  <c:v>0.09334880453342265</c:v>
                </c:pt>
                <c:pt idx="28">
                  <c:v>0.0872352489791546</c:v>
                </c:pt>
                <c:pt idx="29">
                  <c:v>0.088481166473998</c:v>
                </c:pt>
                <c:pt idx="30">
                  <c:v>0.08731320144605338</c:v>
                </c:pt>
                <c:pt idx="31">
                  <c:v>0.08644699385555189</c:v>
                </c:pt>
                <c:pt idx="32">
                  <c:v>0.0844271295680669</c:v>
                </c:pt>
                <c:pt idx="33">
                  <c:v>0.08662790195212024</c:v>
                </c:pt>
                <c:pt idx="34">
                  <c:v>0.08844621950197017</c:v>
                </c:pt>
                <c:pt idx="35">
                  <c:v>0.08957969598821679</c:v>
                </c:pt>
                <c:pt idx="36">
                  <c:v>0.08453304872575243</c:v>
                </c:pt>
                <c:pt idx="37">
                  <c:v>0.09556283889124866</c:v>
                </c:pt>
                <c:pt idx="38">
                  <c:v>0.09133751050721148</c:v>
                </c:pt>
                <c:pt idx="39">
                  <c:v>0.09245500166004171</c:v>
                </c:pt>
                <c:pt idx="40">
                  <c:v>0.09794712673631081</c:v>
                </c:pt>
                <c:pt idx="41">
                  <c:v>0.09667816895757325</c:v>
                </c:pt>
                <c:pt idx="42">
                  <c:v>0.09874286403398252</c:v>
                </c:pt>
                <c:pt idx="43">
                  <c:v>0.10006193208963353</c:v>
                </c:pt>
                <c:pt idx="44">
                  <c:v>0.09269731966273828</c:v>
                </c:pt>
                <c:pt idx="45">
                  <c:v>0.09370971258856897</c:v>
                </c:pt>
                <c:pt idx="46">
                  <c:v>0.0933313103922121</c:v>
                </c:pt>
                <c:pt idx="47">
                  <c:v>0.09113462979109006</c:v>
                </c:pt>
                <c:pt idx="48">
                  <c:v>0.08761692022040794</c:v>
                </c:pt>
                <c:pt idx="49">
                  <c:v>0.08761487610893019</c:v>
                </c:pt>
                <c:pt idx="50">
                  <c:v>0.08247990181659583</c:v>
                </c:pt>
                <c:pt idx="51">
                  <c:v>0.08010815752770996</c:v>
                </c:pt>
              </c:numCache>
            </c:numRef>
          </c:xVal>
          <c:yVal>
            <c:numRef>
              <c:f>Sheet1!$B$109:$B$160</c:f>
              <c:numCache>
                <c:formatCode>General</c:formatCode>
                <c:ptCount val="52"/>
                <c:pt idx="0">
                  <c:v>0.11624307185299845</c:v>
                </c:pt>
                <c:pt idx="1">
                  <c:v>0.10748753844522219</c:v>
                </c:pt>
                <c:pt idx="2">
                  <c:v>0.11681493364445093</c:v>
                </c:pt>
                <c:pt idx="3">
                  <c:v>0.1243809798548007</c:v>
                </c:pt>
                <c:pt idx="4">
                  <c:v>0.10621761658031088</c:v>
                </c:pt>
                <c:pt idx="5">
                  <c:v>0.11165599834813132</c:v>
                </c:pt>
                <c:pt idx="6">
                  <c:v>0.1273695829534002</c:v>
                </c:pt>
                <c:pt idx="7">
                  <c:v>0.12024048096192384</c:v>
                </c:pt>
                <c:pt idx="8">
                  <c:v>0.11791449732345824</c:v>
                </c:pt>
                <c:pt idx="9">
                  <c:v>0.1337433263499358</c:v>
                </c:pt>
                <c:pt idx="10">
                  <c:v>0.13303666312433582</c:v>
                </c:pt>
                <c:pt idx="11">
                  <c:v>0.17040202753068628</c:v>
                </c:pt>
                <c:pt idx="12">
                  <c:v>0.1453805127028732</c:v>
                </c:pt>
                <c:pt idx="13">
                  <c:v>0.1316943674976916</c:v>
                </c:pt>
                <c:pt idx="14">
                  <c:v>0.14084331337325348</c:v>
                </c:pt>
                <c:pt idx="15">
                  <c:v>0.1211899374417676</c:v>
                </c:pt>
                <c:pt idx="16">
                  <c:v>0.1354870846082687</c:v>
                </c:pt>
                <c:pt idx="17">
                  <c:v>0.09705702958218969</c:v>
                </c:pt>
                <c:pt idx="18">
                  <c:v>0.10273850008949346</c:v>
                </c:pt>
                <c:pt idx="19">
                  <c:v>0.11036128713686116</c:v>
                </c:pt>
                <c:pt idx="20">
                  <c:v>0.10268398268398268</c:v>
                </c:pt>
                <c:pt idx="21">
                  <c:v>0.09779512606815065</c:v>
                </c:pt>
                <c:pt idx="22">
                  <c:v>0.09554612937433722</c:v>
                </c:pt>
                <c:pt idx="23">
                  <c:v>0.08656417112299465</c:v>
                </c:pt>
                <c:pt idx="24">
                  <c:v>0.07780006333790773</c:v>
                </c:pt>
                <c:pt idx="25">
                  <c:v>0.08596312634317385</c:v>
                </c:pt>
                <c:pt idx="26">
                  <c:v>0.07650977863743821</c:v>
                </c:pt>
                <c:pt idx="27">
                  <c:v>0.07504587155963302</c:v>
                </c:pt>
                <c:pt idx="28">
                  <c:v>0.09193848233902316</c:v>
                </c:pt>
                <c:pt idx="29">
                  <c:v>0.08160251993306428</c:v>
                </c:pt>
                <c:pt idx="30">
                  <c:v>0.09749894022891055</c:v>
                </c:pt>
                <c:pt idx="31">
                  <c:v>0.09492374231732302</c:v>
                </c:pt>
                <c:pt idx="32">
                  <c:v>0.1023597916028195</c:v>
                </c:pt>
                <c:pt idx="33">
                  <c:v>0.1167743061616338</c:v>
                </c:pt>
                <c:pt idx="34">
                  <c:v>0.13332354452683357</c:v>
                </c:pt>
                <c:pt idx="35">
                  <c:v>0.11782605020708309</c:v>
                </c:pt>
                <c:pt idx="36">
                  <c:v>0.10415467832892163</c:v>
                </c:pt>
                <c:pt idx="37">
                  <c:v>0.089607965152458</c:v>
                </c:pt>
                <c:pt idx="38">
                  <c:v>0.09582500555185432</c:v>
                </c:pt>
                <c:pt idx="39">
                  <c:v>0.10771300448430493</c:v>
                </c:pt>
                <c:pt idx="40">
                  <c:v>0.08609849807893817</c:v>
                </c:pt>
                <c:pt idx="41">
                  <c:v>0.09290912167879506</c:v>
                </c:pt>
                <c:pt idx="42">
                  <c:v>0.08423385979495705</c:v>
                </c:pt>
                <c:pt idx="43">
                  <c:v>0.0890147542129921</c:v>
                </c:pt>
                <c:pt idx="44">
                  <c:v>0.09844031193761248</c:v>
                </c:pt>
                <c:pt idx="45">
                  <c:v>0.11124316615165201</c:v>
                </c:pt>
                <c:pt idx="46">
                  <c:v>0.09837434584122036</c:v>
                </c:pt>
                <c:pt idx="47">
                  <c:v>0.10587618048268625</c:v>
                </c:pt>
                <c:pt idx="48">
                  <c:v>0.10563978711033588</c:v>
                </c:pt>
                <c:pt idx="49">
                  <c:v>0.11959436808581965</c:v>
                </c:pt>
                <c:pt idx="50">
                  <c:v>0.15688385269121813</c:v>
                </c:pt>
                <c:pt idx="51">
                  <c:v>0.128887656546051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5870463619119629</c:v>
                </c:pt>
              </c:numCache>
            </c:numRef>
          </c:xVal>
          <c:yVal>
            <c:numRef>
              <c:f>Sheet1!$B$163:$B$164</c:f>
              <c:numCache>
                <c:formatCode>General</c:formatCode>
                <c:ptCount val="2"/>
                <c:pt idx="0">
                  <c:v>0.18844605721986196</c:v>
                </c:pt>
                <c:pt idx="1">
                  <c:v>0.1884460572198619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5870463619119629</c:v>
                </c:pt>
                <c:pt idx="1">
                  <c:v>0.05870463619119629</c:v>
                </c:pt>
              </c:numCache>
            </c:numRef>
          </c:xVal>
          <c:yVal>
            <c:numRef>
              <c:f>Sheet1!$B$167:$B$168</c:f>
              <c:numCache>
                <c:formatCode>General</c:formatCode>
                <c:ptCount val="2"/>
                <c:pt idx="0">
                  <c:v>0.1884460572198619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220554590839849</c:v>
                </c:pt>
              </c:numCache>
            </c:numRef>
          </c:xVal>
          <c:yVal>
            <c:numRef>
              <c:f>Sheet1!$B$171:$B$172</c:f>
              <c:numCache>
                <c:formatCode>General</c:formatCode>
                <c:ptCount val="2"/>
                <c:pt idx="0">
                  <c:v>0.1277514161083562</c:v>
                </c:pt>
                <c:pt idx="1">
                  <c:v>0.127751416108356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220554590839849</c:v>
                </c:pt>
                <c:pt idx="1">
                  <c:v>0.08220554590839849</c:v>
                </c:pt>
              </c:numCache>
            </c:numRef>
          </c:xVal>
          <c:yVal>
            <c:numRef>
              <c:f>Sheet1!$B$175:$B$176</c:f>
              <c:numCache>
                <c:formatCode>General</c:formatCode>
                <c:ptCount val="2"/>
                <c:pt idx="0">
                  <c:v>0.12775141610835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9042189574365576</c:v>
                </c:pt>
              </c:numCache>
            </c:numRef>
          </c:xVal>
          <c:yVal>
            <c:numRef>
              <c:f>Sheet1!$B$179:$B$180</c:f>
              <c:numCache>
                <c:formatCode>General</c:formatCode>
                <c:ptCount val="2"/>
                <c:pt idx="0">
                  <c:v>0.10653145439204484</c:v>
                </c:pt>
                <c:pt idx="1">
                  <c:v>0.1065314543920448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9042189574365576</c:v>
                </c:pt>
                <c:pt idx="1">
                  <c:v>0.09042189574365576</c:v>
                </c:pt>
              </c:numCache>
            </c:numRef>
          </c:xVal>
          <c:yVal>
            <c:numRef>
              <c:f>Sheet1!$B$183:$B$184</c:f>
              <c:numCache>
                <c:formatCode>General</c:formatCode>
                <c:ptCount val="2"/>
                <c:pt idx="0">
                  <c:v>0.106531454392044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9199478938582127</c:v>
                </c:pt>
                <c:pt idx="1">
                  <c:v>0.09162483087772115</c:v>
                </c:pt>
                <c:pt idx="2">
                  <c:v>0.08971308370495525</c:v>
                </c:pt>
                <c:pt idx="3">
                  <c:v>0.08840296536297886</c:v>
                </c:pt>
                <c:pt idx="4">
                  <c:v>0.08908916262011492</c:v>
                </c:pt>
                <c:pt idx="5">
                  <c:v>0.08965710916581437</c:v>
                </c:pt>
                <c:pt idx="6">
                  <c:v>0.08366089422597806</c:v>
                </c:pt>
                <c:pt idx="7">
                  <c:v>0.08471525684092847</c:v>
                </c:pt>
                <c:pt idx="8">
                  <c:v>0.09385870532126878</c:v>
                </c:pt>
                <c:pt idx="9">
                  <c:v>0.0868084816649128</c:v>
                </c:pt>
                <c:pt idx="10">
                  <c:v>0.08871429096208168</c:v>
                </c:pt>
                <c:pt idx="11">
                  <c:v>0.08240123333744195</c:v>
                </c:pt>
                <c:pt idx="12">
                  <c:v>0.08515361688336213</c:v>
                </c:pt>
                <c:pt idx="13">
                  <c:v>0.08788409871125916</c:v>
                </c:pt>
                <c:pt idx="14">
                  <c:v>0.08917462516805862</c:v>
                </c:pt>
                <c:pt idx="15">
                  <c:v>0.09115360672358391</c:v>
                </c:pt>
                <c:pt idx="16">
                  <c:v>0.08997661209869208</c:v>
                </c:pt>
                <c:pt idx="17">
                  <c:v>0.09085004777307275</c:v>
                </c:pt>
                <c:pt idx="18">
                  <c:v>0.08388980412402847</c:v>
                </c:pt>
                <c:pt idx="19">
                  <c:v>0.08803485136685833</c:v>
                </c:pt>
                <c:pt idx="20">
                  <c:v>0.08635530855298262</c:v>
                </c:pt>
                <c:pt idx="21">
                  <c:v>0.0845517577820675</c:v>
                </c:pt>
                <c:pt idx="22">
                  <c:v>0.08772667053843403</c:v>
                </c:pt>
                <c:pt idx="23">
                  <c:v>0.0876282977721735</c:v>
                </c:pt>
                <c:pt idx="24">
                  <c:v>0.092982886956736</c:v>
                </c:pt>
                <c:pt idx="25">
                  <c:v>0.09000168272394171</c:v>
                </c:pt>
                <c:pt idx="26">
                  <c:v>0.09408895541114629</c:v>
                </c:pt>
                <c:pt idx="27">
                  <c:v>0.09334880453342265</c:v>
                </c:pt>
                <c:pt idx="28">
                  <c:v>0.0872352489791546</c:v>
                </c:pt>
                <c:pt idx="29">
                  <c:v>0.088481166473998</c:v>
                </c:pt>
                <c:pt idx="30">
                  <c:v>0.08731320144605338</c:v>
                </c:pt>
                <c:pt idx="31">
                  <c:v>0.08644699385555189</c:v>
                </c:pt>
                <c:pt idx="32">
                  <c:v>0.0844271295680669</c:v>
                </c:pt>
                <c:pt idx="33">
                  <c:v>0.08662790195212024</c:v>
                </c:pt>
                <c:pt idx="34">
                  <c:v>0.08844621950197017</c:v>
                </c:pt>
                <c:pt idx="35">
                  <c:v>0.08957969598821679</c:v>
                </c:pt>
                <c:pt idx="36">
                  <c:v>0.08453304872575243</c:v>
                </c:pt>
                <c:pt idx="37">
                  <c:v>0.09556283889124866</c:v>
                </c:pt>
                <c:pt idx="38">
                  <c:v>0.09133751050721148</c:v>
                </c:pt>
                <c:pt idx="39">
                  <c:v>0.09245500166004171</c:v>
                </c:pt>
                <c:pt idx="40">
                  <c:v>0.09794712673631081</c:v>
                </c:pt>
                <c:pt idx="41">
                  <c:v>0.09667816895757325</c:v>
                </c:pt>
                <c:pt idx="42">
                  <c:v>0.09874286403398252</c:v>
                </c:pt>
                <c:pt idx="43">
                  <c:v>0.10006193208963353</c:v>
                </c:pt>
                <c:pt idx="44">
                  <c:v>0.09269731966273828</c:v>
                </c:pt>
                <c:pt idx="45">
                  <c:v>0.09370971258856897</c:v>
                </c:pt>
                <c:pt idx="46">
                  <c:v>0.0933313103922121</c:v>
                </c:pt>
                <c:pt idx="47">
                  <c:v>0.09113462979109006</c:v>
                </c:pt>
                <c:pt idx="48">
                  <c:v>0.08761692022040794</c:v>
                </c:pt>
                <c:pt idx="49">
                  <c:v>0.08761487610893019</c:v>
                </c:pt>
                <c:pt idx="50">
                  <c:v>0.08247990181659583</c:v>
                </c:pt>
                <c:pt idx="51">
                  <c:v>0.08010815752770996</c:v>
                </c:pt>
                <c:pt idx="52">
                  <c:v>0.08220554590839849</c:v>
                </c:pt>
                <c:pt idx="53">
                  <c:v>0.05870463619119629</c:v>
                </c:pt>
                <c:pt idx="54">
                  <c:v>0.09042189574365576</c:v>
                </c:pt>
              </c:numCache>
            </c:numRef>
          </c:xVal>
          <c:yVal>
            <c:numRef>
              <c:f>Sheet1!$B$187:$B$241</c:f>
              <c:numCache>
                <c:formatCode>General</c:formatCode>
                <c:ptCount val="55"/>
                <c:pt idx="0">
                  <c:v>0.10246921951405094</c:v>
                </c:pt>
                <c:pt idx="1">
                  <c:v>0.10342469311679614</c:v>
                </c:pt>
                <c:pt idx="2">
                  <c:v>0.10836206830538422</c:v>
                </c:pt>
                <c:pt idx="3">
                  <c:v>0.11174564636839227</c:v>
                </c:pt>
                <c:pt idx="4">
                  <c:v>0.10997343853666364</c:v>
                </c:pt>
                <c:pt idx="5">
                  <c:v>0.10850663098850666</c:v>
                </c:pt>
                <c:pt idx="6">
                  <c:v>0.1239927597460849</c:v>
                </c:pt>
                <c:pt idx="7">
                  <c:v>0.12126970939246554</c:v>
                </c:pt>
                <c:pt idx="8">
                  <c:v>0.09765537570437091</c:v>
                </c:pt>
                <c:pt idx="9">
                  <c:v>0.11586364081953587</c:v>
                </c:pt>
                <c:pt idx="10">
                  <c:v>0.11094160108956039</c:v>
                </c:pt>
                <c:pt idx="11">
                  <c:v>0.12724602383125924</c:v>
                </c:pt>
                <c:pt idx="12">
                  <c:v>0.12013757851866957</c:v>
                </c:pt>
                <c:pt idx="13">
                  <c:v>0.11308569769363114</c:v>
                </c:pt>
                <c:pt idx="14">
                  <c:v>0.10975271862673944</c:v>
                </c:pt>
                <c:pt idx="15">
                  <c:v>0.10464170051193955</c:v>
                </c:pt>
                <c:pt idx="16">
                  <c:v>0.10768146651281443</c:v>
                </c:pt>
                <c:pt idx="17">
                  <c:v>0.10542568725029011</c:v>
                </c:pt>
                <c:pt idx="18">
                  <c:v>0.12340156543589734</c:v>
                </c:pt>
                <c:pt idx="19">
                  <c:v>0.1126963562409681</c:v>
                </c:pt>
                <c:pt idx="20">
                  <c:v>0.11703402867774942</c:v>
                </c:pt>
                <c:pt idx="21">
                  <c:v>0.1216919703525326</c:v>
                </c:pt>
                <c:pt idx="22">
                  <c:v>0.1134922796755817</c:v>
                </c:pt>
                <c:pt idx="23">
                  <c:v>0.11374634216997775</c:v>
                </c:pt>
                <c:pt idx="24">
                  <c:v>0.0999173086233027</c:v>
                </c:pt>
                <c:pt idx="25">
                  <c:v>0.10761671784477228</c:v>
                </c:pt>
                <c:pt idx="26">
                  <c:v>0.09706072014681275</c:v>
                </c:pt>
                <c:pt idx="27">
                  <c:v>0.09897227133493203</c:v>
                </c:pt>
                <c:pt idx="28">
                  <c:v>0.11476144991340823</c:v>
                </c:pt>
                <c:pt idx="29">
                  <c:v>0.11154368021367983</c:v>
                </c:pt>
                <c:pt idx="30">
                  <c:v>0.11456012591960918</c:v>
                </c:pt>
                <c:pt idx="31">
                  <c:v>0.11679723756618798</c:v>
                </c:pt>
                <c:pt idx="32">
                  <c:v>0.12201384149761416</c:v>
                </c:pt>
                <c:pt idx="33">
                  <c:v>0.11633001514256647</c:v>
                </c:pt>
                <c:pt idx="34">
                  <c:v>0.11163393603571764</c:v>
                </c:pt>
                <c:pt idx="35">
                  <c:v>0.10870656218641037</c:v>
                </c:pt>
                <c:pt idx="36">
                  <c:v>0.12174028931006414</c:v>
                </c:pt>
                <c:pt idx="37">
                  <c:v>0.09325419393393555</c:v>
                </c:pt>
                <c:pt idx="38">
                  <c:v>0.10416674127501466</c:v>
                </c:pt>
                <c:pt idx="39">
                  <c:v>0.10128065195836719</c:v>
                </c:pt>
                <c:pt idx="40">
                  <c:v>0.08709641124364909</c:v>
                </c:pt>
                <c:pt idx="41">
                  <c:v>0.09037368594888115</c:v>
                </c:pt>
                <c:pt idx="42">
                  <c:v>0.08504129974871527</c:v>
                </c:pt>
                <c:pt idx="43">
                  <c:v>0.08163460770135222</c:v>
                </c:pt>
                <c:pt idx="44">
                  <c:v>0.10065482919722704</c:v>
                </c:pt>
                <c:pt idx="45">
                  <c:v>0.09804017189091249</c:v>
                </c:pt>
                <c:pt idx="46">
                  <c:v>0.09901745259110917</c:v>
                </c:pt>
                <c:pt idx="47">
                  <c:v>0.10469071130007379</c:v>
                </c:pt>
                <c:pt idx="48">
                  <c:v>0.11377572641209635</c:v>
                </c:pt>
                <c:pt idx="49">
                  <c:v>0.11378100563805088</c:v>
                </c:pt>
                <c:pt idx="50">
                  <c:v>0.1270428506279029</c:v>
                </c:pt>
                <c:pt idx="51">
                  <c:v>0.13316823769395428</c:v>
                </c:pt>
                <c:pt idx="52">
                  <c:v>0.1277514161083562</c:v>
                </c:pt>
                <c:pt idx="53">
                  <c:v>0.18844605721986196</c:v>
                </c:pt>
                <c:pt idx="54">
                  <c:v>0.1065314543920448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36216124852104"/>
          <c:min val="0.0596594245449207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2.5666</c:v>
                </c:pt>
                <c:pt idx="1">
                  <c:v>872.0111</c:v>
                </c:pt>
                <c:pt idx="2">
                  <c:v>900.1709</c:v>
                </c:pt>
                <c:pt idx="3">
                  <c:v>925.0432</c:v>
                </c:pt>
                <c:pt idx="4">
                  <c:v>912.1921</c:v>
                </c:pt>
                <c:pt idx="5">
                  <c:v>901.0272</c:v>
                </c:pt>
                <c:pt idx="6">
                  <c:v>865.8392</c:v>
                </c:pt>
                <c:pt idx="7">
                  <c:v>870.6566</c:v>
                </c:pt>
                <c:pt idx="8">
                  <c:v>877.8398</c:v>
                </c:pt>
                <c:pt idx="9">
                  <c:v>847.7171</c:v>
                </c:pt>
                <c:pt idx="10">
                  <c:v>833.988</c:v>
                </c:pt>
                <c:pt idx="11">
                  <c:v>871.5871</c:v>
                </c:pt>
                <c:pt idx="12">
                  <c:v>871.9647</c:v>
                </c:pt>
                <c:pt idx="13">
                  <c:v>878.4732</c:v>
                </c:pt>
                <c:pt idx="14">
                  <c:v>903.0785</c:v>
                </c:pt>
                <c:pt idx="15">
                  <c:v>917.3083</c:v>
                </c:pt>
                <c:pt idx="16">
                  <c:v>938.2692</c:v>
                </c:pt>
                <c:pt idx="17">
                  <c:v>922.7628</c:v>
                </c:pt>
                <c:pt idx="18">
                  <c:v>979.7761</c:v>
                </c:pt>
                <c:pt idx="19">
                  <c:v>988.3479</c:v>
                </c:pt>
                <c:pt idx="20">
                  <c:v>1012.9016</c:v>
                </c:pt>
                <c:pt idx="21">
                  <c:v>1022.9061</c:v>
                </c:pt>
                <c:pt idx="22">
                  <c:v>998.707</c:v>
                </c:pt>
                <c:pt idx="23">
                  <c:v>1006.9474</c:v>
                </c:pt>
                <c:pt idx="24">
                  <c:v>1019.6003</c:v>
                </c:pt>
                <c:pt idx="25">
                  <c:v>1003.4215</c:v>
                </c:pt>
                <c:pt idx="26">
                  <c:v>986.5536</c:v>
                </c:pt>
                <c:pt idx="27">
                  <c:v>999.7904</c:v>
                </c:pt>
                <c:pt idx="28">
                  <c:v>1006.4917</c:v>
                </c:pt>
                <c:pt idx="29">
                  <c:v>993.4089</c:v>
                </c:pt>
                <c:pt idx="30">
                  <c:v>995.3143</c:v>
                </c:pt>
                <c:pt idx="31">
                  <c:v>981.2178</c:v>
                </c:pt>
                <c:pt idx="32">
                  <c:v>970.219</c:v>
                </c:pt>
                <c:pt idx="33">
                  <c:v>928.2519</c:v>
                </c:pt>
                <c:pt idx="34">
                  <c:v>940.4915</c:v>
                </c:pt>
                <c:pt idx="35">
                  <c:v>981.2692</c:v>
                </c:pt>
                <c:pt idx="36">
                  <c:v>1026.2341</c:v>
                </c:pt>
                <c:pt idx="37">
                  <c:v>1027.2868</c:v>
                </c:pt>
                <c:pt idx="38">
                  <c:v>1059.2012</c:v>
                </c:pt>
                <c:pt idx="39">
                  <c:v>1112.4994</c:v>
                </c:pt>
                <c:pt idx="40">
                  <c:v>1110.5343</c:v>
                </c:pt>
                <c:pt idx="41">
                  <c:v>1130.2013</c:v>
                </c:pt>
                <c:pt idx="42">
                  <c:v>1150.4098</c:v>
                </c:pt>
                <c:pt idx="43">
                  <c:v>1140.076</c:v>
                </c:pt>
                <c:pt idx="44">
                  <c:v>1111.1514</c:v>
                </c:pt>
                <c:pt idx="45">
                  <c:v>1077.0212</c:v>
                </c:pt>
                <c:pt idx="46">
                  <c:v>1061.1769</c:v>
                </c:pt>
                <c:pt idx="47">
                  <c:v>1045.8912</c:v>
                </c:pt>
                <c:pt idx="48">
                  <c:v>1043.8683</c:v>
                </c:pt>
                <c:pt idx="49">
                  <c:v>1001.6732</c:v>
                </c:pt>
                <c:pt idx="50">
                  <c:v>1006.6643</c:v>
                </c:pt>
                <c:pt idx="51">
                  <c:v>1007.4755</c:v>
                </c:pt>
                <c:pt idx="52">
                  <c:v>1022.2327</c:v>
                </c:pt>
                <c:pt idx="53">
                  <c:v>1115.2755</c:v>
                </c:pt>
                <c:pt idx="54">
                  <c:v>1104.3599</c:v>
                </c:pt>
                <c:pt idx="55">
                  <c:v>1123.1172</c:v>
                </c:pt>
                <c:pt idx="56">
                  <c:v>1121.0377</c:v>
                </c:pt>
                <c:pt idx="57">
                  <c:v>1098.7739</c:v>
                </c:pt>
                <c:pt idx="58">
                  <c:v>1083.7183</c:v>
                </c:pt>
                <c:pt idx="59">
                  <c:v>1072.0835</c:v>
                </c:pt>
                <c:pt idx="60">
                  <c:v>1087.6664</c:v>
                </c:pt>
                <c:pt idx="61">
                  <c:v>1099.122</c:v>
                </c:pt>
                <c:pt idx="62">
                  <c:v>1035.1867</c:v>
                </c:pt>
                <c:pt idx="63">
                  <c:v>1056.0471</c:v>
                </c:pt>
                <c:pt idx="64">
                  <c:v>1061.5768</c:v>
                </c:pt>
                <c:pt idx="65">
                  <c:v>1054.6548</c:v>
                </c:pt>
                <c:pt idx="66">
                  <c:v>1084.64</c:v>
                </c:pt>
                <c:pt idx="67">
                  <c:v>1105.461</c:v>
                </c:pt>
                <c:pt idx="68">
                  <c:v>1118.696</c:v>
                </c:pt>
                <c:pt idx="69">
                  <c:v>1149.0121</c:v>
                </c:pt>
                <c:pt idx="70">
                  <c:v>1139.1925</c:v>
                </c:pt>
                <c:pt idx="71">
                  <c:v>1186.6311</c:v>
                </c:pt>
                <c:pt idx="72">
                  <c:v>1254.1648</c:v>
                </c:pt>
                <c:pt idx="73">
                  <c:v>1235.9873</c:v>
                </c:pt>
                <c:pt idx="74">
                  <c:v>1231.8107</c:v>
                </c:pt>
                <c:pt idx="75">
                  <c:v>1199.4123</c:v>
                </c:pt>
                <c:pt idx="76">
                  <c:v>1167.563</c:v>
                </c:pt>
                <c:pt idx="77">
                  <c:v>1171.0387</c:v>
                </c:pt>
                <c:pt idx="78">
                  <c:v>1200.0509</c:v>
                </c:pt>
                <c:pt idx="79">
                  <c:v>1187.2492</c:v>
                </c:pt>
                <c:pt idx="80">
                  <c:v>1206.8508</c:v>
                </c:pt>
                <c:pt idx="81">
                  <c:v>1203.4817</c:v>
                </c:pt>
                <c:pt idx="82">
                  <c:v>1233.5346</c:v>
                </c:pt>
                <c:pt idx="83">
                  <c:v>1180.8858</c:v>
                </c:pt>
                <c:pt idx="84">
                  <c:v>1203.088</c:v>
                </c:pt>
                <c:pt idx="85">
                  <c:v>1186.1807</c:v>
                </c:pt>
                <c:pt idx="86">
                  <c:v>1179.256</c:v>
                </c:pt>
                <c:pt idx="87">
                  <c:v>1185.655</c:v>
                </c:pt>
                <c:pt idx="88">
                  <c:v>1225.303</c:v>
                </c:pt>
                <c:pt idx="89">
                  <c:v>1217.4435</c:v>
                </c:pt>
                <c:pt idx="90">
                  <c:v>1275.8005</c:v>
                </c:pt>
                <c:pt idx="91">
                  <c:v>1262.028</c:v>
                </c:pt>
                <c:pt idx="92">
                  <c:v>1217.7472</c:v>
                </c:pt>
                <c:pt idx="93">
                  <c:v>1247.006</c:v>
                </c:pt>
                <c:pt idx="94">
                  <c:v>1227.8971</c:v>
                </c:pt>
                <c:pt idx="95">
                  <c:v>1181.5481</c:v>
                </c:pt>
                <c:pt idx="96">
                  <c:v>1151.501</c:v>
                </c:pt>
                <c:pt idx="97">
                  <c:v>1146.4279</c:v>
                </c:pt>
                <c:pt idx="98">
                  <c:v>1128.289</c:v>
                </c:pt>
                <c:pt idx="99">
                  <c:v>1098.9471</c:v>
                </c:pt>
                <c:pt idx="100">
                  <c:v>1084.0729</c:v>
                </c:pt>
                <c:pt idx="101">
                  <c:v>1119.4264</c:v>
                </c:pt>
                <c:pt idx="102">
                  <c:v>1135.817</c:v>
                </c:pt>
                <c:pt idx="103">
                  <c:v>1118.4844</c:v>
                </c:pt>
                <c:pt idx="104">
                  <c:v>1151.7239</c:v>
                </c:pt>
              </c:numCache>
            </c:numRef>
          </c:xVal>
          <c:yVal>
            <c:numRef>
              <c:f>Sheet1!$B$2:$B$106</c:f>
              <c:numCache>
                <c:formatCode>General</c:formatCode>
                <c:ptCount val="105"/>
                <c:pt idx="0">
                  <c:v>0.2222146569528608</c:v>
                </c:pt>
                <c:pt idx="1">
                  <c:v>0.21436831795331712</c:v>
                </c:pt>
                <c:pt idx="2">
                  <c:v>0.21788056610286502</c:v>
                </c:pt>
                <c:pt idx="3">
                  <c:v>0.22284236976901517</c:v>
                </c:pt>
                <c:pt idx="4">
                  <c:v>0.23230982175644757</c:v>
                </c:pt>
                <c:pt idx="5">
                  <c:v>0.23256081761911618</c:v>
                </c:pt>
                <c:pt idx="6">
                  <c:v>0.2603693782602566</c:v>
                </c:pt>
                <c:pt idx="7">
                  <c:v>0.2640731387654637</c:v>
                </c:pt>
                <c:pt idx="8">
                  <c:v>0.25708272083389017</c:v>
                </c:pt>
                <c:pt idx="9">
                  <c:v>0.2529252451947096</c:v>
                </c:pt>
                <c:pt idx="10">
                  <c:v>0.24543585113852945</c:v>
                </c:pt>
                <c:pt idx="11">
                  <c:v>0.22978744913690702</c:v>
                </c:pt>
                <c:pt idx="12">
                  <c:v>0.2215695379614581</c:v>
                </c:pt>
                <c:pt idx="13">
                  <c:v>0.21050827538928607</c:v>
                </c:pt>
                <c:pt idx="14">
                  <c:v>0.19294339713960748</c:v>
                </c:pt>
                <c:pt idx="15">
                  <c:v>0.19069216547261383</c:v>
                </c:pt>
                <c:pt idx="16">
                  <c:v>0.1803606557377049</c:v>
                </c:pt>
                <c:pt idx="17">
                  <c:v>0.1780209562636341</c:v>
                </c:pt>
                <c:pt idx="18">
                  <c:v>0.16206610591162185</c:v>
                </c:pt>
                <c:pt idx="19">
                  <c:v>0.16453110492107706</c:v>
                </c:pt>
                <c:pt idx="20">
                  <c:v>0.17074384594770492</c:v>
                </c:pt>
                <c:pt idx="21">
                  <c:v>0.16795410398879704</c:v>
                </c:pt>
                <c:pt idx="22">
                  <c:v>0.1887250326675378</c:v>
                </c:pt>
                <c:pt idx="23">
                  <c:v>0.19064005505849965</c:v>
                </c:pt>
                <c:pt idx="24">
                  <c:v>0.19543311454192475</c:v>
                </c:pt>
                <c:pt idx="25">
                  <c:v>0.1965275598786738</c:v>
                </c:pt>
                <c:pt idx="26">
                  <c:v>0.2142091277795907</c:v>
                </c:pt>
                <c:pt idx="27">
                  <c:v>0.21903288905063004</c:v>
                </c:pt>
                <c:pt idx="28">
                  <c:v>0.21609717650331495</c:v>
                </c:pt>
                <c:pt idx="29">
                  <c:v>0.21403309077604782</c:v>
                </c:pt>
                <c:pt idx="30">
                  <c:v>0.21525529915422367</c:v>
                </c:pt>
                <c:pt idx="31">
                  <c:v>0.21580469979190986</c:v>
                </c:pt>
                <c:pt idx="32">
                  <c:v>0.22579515903180636</c:v>
                </c:pt>
                <c:pt idx="33">
                  <c:v>0.2243625609463672</c:v>
                </c:pt>
                <c:pt idx="34">
                  <c:v>0.22853110411464553</c:v>
                </c:pt>
                <c:pt idx="35">
                  <c:v>0.24465431218816822</c:v>
                </c:pt>
                <c:pt idx="36">
                  <c:v>0.21023367645953867</c:v>
                </c:pt>
                <c:pt idx="37">
                  <c:v>0.21509433962264152</c:v>
                </c:pt>
                <c:pt idx="38">
                  <c:v>0.2002953183357943</c:v>
                </c:pt>
                <c:pt idx="39">
                  <c:v>0.18644224973338897</c:v>
                </c:pt>
                <c:pt idx="40">
                  <c:v>0.1933965902954563</c:v>
                </c:pt>
                <c:pt idx="41">
                  <c:v>0.1845035313668467</c:v>
                </c:pt>
                <c:pt idx="42">
                  <c:v>0.1825368689733409</c:v>
                </c:pt>
                <c:pt idx="43">
                  <c:v>0.18491152406925856</c:v>
                </c:pt>
                <c:pt idx="44">
                  <c:v>0.179719027169339</c:v>
                </c:pt>
                <c:pt idx="45">
                  <c:v>0.19425275927214875</c:v>
                </c:pt>
                <c:pt idx="46">
                  <c:v>0.20227789562193046</c:v>
                </c:pt>
                <c:pt idx="47">
                  <c:v>0.19447760619247506</c:v>
                </c:pt>
                <c:pt idx="48">
                  <c:v>0.1946365151844604</c:v>
                </c:pt>
                <c:pt idx="49">
                  <c:v>0.2024177181681814</c:v>
                </c:pt>
                <c:pt idx="50">
                  <c:v>0.19343004525223934</c:v>
                </c:pt>
                <c:pt idx="51">
                  <c:v>0.1905886056027699</c:v>
                </c:pt>
                <c:pt idx="52">
                  <c:v>0.19163722255841645</c:v>
                </c:pt>
                <c:pt idx="53">
                  <c:v>0.1821459475050476</c:v>
                </c:pt>
                <c:pt idx="54">
                  <c:v>0.18893706477466823</c:v>
                </c:pt>
                <c:pt idx="55">
                  <c:v>0.18618821936357483</c:v>
                </c:pt>
                <c:pt idx="56">
                  <c:v>0.1827687615728134</c:v>
                </c:pt>
                <c:pt idx="57">
                  <c:v>0.17984808924756707</c:v>
                </c:pt>
                <c:pt idx="58">
                  <c:v>0.19077375079479927</c:v>
                </c:pt>
                <c:pt idx="59">
                  <c:v>0.18824739239018656</c:v>
                </c:pt>
                <c:pt idx="60">
                  <c:v>0.1917924831352393</c:v>
                </c:pt>
                <c:pt idx="61">
                  <c:v>0.18711292376081656</c:v>
                </c:pt>
                <c:pt idx="62">
                  <c:v>0.19957863689034025</c:v>
                </c:pt>
                <c:pt idx="63">
                  <c:v>0.2039075557604749</c:v>
                </c:pt>
                <c:pt idx="64">
                  <c:v>0.1943246991790681</c:v>
                </c:pt>
                <c:pt idx="65">
                  <c:v>0.19147112834115487</c:v>
                </c:pt>
                <c:pt idx="66">
                  <c:v>0.18685303480699092</c:v>
                </c:pt>
                <c:pt idx="67">
                  <c:v>0.1743600914933014</c:v>
                </c:pt>
                <c:pt idx="68">
                  <c:v>0.16798753104031278</c:v>
                </c:pt>
                <c:pt idx="69">
                  <c:v>0.1637571027589512</c:v>
                </c:pt>
                <c:pt idx="70">
                  <c:v>0.16157501697216564</c:v>
                </c:pt>
                <c:pt idx="71">
                  <c:v>0.15957227341493604</c:v>
                </c:pt>
                <c:pt idx="72">
                  <c:v>0.16045343380263072</c:v>
                </c:pt>
                <c:pt idx="73">
                  <c:v>0.16063700882811147</c:v>
                </c:pt>
                <c:pt idx="74">
                  <c:v>0.16004937942079275</c:v>
                </c:pt>
                <c:pt idx="75">
                  <c:v>0.1704176288700145</c:v>
                </c:pt>
                <c:pt idx="76">
                  <c:v>0.17403464829889376</c:v>
                </c:pt>
                <c:pt idx="77">
                  <c:v>0.16306754103838603</c:v>
                </c:pt>
                <c:pt idx="78">
                  <c:v>0.17122101414413549</c:v>
                </c:pt>
                <c:pt idx="79">
                  <c:v>0.16867216425445977</c:v>
                </c:pt>
                <c:pt idx="80">
                  <c:v>0.15128412624047022</c:v>
                </c:pt>
                <c:pt idx="81">
                  <c:v>0.15918572867213351</c:v>
                </c:pt>
                <c:pt idx="82">
                  <c:v>0.1604518736223365</c:v>
                </c:pt>
                <c:pt idx="83">
                  <c:v>0.15352127547249497</c:v>
                </c:pt>
                <c:pt idx="84">
                  <c:v>0.1606915980776667</c:v>
                </c:pt>
                <c:pt idx="85">
                  <c:v>0.16671613733056298</c:v>
                </c:pt>
                <c:pt idx="86">
                  <c:v>0.1759307231144993</c:v>
                </c:pt>
                <c:pt idx="87">
                  <c:v>0.19704711230134958</c:v>
                </c:pt>
                <c:pt idx="88">
                  <c:v>0.18048567053161235</c:v>
                </c:pt>
                <c:pt idx="89">
                  <c:v>0.17244673736505206</c:v>
                </c:pt>
                <c:pt idx="90">
                  <c:v>0.1624969158647915</c:v>
                </c:pt>
                <c:pt idx="91">
                  <c:v>0.1546732452057345</c:v>
                </c:pt>
                <c:pt idx="92">
                  <c:v>0.17381197362905376</c:v>
                </c:pt>
                <c:pt idx="93">
                  <c:v>0.16256891670391893</c:v>
                </c:pt>
                <c:pt idx="94">
                  <c:v>0.16598507525612377</c:v>
                </c:pt>
                <c:pt idx="95">
                  <c:v>0.17649211625850134</c:v>
                </c:pt>
                <c:pt idx="96">
                  <c:v>0.17222309294046526</c:v>
                </c:pt>
                <c:pt idx="97">
                  <c:v>0.17688563038294014</c:v>
                </c:pt>
                <c:pt idx="98">
                  <c:v>0.184845203101095</c:v>
                </c:pt>
                <c:pt idx="99">
                  <c:v>0.1852970193428802</c:v>
                </c:pt>
                <c:pt idx="100">
                  <c:v>0.18696157822191592</c:v>
                </c:pt>
                <c:pt idx="101">
                  <c:v>0.17836053875657837</c:v>
                </c:pt>
                <c:pt idx="102">
                  <c:v>0.16761097479366496</c:v>
                </c:pt>
                <c:pt idx="103">
                  <c:v>0.16980733033013978</c:v>
                </c:pt>
                <c:pt idx="104">
                  <c:v>0.1651442481502012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87.3113</c:v>
                </c:pt>
                <c:pt idx="1">
                  <c:v>1205.9892</c:v>
                </c:pt>
                <c:pt idx="2">
                  <c:v>1198.2105</c:v>
                </c:pt>
                <c:pt idx="3">
                  <c:v>1171.3652</c:v>
                </c:pt>
                <c:pt idx="4">
                  <c:v>1182.2029</c:v>
                </c:pt>
                <c:pt idx="5">
                  <c:v>1187.2975</c:v>
                </c:pt>
                <c:pt idx="6">
                  <c:v>1118.0794</c:v>
                </c:pt>
                <c:pt idx="7">
                  <c:v>1139.9863</c:v>
                </c:pt>
                <c:pt idx="8">
                  <c:v>1185.7356</c:v>
                </c:pt>
                <c:pt idx="9">
                  <c:v>1126.6432</c:v>
                </c:pt>
                <c:pt idx="10">
                  <c:v>1147.6971</c:v>
                </c:pt>
                <c:pt idx="11">
                  <c:v>1070.2266</c:v>
                </c:pt>
                <c:pt idx="12">
                  <c:v>1103.7668</c:v>
                </c:pt>
                <c:pt idx="13">
                  <c:v>1128.5695</c:v>
                </c:pt>
                <c:pt idx="14">
                  <c:v>1134.3797</c:v>
                </c:pt>
                <c:pt idx="15">
                  <c:v>1149.4107</c:v>
                </c:pt>
                <c:pt idx="16">
                  <c:v>1191.8027</c:v>
                </c:pt>
                <c:pt idx="17">
                  <c:v>1155.8286</c:v>
                </c:pt>
                <c:pt idx="18">
                  <c:v>1166.5389</c:v>
                </c:pt>
                <c:pt idx="19">
                  <c:v>1241.8705</c:v>
                </c:pt>
                <c:pt idx="20">
                  <c:v>1234.2292</c:v>
                </c:pt>
                <c:pt idx="21">
                  <c:v>1089.6954</c:v>
                </c:pt>
                <c:pt idx="22">
                  <c:v>1203.3258</c:v>
                </c:pt>
                <c:pt idx="23">
                  <c:v>1198.4213</c:v>
                </c:pt>
                <c:pt idx="24">
                  <c:v>1176.2103</c:v>
                </c:pt>
                <c:pt idx="25">
                  <c:v>1176.0433</c:v>
                </c:pt>
                <c:pt idx="26">
                  <c:v>1192.2911</c:v>
                </c:pt>
                <c:pt idx="27">
                  <c:v>1191.1064</c:v>
                </c:pt>
                <c:pt idx="28">
                  <c:v>1237.1884</c:v>
                </c:pt>
                <c:pt idx="29">
                  <c:v>1238.2347</c:v>
                </c:pt>
                <c:pt idx="30">
                  <c:v>1235.1392</c:v>
                </c:pt>
                <c:pt idx="31">
                  <c:v>1220.5075</c:v>
                </c:pt>
                <c:pt idx="32">
                  <c:v>1240.6515</c:v>
                </c:pt>
                <c:pt idx="33">
                  <c:v>1237.6143</c:v>
                </c:pt>
                <c:pt idx="34">
                  <c:v>1245.0728</c:v>
                </c:pt>
                <c:pt idx="35">
                  <c:v>1266.4226</c:v>
                </c:pt>
                <c:pt idx="36">
                  <c:v>1274.9988</c:v>
                </c:pt>
                <c:pt idx="37">
                  <c:v>1267.3615</c:v>
                </c:pt>
                <c:pt idx="38">
                  <c:v>1270.0503</c:v>
                </c:pt>
                <c:pt idx="39">
                  <c:v>1238.4698</c:v>
                </c:pt>
                <c:pt idx="40">
                  <c:v>1266.1894</c:v>
                </c:pt>
                <c:pt idx="41">
                  <c:v>1289.9675</c:v>
                </c:pt>
                <c:pt idx="42">
                  <c:v>1282.2537</c:v>
                </c:pt>
                <c:pt idx="43">
                  <c:v>1291.4705</c:v>
                </c:pt>
                <c:pt idx="44">
                  <c:v>1219.8948</c:v>
                </c:pt>
                <c:pt idx="45">
                  <c:v>1184.8793</c:v>
                </c:pt>
                <c:pt idx="46">
                  <c:v>1182.9872</c:v>
                </c:pt>
                <c:pt idx="47">
                  <c:v>1162.7617</c:v>
                </c:pt>
                <c:pt idx="48">
                  <c:v>1147.8243</c:v>
                </c:pt>
                <c:pt idx="49">
                  <c:v>1156.9224</c:v>
                </c:pt>
                <c:pt idx="50">
                  <c:v>1116.4614</c:v>
                </c:pt>
                <c:pt idx="51">
                  <c:v>1094.5253</c:v>
                </c:pt>
              </c:numCache>
            </c:numRef>
          </c:xVal>
          <c:yVal>
            <c:numRef>
              <c:f>Sheet1!$B$109:$B$160</c:f>
              <c:numCache>
                <c:formatCode>General</c:formatCode>
                <c:ptCount val="52"/>
                <c:pt idx="0">
                  <c:v>0.17802097185585664</c:v>
                </c:pt>
                <c:pt idx="1">
                  <c:v>0.17260350615442</c:v>
                </c:pt>
                <c:pt idx="2">
                  <c:v>0.1908182123655914</c:v>
                </c:pt>
                <c:pt idx="3">
                  <c:v>0.2053767718431356</c:v>
                </c:pt>
                <c:pt idx="4">
                  <c:v>0.1903469538408094</c:v>
                </c:pt>
                <c:pt idx="5">
                  <c:v>0.18622834490461904</c:v>
                </c:pt>
                <c:pt idx="6">
                  <c:v>0.1955257649123549</c:v>
                </c:pt>
                <c:pt idx="7">
                  <c:v>0.19260207710911936</c:v>
                </c:pt>
                <c:pt idx="8">
                  <c:v>0.18238248229826257</c:v>
                </c:pt>
                <c:pt idx="9">
                  <c:v>0.18989008472635677</c:v>
                </c:pt>
                <c:pt idx="10">
                  <c:v>0.19436705194339465</c:v>
                </c:pt>
                <c:pt idx="11">
                  <c:v>0.1953908232455593</c:v>
                </c:pt>
                <c:pt idx="12">
                  <c:v>0.19392331353166312</c:v>
                </c:pt>
                <c:pt idx="13">
                  <c:v>0.19547250296904917</c:v>
                </c:pt>
                <c:pt idx="14">
                  <c:v>0.19394758459866973</c:v>
                </c:pt>
                <c:pt idx="15">
                  <c:v>0.186550055192324</c:v>
                </c:pt>
                <c:pt idx="16">
                  <c:v>0.17574328415283133</c:v>
                </c:pt>
                <c:pt idx="17">
                  <c:v>0.17712701203841472</c:v>
                </c:pt>
                <c:pt idx="18">
                  <c:v>0.17935530898193894</c:v>
                </c:pt>
                <c:pt idx="19">
                  <c:v>0.18094147206621342</c:v>
                </c:pt>
                <c:pt idx="20">
                  <c:v>0.16802036610498242</c:v>
                </c:pt>
                <c:pt idx="21">
                  <c:v>0.18832418904610645</c:v>
                </c:pt>
                <c:pt idx="22">
                  <c:v>0.16631099039674072</c:v>
                </c:pt>
                <c:pt idx="23">
                  <c:v>0.1754661532225375</c:v>
                </c:pt>
                <c:pt idx="24">
                  <c:v>0.1894596397598399</c:v>
                </c:pt>
                <c:pt idx="25">
                  <c:v>0.1797612506867789</c:v>
                </c:pt>
                <c:pt idx="26">
                  <c:v>0.17359107520677053</c:v>
                </c:pt>
                <c:pt idx="27">
                  <c:v>0.17504155478839023</c:v>
                </c:pt>
                <c:pt idx="28">
                  <c:v>0.1650057115846693</c:v>
                </c:pt>
                <c:pt idx="29">
                  <c:v>0.16573712585982525</c:v>
                </c:pt>
                <c:pt idx="30">
                  <c:v>0.1741023903996903</c:v>
                </c:pt>
                <c:pt idx="31">
                  <c:v>0.16851621285118823</c:v>
                </c:pt>
                <c:pt idx="32">
                  <c:v>0.1653202538949798</c:v>
                </c:pt>
                <c:pt idx="33">
                  <c:v>0.18113479147506897</c:v>
                </c:pt>
                <c:pt idx="34">
                  <c:v>0.20092111034525972</c:v>
                </c:pt>
                <c:pt idx="35">
                  <c:v>0.19210507060803395</c:v>
                </c:pt>
                <c:pt idx="36">
                  <c:v>0.17825081976025373</c:v>
                </c:pt>
                <c:pt idx="37">
                  <c:v>0.16967456340905773</c:v>
                </c:pt>
                <c:pt idx="38">
                  <c:v>0.16960600375234522</c:v>
                </c:pt>
                <c:pt idx="39">
                  <c:v>0.18535355622597843</c:v>
                </c:pt>
                <c:pt idx="40">
                  <c:v>0.17469904101203837</c:v>
                </c:pt>
                <c:pt idx="41">
                  <c:v>0.1779274968418635</c:v>
                </c:pt>
                <c:pt idx="42">
                  <c:v>0.17411245116358076</c:v>
                </c:pt>
                <c:pt idx="43">
                  <c:v>0.17360419144354086</c:v>
                </c:pt>
                <c:pt idx="44">
                  <c:v>0.1737144383598237</c:v>
                </c:pt>
                <c:pt idx="45">
                  <c:v>0.19012611441684774</c:v>
                </c:pt>
                <c:pt idx="46">
                  <c:v>0.19959677419354838</c:v>
                </c:pt>
                <c:pt idx="47">
                  <c:v>0.19990393632350587</c:v>
                </c:pt>
                <c:pt idx="48">
                  <c:v>0.19524801357710406</c:v>
                </c:pt>
                <c:pt idx="49">
                  <c:v>0.20261610043016418</c:v>
                </c:pt>
                <c:pt idx="50">
                  <c:v>0.21060356975105685</c:v>
                </c:pt>
                <c:pt idx="51">
                  <c:v>0.1990467903334256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01.5548035807337</c:v>
                </c:pt>
              </c:numCache>
            </c:numRef>
          </c:xVal>
          <c:yVal>
            <c:numRef>
              <c:f>Sheet1!$B$163:$B$164</c:f>
              <c:numCache>
                <c:formatCode>General</c:formatCode>
                <c:ptCount val="2"/>
                <c:pt idx="0">
                  <c:v>0.23596686533480357</c:v>
                </c:pt>
                <c:pt idx="1">
                  <c:v>0.2359668653348035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01.5548035807337</c:v>
                </c:pt>
                <c:pt idx="1">
                  <c:v>801.5548035807337</c:v>
                </c:pt>
              </c:numCache>
            </c:numRef>
          </c:xVal>
          <c:yVal>
            <c:numRef>
              <c:f>Sheet1!$B$167:$B$168</c:f>
              <c:numCache>
                <c:formatCode>General</c:formatCode>
                <c:ptCount val="2"/>
                <c:pt idx="0">
                  <c:v>0.2359668653348035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57.3489651372704</c:v>
                </c:pt>
              </c:numCache>
            </c:numRef>
          </c:xVal>
          <c:yVal>
            <c:numRef>
              <c:f>Sheet1!$B$171:$B$172</c:f>
              <c:numCache>
                <c:formatCode>General</c:formatCode>
                <c:ptCount val="2"/>
                <c:pt idx="0">
                  <c:v>0.20187861852293768</c:v>
                </c:pt>
                <c:pt idx="1">
                  <c:v>0.2018786185229376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57.3489651372704</c:v>
                </c:pt>
                <c:pt idx="1">
                  <c:v>1057.3489651372704</c:v>
                </c:pt>
              </c:numCache>
            </c:numRef>
          </c:xVal>
          <c:yVal>
            <c:numRef>
              <c:f>Sheet1!$B$175:$B$176</c:f>
              <c:numCache>
                <c:formatCode>General</c:formatCode>
                <c:ptCount val="2"/>
                <c:pt idx="0">
                  <c:v>0.2018786185229376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4.2469129130268</c:v>
                </c:pt>
              </c:numCache>
            </c:numRef>
          </c:xVal>
          <c:yVal>
            <c:numRef>
              <c:f>Sheet1!$B$179:$B$180</c:f>
              <c:numCache>
                <c:formatCode>General</c:formatCode>
                <c:ptCount val="2"/>
                <c:pt idx="0">
                  <c:v>0.18896557492865215</c:v>
                </c:pt>
                <c:pt idx="1">
                  <c:v>0.1889655749286521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4.2469129130268</c:v>
                </c:pt>
                <c:pt idx="1">
                  <c:v>1154.2469129130268</c:v>
                </c:pt>
              </c:numCache>
            </c:numRef>
          </c:xVal>
          <c:yVal>
            <c:numRef>
              <c:f>Sheet1!$B$183:$B$184</c:f>
              <c:numCache>
                <c:formatCode>General</c:formatCode>
                <c:ptCount val="2"/>
                <c:pt idx="0">
                  <c:v>0.188965574928652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87.3113</c:v>
                </c:pt>
                <c:pt idx="1">
                  <c:v>1205.9892</c:v>
                </c:pt>
                <c:pt idx="2">
                  <c:v>1198.2105</c:v>
                </c:pt>
                <c:pt idx="3">
                  <c:v>1171.3652</c:v>
                </c:pt>
                <c:pt idx="4">
                  <c:v>1182.2029</c:v>
                </c:pt>
                <c:pt idx="5">
                  <c:v>1187.2975</c:v>
                </c:pt>
                <c:pt idx="6">
                  <c:v>1118.0794</c:v>
                </c:pt>
                <c:pt idx="7">
                  <c:v>1139.9863</c:v>
                </c:pt>
                <c:pt idx="8">
                  <c:v>1185.7356</c:v>
                </c:pt>
                <c:pt idx="9">
                  <c:v>1126.6432</c:v>
                </c:pt>
                <c:pt idx="10">
                  <c:v>1147.6971</c:v>
                </c:pt>
                <c:pt idx="11">
                  <c:v>1070.2266</c:v>
                </c:pt>
                <c:pt idx="12">
                  <c:v>1103.7668</c:v>
                </c:pt>
                <c:pt idx="13">
                  <c:v>1128.5695</c:v>
                </c:pt>
                <c:pt idx="14">
                  <c:v>1134.3797</c:v>
                </c:pt>
                <c:pt idx="15">
                  <c:v>1149.4107</c:v>
                </c:pt>
                <c:pt idx="16">
                  <c:v>1191.8027</c:v>
                </c:pt>
                <c:pt idx="17">
                  <c:v>1155.8286</c:v>
                </c:pt>
                <c:pt idx="18">
                  <c:v>1166.5389</c:v>
                </c:pt>
                <c:pt idx="19">
                  <c:v>1241.8705</c:v>
                </c:pt>
                <c:pt idx="20">
                  <c:v>1234.2292</c:v>
                </c:pt>
                <c:pt idx="21">
                  <c:v>1089.6954</c:v>
                </c:pt>
                <c:pt idx="22">
                  <c:v>1203.3258</c:v>
                </c:pt>
                <c:pt idx="23">
                  <c:v>1198.4213</c:v>
                </c:pt>
                <c:pt idx="24">
                  <c:v>1176.2103</c:v>
                </c:pt>
                <c:pt idx="25">
                  <c:v>1176.0433</c:v>
                </c:pt>
                <c:pt idx="26">
                  <c:v>1192.2911</c:v>
                </c:pt>
                <c:pt idx="27">
                  <c:v>1191.1064</c:v>
                </c:pt>
                <c:pt idx="28">
                  <c:v>1237.1884</c:v>
                </c:pt>
                <c:pt idx="29">
                  <c:v>1238.2347</c:v>
                </c:pt>
                <c:pt idx="30">
                  <c:v>1235.1392</c:v>
                </c:pt>
                <c:pt idx="31">
                  <c:v>1220.5075</c:v>
                </c:pt>
                <c:pt idx="32">
                  <c:v>1240.6515</c:v>
                </c:pt>
                <c:pt idx="33">
                  <c:v>1237.6143</c:v>
                </c:pt>
                <c:pt idx="34">
                  <c:v>1245.0728</c:v>
                </c:pt>
                <c:pt idx="35">
                  <c:v>1266.4226</c:v>
                </c:pt>
                <c:pt idx="36">
                  <c:v>1274.9988</c:v>
                </c:pt>
                <c:pt idx="37">
                  <c:v>1267.3615</c:v>
                </c:pt>
                <c:pt idx="38">
                  <c:v>1270.0503</c:v>
                </c:pt>
                <c:pt idx="39">
                  <c:v>1238.4698</c:v>
                </c:pt>
                <c:pt idx="40">
                  <c:v>1266.1894</c:v>
                </c:pt>
                <c:pt idx="41">
                  <c:v>1289.9675</c:v>
                </c:pt>
                <c:pt idx="42">
                  <c:v>1282.2537</c:v>
                </c:pt>
                <c:pt idx="43">
                  <c:v>1291.4705</c:v>
                </c:pt>
                <c:pt idx="44">
                  <c:v>1219.8948</c:v>
                </c:pt>
                <c:pt idx="45">
                  <c:v>1184.8793</c:v>
                </c:pt>
                <c:pt idx="46">
                  <c:v>1182.9872</c:v>
                </c:pt>
                <c:pt idx="47">
                  <c:v>1162.7617</c:v>
                </c:pt>
                <c:pt idx="48">
                  <c:v>1147.8243</c:v>
                </c:pt>
                <c:pt idx="49">
                  <c:v>1156.9224</c:v>
                </c:pt>
                <c:pt idx="50">
                  <c:v>1116.4614</c:v>
                </c:pt>
                <c:pt idx="51">
                  <c:v>1094.5253</c:v>
                </c:pt>
                <c:pt idx="52">
                  <c:v>1057.3489651372704</c:v>
                </c:pt>
                <c:pt idx="53">
                  <c:v>801.5548035807337</c:v>
                </c:pt>
                <c:pt idx="54">
                  <c:v>1154.2469129130268</c:v>
                </c:pt>
              </c:numCache>
            </c:numRef>
          </c:xVal>
          <c:yVal>
            <c:numRef>
              <c:f>Sheet1!$B$187:$B$241</c:f>
              <c:numCache>
                <c:formatCode>General</c:formatCode>
                <c:ptCount val="55"/>
                <c:pt idx="0">
                  <c:v>0.18455927034044248</c:v>
                </c:pt>
                <c:pt idx="1">
                  <c:v>0.18207017183540633</c:v>
                </c:pt>
                <c:pt idx="2">
                  <c:v>0.18310679536059518</c:v>
                </c:pt>
                <c:pt idx="3">
                  <c:v>0.18668431724995355</c:v>
                </c:pt>
                <c:pt idx="4">
                  <c:v>0.18524003802862618</c:v>
                </c:pt>
                <c:pt idx="5">
                  <c:v>0.18456110938869574</c:v>
                </c:pt>
                <c:pt idx="6">
                  <c:v>0.19378541561324145</c:v>
                </c:pt>
                <c:pt idx="7">
                  <c:v>0.19086600646981652</c:v>
                </c:pt>
                <c:pt idx="8">
                  <c:v>0.18476925500222915</c:v>
                </c:pt>
                <c:pt idx="9">
                  <c:v>0.19264416623416625</c:v>
                </c:pt>
                <c:pt idx="10">
                  <c:v>0.18983843159509117</c:v>
                </c:pt>
                <c:pt idx="11">
                  <c:v>0.20016248867508427</c:v>
                </c:pt>
                <c:pt idx="12">
                  <c:v>0.19569277518060074</c:v>
                </c:pt>
                <c:pt idx="13">
                  <c:v>0.19238745908559757</c:v>
                </c:pt>
                <c:pt idx="14">
                  <c:v>0.19161316646523013</c:v>
                </c:pt>
                <c:pt idx="15">
                  <c:v>0.18961006977720857</c:v>
                </c:pt>
                <c:pt idx="16">
                  <c:v>0.1839607267661906</c:v>
                </c:pt>
                <c:pt idx="17">
                  <c:v>0.18875479240151471</c:v>
                </c:pt>
                <c:pt idx="18">
                  <c:v>0.18732749106043844</c:v>
                </c:pt>
                <c:pt idx="19">
                  <c:v>0.1772884731332635</c:v>
                </c:pt>
                <c:pt idx="20">
                  <c:v>0.17830678613453949</c:v>
                </c:pt>
                <c:pt idx="21">
                  <c:v>0.19756799138283793</c:v>
                </c:pt>
                <c:pt idx="22">
                  <c:v>0.18242510814828483</c:v>
                </c:pt>
                <c:pt idx="23">
                  <c:v>0.18307870323220485</c:v>
                </c:pt>
                <c:pt idx="24">
                  <c:v>0.1860386380693845</c:v>
                </c:pt>
                <c:pt idx="25">
                  <c:v>0.18606089321853622</c:v>
                </c:pt>
                <c:pt idx="26">
                  <c:v>0.18389564044974926</c:v>
                </c:pt>
                <c:pt idx="27">
                  <c:v>0.18405351874436035</c:v>
                </c:pt>
                <c:pt idx="28">
                  <c:v>0.17791243022214553</c:v>
                </c:pt>
                <c:pt idx="29">
                  <c:v>0.1777729957158135</c:v>
                </c:pt>
                <c:pt idx="30">
                  <c:v>0.1781855155613175</c:v>
                </c:pt>
                <c:pt idx="31">
                  <c:v>0.18013539978792423</c:v>
                </c:pt>
                <c:pt idx="32">
                  <c:v>0.1774509223956345</c:v>
                </c:pt>
                <c:pt idx="33">
                  <c:v>0.17785567292859034</c:v>
                </c:pt>
                <c:pt idx="34">
                  <c:v>0.17686172065345168</c:v>
                </c:pt>
                <c:pt idx="35">
                  <c:v>0.1740165530884245</c:v>
                </c:pt>
                <c:pt idx="36">
                  <c:v>0.1728736512312087</c:v>
                </c:pt>
                <c:pt idx="37">
                  <c:v>0.17389143117502</c:v>
                </c:pt>
                <c:pt idx="38">
                  <c:v>0.17353310994724055</c:v>
                </c:pt>
                <c:pt idx="39">
                  <c:v>0.17774166526332502</c:v>
                </c:pt>
                <c:pt idx="40">
                  <c:v>0.17404763033861725</c:v>
                </c:pt>
                <c:pt idx="41">
                  <c:v>0.17087885691320004</c:v>
                </c:pt>
                <c:pt idx="42">
                  <c:v>0.17190683158102393</c:v>
                </c:pt>
                <c:pt idx="43">
                  <c:v>0.1706785605708345</c:v>
                </c:pt>
                <c:pt idx="44">
                  <c:v>0.18021705086508147</c:v>
                </c:pt>
                <c:pt idx="45">
                  <c:v>0.18488336927898738</c:v>
                </c:pt>
                <c:pt idx="46">
                  <c:v>0.18513551878623277</c:v>
                </c:pt>
                <c:pt idx="47">
                  <c:v>0.18783085722436602</c:v>
                </c:pt>
                <c:pt idx="48">
                  <c:v>0.18982148036771332</c:v>
                </c:pt>
                <c:pt idx="49">
                  <c:v>0.18860902783778924</c:v>
                </c:pt>
                <c:pt idx="50">
                  <c:v>0.19400103735771748</c:v>
                </c:pt>
                <c:pt idx="51">
                  <c:v>0.1969243378206348</c:v>
                </c:pt>
                <c:pt idx="52">
                  <c:v>0.20187861852293768</c:v>
                </c:pt>
                <c:pt idx="53">
                  <c:v>0.23596686533480357</c:v>
                </c:pt>
                <c:pt idx="54">
                  <c:v>0.188965574928652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50.0"/>
          <c:min val="64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8877665185564"/>
          <c:min val="0.1210273009923761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4.1047</c:v>
                </c:pt>
                <c:pt idx="1">
                  <c:v>871.9001</c:v>
                </c:pt>
                <c:pt idx="2">
                  <c:v>898.2265</c:v>
                </c:pt>
                <c:pt idx="3">
                  <c:v>910.7331</c:v>
                </c:pt>
                <c:pt idx="4">
                  <c:v>904.1224</c:v>
                </c:pt>
                <c:pt idx="5">
                  <c:v>893.8169</c:v>
                </c:pt>
                <c:pt idx="6">
                  <c:v>858.8036</c:v>
                </c:pt>
                <c:pt idx="7">
                  <c:v>867.0558</c:v>
                </c:pt>
                <c:pt idx="8">
                  <c:v>868.809</c:v>
                </c:pt>
                <c:pt idx="9">
                  <c:v>842.1731</c:v>
                </c:pt>
                <c:pt idx="10">
                  <c:v>826.7434</c:v>
                </c:pt>
                <c:pt idx="11">
                  <c:v>861.1664</c:v>
                </c:pt>
                <c:pt idx="12">
                  <c:v>867.1068</c:v>
                </c:pt>
                <c:pt idx="13">
                  <c:v>868.5584</c:v>
                </c:pt>
                <c:pt idx="14">
                  <c:v>895.9741</c:v>
                </c:pt>
                <c:pt idx="15">
                  <c:v>914.0135</c:v>
                </c:pt>
                <c:pt idx="16">
                  <c:v>930.0587</c:v>
                </c:pt>
                <c:pt idx="17">
                  <c:v>919.9987</c:v>
                </c:pt>
                <c:pt idx="18">
                  <c:v>972.0593</c:v>
                </c:pt>
                <c:pt idx="19">
                  <c:v>990.7156</c:v>
                </c:pt>
                <c:pt idx="20">
                  <c:v>1014.1583</c:v>
                </c:pt>
                <c:pt idx="21">
                  <c:v>1027.6645</c:v>
                </c:pt>
                <c:pt idx="22">
                  <c:v>1008.3504</c:v>
                </c:pt>
                <c:pt idx="23">
                  <c:v>1004.1741</c:v>
                </c:pt>
                <c:pt idx="24">
                  <c:v>1013.5886</c:v>
                </c:pt>
                <c:pt idx="25">
                  <c:v>990.419</c:v>
                </c:pt>
                <c:pt idx="26">
                  <c:v>979.0327</c:v>
                </c:pt>
                <c:pt idx="27">
                  <c:v>996.4611</c:v>
                </c:pt>
                <c:pt idx="28">
                  <c:v>998.4049</c:v>
                </c:pt>
                <c:pt idx="29">
                  <c:v>987.1565</c:v>
                </c:pt>
                <c:pt idx="30">
                  <c:v>989.7549</c:v>
                </c:pt>
                <c:pt idx="31">
                  <c:v>975.2188</c:v>
                </c:pt>
                <c:pt idx="32">
                  <c:v>964.5709</c:v>
                </c:pt>
                <c:pt idx="33">
                  <c:v>921.5912</c:v>
                </c:pt>
                <c:pt idx="34">
                  <c:v>934.5094</c:v>
                </c:pt>
                <c:pt idx="35">
                  <c:v>965.3223</c:v>
                </c:pt>
                <c:pt idx="36">
                  <c:v>1025.9005</c:v>
                </c:pt>
                <c:pt idx="37">
                  <c:v>1045.4788</c:v>
                </c:pt>
                <c:pt idx="38">
                  <c:v>1082.9511</c:v>
                </c:pt>
                <c:pt idx="39">
                  <c:v>1108.7055</c:v>
                </c:pt>
                <c:pt idx="40">
                  <c:v>1106.815</c:v>
                </c:pt>
                <c:pt idx="41">
                  <c:v>1131.6485</c:v>
                </c:pt>
                <c:pt idx="42">
                  <c:v>1148.8976</c:v>
                </c:pt>
                <c:pt idx="43">
                  <c:v>1154.9292</c:v>
                </c:pt>
                <c:pt idx="44">
                  <c:v>1113.0708</c:v>
                </c:pt>
                <c:pt idx="45">
                  <c:v>1078.0761</c:v>
                </c:pt>
                <c:pt idx="46">
                  <c:v>1061.4059</c:v>
                </c:pt>
                <c:pt idx="47">
                  <c:v>1047.8382</c:v>
                </c:pt>
                <c:pt idx="48">
                  <c:v>1044.792</c:v>
                </c:pt>
                <c:pt idx="49">
                  <c:v>999.338</c:v>
                </c:pt>
                <c:pt idx="50">
                  <c:v>1004.3309</c:v>
                </c:pt>
                <c:pt idx="51">
                  <c:v>1014.8195</c:v>
                </c:pt>
                <c:pt idx="52">
                  <c:v>1016.3603</c:v>
                </c:pt>
                <c:pt idx="53">
                  <c:v>1111.8357</c:v>
                </c:pt>
                <c:pt idx="54">
                  <c:v>1105.4646</c:v>
                </c:pt>
                <c:pt idx="55">
                  <c:v>1118.4436</c:v>
                </c:pt>
                <c:pt idx="56">
                  <c:v>1124.8373</c:v>
                </c:pt>
                <c:pt idx="57">
                  <c:v>1102.1197</c:v>
                </c:pt>
                <c:pt idx="58">
                  <c:v>1081.0693</c:v>
                </c:pt>
                <c:pt idx="59">
                  <c:v>1077.478</c:v>
                </c:pt>
                <c:pt idx="60">
                  <c:v>1092.2519</c:v>
                </c:pt>
                <c:pt idx="61">
                  <c:v>1097.7472</c:v>
                </c:pt>
                <c:pt idx="62">
                  <c:v>1033.3266</c:v>
                </c:pt>
                <c:pt idx="63">
                  <c:v>1053.9903</c:v>
                </c:pt>
                <c:pt idx="64">
                  <c:v>1060.6227</c:v>
                </c:pt>
                <c:pt idx="65">
                  <c:v>1053.3096</c:v>
                </c:pt>
                <c:pt idx="66">
                  <c:v>1083.3464</c:v>
                </c:pt>
                <c:pt idx="67">
                  <c:v>1105.0394</c:v>
                </c:pt>
                <c:pt idx="68">
                  <c:v>1116.0063</c:v>
                </c:pt>
                <c:pt idx="69">
                  <c:v>1146.5405</c:v>
                </c:pt>
                <c:pt idx="70">
                  <c:v>1135.5569</c:v>
                </c:pt>
                <c:pt idx="71">
                  <c:v>1184.6456</c:v>
                </c:pt>
                <c:pt idx="72">
                  <c:v>1253.7753</c:v>
                </c:pt>
                <c:pt idx="73">
                  <c:v>1235.0861</c:v>
                </c:pt>
                <c:pt idx="74">
                  <c:v>1227.9679</c:v>
                </c:pt>
                <c:pt idx="75">
                  <c:v>1196.1969</c:v>
                </c:pt>
                <c:pt idx="76">
                  <c:v>1160.9117</c:v>
                </c:pt>
                <c:pt idx="77">
                  <c:v>1163.9833</c:v>
                </c:pt>
                <c:pt idx="78">
                  <c:v>1207.1764</c:v>
                </c:pt>
                <c:pt idx="79">
                  <c:v>1195.5859</c:v>
                </c:pt>
                <c:pt idx="80">
                  <c:v>1214.1439</c:v>
                </c:pt>
                <c:pt idx="81">
                  <c:v>1212.0495</c:v>
                </c:pt>
                <c:pt idx="82">
                  <c:v>1220.6117</c:v>
                </c:pt>
                <c:pt idx="83">
                  <c:v>1184.5929</c:v>
                </c:pt>
                <c:pt idx="84">
                  <c:v>1204.6501</c:v>
                </c:pt>
                <c:pt idx="85">
                  <c:v>1185.7867</c:v>
                </c:pt>
                <c:pt idx="86">
                  <c:v>1181.1099</c:v>
                </c:pt>
                <c:pt idx="87">
                  <c:v>1181.1963</c:v>
                </c:pt>
                <c:pt idx="88">
                  <c:v>1222.5552</c:v>
                </c:pt>
                <c:pt idx="89">
                  <c:v>1217.5926</c:v>
                </c:pt>
                <c:pt idx="90">
                  <c:v>1271.0298</c:v>
                </c:pt>
                <c:pt idx="91">
                  <c:v>1268.4142</c:v>
                </c:pt>
                <c:pt idx="92">
                  <c:v>1222.2023</c:v>
                </c:pt>
                <c:pt idx="93">
                  <c:v>1248.6531</c:v>
                </c:pt>
                <c:pt idx="94">
                  <c:v>1233.51</c:v>
                </c:pt>
                <c:pt idx="95">
                  <c:v>1198.1168</c:v>
                </c:pt>
                <c:pt idx="96">
                  <c:v>1150.1633</c:v>
                </c:pt>
                <c:pt idx="97">
                  <c:v>1148.0502</c:v>
                </c:pt>
                <c:pt idx="98">
                  <c:v>1130.0131</c:v>
                </c:pt>
                <c:pt idx="99">
                  <c:v>1100.8128</c:v>
                </c:pt>
                <c:pt idx="100">
                  <c:v>1087.9755</c:v>
                </c:pt>
                <c:pt idx="101">
                  <c:v>1123.3286</c:v>
                </c:pt>
                <c:pt idx="102">
                  <c:v>1145.7458</c:v>
                </c:pt>
                <c:pt idx="103">
                  <c:v>1119.9822</c:v>
                </c:pt>
                <c:pt idx="104">
                  <c:v>1148.4012</c:v>
                </c:pt>
              </c:numCache>
            </c:numRef>
          </c:xVal>
          <c:yVal>
            <c:numRef>
              <c:f>Sheet1!$B$2:$B$106</c:f>
              <c:numCache>
                <c:formatCode>General</c:formatCode>
                <c:ptCount val="105"/>
                <c:pt idx="0">
                  <c:v>0.23418296003728872</c:v>
                </c:pt>
                <c:pt idx="1">
                  <c:v>0.23165931366074022</c:v>
                </c:pt>
                <c:pt idx="2">
                  <c:v>0.23278705032349017</c:v>
                </c:pt>
                <c:pt idx="3">
                  <c:v>0.2333306651724966</c:v>
                </c:pt>
                <c:pt idx="4">
                  <c:v>0.24390852650297945</c:v>
                </c:pt>
                <c:pt idx="5">
                  <c:v>0.24503670603255664</c:v>
                </c:pt>
                <c:pt idx="6">
                  <c:v>0.2710683172856488</c:v>
                </c:pt>
                <c:pt idx="7">
                  <c:v>0.27163461538461536</c:v>
                </c:pt>
                <c:pt idx="8">
                  <c:v>0.2694881600235329</c:v>
                </c:pt>
                <c:pt idx="9">
                  <c:v>0.26030640668523675</c:v>
                </c:pt>
                <c:pt idx="10">
                  <c:v>0.25559079668852813</c:v>
                </c:pt>
                <c:pt idx="11">
                  <c:v>0.23839553955666223</c:v>
                </c:pt>
                <c:pt idx="12">
                  <c:v>0.22530389481518234</c:v>
                </c:pt>
                <c:pt idx="13">
                  <c:v>0.2139519185835194</c:v>
                </c:pt>
                <c:pt idx="14">
                  <c:v>0.19948627892957305</c:v>
                </c:pt>
                <c:pt idx="15">
                  <c:v>0.19059006211180124</c:v>
                </c:pt>
                <c:pt idx="16">
                  <c:v>0.18442418631151627</c:v>
                </c:pt>
                <c:pt idx="17">
                  <c:v>0.18214480981020073</c:v>
                </c:pt>
                <c:pt idx="18">
                  <c:v>0.16781849002477506</c:v>
                </c:pt>
                <c:pt idx="19">
                  <c:v>0.1664623557053836</c:v>
                </c:pt>
                <c:pt idx="20">
                  <c:v>0.1770842061164642</c:v>
                </c:pt>
                <c:pt idx="21">
                  <c:v>0.18134497081865503</c:v>
                </c:pt>
                <c:pt idx="22">
                  <c:v>0.1921511324496399</c:v>
                </c:pt>
                <c:pt idx="23">
                  <c:v>0.20127326150832517</c:v>
                </c:pt>
                <c:pt idx="24">
                  <c:v>0.20410230438085591</c:v>
                </c:pt>
                <c:pt idx="25">
                  <c:v>0.20850965161439916</c:v>
                </c:pt>
                <c:pt idx="26">
                  <c:v>0.2231766279189384</c:v>
                </c:pt>
                <c:pt idx="27">
                  <c:v>0.22059716599190282</c:v>
                </c:pt>
                <c:pt idx="28">
                  <c:v>0.2278031977790345</c:v>
                </c:pt>
                <c:pt idx="29">
                  <c:v>0.22411392120749293</c:v>
                </c:pt>
                <c:pt idx="30">
                  <c:v>0.22836372028617585</c:v>
                </c:pt>
                <c:pt idx="31">
                  <c:v>0.23155645524066576</c:v>
                </c:pt>
                <c:pt idx="32">
                  <c:v>0.2391124358337473</c:v>
                </c:pt>
                <c:pt idx="33">
                  <c:v>0.23732728936930655</c:v>
                </c:pt>
                <c:pt idx="34">
                  <c:v>0.2376046610332986</c:v>
                </c:pt>
                <c:pt idx="35">
                  <c:v>0.25597164957235835</c:v>
                </c:pt>
                <c:pt idx="36">
                  <c:v>0.2249256444150694</c:v>
                </c:pt>
                <c:pt idx="37">
                  <c:v>0.21881479338444476</c:v>
                </c:pt>
                <c:pt idx="38">
                  <c:v>0.20735478882767952</c:v>
                </c:pt>
                <c:pt idx="39">
                  <c:v>0.20157617317435136</c:v>
                </c:pt>
                <c:pt idx="40">
                  <c:v>0.2043353918846106</c:v>
                </c:pt>
                <c:pt idx="41">
                  <c:v>0.19930262433474033</c:v>
                </c:pt>
                <c:pt idx="42">
                  <c:v>0.19792563600782778</c:v>
                </c:pt>
                <c:pt idx="43">
                  <c:v>0.19148566463944397</c:v>
                </c:pt>
                <c:pt idx="44">
                  <c:v>0.18882872746876686</c:v>
                </c:pt>
                <c:pt idx="45">
                  <c:v>0.20146325946347152</c:v>
                </c:pt>
                <c:pt idx="46">
                  <c:v>0.20674221893734088</c:v>
                </c:pt>
                <c:pt idx="47">
                  <c:v>0.20248705097825404</c:v>
                </c:pt>
                <c:pt idx="48">
                  <c:v>0.20068823124569857</c:v>
                </c:pt>
                <c:pt idx="49">
                  <c:v>0.21421377913941334</c:v>
                </c:pt>
                <c:pt idx="50">
                  <c:v>0.20370295834171864</c:v>
                </c:pt>
                <c:pt idx="51">
                  <c:v>0.19657907167540958</c:v>
                </c:pt>
                <c:pt idx="52">
                  <c:v>0.1990873753591347</c:v>
                </c:pt>
                <c:pt idx="53">
                  <c:v>0.1924849250862364</c:v>
                </c:pt>
                <c:pt idx="54">
                  <c:v>0.19632599504300918</c:v>
                </c:pt>
                <c:pt idx="55">
                  <c:v>0.1932637372498579</c:v>
                </c:pt>
                <c:pt idx="56">
                  <c:v>0.1963961784980046</c:v>
                </c:pt>
                <c:pt idx="57">
                  <c:v>0.1902930783620869</c:v>
                </c:pt>
                <c:pt idx="58">
                  <c:v>0.2004390569819605</c:v>
                </c:pt>
                <c:pt idx="59">
                  <c:v>0.19565183241961073</c:v>
                </c:pt>
                <c:pt idx="60">
                  <c:v>0.1985710596539554</c:v>
                </c:pt>
                <c:pt idx="61">
                  <c:v>0.19782154510669264</c:v>
                </c:pt>
                <c:pt idx="62">
                  <c:v>0.21214106590154305</c:v>
                </c:pt>
                <c:pt idx="63">
                  <c:v>0.2160689782292584</c:v>
                </c:pt>
                <c:pt idx="64">
                  <c:v>0.2057314629258517</c:v>
                </c:pt>
                <c:pt idx="65">
                  <c:v>0.20019627085377822</c:v>
                </c:pt>
                <c:pt idx="66">
                  <c:v>0.1993405749644317</c:v>
                </c:pt>
                <c:pt idx="67">
                  <c:v>0.18906573406609092</c:v>
                </c:pt>
                <c:pt idx="68">
                  <c:v>0.1790146244498083</c:v>
                </c:pt>
                <c:pt idx="69">
                  <c:v>0.17184334908845375</c:v>
                </c:pt>
                <c:pt idx="70">
                  <c:v>0.17183179516644523</c:v>
                </c:pt>
                <c:pt idx="71">
                  <c:v>0.1720010810393421</c:v>
                </c:pt>
                <c:pt idx="72">
                  <c:v>0.1703549517966696</c:v>
                </c:pt>
                <c:pt idx="73">
                  <c:v>0.17289084055492948</c:v>
                </c:pt>
                <c:pt idx="74">
                  <c:v>0.1736186858238989</c:v>
                </c:pt>
                <c:pt idx="75">
                  <c:v>0.18380130535722108</c:v>
                </c:pt>
                <c:pt idx="76">
                  <c:v>0.1867787900023359</c:v>
                </c:pt>
                <c:pt idx="77">
                  <c:v>0.17921302316620913</c:v>
                </c:pt>
                <c:pt idx="78">
                  <c:v>0.183714055361462</c:v>
                </c:pt>
                <c:pt idx="79">
                  <c:v>0.16925569427237205</c:v>
                </c:pt>
                <c:pt idx="80">
                  <c:v>0.1642047079005051</c:v>
                </c:pt>
                <c:pt idx="81">
                  <c:v>0.1722029753413491</c:v>
                </c:pt>
                <c:pt idx="82">
                  <c:v>0.17136125654450263</c:v>
                </c:pt>
                <c:pt idx="83">
                  <c:v>0.17091711623344777</c:v>
                </c:pt>
                <c:pt idx="84">
                  <c:v>0.1731971525843392</c:v>
                </c:pt>
                <c:pt idx="85">
                  <c:v>0.1781016320069865</c:v>
                </c:pt>
                <c:pt idx="86">
                  <c:v>0.18914164143687096</c:v>
                </c:pt>
                <c:pt idx="87">
                  <c:v>0.20626872551279096</c:v>
                </c:pt>
                <c:pt idx="88">
                  <c:v>0.19925086345283846</c:v>
                </c:pt>
                <c:pt idx="89">
                  <c:v>0.18920077137347333</c:v>
                </c:pt>
                <c:pt idx="90">
                  <c:v>0.17882288228822882</c:v>
                </c:pt>
                <c:pt idx="91">
                  <c:v>0.17116303770578864</c:v>
                </c:pt>
                <c:pt idx="92">
                  <c:v>0.18376905390445372</c:v>
                </c:pt>
                <c:pt idx="93">
                  <c:v>0.17386494017374202</c:v>
                </c:pt>
                <c:pt idx="94">
                  <c:v>0.17872005918801442</c:v>
                </c:pt>
                <c:pt idx="95">
                  <c:v>0.18349928876244664</c:v>
                </c:pt>
                <c:pt idx="96">
                  <c:v>0.1838017571962526</c:v>
                </c:pt>
                <c:pt idx="97">
                  <c:v>0.18564141638622558</c:v>
                </c:pt>
                <c:pt idx="98">
                  <c:v>0.19047008859925313</c:v>
                </c:pt>
                <c:pt idx="99">
                  <c:v>0.19314582541492462</c:v>
                </c:pt>
                <c:pt idx="100">
                  <c:v>0.19683051921857891</c:v>
                </c:pt>
                <c:pt idx="101">
                  <c:v>0.19314315106433488</c:v>
                </c:pt>
                <c:pt idx="102">
                  <c:v>0.17887716504081227</c:v>
                </c:pt>
                <c:pt idx="103">
                  <c:v>0.1841797332085186</c:v>
                </c:pt>
                <c:pt idx="104">
                  <c:v>0.1828788495455162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95.6848</c:v>
                </c:pt>
                <c:pt idx="1">
                  <c:v>1198.9994</c:v>
                </c:pt>
                <c:pt idx="2">
                  <c:v>1210.5629</c:v>
                </c:pt>
                <c:pt idx="3">
                  <c:v>1199.603</c:v>
                </c:pt>
                <c:pt idx="4">
                  <c:v>1217.8573</c:v>
                </c:pt>
                <c:pt idx="5">
                  <c:v>1213.9471</c:v>
                </c:pt>
                <c:pt idx="6">
                  <c:v>1133.9565</c:v>
                </c:pt>
                <c:pt idx="7">
                  <c:v>1164.5555</c:v>
                </c:pt>
                <c:pt idx="8">
                  <c:v>1201.2923</c:v>
                </c:pt>
                <c:pt idx="9">
                  <c:v>1136.7634</c:v>
                </c:pt>
                <c:pt idx="10">
                  <c:v>1160.9751</c:v>
                </c:pt>
                <c:pt idx="11">
                  <c:v>1076.0515</c:v>
                </c:pt>
                <c:pt idx="12">
                  <c:v>1107.9836</c:v>
                </c:pt>
                <c:pt idx="13">
                  <c:v>1135.0708</c:v>
                </c:pt>
                <c:pt idx="14">
                  <c:v>1145.0448</c:v>
                </c:pt>
                <c:pt idx="15">
                  <c:v>1152.681</c:v>
                </c:pt>
                <c:pt idx="16">
                  <c:v>1202.9584</c:v>
                </c:pt>
                <c:pt idx="17">
                  <c:v>1161.3676</c:v>
                </c:pt>
                <c:pt idx="18">
                  <c:v>1174.7117</c:v>
                </c:pt>
                <c:pt idx="19">
                  <c:v>1255.5536</c:v>
                </c:pt>
                <c:pt idx="20">
                  <c:v>1241.1818</c:v>
                </c:pt>
                <c:pt idx="21">
                  <c:v>1182.4799</c:v>
                </c:pt>
                <c:pt idx="22">
                  <c:v>1207.6495</c:v>
                </c:pt>
                <c:pt idx="23">
                  <c:v>1197.7542</c:v>
                </c:pt>
                <c:pt idx="24">
                  <c:v>1194.7574</c:v>
                </c:pt>
                <c:pt idx="25">
                  <c:v>1180.9858</c:v>
                </c:pt>
                <c:pt idx="26">
                  <c:v>1195.4343</c:v>
                </c:pt>
                <c:pt idx="27">
                  <c:v>1200.8557</c:v>
                </c:pt>
                <c:pt idx="28">
                  <c:v>1239.3249</c:v>
                </c:pt>
                <c:pt idx="29">
                  <c:v>1245.4634</c:v>
                </c:pt>
                <c:pt idx="30">
                  <c:v>1236.1846</c:v>
                </c:pt>
                <c:pt idx="31">
                  <c:v>1222.3516</c:v>
                </c:pt>
                <c:pt idx="32">
                  <c:v>1238.381</c:v>
                </c:pt>
                <c:pt idx="33">
                  <c:v>1235.9333</c:v>
                </c:pt>
                <c:pt idx="34">
                  <c:v>1249.3299</c:v>
                </c:pt>
                <c:pt idx="35">
                  <c:v>1268.9072</c:v>
                </c:pt>
                <c:pt idx="36">
                  <c:v>1290.0027</c:v>
                </c:pt>
                <c:pt idx="37">
                  <c:v>1273.1904</c:v>
                </c:pt>
                <c:pt idx="38">
                  <c:v>1281.431</c:v>
                </c:pt>
                <c:pt idx="39">
                  <c:v>1247.9419</c:v>
                </c:pt>
                <c:pt idx="40">
                  <c:v>1274.4374</c:v>
                </c:pt>
                <c:pt idx="41">
                  <c:v>1296.8614</c:v>
                </c:pt>
                <c:pt idx="42">
                  <c:v>1292.6702</c:v>
                </c:pt>
                <c:pt idx="43">
                  <c:v>1302.0746</c:v>
                </c:pt>
                <c:pt idx="44">
                  <c:v>1228.3732</c:v>
                </c:pt>
                <c:pt idx="45">
                  <c:v>1191.7719</c:v>
                </c:pt>
                <c:pt idx="46">
                  <c:v>1187.7071</c:v>
                </c:pt>
                <c:pt idx="47">
                  <c:v>1166.1368</c:v>
                </c:pt>
                <c:pt idx="48">
                  <c:v>1151.4027</c:v>
                </c:pt>
                <c:pt idx="49">
                  <c:v>1160.7003</c:v>
                </c:pt>
                <c:pt idx="50">
                  <c:v>1117.3454</c:v>
                </c:pt>
                <c:pt idx="51">
                  <c:v>1097.8635</c:v>
                </c:pt>
              </c:numCache>
            </c:numRef>
          </c:xVal>
          <c:yVal>
            <c:numRef>
              <c:f>Sheet1!$B$109:$B$160</c:f>
              <c:numCache>
                <c:formatCode>General</c:formatCode>
                <c:ptCount val="52"/>
                <c:pt idx="0">
                  <c:v>0.1894963069094143</c:v>
                </c:pt>
                <c:pt idx="1">
                  <c:v>0.18750654793085386</c:v>
                </c:pt>
                <c:pt idx="2">
                  <c:v>0.20014538973829848</c:v>
                </c:pt>
                <c:pt idx="3">
                  <c:v>0.21038936683935394</c:v>
                </c:pt>
                <c:pt idx="4">
                  <c:v>0.1959896821920475</c:v>
                </c:pt>
                <c:pt idx="5">
                  <c:v>0.19458164213408968</c:v>
                </c:pt>
                <c:pt idx="6">
                  <c:v>0.20185614849187936</c:v>
                </c:pt>
                <c:pt idx="7">
                  <c:v>0.19727827016154378</c:v>
                </c:pt>
                <c:pt idx="8">
                  <c:v>0.18963312016156175</c:v>
                </c:pt>
                <c:pt idx="9">
                  <c:v>0.19934265604167312</c:v>
                </c:pt>
                <c:pt idx="10">
                  <c:v>0.20140063503368053</c:v>
                </c:pt>
                <c:pt idx="11">
                  <c:v>0.20503451986012733</c:v>
                </c:pt>
                <c:pt idx="12">
                  <c:v>0.2040353661301292</c:v>
                </c:pt>
                <c:pt idx="13">
                  <c:v>0.2056782334384858</c:v>
                </c:pt>
                <c:pt idx="14">
                  <c:v>0.20327488769743515</c:v>
                </c:pt>
                <c:pt idx="15">
                  <c:v>0.20087417464893517</c:v>
                </c:pt>
                <c:pt idx="16">
                  <c:v>0.1910104279036318</c:v>
                </c:pt>
                <c:pt idx="17">
                  <c:v>0.1925306829305022</c:v>
                </c:pt>
                <c:pt idx="18">
                  <c:v>0.196917183509668</c:v>
                </c:pt>
                <c:pt idx="19">
                  <c:v>0.19663485685585133</c:v>
                </c:pt>
                <c:pt idx="20">
                  <c:v>0.1837483739081955</c:v>
                </c:pt>
                <c:pt idx="21">
                  <c:v>0.1940855584266437</c:v>
                </c:pt>
                <c:pt idx="22">
                  <c:v>0.19056251062142412</c:v>
                </c:pt>
                <c:pt idx="23">
                  <c:v>0.1984478935698448</c:v>
                </c:pt>
                <c:pt idx="24">
                  <c:v>0.19864755206924534</c:v>
                </c:pt>
                <c:pt idx="25">
                  <c:v>0.19644681575661255</c:v>
                </c:pt>
                <c:pt idx="26">
                  <c:v>0.19033461268176657</c:v>
                </c:pt>
                <c:pt idx="27">
                  <c:v>0.19085876647234606</c:v>
                </c:pt>
                <c:pt idx="28">
                  <c:v>0.1812658003282033</c:v>
                </c:pt>
                <c:pt idx="29">
                  <c:v>0.18279283123533177</c:v>
                </c:pt>
                <c:pt idx="30">
                  <c:v>0.19084139157496943</c:v>
                </c:pt>
                <c:pt idx="31">
                  <c:v>0.1821759399406672</c:v>
                </c:pt>
                <c:pt idx="32">
                  <c:v>0.17766712575484692</c:v>
                </c:pt>
                <c:pt idx="33">
                  <c:v>0.1963195611784482</c:v>
                </c:pt>
                <c:pt idx="34">
                  <c:v>0.21426120376089494</c:v>
                </c:pt>
                <c:pt idx="35">
                  <c:v>0.2104092893024788</c:v>
                </c:pt>
                <c:pt idx="36">
                  <c:v>0.19495100266078266</c:v>
                </c:pt>
                <c:pt idx="37">
                  <c:v>0.1963151207115629</c:v>
                </c:pt>
                <c:pt idx="38">
                  <c:v>0.1955647775904552</c:v>
                </c:pt>
                <c:pt idx="39">
                  <c:v>0.20316422718014304</c:v>
                </c:pt>
                <c:pt idx="40">
                  <c:v>0.18989506772061202</c:v>
                </c:pt>
                <c:pt idx="41">
                  <c:v>0.1931857638888889</c:v>
                </c:pt>
                <c:pt idx="42">
                  <c:v>0.19118435808669365</c:v>
                </c:pt>
                <c:pt idx="43">
                  <c:v>0.1848424212106053</c:v>
                </c:pt>
                <c:pt idx="44">
                  <c:v>0.18245932342268523</c:v>
                </c:pt>
                <c:pt idx="45">
                  <c:v>0.19764369081700067</c:v>
                </c:pt>
                <c:pt idx="46">
                  <c:v>0.20973189782562804</c:v>
                </c:pt>
                <c:pt idx="47">
                  <c:v>0.2101964475933312</c:v>
                </c:pt>
                <c:pt idx="48">
                  <c:v>0.2043618236577007</c:v>
                </c:pt>
                <c:pt idx="49">
                  <c:v>0.21280588500225192</c:v>
                </c:pt>
                <c:pt idx="50">
                  <c:v>0.21910028766987402</c:v>
                </c:pt>
                <c:pt idx="51">
                  <c:v>0.2106088600524212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98.8196222714489</c:v>
                </c:pt>
              </c:numCache>
            </c:numRef>
          </c:xVal>
          <c:yVal>
            <c:numRef>
              <c:f>Sheet1!$B$163:$B$164</c:f>
              <c:numCache>
                <c:formatCode>General</c:formatCode>
                <c:ptCount val="2"/>
                <c:pt idx="0">
                  <c:v>0.24812181271370543</c:v>
                </c:pt>
                <c:pt idx="1">
                  <c:v>0.248121812713705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98.8196222714489</c:v>
                </c:pt>
                <c:pt idx="1">
                  <c:v>598.8196222714489</c:v>
                </c:pt>
              </c:numCache>
            </c:numRef>
          </c:xVal>
          <c:yVal>
            <c:numRef>
              <c:f>Sheet1!$B$167:$B$168</c:f>
              <c:numCache>
                <c:formatCode>General</c:formatCode>
                <c:ptCount val="2"/>
                <c:pt idx="0">
                  <c:v>0.248121812713705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27.9668659640793</c:v>
                </c:pt>
              </c:numCache>
            </c:numRef>
          </c:xVal>
          <c:yVal>
            <c:numRef>
              <c:f>Sheet1!$B$171:$B$172</c:f>
              <c:numCache>
                <c:formatCode>General</c:formatCode>
                <c:ptCount val="2"/>
                <c:pt idx="0">
                  <c:v>0.211719214095562</c:v>
                </c:pt>
                <c:pt idx="1">
                  <c:v>0.21171921409556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27.9668659640793</c:v>
                </c:pt>
                <c:pt idx="1">
                  <c:v>1027.9668659640793</c:v>
                </c:pt>
              </c:numCache>
            </c:numRef>
          </c:xVal>
          <c:yVal>
            <c:numRef>
              <c:f>Sheet1!$B$175:$B$176</c:f>
              <c:numCache>
                <c:formatCode>General</c:formatCode>
                <c:ptCount val="2"/>
                <c:pt idx="0">
                  <c:v>0.2117192140955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7.7988791508278</c:v>
                </c:pt>
              </c:numCache>
            </c:numRef>
          </c:xVal>
          <c:yVal>
            <c:numRef>
              <c:f>Sheet1!$B$179:$B$180</c:f>
              <c:numCache>
                <c:formatCode>General</c:formatCode>
                <c:ptCount val="2"/>
                <c:pt idx="0">
                  <c:v>0.20070615800983355</c:v>
                </c:pt>
                <c:pt idx="1">
                  <c:v>0.2007061580098335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7.7988791508278</c:v>
                </c:pt>
                <c:pt idx="1">
                  <c:v>1157.7988791508278</c:v>
                </c:pt>
              </c:numCache>
            </c:numRef>
          </c:xVal>
          <c:yVal>
            <c:numRef>
              <c:f>Sheet1!$B$183:$B$184</c:f>
              <c:numCache>
                <c:formatCode>General</c:formatCode>
                <c:ptCount val="2"/>
                <c:pt idx="0">
                  <c:v>0.200706158009833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95.6848</c:v>
                </c:pt>
                <c:pt idx="1">
                  <c:v>1198.9994</c:v>
                </c:pt>
                <c:pt idx="2">
                  <c:v>1210.5629</c:v>
                </c:pt>
                <c:pt idx="3">
                  <c:v>1199.603</c:v>
                </c:pt>
                <c:pt idx="4">
                  <c:v>1217.8573</c:v>
                </c:pt>
                <c:pt idx="5">
                  <c:v>1213.9471</c:v>
                </c:pt>
                <c:pt idx="6">
                  <c:v>1133.9565</c:v>
                </c:pt>
                <c:pt idx="7">
                  <c:v>1164.5555</c:v>
                </c:pt>
                <c:pt idx="8">
                  <c:v>1201.2923</c:v>
                </c:pt>
                <c:pt idx="9">
                  <c:v>1136.7634</c:v>
                </c:pt>
                <c:pt idx="10">
                  <c:v>1160.9751</c:v>
                </c:pt>
                <c:pt idx="11">
                  <c:v>1076.0515</c:v>
                </c:pt>
                <c:pt idx="12">
                  <c:v>1107.9836</c:v>
                </c:pt>
                <c:pt idx="13">
                  <c:v>1135.0708</c:v>
                </c:pt>
                <c:pt idx="14">
                  <c:v>1145.0448</c:v>
                </c:pt>
                <c:pt idx="15">
                  <c:v>1152.681</c:v>
                </c:pt>
                <c:pt idx="16">
                  <c:v>1202.9584</c:v>
                </c:pt>
                <c:pt idx="17">
                  <c:v>1161.3676</c:v>
                </c:pt>
                <c:pt idx="18">
                  <c:v>1174.7117</c:v>
                </c:pt>
                <c:pt idx="19">
                  <c:v>1255.5536</c:v>
                </c:pt>
                <c:pt idx="20">
                  <c:v>1241.1818</c:v>
                </c:pt>
                <c:pt idx="21">
                  <c:v>1182.4799</c:v>
                </c:pt>
                <c:pt idx="22">
                  <c:v>1207.6495</c:v>
                </c:pt>
                <c:pt idx="23">
                  <c:v>1197.7542</c:v>
                </c:pt>
                <c:pt idx="24">
                  <c:v>1194.7574</c:v>
                </c:pt>
                <c:pt idx="25">
                  <c:v>1180.9858</c:v>
                </c:pt>
                <c:pt idx="26">
                  <c:v>1195.4343</c:v>
                </c:pt>
                <c:pt idx="27">
                  <c:v>1200.8557</c:v>
                </c:pt>
                <c:pt idx="28">
                  <c:v>1239.3249</c:v>
                </c:pt>
                <c:pt idx="29">
                  <c:v>1245.4634</c:v>
                </c:pt>
                <c:pt idx="30">
                  <c:v>1236.1846</c:v>
                </c:pt>
                <c:pt idx="31">
                  <c:v>1222.3516</c:v>
                </c:pt>
                <c:pt idx="32">
                  <c:v>1238.381</c:v>
                </c:pt>
                <c:pt idx="33">
                  <c:v>1235.9333</c:v>
                </c:pt>
                <c:pt idx="34">
                  <c:v>1249.3299</c:v>
                </c:pt>
                <c:pt idx="35">
                  <c:v>1268.9072</c:v>
                </c:pt>
                <c:pt idx="36">
                  <c:v>1290.0027</c:v>
                </c:pt>
                <c:pt idx="37">
                  <c:v>1273.1904</c:v>
                </c:pt>
                <c:pt idx="38">
                  <c:v>1281.431</c:v>
                </c:pt>
                <c:pt idx="39">
                  <c:v>1247.9419</c:v>
                </c:pt>
                <c:pt idx="40">
                  <c:v>1274.4374</c:v>
                </c:pt>
                <c:pt idx="41">
                  <c:v>1296.8614</c:v>
                </c:pt>
                <c:pt idx="42">
                  <c:v>1292.6702</c:v>
                </c:pt>
                <c:pt idx="43">
                  <c:v>1302.0746</c:v>
                </c:pt>
                <c:pt idx="44">
                  <c:v>1228.3732</c:v>
                </c:pt>
                <c:pt idx="45">
                  <c:v>1191.7719</c:v>
                </c:pt>
                <c:pt idx="46">
                  <c:v>1187.7071</c:v>
                </c:pt>
                <c:pt idx="47">
                  <c:v>1166.1368</c:v>
                </c:pt>
                <c:pt idx="48">
                  <c:v>1151.4027</c:v>
                </c:pt>
                <c:pt idx="49">
                  <c:v>1160.7003</c:v>
                </c:pt>
                <c:pt idx="50">
                  <c:v>1117.3454</c:v>
                </c:pt>
                <c:pt idx="51">
                  <c:v>1097.8635</c:v>
                </c:pt>
                <c:pt idx="52">
                  <c:v>1027.9668659640793</c:v>
                </c:pt>
                <c:pt idx="53">
                  <c:v>598.8196222714489</c:v>
                </c:pt>
                <c:pt idx="54">
                  <c:v>1157.7988791508278</c:v>
                </c:pt>
              </c:numCache>
            </c:numRef>
          </c:xVal>
          <c:yVal>
            <c:numRef>
              <c:f>Sheet1!$B$187:$B$241</c:f>
              <c:numCache>
                <c:formatCode>General</c:formatCode>
                <c:ptCount val="55"/>
                <c:pt idx="0">
                  <c:v>0.19749246855890246</c:v>
                </c:pt>
                <c:pt idx="1">
                  <c:v>0.1972113061952776</c:v>
                </c:pt>
                <c:pt idx="2">
                  <c:v>0.19623042735868326</c:v>
                </c:pt>
                <c:pt idx="3">
                  <c:v>0.1971601055669412</c:v>
                </c:pt>
                <c:pt idx="4">
                  <c:v>0.19561167675673283</c:v>
                </c:pt>
                <c:pt idx="5">
                  <c:v>0.1959433611452701</c:v>
                </c:pt>
                <c:pt idx="6">
                  <c:v>0.20272859802566834</c:v>
                </c:pt>
                <c:pt idx="7">
                  <c:v>0.20013302475451766</c:v>
                </c:pt>
                <c:pt idx="8">
                  <c:v>0.197016809971433</c:v>
                </c:pt>
                <c:pt idx="9">
                  <c:v>0.20249050153183543</c:v>
                </c:pt>
                <c:pt idx="10">
                  <c:v>0.20043673371690296</c:v>
                </c:pt>
                <c:pt idx="11">
                  <c:v>0.20764041443358947</c:v>
                </c:pt>
                <c:pt idx="12">
                  <c:v>0.20493176038438166</c:v>
                </c:pt>
                <c:pt idx="13">
                  <c:v>0.20263407705125597</c:v>
                </c:pt>
                <c:pt idx="14">
                  <c:v>0.20178802823245615</c:v>
                </c:pt>
                <c:pt idx="15">
                  <c:v>0.20114028429921776</c:v>
                </c:pt>
                <c:pt idx="16">
                  <c:v>0.19687548232585425</c:v>
                </c:pt>
                <c:pt idx="17">
                  <c:v>0.2004034397364158</c:v>
                </c:pt>
                <c:pt idx="18">
                  <c:v>0.19927152074273752</c:v>
                </c:pt>
                <c:pt idx="19">
                  <c:v>0.1924140719754891</c:v>
                </c:pt>
                <c:pt idx="20">
                  <c:v>0.19363316606151554</c:v>
                </c:pt>
                <c:pt idx="21">
                  <c:v>0.19861257985300412</c:v>
                </c:pt>
                <c:pt idx="22">
                  <c:v>0.1964775577605974</c:v>
                </c:pt>
                <c:pt idx="23">
                  <c:v>0.1973169308182142</c:v>
                </c:pt>
                <c:pt idx="24">
                  <c:v>0.19757113566082293</c:v>
                </c:pt>
                <c:pt idx="25">
                  <c:v>0.19873931752496812</c:v>
                </c:pt>
                <c:pt idx="26">
                  <c:v>0.1975137173286146</c:v>
                </c:pt>
                <c:pt idx="27">
                  <c:v>0.19705384475329463</c:v>
                </c:pt>
                <c:pt idx="28">
                  <c:v>0.1937906783987553</c:v>
                </c:pt>
                <c:pt idx="29">
                  <c:v>0.1932699775090217</c:v>
                </c:pt>
                <c:pt idx="30">
                  <c:v>0.19405705569028098</c:v>
                </c:pt>
                <c:pt idx="31">
                  <c:v>0.19523044583570492</c:v>
                </c:pt>
                <c:pt idx="32">
                  <c:v>0.19387074512023766</c:v>
                </c:pt>
                <c:pt idx="33">
                  <c:v>0.1940783723203356</c:v>
                </c:pt>
                <c:pt idx="34">
                  <c:v>0.19294199999168768</c:v>
                </c:pt>
                <c:pt idx="35">
                  <c:v>0.19128134714024486</c:v>
                </c:pt>
                <c:pt idx="36">
                  <c:v>0.1894919123240235</c:v>
                </c:pt>
                <c:pt idx="37">
                  <c:v>0.19091802286706627</c:v>
                </c:pt>
                <c:pt idx="38">
                  <c:v>0.19021901044514908</c:v>
                </c:pt>
                <c:pt idx="39">
                  <c:v>0.19305973768574164</c:v>
                </c:pt>
                <c:pt idx="40">
                  <c:v>0.1908122455583593</c:v>
                </c:pt>
                <c:pt idx="41">
                  <c:v>0.1889101201610495</c:v>
                </c:pt>
                <c:pt idx="42">
                  <c:v>0.18926564049485278</c:v>
                </c:pt>
                <c:pt idx="43">
                  <c:v>0.1884679082398376</c:v>
                </c:pt>
                <c:pt idx="44">
                  <c:v>0.1947196610385037</c:v>
                </c:pt>
                <c:pt idx="45">
                  <c:v>0.19782438197609534</c:v>
                </c:pt>
                <c:pt idx="46">
                  <c:v>0.19816918037580034</c:v>
                </c:pt>
                <c:pt idx="47">
                  <c:v>0.1999988903052327</c:v>
                </c:pt>
                <c:pt idx="48">
                  <c:v>0.2012487166438209</c:v>
                </c:pt>
                <c:pt idx="49">
                  <c:v>0.20046004374451537</c:v>
                </c:pt>
                <c:pt idx="50">
                  <c:v>0.20413764169259896</c:v>
                </c:pt>
                <c:pt idx="51">
                  <c:v>0.20579020219821126</c:v>
                </c:pt>
                <c:pt idx="52">
                  <c:v>0.211719214095562</c:v>
                </c:pt>
                <c:pt idx="53">
                  <c:v>0.24812181271370543</c:v>
                </c:pt>
                <c:pt idx="54">
                  <c:v>0.200706158009833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2.0"/>
          <c:min val="47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59615384615384"/>
          <c:min val="0.1313637663204040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73.651</c:v>
                </c:pt>
                <c:pt idx="1">
                  <c:v>856.5735</c:v>
                </c:pt>
                <c:pt idx="2">
                  <c:v>882.0284</c:v>
                </c:pt>
                <c:pt idx="3">
                  <c:v>895.9284</c:v>
                </c:pt>
                <c:pt idx="4">
                  <c:v>877.5227</c:v>
                </c:pt>
                <c:pt idx="5">
                  <c:v>886.8877</c:v>
                </c:pt>
                <c:pt idx="6">
                  <c:v>860.8297</c:v>
                </c:pt>
                <c:pt idx="7">
                  <c:v>863.7062</c:v>
                </c:pt>
                <c:pt idx="8">
                  <c:v>856.7878</c:v>
                </c:pt>
                <c:pt idx="9">
                  <c:v>828.694</c:v>
                </c:pt>
                <c:pt idx="10">
                  <c:v>816.9947</c:v>
                </c:pt>
                <c:pt idx="11">
                  <c:v>849.4138</c:v>
                </c:pt>
                <c:pt idx="12">
                  <c:v>853.204</c:v>
                </c:pt>
                <c:pt idx="13">
                  <c:v>853.1494</c:v>
                </c:pt>
                <c:pt idx="14">
                  <c:v>893.0627</c:v>
                </c:pt>
                <c:pt idx="15">
                  <c:v>903.8387</c:v>
                </c:pt>
                <c:pt idx="16">
                  <c:v>911.4871</c:v>
                </c:pt>
                <c:pt idx="17">
                  <c:v>906.6934</c:v>
                </c:pt>
                <c:pt idx="18">
                  <c:v>1003.7125</c:v>
                </c:pt>
                <c:pt idx="19">
                  <c:v>963.9334</c:v>
                </c:pt>
                <c:pt idx="20">
                  <c:v>970.3249</c:v>
                </c:pt>
                <c:pt idx="21">
                  <c:v>965.0296</c:v>
                </c:pt>
                <c:pt idx="22">
                  <c:v>942.8939</c:v>
                </c:pt>
                <c:pt idx="23">
                  <c:v>931.044</c:v>
                </c:pt>
                <c:pt idx="24">
                  <c:v>925.0569</c:v>
                </c:pt>
                <c:pt idx="25">
                  <c:v>910.7284</c:v>
                </c:pt>
                <c:pt idx="26">
                  <c:v>923.2443</c:v>
                </c:pt>
                <c:pt idx="27">
                  <c:v>960.6833</c:v>
                </c:pt>
                <c:pt idx="28">
                  <c:v>949.4457</c:v>
                </c:pt>
                <c:pt idx="29">
                  <c:v>788.659</c:v>
                </c:pt>
                <c:pt idx="30">
                  <c:v>851.8901</c:v>
                </c:pt>
                <c:pt idx="31">
                  <c:v>879.004</c:v>
                </c:pt>
                <c:pt idx="32">
                  <c:v>862.7272</c:v>
                </c:pt>
                <c:pt idx="33">
                  <c:v>780.4471</c:v>
                </c:pt>
                <c:pt idx="34">
                  <c:v>900.8122</c:v>
                </c:pt>
                <c:pt idx="35">
                  <c:v>939.0171</c:v>
                </c:pt>
                <c:pt idx="36">
                  <c:v>1024.5701</c:v>
                </c:pt>
                <c:pt idx="37">
                  <c:v>1029.4942</c:v>
                </c:pt>
                <c:pt idx="38">
                  <c:v>1057.9345</c:v>
                </c:pt>
                <c:pt idx="39">
                  <c:v>1080.9236</c:v>
                </c:pt>
                <c:pt idx="40">
                  <c:v>1103.2709</c:v>
                </c:pt>
                <c:pt idx="41">
                  <c:v>1123.1143</c:v>
                </c:pt>
                <c:pt idx="42">
                  <c:v>1132.5107</c:v>
                </c:pt>
                <c:pt idx="43">
                  <c:v>1130.6697</c:v>
                </c:pt>
                <c:pt idx="44">
                  <c:v>1049.4159</c:v>
                </c:pt>
                <c:pt idx="45">
                  <c:v>1023.8339</c:v>
                </c:pt>
                <c:pt idx="46">
                  <c:v>997.9916</c:v>
                </c:pt>
                <c:pt idx="47">
                  <c:v>993.6423</c:v>
                </c:pt>
                <c:pt idx="48">
                  <c:v>974.1957</c:v>
                </c:pt>
                <c:pt idx="49">
                  <c:v>936.2145</c:v>
                </c:pt>
                <c:pt idx="50">
                  <c:v>935.2396</c:v>
                </c:pt>
                <c:pt idx="51">
                  <c:v>924.8321</c:v>
                </c:pt>
                <c:pt idx="52">
                  <c:v>915.7903</c:v>
                </c:pt>
                <c:pt idx="53">
                  <c:v>1060.6444</c:v>
                </c:pt>
                <c:pt idx="54">
                  <c:v>1033.4094</c:v>
                </c:pt>
                <c:pt idx="55">
                  <c:v>1072.3269</c:v>
                </c:pt>
                <c:pt idx="56">
                  <c:v>1027.4834</c:v>
                </c:pt>
                <c:pt idx="57">
                  <c:v>1054.3171</c:v>
                </c:pt>
                <c:pt idx="58">
                  <c:v>1006.5393</c:v>
                </c:pt>
                <c:pt idx="59">
                  <c:v>1033.4569</c:v>
                </c:pt>
                <c:pt idx="60">
                  <c:v>1068.6532</c:v>
                </c:pt>
                <c:pt idx="61">
                  <c:v>1016.2077</c:v>
                </c:pt>
                <c:pt idx="62">
                  <c:v>950.3901</c:v>
                </c:pt>
                <c:pt idx="63">
                  <c:v>1007.3023</c:v>
                </c:pt>
                <c:pt idx="64">
                  <c:v>1022.6074</c:v>
                </c:pt>
                <c:pt idx="65">
                  <c:v>983.6229</c:v>
                </c:pt>
                <c:pt idx="66">
                  <c:v>1053.6444</c:v>
                </c:pt>
                <c:pt idx="67">
                  <c:v>1019.2348</c:v>
                </c:pt>
                <c:pt idx="68">
                  <c:v>1040.2281</c:v>
                </c:pt>
                <c:pt idx="69">
                  <c:v>1049.1944</c:v>
                </c:pt>
                <c:pt idx="70">
                  <c:v>1052.8824</c:v>
                </c:pt>
                <c:pt idx="71">
                  <c:v>1049.1027</c:v>
                </c:pt>
                <c:pt idx="72">
                  <c:v>1134.33</c:v>
                </c:pt>
                <c:pt idx="73">
                  <c:v>1178.0381</c:v>
                </c:pt>
                <c:pt idx="74">
                  <c:v>1157.1055</c:v>
                </c:pt>
                <c:pt idx="75">
                  <c:v>1133.8445</c:v>
                </c:pt>
                <c:pt idx="76">
                  <c:v>1148.3563</c:v>
                </c:pt>
                <c:pt idx="77">
                  <c:v>1046.4526</c:v>
                </c:pt>
                <c:pt idx="78">
                  <c:v>1104.9294</c:v>
                </c:pt>
                <c:pt idx="79">
                  <c:v>1153.0024</c:v>
                </c:pt>
                <c:pt idx="80">
                  <c:v>1075.5159</c:v>
                </c:pt>
                <c:pt idx="81">
                  <c:v>1061.5208</c:v>
                </c:pt>
                <c:pt idx="82">
                  <c:v>1091.4954</c:v>
                </c:pt>
                <c:pt idx="83">
                  <c:v>1148.1102</c:v>
                </c:pt>
                <c:pt idx="84">
                  <c:v>1115.7718</c:v>
                </c:pt>
                <c:pt idx="85">
                  <c:v>1110.477</c:v>
                </c:pt>
                <c:pt idx="86">
                  <c:v>1133.6002</c:v>
                </c:pt>
                <c:pt idx="87">
                  <c:v>1148.6776</c:v>
                </c:pt>
                <c:pt idx="88">
                  <c:v>1153.1152</c:v>
                </c:pt>
                <c:pt idx="89">
                  <c:v>1130.6349</c:v>
                </c:pt>
                <c:pt idx="90">
                  <c:v>1175.0528</c:v>
                </c:pt>
                <c:pt idx="91">
                  <c:v>1186.5374</c:v>
                </c:pt>
                <c:pt idx="92">
                  <c:v>1130.3226</c:v>
                </c:pt>
                <c:pt idx="93">
                  <c:v>1168.1492</c:v>
                </c:pt>
                <c:pt idx="94">
                  <c:v>1152.5237</c:v>
                </c:pt>
                <c:pt idx="95">
                  <c:v>1144.1557</c:v>
                </c:pt>
                <c:pt idx="96">
                  <c:v>1074.5665</c:v>
                </c:pt>
                <c:pt idx="97">
                  <c:v>1096.0567</c:v>
                </c:pt>
                <c:pt idx="98">
                  <c:v>1080.2536</c:v>
                </c:pt>
                <c:pt idx="99">
                  <c:v>1026.1841</c:v>
                </c:pt>
                <c:pt idx="100">
                  <c:v>1027.758</c:v>
                </c:pt>
                <c:pt idx="101">
                  <c:v>1059.4775</c:v>
                </c:pt>
                <c:pt idx="102">
                  <c:v>1076.2298</c:v>
                </c:pt>
                <c:pt idx="103">
                  <c:v>1019.8422</c:v>
                </c:pt>
                <c:pt idx="104">
                  <c:v>1082.6563</c:v>
                </c:pt>
              </c:numCache>
            </c:numRef>
          </c:xVal>
          <c:yVal>
            <c:numRef>
              <c:f>Sheet1!$B$2:$B$106</c:f>
              <c:numCache>
                <c:formatCode>General</c:formatCode>
                <c:ptCount val="105"/>
                <c:pt idx="0">
                  <c:v>0.23635134373767536</c:v>
                </c:pt>
                <c:pt idx="1">
                  <c:v>0.21945764607212748</c:v>
                </c:pt>
                <c:pt idx="2">
                  <c:v>0.18578087384111047</c:v>
                </c:pt>
                <c:pt idx="3">
                  <c:v>0.18142771706627522</c:v>
                </c:pt>
                <c:pt idx="4">
                  <c:v>0.15468395028731793</c:v>
                </c:pt>
                <c:pt idx="5">
                  <c:v>0.13777340178634223</c:v>
                </c:pt>
                <c:pt idx="6">
                  <c:v>0.1590941665472266</c:v>
                </c:pt>
                <c:pt idx="7">
                  <c:v>0.14277489925158318</c:v>
                </c:pt>
                <c:pt idx="8">
                  <c:v>0.1609057380564371</c:v>
                </c:pt>
                <c:pt idx="9">
                  <c:v>0.18238321192274276</c:v>
                </c:pt>
                <c:pt idx="10">
                  <c:v>0.19110263743247538</c:v>
                </c:pt>
                <c:pt idx="11">
                  <c:v>0.18504011624234</c:v>
                </c:pt>
                <c:pt idx="12">
                  <c:v>0.20558271008774512</c:v>
                </c:pt>
                <c:pt idx="13">
                  <c:v>0.2106632776567417</c:v>
                </c:pt>
                <c:pt idx="14">
                  <c:v>0.20710273600289908</c:v>
                </c:pt>
                <c:pt idx="15">
                  <c:v>0.20608483233399955</c:v>
                </c:pt>
                <c:pt idx="16">
                  <c:v>0.19837412001340932</c:v>
                </c:pt>
                <c:pt idx="17">
                  <c:v>0.18020796616143814</c:v>
                </c:pt>
                <c:pt idx="18">
                  <c:v>0.1958437081018962</c:v>
                </c:pt>
                <c:pt idx="19">
                  <c:v>0.15518220002270405</c:v>
                </c:pt>
                <c:pt idx="20">
                  <c:v>0.1707655325443787</c:v>
                </c:pt>
                <c:pt idx="21">
                  <c:v>0.16146569533543548</c:v>
                </c:pt>
                <c:pt idx="22">
                  <c:v>0.16455967430897794</c:v>
                </c:pt>
                <c:pt idx="23">
                  <c:v>0.16971454058876004</c:v>
                </c:pt>
                <c:pt idx="24">
                  <c:v>0.17272727272727273</c:v>
                </c:pt>
                <c:pt idx="25">
                  <c:v>0.16617698907039605</c:v>
                </c:pt>
                <c:pt idx="26">
                  <c:v>0.15947445916864877</c:v>
                </c:pt>
                <c:pt idx="27">
                  <c:v>0.15248618784530388</c:v>
                </c:pt>
                <c:pt idx="28">
                  <c:v>0.14558342420937842</c:v>
                </c:pt>
                <c:pt idx="29">
                  <c:v>0.16650680989833108</c:v>
                </c:pt>
                <c:pt idx="30">
                  <c:v>0.15067118303851462</c:v>
                </c:pt>
                <c:pt idx="31">
                  <c:v>0.14489393763764924</c:v>
                </c:pt>
                <c:pt idx="32">
                  <c:v>0.15509049773755657</c:v>
                </c:pt>
                <c:pt idx="33">
                  <c:v>0.18335289338268485</c:v>
                </c:pt>
                <c:pt idx="34">
                  <c:v>0.16912774725274726</c:v>
                </c:pt>
                <c:pt idx="35">
                  <c:v>0.18659914296844565</c:v>
                </c:pt>
                <c:pt idx="36">
                  <c:v>0.136864328988434</c:v>
                </c:pt>
                <c:pt idx="37">
                  <c:v>0.12492282362626055</c:v>
                </c:pt>
                <c:pt idx="38">
                  <c:v>0.11882176734897654</c:v>
                </c:pt>
                <c:pt idx="39">
                  <c:v>0.1116196816810569</c:v>
                </c:pt>
                <c:pt idx="40">
                  <c:v>0.11648489182907205</c:v>
                </c:pt>
                <c:pt idx="41">
                  <c:v>0.09429679371985246</c:v>
                </c:pt>
                <c:pt idx="42">
                  <c:v>0.0975178729215198</c:v>
                </c:pt>
                <c:pt idx="43">
                  <c:v>0.10665484895487111</c:v>
                </c:pt>
                <c:pt idx="44">
                  <c:v>0.12773873501446878</c:v>
                </c:pt>
                <c:pt idx="45">
                  <c:v>0.1412270302311796</c:v>
                </c:pt>
                <c:pt idx="46">
                  <c:v>0.152112276722427</c:v>
                </c:pt>
                <c:pt idx="47">
                  <c:v>0.1359693642151887</c:v>
                </c:pt>
                <c:pt idx="48">
                  <c:v>0.16153846153846155</c:v>
                </c:pt>
                <c:pt idx="49">
                  <c:v>0.1857824265756277</c:v>
                </c:pt>
                <c:pt idx="50">
                  <c:v>0.14806956040407768</c:v>
                </c:pt>
                <c:pt idx="51">
                  <c:v>0.13584765542117547</c:v>
                </c:pt>
                <c:pt idx="52">
                  <c:v>0.15649083944805944</c:v>
                </c:pt>
                <c:pt idx="53">
                  <c:v>0.12756541461525694</c:v>
                </c:pt>
                <c:pt idx="54">
                  <c:v>0.12169249106078665</c:v>
                </c:pt>
                <c:pt idx="55">
                  <c:v>0.11088585821353975</c:v>
                </c:pt>
                <c:pt idx="56">
                  <c:v>0.12443592755146195</c:v>
                </c:pt>
                <c:pt idx="57">
                  <c:v>0.11284731480987681</c:v>
                </c:pt>
                <c:pt idx="58">
                  <c:v>0.1311823501993889</c:v>
                </c:pt>
                <c:pt idx="59">
                  <c:v>0.13709791196388263</c:v>
                </c:pt>
                <c:pt idx="60">
                  <c:v>0.14013806312597263</c:v>
                </c:pt>
                <c:pt idx="61">
                  <c:v>0.14212623869021973</c:v>
                </c:pt>
                <c:pt idx="62">
                  <c:v>0.16245449269244974</c:v>
                </c:pt>
                <c:pt idx="63">
                  <c:v>0.1760629147210617</c:v>
                </c:pt>
                <c:pt idx="64">
                  <c:v>0.17372755233654133</c:v>
                </c:pt>
                <c:pt idx="65">
                  <c:v>0.17802385008517888</c:v>
                </c:pt>
                <c:pt idx="66">
                  <c:v>0.16888577435178698</c:v>
                </c:pt>
                <c:pt idx="67">
                  <c:v>0.15208066402985906</c:v>
                </c:pt>
                <c:pt idx="68">
                  <c:v>0.13316892725030827</c:v>
                </c:pt>
                <c:pt idx="69">
                  <c:v>0.1154766817994222</c:v>
                </c:pt>
                <c:pt idx="70">
                  <c:v>0.10393724543671745</c:v>
                </c:pt>
                <c:pt idx="71">
                  <c:v>0.11537550343520493</c:v>
                </c:pt>
                <c:pt idx="72">
                  <c:v>0.11418204277001467</c:v>
                </c:pt>
                <c:pt idx="73">
                  <c:v>0.10666134822497009</c:v>
                </c:pt>
                <c:pt idx="74">
                  <c:v>0.11383601756954612</c:v>
                </c:pt>
                <c:pt idx="75">
                  <c:v>0.09701026327532351</c:v>
                </c:pt>
                <c:pt idx="76">
                  <c:v>0.09567751335599806</c:v>
                </c:pt>
                <c:pt idx="77">
                  <c:v>0.1223931301311692</c:v>
                </c:pt>
                <c:pt idx="78">
                  <c:v>0.09943419949706622</c:v>
                </c:pt>
                <c:pt idx="79">
                  <c:v>0.0840035746201966</c:v>
                </c:pt>
                <c:pt idx="80">
                  <c:v>0.09843137254901961</c:v>
                </c:pt>
                <c:pt idx="81">
                  <c:v>0.11235154394299288</c:v>
                </c:pt>
                <c:pt idx="82">
                  <c:v>0.08949054459026558</c:v>
                </c:pt>
                <c:pt idx="83">
                  <c:v>0.0745742806811509</c:v>
                </c:pt>
                <c:pt idx="84">
                  <c:v>0.07993634471783571</c:v>
                </c:pt>
                <c:pt idx="85">
                  <c:v>0.0890374043332974</c:v>
                </c:pt>
                <c:pt idx="86">
                  <c:v>0.10630601003042013</c:v>
                </c:pt>
                <c:pt idx="87">
                  <c:v>0.11717550741940985</c:v>
                </c:pt>
                <c:pt idx="88">
                  <c:v>0.10587882423515296</c:v>
                </c:pt>
                <c:pt idx="89">
                  <c:v>0.0805587648356265</c:v>
                </c:pt>
                <c:pt idx="90">
                  <c:v>0.07979240999026922</c:v>
                </c:pt>
                <c:pt idx="91">
                  <c:v>0.08047288188323136</c:v>
                </c:pt>
                <c:pt idx="92">
                  <c:v>0.09758594216497483</c:v>
                </c:pt>
                <c:pt idx="93">
                  <c:v>0.08251538845450009</c:v>
                </c:pt>
                <c:pt idx="94">
                  <c:v>0.08878687243602267</c:v>
                </c:pt>
                <c:pt idx="95">
                  <c:v>0.09799667317567079</c:v>
                </c:pt>
                <c:pt idx="96">
                  <c:v>0.09893778452200304</c:v>
                </c:pt>
                <c:pt idx="97">
                  <c:v>0.10909510618651892</c:v>
                </c:pt>
                <c:pt idx="98">
                  <c:v>0.12865093228256896</c:v>
                </c:pt>
                <c:pt idx="99">
                  <c:v>0.1371533933763563</c:v>
                </c:pt>
                <c:pt idx="100">
                  <c:v>0.1578260756124925</c:v>
                </c:pt>
                <c:pt idx="101">
                  <c:v>0.12386134124726927</c:v>
                </c:pt>
                <c:pt idx="102">
                  <c:v>0.09918205669015896</c:v>
                </c:pt>
                <c:pt idx="103">
                  <c:v>0.1105966075258335</c:v>
                </c:pt>
                <c:pt idx="104">
                  <c:v>0.1090259159964253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22.4725</c:v>
                </c:pt>
                <c:pt idx="1">
                  <c:v>1120.8545</c:v>
                </c:pt>
                <c:pt idx="2">
                  <c:v>1107.0982</c:v>
                </c:pt>
                <c:pt idx="3">
                  <c:v>1084.6208</c:v>
                </c:pt>
                <c:pt idx="4">
                  <c:v>1104.981</c:v>
                </c:pt>
                <c:pt idx="5">
                  <c:v>1105.4651</c:v>
                </c:pt>
                <c:pt idx="6">
                  <c:v>1022.5377</c:v>
                </c:pt>
                <c:pt idx="7">
                  <c:v>1049.8387</c:v>
                </c:pt>
                <c:pt idx="8">
                  <c:v>1137.5224</c:v>
                </c:pt>
                <c:pt idx="9">
                  <c:v>1059.4881</c:v>
                </c:pt>
                <c:pt idx="10">
                  <c:v>1093.5157</c:v>
                </c:pt>
                <c:pt idx="11">
                  <c:v>991.0831</c:v>
                </c:pt>
                <c:pt idx="12">
                  <c:v>1042.314</c:v>
                </c:pt>
                <c:pt idx="13">
                  <c:v>1079.266</c:v>
                </c:pt>
                <c:pt idx="14">
                  <c:v>1088.6918</c:v>
                </c:pt>
                <c:pt idx="15">
                  <c:v>1116.3163</c:v>
                </c:pt>
                <c:pt idx="16">
                  <c:v>1106.3923</c:v>
                </c:pt>
                <c:pt idx="17">
                  <c:v>1125.3119</c:v>
                </c:pt>
                <c:pt idx="18">
                  <c:v>1046.9477</c:v>
                </c:pt>
                <c:pt idx="19">
                  <c:v>1091.7308</c:v>
                </c:pt>
                <c:pt idx="20">
                  <c:v>1062.1771</c:v>
                </c:pt>
                <c:pt idx="21">
                  <c:v>1042.9622</c:v>
                </c:pt>
                <c:pt idx="22">
                  <c:v>1062.6471</c:v>
                </c:pt>
                <c:pt idx="23">
                  <c:v>1082.1557</c:v>
                </c:pt>
                <c:pt idx="24">
                  <c:v>1150.2198</c:v>
                </c:pt>
                <c:pt idx="25">
                  <c:v>1112.6632</c:v>
                </c:pt>
                <c:pt idx="26">
                  <c:v>1151.9424</c:v>
                </c:pt>
                <c:pt idx="27">
                  <c:v>1146.0196</c:v>
                </c:pt>
                <c:pt idx="28">
                  <c:v>1053.7858</c:v>
                </c:pt>
                <c:pt idx="29">
                  <c:v>1070.4656</c:v>
                </c:pt>
                <c:pt idx="30">
                  <c:v>1071.512</c:v>
                </c:pt>
                <c:pt idx="31">
                  <c:v>1040.693</c:v>
                </c:pt>
                <c:pt idx="32">
                  <c:v>1040.499</c:v>
                </c:pt>
                <c:pt idx="33">
                  <c:v>1063.509</c:v>
                </c:pt>
                <c:pt idx="34">
                  <c:v>1095.2847</c:v>
                </c:pt>
                <c:pt idx="35">
                  <c:v>1123.6471</c:v>
                </c:pt>
                <c:pt idx="36">
                  <c:v>1050.3204</c:v>
                </c:pt>
                <c:pt idx="37">
                  <c:v>1174.5347</c:v>
                </c:pt>
                <c:pt idx="38">
                  <c:v>1134.0788</c:v>
                </c:pt>
                <c:pt idx="39">
                  <c:v>1158.8609</c:v>
                </c:pt>
                <c:pt idx="40">
                  <c:v>1208.3347</c:v>
                </c:pt>
                <c:pt idx="41">
                  <c:v>1226.5792</c:v>
                </c:pt>
                <c:pt idx="42">
                  <c:v>1239.6623</c:v>
                </c:pt>
                <c:pt idx="43">
                  <c:v>1258.8507</c:v>
                </c:pt>
                <c:pt idx="44">
                  <c:v>1144.2352</c:v>
                </c:pt>
                <c:pt idx="45">
                  <c:v>1158.5154</c:v>
                </c:pt>
                <c:pt idx="46">
                  <c:v>1161.039</c:v>
                </c:pt>
                <c:pt idx="47">
                  <c:v>1137.1259</c:v>
                </c:pt>
                <c:pt idx="48">
                  <c:v>1105.6173</c:v>
                </c:pt>
                <c:pt idx="49">
                  <c:v>1108.1945</c:v>
                </c:pt>
                <c:pt idx="50">
                  <c:v>1016.472</c:v>
                </c:pt>
                <c:pt idx="51">
                  <c:v>999.4521</c:v>
                </c:pt>
              </c:numCache>
            </c:numRef>
          </c:xVal>
          <c:yVal>
            <c:numRef>
              <c:f>Sheet1!$B$109:$B$160</c:f>
              <c:numCache>
                <c:formatCode>General</c:formatCode>
                <c:ptCount val="52"/>
                <c:pt idx="0">
                  <c:v>0.11624307185299845</c:v>
                </c:pt>
                <c:pt idx="1">
                  <c:v>0.10748753844522219</c:v>
                </c:pt>
                <c:pt idx="2">
                  <c:v>0.11681493364445093</c:v>
                </c:pt>
                <c:pt idx="3">
                  <c:v>0.1243809798548007</c:v>
                </c:pt>
                <c:pt idx="4">
                  <c:v>0.10621761658031088</c:v>
                </c:pt>
                <c:pt idx="5">
                  <c:v>0.11165599834813132</c:v>
                </c:pt>
                <c:pt idx="6">
                  <c:v>0.1273695829534002</c:v>
                </c:pt>
                <c:pt idx="7">
                  <c:v>0.12024048096192384</c:v>
                </c:pt>
                <c:pt idx="8">
                  <c:v>0.11791449732345824</c:v>
                </c:pt>
                <c:pt idx="9">
                  <c:v>0.1337433263499358</c:v>
                </c:pt>
                <c:pt idx="10">
                  <c:v>0.13303666312433582</c:v>
                </c:pt>
                <c:pt idx="11">
                  <c:v>0.17040202753068628</c:v>
                </c:pt>
                <c:pt idx="12">
                  <c:v>0.1453805127028732</c:v>
                </c:pt>
                <c:pt idx="13">
                  <c:v>0.1316943674976916</c:v>
                </c:pt>
                <c:pt idx="14">
                  <c:v>0.14084331337325348</c:v>
                </c:pt>
                <c:pt idx="15">
                  <c:v>0.1211899374417676</c:v>
                </c:pt>
                <c:pt idx="16">
                  <c:v>0.1354870846082687</c:v>
                </c:pt>
                <c:pt idx="17">
                  <c:v>0.09705702958218969</c:v>
                </c:pt>
                <c:pt idx="18">
                  <c:v>0.10273850008949346</c:v>
                </c:pt>
                <c:pt idx="19">
                  <c:v>0.11036128713686116</c:v>
                </c:pt>
                <c:pt idx="20">
                  <c:v>0.10268398268398268</c:v>
                </c:pt>
                <c:pt idx="21">
                  <c:v>0.09779512606815065</c:v>
                </c:pt>
                <c:pt idx="22">
                  <c:v>0.09554612937433722</c:v>
                </c:pt>
                <c:pt idx="23">
                  <c:v>0.08656417112299465</c:v>
                </c:pt>
                <c:pt idx="24">
                  <c:v>0.07780006333790773</c:v>
                </c:pt>
                <c:pt idx="25">
                  <c:v>0.08596312634317385</c:v>
                </c:pt>
                <c:pt idx="26">
                  <c:v>0.07650977863743821</c:v>
                </c:pt>
                <c:pt idx="27">
                  <c:v>0.07504587155963302</c:v>
                </c:pt>
                <c:pt idx="28">
                  <c:v>0.09193848233902316</c:v>
                </c:pt>
                <c:pt idx="29">
                  <c:v>0.08160251993306428</c:v>
                </c:pt>
                <c:pt idx="30">
                  <c:v>0.09749894022891055</c:v>
                </c:pt>
                <c:pt idx="31">
                  <c:v>0.09492374231732302</c:v>
                </c:pt>
                <c:pt idx="32">
                  <c:v>0.1023597916028195</c:v>
                </c:pt>
                <c:pt idx="33">
                  <c:v>0.1167743061616338</c:v>
                </c:pt>
                <c:pt idx="34">
                  <c:v>0.13332354452683357</c:v>
                </c:pt>
                <c:pt idx="35">
                  <c:v>0.11782605020708309</c:v>
                </c:pt>
                <c:pt idx="36">
                  <c:v>0.10415467832892163</c:v>
                </c:pt>
                <c:pt idx="37">
                  <c:v>0.089607965152458</c:v>
                </c:pt>
                <c:pt idx="38">
                  <c:v>0.09582500555185432</c:v>
                </c:pt>
                <c:pt idx="39">
                  <c:v>0.10771300448430493</c:v>
                </c:pt>
                <c:pt idx="40">
                  <c:v>0.08609849807893817</c:v>
                </c:pt>
                <c:pt idx="41">
                  <c:v>0.09290912167879506</c:v>
                </c:pt>
                <c:pt idx="42">
                  <c:v>0.08423385979495705</c:v>
                </c:pt>
                <c:pt idx="43">
                  <c:v>0.0890147542129921</c:v>
                </c:pt>
                <c:pt idx="44">
                  <c:v>0.09844031193761248</c:v>
                </c:pt>
                <c:pt idx="45">
                  <c:v>0.11124316615165201</c:v>
                </c:pt>
                <c:pt idx="46">
                  <c:v>0.09837434584122036</c:v>
                </c:pt>
                <c:pt idx="47">
                  <c:v>0.10587618048268625</c:v>
                </c:pt>
                <c:pt idx="48">
                  <c:v>0.10563978711033588</c:v>
                </c:pt>
                <c:pt idx="49">
                  <c:v>0.11959436808581965</c:v>
                </c:pt>
                <c:pt idx="50">
                  <c:v>0.15688385269121813</c:v>
                </c:pt>
                <c:pt idx="51">
                  <c:v>0.128887656546051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83.2720493875856</c:v>
                </c:pt>
              </c:numCache>
            </c:numRef>
          </c:xVal>
          <c:yVal>
            <c:numRef>
              <c:f>Sheet1!$B$163:$B$164</c:f>
              <c:numCache>
                <c:formatCode>General</c:formatCode>
                <c:ptCount val="2"/>
                <c:pt idx="0">
                  <c:v>0.18844605721986196</c:v>
                </c:pt>
                <c:pt idx="1">
                  <c:v>0.1884460572198619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83.2720493875856</c:v>
                </c:pt>
                <c:pt idx="1">
                  <c:v>683.2720493875856</c:v>
                </c:pt>
              </c:numCache>
            </c:numRef>
          </c:xVal>
          <c:yVal>
            <c:numRef>
              <c:f>Sheet1!$B$167:$B$168</c:f>
              <c:numCache>
                <c:formatCode>General</c:formatCode>
                <c:ptCount val="2"/>
                <c:pt idx="0">
                  <c:v>0.1884460572198619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4.6715987138253</c:v>
                </c:pt>
              </c:numCache>
            </c:numRef>
          </c:xVal>
          <c:yVal>
            <c:numRef>
              <c:f>Sheet1!$B$171:$B$172</c:f>
              <c:numCache>
                <c:formatCode>General</c:formatCode>
                <c:ptCount val="2"/>
                <c:pt idx="0">
                  <c:v>0.1277514161083562</c:v>
                </c:pt>
                <c:pt idx="1">
                  <c:v>0.127751416108356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4.6715987138253</c:v>
                </c:pt>
                <c:pt idx="1">
                  <c:v>1004.6715987138253</c:v>
                </c:pt>
              </c:numCache>
            </c:numRef>
          </c:xVal>
          <c:yVal>
            <c:numRef>
              <c:f>Sheet1!$B$175:$B$176</c:f>
              <c:numCache>
                <c:formatCode>General</c:formatCode>
                <c:ptCount val="2"/>
                <c:pt idx="0">
                  <c:v>0.12775141610835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17.038786449773</c:v>
                </c:pt>
              </c:numCache>
            </c:numRef>
          </c:xVal>
          <c:yVal>
            <c:numRef>
              <c:f>Sheet1!$B$179:$B$180</c:f>
              <c:numCache>
                <c:formatCode>General</c:formatCode>
                <c:ptCount val="2"/>
                <c:pt idx="0">
                  <c:v>0.10653145439204484</c:v>
                </c:pt>
                <c:pt idx="1">
                  <c:v>0.1065314543920448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17.038786449773</c:v>
                </c:pt>
                <c:pt idx="1">
                  <c:v>1117.038786449773</c:v>
                </c:pt>
              </c:numCache>
            </c:numRef>
          </c:xVal>
          <c:yVal>
            <c:numRef>
              <c:f>Sheet1!$B$183:$B$184</c:f>
              <c:numCache>
                <c:formatCode>General</c:formatCode>
                <c:ptCount val="2"/>
                <c:pt idx="0">
                  <c:v>0.106531454392044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22.4725</c:v>
                </c:pt>
                <c:pt idx="1">
                  <c:v>1120.8545</c:v>
                </c:pt>
                <c:pt idx="2">
                  <c:v>1107.0982</c:v>
                </c:pt>
                <c:pt idx="3">
                  <c:v>1084.6208</c:v>
                </c:pt>
                <c:pt idx="4">
                  <c:v>1104.981</c:v>
                </c:pt>
                <c:pt idx="5">
                  <c:v>1105.4651</c:v>
                </c:pt>
                <c:pt idx="6">
                  <c:v>1022.5377</c:v>
                </c:pt>
                <c:pt idx="7">
                  <c:v>1049.8387</c:v>
                </c:pt>
                <c:pt idx="8">
                  <c:v>1137.5224</c:v>
                </c:pt>
                <c:pt idx="9">
                  <c:v>1059.4881</c:v>
                </c:pt>
                <c:pt idx="10">
                  <c:v>1093.5157</c:v>
                </c:pt>
                <c:pt idx="11">
                  <c:v>991.0831</c:v>
                </c:pt>
                <c:pt idx="12">
                  <c:v>1042.314</c:v>
                </c:pt>
                <c:pt idx="13">
                  <c:v>1079.266</c:v>
                </c:pt>
                <c:pt idx="14">
                  <c:v>1088.6918</c:v>
                </c:pt>
                <c:pt idx="15">
                  <c:v>1116.3163</c:v>
                </c:pt>
                <c:pt idx="16">
                  <c:v>1106.3923</c:v>
                </c:pt>
                <c:pt idx="17">
                  <c:v>1125.3119</c:v>
                </c:pt>
                <c:pt idx="18">
                  <c:v>1046.9477</c:v>
                </c:pt>
                <c:pt idx="19">
                  <c:v>1091.7308</c:v>
                </c:pt>
                <c:pt idx="20">
                  <c:v>1062.1771</c:v>
                </c:pt>
                <c:pt idx="21">
                  <c:v>1042.9622</c:v>
                </c:pt>
                <c:pt idx="22">
                  <c:v>1062.6471</c:v>
                </c:pt>
                <c:pt idx="23">
                  <c:v>1082.1557</c:v>
                </c:pt>
                <c:pt idx="24">
                  <c:v>1150.2198</c:v>
                </c:pt>
                <c:pt idx="25">
                  <c:v>1112.6632</c:v>
                </c:pt>
                <c:pt idx="26">
                  <c:v>1151.9424</c:v>
                </c:pt>
                <c:pt idx="27">
                  <c:v>1146.0196</c:v>
                </c:pt>
                <c:pt idx="28">
                  <c:v>1053.7858</c:v>
                </c:pt>
                <c:pt idx="29">
                  <c:v>1070.4656</c:v>
                </c:pt>
                <c:pt idx="30">
                  <c:v>1071.512</c:v>
                </c:pt>
                <c:pt idx="31">
                  <c:v>1040.693</c:v>
                </c:pt>
                <c:pt idx="32">
                  <c:v>1040.499</c:v>
                </c:pt>
                <c:pt idx="33">
                  <c:v>1063.509</c:v>
                </c:pt>
                <c:pt idx="34">
                  <c:v>1095.2847</c:v>
                </c:pt>
                <c:pt idx="35">
                  <c:v>1123.6471</c:v>
                </c:pt>
                <c:pt idx="36">
                  <c:v>1050.3204</c:v>
                </c:pt>
                <c:pt idx="37">
                  <c:v>1174.5347</c:v>
                </c:pt>
                <c:pt idx="38">
                  <c:v>1134.0788</c:v>
                </c:pt>
                <c:pt idx="39">
                  <c:v>1158.8609</c:v>
                </c:pt>
                <c:pt idx="40">
                  <c:v>1208.3347</c:v>
                </c:pt>
                <c:pt idx="41">
                  <c:v>1226.5792</c:v>
                </c:pt>
                <c:pt idx="42">
                  <c:v>1239.6623</c:v>
                </c:pt>
                <c:pt idx="43">
                  <c:v>1258.8507</c:v>
                </c:pt>
                <c:pt idx="44">
                  <c:v>1144.2352</c:v>
                </c:pt>
                <c:pt idx="45">
                  <c:v>1158.5154</c:v>
                </c:pt>
                <c:pt idx="46">
                  <c:v>1161.039</c:v>
                </c:pt>
                <c:pt idx="47">
                  <c:v>1137.1259</c:v>
                </c:pt>
                <c:pt idx="48">
                  <c:v>1105.6173</c:v>
                </c:pt>
                <c:pt idx="49">
                  <c:v>1108.1945</c:v>
                </c:pt>
                <c:pt idx="50">
                  <c:v>1016.472</c:v>
                </c:pt>
                <c:pt idx="51">
                  <c:v>999.4521</c:v>
                </c:pt>
                <c:pt idx="52">
                  <c:v>1004.6715987138253</c:v>
                </c:pt>
                <c:pt idx="53">
                  <c:v>683.2720493875856</c:v>
                </c:pt>
                <c:pt idx="54">
                  <c:v>1117.038786449773</c:v>
                </c:pt>
              </c:numCache>
            </c:numRef>
          </c:xVal>
          <c:yVal>
            <c:numRef>
              <c:f>Sheet1!$B$187:$B$241</c:f>
              <c:numCache>
                <c:formatCode>General</c:formatCode>
                <c:ptCount val="55"/>
                <c:pt idx="0">
                  <c:v>0.10550532571661536</c:v>
                </c:pt>
                <c:pt idx="1">
                  <c:v>0.1058108766407666</c:v>
                </c:pt>
                <c:pt idx="2">
                  <c:v>0.10840868268396894</c:v>
                </c:pt>
                <c:pt idx="3">
                  <c:v>0.11265342331593217</c:v>
                </c:pt>
                <c:pt idx="4">
                  <c:v>0.10880850494392749</c:v>
                </c:pt>
                <c:pt idx="5">
                  <c:v>0.10871708516495246</c:v>
                </c:pt>
                <c:pt idx="6">
                  <c:v>0.1243774953673365</c:v>
                </c:pt>
                <c:pt idx="7">
                  <c:v>0.11922184284554893</c:v>
                </c:pt>
                <c:pt idx="8">
                  <c:v>0.10266323000995076</c:v>
                </c:pt>
                <c:pt idx="9">
                  <c:v>0.11739960360728888</c:v>
                </c:pt>
                <c:pt idx="10">
                  <c:v>0.11097366749687615</c:v>
                </c:pt>
                <c:pt idx="11">
                  <c:v>0.13031753374731597</c:v>
                </c:pt>
                <c:pt idx="12">
                  <c:v>0.1206428434876754</c:v>
                </c:pt>
                <c:pt idx="13">
                  <c:v>0.11366464957591046</c:v>
                </c:pt>
                <c:pt idx="14">
                  <c:v>0.11188463604014748</c:v>
                </c:pt>
                <c:pt idx="15">
                  <c:v>0.10666789221801201</c:v>
                </c:pt>
                <c:pt idx="16">
                  <c:v>0.108541988244759</c:v>
                </c:pt>
                <c:pt idx="17">
                  <c:v>0.10496911972524645</c:v>
                </c:pt>
                <c:pt idx="18">
                  <c:v>0.11976779322980183</c:v>
                </c:pt>
                <c:pt idx="19">
                  <c:v>0.11131073662204144</c:v>
                </c:pt>
                <c:pt idx="20">
                  <c:v>0.11689179987734907</c:v>
                </c:pt>
                <c:pt idx="21">
                  <c:v>0.12052043427319159</c:v>
                </c:pt>
                <c:pt idx="22">
                  <c:v>0.11680304281038306</c:v>
                </c:pt>
                <c:pt idx="23">
                  <c:v>0.11311894468992792</c:v>
                </c:pt>
                <c:pt idx="24">
                  <c:v>0.10026539175017471</c:v>
                </c:pt>
                <c:pt idx="25">
                  <c:v>0.1073577612421262</c:v>
                </c:pt>
                <c:pt idx="26">
                  <c:v>0.09994008765750301</c:v>
                </c:pt>
                <c:pt idx="27">
                  <c:v>0.10105857777713387</c:v>
                </c:pt>
                <c:pt idx="28">
                  <c:v>0.11847645344337507</c:v>
                </c:pt>
                <c:pt idx="29">
                  <c:v>0.1153265595591616</c:v>
                </c:pt>
                <c:pt idx="30">
                  <c:v>0.11512895233602699</c:v>
                </c:pt>
                <c:pt idx="31">
                  <c:v>0.12094896094629662</c:v>
                </c:pt>
                <c:pt idx="32">
                  <c:v>0.12098559684202304</c:v>
                </c:pt>
                <c:pt idx="33">
                  <c:v>0.11664027745715316</c:v>
                </c:pt>
                <c:pt idx="34">
                  <c:v>0.11063960100440179</c:v>
                </c:pt>
                <c:pt idx="35">
                  <c:v>0.10528350858712962</c:v>
                </c:pt>
                <c:pt idx="36">
                  <c:v>0.11913087629414987</c:v>
                </c:pt>
                <c:pt idx="37">
                  <c:v>0.09567364875533893</c:v>
                </c:pt>
                <c:pt idx="38">
                  <c:v>0.10331353604357693</c:v>
                </c:pt>
                <c:pt idx="39">
                  <c:v>0.09863356474728038</c:v>
                </c:pt>
                <c:pt idx="40">
                  <c:v>0.0892906937267165</c:v>
                </c:pt>
                <c:pt idx="41">
                  <c:v>0.08584531434743542</c:v>
                </c:pt>
                <c:pt idx="42">
                  <c:v>0.0833746386393002</c:v>
                </c:pt>
                <c:pt idx="43">
                  <c:v>0.07975100863127602</c:v>
                </c:pt>
                <c:pt idx="44">
                  <c:v>0.10139555247988755</c:v>
                </c:pt>
                <c:pt idx="45">
                  <c:v>0.09869881063374158</c:v>
                </c:pt>
                <c:pt idx="46">
                  <c:v>0.09822224183758091</c:v>
                </c:pt>
                <c:pt idx="47">
                  <c:v>0.1027381069824019</c:v>
                </c:pt>
                <c:pt idx="48">
                  <c:v>0.10868834298284133</c:v>
                </c:pt>
                <c:pt idx="49">
                  <c:v>0.10820165210415</c:v>
                </c:pt>
                <c:pt idx="50">
                  <c:v>0.12552297141222157</c:v>
                </c:pt>
                <c:pt idx="51">
                  <c:v>0.12873709142085027</c:v>
                </c:pt>
                <c:pt idx="52">
                  <c:v>0.1277514161083562</c:v>
                </c:pt>
                <c:pt idx="53">
                  <c:v>0.18844605721986196</c:v>
                </c:pt>
                <c:pt idx="54">
                  <c:v>0.1065314543920448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11.0"/>
          <c:min val="54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36216124852104"/>
          <c:min val="0.0596594245449207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9896521351689196</c:v>
                </c:pt>
                <c:pt idx="1">
                  <c:v>0.37750583530311443</c:v>
                </c:pt>
                <c:pt idx="2">
                  <c:v>0.4586873072775783</c:v>
                </c:pt>
                <c:pt idx="3">
                  <c:v>0.462946873737581</c:v>
                </c:pt>
                <c:pt idx="4">
                  <c:v>0.42758479652070464</c:v>
                </c:pt>
                <c:pt idx="5">
                  <c:v>0.452795642155476</c:v>
                </c:pt>
                <c:pt idx="6">
                  <c:v>0.41727617926260324</c:v>
                </c:pt>
                <c:pt idx="7">
                  <c:v>0.39145732665345234</c:v>
                </c:pt>
                <c:pt idx="8">
                  <c:v>0.38909458788878615</c:v>
                </c:pt>
                <c:pt idx="9">
                  <c:v>0.3935452788115388</c:v>
                </c:pt>
                <c:pt idx="10">
                  <c:v>0.4312279578141256</c:v>
                </c:pt>
                <c:pt idx="11">
                  <c:v>0.4453930230688759</c:v>
                </c:pt>
                <c:pt idx="12">
                  <c:v>0.466781756753245</c:v>
                </c:pt>
                <c:pt idx="13">
                  <c:v>0.4743896153001393</c:v>
                </c:pt>
                <c:pt idx="14">
                  <c:v>0.48856533752488945</c:v>
                </c:pt>
                <c:pt idx="15">
                  <c:v>0.47671689982933757</c:v>
                </c:pt>
                <c:pt idx="16">
                  <c:v>0.45330206507749266</c:v>
                </c:pt>
                <c:pt idx="17">
                  <c:v>0.4407189131958726</c:v>
                </c:pt>
                <c:pt idx="18">
                  <c:v>0.46965547314006084</c:v>
                </c:pt>
                <c:pt idx="19">
                  <c:v>0.4462642853210989</c:v>
                </c:pt>
                <c:pt idx="20">
                  <c:v>0.4933484576201772</c:v>
                </c:pt>
                <c:pt idx="21">
                  <c:v>0.42420561692550474</c:v>
                </c:pt>
                <c:pt idx="22">
                  <c:v>0.38567710555333634</c:v>
                </c:pt>
                <c:pt idx="23">
                  <c:v>0.371490567578043</c:v>
                </c:pt>
                <c:pt idx="24">
                  <c:v>0.3600394002883174</c:v>
                </c:pt>
                <c:pt idx="25">
                  <c:v>0.3399241806466562</c:v>
                </c:pt>
                <c:pt idx="26">
                  <c:v>0.33632358692585845</c:v>
                </c:pt>
                <c:pt idx="27">
                  <c:v>0.35370483258594543</c:v>
                </c:pt>
                <c:pt idx="28">
                  <c:v>0.3393965645097863</c:v>
                </c:pt>
                <c:pt idx="29">
                  <c:v>0.3024402796078618</c:v>
                </c:pt>
                <c:pt idx="30">
                  <c:v>0.31090378031128113</c:v>
                </c:pt>
                <c:pt idx="31">
                  <c:v>0.3131277666618124</c:v>
                </c:pt>
                <c:pt idx="32">
                  <c:v>0.3084929651554111</c:v>
                </c:pt>
                <c:pt idx="33">
                  <c:v>0.2824595735132318</c:v>
                </c:pt>
                <c:pt idx="34">
                  <c:v>0.3480389787558849</c:v>
                </c:pt>
                <c:pt idx="35">
                  <c:v>0.39659338818639506</c:v>
                </c:pt>
                <c:pt idx="36">
                  <c:v>0.4034538246105194</c:v>
                </c:pt>
                <c:pt idx="37">
                  <c:v>0.3716023594843365</c:v>
                </c:pt>
                <c:pt idx="38">
                  <c:v>0.3854466377116868</c:v>
                </c:pt>
                <c:pt idx="39">
                  <c:v>0.3925063962003567</c:v>
                </c:pt>
                <c:pt idx="40">
                  <c:v>0.4052531791707081</c:v>
                </c:pt>
                <c:pt idx="41">
                  <c:v>0.3977565343809238</c:v>
                </c:pt>
                <c:pt idx="42">
                  <c:v>0.41501348112291</c:v>
                </c:pt>
                <c:pt idx="43">
                  <c:v>0.40960094553806115</c:v>
                </c:pt>
                <c:pt idx="44">
                  <c:v>0.40985762564802825</c:v>
                </c:pt>
                <c:pt idx="45">
                  <c:v>0.40677303547207233</c:v>
                </c:pt>
                <c:pt idx="46">
                  <c:v>0.4155921838695239</c:v>
                </c:pt>
                <c:pt idx="47">
                  <c:v>0.40707170953621974</c:v>
                </c:pt>
                <c:pt idx="48">
                  <c:v>0.4222960374177961</c:v>
                </c:pt>
                <c:pt idx="49">
                  <c:v>0.46114211340492073</c:v>
                </c:pt>
                <c:pt idx="50">
                  <c:v>0.3890429154986063</c:v>
                </c:pt>
                <c:pt idx="51">
                  <c:v>0.3808010857724674</c:v>
                </c:pt>
                <c:pt idx="52">
                  <c:v>0.39361412555856257</c:v>
                </c:pt>
                <c:pt idx="53">
                  <c:v>0.40620283992298933</c:v>
                </c:pt>
                <c:pt idx="54">
                  <c:v>0.3755085753002124</c:v>
                </c:pt>
                <c:pt idx="55">
                  <c:v>0.3894949140824396</c:v>
                </c:pt>
                <c:pt idx="56">
                  <c:v>0.3597979916119316</c:v>
                </c:pt>
                <c:pt idx="57">
                  <c:v>0.3911124503693473</c:v>
                </c:pt>
                <c:pt idx="58">
                  <c:v>0.35901451314343086</c:v>
                </c:pt>
                <c:pt idx="59">
                  <c:v>0.3932378158733154</c:v>
                </c:pt>
                <c:pt idx="60">
                  <c:v>0.3988550153950521</c:v>
                </c:pt>
                <c:pt idx="61">
                  <c:v>0.36384738518807924</c:v>
                </c:pt>
                <c:pt idx="62">
                  <c:v>0.33391032777062113</c:v>
                </c:pt>
                <c:pt idx="63">
                  <c:v>0.34719815725162523</c:v>
                </c:pt>
                <c:pt idx="64">
                  <c:v>0.3690873498842992</c:v>
                </c:pt>
                <c:pt idx="65">
                  <c:v>0.3918882690244755</c:v>
                </c:pt>
                <c:pt idx="66">
                  <c:v>0.4328627587084077</c:v>
                </c:pt>
                <c:pt idx="67">
                  <c:v>0.42939452299697367</c:v>
                </c:pt>
                <c:pt idx="68">
                  <c:v>0.44555563831745226</c:v>
                </c:pt>
                <c:pt idx="69">
                  <c:v>0.42857411869891693</c:v>
                </c:pt>
                <c:pt idx="70">
                  <c:v>0.4310701424545026</c:v>
                </c:pt>
                <c:pt idx="71">
                  <c:v>0.3959774217584259</c:v>
                </c:pt>
                <c:pt idx="72">
                  <c:v>0.40061583652593774</c:v>
                </c:pt>
                <c:pt idx="73">
                  <c:v>0.4408724741266189</c:v>
                </c:pt>
                <c:pt idx="74">
                  <c:v>0.4164271019589795</c:v>
                </c:pt>
                <c:pt idx="75">
                  <c:v>0.39456977348762917</c:v>
                </c:pt>
                <c:pt idx="76">
                  <c:v>0.4041341569528307</c:v>
                </c:pt>
                <c:pt idx="77">
                  <c:v>0.37356374032170847</c:v>
                </c:pt>
                <c:pt idx="78">
                  <c:v>0.39663652275798095</c:v>
                </c:pt>
                <c:pt idx="79">
                  <c:v>0.4085970482769697</c:v>
                </c:pt>
                <c:pt idx="80">
                  <c:v>0.3953601832414976</c:v>
                </c:pt>
                <c:pt idx="81">
                  <c:v>0.41039496348735555</c:v>
                </c:pt>
                <c:pt idx="82">
                  <c:v>0.4134152076911688</c:v>
                </c:pt>
                <c:pt idx="83">
                  <c:v>0.42126473844759327</c:v>
                </c:pt>
                <c:pt idx="84">
                  <c:v>0.4098851605588818</c:v>
                </c:pt>
                <c:pt idx="85">
                  <c:v>0.4138103811878091</c:v>
                </c:pt>
                <c:pt idx="86">
                  <c:v>0.43759612463458075</c:v>
                </c:pt>
                <c:pt idx="87">
                  <c:v>0.4586853120604405</c:v>
                </c:pt>
                <c:pt idx="88">
                  <c:v>0.42086095314789146</c:v>
                </c:pt>
                <c:pt idx="89">
                  <c:v>0.39356627077567896</c:v>
                </c:pt>
                <c:pt idx="90">
                  <c:v>0.3923808735107728</c:v>
                </c:pt>
                <c:pt idx="91">
                  <c:v>0.4231305955608099</c:v>
                </c:pt>
                <c:pt idx="92">
                  <c:v>0.41438334205672933</c:v>
                </c:pt>
                <c:pt idx="93">
                  <c:v>0.43647112878726263</c:v>
                </c:pt>
                <c:pt idx="94">
                  <c:v>0.4322951399210257</c:v>
                </c:pt>
                <c:pt idx="95">
                  <c:v>0.4682660907013577</c:v>
                </c:pt>
                <c:pt idx="96">
                  <c:v>0.46352989580648085</c:v>
                </c:pt>
                <c:pt idx="97">
                  <c:v>0.5045942866676513</c:v>
                </c:pt>
                <c:pt idx="98">
                  <c:v>0.5229514784458297</c:v>
                </c:pt>
                <c:pt idx="99">
                  <c:v>0.4995435789157215</c:v>
                </c:pt>
                <c:pt idx="100">
                  <c:v>0.5223447723110382</c:v>
                </c:pt>
                <c:pt idx="101">
                  <c:v>0.4890637800258418</c:v>
                </c:pt>
                <c:pt idx="102">
                  <c:v>0.4464805121548071</c:v>
                </c:pt>
                <c:pt idx="103">
                  <c:v>0.4475023530418413</c:v>
                </c:pt>
                <c:pt idx="104">
                  <c:v>0.4594411108475807</c:v>
                </c:pt>
              </c:numCache>
            </c:numRef>
          </c:xVal>
          <c:yVal>
            <c:numRef>
              <c:f>Sheet1!$B$2:$B$106</c:f>
              <c:numCache>
                <c:formatCode>General</c:formatCode>
                <c:ptCount val="105"/>
                <c:pt idx="0">
                  <c:v>0.23635134373767536</c:v>
                </c:pt>
                <c:pt idx="1">
                  <c:v>0.21945764607212748</c:v>
                </c:pt>
                <c:pt idx="2">
                  <c:v>0.18578087384111047</c:v>
                </c:pt>
                <c:pt idx="3">
                  <c:v>0.18142771706627522</c:v>
                </c:pt>
                <c:pt idx="4">
                  <c:v>0.15468395028731793</c:v>
                </c:pt>
                <c:pt idx="5">
                  <c:v>0.13777340178634223</c:v>
                </c:pt>
                <c:pt idx="6">
                  <c:v>0.1590941665472266</c:v>
                </c:pt>
                <c:pt idx="7">
                  <c:v>0.14277489925158318</c:v>
                </c:pt>
                <c:pt idx="8">
                  <c:v>0.1609057380564371</c:v>
                </c:pt>
                <c:pt idx="9">
                  <c:v>0.18238321192274276</c:v>
                </c:pt>
                <c:pt idx="10">
                  <c:v>0.19110263743247538</c:v>
                </c:pt>
                <c:pt idx="11">
                  <c:v>0.18504011624234</c:v>
                </c:pt>
                <c:pt idx="12">
                  <c:v>0.20558271008774512</c:v>
                </c:pt>
                <c:pt idx="13">
                  <c:v>0.2106632776567417</c:v>
                </c:pt>
                <c:pt idx="14">
                  <c:v>0.20710273600289908</c:v>
                </c:pt>
                <c:pt idx="15">
                  <c:v>0.20608483233399955</c:v>
                </c:pt>
                <c:pt idx="16">
                  <c:v>0.19837412001340932</c:v>
                </c:pt>
                <c:pt idx="17">
                  <c:v>0.18020796616143814</c:v>
                </c:pt>
                <c:pt idx="18">
                  <c:v>0.1958437081018962</c:v>
                </c:pt>
                <c:pt idx="19">
                  <c:v>0.15518220002270405</c:v>
                </c:pt>
                <c:pt idx="20">
                  <c:v>0.1707655325443787</c:v>
                </c:pt>
                <c:pt idx="21">
                  <c:v>0.16146569533543548</c:v>
                </c:pt>
                <c:pt idx="22">
                  <c:v>0.16455967430897794</c:v>
                </c:pt>
                <c:pt idx="23">
                  <c:v>0.16971454058876004</c:v>
                </c:pt>
                <c:pt idx="24">
                  <c:v>0.17272727272727273</c:v>
                </c:pt>
                <c:pt idx="25">
                  <c:v>0.16617698907039605</c:v>
                </c:pt>
                <c:pt idx="26">
                  <c:v>0.15947445916864877</c:v>
                </c:pt>
                <c:pt idx="27">
                  <c:v>0.15248618784530388</c:v>
                </c:pt>
                <c:pt idx="28">
                  <c:v>0.14558342420937842</c:v>
                </c:pt>
                <c:pt idx="29">
                  <c:v>0.16650680989833108</c:v>
                </c:pt>
                <c:pt idx="30">
                  <c:v>0.15067118303851462</c:v>
                </c:pt>
                <c:pt idx="31">
                  <c:v>0.14489393763764924</c:v>
                </c:pt>
                <c:pt idx="32">
                  <c:v>0.15509049773755657</c:v>
                </c:pt>
                <c:pt idx="33">
                  <c:v>0.18335289338268485</c:v>
                </c:pt>
                <c:pt idx="34">
                  <c:v>0.16912774725274726</c:v>
                </c:pt>
                <c:pt idx="35">
                  <c:v>0.18659914296844565</c:v>
                </c:pt>
                <c:pt idx="36">
                  <c:v>0.136864328988434</c:v>
                </c:pt>
                <c:pt idx="37">
                  <c:v>0.12492282362626055</c:v>
                </c:pt>
                <c:pt idx="38">
                  <c:v>0.11882176734897654</c:v>
                </c:pt>
                <c:pt idx="39">
                  <c:v>0.1116196816810569</c:v>
                </c:pt>
                <c:pt idx="40">
                  <c:v>0.11648489182907205</c:v>
                </c:pt>
                <c:pt idx="41">
                  <c:v>0.09429679371985246</c:v>
                </c:pt>
                <c:pt idx="42">
                  <c:v>0.0975178729215198</c:v>
                </c:pt>
                <c:pt idx="43">
                  <c:v>0.10665484895487111</c:v>
                </c:pt>
                <c:pt idx="44">
                  <c:v>0.12773873501446878</c:v>
                </c:pt>
                <c:pt idx="45">
                  <c:v>0.1412270302311796</c:v>
                </c:pt>
                <c:pt idx="46">
                  <c:v>0.152112276722427</c:v>
                </c:pt>
                <c:pt idx="47">
                  <c:v>0.1359693642151887</c:v>
                </c:pt>
                <c:pt idx="48">
                  <c:v>0.16153846153846155</c:v>
                </c:pt>
                <c:pt idx="49">
                  <c:v>0.1857824265756277</c:v>
                </c:pt>
                <c:pt idx="50">
                  <c:v>0.14806956040407768</c:v>
                </c:pt>
                <c:pt idx="51">
                  <c:v>0.13584765542117547</c:v>
                </c:pt>
                <c:pt idx="52">
                  <c:v>0.15649083944805944</c:v>
                </c:pt>
                <c:pt idx="53">
                  <c:v>0.12756541461525694</c:v>
                </c:pt>
                <c:pt idx="54">
                  <c:v>0.12169249106078665</c:v>
                </c:pt>
                <c:pt idx="55">
                  <c:v>0.11088585821353975</c:v>
                </c:pt>
                <c:pt idx="56">
                  <c:v>0.12443592755146195</c:v>
                </c:pt>
                <c:pt idx="57">
                  <c:v>0.11284731480987681</c:v>
                </c:pt>
                <c:pt idx="58">
                  <c:v>0.1311823501993889</c:v>
                </c:pt>
                <c:pt idx="59">
                  <c:v>0.13709791196388263</c:v>
                </c:pt>
                <c:pt idx="60">
                  <c:v>0.14013806312597263</c:v>
                </c:pt>
                <c:pt idx="61">
                  <c:v>0.14212623869021973</c:v>
                </c:pt>
                <c:pt idx="62">
                  <c:v>0.16245449269244974</c:v>
                </c:pt>
                <c:pt idx="63">
                  <c:v>0.1760629147210617</c:v>
                </c:pt>
                <c:pt idx="64">
                  <c:v>0.17372755233654133</c:v>
                </c:pt>
                <c:pt idx="65">
                  <c:v>0.17802385008517888</c:v>
                </c:pt>
                <c:pt idx="66">
                  <c:v>0.16888577435178698</c:v>
                </c:pt>
                <c:pt idx="67">
                  <c:v>0.15208066402985906</c:v>
                </c:pt>
                <c:pt idx="68">
                  <c:v>0.13316892725030827</c:v>
                </c:pt>
                <c:pt idx="69">
                  <c:v>0.1154766817994222</c:v>
                </c:pt>
                <c:pt idx="70">
                  <c:v>0.10393724543671745</c:v>
                </c:pt>
                <c:pt idx="71">
                  <c:v>0.11537550343520493</c:v>
                </c:pt>
                <c:pt idx="72">
                  <c:v>0.11418204277001467</c:v>
                </c:pt>
                <c:pt idx="73">
                  <c:v>0.10666134822497009</c:v>
                </c:pt>
                <c:pt idx="74">
                  <c:v>0.11383601756954612</c:v>
                </c:pt>
                <c:pt idx="75">
                  <c:v>0.09701026327532351</c:v>
                </c:pt>
                <c:pt idx="76">
                  <c:v>0.09567751335599806</c:v>
                </c:pt>
                <c:pt idx="77">
                  <c:v>0.1223931301311692</c:v>
                </c:pt>
                <c:pt idx="78">
                  <c:v>0.09943419949706622</c:v>
                </c:pt>
                <c:pt idx="79">
                  <c:v>0.0840035746201966</c:v>
                </c:pt>
                <c:pt idx="80">
                  <c:v>0.09843137254901961</c:v>
                </c:pt>
                <c:pt idx="81">
                  <c:v>0.11235154394299288</c:v>
                </c:pt>
                <c:pt idx="82">
                  <c:v>0.08949054459026558</c:v>
                </c:pt>
                <c:pt idx="83">
                  <c:v>0.0745742806811509</c:v>
                </c:pt>
                <c:pt idx="84">
                  <c:v>0.07993634471783571</c:v>
                </c:pt>
                <c:pt idx="85">
                  <c:v>0.0890374043332974</c:v>
                </c:pt>
                <c:pt idx="86">
                  <c:v>0.10630601003042013</c:v>
                </c:pt>
                <c:pt idx="87">
                  <c:v>0.11717550741940985</c:v>
                </c:pt>
                <c:pt idx="88">
                  <c:v>0.10587882423515296</c:v>
                </c:pt>
                <c:pt idx="89">
                  <c:v>0.0805587648356265</c:v>
                </c:pt>
                <c:pt idx="90">
                  <c:v>0.07979240999026922</c:v>
                </c:pt>
                <c:pt idx="91">
                  <c:v>0.08047288188323136</c:v>
                </c:pt>
                <c:pt idx="92">
                  <c:v>0.09758594216497483</c:v>
                </c:pt>
                <c:pt idx="93">
                  <c:v>0.08251538845450009</c:v>
                </c:pt>
                <c:pt idx="94">
                  <c:v>0.08878687243602267</c:v>
                </c:pt>
                <c:pt idx="95">
                  <c:v>0.09799667317567079</c:v>
                </c:pt>
                <c:pt idx="96">
                  <c:v>0.09893778452200304</c:v>
                </c:pt>
                <c:pt idx="97">
                  <c:v>0.10909510618651892</c:v>
                </c:pt>
                <c:pt idx="98">
                  <c:v>0.12865093228256896</c:v>
                </c:pt>
                <c:pt idx="99">
                  <c:v>0.1371533933763563</c:v>
                </c:pt>
                <c:pt idx="100">
                  <c:v>0.1578260756124925</c:v>
                </c:pt>
                <c:pt idx="101">
                  <c:v>0.12386134124726927</c:v>
                </c:pt>
                <c:pt idx="102">
                  <c:v>0.09918205669015896</c:v>
                </c:pt>
                <c:pt idx="103">
                  <c:v>0.1105966075258335</c:v>
                </c:pt>
                <c:pt idx="104">
                  <c:v>0.1090259159964253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3601837762462786</c:v>
                </c:pt>
                <c:pt idx="1">
                  <c:v>0.422269512165672</c:v>
                </c:pt>
                <c:pt idx="2">
                  <c:v>0.4289500656134649</c:v>
                </c:pt>
                <c:pt idx="3">
                  <c:v>0.40379488432295124</c:v>
                </c:pt>
                <c:pt idx="4">
                  <c:v>0.4021361548710098</c:v>
                </c:pt>
                <c:pt idx="5">
                  <c:v>0.42444480732112266</c:v>
                </c:pt>
                <c:pt idx="6">
                  <c:v>0.43454232077925586</c:v>
                </c:pt>
                <c:pt idx="7">
                  <c:v>0.4259286712213146</c:v>
                </c:pt>
                <c:pt idx="8">
                  <c:v>0.43802266868036327</c:v>
                </c:pt>
                <c:pt idx="9">
                  <c:v>0.42128972887285815</c:v>
                </c:pt>
                <c:pt idx="10">
                  <c:v>0.4283350684538944</c:v>
                </c:pt>
                <c:pt idx="11">
                  <c:v>0.4286671770160925</c:v>
                </c:pt>
                <c:pt idx="12">
                  <c:v>0.4402845628666208</c:v>
                </c:pt>
                <c:pt idx="13">
                  <c:v>0.42120922585370246</c:v>
                </c:pt>
                <c:pt idx="14">
                  <c:v>0.425464685031831</c:v>
                </c:pt>
                <c:pt idx="15">
                  <c:v>0.42418993369388375</c:v>
                </c:pt>
                <c:pt idx="16">
                  <c:v>0.40919906160208536</c:v>
                </c:pt>
                <c:pt idx="17">
                  <c:v>0.4142399028480947</c:v>
                </c:pt>
                <c:pt idx="18">
                  <c:v>0.38038905971120374</c:v>
                </c:pt>
                <c:pt idx="19">
                  <c:v>0.3857171591172827</c:v>
                </c:pt>
                <c:pt idx="20">
                  <c:v>0.3632083360674851</c:v>
                </c:pt>
                <c:pt idx="21">
                  <c:v>0.3549281173048974</c:v>
                </c:pt>
                <c:pt idx="22">
                  <c:v>0.3542235755708301</c:v>
                </c:pt>
                <c:pt idx="23">
                  <c:v>0.3736906780180461</c:v>
                </c:pt>
                <c:pt idx="24">
                  <c:v>0.4072678677734257</c:v>
                </c:pt>
                <c:pt idx="25">
                  <c:v>0.4064426152683919</c:v>
                </c:pt>
                <c:pt idx="26">
                  <c:v>0.40713887264748466</c:v>
                </c:pt>
                <c:pt idx="27">
                  <c:v>0.4113960943598704</c:v>
                </c:pt>
                <c:pt idx="28">
                  <c:v>0.37877076626667683</c:v>
                </c:pt>
                <c:pt idx="29">
                  <c:v>0.3592010588265415</c:v>
                </c:pt>
                <c:pt idx="30">
                  <c:v>0.357153011402803</c:v>
                </c:pt>
                <c:pt idx="31">
                  <c:v>0.367725335488465</c:v>
                </c:pt>
                <c:pt idx="32">
                  <c:v>0.36009731669618683</c:v>
                </c:pt>
                <c:pt idx="33">
                  <c:v>0.39038597779205286</c:v>
                </c:pt>
                <c:pt idx="34">
                  <c:v>0.41134107174605056</c:v>
                </c:pt>
                <c:pt idx="35">
                  <c:v>0.40694380879744774</c:v>
                </c:pt>
                <c:pt idx="36">
                  <c:v>0.3401963915007552</c:v>
                </c:pt>
                <c:pt idx="37">
                  <c:v>0.3980584202356687</c:v>
                </c:pt>
                <c:pt idx="38">
                  <c:v>0.35555566981594783</c:v>
                </c:pt>
                <c:pt idx="39">
                  <c:v>0.4044489771744385</c:v>
                </c:pt>
                <c:pt idx="40">
                  <c:v>0.39839565536676097</c:v>
                </c:pt>
                <c:pt idx="41">
                  <c:v>0.4077557889023188</c:v>
                </c:pt>
                <c:pt idx="42">
                  <c:v>0.3964520983385891</c:v>
                </c:pt>
                <c:pt idx="43">
                  <c:v>0.46494481994289183</c:v>
                </c:pt>
                <c:pt idx="44">
                  <c:v>0.4910361199984637</c:v>
                </c:pt>
                <c:pt idx="45">
                  <c:v>0.5349761214954566</c:v>
                </c:pt>
                <c:pt idx="46">
                  <c:v>0.5081022741823833</c:v>
                </c:pt>
                <c:pt idx="47">
                  <c:v>0.49797213775563626</c:v>
                </c:pt>
                <c:pt idx="48">
                  <c:v>0.5358516512875867</c:v>
                </c:pt>
                <c:pt idx="49">
                  <c:v>0.5434646361265031</c:v>
                </c:pt>
                <c:pt idx="50">
                  <c:v>0.527826957304036</c:v>
                </c:pt>
                <c:pt idx="51">
                  <c:v>0.4897207610199067</c:v>
                </c:pt>
              </c:numCache>
            </c:numRef>
          </c:xVal>
          <c:yVal>
            <c:numRef>
              <c:f>Sheet1!$B$109:$B$160</c:f>
              <c:numCache>
                <c:formatCode>General</c:formatCode>
                <c:ptCount val="52"/>
                <c:pt idx="0">
                  <c:v>0.11624307185299845</c:v>
                </c:pt>
                <c:pt idx="1">
                  <c:v>0.10748753844522219</c:v>
                </c:pt>
                <c:pt idx="2">
                  <c:v>0.11681493364445093</c:v>
                </c:pt>
                <c:pt idx="3">
                  <c:v>0.1243809798548007</c:v>
                </c:pt>
                <c:pt idx="4">
                  <c:v>0.10621761658031088</c:v>
                </c:pt>
                <c:pt idx="5">
                  <c:v>0.11165599834813132</c:v>
                </c:pt>
                <c:pt idx="6">
                  <c:v>0.1273695829534002</c:v>
                </c:pt>
                <c:pt idx="7">
                  <c:v>0.12024048096192384</c:v>
                </c:pt>
                <c:pt idx="8">
                  <c:v>0.11791449732345824</c:v>
                </c:pt>
                <c:pt idx="9">
                  <c:v>0.1337433263499358</c:v>
                </c:pt>
                <c:pt idx="10">
                  <c:v>0.13303666312433582</c:v>
                </c:pt>
                <c:pt idx="11">
                  <c:v>0.17040202753068628</c:v>
                </c:pt>
                <c:pt idx="12">
                  <c:v>0.1453805127028732</c:v>
                </c:pt>
                <c:pt idx="13">
                  <c:v>0.1316943674976916</c:v>
                </c:pt>
                <c:pt idx="14">
                  <c:v>0.14084331337325348</c:v>
                </c:pt>
                <c:pt idx="15">
                  <c:v>0.1211899374417676</c:v>
                </c:pt>
                <c:pt idx="16">
                  <c:v>0.1354870846082687</c:v>
                </c:pt>
                <c:pt idx="17">
                  <c:v>0.09705702958218969</c:v>
                </c:pt>
                <c:pt idx="18">
                  <c:v>0.10273850008949346</c:v>
                </c:pt>
                <c:pt idx="19">
                  <c:v>0.11036128713686116</c:v>
                </c:pt>
                <c:pt idx="20">
                  <c:v>0.10268398268398268</c:v>
                </c:pt>
                <c:pt idx="21">
                  <c:v>0.09779512606815065</c:v>
                </c:pt>
                <c:pt idx="22">
                  <c:v>0.09554612937433722</c:v>
                </c:pt>
                <c:pt idx="23">
                  <c:v>0.08656417112299465</c:v>
                </c:pt>
                <c:pt idx="24">
                  <c:v>0.07780006333790773</c:v>
                </c:pt>
                <c:pt idx="25">
                  <c:v>0.08596312634317385</c:v>
                </c:pt>
                <c:pt idx="26">
                  <c:v>0.07650977863743821</c:v>
                </c:pt>
                <c:pt idx="27">
                  <c:v>0.07504587155963302</c:v>
                </c:pt>
                <c:pt idx="28">
                  <c:v>0.09193848233902316</c:v>
                </c:pt>
                <c:pt idx="29">
                  <c:v>0.08160251993306428</c:v>
                </c:pt>
                <c:pt idx="30">
                  <c:v>0.09749894022891055</c:v>
                </c:pt>
                <c:pt idx="31">
                  <c:v>0.09492374231732302</c:v>
                </c:pt>
                <c:pt idx="32">
                  <c:v>0.1023597916028195</c:v>
                </c:pt>
                <c:pt idx="33">
                  <c:v>0.1167743061616338</c:v>
                </c:pt>
                <c:pt idx="34">
                  <c:v>0.13332354452683357</c:v>
                </c:pt>
                <c:pt idx="35">
                  <c:v>0.11782605020708309</c:v>
                </c:pt>
                <c:pt idx="36">
                  <c:v>0.10415467832892163</c:v>
                </c:pt>
                <c:pt idx="37">
                  <c:v>0.089607965152458</c:v>
                </c:pt>
                <c:pt idx="38">
                  <c:v>0.09582500555185432</c:v>
                </c:pt>
                <c:pt idx="39">
                  <c:v>0.10771300448430493</c:v>
                </c:pt>
                <c:pt idx="40">
                  <c:v>0.08609849807893817</c:v>
                </c:pt>
                <c:pt idx="41">
                  <c:v>0.09290912167879506</c:v>
                </c:pt>
                <c:pt idx="42">
                  <c:v>0.08423385979495705</c:v>
                </c:pt>
                <c:pt idx="43">
                  <c:v>0.0890147542129921</c:v>
                </c:pt>
                <c:pt idx="44">
                  <c:v>0.09844031193761248</c:v>
                </c:pt>
                <c:pt idx="45">
                  <c:v>0.11124316615165201</c:v>
                </c:pt>
                <c:pt idx="46">
                  <c:v>0.09837434584122036</c:v>
                </c:pt>
                <c:pt idx="47">
                  <c:v>0.10587618048268625</c:v>
                </c:pt>
                <c:pt idx="48">
                  <c:v>0.10563978711033588</c:v>
                </c:pt>
                <c:pt idx="49">
                  <c:v>0.11959436808581965</c:v>
                </c:pt>
                <c:pt idx="50">
                  <c:v>0.15688385269121813</c:v>
                </c:pt>
                <c:pt idx="51">
                  <c:v>0.128887656546051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9766758833938708</c:v>
                </c:pt>
              </c:numCache>
            </c:numRef>
          </c:xVal>
          <c:yVal>
            <c:numRef>
              <c:f>Sheet1!$B$163:$B$164</c:f>
              <c:numCache>
                <c:formatCode>General</c:formatCode>
                <c:ptCount val="2"/>
                <c:pt idx="0">
                  <c:v>0.18844605721986196</c:v>
                </c:pt>
                <c:pt idx="1">
                  <c:v>0.1884460572198619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9766758833938708</c:v>
                </c:pt>
                <c:pt idx="1">
                  <c:v>0.9766758833938708</c:v>
                </c:pt>
              </c:numCache>
            </c:numRef>
          </c:xVal>
          <c:yVal>
            <c:numRef>
              <c:f>Sheet1!$B$167:$B$168</c:f>
              <c:numCache>
                <c:formatCode>General</c:formatCode>
                <c:ptCount val="2"/>
                <c:pt idx="0">
                  <c:v>0.1884460572198619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496716762289008</c:v>
                </c:pt>
              </c:numCache>
            </c:numRef>
          </c:xVal>
          <c:yVal>
            <c:numRef>
              <c:f>Sheet1!$B$171:$B$172</c:f>
              <c:numCache>
                <c:formatCode>General</c:formatCode>
                <c:ptCount val="2"/>
                <c:pt idx="0">
                  <c:v>0.1277514161083562</c:v>
                </c:pt>
                <c:pt idx="1">
                  <c:v>0.127751416108356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496716762289008</c:v>
                </c:pt>
                <c:pt idx="1">
                  <c:v>0.5496716762289008</c:v>
                </c:pt>
              </c:numCache>
            </c:numRef>
          </c:xVal>
          <c:yVal>
            <c:numRef>
              <c:f>Sheet1!$B$175:$B$176</c:f>
              <c:numCache>
                <c:formatCode>General</c:formatCode>
                <c:ptCount val="2"/>
                <c:pt idx="0">
                  <c:v>0.12775141610835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0038315976666466</c:v>
                </c:pt>
              </c:numCache>
            </c:numRef>
          </c:xVal>
          <c:yVal>
            <c:numRef>
              <c:f>Sheet1!$B$179:$B$180</c:f>
              <c:numCache>
                <c:formatCode>General</c:formatCode>
                <c:ptCount val="2"/>
                <c:pt idx="0">
                  <c:v>0.10653145439204484</c:v>
                </c:pt>
                <c:pt idx="1">
                  <c:v>0.1065314543920448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0038315976666466</c:v>
                </c:pt>
                <c:pt idx="1">
                  <c:v>0.40038315976666466</c:v>
                </c:pt>
              </c:numCache>
            </c:numRef>
          </c:xVal>
          <c:yVal>
            <c:numRef>
              <c:f>Sheet1!$B$183:$B$184</c:f>
              <c:numCache>
                <c:formatCode>General</c:formatCode>
                <c:ptCount val="2"/>
                <c:pt idx="0">
                  <c:v>0.106531454392044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3601837762462786</c:v>
                </c:pt>
                <c:pt idx="1">
                  <c:v>0.422269512165672</c:v>
                </c:pt>
                <c:pt idx="2">
                  <c:v>0.4289500656134649</c:v>
                </c:pt>
                <c:pt idx="3">
                  <c:v>0.40379488432295124</c:v>
                </c:pt>
                <c:pt idx="4">
                  <c:v>0.4021361548710098</c:v>
                </c:pt>
                <c:pt idx="5">
                  <c:v>0.42444480732112266</c:v>
                </c:pt>
                <c:pt idx="6">
                  <c:v>0.43454232077925586</c:v>
                </c:pt>
                <c:pt idx="7">
                  <c:v>0.4259286712213146</c:v>
                </c:pt>
                <c:pt idx="8">
                  <c:v>0.43802266868036327</c:v>
                </c:pt>
                <c:pt idx="9">
                  <c:v>0.42128972887285815</c:v>
                </c:pt>
                <c:pt idx="10">
                  <c:v>0.4283350684538944</c:v>
                </c:pt>
                <c:pt idx="11">
                  <c:v>0.4286671770160925</c:v>
                </c:pt>
                <c:pt idx="12">
                  <c:v>0.4402845628666208</c:v>
                </c:pt>
                <c:pt idx="13">
                  <c:v>0.42120922585370246</c:v>
                </c:pt>
                <c:pt idx="14">
                  <c:v>0.425464685031831</c:v>
                </c:pt>
                <c:pt idx="15">
                  <c:v>0.42418993369388375</c:v>
                </c:pt>
                <c:pt idx="16">
                  <c:v>0.40919906160208536</c:v>
                </c:pt>
                <c:pt idx="17">
                  <c:v>0.4142399028480947</c:v>
                </c:pt>
                <c:pt idx="18">
                  <c:v>0.38038905971120374</c:v>
                </c:pt>
                <c:pt idx="19">
                  <c:v>0.3857171591172827</c:v>
                </c:pt>
                <c:pt idx="20">
                  <c:v>0.3632083360674851</c:v>
                </c:pt>
                <c:pt idx="21">
                  <c:v>0.3549281173048974</c:v>
                </c:pt>
                <c:pt idx="22">
                  <c:v>0.3542235755708301</c:v>
                </c:pt>
                <c:pt idx="23">
                  <c:v>0.3736906780180461</c:v>
                </c:pt>
                <c:pt idx="24">
                  <c:v>0.4072678677734257</c:v>
                </c:pt>
                <c:pt idx="25">
                  <c:v>0.4064426152683919</c:v>
                </c:pt>
                <c:pt idx="26">
                  <c:v>0.40713887264748466</c:v>
                </c:pt>
                <c:pt idx="27">
                  <c:v>0.4113960943598704</c:v>
                </c:pt>
                <c:pt idx="28">
                  <c:v>0.37877076626667683</c:v>
                </c:pt>
                <c:pt idx="29">
                  <c:v>0.3592010588265415</c:v>
                </c:pt>
                <c:pt idx="30">
                  <c:v>0.357153011402803</c:v>
                </c:pt>
                <c:pt idx="31">
                  <c:v>0.367725335488465</c:v>
                </c:pt>
                <c:pt idx="32">
                  <c:v>0.36009731669618683</c:v>
                </c:pt>
                <c:pt idx="33">
                  <c:v>0.39038597779205286</c:v>
                </c:pt>
                <c:pt idx="34">
                  <c:v>0.41134107174605056</c:v>
                </c:pt>
                <c:pt idx="35">
                  <c:v>0.40694380879744774</c:v>
                </c:pt>
                <c:pt idx="36">
                  <c:v>0.3401963915007552</c:v>
                </c:pt>
                <c:pt idx="37">
                  <c:v>0.3980584202356687</c:v>
                </c:pt>
                <c:pt idx="38">
                  <c:v>0.35555566981594783</c:v>
                </c:pt>
                <c:pt idx="39">
                  <c:v>0.4044489771744385</c:v>
                </c:pt>
                <c:pt idx="40">
                  <c:v>0.39839565536676097</c:v>
                </c:pt>
                <c:pt idx="41">
                  <c:v>0.4077557889023188</c:v>
                </c:pt>
                <c:pt idx="42">
                  <c:v>0.3964520983385891</c:v>
                </c:pt>
                <c:pt idx="43">
                  <c:v>0.46494481994289183</c:v>
                </c:pt>
                <c:pt idx="44">
                  <c:v>0.4910361199984637</c:v>
                </c:pt>
                <c:pt idx="45">
                  <c:v>0.5349761214954566</c:v>
                </c:pt>
                <c:pt idx="46">
                  <c:v>0.5081022741823833</c:v>
                </c:pt>
                <c:pt idx="47">
                  <c:v>0.49797213775563626</c:v>
                </c:pt>
                <c:pt idx="48">
                  <c:v>0.5358516512875867</c:v>
                </c:pt>
                <c:pt idx="49">
                  <c:v>0.5434646361265031</c:v>
                </c:pt>
                <c:pt idx="50">
                  <c:v>0.527826957304036</c:v>
                </c:pt>
                <c:pt idx="51">
                  <c:v>0.4897207610199067</c:v>
                </c:pt>
                <c:pt idx="52">
                  <c:v>0.5496716762289008</c:v>
                </c:pt>
                <c:pt idx="53">
                  <c:v>0.9766758833938708</c:v>
                </c:pt>
                <c:pt idx="54">
                  <c:v>0.40038315976666466</c:v>
                </c:pt>
              </c:numCache>
            </c:numRef>
          </c:xVal>
          <c:yVal>
            <c:numRef>
              <c:f>Sheet1!$B$187:$B$241</c:f>
              <c:numCache>
                <c:formatCode>General</c:formatCode>
                <c:ptCount val="55"/>
                <c:pt idx="0">
                  <c:v>0.11159666621555221</c:v>
                </c:pt>
                <c:pt idx="1">
                  <c:v>0.10964239400764558</c:v>
                </c:pt>
                <c:pt idx="2">
                  <c:v>0.11059197199103854</c:v>
                </c:pt>
                <c:pt idx="3">
                  <c:v>0.10701639902266091</c:v>
                </c:pt>
                <c:pt idx="4">
                  <c:v>0.1067806261963108</c:v>
                </c:pt>
                <c:pt idx="5">
                  <c:v>0.10995159180138223</c:v>
                </c:pt>
                <c:pt idx="6">
                  <c:v>0.11138685858605638</c:v>
                </c:pt>
                <c:pt idx="7">
                  <c:v>0.11016250913046062</c:v>
                </c:pt>
                <c:pt idx="8">
                  <c:v>0.11188155738118857</c:v>
                </c:pt>
                <c:pt idx="9">
                  <c:v>0.10950312700669679</c:v>
                </c:pt>
                <c:pt idx="10">
                  <c:v>0.11050455591583744</c:v>
                </c:pt>
                <c:pt idx="11">
                  <c:v>0.11055176203150197</c:v>
                </c:pt>
                <c:pt idx="12">
                  <c:v>0.1122030644145234</c:v>
                </c:pt>
                <c:pt idx="13">
                  <c:v>0.10949168425795085</c:v>
                </c:pt>
                <c:pt idx="14">
                  <c:v>0.11009655784759534</c:v>
                </c:pt>
                <c:pt idx="15">
                  <c:v>0.10991536390696227</c:v>
                </c:pt>
                <c:pt idx="16">
                  <c:v>0.10778455211098231</c:v>
                </c:pt>
                <c:pt idx="17">
                  <c:v>0.10850106039168037</c:v>
                </c:pt>
                <c:pt idx="18">
                  <c:v>0.10368948069049558</c:v>
                </c:pt>
                <c:pt idx="19">
                  <c:v>0.10444682002306438</c:v>
                </c:pt>
                <c:pt idx="20">
                  <c:v>0.10124740204561564</c:v>
                </c:pt>
                <c:pt idx="21">
                  <c:v>0.10007044664871985</c:v>
                </c:pt>
                <c:pt idx="22">
                  <c:v>0.09997030265252552</c:v>
                </c:pt>
                <c:pt idx="23">
                  <c:v>0.10273736858932134</c:v>
                </c:pt>
                <c:pt idx="24">
                  <c:v>0.10751005103024244</c:v>
                </c:pt>
                <c:pt idx="25">
                  <c:v>0.10739274913068517</c:v>
                </c:pt>
                <c:pt idx="26">
                  <c:v>0.10749171558355888</c:v>
                </c:pt>
                <c:pt idx="27">
                  <c:v>0.10809683970090872</c:v>
                </c:pt>
                <c:pt idx="28">
                  <c:v>0.10345945546315463</c:v>
                </c:pt>
                <c:pt idx="29">
                  <c:v>0.10067780518944365</c:v>
                </c:pt>
                <c:pt idx="30">
                  <c:v>0.10038669446669818</c:v>
                </c:pt>
                <c:pt idx="31">
                  <c:v>0.10188945112653097</c:v>
                </c:pt>
                <c:pt idx="32">
                  <c:v>0.10080519983527783</c:v>
                </c:pt>
                <c:pt idx="33">
                  <c:v>0.10511044878625919</c:v>
                </c:pt>
                <c:pt idx="34">
                  <c:v>0.10808901875267735</c:v>
                </c:pt>
                <c:pt idx="35">
                  <c:v>0.10746398908772312</c:v>
                </c:pt>
                <c:pt idx="36">
                  <c:v>0.09797647006574423</c:v>
                </c:pt>
                <c:pt idx="37">
                  <c:v>0.10620101448268578</c:v>
                </c:pt>
                <c:pt idx="38">
                  <c:v>0.1001596473493165</c:v>
                </c:pt>
                <c:pt idx="39">
                  <c:v>0.10710937218360048</c:v>
                </c:pt>
                <c:pt idx="40">
                  <c:v>0.10624894929201174</c:v>
                </c:pt>
                <c:pt idx="41">
                  <c:v>0.10757940444014326</c:v>
                </c:pt>
                <c:pt idx="42">
                  <c:v>0.10597269089847544</c:v>
                </c:pt>
                <c:pt idx="43">
                  <c:v>0.1157082885501336</c:v>
                </c:pt>
                <c:pt idx="44">
                  <c:v>0.11941692201658027</c:v>
                </c:pt>
                <c:pt idx="45">
                  <c:v>0.12566258090365692</c:v>
                </c:pt>
                <c:pt idx="46">
                  <c:v>0.12184271568785068</c:v>
                </c:pt>
                <c:pt idx="47">
                  <c:v>0.12040281185431664</c:v>
                </c:pt>
                <c:pt idx="48">
                  <c:v>0.12578702924778118</c:v>
                </c:pt>
                <c:pt idx="49">
                  <c:v>0.12686914360364007</c:v>
                </c:pt>
                <c:pt idx="50">
                  <c:v>0.12464639430042315</c:v>
                </c:pt>
                <c:pt idx="51">
                  <c:v>0.11922995608088993</c:v>
                </c:pt>
                <c:pt idx="52">
                  <c:v>0.1277514161083562</c:v>
                </c:pt>
                <c:pt idx="53">
                  <c:v>0.18844605721986196</c:v>
                </c:pt>
                <c:pt idx="54">
                  <c:v>0.1065314543920448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36216124852104"/>
          <c:min val="0.0596594245449207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73.651</c:v>
                </c:pt>
                <c:pt idx="1">
                  <c:v>856.5735</c:v>
                </c:pt>
                <c:pt idx="2">
                  <c:v>882.0284</c:v>
                </c:pt>
                <c:pt idx="3">
                  <c:v>895.9284</c:v>
                </c:pt>
                <c:pt idx="4">
                  <c:v>877.5227</c:v>
                </c:pt>
                <c:pt idx="5">
                  <c:v>886.8877</c:v>
                </c:pt>
                <c:pt idx="6">
                  <c:v>860.8297</c:v>
                </c:pt>
                <c:pt idx="7">
                  <c:v>863.7062</c:v>
                </c:pt>
                <c:pt idx="8">
                  <c:v>856.7878</c:v>
                </c:pt>
                <c:pt idx="9">
                  <c:v>828.694</c:v>
                </c:pt>
                <c:pt idx="10">
                  <c:v>816.9947</c:v>
                </c:pt>
                <c:pt idx="11">
                  <c:v>849.4138</c:v>
                </c:pt>
                <c:pt idx="12">
                  <c:v>853.204</c:v>
                </c:pt>
                <c:pt idx="13">
                  <c:v>853.1494</c:v>
                </c:pt>
                <c:pt idx="14">
                  <c:v>893.0627</c:v>
                </c:pt>
                <c:pt idx="15">
                  <c:v>903.8387</c:v>
                </c:pt>
                <c:pt idx="16">
                  <c:v>911.4871</c:v>
                </c:pt>
                <c:pt idx="17">
                  <c:v>906.6934</c:v>
                </c:pt>
                <c:pt idx="18">
                  <c:v>1003.7125</c:v>
                </c:pt>
                <c:pt idx="19">
                  <c:v>963.9334</c:v>
                </c:pt>
                <c:pt idx="20">
                  <c:v>970.3249</c:v>
                </c:pt>
                <c:pt idx="21">
                  <c:v>965.0296</c:v>
                </c:pt>
                <c:pt idx="22">
                  <c:v>942.8939</c:v>
                </c:pt>
                <c:pt idx="23">
                  <c:v>931.044</c:v>
                </c:pt>
                <c:pt idx="24">
                  <c:v>925.0569</c:v>
                </c:pt>
                <c:pt idx="25">
                  <c:v>910.7284</c:v>
                </c:pt>
                <c:pt idx="26">
                  <c:v>923.2443</c:v>
                </c:pt>
                <c:pt idx="27">
                  <c:v>960.6833</c:v>
                </c:pt>
                <c:pt idx="28">
                  <c:v>949.4457</c:v>
                </c:pt>
                <c:pt idx="29">
                  <c:v>788.659</c:v>
                </c:pt>
                <c:pt idx="30">
                  <c:v>851.8901</c:v>
                </c:pt>
                <c:pt idx="31">
                  <c:v>879.004</c:v>
                </c:pt>
                <c:pt idx="32">
                  <c:v>862.7272</c:v>
                </c:pt>
                <c:pt idx="33">
                  <c:v>780.4471</c:v>
                </c:pt>
                <c:pt idx="34">
                  <c:v>900.8122</c:v>
                </c:pt>
                <c:pt idx="35">
                  <c:v>939.0171</c:v>
                </c:pt>
                <c:pt idx="36">
                  <c:v>1024.5701</c:v>
                </c:pt>
                <c:pt idx="37">
                  <c:v>1029.4942</c:v>
                </c:pt>
                <c:pt idx="38">
                  <c:v>1057.9345</c:v>
                </c:pt>
                <c:pt idx="39">
                  <c:v>1080.9236</c:v>
                </c:pt>
                <c:pt idx="40">
                  <c:v>1103.2709</c:v>
                </c:pt>
                <c:pt idx="41">
                  <c:v>1123.1143</c:v>
                </c:pt>
                <c:pt idx="42">
                  <c:v>1132.5107</c:v>
                </c:pt>
                <c:pt idx="43">
                  <c:v>1130.6697</c:v>
                </c:pt>
                <c:pt idx="44">
                  <c:v>1049.4159</c:v>
                </c:pt>
                <c:pt idx="45">
                  <c:v>1023.8339</c:v>
                </c:pt>
                <c:pt idx="46">
                  <c:v>997.9916</c:v>
                </c:pt>
                <c:pt idx="47">
                  <c:v>993.6423</c:v>
                </c:pt>
                <c:pt idx="48">
                  <c:v>974.1957</c:v>
                </c:pt>
                <c:pt idx="49">
                  <c:v>936.2145</c:v>
                </c:pt>
                <c:pt idx="50">
                  <c:v>935.2396</c:v>
                </c:pt>
                <c:pt idx="51">
                  <c:v>924.8321</c:v>
                </c:pt>
                <c:pt idx="52">
                  <c:v>915.7903</c:v>
                </c:pt>
                <c:pt idx="53">
                  <c:v>1060.6444</c:v>
                </c:pt>
                <c:pt idx="54">
                  <c:v>1033.4094</c:v>
                </c:pt>
                <c:pt idx="55">
                  <c:v>1072.3269</c:v>
                </c:pt>
                <c:pt idx="56">
                  <c:v>1027.4834</c:v>
                </c:pt>
                <c:pt idx="57">
                  <c:v>1054.3171</c:v>
                </c:pt>
                <c:pt idx="58">
                  <c:v>1006.5393</c:v>
                </c:pt>
                <c:pt idx="59">
                  <c:v>1033.4569</c:v>
                </c:pt>
                <c:pt idx="60">
                  <c:v>1068.6532</c:v>
                </c:pt>
                <c:pt idx="61">
                  <c:v>1016.2077</c:v>
                </c:pt>
                <c:pt idx="62">
                  <c:v>950.3901</c:v>
                </c:pt>
                <c:pt idx="63">
                  <c:v>1007.3023</c:v>
                </c:pt>
                <c:pt idx="64">
                  <c:v>1022.6074</c:v>
                </c:pt>
                <c:pt idx="65">
                  <c:v>983.6229</c:v>
                </c:pt>
                <c:pt idx="66">
                  <c:v>1053.6444</c:v>
                </c:pt>
                <c:pt idx="67">
                  <c:v>1019.2348</c:v>
                </c:pt>
                <c:pt idx="68">
                  <c:v>1040.2281</c:v>
                </c:pt>
                <c:pt idx="69">
                  <c:v>1049.1944</c:v>
                </c:pt>
                <c:pt idx="70">
                  <c:v>1052.8824</c:v>
                </c:pt>
                <c:pt idx="71">
                  <c:v>1049.1027</c:v>
                </c:pt>
                <c:pt idx="72">
                  <c:v>1134.33</c:v>
                </c:pt>
                <c:pt idx="73">
                  <c:v>1178.0381</c:v>
                </c:pt>
                <c:pt idx="74">
                  <c:v>1157.1055</c:v>
                </c:pt>
                <c:pt idx="75">
                  <c:v>1133.8445</c:v>
                </c:pt>
                <c:pt idx="76">
                  <c:v>1148.3563</c:v>
                </c:pt>
                <c:pt idx="77">
                  <c:v>1046.4526</c:v>
                </c:pt>
                <c:pt idx="78">
                  <c:v>1104.9294</c:v>
                </c:pt>
                <c:pt idx="79">
                  <c:v>1153.0024</c:v>
                </c:pt>
                <c:pt idx="80">
                  <c:v>1075.5159</c:v>
                </c:pt>
                <c:pt idx="81">
                  <c:v>1061.5208</c:v>
                </c:pt>
                <c:pt idx="82">
                  <c:v>1091.4954</c:v>
                </c:pt>
                <c:pt idx="83">
                  <c:v>1148.1102</c:v>
                </c:pt>
                <c:pt idx="84">
                  <c:v>1115.7718</c:v>
                </c:pt>
                <c:pt idx="85">
                  <c:v>1110.477</c:v>
                </c:pt>
                <c:pt idx="86">
                  <c:v>1133.6002</c:v>
                </c:pt>
                <c:pt idx="87">
                  <c:v>1148.6776</c:v>
                </c:pt>
                <c:pt idx="88">
                  <c:v>1153.1152</c:v>
                </c:pt>
                <c:pt idx="89">
                  <c:v>1130.6349</c:v>
                </c:pt>
                <c:pt idx="90">
                  <c:v>1175.0528</c:v>
                </c:pt>
                <c:pt idx="91">
                  <c:v>1186.5374</c:v>
                </c:pt>
                <c:pt idx="92">
                  <c:v>1130.3226</c:v>
                </c:pt>
                <c:pt idx="93">
                  <c:v>1168.1492</c:v>
                </c:pt>
                <c:pt idx="94">
                  <c:v>1152.5237</c:v>
                </c:pt>
                <c:pt idx="95">
                  <c:v>1144.1557</c:v>
                </c:pt>
                <c:pt idx="96">
                  <c:v>1074.5665</c:v>
                </c:pt>
                <c:pt idx="97">
                  <c:v>1096.0567</c:v>
                </c:pt>
                <c:pt idx="98">
                  <c:v>1080.2536</c:v>
                </c:pt>
                <c:pt idx="99">
                  <c:v>1026.1841</c:v>
                </c:pt>
                <c:pt idx="100">
                  <c:v>1027.758</c:v>
                </c:pt>
                <c:pt idx="101">
                  <c:v>1059.4775</c:v>
                </c:pt>
                <c:pt idx="102">
                  <c:v>1076.2298</c:v>
                </c:pt>
                <c:pt idx="103">
                  <c:v>1019.8422</c:v>
                </c:pt>
                <c:pt idx="104">
                  <c:v>1082.6563</c:v>
                </c:pt>
              </c:numCache>
            </c:numRef>
          </c:xVal>
          <c:yVal>
            <c:numRef>
              <c:f>Sheet1!$B$2:$B$106</c:f>
              <c:numCache>
                <c:formatCode>General</c:formatCode>
                <c:ptCount val="105"/>
                <c:pt idx="0">
                  <c:v>0.23635134373767536</c:v>
                </c:pt>
                <c:pt idx="1">
                  <c:v>0.21945764607212748</c:v>
                </c:pt>
                <c:pt idx="2">
                  <c:v>0.18578087384111047</c:v>
                </c:pt>
                <c:pt idx="3">
                  <c:v>0.18142771706627522</c:v>
                </c:pt>
                <c:pt idx="4">
                  <c:v>0.15468395028731793</c:v>
                </c:pt>
                <c:pt idx="5">
                  <c:v>0.13777340178634223</c:v>
                </c:pt>
                <c:pt idx="6">
                  <c:v>0.1590941665472266</c:v>
                </c:pt>
                <c:pt idx="7">
                  <c:v>0.14277489925158318</c:v>
                </c:pt>
                <c:pt idx="8">
                  <c:v>0.1609057380564371</c:v>
                </c:pt>
                <c:pt idx="9">
                  <c:v>0.18238321192274276</c:v>
                </c:pt>
                <c:pt idx="10">
                  <c:v>0.19110263743247538</c:v>
                </c:pt>
                <c:pt idx="11">
                  <c:v>0.18504011624234</c:v>
                </c:pt>
                <c:pt idx="12">
                  <c:v>0.20558271008774512</c:v>
                </c:pt>
                <c:pt idx="13">
                  <c:v>0.2106632776567417</c:v>
                </c:pt>
                <c:pt idx="14">
                  <c:v>0.20710273600289908</c:v>
                </c:pt>
                <c:pt idx="15">
                  <c:v>0.20608483233399955</c:v>
                </c:pt>
                <c:pt idx="16">
                  <c:v>0.19837412001340932</c:v>
                </c:pt>
                <c:pt idx="17">
                  <c:v>0.18020796616143814</c:v>
                </c:pt>
                <c:pt idx="18">
                  <c:v>0.1958437081018962</c:v>
                </c:pt>
                <c:pt idx="19">
                  <c:v>0.15518220002270405</c:v>
                </c:pt>
                <c:pt idx="20">
                  <c:v>0.1707655325443787</c:v>
                </c:pt>
                <c:pt idx="21">
                  <c:v>0.16146569533543548</c:v>
                </c:pt>
                <c:pt idx="22">
                  <c:v>0.16455967430897794</c:v>
                </c:pt>
                <c:pt idx="23">
                  <c:v>0.16971454058876004</c:v>
                </c:pt>
                <c:pt idx="24">
                  <c:v>0.17272727272727273</c:v>
                </c:pt>
                <c:pt idx="25">
                  <c:v>0.16617698907039605</c:v>
                </c:pt>
                <c:pt idx="26">
                  <c:v>0.15947445916864877</c:v>
                </c:pt>
                <c:pt idx="27">
                  <c:v>0.15248618784530388</c:v>
                </c:pt>
                <c:pt idx="28">
                  <c:v>0.14558342420937842</c:v>
                </c:pt>
                <c:pt idx="29">
                  <c:v>0.16650680989833108</c:v>
                </c:pt>
                <c:pt idx="30">
                  <c:v>0.15067118303851462</c:v>
                </c:pt>
                <c:pt idx="31">
                  <c:v>0.14489393763764924</c:v>
                </c:pt>
                <c:pt idx="32">
                  <c:v>0.15509049773755657</c:v>
                </c:pt>
                <c:pt idx="33">
                  <c:v>0.18335289338268485</c:v>
                </c:pt>
                <c:pt idx="34">
                  <c:v>0.16912774725274726</c:v>
                </c:pt>
                <c:pt idx="35">
                  <c:v>0.18659914296844565</c:v>
                </c:pt>
                <c:pt idx="36">
                  <c:v>0.136864328988434</c:v>
                </c:pt>
                <c:pt idx="37">
                  <c:v>0.12492282362626055</c:v>
                </c:pt>
                <c:pt idx="38">
                  <c:v>0.11882176734897654</c:v>
                </c:pt>
                <c:pt idx="39">
                  <c:v>0.1116196816810569</c:v>
                </c:pt>
                <c:pt idx="40">
                  <c:v>0.11648489182907205</c:v>
                </c:pt>
                <c:pt idx="41">
                  <c:v>0.09429679371985246</c:v>
                </c:pt>
                <c:pt idx="42">
                  <c:v>0.0975178729215198</c:v>
                </c:pt>
                <c:pt idx="43">
                  <c:v>0.10665484895487111</c:v>
                </c:pt>
                <c:pt idx="44">
                  <c:v>0.12773873501446878</c:v>
                </c:pt>
                <c:pt idx="45">
                  <c:v>0.1412270302311796</c:v>
                </c:pt>
                <c:pt idx="46">
                  <c:v>0.152112276722427</c:v>
                </c:pt>
                <c:pt idx="47">
                  <c:v>0.1359693642151887</c:v>
                </c:pt>
                <c:pt idx="48">
                  <c:v>0.16153846153846155</c:v>
                </c:pt>
                <c:pt idx="49">
                  <c:v>0.1857824265756277</c:v>
                </c:pt>
                <c:pt idx="50">
                  <c:v>0.14806956040407768</c:v>
                </c:pt>
                <c:pt idx="51">
                  <c:v>0.13584765542117547</c:v>
                </c:pt>
                <c:pt idx="52">
                  <c:v>0.15649083944805944</c:v>
                </c:pt>
                <c:pt idx="53">
                  <c:v>0.12756541461525694</c:v>
                </c:pt>
                <c:pt idx="54">
                  <c:v>0.12169249106078665</c:v>
                </c:pt>
                <c:pt idx="55">
                  <c:v>0.11088585821353975</c:v>
                </c:pt>
                <c:pt idx="56">
                  <c:v>0.12443592755146195</c:v>
                </c:pt>
                <c:pt idx="57">
                  <c:v>0.11284731480987681</c:v>
                </c:pt>
                <c:pt idx="58">
                  <c:v>0.1311823501993889</c:v>
                </c:pt>
                <c:pt idx="59">
                  <c:v>0.13709791196388263</c:v>
                </c:pt>
                <c:pt idx="60">
                  <c:v>0.14013806312597263</c:v>
                </c:pt>
                <c:pt idx="61">
                  <c:v>0.14212623869021973</c:v>
                </c:pt>
                <c:pt idx="62">
                  <c:v>0.16245449269244974</c:v>
                </c:pt>
                <c:pt idx="63">
                  <c:v>0.1760629147210617</c:v>
                </c:pt>
                <c:pt idx="64">
                  <c:v>0.17372755233654133</c:v>
                </c:pt>
                <c:pt idx="65">
                  <c:v>0.17802385008517888</c:v>
                </c:pt>
                <c:pt idx="66">
                  <c:v>0.16888577435178698</c:v>
                </c:pt>
                <c:pt idx="67">
                  <c:v>0.15208066402985906</c:v>
                </c:pt>
                <c:pt idx="68">
                  <c:v>0.13316892725030827</c:v>
                </c:pt>
                <c:pt idx="69">
                  <c:v>0.1154766817994222</c:v>
                </c:pt>
                <c:pt idx="70">
                  <c:v>0.10393724543671745</c:v>
                </c:pt>
                <c:pt idx="71">
                  <c:v>0.11537550343520493</c:v>
                </c:pt>
                <c:pt idx="72">
                  <c:v>0.11418204277001467</c:v>
                </c:pt>
                <c:pt idx="73">
                  <c:v>0.10666134822497009</c:v>
                </c:pt>
                <c:pt idx="74">
                  <c:v>0.11383601756954612</c:v>
                </c:pt>
                <c:pt idx="75">
                  <c:v>0.09701026327532351</c:v>
                </c:pt>
                <c:pt idx="76">
                  <c:v>0.09567751335599806</c:v>
                </c:pt>
                <c:pt idx="77">
                  <c:v>0.1223931301311692</c:v>
                </c:pt>
                <c:pt idx="78">
                  <c:v>0.09943419949706622</c:v>
                </c:pt>
                <c:pt idx="79">
                  <c:v>0.0840035746201966</c:v>
                </c:pt>
                <c:pt idx="80">
                  <c:v>0.09843137254901961</c:v>
                </c:pt>
                <c:pt idx="81">
                  <c:v>0.11235154394299288</c:v>
                </c:pt>
                <c:pt idx="82">
                  <c:v>0.08949054459026558</c:v>
                </c:pt>
                <c:pt idx="83">
                  <c:v>0.0745742806811509</c:v>
                </c:pt>
                <c:pt idx="84">
                  <c:v>0.07993634471783571</c:v>
                </c:pt>
                <c:pt idx="85">
                  <c:v>0.0890374043332974</c:v>
                </c:pt>
                <c:pt idx="86">
                  <c:v>0.10630601003042013</c:v>
                </c:pt>
                <c:pt idx="87">
                  <c:v>0.11717550741940985</c:v>
                </c:pt>
                <c:pt idx="88">
                  <c:v>0.10587882423515296</c:v>
                </c:pt>
                <c:pt idx="89">
                  <c:v>0.0805587648356265</c:v>
                </c:pt>
                <c:pt idx="90">
                  <c:v>0.07979240999026922</c:v>
                </c:pt>
                <c:pt idx="91">
                  <c:v>0.08047288188323136</c:v>
                </c:pt>
                <c:pt idx="92">
                  <c:v>0.09758594216497483</c:v>
                </c:pt>
                <c:pt idx="93">
                  <c:v>0.08251538845450009</c:v>
                </c:pt>
                <c:pt idx="94">
                  <c:v>0.08878687243602267</c:v>
                </c:pt>
                <c:pt idx="95">
                  <c:v>0.09799667317567079</c:v>
                </c:pt>
                <c:pt idx="96">
                  <c:v>0.09893778452200304</c:v>
                </c:pt>
                <c:pt idx="97">
                  <c:v>0.10909510618651892</c:v>
                </c:pt>
                <c:pt idx="98">
                  <c:v>0.12865093228256896</c:v>
                </c:pt>
                <c:pt idx="99">
                  <c:v>0.1371533933763563</c:v>
                </c:pt>
                <c:pt idx="100">
                  <c:v>0.1578260756124925</c:v>
                </c:pt>
                <c:pt idx="101">
                  <c:v>0.12386134124726927</c:v>
                </c:pt>
                <c:pt idx="102">
                  <c:v>0.09918205669015896</c:v>
                </c:pt>
                <c:pt idx="103">
                  <c:v>0.1105966075258335</c:v>
                </c:pt>
                <c:pt idx="104">
                  <c:v>0.1090259159964253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22.4725</c:v>
                </c:pt>
                <c:pt idx="1">
                  <c:v>1120.8545</c:v>
                </c:pt>
                <c:pt idx="2">
                  <c:v>1107.0982</c:v>
                </c:pt>
                <c:pt idx="3">
                  <c:v>1084.6208</c:v>
                </c:pt>
                <c:pt idx="4">
                  <c:v>1104.981</c:v>
                </c:pt>
                <c:pt idx="5">
                  <c:v>1105.4651</c:v>
                </c:pt>
                <c:pt idx="6">
                  <c:v>1022.5377</c:v>
                </c:pt>
                <c:pt idx="7">
                  <c:v>1049.8387</c:v>
                </c:pt>
                <c:pt idx="8">
                  <c:v>1137.5224</c:v>
                </c:pt>
                <c:pt idx="9">
                  <c:v>1059.4881</c:v>
                </c:pt>
                <c:pt idx="10">
                  <c:v>1093.5157</c:v>
                </c:pt>
                <c:pt idx="11">
                  <c:v>991.0831</c:v>
                </c:pt>
                <c:pt idx="12">
                  <c:v>1042.314</c:v>
                </c:pt>
                <c:pt idx="13">
                  <c:v>1079.266</c:v>
                </c:pt>
                <c:pt idx="14">
                  <c:v>1088.6918</c:v>
                </c:pt>
                <c:pt idx="15">
                  <c:v>1116.3163</c:v>
                </c:pt>
                <c:pt idx="16">
                  <c:v>1106.3923</c:v>
                </c:pt>
                <c:pt idx="17">
                  <c:v>1125.3119</c:v>
                </c:pt>
                <c:pt idx="18">
                  <c:v>1046.9477</c:v>
                </c:pt>
                <c:pt idx="19">
                  <c:v>1091.7308</c:v>
                </c:pt>
                <c:pt idx="20">
                  <c:v>1062.1771</c:v>
                </c:pt>
                <c:pt idx="21">
                  <c:v>1042.9622</c:v>
                </c:pt>
                <c:pt idx="22">
                  <c:v>1062.6471</c:v>
                </c:pt>
                <c:pt idx="23">
                  <c:v>1082.1557</c:v>
                </c:pt>
                <c:pt idx="24">
                  <c:v>1150.2198</c:v>
                </c:pt>
                <c:pt idx="25">
                  <c:v>1112.6632</c:v>
                </c:pt>
                <c:pt idx="26">
                  <c:v>1151.9424</c:v>
                </c:pt>
                <c:pt idx="27">
                  <c:v>1146.0196</c:v>
                </c:pt>
                <c:pt idx="28">
                  <c:v>1053.7858</c:v>
                </c:pt>
                <c:pt idx="29">
                  <c:v>1070.4656</c:v>
                </c:pt>
                <c:pt idx="30">
                  <c:v>1071.512</c:v>
                </c:pt>
                <c:pt idx="31">
                  <c:v>1040.693</c:v>
                </c:pt>
                <c:pt idx="32">
                  <c:v>1040.499</c:v>
                </c:pt>
                <c:pt idx="33">
                  <c:v>1063.509</c:v>
                </c:pt>
                <c:pt idx="34">
                  <c:v>1095.2847</c:v>
                </c:pt>
                <c:pt idx="35">
                  <c:v>1123.6471</c:v>
                </c:pt>
                <c:pt idx="36">
                  <c:v>1050.3204</c:v>
                </c:pt>
                <c:pt idx="37">
                  <c:v>1174.5347</c:v>
                </c:pt>
                <c:pt idx="38">
                  <c:v>1134.0788</c:v>
                </c:pt>
                <c:pt idx="39">
                  <c:v>1158.8609</c:v>
                </c:pt>
                <c:pt idx="40">
                  <c:v>1208.3347</c:v>
                </c:pt>
                <c:pt idx="41">
                  <c:v>1226.5792</c:v>
                </c:pt>
                <c:pt idx="42">
                  <c:v>1239.6623</c:v>
                </c:pt>
                <c:pt idx="43">
                  <c:v>1258.8507</c:v>
                </c:pt>
                <c:pt idx="44">
                  <c:v>1144.2352</c:v>
                </c:pt>
                <c:pt idx="45">
                  <c:v>1158.5154</c:v>
                </c:pt>
                <c:pt idx="46">
                  <c:v>1161.039</c:v>
                </c:pt>
                <c:pt idx="47">
                  <c:v>1137.1259</c:v>
                </c:pt>
                <c:pt idx="48">
                  <c:v>1105.6173</c:v>
                </c:pt>
                <c:pt idx="49">
                  <c:v>1108.1945</c:v>
                </c:pt>
                <c:pt idx="50">
                  <c:v>1016.472</c:v>
                </c:pt>
                <c:pt idx="51">
                  <c:v>999.4521</c:v>
                </c:pt>
              </c:numCache>
            </c:numRef>
          </c:xVal>
          <c:yVal>
            <c:numRef>
              <c:f>Sheet1!$B$109:$B$160</c:f>
              <c:numCache>
                <c:formatCode>General</c:formatCode>
                <c:ptCount val="52"/>
                <c:pt idx="0">
                  <c:v>0.11624307185299845</c:v>
                </c:pt>
                <c:pt idx="1">
                  <c:v>0.10748753844522219</c:v>
                </c:pt>
                <c:pt idx="2">
                  <c:v>0.11681493364445093</c:v>
                </c:pt>
                <c:pt idx="3">
                  <c:v>0.1243809798548007</c:v>
                </c:pt>
                <c:pt idx="4">
                  <c:v>0.10621761658031088</c:v>
                </c:pt>
                <c:pt idx="5">
                  <c:v>0.11165599834813132</c:v>
                </c:pt>
                <c:pt idx="6">
                  <c:v>0.1273695829534002</c:v>
                </c:pt>
                <c:pt idx="7">
                  <c:v>0.12024048096192384</c:v>
                </c:pt>
                <c:pt idx="8">
                  <c:v>0.11791449732345824</c:v>
                </c:pt>
                <c:pt idx="9">
                  <c:v>0.1337433263499358</c:v>
                </c:pt>
                <c:pt idx="10">
                  <c:v>0.13303666312433582</c:v>
                </c:pt>
                <c:pt idx="11">
                  <c:v>0.17040202753068628</c:v>
                </c:pt>
                <c:pt idx="12">
                  <c:v>0.1453805127028732</c:v>
                </c:pt>
                <c:pt idx="13">
                  <c:v>0.1316943674976916</c:v>
                </c:pt>
                <c:pt idx="14">
                  <c:v>0.14084331337325348</c:v>
                </c:pt>
                <c:pt idx="15">
                  <c:v>0.1211899374417676</c:v>
                </c:pt>
                <c:pt idx="16">
                  <c:v>0.1354870846082687</c:v>
                </c:pt>
                <c:pt idx="17">
                  <c:v>0.09705702958218969</c:v>
                </c:pt>
                <c:pt idx="18">
                  <c:v>0.10273850008949346</c:v>
                </c:pt>
                <c:pt idx="19">
                  <c:v>0.11036128713686116</c:v>
                </c:pt>
                <c:pt idx="20">
                  <c:v>0.10268398268398268</c:v>
                </c:pt>
                <c:pt idx="21">
                  <c:v>0.09779512606815065</c:v>
                </c:pt>
                <c:pt idx="22">
                  <c:v>0.09554612937433722</c:v>
                </c:pt>
                <c:pt idx="23">
                  <c:v>0.08656417112299465</c:v>
                </c:pt>
                <c:pt idx="24">
                  <c:v>0.07780006333790773</c:v>
                </c:pt>
                <c:pt idx="25">
                  <c:v>0.08596312634317385</c:v>
                </c:pt>
                <c:pt idx="26">
                  <c:v>0.07650977863743821</c:v>
                </c:pt>
                <c:pt idx="27">
                  <c:v>0.07504587155963302</c:v>
                </c:pt>
                <c:pt idx="28">
                  <c:v>0.09193848233902316</c:v>
                </c:pt>
                <c:pt idx="29">
                  <c:v>0.08160251993306428</c:v>
                </c:pt>
                <c:pt idx="30">
                  <c:v>0.09749894022891055</c:v>
                </c:pt>
                <c:pt idx="31">
                  <c:v>0.09492374231732302</c:v>
                </c:pt>
                <c:pt idx="32">
                  <c:v>0.1023597916028195</c:v>
                </c:pt>
                <c:pt idx="33">
                  <c:v>0.1167743061616338</c:v>
                </c:pt>
                <c:pt idx="34">
                  <c:v>0.13332354452683357</c:v>
                </c:pt>
                <c:pt idx="35">
                  <c:v>0.11782605020708309</c:v>
                </c:pt>
                <c:pt idx="36">
                  <c:v>0.10415467832892163</c:v>
                </c:pt>
                <c:pt idx="37">
                  <c:v>0.089607965152458</c:v>
                </c:pt>
                <c:pt idx="38">
                  <c:v>0.09582500555185432</c:v>
                </c:pt>
                <c:pt idx="39">
                  <c:v>0.10771300448430493</c:v>
                </c:pt>
                <c:pt idx="40">
                  <c:v>0.08609849807893817</c:v>
                </c:pt>
                <c:pt idx="41">
                  <c:v>0.09290912167879506</c:v>
                </c:pt>
                <c:pt idx="42">
                  <c:v>0.08423385979495705</c:v>
                </c:pt>
                <c:pt idx="43">
                  <c:v>0.0890147542129921</c:v>
                </c:pt>
                <c:pt idx="44">
                  <c:v>0.09844031193761248</c:v>
                </c:pt>
                <c:pt idx="45">
                  <c:v>0.11124316615165201</c:v>
                </c:pt>
                <c:pt idx="46">
                  <c:v>0.09837434584122036</c:v>
                </c:pt>
                <c:pt idx="47">
                  <c:v>0.10587618048268625</c:v>
                </c:pt>
                <c:pt idx="48">
                  <c:v>0.10563978711033588</c:v>
                </c:pt>
                <c:pt idx="49">
                  <c:v>0.11959436808581965</c:v>
                </c:pt>
                <c:pt idx="50">
                  <c:v>0.15688385269121813</c:v>
                </c:pt>
                <c:pt idx="51">
                  <c:v>0.128887656546051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83.2720493875856</c:v>
                </c:pt>
              </c:numCache>
            </c:numRef>
          </c:xVal>
          <c:yVal>
            <c:numRef>
              <c:f>Sheet1!$B$163:$B$164</c:f>
              <c:numCache>
                <c:formatCode>General</c:formatCode>
                <c:ptCount val="2"/>
                <c:pt idx="0">
                  <c:v>0.18844605721986196</c:v>
                </c:pt>
                <c:pt idx="1">
                  <c:v>0.1884460572198619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83.2720493875856</c:v>
                </c:pt>
                <c:pt idx="1">
                  <c:v>683.2720493875856</c:v>
                </c:pt>
              </c:numCache>
            </c:numRef>
          </c:xVal>
          <c:yVal>
            <c:numRef>
              <c:f>Sheet1!$B$167:$B$168</c:f>
              <c:numCache>
                <c:formatCode>General</c:formatCode>
                <c:ptCount val="2"/>
                <c:pt idx="0">
                  <c:v>0.1884460572198619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4.6715987138253</c:v>
                </c:pt>
              </c:numCache>
            </c:numRef>
          </c:xVal>
          <c:yVal>
            <c:numRef>
              <c:f>Sheet1!$B$171:$B$172</c:f>
              <c:numCache>
                <c:formatCode>General</c:formatCode>
                <c:ptCount val="2"/>
                <c:pt idx="0">
                  <c:v>0.1277514161083562</c:v>
                </c:pt>
                <c:pt idx="1">
                  <c:v>0.127751416108356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4.6715987138253</c:v>
                </c:pt>
                <c:pt idx="1">
                  <c:v>1004.6715987138253</c:v>
                </c:pt>
              </c:numCache>
            </c:numRef>
          </c:xVal>
          <c:yVal>
            <c:numRef>
              <c:f>Sheet1!$B$175:$B$176</c:f>
              <c:numCache>
                <c:formatCode>General</c:formatCode>
                <c:ptCount val="2"/>
                <c:pt idx="0">
                  <c:v>0.12775141610835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17.038786449773</c:v>
                </c:pt>
              </c:numCache>
            </c:numRef>
          </c:xVal>
          <c:yVal>
            <c:numRef>
              <c:f>Sheet1!$B$179:$B$180</c:f>
              <c:numCache>
                <c:formatCode>General</c:formatCode>
                <c:ptCount val="2"/>
                <c:pt idx="0">
                  <c:v>0.10653145439204484</c:v>
                </c:pt>
                <c:pt idx="1">
                  <c:v>0.1065314543920448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17.038786449773</c:v>
                </c:pt>
                <c:pt idx="1">
                  <c:v>1117.038786449773</c:v>
                </c:pt>
              </c:numCache>
            </c:numRef>
          </c:xVal>
          <c:yVal>
            <c:numRef>
              <c:f>Sheet1!$B$183:$B$184</c:f>
              <c:numCache>
                <c:formatCode>General</c:formatCode>
                <c:ptCount val="2"/>
                <c:pt idx="0">
                  <c:v>0.106531454392044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22.4725</c:v>
                </c:pt>
                <c:pt idx="1">
                  <c:v>1120.8545</c:v>
                </c:pt>
                <c:pt idx="2">
                  <c:v>1107.0982</c:v>
                </c:pt>
                <c:pt idx="3">
                  <c:v>1084.6208</c:v>
                </c:pt>
                <c:pt idx="4">
                  <c:v>1104.981</c:v>
                </c:pt>
                <c:pt idx="5">
                  <c:v>1105.4651</c:v>
                </c:pt>
                <c:pt idx="6">
                  <c:v>1022.5377</c:v>
                </c:pt>
                <c:pt idx="7">
                  <c:v>1049.8387</c:v>
                </c:pt>
                <c:pt idx="8">
                  <c:v>1137.5224</c:v>
                </c:pt>
                <c:pt idx="9">
                  <c:v>1059.4881</c:v>
                </c:pt>
                <c:pt idx="10">
                  <c:v>1093.5157</c:v>
                </c:pt>
                <c:pt idx="11">
                  <c:v>991.0831</c:v>
                </c:pt>
                <c:pt idx="12">
                  <c:v>1042.314</c:v>
                </c:pt>
                <c:pt idx="13">
                  <c:v>1079.266</c:v>
                </c:pt>
                <c:pt idx="14">
                  <c:v>1088.6918</c:v>
                </c:pt>
                <c:pt idx="15">
                  <c:v>1116.3163</c:v>
                </c:pt>
                <c:pt idx="16">
                  <c:v>1106.3923</c:v>
                </c:pt>
                <c:pt idx="17">
                  <c:v>1125.3119</c:v>
                </c:pt>
                <c:pt idx="18">
                  <c:v>1046.9477</c:v>
                </c:pt>
                <c:pt idx="19">
                  <c:v>1091.7308</c:v>
                </c:pt>
                <c:pt idx="20">
                  <c:v>1062.1771</c:v>
                </c:pt>
                <c:pt idx="21">
                  <c:v>1042.9622</c:v>
                </c:pt>
                <c:pt idx="22">
                  <c:v>1062.6471</c:v>
                </c:pt>
                <c:pt idx="23">
                  <c:v>1082.1557</c:v>
                </c:pt>
                <c:pt idx="24">
                  <c:v>1150.2198</c:v>
                </c:pt>
                <c:pt idx="25">
                  <c:v>1112.6632</c:v>
                </c:pt>
                <c:pt idx="26">
                  <c:v>1151.9424</c:v>
                </c:pt>
                <c:pt idx="27">
                  <c:v>1146.0196</c:v>
                </c:pt>
                <c:pt idx="28">
                  <c:v>1053.7858</c:v>
                </c:pt>
                <c:pt idx="29">
                  <c:v>1070.4656</c:v>
                </c:pt>
                <c:pt idx="30">
                  <c:v>1071.512</c:v>
                </c:pt>
                <c:pt idx="31">
                  <c:v>1040.693</c:v>
                </c:pt>
                <c:pt idx="32">
                  <c:v>1040.499</c:v>
                </c:pt>
                <c:pt idx="33">
                  <c:v>1063.509</c:v>
                </c:pt>
                <c:pt idx="34">
                  <c:v>1095.2847</c:v>
                </c:pt>
                <c:pt idx="35">
                  <c:v>1123.6471</c:v>
                </c:pt>
                <c:pt idx="36">
                  <c:v>1050.3204</c:v>
                </c:pt>
                <c:pt idx="37">
                  <c:v>1174.5347</c:v>
                </c:pt>
                <c:pt idx="38">
                  <c:v>1134.0788</c:v>
                </c:pt>
                <c:pt idx="39">
                  <c:v>1158.8609</c:v>
                </c:pt>
                <c:pt idx="40">
                  <c:v>1208.3347</c:v>
                </c:pt>
                <c:pt idx="41">
                  <c:v>1226.5792</c:v>
                </c:pt>
                <c:pt idx="42">
                  <c:v>1239.6623</c:v>
                </c:pt>
                <c:pt idx="43">
                  <c:v>1258.8507</c:v>
                </c:pt>
                <c:pt idx="44">
                  <c:v>1144.2352</c:v>
                </c:pt>
                <c:pt idx="45">
                  <c:v>1158.5154</c:v>
                </c:pt>
                <c:pt idx="46">
                  <c:v>1161.039</c:v>
                </c:pt>
                <c:pt idx="47">
                  <c:v>1137.1259</c:v>
                </c:pt>
                <c:pt idx="48">
                  <c:v>1105.6173</c:v>
                </c:pt>
                <c:pt idx="49">
                  <c:v>1108.1945</c:v>
                </c:pt>
                <c:pt idx="50">
                  <c:v>1016.472</c:v>
                </c:pt>
                <c:pt idx="51">
                  <c:v>999.4521</c:v>
                </c:pt>
                <c:pt idx="52">
                  <c:v>1004.6715987138253</c:v>
                </c:pt>
                <c:pt idx="53">
                  <c:v>683.2720493875856</c:v>
                </c:pt>
                <c:pt idx="54">
                  <c:v>1117.038786449773</c:v>
                </c:pt>
              </c:numCache>
            </c:numRef>
          </c:xVal>
          <c:yVal>
            <c:numRef>
              <c:f>Sheet1!$B$187:$B$241</c:f>
              <c:numCache>
                <c:formatCode>General</c:formatCode>
                <c:ptCount val="55"/>
                <c:pt idx="0">
                  <c:v>0.10550532571661536</c:v>
                </c:pt>
                <c:pt idx="1">
                  <c:v>0.1058108766407666</c:v>
                </c:pt>
                <c:pt idx="2">
                  <c:v>0.10840868268396894</c:v>
                </c:pt>
                <c:pt idx="3">
                  <c:v>0.11265342331593217</c:v>
                </c:pt>
                <c:pt idx="4">
                  <c:v>0.10880850494392749</c:v>
                </c:pt>
                <c:pt idx="5">
                  <c:v>0.10871708516495246</c:v>
                </c:pt>
                <c:pt idx="6">
                  <c:v>0.1243774953673365</c:v>
                </c:pt>
                <c:pt idx="7">
                  <c:v>0.11922184284554893</c:v>
                </c:pt>
                <c:pt idx="8">
                  <c:v>0.10266323000995076</c:v>
                </c:pt>
                <c:pt idx="9">
                  <c:v>0.11739960360728888</c:v>
                </c:pt>
                <c:pt idx="10">
                  <c:v>0.11097366749687615</c:v>
                </c:pt>
                <c:pt idx="11">
                  <c:v>0.13031753374731597</c:v>
                </c:pt>
                <c:pt idx="12">
                  <c:v>0.1206428434876754</c:v>
                </c:pt>
                <c:pt idx="13">
                  <c:v>0.11366464957591046</c:v>
                </c:pt>
                <c:pt idx="14">
                  <c:v>0.11188463604014748</c:v>
                </c:pt>
                <c:pt idx="15">
                  <c:v>0.10666789221801201</c:v>
                </c:pt>
                <c:pt idx="16">
                  <c:v>0.108541988244759</c:v>
                </c:pt>
                <c:pt idx="17">
                  <c:v>0.10496911972524645</c:v>
                </c:pt>
                <c:pt idx="18">
                  <c:v>0.11976779322980183</c:v>
                </c:pt>
                <c:pt idx="19">
                  <c:v>0.11131073662204144</c:v>
                </c:pt>
                <c:pt idx="20">
                  <c:v>0.11689179987734907</c:v>
                </c:pt>
                <c:pt idx="21">
                  <c:v>0.12052043427319159</c:v>
                </c:pt>
                <c:pt idx="22">
                  <c:v>0.11680304281038306</c:v>
                </c:pt>
                <c:pt idx="23">
                  <c:v>0.11311894468992792</c:v>
                </c:pt>
                <c:pt idx="24">
                  <c:v>0.10026539175017471</c:v>
                </c:pt>
                <c:pt idx="25">
                  <c:v>0.1073577612421262</c:v>
                </c:pt>
                <c:pt idx="26">
                  <c:v>0.09994008765750301</c:v>
                </c:pt>
                <c:pt idx="27">
                  <c:v>0.10105857777713387</c:v>
                </c:pt>
                <c:pt idx="28">
                  <c:v>0.11847645344337507</c:v>
                </c:pt>
                <c:pt idx="29">
                  <c:v>0.1153265595591616</c:v>
                </c:pt>
                <c:pt idx="30">
                  <c:v>0.11512895233602699</c:v>
                </c:pt>
                <c:pt idx="31">
                  <c:v>0.12094896094629662</c:v>
                </c:pt>
                <c:pt idx="32">
                  <c:v>0.12098559684202304</c:v>
                </c:pt>
                <c:pt idx="33">
                  <c:v>0.11664027745715316</c:v>
                </c:pt>
                <c:pt idx="34">
                  <c:v>0.11063960100440179</c:v>
                </c:pt>
                <c:pt idx="35">
                  <c:v>0.10528350858712962</c:v>
                </c:pt>
                <c:pt idx="36">
                  <c:v>0.11913087629414987</c:v>
                </c:pt>
                <c:pt idx="37">
                  <c:v>0.09567364875533893</c:v>
                </c:pt>
                <c:pt idx="38">
                  <c:v>0.10331353604357693</c:v>
                </c:pt>
                <c:pt idx="39">
                  <c:v>0.09863356474728038</c:v>
                </c:pt>
                <c:pt idx="40">
                  <c:v>0.0892906937267165</c:v>
                </c:pt>
                <c:pt idx="41">
                  <c:v>0.08584531434743542</c:v>
                </c:pt>
                <c:pt idx="42">
                  <c:v>0.0833746386393002</c:v>
                </c:pt>
                <c:pt idx="43">
                  <c:v>0.07975100863127602</c:v>
                </c:pt>
                <c:pt idx="44">
                  <c:v>0.10139555247988755</c:v>
                </c:pt>
                <c:pt idx="45">
                  <c:v>0.09869881063374158</c:v>
                </c:pt>
                <c:pt idx="46">
                  <c:v>0.09822224183758091</c:v>
                </c:pt>
                <c:pt idx="47">
                  <c:v>0.1027381069824019</c:v>
                </c:pt>
                <c:pt idx="48">
                  <c:v>0.10868834298284133</c:v>
                </c:pt>
                <c:pt idx="49">
                  <c:v>0.10820165210415</c:v>
                </c:pt>
                <c:pt idx="50">
                  <c:v>0.12552297141222157</c:v>
                </c:pt>
                <c:pt idx="51">
                  <c:v>0.12873709142085027</c:v>
                </c:pt>
                <c:pt idx="52">
                  <c:v>0.1277514161083562</c:v>
                </c:pt>
                <c:pt idx="53">
                  <c:v>0.18844605721986196</c:v>
                </c:pt>
                <c:pt idx="54">
                  <c:v>0.1065314543920448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11.0"/>
          <c:min val="54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36216124852104"/>
          <c:min val="0.0596594245449207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1193388604232181</c:v>
                </c:pt>
                <c:pt idx="1">
                  <c:v>0.12591501417330075</c:v>
                </c:pt>
                <c:pt idx="2">
                  <c:v>0.12776858325876664</c:v>
                </c:pt>
                <c:pt idx="3">
                  <c:v>0.1234848398392165</c:v>
                </c:pt>
                <c:pt idx="4">
                  <c:v>0.12809100225222678</c:v>
                </c:pt>
                <c:pt idx="5">
                  <c:v>0.13207034567126327</c:v>
                </c:pt>
                <c:pt idx="6">
                  <c:v>0.13693861974737892</c:v>
                </c:pt>
                <c:pt idx="7">
                  <c:v>0.13252884487939195</c:v>
                </c:pt>
                <c:pt idx="8">
                  <c:v>0.13543471312889577</c:v>
                </c:pt>
                <c:pt idx="9">
                  <c:v>0.1300013506935364</c:v>
                </c:pt>
                <c:pt idx="10">
                  <c:v>0.12849354107376945</c:v>
                </c:pt>
                <c:pt idx="11">
                  <c:v>0.1398318933192505</c:v>
                </c:pt>
                <c:pt idx="12">
                  <c:v>0.140031032845313</c:v>
                </c:pt>
                <c:pt idx="13">
                  <c:v>0.1374388244565468</c:v>
                </c:pt>
                <c:pt idx="14">
                  <c:v>0.14272164101551799</c:v>
                </c:pt>
                <c:pt idx="15">
                  <c:v>0.145421649782222</c:v>
                </c:pt>
                <c:pt idx="16">
                  <c:v>0.1366079509440575</c:v>
                </c:pt>
                <c:pt idx="17">
                  <c:v>0.13143357500694172</c:v>
                </c:pt>
                <c:pt idx="18">
                  <c:v>0.13534869803981736</c:v>
                </c:pt>
                <c:pt idx="19">
                  <c:v>0.12899101383035774</c:v>
                </c:pt>
                <c:pt idx="20">
                  <c:v>0.1339374558637509</c:v>
                </c:pt>
                <c:pt idx="21">
                  <c:v>0.13031179834650336</c:v>
                </c:pt>
                <c:pt idx="22">
                  <c:v>0.13146221153607124</c:v>
                </c:pt>
                <c:pt idx="23">
                  <c:v>0.13372120704472074</c:v>
                </c:pt>
                <c:pt idx="24">
                  <c:v>0.12733463149772917</c:v>
                </c:pt>
                <c:pt idx="25">
                  <c:v>0.1287449937224813</c:v>
                </c:pt>
                <c:pt idx="26">
                  <c:v>0.12872403583916786</c:v>
                </c:pt>
                <c:pt idx="27">
                  <c:v>0.12356143824721677</c:v>
                </c:pt>
                <c:pt idx="28">
                  <c:v>0.1289159859221395</c:v>
                </c:pt>
                <c:pt idx="29">
                  <c:v>0.1064967171392644</c:v>
                </c:pt>
                <c:pt idx="30">
                  <c:v>0.11275310696391742</c:v>
                </c:pt>
                <c:pt idx="31">
                  <c:v>0.11555615537559989</c:v>
                </c:pt>
                <c:pt idx="32">
                  <c:v>0.11045086781277434</c:v>
                </c:pt>
                <c:pt idx="33">
                  <c:v>0.10566241495883713</c:v>
                </c:pt>
                <c:pt idx="34">
                  <c:v>0.123543861996024</c:v>
                </c:pt>
                <c:pt idx="35">
                  <c:v>0.1285295888751413</c:v>
                </c:pt>
                <c:pt idx="36">
                  <c:v>0.13320637664506582</c:v>
                </c:pt>
                <c:pt idx="37">
                  <c:v>0.126613525991954</c:v>
                </c:pt>
                <c:pt idx="38">
                  <c:v>0.12587680766360704</c:v>
                </c:pt>
                <c:pt idx="39">
                  <c:v>0.13269019826667103</c:v>
                </c:pt>
                <c:pt idx="40">
                  <c:v>0.14418581157463736</c:v>
                </c:pt>
                <c:pt idx="41">
                  <c:v>0.14452154506864562</c:v>
                </c:pt>
                <c:pt idx="42">
                  <c:v>0.14558368137145655</c:v>
                </c:pt>
                <c:pt idx="43">
                  <c:v>0.15190728148985497</c:v>
                </c:pt>
                <c:pt idx="44">
                  <c:v>0.14646903593235494</c:v>
                </c:pt>
                <c:pt idx="45">
                  <c:v>0.1525231458276938</c:v>
                </c:pt>
                <c:pt idx="46">
                  <c:v>0.14552672880428372</c:v>
                </c:pt>
                <c:pt idx="47">
                  <c:v>0.144243234955825</c:v>
                </c:pt>
                <c:pt idx="48">
                  <c:v>0.15162445889190948</c:v>
                </c:pt>
                <c:pt idx="49">
                  <c:v>0.1572364996324851</c:v>
                </c:pt>
                <c:pt idx="50">
                  <c:v>0.14111894253877558</c:v>
                </c:pt>
                <c:pt idx="51">
                  <c:v>0.13757500575019166</c:v>
                </c:pt>
                <c:pt idx="52">
                  <c:v>0.14048330788893612</c:v>
                </c:pt>
                <c:pt idx="53">
                  <c:v>0.15664437893303115</c:v>
                </c:pt>
                <c:pt idx="54">
                  <c:v>0.14821999927712212</c:v>
                </c:pt>
                <c:pt idx="55">
                  <c:v>0.15595054343757944</c:v>
                </c:pt>
                <c:pt idx="56">
                  <c:v>0.14543737603917392</c:v>
                </c:pt>
                <c:pt idx="57">
                  <c:v>0.1519539647054844</c:v>
                </c:pt>
                <c:pt idx="58">
                  <c:v>0.14387631631147377</c:v>
                </c:pt>
                <c:pt idx="59">
                  <c:v>0.17408986662913511</c:v>
                </c:pt>
                <c:pt idx="60">
                  <c:v>0.16947696155019898</c:v>
                </c:pt>
                <c:pt idx="61">
                  <c:v>0.15113323636806236</c:v>
                </c:pt>
                <c:pt idx="62">
                  <c:v>0.14489664846170114</c:v>
                </c:pt>
                <c:pt idx="63">
                  <c:v>0.15831324560822407</c:v>
                </c:pt>
                <c:pt idx="64">
                  <c:v>0.1633280515367987</c:v>
                </c:pt>
                <c:pt idx="65">
                  <c:v>0.15073013303647317</c:v>
                </c:pt>
                <c:pt idx="66">
                  <c:v>0.15962515484623727</c:v>
                </c:pt>
                <c:pt idx="67">
                  <c:v>0.15690801030840576</c:v>
                </c:pt>
                <c:pt idx="68">
                  <c:v>0.15183558749034667</c:v>
                </c:pt>
                <c:pt idx="69">
                  <c:v>0.1487964934441407</c:v>
                </c:pt>
                <c:pt idx="70">
                  <c:v>0.1453187819998404</c:v>
                </c:pt>
                <c:pt idx="71">
                  <c:v>0.1412344994324181</c:v>
                </c:pt>
                <c:pt idx="72">
                  <c:v>0.15849465055229164</c:v>
                </c:pt>
                <c:pt idx="73">
                  <c:v>0.15813913734776194</c:v>
                </c:pt>
                <c:pt idx="74">
                  <c:v>0.1614486644034009</c:v>
                </c:pt>
                <c:pt idx="75">
                  <c:v>0.14235789280570055</c:v>
                </c:pt>
                <c:pt idx="76">
                  <c:v>0.14621063915897314</c:v>
                </c:pt>
                <c:pt idx="77">
                  <c:v>0.15199816925780937</c:v>
                </c:pt>
                <c:pt idx="78">
                  <c:v>0.14367692643116595</c:v>
                </c:pt>
                <c:pt idx="79">
                  <c:v>0.1495357307816703</c:v>
                </c:pt>
                <c:pt idx="80">
                  <c:v>0.13776416207778744</c:v>
                </c:pt>
                <c:pt idx="81">
                  <c:v>0.148997410246961</c:v>
                </c:pt>
                <c:pt idx="82">
                  <c:v>0.14329482171948524</c:v>
                </c:pt>
                <c:pt idx="83">
                  <c:v>0.15486711828669955</c:v>
                </c:pt>
                <c:pt idx="84">
                  <c:v>0.14247692783989468</c:v>
                </c:pt>
                <c:pt idx="85">
                  <c:v>0.1406921011411297</c:v>
                </c:pt>
                <c:pt idx="86">
                  <c:v>0.14772122715869399</c:v>
                </c:pt>
                <c:pt idx="87">
                  <c:v>0.1483489065915751</c:v>
                </c:pt>
                <c:pt idx="88">
                  <c:v>0.14674859179649916</c:v>
                </c:pt>
                <c:pt idx="89">
                  <c:v>0.14187215472356074</c:v>
                </c:pt>
                <c:pt idx="90">
                  <c:v>0.13762831990416532</c:v>
                </c:pt>
                <c:pt idx="91">
                  <c:v>0.14469189603247326</c:v>
                </c:pt>
                <c:pt idx="92">
                  <c:v>0.14679874228604461</c:v>
                </c:pt>
                <c:pt idx="93">
                  <c:v>0.14481445086437916</c:v>
                </c:pt>
                <c:pt idx="94">
                  <c:v>0.14477127130793022</c:v>
                </c:pt>
                <c:pt idx="95">
                  <c:v>0.14841564959246836</c:v>
                </c:pt>
                <c:pt idx="96">
                  <c:v>0.14087661126256174</c:v>
                </c:pt>
                <c:pt idx="97">
                  <c:v>0.1469357747326199</c:v>
                </c:pt>
                <c:pt idx="98">
                  <c:v>0.15483241648673296</c:v>
                </c:pt>
                <c:pt idx="99">
                  <c:v>0.15424765883989713</c:v>
                </c:pt>
                <c:pt idx="100">
                  <c:v>0.1638763836843184</c:v>
                </c:pt>
                <c:pt idx="101">
                  <c:v>0.15773319762978022</c:v>
                </c:pt>
                <c:pt idx="102">
                  <c:v>0.16049095570821312</c:v>
                </c:pt>
                <c:pt idx="103">
                  <c:v>0.1486925410142173</c:v>
                </c:pt>
                <c:pt idx="104">
                  <c:v>0.15281912630229327</c:v>
                </c:pt>
              </c:numCache>
            </c:numRef>
          </c:xVal>
          <c:yVal>
            <c:numRef>
              <c:f>Sheet1!$B$2:$B$106</c:f>
              <c:numCache>
                <c:formatCode>General</c:formatCode>
                <c:ptCount val="105"/>
                <c:pt idx="0">
                  <c:v>0.23635134373767536</c:v>
                </c:pt>
                <c:pt idx="1">
                  <c:v>0.21945764607212748</c:v>
                </c:pt>
                <c:pt idx="2">
                  <c:v>0.18578087384111047</c:v>
                </c:pt>
                <c:pt idx="3">
                  <c:v>0.18142771706627522</c:v>
                </c:pt>
                <c:pt idx="4">
                  <c:v>0.15468395028731793</c:v>
                </c:pt>
                <c:pt idx="5">
                  <c:v>0.13777340178634223</c:v>
                </c:pt>
                <c:pt idx="6">
                  <c:v>0.1590941665472266</c:v>
                </c:pt>
                <c:pt idx="7">
                  <c:v>0.14277489925158318</c:v>
                </c:pt>
                <c:pt idx="8">
                  <c:v>0.1609057380564371</c:v>
                </c:pt>
                <c:pt idx="9">
                  <c:v>0.18238321192274276</c:v>
                </c:pt>
                <c:pt idx="10">
                  <c:v>0.19110263743247538</c:v>
                </c:pt>
                <c:pt idx="11">
                  <c:v>0.18504011624234</c:v>
                </c:pt>
                <c:pt idx="12">
                  <c:v>0.20558271008774512</c:v>
                </c:pt>
                <c:pt idx="13">
                  <c:v>0.2106632776567417</c:v>
                </c:pt>
                <c:pt idx="14">
                  <c:v>0.20710273600289908</c:v>
                </c:pt>
                <c:pt idx="15">
                  <c:v>0.20608483233399955</c:v>
                </c:pt>
                <c:pt idx="16">
                  <c:v>0.19837412001340932</c:v>
                </c:pt>
                <c:pt idx="17">
                  <c:v>0.18020796616143814</c:v>
                </c:pt>
                <c:pt idx="18">
                  <c:v>0.1958437081018962</c:v>
                </c:pt>
                <c:pt idx="19">
                  <c:v>0.15518220002270405</c:v>
                </c:pt>
                <c:pt idx="20">
                  <c:v>0.1707655325443787</c:v>
                </c:pt>
                <c:pt idx="21">
                  <c:v>0.16146569533543548</c:v>
                </c:pt>
                <c:pt idx="22">
                  <c:v>0.16455967430897794</c:v>
                </c:pt>
                <c:pt idx="23">
                  <c:v>0.16971454058876004</c:v>
                </c:pt>
                <c:pt idx="24">
                  <c:v>0.17272727272727273</c:v>
                </c:pt>
                <c:pt idx="25">
                  <c:v>0.16617698907039605</c:v>
                </c:pt>
                <c:pt idx="26">
                  <c:v>0.15947445916864877</c:v>
                </c:pt>
                <c:pt idx="27">
                  <c:v>0.15248618784530388</c:v>
                </c:pt>
                <c:pt idx="28">
                  <c:v>0.14558342420937842</c:v>
                </c:pt>
                <c:pt idx="29">
                  <c:v>0.16650680989833108</c:v>
                </c:pt>
                <c:pt idx="30">
                  <c:v>0.15067118303851462</c:v>
                </c:pt>
                <c:pt idx="31">
                  <c:v>0.14489393763764924</c:v>
                </c:pt>
                <c:pt idx="32">
                  <c:v>0.15509049773755657</c:v>
                </c:pt>
                <c:pt idx="33">
                  <c:v>0.18335289338268485</c:v>
                </c:pt>
                <c:pt idx="34">
                  <c:v>0.16912774725274726</c:v>
                </c:pt>
                <c:pt idx="35">
                  <c:v>0.18659914296844565</c:v>
                </c:pt>
                <c:pt idx="36">
                  <c:v>0.136864328988434</c:v>
                </c:pt>
                <c:pt idx="37">
                  <c:v>0.12492282362626055</c:v>
                </c:pt>
                <c:pt idx="38">
                  <c:v>0.11882176734897654</c:v>
                </c:pt>
                <c:pt idx="39">
                  <c:v>0.1116196816810569</c:v>
                </c:pt>
                <c:pt idx="40">
                  <c:v>0.11648489182907205</c:v>
                </c:pt>
                <c:pt idx="41">
                  <c:v>0.09429679371985246</c:v>
                </c:pt>
                <c:pt idx="42">
                  <c:v>0.0975178729215198</c:v>
                </c:pt>
                <c:pt idx="43">
                  <c:v>0.10665484895487111</c:v>
                </c:pt>
                <c:pt idx="44">
                  <c:v>0.12773873501446878</c:v>
                </c:pt>
                <c:pt idx="45">
                  <c:v>0.1412270302311796</c:v>
                </c:pt>
                <c:pt idx="46">
                  <c:v>0.152112276722427</c:v>
                </c:pt>
                <c:pt idx="47">
                  <c:v>0.1359693642151887</c:v>
                </c:pt>
                <c:pt idx="48">
                  <c:v>0.16153846153846155</c:v>
                </c:pt>
                <c:pt idx="49">
                  <c:v>0.1857824265756277</c:v>
                </c:pt>
                <c:pt idx="50">
                  <c:v>0.14806956040407768</c:v>
                </c:pt>
                <c:pt idx="51">
                  <c:v>0.13584765542117547</c:v>
                </c:pt>
                <c:pt idx="52">
                  <c:v>0.15649083944805944</c:v>
                </c:pt>
                <c:pt idx="53">
                  <c:v>0.12756541461525694</c:v>
                </c:pt>
                <c:pt idx="54">
                  <c:v>0.12169249106078665</c:v>
                </c:pt>
                <c:pt idx="55">
                  <c:v>0.11088585821353975</c:v>
                </c:pt>
                <c:pt idx="56">
                  <c:v>0.12443592755146195</c:v>
                </c:pt>
                <c:pt idx="57">
                  <c:v>0.11284731480987681</c:v>
                </c:pt>
                <c:pt idx="58">
                  <c:v>0.1311823501993889</c:v>
                </c:pt>
                <c:pt idx="59">
                  <c:v>0.13709791196388263</c:v>
                </c:pt>
                <c:pt idx="60">
                  <c:v>0.14013806312597263</c:v>
                </c:pt>
                <c:pt idx="61">
                  <c:v>0.14212623869021973</c:v>
                </c:pt>
                <c:pt idx="62">
                  <c:v>0.16245449269244974</c:v>
                </c:pt>
                <c:pt idx="63">
                  <c:v>0.1760629147210617</c:v>
                </c:pt>
                <c:pt idx="64">
                  <c:v>0.17372755233654133</c:v>
                </c:pt>
                <c:pt idx="65">
                  <c:v>0.17802385008517888</c:v>
                </c:pt>
                <c:pt idx="66">
                  <c:v>0.16888577435178698</c:v>
                </c:pt>
                <c:pt idx="67">
                  <c:v>0.15208066402985906</c:v>
                </c:pt>
                <c:pt idx="68">
                  <c:v>0.13316892725030827</c:v>
                </c:pt>
                <c:pt idx="69">
                  <c:v>0.1154766817994222</c:v>
                </c:pt>
                <c:pt idx="70">
                  <c:v>0.10393724543671745</c:v>
                </c:pt>
                <c:pt idx="71">
                  <c:v>0.11537550343520493</c:v>
                </c:pt>
                <c:pt idx="72">
                  <c:v>0.11418204277001467</c:v>
                </c:pt>
                <c:pt idx="73">
                  <c:v>0.10666134822497009</c:v>
                </c:pt>
                <c:pt idx="74">
                  <c:v>0.11383601756954612</c:v>
                </c:pt>
                <c:pt idx="75">
                  <c:v>0.09701026327532351</c:v>
                </c:pt>
                <c:pt idx="76">
                  <c:v>0.09567751335599806</c:v>
                </c:pt>
                <c:pt idx="77">
                  <c:v>0.1223931301311692</c:v>
                </c:pt>
                <c:pt idx="78">
                  <c:v>0.09943419949706622</c:v>
                </c:pt>
                <c:pt idx="79">
                  <c:v>0.0840035746201966</c:v>
                </c:pt>
                <c:pt idx="80">
                  <c:v>0.09843137254901961</c:v>
                </c:pt>
                <c:pt idx="81">
                  <c:v>0.11235154394299288</c:v>
                </c:pt>
                <c:pt idx="82">
                  <c:v>0.08949054459026558</c:v>
                </c:pt>
                <c:pt idx="83">
                  <c:v>0.0745742806811509</c:v>
                </c:pt>
                <c:pt idx="84">
                  <c:v>0.07993634471783571</c:v>
                </c:pt>
                <c:pt idx="85">
                  <c:v>0.0890374043332974</c:v>
                </c:pt>
                <c:pt idx="86">
                  <c:v>0.10630601003042013</c:v>
                </c:pt>
                <c:pt idx="87">
                  <c:v>0.11717550741940985</c:v>
                </c:pt>
                <c:pt idx="88">
                  <c:v>0.10587882423515296</c:v>
                </c:pt>
                <c:pt idx="89">
                  <c:v>0.0805587648356265</c:v>
                </c:pt>
                <c:pt idx="90">
                  <c:v>0.07979240999026922</c:v>
                </c:pt>
                <c:pt idx="91">
                  <c:v>0.08047288188323136</c:v>
                </c:pt>
                <c:pt idx="92">
                  <c:v>0.09758594216497483</c:v>
                </c:pt>
                <c:pt idx="93">
                  <c:v>0.08251538845450009</c:v>
                </c:pt>
                <c:pt idx="94">
                  <c:v>0.08878687243602267</c:v>
                </c:pt>
                <c:pt idx="95">
                  <c:v>0.09799667317567079</c:v>
                </c:pt>
                <c:pt idx="96">
                  <c:v>0.09893778452200304</c:v>
                </c:pt>
                <c:pt idx="97">
                  <c:v>0.10909510618651892</c:v>
                </c:pt>
                <c:pt idx="98">
                  <c:v>0.12865093228256896</c:v>
                </c:pt>
                <c:pt idx="99">
                  <c:v>0.1371533933763563</c:v>
                </c:pt>
                <c:pt idx="100">
                  <c:v>0.1578260756124925</c:v>
                </c:pt>
                <c:pt idx="101">
                  <c:v>0.12386134124726927</c:v>
                </c:pt>
                <c:pt idx="102">
                  <c:v>0.09918205669015896</c:v>
                </c:pt>
                <c:pt idx="103">
                  <c:v>0.1105966075258335</c:v>
                </c:pt>
                <c:pt idx="104">
                  <c:v>0.1090259159964253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568464568872743</c:v>
                </c:pt>
                <c:pt idx="1">
                  <c:v>0.15820794067569743</c:v>
                </c:pt>
                <c:pt idx="2">
                  <c:v>0.16004425792549604</c:v>
                </c:pt>
                <c:pt idx="3">
                  <c:v>0.15474652389131505</c:v>
                </c:pt>
                <c:pt idx="4">
                  <c:v>0.15453127975958267</c:v>
                </c:pt>
                <c:pt idx="5">
                  <c:v>0.15394271292609968</c:v>
                </c:pt>
                <c:pt idx="6">
                  <c:v>0.1430149940203055</c:v>
                </c:pt>
                <c:pt idx="7">
                  <c:v>0.13908754488332573</c:v>
                </c:pt>
                <c:pt idx="8">
                  <c:v>0.15576456671957217</c:v>
                </c:pt>
                <c:pt idx="9">
                  <c:v>0.1460945308005272</c:v>
                </c:pt>
                <c:pt idx="10">
                  <c:v>0.15860148710509375</c:v>
                </c:pt>
                <c:pt idx="11">
                  <c:v>0.14621317571802536</c:v>
                </c:pt>
                <c:pt idx="12">
                  <c:v>0.15938912838225022</c:v>
                </c:pt>
                <c:pt idx="13">
                  <c:v>0.16063024883277083</c:v>
                </c:pt>
                <c:pt idx="14">
                  <c:v>0.1620087184769798</c:v>
                </c:pt>
                <c:pt idx="15">
                  <c:v>0.1669580200859695</c:v>
                </c:pt>
                <c:pt idx="16">
                  <c:v>0.1829167465265953</c:v>
                </c:pt>
                <c:pt idx="17">
                  <c:v>0.16795310198397634</c:v>
                </c:pt>
                <c:pt idx="18">
                  <c:v>0.13006609774959252</c:v>
                </c:pt>
                <c:pt idx="19">
                  <c:v>0.13584575226535098</c:v>
                </c:pt>
                <c:pt idx="20">
                  <c:v>0.12851841880944273</c:v>
                </c:pt>
                <c:pt idx="21">
                  <c:v>0.11712609141356808</c:v>
                </c:pt>
                <c:pt idx="22">
                  <c:v>0.12454103459267497</c:v>
                </c:pt>
                <c:pt idx="23">
                  <c:v>0.1289455842134212</c:v>
                </c:pt>
                <c:pt idx="24">
                  <c:v>0.1302768610870938</c:v>
                </c:pt>
                <c:pt idx="25">
                  <c:v>0.12188497163804918</c:v>
                </c:pt>
                <c:pt idx="26">
                  <c:v>0.12935580574628566</c:v>
                </c:pt>
                <c:pt idx="27">
                  <c:v>0.1279019119379371</c:v>
                </c:pt>
                <c:pt idx="28">
                  <c:v>0.12699339413351549</c:v>
                </c:pt>
                <c:pt idx="29">
                  <c:v>0.13142569205493207</c:v>
                </c:pt>
                <c:pt idx="30">
                  <c:v>0.12790052675686656</c:v>
                </c:pt>
                <c:pt idx="31">
                  <c:v>0.12206217950472024</c:v>
                </c:pt>
                <c:pt idx="32">
                  <c:v>0.12701998284441193</c:v>
                </c:pt>
                <c:pt idx="33">
                  <c:v>0.1329833755681709</c:v>
                </c:pt>
                <c:pt idx="34">
                  <c:v>0.14541208312828255</c:v>
                </c:pt>
                <c:pt idx="35">
                  <c:v>0.1417593308795968</c:v>
                </c:pt>
                <c:pt idx="36">
                  <c:v>0.12036216860981004</c:v>
                </c:pt>
                <c:pt idx="37">
                  <c:v>0.13862732925244</c:v>
                </c:pt>
                <c:pt idx="38">
                  <c:v>0.1339873098023385</c:v>
                </c:pt>
                <c:pt idx="39">
                  <c:v>0.1460428524778545</c:v>
                </c:pt>
                <c:pt idx="40">
                  <c:v>0.154772742806265</c:v>
                </c:pt>
                <c:pt idx="41">
                  <c:v>0.14378070278798627</c:v>
                </c:pt>
                <c:pt idx="42">
                  <c:v>0.14070214514587806</c:v>
                </c:pt>
                <c:pt idx="43">
                  <c:v>0.15926979889126217</c:v>
                </c:pt>
                <c:pt idx="44">
                  <c:v>0.1491608234540032</c:v>
                </c:pt>
                <c:pt idx="45">
                  <c:v>0.16987397966994006</c:v>
                </c:pt>
                <c:pt idx="46">
                  <c:v>0.159662885822511</c:v>
                </c:pt>
                <c:pt idx="47">
                  <c:v>0.16124939555897147</c:v>
                </c:pt>
                <c:pt idx="48">
                  <c:v>0.1624237934206171</c:v>
                </c:pt>
                <c:pt idx="49">
                  <c:v>0.17370606871856842</c:v>
                </c:pt>
                <c:pt idx="50">
                  <c:v>0.1684490051126054</c:v>
                </c:pt>
                <c:pt idx="51">
                  <c:v>0.1517872864165479</c:v>
                </c:pt>
              </c:numCache>
            </c:numRef>
          </c:xVal>
          <c:yVal>
            <c:numRef>
              <c:f>Sheet1!$B$109:$B$160</c:f>
              <c:numCache>
                <c:formatCode>General</c:formatCode>
                <c:ptCount val="52"/>
                <c:pt idx="0">
                  <c:v>0.11624307185299845</c:v>
                </c:pt>
                <c:pt idx="1">
                  <c:v>0.10748753844522219</c:v>
                </c:pt>
                <c:pt idx="2">
                  <c:v>0.11681493364445093</c:v>
                </c:pt>
                <c:pt idx="3">
                  <c:v>0.1243809798548007</c:v>
                </c:pt>
                <c:pt idx="4">
                  <c:v>0.10621761658031088</c:v>
                </c:pt>
                <c:pt idx="5">
                  <c:v>0.11165599834813132</c:v>
                </c:pt>
                <c:pt idx="6">
                  <c:v>0.1273695829534002</c:v>
                </c:pt>
                <c:pt idx="7">
                  <c:v>0.12024048096192384</c:v>
                </c:pt>
                <c:pt idx="8">
                  <c:v>0.11791449732345824</c:v>
                </c:pt>
                <c:pt idx="9">
                  <c:v>0.1337433263499358</c:v>
                </c:pt>
                <c:pt idx="10">
                  <c:v>0.13303666312433582</c:v>
                </c:pt>
                <c:pt idx="11">
                  <c:v>0.17040202753068628</c:v>
                </c:pt>
                <c:pt idx="12">
                  <c:v>0.1453805127028732</c:v>
                </c:pt>
                <c:pt idx="13">
                  <c:v>0.1316943674976916</c:v>
                </c:pt>
                <c:pt idx="14">
                  <c:v>0.14084331337325348</c:v>
                </c:pt>
                <c:pt idx="15">
                  <c:v>0.1211899374417676</c:v>
                </c:pt>
                <c:pt idx="16">
                  <c:v>0.1354870846082687</c:v>
                </c:pt>
                <c:pt idx="17">
                  <c:v>0.09705702958218969</c:v>
                </c:pt>
                <c:pt idx="18">
                  <c:v>0.10273850008949346</c:v>
                </c:pt>
                <c:pt idx="19">
                  <c:v>0.11036128713686116</c:v>
                </c:pt>
                <c:pt idx="20">
                  <c:v>0.10268398268398268</c:v>
                </c:pt>
                <c:pt idx="21">
                  <c:v>0.09779512606815065</c:v>
                </c:pt>
                <c:pt idx="22">
                  <c:v>0.09554612937433722</c:v>
                </c:pt>
                <c:pt idx="23">
                  <c:v>0.08656417112299465</c:v>
                </c:pt>
                <c:pt idx="24">
                  <c:v>0.07780006333790773</c:v>
                </c:pt>
                <c:pt idx="25">
                  <c:v>0.08596312634317385</c:v>
                </c:pt>
                <c:pt idx="26">
                  <c:v>0.07650977863743821</c:v>
                </c:pt>
                <c:pt idx="27">
                  <c:v>0.07504587155963302</c:v>
                </c:pt>
                <c:pt idx="28">
                  <c:v>0.09193848233902316</c:v>
                </c:pt>
                <c:pt idx="29">
                  <c:v>0.08160251993306428</c:v>
                </c:pt>
                <c:pt idx="30">
                  <c:v>0.09749894022891055</c:v>
                </c:pt>
                <c:pt idx="31">
                  <c:v>0.09492374231732302</c:v>
                </c:pt>
                <c:pt idx="32">
                  <c:v>0.1023597916028195</c:v>
                </c:pt>
                <c:pt idx="33">
                  <c:v>0.1167743061616338</c:v>
                </c:pt>
                <c:pt idx="34">
                  <c:v>0.13332354452683357</c:v>
                </c:pt>
                <c:pt idx="35">
                  <c:v>0.11782605020708309</c:v>
                </c:pt>
                <c:pt idx="36">
                  <c:v>0.10415467832892163</c:v>
                </c:pt>
                <c:pt idx="37">
                  <c:v>0.089607965152458</c:v>
                </c:pt>
                <c:pt idx="38">
                  <c:v>0.09582500555185432</c:v>
                </c:pt>
                <c:pt idx="39">
                  <c:v>0.10771300448430493</c:v>
                </c:pt>
                <c:pt idx="40">
                  <c:v>0.08609849807893817</c:v>
                </c:pt>
                <c:pt idx="41">
                  <c:v>0.09290912167879506</c:v>
                </c:pt>
                <c:pt idx="42">
                  <c:v>0.08423385979495705</c:v>
                </c:pt>
                <c:pt idx="43">
                  <c:v>0.0890147542129921</c:v>
                </c:pt>
                <c:pt idx="44">
                  <c:v>0.09844031193761248</c:v>
                </c:pt>
                <c:pt idx="45">
                  <c:v>0.11124316615165201</c:v>
                </c:pt>
                <c:pt idx="46">
                  <c:v>0.09837434584122036</c:v>
                </c:pt>
                <c:pt idx="47">
                  <c:v>0.10587618048268625</c:v>
                </c:pt>
                <c:pt idx="48">
                  <c:v>0.10563978711033588</c:v>
                </c:pt>
                <c:pt idx="49">
                  <c:v>0.11959436808581965</c:v>
                </c:pt>
                <c:pt idx="50">
                  <c:v>0.15688385269121813</c:v>
                </c:pt>
                <c:pt idx="51">
                  <c:v>0.128887656546051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648604483970653</c:v>
                </c:pt>
              </c:numCache>
            </c:numRef>
          </c:xVal>
          <c:yVal>
            <c:numRef>
              <c:f>Sheet1!$B$163:$B$164</c:f>
              <c:numCache>
                <c:formatCode>General</c:formatCode>
                <c:ptCount val="2"/>
                <c:pt idx="0">
                  <c:v>0.18844605721986196</c:v>
                </c:pt>
                <c:pt idx="1">
                  <c:v>0.1884460572198619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648604483970653</c:v>
                </c:pt>
                <c:pt idx="1">
                  <c:v>0.2648604483970653</c:v>
                </c:pt>
              </c:numCache>
            </c:numRef>
          </c:xVal>
          <c:yVal>
            <c:numRef>
              <c:f>Sheet1!$B$167:$B$168</c:f>
              <c:numCache>
                <c:formatCode>General</c:formatCode>
                <c:ptCount val="2"/>
                <c:pt idx="0">
                  <c:v>0.1884460572198619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7379656107089225</c:v>
                </c:pt>
              </c:numCache>
            </c:numRef>
          </c:xVal>
          <c:yVal>
            <c:numRef>
              <c:f>Sheet1!$B$171:$B$172</c:f>
              <c:numCache>
                <c:formatCode>General</c:formatCode>
                <c:ptCount val="2"/>
                <c:pt idx="0">
                  <c:v>0.1277514161083562</c:v>
                </c:pt>
                <c:pt idx="1">
                  <c:v>0.127751416108356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7379656107089225</c:v>
                </c:pt>
                <c:pt idx="1">
                  <c:v>0.17379656107089225</c:v>
                </c:pt>
              </c:numCache>
            </c:numRef>
          </c:xVal>
          <c:yVal>
            <c:numRef>
              <c:f>Sheet1!$B$175:$B$176</c:f>
              <c:numCache>
                <c:formatCode>General</c:formatCode>
                <c:ptCount val="2"/>
                <c:pt idx="0">
                  <c:v>0.12775141610835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419589528832138</c:v>
                </c:pt>
              </c:numCache>
            </c:numRef>
          </c:xVal>
          <c:yVal>
            <c:numRef>
              <c:f>Sheet1!$B$179:$B$180</c:f>
              <c:numCache>
                <c:formatCode>General</c:formatCode>
                <c:ptCount val="2"/>
                <c:pt idx="0">
                  <c:v>0.10653145439204484</c:v>
                </c:pt>
                <c:pt idx="1">
                  <c:v>0.1065314543920448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419589528832138</c:v>
                </c:pt>
                <c:pt idx="1">
                  <c:v>0.1419589528832138</c:v>
                </c:pt>
              </c:numCache>
            </c:numRef>
          </c:xVal>
          <c:yVal>
            <c:numRef>
              <c:f>Sheet1!$B$183:$B$184</c:f>
              <c:numCache>
                <c:formatCode>General</c:formatCode>
                <c:ptCount val="2"/>
                <c:pt idx="0">
                  <c:v>0.106531454392044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568464568872743</c:v>
                </c:pt>
                <c:pt idx="1">
                  <c:v>0.15820794067569743</c:v>
                </c:pt>
                <c:pt idx="2">
                  <c:v>0.16004425792549604</c:v>
                </c:pt>
                <c:pt idx="3">
                  <c:v>0.15474652389131505</c:v>
                </c:pt>
                <c:pt idx="4">
                  <c:v>0.15453127975958267</c:v>
                </c:pt>
                <c:pt idx="5">
                  <c:v>0.15394271292609968</c:v>
                </c:pt>
                <c:pt idx="6">
                  <c:v>0.1430149940203055</c:v>
                </c:pt>
                <c:pt idx="7">
                  <c:v>0.13908754488332573</c:v>
                </c:pt>
                <c:pt idx="8">
                  <c:v>0.15576456671957217</c:v>
                </c:pt>
                <c:pt idx="9">
                  <c:v>0.1460945308005272</c:v>
                </c:pt>
                <c:pt idx="10">
                  <c:v>0.15860148710509375</c:v>
                </c:pt>
                <c:pt idx="11">
                  <c:v>0.14621317571802536</c:v>
                </c:pt>
                <c:pt idx="12">
                  <c:v>0.15938912838225022</c:v>
                </c:pt>
                <c:pt idx="13">
                  <c:v>0.16063024883277083</c:v>
                </c:pt>
                <c:pt idx="14">
                  <c:v>0.1620087184769798</c:v>
                </c:pt>
                <c:pt idx="15">
                  <c:v>0.1669580200859695</c:v>
                </c:pt>
                <c:pt idx="16">
                  <c:v>0.1829167465265953</c:v>
                </c:pt>
                <c:pt idx="17">
                  <c:v>0.16795310198397634</c:v>
                </c:pt>
                <c:pt idx="18">
                  <c:v>0.13006609774959252</c:v>
                </c:pt>
                <c:pt idx="19">
                  <c:v>0.13584575226535098</c:v>
                </c:pt>
                <c:pt idx="20">
                  <c:v>0.12851841880944273</c:v>
                </c:pt>
                <c:pt idx="21">
                  <c:v>0.11712609141356808</c:v>
                </c:pt>
                <c:pt idx="22">
                  <c:v>0.12454103459267497</c:v>
                </c:pt>
                <c:pt idx="23">
                  <c:v>0.1289455842134212</c:v>
                </c:pt>
                <c:pt idx="24">
                  <c:v>0.1302768610870938</c:v>
                </c:pt>
                <c:pt idx="25">
                  <c:v>0.12188497163804918</c:v>
                </c:pt>
                <c:pt idx="26">
                  <c:v>0.12935580574628566</c:v>
                </c:pt>
                <c:pt idx="27">
                  <c:v>0.1279019119379371</c:v>
                </c:pt>
                <c:pt idx="28">
                  <c:v>0.12699339413351549</c:v>
                </c:pt>
                <c:pt idx="29">
                  <c:v>0.13142569205493207</c:v>
                </c:pt>
                <c:pt idx="30">
                  <c:v>0.12790052675686656</c:v>
                </c:pt>
                <c:pt idx="31">
                  <c:v>0.12206217950472024</c:v>
                </c:pt>
                <c:pt idx="32">
                  <c:v>0.12701998284441193</c:v>
                </c:pt>
                <c:pt idx="33">
                  <c:v>0.1329833755681709</c:v>
                </c:pt>
                <c:pt idx="34">
                  <c:v>0.14541208312828255</c:v>
                </c:pt>
                <c:pt idx="35">
                  <c:v>0.1417593308795968</c:v>
                </c:pt>
                <c:pt idx="36">
                  <c:v>0.12036216860981004</c:v>
                </c:pt>
                <c:pt idx="37">
                  <c:v>0.13862732925244</c:v>
                </c:pt>
                <c:pt idx="38">
                  <c:v>0.1339873098023385</c:v>
                </c:pt>
                <c:pt idx="39">
                  <c:v>0.1460428524778545</c:v>
                </c:pt>
                <c:pt idx="40">
                  <c:v>0.154772742806265</c:v>
                </c:pt>
                <c:pt idx="41">
                  <c:v>0.14378070278798627</c:v>
                </c:pt>
                <c:pt idx="42">
                  <c:v>0.14070214514587806</c:v>
                </c:pt>
                <c:pt idx="43">
                  <c:v>0.15926979889126217</c:v>
                </c:pt>
                <c:pt idx="44">
                  <c:v>0.1491608234540032</c:v>
                </c:pt>
                <c:pt idx="45">
                  <c:v>0.16987397966994006</c:v>
                </c:pt>
                <c:pt idx="46">
                  <c:v>0.159662885822511</c:v>
                </c:pt>
                <c:pt idx="47">
                  <c:v>0.16124939555897147</c:v>
                </c:pt>
                <c:pt idx="48">
                  <c:v>0.1624237934206171</c:v>
                </c:pt>
                <c:pt idx="49">
                  <c:v>0.17370606871856842</c:v>
                </c:pt>
                <c:pt idx="50">
                  <c:v>0.1684490051126054</c:v>
                </c:pt>
                <c:pt idx="51">
                  <c:v>0.1517872864165479</c:v>
                </c:pt>
                <c:pt idx="52">
                  <c:v>0.17379656107089225</c:v>
                </c:pt>
                <c:pt idx="53">
                  <c:v>0.2648604483970653</c:v>
                </c:pt>
                <c:pt idx="54">
                  <c:v>0.1419589528832138</c:v>
                </c:pt>
              </c:numCache>
            </c:numRef>
          </c:xVal>
          <c:yVal>
            <c:numRef>
              <c:f>Sheet1!$B$187:$B$241</c:f>
              <c:numCache>
                <c:formatCode>General</c:formatCode>
                <c:ptCount val="55"/>
                <c:pt idx="0">
                  <c:v>0.11645406739599085</c:v>
                </c:pt>
                <c:pt idx="1">
                  <c:v>0.11736150471657758</c:v>
                </c:pt>
                <c:pt idx="2">
                  <c:v>0.1185854214602609</c:v>
                </c:pt>
                <c:pt idx="3">
                  <c:v>0.11505444913577492</c:v>
                </c:pt>
                <c:pt idx="4">
                  <c:v>0.11491098759783222</c:v>
                </c:pt>
                <c:pt idx="5">
                  <c:v>0.1145187041825588</c:v>
                </c:pt>
                <c:pt idx="6">
                  <c:v>0.10723531230649108</c:v>
                </c:pt>
                <c:pt idx="7">
                  <c:v>0.10461764329573528</c:v>
                </c:pt>
                <c:pt idx="8">
                  <c:v>0.11573298094362418</c:v>
                </c:pt>
                <c:pt idx="9">
                  <c:v>0.10928784251526372</c:v>
                </c:pt>
                <c:pt idx="10">
                  <c:v>0.11762380583279688</c:v>
                </c:pt>
                <c:pt idx="11">
                  <c:v>0.10936692008265839</c:v>
                </c:pt>
                <c:pt idx="12">
                  <c:v>0.11814877358944875</c:v>
                </c:pt>
                <c:pt idx="13">
                  <c:v>0.11897598800486991</c:v>
                </c:pt>
                <c:pt idx="14">
                  <c:v>0.11989474650283184</c:v>
                </c:pt>
                <c:pt idx="15">
                  <c:v>0.12319348647243436</c:v>
                </c:pt>
                <c:pt idx="16">
                  <c:v>0.13383007582031836</c:v>
                </c:pt>
                <c:pt idx="17">
                  <c:v>0.12385671467902029</c:v>
                </c:pt>
                <c:pt idx="18">
                  <c:v>0.09860479328278636</c:v>
                </c:pt>
                <c:pt idx="19">
                  <c:v>0.10245696857293159</c:v>
                </c:pt>
                <c:pt idx="20">
                  <c:v>0.0975732557481348</c:v>
                </c:pt>
                <c:pt idx="21">
                  <c:v>0.08998019945524081</c:v>
                </c:pt>
                <c:pt idx="22">
                  <c:v>0.09492230469950871</c:v>
                </c:pt>
                <c:pt idx="23">
                  <c:v>0.09785796411773098</c:v>
                </c:pt>
                <c:pt idx="24">
                  <c:v>0.09874526834380899</c:v>
                </c:pt>
                <c:pt idx="25">
                  <c:v>0.09315202240063035</c:v>
                </c:pt>
                <c:pt idx="26">
                  <c:v>0.09813137929299404</c:v>
                </c:pt>
                <c:pt idx="27">
                  <c:v>0.09716235012563722</c:v>
                </c:pt>
                <c:pt idx="28">
                  <c:v>0.09655681741995252</c:v>
                </c:pt>
                <c:pt idx="29">
                  <c:v>0.09951097125127413</c:v>
                </c:pt>
                <c:pt idx="30">
                  <c:v>0.09716142689393231</c:v>
                </c:pt>
                <c:pt idx="31">
                  <c:v>0.09327013253391744</c:v>
                </c:pt>
                <c:pt idx="32">
                  <c:v>0.09657453895933396</c:v>
                </c:pt>
                <c:pt idx="33">
                  <c:v>0.10054917689543584</c:v>
                </c:pt>
                <c:pt idx="34">
                  <c:v>0.10883298694341766</c:v>
                </c:pt>
                <c:pt idx="35">
                  <c:v>0.10639840509859555</c:v>
                </c:pt>
                <c:pt idx="36">
                  <c:v>0.09213706481429937</c:v>
                </c:pt>
                <c:pt idx="37">
                  <c:v>0.10431090674658638</c:v>
                </c:pt>
                <c:pt idx="38">
                  <c:v>0.10121830523853091</c:v>
                </c:pt>
                <c:pt idx="39">
                  <c:v>0.10925339859528665</c:v>
                </c:pt>
                <c:pt idx="40">
                  <c:v>0.1150719242038831</c:v>
                </c:pt>
                <c:pt idx="41">
                  <c:v>0.10774566191065256</c:v>
                </c:pt>
                <c:pt idx="42">
                  <c:v>0.10569378430345604</c:v>
                </c:pt>
                <c:pt idx="43">
                  <c:v>0.11806923974961171</c:v>
                </c:pt>
                <c:pt idx="44">
                  <c:v>0.11133154543208487</c:v>
                </c:pt>
                <c:pt idx="45">
                  <c:v>0.1251369914736082</c:v>
                </c:pt>
                <c:pt idx="46">
                  <c:v>0.11833123460748897</c:v>
                </c:pt>
                <c:pt idx="47">
                  <c:v>0.11938865310676164</c:v>
                </c:pt>
                <c:pt idx="48">
                  <c:v>0.1201713965062323</c:v>
                </c:pt>
                <c:pt idx="49">
                  <c:v>0.1276911023988397</c:v>
                </c:pt>
                <c:pt idx="50">
                  <c:v>0.12418723716495819</c:v>
                </c:pt>
                <c:pt idx="51">
                  <c:v>0.11308209915414738</c:v>
                </c:pt>
                <c:pt idx="52">
                  <c:v>0.1277514161083562</c:v>
                </c:pt>
                <c:pt idx="53">
                  <c:v>0.18844605721986196</c:v>
                </c:pt>
                <c:pt idx="54">
                  <c:v>0.1065314543920448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ve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36216124852104"/>
          <c:min val="0.0596594245449207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73.651</c:v>
                </c:pt>
                <c:pt idx="1">
                  <c:v>856.5735</c:v>
                </c:pt>
                <c:pt idx="2">
                  <c:v>882.0284</c:v>
                </c:pt>
                <c:pt idx="3">
                  <c:v>895.9284</c:v>
                </c:pt>
                <c:pt idx="4">
                  <c:v>877.5227</c:v>
                </c:pt>
                <c:pt idx="5">
                  <c:v>886.8877</c:v>
                </c:pt>
                <c:pt idx="6">
                  <c:v>860.8297</c:v>
                </c:pt>
                <c:pt idx="7">
                  <c:v>863.7062</c:v>
                </c:pt>
                <c:pt idx="8">
                  <c:v>856.7878</c:v>
                </c:pt>
                <c:pt idx="9">
                  <c:v>828.694</c:v>
                </c:pt>
                <c:pt idx="10">
                  <c:v>816.9947</c:v>
                </c:pt>
                <c:pt idx="11">
                  <c:v>849.4138</c:v>
                </c:pt>
                <c:pt idx="12">
                  <c:v>853.204</c:v>
                </c:pt>
                <c:pt idx="13">
                  <c:v>853.1494</c:v>
                </c:pt>
                <c:pt idx="14">
                  <c:v>893.0627</c:v>
                </c:pt>
                <c:pt idx="15">
                  <c:v>903.8387</c:v>
                </c:pt>
                <c:pt idx="16">
                  <c:v>911.4871</c:v>
                </c:pt>
                <c:pt idx="17">
                  <c:v>906.6934</c:v>
                </c:pt>
                <c:pt idx="18">
                  <c:v>1003.7125</c:v>
                </c:pt>
                <c:pt idx="19">
                  <c:v>963.9334</c:v>
                </c:pt>
                <c:pt idx="20">
                  <c:v>970.3249</c:v>
                </c:pt>
                <c:pt idx="21">
                  <c:v>965.0296</c:v>
                </c:pt>
                <c:pt idx="22">
                  <c:v>942.8939</c:v>
                </c:pt>
                <c:pt idx="23">
                  <c:v>931.044</c:v>
                </c:pt>
                <c:pt idx="24">
                  <c:v>925.0569</c:v>
                </c:pt>
                <c:pt idx="25">
                  <c:v>910.7284</c:v>
                </c:pt>
                <c:pt idx="26">
                  <c:v>923.2443</c:v>
                </c:pt>
                <c:pt idx="27">
                  <c:v>960.6833</c:v>
                </c:pt>
                <c:pt idx="28">
                  <c:v>949.4457</c:v>
                </c:pt>
                <c:pt idx="29">
                  <c:v>788.659</c:v>
                </c:pt>
                <c:pt idx="30">
                  <c:v>851.8901</c:v>
                </c:pt>
                <c:pt idx="31">
                  <c:v>879.004</c:v>
                </c:pt>
                <c:pt idx="32">
                  <c:v>862.7272</c:v>
                </c:pt>
                <c:pt idx="33">
                  <c:v>780.4471</c:v>
                </c:pt>
                <c:pt idx="34">
                  <c:v>900.8122</c:v>
                </c:pt>
                <c:pt idx="35">
                  <c:v>939.0171</c:v>
                </c:pt>
                <c:pt idx="36">
                  <c:v>1024.5701</c:v>
                </c:pt>
                <c:pt idx="37">
                  <c:v>1029.4942</c:v>
                </c:pt>
                <c:pt idx="38">
                  <c:v>1057.9345</c:v>
                </c:pt>
                <c:pt idx="39">
                  <c:v>1080.9236</c:v>
                </c:pt>
                <c:pt idx="40">
                  <c:v>1103.2709</c:v>
                </c:pt>
                <c:pt idx="41">
                  <c:v>1123.1143</c:v>
                </c:pt>
                <c:pt idx="42">
                  <c:v>1132.5107</c:v>
                </c:pt>
                <c:pt idx="43">
                  <c:v>1130.6697</c:v>
                </c:pt>
                <c:pt idx="44">
                  <c:v>1049.4159</c:v>
                </c:pt>
                <c:pt idx="45">
                  <c:v>1023.8339</c:v>
                </c:pt>
                <c:pt idx="46">
                  <c:v>997.9916</c:v>
                </c:pt>
                <c:pt idx="47">
                  <c:v>993.6423</c:v>
                </c:pt>
                <c:pt idx="48">
                  <c:v>974.1957</c:v>
                </c:pt>
                <c:pt idx="49">
                  <c:v>936.2145</c:v>
                </c:pt>
                <c:pt idx="50">
                  <c:v>935.2396</c:v>
                </c:pt>
                <c:pt idx="51">
                  <c:v>924.8321</c:v>
                </c:pt>
                <c:pt idx="52">
                  <c:v>915.7903</c:v>
                </c:pt>
                <c:pt idx="53">
                  <c:v>1060.6444</c:v>
                </c:pt>
                <c:pt idx="54">
                  <c:v>1033.4094</c:v>
                </c:pt>
                <c:pt idx="55">
                  <c:v>1072.3269</c:v>
                </c:pt>
                <c:pt idx="56">
                  <c:v>1027.4834</c:v>
                </c:pt>
                <c:pt idx="57">
                  <c:v>1054.3171</c:v>
                </c:pt>
                <c:pt idx="58">
                  <c:v>1006.5393</c:v>
                </c:pt>
                <c:pt idx="59">
                  <c:v>1033.4569</c:v>
                </c:pt>
                <c:pt idx="60">
                  <c:v>1068.6532</c:v>
                </c:pt>
                <c:pt idx="61">
                  <c:v>1016.2077</c:v>
                </c:pt>
                <c:pt idx="62">
                  <c:v>950.3901</c:v>
                </c:pt>
                <c:pt idx="63">
                  <c:v>1007.3023</c:v>
                </c:pt>
                <c:pt idx="64">
                  <c:v>1022.6074</c:v>
                </c:pt>
                <c:pt idx="65">
                  <c:v>983.6229</c:v>
                </c:pt>
                <c:pt idx="66">
                  <c:v>1053.6444</c:v>
                </c:pt>
                <c:pt idx="67">
                  <c:v>1019.2348</c:v>
                </c:pt>
                <c:pt idx="68">
                  <c:v>1040.2281</c:v>
                </c:pt>
                <c:pt idx="69">
                  <c:v>1049.1944</c:v>
                </c:pt>
                <c:pt idx="70">
                  <c:v>1052.8824</c:v>
                </c:pt>
                <c:pt idx="71">
                  <c:v>1049.1027</c:v>
                </c:pt>
                <c:pt idx="72">
                  <c:v>1134.33</c:v>
                </c:pt>
                <c:pt idx="73">
                  <c:v>1178.0381</c:v>
                </c:pt>
                <c:pt idx="74">
                  <c:v>1157.1055</c:v>
                </c:pt>
                <c:pt idx="75">
                  <c:v>1133.8445</c:v>
                </c:pt>
                <c:pt idx="76">
                  <c:v>1148.3563</c:v>
                </c:pt>
                <c:pt idx="77">
                  <c:v>1046.4526</c:v>
                </c:pt>
                <c:pt idx="78">
                  <c:v>1104.9294</c:v>
                </c:pt>
                <c:pt idx="79">
                  <c:v>1153.0024</c:v>
                </c:pt>
                <c:pt idx="80">
                  <c:v>1075.5159</c:v>
                </c:pt>
                <c:pt idx="81">
                  <c:v>1061.5208</c:v>
                </c:pt>
                <c:pt idx="82">
                  <c:v>1091.4954</c:v>
                </c:pt>
                <c:pt idx="83">
                  <c:v>1148.1102</c:v>
                </c:pt>
                <c:pt idx="84">
                  <c:v>1115.7718</c:v>
                </c:pt>
                <c:pt idx="85">
                  <c:v>1110.477</c:v>
                </c:pt>
                <c:pt idx="86">
                  <c:v>1133.6002</c:v>
                </c:pt>
                <c:pt idx="87">
                  <c:v>1148.6776</c:v>
                </c:pt>
                <c:pt idx="88">
                  <c:v>1153.1152</c:v>
                </c:pt>
                <c:pt idx="89">
                  <c:v>1130.6349</c:v>
                </c:pt>
                <c:pt idx="90">
                  <c:v>1175.0528</c:v>
                </c:pt>
                <c:pt idx="91">
                  <c:v>1186.5374</c:v>
                </c:pt>
                <c:pt idx="92">
                  <c:v>1130.3226</c:v>
                </c:pt>
                <c:pt idx="93">
                  <c:v>1168.1492</c:v>
                </c:pt>
                <c:pt idx="94">
                  <c:v>1152.5237</c:v>
                </c:pt>
                <c:pt idx="95">
                  <c:v>1144.1557</c:v>
                </c:pt>
                <c:pt idx="96">
                  <c:v>1074.5665</c:v>
                </c:pt>
                <c:pt idx="97">
                  <c:v>1096.0567</c:v>
                </c:pt>
                <c:pt idx="98">
                  <c:v>1080.2536</c:v>
                </c:pt>
                <c:pt idx="99">
                  <c:v>1026.1841</c:v>
                </c:pt>
                <c:pt idx="100">
                  <c:v>1027.758</c:v>
                </c:pt>
                <c:pt idx="101">
                  <c:v>1059.4775</c:v>
                </c:pt>
                <c:pt idx="102">
                  <c:v>1076.2298</c:v>
                </c:pt>
                <c:pt idx="103">
                  <c:v>1019.8422</c:v>
                </c:pt>
                <c:pt idx="104">
                  <c:v>1082.6563</c:v>
                </c:pt>
              </c:numCache>
            </c:numRef>
          </c:xVal>
          <c:yVal>
            <c:numRef>
              <c:f>Sheet1!$B$2:$B$106</c:f>
              <c:numCache>
                <c:formatCode>General</c:formatCode>
                <c:ptCount val="105"/>
                <c:pt idx="0">
                  <c:v>0.23635134373767536</c:v>
                </c:pt>
                <c:pt idx="1">
                  <c:v>0.21945764607212748</c:v>
                </c:pt>
                <c:pt idx="2">
                  <c:v>0.18578087384111047</c:v>
                </c:pt>
                <c:pt idx="3">
                  <c:v>0.18142771706627522</c:v>
                </c:pt>
                <c:pt idx="4">
                  <c:v>0.15468395028731793</c:v>
                </c:pt>
                <c:pt idx="5">
                  <c:v>0.13777340178634223</c:v>
                </c:pt>
                <c:pt idx="6">
                  <c:v>0.1590941665472266</c:v>
                </c:pt>
                <c:pt idx="7">
                  <c:v>0.14277489925158318</c:v>
                </c:pt>
                <c:pt idx="8">
                  <c:v>0.1609057380564371</c:v>
                </c:pt>
                <c:pt idx="9">
                  <c:v>0.18238321192274276</c:v>
                </c:pt>
                <c:pt idx="10">
                  <c:v>0.19110263743247538</c:v>
                </c:pt>
                <c:pt idx="11">
                  <c:v>0.18504011624234</c:v>
                </c:pt>
                <c:pt idx="12">
                  <c:v>0.20558271008774512</c:v>
                </c:pt>
                <c:pt idx="13">
                  <c:v>0.2106632776567417</c:v>
                </c:pt>
                <c:pt idx="14">
                  <c:v>0.20710273600289908</c:v>
                </c:pt>
                <c:pt idx="15">
                  <c:v>0.20608483233399955</c:v>
                </c:pt>
                <c:pt idx="16">
                  <c:v>0.19837412001340932</c:v>
                </c:pt>
                <c:pt idx="17">
                  <c:v>0.18020796616143814</c:v>
                </c:pt>
                <c:pt idx="18">
                  <c:v>0.1958437081018962</c:v>
                </c:pt>
                <c:pt idx="19">
                  <c:v>0.15518220002270405</c:v>
                </c:pt>
                <c:pt idx="20">
                  <c:v>0.1707655325443787</c:v>
                </c:pt>
                <c:pt idx="21">
                  <c:v>0.16146569533543548</c:v>
                </c:pt>
                <c:pt idx="22">
                  <c:v>0.16455967430897794</c:v>
                </c:pt>
                <c:pt idx="23">
                  <c:v>0.16971454058876004</c:v>
                </c:pt>
                <c:pt idx="24">
                  <c:v>0.17272727272727273</c:v>
                </c:pt>
                <c:pt idx="25">
                  <c:v>0.16617698907039605</c:v>
                </c:pt>
                <c:pt idx="26">
                  <c:v>0.15947445916864877</c:v>
                </c:pt>
                <c:pt idx="27">
                  <c:v>0.15248618784530388</c:v>
                </c:pt>
                <c:pt idx="28">
                  <c:v>0.14558342420937842</c:v>
                </c:pt>
                <c:pt idx="29">
                  <c:v>0.16650680989833108</c:v>
                </c:pt>
                <c:pt idx="30">
                  <c:v>0.15067118303851462</c:v>
                </c:pt>
                <c:pt idx="31">
                  <c:v>0.14489393763764924</c:v>
                </c:pt>
                <c:pt idx="32">
                  <c:v>0.15509049773755657</c:v>
                </c:pt>
                <c:pt idx="33">
                  <c:v>0.18335289338268485</c:v>
                </c:pt>
                <c:pt idx="34">
                  <c:v>0.16912774725274726</c:v>
                </c:pt>
                <c:pt idx="35">
                  <c:v>0.18659914296844565</c:v>
                </c:pt>
                <c:pt idx="36">
                  <c:v>0.136864328988434</c:v>
                </c:pt>
                <c:pt idx="37">
                  <c:v>0.12492282362626055</c:v>
                </c:pt>
                <c:pt idx="38">
                  <c:v>0.11882176734897654</c:v>
                </c:pt>
                <c:pt idx="39">
                  <c:v>0.1116196816810569</c:v>
                </c:pt>
                <c:pt idx="40">
                  <c:v>0.11648489182907205</c:v>
                </c:pt>
                <c:pt idx="41">
                  <c:v>0.09429679371985246</c:v>
                </c:pt>
                <c:pt idx="42">
                  <c:v>0.0975178729215198</c:v>
                </c:pt>
                <c:pt idx="43">
                  <c:v>0.10665484895487111</c:v>
                </c:pt>
                <c:pt idx="44">
                  <c:v>0.12773873501446878</c:v>
                </c:pt>
                <c:pt idx="45">
                  <c:v>0.1412270302311796</c:v>
                </c:pt>
                <c:pt idx="46">
                  <c:v>0.152112276722427</c:v>
                </c:pt>
                <c:pt idx="47">
                  <c:v>0.1359693642151887</c:v>
                </c:pt>
                <c:pt idx="48">
                  <c:v>0.16153846153846155</c:v>
                </c:pt>
                <c:pt idx="49">
                  <c:v>0.1857824265756277</c:v>
                </c:pt>
                <c:pt idx="50">
                  <c:v>0.14806956040407768</c:v>
                </c:pt>
                <c:pt idx="51">
                  <c:v>0.13584765542117547</c:v>
                </c:pt>
                <c:pt idx="52">
                  <c:v>0.15649083944805944</c:v>
                </c:pt>
                <c:pt idx="53">
                  <c:v>0.12756541461525694</c:v>
                </c:pt>
                <c:pt idx="54">
                  <c:v>0.12169249106078665</c:v>
                </c:pt>
                <c:pt idx="55">
                  <c:v>0.11088585821353975</c:v>
                </c:pt>
                <c:pt idx="56">
                  <c:v>0.12443592755146195</c:v>
                </c:pt>
                <c:pt idx="57">
                  <c:v>0.11284731480987681</c:v>
                </c:pt>
                <c:pt idx="58">
                  <c:v>0.1311823501993889</c:v>
                </c:pt>
                <c:pt idx="59">
                  <c:v>0.13709791196388263</c:v>
                </c:pt>
                <c:pt idx="60">
                  <c:v>0.14013806312597263</c:v>
                </c:pt>
                <c:pt idx="61">
                  <c:v>0.14212623869021973</c:v>
                </c:pt>
                <c:pt idx="62">
                  <c:v>0.16245449269244974</c:v>
                </c:pt>
                <c:pt idx="63">
                  <c:v>0.1760629147210617</c:v>
                </c:pt>
                <c:pt idx="64">
                  <c:v>0.17372755233654133</c:v>
                </c:pt>
                <c:pt idx="65">
                  <c:v>0.17802385008517888</c:v>
                </c:pt>
                <c:pt idx="66">
                  <c:v>0.16888577435178698</c:v>
                </c:pt>
                <c:pt idx="67">
                  <c:v>0.15208066402985906</c:v>
                </c:pt>
                <c:pt idx="68">
                  <c:v>0.13316892725030827</c:v>
                </c:pt>
                <c:pt idx="69">
                  <c:v>0.1154766817994222</c:v>
                </c:pt>
                <c:pt idx="70">
                  <c:v>0.10393724543671745</c:v>
                </c:pt>
                <c:pt idx="71">
                  <c:v>0.11537550343520493</c:v>
                </c:pt>
                <c:pt idx="72">
                  <c:v>0.11418204277001467</c:v>
                </c:pt>
                <c:pt idx="73">
                  <c:v>0.10666134822497009</c:v>
                </c:pt>
                <c:pt idx="74">
                  <c:v>0.11383601756954612</c:v>
                </c:pt>
                <c:pt idx="75">
                  <c:v>0.09701026327532351</c:v>
                </c:pt>
                <c:pt idx="76">
                  <c:v>0.09567751335599806</c:v>
                </c:pt>
                <c:pt idx="77">
                  <c:v>0.1223931301311692</c:v>
                </c:pt>
                <c:pt idx="78">
                  <c:v>0.09943419949706622</c:v>
                </c:pt>
                <c:pt idx="79">
                  <c:v>0.0840035746201966</c:v>
                </c:pt>
                <c:pt idx="80">
                  <c:v>0.09843137254901961</c:v>
                </c:pt>
                <c:pt idx="81">
                  <c:v>0.11235154394299288</c:v>
                </c:pt>
                <c:pt idx="82">
                  <c:v>0.08949054459026558</c:v>
                </c:pt>
                <c:pt idx="83">
                  <c:v>0.0745742806811509</c:v>
                </c:pt>
                <c:pt idx="84">
                  <c:v>0.07993634471783571</c:v>
                </c:pt>
                <c:pt idx="85">
                  <c:v>0.0890374043332974</c:v>
                </c:pt>
                <c:pt idx="86">
                  <c:v>0.10630601003042013</c:v>
                </c:pt>
                <c:pt idx="87">
                  <c:v>0.11717550741940985</c:v>
                </c:pt>
                <c:pt idx="88">
                  <c:v>0.10587882423515296</c:v>
                </c:pt>
                <c:pt idx="89">
                  <c:v>0.0805587648356265</c:v>
                </c:pt>
                <c:pt idx="90">
                  <c:v>0.07979240999026922</c:v>
                </c:pt>
                <c:pt idx="91">
                  <c:v>0.08047288188323136</c:v>
                </c:pt>
                <c:pt idx="92">
                  <c:v>0.09758594216497483</c:v>
                </c:pt>
                <c:pt idx="93">
                  <c:v>0.08251538845450009</c:v>
                </c:pt>
                <c:pt idx="94">
                  <c:v>0.08878687243602267</c:v>
                </c:pt>
                <c:pt idx="95">
                  <c:v>0.09799667317567079</c:v>
                </c:pt>
                <c:pt idx="96">
                  <c:v>0.09893778452200304</c:v>
                </c:pt>
                <c:pt idx="97">
                  <c:v>0.10909510618651892</c:v>
                </c:pt>
                <c:pt idx="98">
                  <c:v>0.12865093228256896</c:v>
                </c:pt>
                <c:pt idx="99">
                  <c:v>0.1371533933763563</c:v>
                </c:pt>
                <c:pt idx="100">
                  <c:v>0.1578260756124925</c:v>
                </c:pt>
                <c:pt idx="101">
                  <c:v>0.12386134124726927</c:v>
                </c:pt>
                <c:pt idx="102">
                  <c:v>0.09918205669015896</c:v>
                </c:pt>
                <c:pt idx="103">
                  <c:v>0.1105966075258335</c:v>
                </c:pt>
                <c:pt idx="104">
                  <c:v>0.1090259159964253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22.4725</c:v>
                </c:pt>
                <c:pt idx="1">
                  <c:v>1120.8545</c:v>
                </c:pt>
                <c:pt idx="2">
                  <c:v>1107.0982</c:v>
                </c:pt>
                <c:pt idx="3">
                  <c:v>1084.6208</c:v>
                </c:pt>
                <c:pt idx="4">
                  <c:v>1104.981</c:v>
                </c:pt>
                <c:pt idx="5">
                  <c:v>1105.4651</c:v>
                </c:pt>
                <c:pt idx="6">
                  <c:v>1022.5377</c:v>
                </c:pt>
                <c:pt idx="7">
                  <c:v>1049.8387</c:v>
                </c:pt>
                <c:pt idx="8">
                  <c:v>1137.5224</c:v>
                </c:pt>
                <c:pt idx="9">
                  <c:v>1059.4881</c:v>
                </c:pt>
                <c:pt idx="10">
                  <c:v>1093.5157</c:v>
                </c:pt>
                <c:pt idx="11">
                  <c:v>991.0831</c:v>
                </c:pt>
                <c:pt idx="12">
                  <c:v>1042.314</c:v>
                </c:pt>
                <c:pt idx="13">
                  <c:v>1079.266</c:v>
                </c:pt>
                <c:pt idx="14">
                  <c:v>1088.6918</c:v>
                </c:pt>
                <c:pt idx="15">
                  <c:v>1116.3163</c:v>
                </c:pt>
                <c:pt idx="16">
                  <c:v>1106.3923</c:v>
                </c:pt>
                <c:pt idx="17">
                  <c:v>1125.3119</c:v>
                </c:pt>
                <c:pt idx="18">
                  <c:v>1046.9477</c:v>
                </c:pt>
                <c:pt idx="19">
                  <c:v>1091.7308</c:v>
                </c:pt>
                <c:pt idx="20">
                  <c:v>1062.1771</c:v>
                </c:pt>
                <c:pt idx="21">
                  <c:v>1042.9622</c:v>
                </c:pt>
                <c:pt idx="22">
                  <c:v>1062.6471</c:v>
                </c:pt>
                <c:pt idx="23">
                  <c:v>1082.1557</c:v>
                </c:pt>
                <c:pt idx="24">
                  <c:v>1150.2198</c:v>
                </c:pt>
                <c:pt idx="25">
                  <c:v>1112.6632</c:v>
                </c:pt>
                <c:pt idx="26">
                  <c:v>1151.9424</c:v>
                </c:pt>
                <c:pt idx="27">
                  <c:v>1146.0196</c:v>
                </c:pt>
                <c:pt idx="28">
                  <c:v>1053.7858</c:v>
                </c:pt>
                <c:pt idx="29">
                  <c:v>1070.4656</c:v>
                </c:pt>
                <c:pt idx="30">
                  <c:v>1071.512</c:v>
                </c:pt>
                <c:pt idx="31">
                  <c:v>1040.693</c:v>
                </c:pt>
                <c:pt idx="32">
                  <c:v>1040.499</c:v>
                </c:pt>
                <c:pt idx="33">
                  <c:v>1063.509</c:v>
                </c:pt>
                <c:pt idx="34">
                  <c:v>1095.2847</c:v>
                </c:pt>
                <c:pt idx="35">
                  <c:v>1123.6471</c:v>
                </c:pt>
                <c:pt idx="36">
                  <c:v>1050.3204</c:v>
                </c:pt>
                <c:pt idx="37">
                  <c:v>1174.5347</c:v>
                </c:pt>
                <c:pt idx="38">
                  <c:v>1134.0788</c:v>
                </c:pt>
                <c:pt idx="39">
                  <c:v>1158.8609</c:v>
                </c:pt>
                <c:pt idx="40">
                  <c:v>1208.3347</c:v>
                </c:pt>
                <c:pt idx="41">
                  <c:v>1226.5792</c:v>
                </c:pt>
                <c:pt idx="42">
                  <c:v>1239.6623</c:v>
                </c:pt>
                <c:pt idx="43">
                  <c:v>1258.8507</c:v>
                </c:pt>
                <c:pt idx="44">
                  <c:v>1144.2352</c:v>
                </c:pt>
                <c:pt idx="45">
                  <c:v>1158.5154</c:v>
                </c:pt>
                <c:pt idx="46">
                  <c:v>1161.039</c:v>
                </c:pt>
                <c:pt idx="47">
                  <c:v>1137.1259</c:v>
                </c:pt>
                <c:pt idx="48">
                  <c:v>1105.6173</c:v>
                </c:pt>
                <c:pt idx="49">
                  <c:v>1108.1945</c:v>
                </c:pt>
                <c:pt idx="50">
                  <c:v>1016.472</c:v>
                </c:pt>
                <c:pt idx="51">
                  <c:v>999.4521</c:v>
                </c:pt>
              </c:numCache>
            </c:numRef>
          </c:xVal>
          <c:yVal>
            <c:numRef>
              <c:f>Sheet1!$B$109:$B$160</c:f>
              <c:numCache>
                <c:formatCode>General</c:formatCode>
                <c:ptCount val="52"/>
                <c:pt idx="0">
                  <c:v>0.11624307185299845</c:v>
                </c:pt>
                <c:pt idx="1">
                  <c:v>0.10748753844522219</c:v>
                </c:pt>
                <c:pt idx="2">
                  <c:v>0.11681493364445093</c:v>
                </c:pt>
                <c:pt idx="3">
                  <c:v>0.1243809798548007</c:v>
                </c:pt>
                <c:pt idx="4">
                  <c:v>0.10621761658031088</c:v>
                </c:pt>
                <c:pt idx="5">
                  <c:v>0.11165599834813132</c:v>
                </c:pt>
                <c:pt idx="6">
                  <c:v>0.1273695829534002</c:v>
                </c:pt>
                <c:pt idx="7">
                  <c:v>0.12024048096192384</c:v>
                </c:pt>
                <c:pt idx="8">
                  <c:v>0.11791449732345824</c:v>
                </c:pt>
                <c:pt idx="9">
                  <c:v>0.1337433263499358</c:v>
                </c:pt>
                <c:pt idx="10">
                  <c:v>0.13303666312433582</c:v>
                </c:pt>
                <c:pt idx="11">
                  <c:v>0.17040202753068628</c:v>
                </c:pt>
                <c:pt idx="12">
                  <c:v>0.1453805127028732</c:v>
                </c:pt>
                <c:pt idx="13">
                  <c:v>0.1316943674976916</c:v>
                </c:pt>
                <c:pt idx="14">
                  <c:v>0.14084331337325348</c:v>
                </c:pt>
                <c:pt idx="15">
                  <c:v>0.1211899374417676</c:v>
                </c:pt>
                <c:pt idx="16">
                  <c:v>0.1354870846082687</c:v>
                </c:pt>
                <c:pt idx="17">
                  <c:v>0.09705702958218969</c:v>
                </c:pt>
                <c:pt idx="18">
                  <c:v>0.10273850008949346</c:v>
                </c:pt>
                <c:pt idx="19">
                  <c:v>0.11036128713686116</c:v>
                </c:pt>
                <c:pt idx="20">
                  <c:v>0.10268398268398268</c:v>
                </c:pt>
                <c:pt idx="21">
                  <c:v>0.09779512606815065</c:v>
                </c:pt>
                <c:pt idx="22">
                  <c:v>0.09554612937433722</c:v>
                </c:pt>
                <c:pt idx="23">
                  <c:v>0.08656417112299465</c:v>
                </c:pt>
                <c:pt idx="24">
                  <c:v>0.07780006333790773</c:v>
                </c:pt>
                <c:pt idx="25">
                  <c:v>0.08596312634317385</c:v>
                </c:pt>
                <c:pt idx="26">
                  <c:v>0.07650977863743821</c:v>
                </c:pt>
                <c:pt idx="27">
                  <c:v>0.07504587155963302</c:v>
                </c:pt>
                <c:pt idx="28">
                  <c:v>0.09193848233902316</c:v>
                </c:pt>
                <c:pt idx="29">
                  <c:v>0.08160251993306428</c:v>
                </c:pt>
                <c:pt idx="30">
                  <c:v>0.09749894022891055</c:v>
                </c:pt>
                <c:pt idx="31">
                  <c:v>0.09492374231732302</c:v>
                </c:pt>
                <c:pt idx="32">
                  <c:v>0.1023597916028195</c:v>
                </c:pt>
                <c:pt idx="33">
                  <c:v>0.1167743061616338</c:v>
                </c:pt>
                <c:pt idx="34">
                  <c:v>0.13332354452683357</c:v>
                </c:pt>
                <c:pt idx="35">
                  <c:v>0.11782605020708309</c:v>
                </c:pt>
                <c:pt idx="36">
                  <c:v>0.10415467832892163</c:v>
                </c:pt>
                <c:pt idx="37">
                  <c:v>0.089607965152458</c:v>
                </c:pt>
                <c:pt idx="38">
                  <c:v>0.09582500555185432</c:v>
                </c:pt>
                <c:pt idx="39">
                  <c:v>0.10771300448430493</c:v>
                </c:pt>
                <c:pt idx="40">
                  <c:v>0.08609849807893817</c:v>
                </c:pt>
                <c:pt idx="41">
                  <c:v>0.09290912167879506</c:v>
                </c:pt>
                <c:pt idx="42">
                  <c:v>0.08423385979495705</c:v>
                </c:pt>
                <c:pt idx="43">
                  <c:v>0.0890147542129921</c:v>
                </c:pt>
                <c:pt idx="44">
                  <c:v>0.09844031193761248</c:v>
                </c:pt>
                <c:pt idx="45">
                  <c:v>0.11124316615165201</c:v>
                </c:pt>
                <c:pt idx="46">
                  <c:v>0.09837434584122036</c:v>
                </c:pt>
                <c:pt idx="47">
                  <c:v>0.10587618048268625</c:v>
                </c:pt>
                <c:pt idx="48">
                  <c:v>0.10563978711033588</c:v>
                </c:pt>
                <c:pt idx="49">
                  <c:v>0.11959436808581965</c:v>
                </c:pt>
                <c:pt idx="50">
                  <c:v>0.15688385269121813</c:v>
                </c:pt>
                <c:pt idx="51">
                  <c:v>0.128887656546051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83.2720493875856</c:v>
                </c:pt>
              </c:numCache>
            </c:numRef>
          </c:xVal>
          <c:yVal>
            <c:numRef>
              <c:f>Sheet1!$B$163:$B$164</c:f>
              <c:numCache>
                <c:formatCode>General</c:formatCode>
                <c:ptCount val="2"/>
                <c:pt idx="0">
                  <c:v>0.18844605721986196</c:v>
                </c:pt>
                <c:pt idx="1">
                  <c:v>0.1884460572198619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83.2720493875856</c:v>
                </c:pt>
                <c:pt idx="1">
                  <c:v>683.2720493875856</c:v>
                </c:pt>
              </c:numCache>
            </c:numRef>
          </c:xVal>
          <c:yVal>
            <c:numRef>
              <c:f>Sheet1!$B$167:$B$168</c:f>
              <c:numCache>
                <c:formatCode>General</c:formatCode>
                <c:ptCount val="2"/>
                <c:pt idx="0">
                  <c:v>0.1884460572198619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4.6715987138253</c:v>
                </c:pt>
              </c:numCache>
            </c:numRef>
          </c:xVal>
          <c:yVal>
            <c:numRef>
              <c:f>Sheet1!$B$171:$B$172</c:f>
              <c:numCache>
                <c:formatCode>General</c:formatCode>
                <c:ptCount val="2"/>
                <c:pt idx="0">
                  <c:v>0.1277514161083562</c:v>
                </c:pt>
                <c:pt idx="1">
                  <c:v>0.127751416108356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4.6715987138253</c:v>
                </c:pt>
                <c:pt idx="1">
                  <c:v>1004.6715987138253</c:v>
                </c:pt>
              </c:numCache>
            </c:numRef>
          </c:xVal>
          <c:yVal>
            <c:numRef>
              <c:f>Sheet1!$B$175:$B$176</c:f>
              <c:numCache>
                <c:formatCode>General</c:formatCode>
                <c:ptCount val="2"/>
                <c:pt idx="0">
                  <c:v>0.12775141610835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17.038786449773</c:v>
                </c:pt>
              </c:numCache>
            </c:numRef>
          </c:xVal>
          <c:yVal>
            <c:numRef>
              <c:f>Sheet1!$B$179:$B$180</c:f>
              <c:numCache>
                <c:formatCode>General</c:formatCode>
                <c:ptCount val="2"/>
                <c:pt idx="0">
                  <c:v>0.10653145439204484</c:v>
                </c:pt>
                <c:pt idx="1">
                  <c:v>0.1065314543920448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17.038786449773</c:v>
                </c:pt>
                <c:pt idx="1">
                  <c:v>1117.038786449773</c:v>
                </c:pt>
              </c:numCache>
            </c:numRef>
          </c:xVal>
          <c:yVal>
            <c:numRef>
              <c:f>Sheet1!$B$183:$B$184</c:f>
              <c:numCache>
                <c:formatCode>General</c:formatCode>
                <c:ptCount val="2"/>
                <c:pt idx="0">
                  <c:v>0.106531454392044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22.4725</c:v>
                </c:pt>
                <c:pt idx="1">
                  <c:v>1120.8545</c:v>
                </c:pt>
                <c:pt idx="2">
                  <c:v>1107.0982</c:v>
                </c:pt>
                <c:pt idx="3">
                  <c:v>1084.6208</c:v>
                </c:pt>
                <c:pt idx="4">
                  <c:v>1104.981</c:v>
                </c:pt>
                <c:pt idx="5">
                  <c:v>1105.4651</c:v>
                </c:pt>
                <c:pt idx="6">
                  <c:v>1022.5377</c:v>
                </c:pt>
                <c:pt idx="7">
                  <c:v>1049.8387</c:v>
                </c:pt>
                <c:pt idx="8">
                  <c:v>1137.5224</c:v>
                </c:pt>
                <c:pt idx="9">
                  <c:v>1059.4881</c:v>
                </c:pt>
                <c:pt idx="10">
                  <c:v>1093.5157</c:v>
                </c:pt>
                <c:pt idx="11">
                  <c:v>991.0831</c:v>
                </c:pt>
                <c:pt idx="12">
                  <c:v>1042.314</c:v>
                </c:pt>
                <c:pt idx="13">
                  <c:v>1079.266</c:v>
                </c:pt>
                <c:pt idx="14">
                  <c:v>1088.6918</c:v>
                </c:pt>
                <c:pt idx="15">
                  <c:v>1116.3163</c:v>
                </c:pt>
                <c:pt idx="16">
                  <c:v>1106.3923</c:v>
                </c:pt>
                <c:pt idx="17">
                  <c:v>1125.3119</c:v>
                </c:pt>
                <c:pt idx="18">
                  <c:v>1046.9477</c:v>
                </c:pt>
                <c:pt idx="19">
                  <c:v>1091.7308</c:v>
                </c:pt>
                <c:pt idx="20">
                  <c:v>1062.1771</c:v>
                </c:pt>
                <c:pt idx="21">
                  <c:v>1042.9622</c:v>
                </c:pt>
                <c:pt idx="22">
                  <c:v>1062.6471</c:v>
                </c:pt>
                <c:pt idx="23">
                  <c:v>1082.1557</c:v>
                </c:pt>
                <c:pt idx="24">
                  <c:v>1150.2198</c:v>
                </c:pt>
                <c:pt idx="25">
                  <c:v>1112.6632</c:v>
                </c:pt>
                <c:pt idx="26">
                  <c:v>1151.9424</c:v>
                </c:pt>
                <c:pt idx="27">
                  <c:v>1146.0196</c:v>
                </c:pt>
                <c:pt idx="28">
                  <c:v>1053.7858</c:v>
                </c:pt>
                <c:pt idx="29">
                  <c:v>1070.4656</c:v>
                </c:pt>
                <c:pt idx="30">
                  <c:v>1071.512</c:v>
                </c:pt>
                <c:pt idx="31">
                  <c:v>1040.693</c:v>
                </c:pt>
                <c:pt idx="32">
                  <c:v>1040.499</c:v>
                </c:pt>
                <c:pt idx="33">
                  <c:v>1063.509</c:v>
                </c:pt>
                <c:pt idx="34">
                  <c:v>1095.2847</c:v>
                </c:pt>
                <c:pt idx="35">
                  <c:v>1123.6471</c:v>
                </c:pt>
                <c:pt idx="36">
                  <c:v>1050.3204</c:v>
                </c:pt>
                <c:pt idx="37">
                  <c:v>1174.5347</c:v>
                </c:pt>
                <c:pt idx="38">
                  <c:v>1134.0788</c:v>
                </c:pt>
                <c:pt idx="39">
                  <c:v>1158.8609</c:v>
                </c:pt>
                <c:pt idx="40">
                  <c:v>1208.3347</c:v>
                </c:pt>
                <c:pt idx="41">
                  <c:v>1226.5792</c:v>
                </c:pt>
                <c:pt idx="42">
                  <c:v>1239.6623</c:v>
                </c:pt>
                <c:pt idx="43">
                  <c:v>1258.8507</c:v>
                </c:pt>
                <c:pt idx="44">
                  <c:v>1144.2352</c:v>
                </c:pt>
                <c:pt idx="45">
                  <c:v>1158.5154</c:v>
                </c:pt>
                <c:pt idx="46">
                  <c:v>1161.039</c:v>
                </c:pt>
                <c:pt idx="47">
                  <c:v>1137.1259</c:v>
                </c:pt>
                <c:pt idx="48">
                  <c:v>1105.6173</c:v>
                </c:pt>
                <c:pt idx="49">
                  <c:v>1108.1945</c:v>
                </c:pt>
                <c:pt idx="50">
                  <c:v>1016.472</c:v>
                </c:pt>
                <c:pt idx="51">
                  <c:v>999.4521</c:v>
                </c:pt>
                <c:pt idx="52">
                  <c:v>1004.6715987138253</c:v>
                </c:pt>
                <c:pt idx="53">
                  <c:v>683.2720493875856</c:v>
                </c:pt>
                <c:pt idx="54">
                  <c:v>1117.038786449773</c:v>
                </c:pt>
              </c:numCache>
            </c:numRef>
          </c:xVal>
          <c:yVal>
            <c:numRef>
              <c:f>Sheet1!$B$187:$B$241</c:f>
              <c:numCache>
                <c:formatCode>General</c:formatCode>
                <c:ptCount val="55"/>
                <c:pt idx="0">
                  <c:v>0.10550532571661536</c:v>
                </c:pt>
                <c:pt idx="1">
                  <c:v>0.1058108766407666</c:v>
                </c:pt>
                <c:pt idx="2">
                  <c:v>0.10840868268396894</c:v>
                </c:pt>
                <c:pt idx="3">
                  <c:v>0.11265342331593217</c:v>
                </c:pt>
                <c:pt idx="4">
                  <c:v>0.10880850494392749</c:v>
                </c:pt>
                <c:pt idx="5">
                  <c:v>0.10871708516495246</c:v>
                </c:pt>
                <c:pt idx="6">
                  <c:v>0.1243774953673365</c:v>
                </c:pt>
                <c:pt idx="7">
                  <c:v>0.11922184284554893</c:v>
                </c:pt>
                <c:pt idx="8">
                  <c:v>0.10266323000995076</c:v>
                </c:pt>
                <c:pt idx="9">
                  <c:v>0.11739960360728888</c:v>
                </c:pt>
                <c:pt idx="10">
                  <c:v>0.11097366749687615</c:v>
                </c:pt>
                <c:pt idx="11">
                  <c:v>0.13031753374731597</c:v>
                </c:pt>
                <c:pt idx="12">
                  <c:v>0.1206428434876754</c:v>
                </c:pt>
                <c:pt idx="13">
                  <c:v>0.11366464957591046</c:v>
                </c:pt>
                <c:pt idx="14">
                  <c:v>0.11188463604014748</c:v>
                </c:pt>
                <c:pt idx="15">
                  <c:v>0.10666789221801201</c:v>
                </c:pt>
                <c:pt idx="16">
                  <c:v>0.108541988244759</c:v>
                </c:pt>
                <c:pt idx="17">
                  <c:v>0.10496911972524645</c:v>
                </c:pt>
                <c:pt idx="18">
                  <c:v>0.11976779322980183</c:v>
                </c:pt>
                <c:pt idx="19">
                  <c:v>0.11131073662204144</c:v>
                </c:pt>
                <c:pt idx="20">
                  <c:v>0.11689179987734907</c:v>
                </c:pt>
                <c:pt idx="21">
                  <c:v>0.12052043427319159</c:v>
                </c:pt>
                <c:pt idx="22">
                  <c:v>0.11680304281038306</c:v>
                </c:pt>
                <c:pt idx="23">
                  <c:v>0.11311894468992792</c:v>
                </c:pt>
                <c:pt idx="24">
                  <c:v>0.10026539175017471</c:v>
                </c:pt>
                <c:pt idx="25">
                  <c:v>0.1073577612421262</c:v>
                </c:pt>
                <c:pt idx="26">
                  <c:v>0.09994008765750301</c:v>
                </c:pt>
                <c:pt idx="27">
                  <c:v>0.10105857777713387</c:v>
                </c:pt>
                <c:pt idx="28">
                  <c:v>0.11847645344337507</c:v>
                </c:pt>
                <c:pt idx="29">
                  <c:v>0.1153265595591616</c:v>
                </c:pt>
                <c:pt idx="30">
                  <c:v>0.11512895233602699</c:v>
                </c:pt>
                <c:pt idx="31">
                  <c:v>0.12094896094629662</c:v>
                </c:pt>
                <c:pt idx="32">
                  <c:v>0.12098559684202304</c:v>
                </c:pt>
                <c:pt idx="33">
                  <c:v>0.11664027745715316</c:v>
                </c:pt>
                <c:pt idx="34">
                  <c:v>0.11063960100440179</c:v>
                </c:pt>
                <c:pt idx="35">
                  <c:v>0.10528350858712962</c:v>
                </c:pt>
                <c:pt idx="36">
                  <c:v>0.11913087629414987</c:v>
                </c:pt>
                <c:pt idx="37">
                  <c:v>0.09567364875533893</c:v>
                </c:pt>
                <c:pt idx="38">
                  <c:v>0.10331353604357693</c:v>
                </c:pt>
                <c:pt idx="39">
                  <c:v>0.09863356474728038</c:v>
                </c:pt>
                <c:pt idx="40">
                  <c:v>0.0892906937267165</c:v>
                </c:pt>
                <c:pt idx="41">
                  <c:v>0.08584531434743542</c:v>
                </c:pt>
                <c:pt idx="42">
                  <c:v>0.0833746386393002</c:v>
                </c:pt>
                <c:pt idx="43">
                  <c:v>0.07975100863127602</c:v>
                </c:pt>
                <c:pt idx="44">
                  <c:v>0.10139555247988755</c:v>
                </c:pt>
                <c:pt idx="45">
                  <c:v>0.09869881063374158</c:v>
                </c:pt>
                <c:pt idx="46">
                  <c:v>0.09822224183758091</c:v>
                </c:pt>
                <c:pt idx="47">
                  <c:v>0.1027381069824019</c:v>
                </c:pt>
                <c:pt idx="48">
                  <c:v>0.10868834298284133</c:v>
                </c:pt>
                <c:pt idx="49">
                  <c:v>0.10820165210415</c:v>
                </c:pt>
                <c:pt idx="50">
                  <c:v>0.12552297141222157</c:v>
                </c:pt>
                <c:pt idx="51">
                  <c:v>0.12873709142085027</c:v>
                </c:pt>
                <c:pt idx="52">
                  <c:v>0.1277514161083562</c:v>
                </c:pt>
                <c:pt idx="53">
                  <c:v>0.18844605721986196</c:v>
                </c:pt>
                <c:pt idx="54">
                  <c:v>0.1065314543920448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11.0"/>
          <c:min val="54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36216124852104"/>
          <c:min val="0.0596594245449207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4</c:f>
              <c:numCache>
                <c:formatCode>General</c:formatCode>
                <c:ptCount val="1"/>
                <c:pt idx="0">
                  <c:v>0.08341565459933756</c:v>
                </c:pt>
              </c:numCache>
            </c:numRef>
          </c:xVal>
          <c:yVal>
            <c:numRef>
              <c:f>Sheet1!$B$4:$B$4</c:f>
              <c:numCache>
                <c:formatCode>General</c:formatCode>
                <c:ptCount val="1"/>
                <c:pt idx="0">
                  <c:v>0.4</c:v>
                </c:pt>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4</c:v>
                </c:pt>
              </c:numCache>
            </c:numRef>
          </c:xVal>
          <c:yVal>
            <c:numRef>
              <c:f>Sheet1!$B$7:$B$8</c:f>
              <c:numCache>
                <c:formatCode>General</c:formatCode>
                <c:ptCount val="2"/>
                <c:pt idx="0">
                  <c:v>0.4</c:v>
                </c:pt>
                <c:pt idx="1">
                  <c:v>0.4</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4</c:v>
                </c:pt>
                <c:pt idx="1">
                  <c:v>0.4</c:v>
                </c:pt>
              </c:numCache>
            </c:numRef>
          </c:xVal>
          <c:yVal>
            <c:numRef>
              <c:f>Sheet1!$B$11:$B$12</c:f>
              <c:numCache>
                <c:formatCode>General</c:formatCode>
                <c:ptCount val="2"/>
                <c:pt idx="0">
                  <c:v>0.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6</c:f>
              <c:numCache>
                <c:formatCode>General</c:formatCode>
                <c:ptCount val="2"/>
                <c:pt idx="0">
                  <c:v>0</c:v>
                </c:pt>
                <c:pt idx="1">
                  <c:v>0.4</c:v>
                </c:pt>
              </c:numCache>
            </c:numRef>
          </c:xVal>
          <c:yVal>
            <c:numRef>
              <c:f>Sheet1!$B$15:$B$16</c:f>
              <c:numCache>
                <c:formatCode>General</c:formatCode>
                <c:ptCount val="2"/>
                <c:pt idx="0">
                  <c:v>0.4</c:v>
                </c:pt>
                <c:pt idx="1">
                  <c:v>0.4</c:v>
                </c:pt>
              </c:numCache>
            </c:numRef>
          </c:yVal>
          <c:smooth val="0"/>
          <c:extLst>
            <c:ext xmlns:c16="http://schemas.microsoft.com/office/drawing/2014/chart" uri="{C3380CC4-5D6E-409C-BE32-E72D297353CC}">
              <c16:uniqueId val="{0000000D-096C-4121-9522-6AB7243CCAAE}"/>
            </c:ext>
          </c:extLst>
        </c:ser>
        <c:ser>
          <c:idx val="5"/>
          <c:order val="5"/>
          <c:tx>
            <c:strRef>
              <c:f>Sheet1!$B$1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9:$A$20</c:f>
              <c:numCache>
                <c:formatCode>General</c:formatCode>
                <c:ptCount val="2"/>
                <c:pt idx="0">
                  <c:v>0.4</c:v>
                </c:pt>
                <c:pt idx="1">
                  <c:v>0.4</c:v>
                </c:pt>
              </c:numCache>
            </c:numRef>
          </c:xVal>
          <c:yVal>
            <c:numRef>
              <c:f>Sheet1!$B$19:$B$20</c:f>
              <c:numCache>
                <c:formatCode>General</c:formatCode>
                <c:ptCount val="2"/>
                <c:pt idx="0">
                  <c:v>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2</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3:$A$24</c:f>
              <c:numCache>
                <c:formatCode>General</c:formatCode>
                <c:ptCount val="2"/>
                <c:pt idx="0">
                  <c:v>0</c:v>
                </c:pt>
                <c:pt idx="1">
                  <c:v>0.4</c:v>
                </c:pt>
              </c:numCache>
            </c:numRef>
          </c:xVal>
          <c:yVal>
            <c:numRef>
              <c:f>Sheet1!$B$23:$B$24</c:f>
              <c:numCache>
                <c:formatCode>General</c:formatCode>
                <c:ptCount val="2"/>
                <c:pt idx="0">
                  <c:v>0.4</c:v>
                </c:pt>
                <c:pt idx="1">
                  <c:v>0.4</c:v>
                </c:pt>
              </c:numCache>
            </c:numRef>
          </c:yVal>
          <c:smooth val="0"/>
          <c:extLst>
            <c:ext xmlns:c16="http://schemas.microsoft.com/office/drawing/2014/chart" uri="{C3380CC4-5D6E-409C-BE32-E72D297353CC}">
              <c16:uniqueId val="{00000015-096C-4121-9522-6AB7243CCAAE}"/>
            </c:ext>
          </c:extLst>
        </c:ser>
        <c:ser>
          <c:idx val="7"/>
          <c:order val="7"/>
          <c:tx>
            <c:strRef>
              <c:f>Sheet1!$B$26</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4</c:v>
                </c:pt>
                <c:pt idx="1">
                  <c:v>0.4</c:v>
                </c:pt>
              </c:numCache>
            </c:numRef>
          </c:xVal>
          <c:yVal>
            <c:numRef>
              <c:f>Sheet1!$B$27:$B$28</c:f>
              <c:numCache>
                <c:formatCode>General</c:formatCode>
                <c:ptCount val="2"/>
                <c:pt idx="0">
                  <c:v>0.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0</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1:$A$34</c:f>
              <c:numCache>
                <c:formatCode>General</c:formatCode>
                <c:ptCount val="4"/>
                <c:pt idx="0">
                  <c:v>0.08341565459933756</c:v>
                </c:pt>
                <c:pt idx="1">
                  <c:v>0.4</c:v>
                </c:pt>
                <c:pt idx="2">
                  <c:v>0.4</c:v>
                </c:pt>
                <c:pt idx="3">
                  <c:v>0.4</c:v>
                </c:pt>
              </c:numCache>
            </c:numRef>
          </c:xVal>
          <c:yVal>
            <c:numRef>
              <c:f>Sheet1!$B$31:$B$34</c:f>
              <c:numCache>
                <c:formatCode>General</c:formatCode>
                <c:ptCount val="4"/>
                <c:pt idx="0">
                  <c:v>0.08341565459933756</c:v>
                </c:pt>
                <c:pt idx="1">
                  <c:v>0.4</c:v>
                </c:pt>
                <c:pt idx="2">
                  <c:v>0.4</c:v>
                </c:pt>
                <c:pt idx="3">
                  <c:v>0.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
          <c:min val="0.320000000000000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4</c:f>
              <c:numCache>
                <c:formatCode>General</c:formatCode>
                <c:ptCount val="1"/>
                <c:pt idx="0">
                  <c:v>1435.5</c:v>
                </c:pt>
              </c:numCache>
            </c:numRef>
          </c:xVal>
          <c:yVal>
            <c:numRef>
              <c:f>Sheet1!$B$4:$B$4</c:f>
              <c:numCache>
                <c:formatCode>General</c:formatCode>
                <c:ptCount val="1"/>
                <c:pt idx="0">
                  <c:v>0.4</c:v>
                </c:pt>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4</c:v>
                </c:pt>
              </c:numCache>
            </c:numRef>
          </c:xVal>
          <c:yVal>
            <c:numRef>
              <c:f>Sheet1!$B$7:$B$8</c:f>
              <c:numCache>
                <c:formatCode>General</c:formatCode>
                <c:ptCount val="2"/>
                <c:pt idx="0">
                  <c:v>0.4</c:v>
                </c:pt>
                <c:pt idx="1">
                  <c:v>0.4</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4</c:v>
                </c:pt>
                <c:pt idx="1">
                  <c:v>0.4</c:v>
                </c:pt>
              </c:numCache>
            </c:numRef>
          </c:xVal>
          <c:yVal>
            <c:numRef>
              <c:f>Sheet1!$B$11:$B$12</c:f>
              <c:numCache>
                <c:formatCode>General</c:formatCode>
                <c:ptCount val="2"/>
                <c:pt idx="0">
                  <c:v>0.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6</c:f>
              <c:numCache>
                <c:formatCode>General</c:formatCode>
                <c:ptCount val="2"/>
                <c:pt idx="0">
                  <c:v>0</c:v>
                </c:pt>
                <c:pt idx="1">
                  <c:v>0.4</c:v>
                </c:pt>
              </c:numCache>
            </c:numRef>
          </c:xVal>
          <c:yVal>
            <c:numRef>
              <c:f>Sheet1!$B$15:$B$16</c:f>
              <c:numCache>
                <c:formatCode>General</c:formatCode>
                <c:ptCount val="2"/>
                <c:pt idx="0">
                  <c:v>0.4</c:v>
                </c:pt>
                <c:pt idx="1">
                  <c:v>0.4</c:v>
                </c:pt>
              </c:numCache>
            </c:numRef>
          </c:yVal>
          <c:smooth val="0"/>
          <c:extLst>
            <c:ext xmlns:c16="http://schemas.microsoft.com/office/drawing/2014/chart" uri="{C3380CC4-5D6E-409C-BE32-E72D297353CC}">
              <c16:uniqueId val="{0000000A-F32D-48B7-BC20-E66FC6253BAD}"/>
            </c:ext>
          </c:extLst>
        </c:ser>
        <c:ser>
          <c:idx val="5"/>
          <c:order val="5"/>
          <c:tx>
            <c:strRef>
              <c:f>Sheet1!$B$1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9:$A$20</c:f>
              <c:numCache>
                <c:formatCode>General</c:formatCode>
                <c:ptCount val="2"/>
                <c:pt idx="0">
                  <c:v>0.4</c:v>
                </c:pt>
                <c:pt idx="1">
                  <c:v>0.4</c:v>
                </c:pt>
              </c:numCache>
            </c:numRef>
          </c:xVal>
          <c:yVal>
            <c:numRef>
              <c:f>Sheet1!$B$19:$B$20</c:f>
              <c:numCache>
                <c:formatCode>General</c:formatCode>
                <c:ptCount val="2"/>
                <c:pt idx="0">
                  <c:v>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2</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3:$A$24</c:f>
              <c:numCache>
                <c:formatCode>General</c:formatCode>
                <c:ptCount val="2"/>
                <c:pt idx="0">
                  <c:v>0</c:v>
                </c:pt>
                <c:pt idx="1">
                  <c:v>0.4</c:v>
                </c:pt>
              </c:numCache>
            </c:numRef>
          </c:xVal>
          <c:yVal>
            <c:numRef>
              <c:f>Sheet1!$B$23:$B$24</c:f>
              <c:numCache>
                <c:formatCode>General</c:formatCode>
                <c:ptCount val="2"/>
                <c:pt idx="0">
                  <c:v>0.4</c:v>
                </c:pt>
                <c:pt idx="1">
                  <c:v>0.4</c:v>
                </c:pt>
              </c:numCache>
            </c:numRef>
          </c:yVal>
          <c:smooth val="0"/>
          <c:extLst>
            <c:ext xmlns:c16="http://schemas.microsoft.com/office/drawing/2014/chart" uri="{C3380CC4-5D6E-409C-BE32-E72D297353CC}">
              <c16:uniqueId val="{00000011-F32D-48B7-BC20-E66FC6253BAD}"/>
            </c:ext>
          </c:extLst>
        </c:ser>
        <c:ser>
          <c:idx val="7"/>
          <c:order val="7"/>
          <c:tx>
            <c:strRef>
              <c:f>Sheet1!$B$26</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0.4</c:v>
                </c:pt>
                <c:pt idx="1">
                  <c:v>0.4</c:v>
                </c:pt>
              </c:numCache>
            </c:numRef>
          </c:xVal>
          <c:yVal>
            <c:numRef>
              <c:f>Sheet1!$B$27:$B$28</c:f>
              <c:numCache>
                <c:formatCode>General</c:formatCode>
                <c:ptCount val="2"/>
                <c:pt idx="0">
                  <c:v>0.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0</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1:$A$34</c:f>
              <c:numCache>
                <c:formatCode>General</c:formatCode>
                <c:ptCount val="4"/>
                <c:pt idx="0">
                  <c:v>1435.5</c:v>
                </c:pt>
                <c:pt idx="1">
                  <c:v>0.4</c:v>
                </c:pt>
                <c:pt idx="2">
                  <c:v>0.4</c:v>
                </c:pt>
                <c:pt idx="3">
                  <c:v>0.4</c:v>
                </c:pt>
              </c:numCache>
            </c:numRef>
          </c:xVal>
          <c:yVal>
            <c:numRef>
              <c:f>Sheet1!$B$31:$B$34</c:f>
              <c:numCache>
                <c:formatCode>General</c:formatCode>
                <c:ptCount val="4"/>
                <c:pt idx="0">
                  <c:v>1435.5</c:v>
                </c:pt>
                <c:pt idx="1">
                  <c:v>0.4</c:v>
                </c:pt>
                <c:pt idx="2">
                  <c:v>0.4</c:v>
                </c:pt>
                <c:pt idx="3">
                  <c:v>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2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
          <c:min val="0.320000000000000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2563817482412457</c:v>
                </c:pt>
                <c:pt idx="1">
                  <c:v>0.3889670019771032</c:v>
                </c:pt>
                <c:pt idx="2">
                  <c:v>0.5388556766686025</c:v>
                </c:pt>
                <c:pt idx="3">
                  <c:v>0.5664524317076243</c:v>
                </c:pt>
                <c:pt idx="4">
                  <c:v>0.4972092354480864</c:v>
                </c:pt>
                <c:pt idx="5">
                  <c:v>0.5111060460058454</c:v>
                </c:pt>
                <c:pt idx="6">
                  <c:v>0.5026781194153455</c:v>
                </c:pt>
                <c:pt idx="7">
                  <c:v>0.49602890325234894</c:v>
                </c:pt>
                <c:pt idx="8">
                  <c:v>0.49884959385215066</c:v>
                </c:pt>
                <c:pt idx="9">
                  <c:v>0.4616361770140176</c:v>
                </c:pt>
                <c:pt idx="10">
                  <c:v>0.48002691727750346</c:v>
                </c:pt>
                <c:pt idx="11">
                  <c:v>0.46394036311161807</c:v>
                </c:pt>
                <c:pt idx="12">
                  <c:v>0.4273970644390215</c:v>
                </c:pt>
                <c:pt idx="13">
                  <c:v>0.3844873179432919</c:v>
                </c:pt>
                <c:pt idx="14">
                  <c:v>0.3970613311760343</c:v>
                </c:pt>
                <c:pt idx="15">
                  <c:v>0.43217282950558217</c:v>
                </c:pt>
                <c:pt idx="16">
                  <c:v>0.45762041272049314</c:v>
                </c:pt>
              </c:numCache>
            </c:numRef>
          </c:xVal>
          <c:yVal>
            <c:numRef>
              <c:f>Sheet1!$B$4:$B$20</c:f>
              <c:numCache>
                <c:formatCode>General</c:formatCode>
                <c:ptCount val="17"/>
                <c:pt idx="0">
                  <c:v>0.0018181818181818182</c:v>
                </c:pt>
                <c:pt idx="1">
                  <c:v>0.004282655246252677</c:v>
                </c:pt>
                <c:pt idx="2">
                  <c:v>0.00408997955010225</c:v>
                </c:pt>
                <c:pt idx="3">
                  <c:v>0.004219409282700422</c:v>
                </c:pt>
                <c:pt idx="4">
                  <c:v>0.00796812749003984</c:v>
                </c:pt>
                <c:pt idx="5">
                  <c:v>0.007272727272727273</c:v>
                </c:pt>
                <c:pt idx="6">
                  <c:v>0.010830324909747292</c:v>
                </c:pt>
                <c:pt idx="7">
                  <c:v>0.010889292196007259</c:v>
                </c:pt>
                <c:pt idx="8">
                  <c:v>0.007331378299120235</c:v>
                </c:pt>
                <c:pt idx="9">
                  <c:v>0.011764705882352941</c:v>
                </c:pt>
                <c:pt idx="10">
                  <c:v>0.011056511056511056</c:v>
                </c:pt>
                <c:pt idx="11">
                  <c:v>0.011842105263157895</c:v>
                </c:pt>
                <c:pt idx="12">
                  <c:v>0.014723926380368098</c:v>
                </c:pt>
                <c:pt idx="13">
                  <c:v>0.016339869281045753</c:v>
                </c:pt>
                <c:pt idx="14">
                  <c:v>0.01639344262295082</c:v>
                </c:pt>
                <c:pt idx="15">
                  <c:v>0.01693227091633466</c:v>
                </c:pt>
                <c:pt idx="16">
                  <c:v>0.009779951100244499</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4516120103536319</c:v>
                </c:pt>
              </c:numCache>
            </c:numRef>
          </c:xVal>
          <c:yVal>
            <c:numRef>
              <c:f>Sheet1!$B$23:$B$24</c:f>
              <c:numCache>
                <c:formatCode>General</c:formatCode>
                <c:ptCount val="2"/>
                <c:pt idx="0">
                  <c:v>0.014861383480143934</c:v>
                </c:pt>
                <c:pt idx="1">
                  <c:v>0.014861383480143934</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4516120103536319</c:v>
                </c:pt>
                <c:pt idx="1">
                  <c:v>-0.4516120103536319</c:v>
                </c:pt>
              </c:numCache>
            </c:numRef>
          </c:xVal>
          <c:yVal>
            <c:numRef>
              <c:f>Sheet1!$B$27:$B$28</c:f>
              <c:numCache>
                <c:formatCode>General</c:formatCode>
                <c:ptCount val="2"/>
                <c:pt idx="0">
                  <c:v>0.0148613834801439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4516120103536319</c:v>
                </c:pt>
              </c:numCache>
            </c:numRef>
          </c:xVal>
          <c:yVal>
            <c:numRef>
              <c:f>Sheet1!$B$31:$B$32</c:f>
              <c:numCache>
                <c:formatCode>General</c:formatCode>
                <c:ptCount val="2"/>
                <c:pt idx="0">
                  <c:v>0.014861383480143934</c:v>
                </c:pt>
                <c:pt idx="1">
                  <c:v>0.014861383480143934</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4516120103536319</c:v>
                </c:pt>
                <c:pt idx="1">
                  <c:v>-0.4516120103536319</c:v>
                </c:pt>
              </c:numCache>
            </c:numRef>
          </c:xVal>
          <c:yVal>
            <c:numRef>
              <c:f>Sheet1!$B$35:$B$36</c:f>
              <c:numCache>
                <c:formatCode>General</c:formatCode>
                <c:ptCount val="2"/>
                <c:pt idx="0">
                  <c:v>0.0148613834801439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10754960610319697</c:v>
                </c:pt>
              </c:numCache>
            </c:numRef>
          </c:xVal>
          <c:yVal>
            <c:numRef>
              <c:f>Sheet1!$B$39:$B$40</c:f>
              <c:numCache>
                <c:formatCode>General</c:formatCode>
                <c:ptCount val="2"/>
                <c:pt idx="0">
                  <c:v>0.011778817897739047</c:v>
                </c:pt>
                <c:pt idx="1">
                  <c:v>0.011778817897739047</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10754960610319697</c:v>
                </c:pt>
                <c:pt idx="1">
                  <c:v>0.10754960610319697</c:v>
                </c:pt>
              </c:numCache>
            </c:numRef>
          </c:xVal>
          <c:yVal>
            <c:numRef>
              <c:f>Sheet1!$B$43:$B$44</c:f>
              <c:numCache>
                <c:formatCode>General</c:formatCode>
                <c:ptCount val="2"/>
                <c:pt idx="0">
                  <c:v>0.0117788178977390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2563817482412457</c:v>
                </c:pt>
                <c:pt idx="1">
                  <c:v>0.3889670019771032</c:v>
                </c:pt>
                <c:pt idx="2">
                  <c:v>0.5388556766686025</c:v>
                </c:pt>
                <c:pt idx="3">
                  <c:v>0.5664524317076243</c:v>
                </c:pt>
                <c:pt idx="4">
                  <c:v>0.4972092354480864</c:v>
                </c:pt>
                <c:pt idx="5">
                  <c:v>0.5111060460058454</c:v>
                </c:pt>
                <c:pt idx="6">
                  <c:v>0.5026781194153455</c:v>
                </c:pt>
                <c:pt idx="7">
                  <c:v>0.49602890325234894</c:v>
                </c:pt>
                <c:pt idx="8">
                  <c:v>0.49884959385215066</c:v>
                </c:pt>
                <c:pt idx="9">
                  <c:v>0.4616361770140176</c:v>
                </c:pt>
                <c:pt idx="10">
                  <c:v>0.48002691727750346</c:v>
                </c:pt>
                <c:pt idx="11">
                  <c:v>0.46394036311161807</c:v>
                </c:pt>
                <c:pt idx="12">
                  <c:v>0.4273970644390215</c:v>
                </c:pt>
                <c:pt idx="13">
                  <c:v>0.3844873179432919</c:v>
                </c:pt>
                <c:pt idx="14">
                  <c:v>0.3970613311760343</c:v>
                </c:pt>
                <c:pt idx="15">
                  <c:v>0.43217282950558217</c:v>
                </c:pt>
                <c:pt idx="16">
                  <c:v>0.45762041272049314</c:v>
                </c:pt>
                <c:pt idx="17">
                  <c:v>-0.4516120103536319</c:v>
                </c:pt>
                <c:pt idx="18">
                  <c:v>-0.4516120103536319</c:v>
                </c:pt>
                <c:pt idx="19">
                  <c:v>0.10754960610319697</c:v>
                </c:pt>
              </c:numCache>
            </c:numRef>
          </c:xVal>
          <c:yVal>
            <c:numRef>
              <c:f>Sheet1!$B$47:$B$66</c:f>
              <c:numCache>
                <c:formatCode>General</c:formatCode>
                <c:ptCount val="20"/>
                <c:pt idx="0">
                  <c:v>0.010958330894683531</c:v>
                </c:pt>
                <c:pt idx="1">
                  <c:v>0.01022741030236829</c:v>
                </c:pt>
                <c:pt idx="2">
                  <c:v>0.009401098809952088</c:v>
                </c:pt>
                <c:pt idx="3">
                  <c:v>0.009248962460164004</c:v>
                </c:pt>
                <c:pt idx="4">
                  <c:v>0.009630688757755529</c:v>
                </c:pt>
                <c:pt idx="5">
                  <c:v>0.009554077937789033</c:v>
                </c:pt>
                <c:pt idx="6">
                  <c:v>0.009600539704252068</c:v>
                </c:pt>
                <c:pt idx="7">
                  <c:v>0.009637195734084555</c:v>
                </c:pt>
                <c:pt idx="8">
                  <c:v>0.009621645732965634</c:v>
                </c:pt>
                <c:pt idx="9">
                  <c:v>0.00982679714996704</c:v>
                </c:pt>
                <c:pt idx="10">
                  <c:v>0.009725412038216355</c:v>
                </c:pt>
                <c:pt idx="11">
                  <c:v>0.009814094552809304</c:v>
                </c:pt>
                <c:pt idx="12">
                  <c:v>0.010015551719110321</c:v>
                </c:pt>
                <c:pt idx="13">
                  <c:v>0.010252106060117502</c:v>
                </c:pt>
                <c:pt idx="14">
                  <c:v>0.010182787603193431</c:v>
                </c:pt>
                <c:pt idx="15">
                  <c:v>0.009989223715559012</c:v>
                </c:pt>
                <c:pt idx="16">
                  <c:v>0.009848935394857147</c:v>
                </c:pt>
                <c:pt idx="17">
                  <c:v>0.014861383480143934</c:v>
                </c:pt>
                <c:pt idx="18">
                  <c:v>0.014861383480143934</c:v>
                </c:pt>
                <c:pt idx="19">
                  <c:v>0.0117788178977390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031872509960159"/>
          <c:min val="0.001454545454545454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3188.0</c:v>
                </c:pt>
                <c:pt idx="1">
                  <c:v>4806.0</c:v>
                </c:pt>
                <c:pt idx="2">
                  <c:v>6661.0</c:v>
                </c:pt>
                <c:pt idx="3">
                  <c:v>7105.5</c:v>
                </c:pt>
                <c:pt idx="4">
                  <c:v>6198.75</c:v>
                </c:pt>
                <c:pt idx="5">
                  <c:v>6367.25</c:v>
                </c:pt>
                <c:pt idx="6">
                  <c:v>6216.6667</c:v>
                </c:pt>
                <c:pt idx="7">
                  <c:v>6130.6667</c:v>
                </c:pt>
                <c:pt idx="8">
                  <c:v>6062.2</c:v>
                </c:pt>
                <c:pt idx="9">
                  <c:v>5611.1111</c:v>
                </c:pt>
                <c:pt idx="10">
                  <c:v>5785.4444</c:v>
                </c:pt>
                <c:pt idx="11">
                  <c:v>5518.2222</c:v>
                </c:pt>
                <c:pt idx="12">
                  <c:v>5216.9167</c:v>
                </c:pt>
                <c:pt idx="13">
                  <c:v>4687.3333</c:v>
                </c:pt>
                <c:pt idx="14">
                  <c:v>4899.0</c:v>
                </c:pt>
                <c:pt idx="15">
                  <c:v>5356.7059</c:v>
                </c:pt>
                <c:pt idx="16">
                  <c:v>5675.125</c:v>
                </c:pt>
              </c:numCache>
            </c:numRef>
          </c:xVal>
          <c:yVal>
            <c:numRef>
              <c:f>Sheet1!$B$4:$B$20</c:f>
              <c:numCache>
                <c:formatCode>General</c:formatCode>
                <c:ptCount val="17"/>
                <c:pt idx="0">
                  <c:v>0.0018181818181818182</c:v>
                </c:pt>
                <c:pt idx="1">
                  <c:v>0.004282655246252677</c:v>
                </c:pt>
                <c:pt idx="2">
                  <c:v>0.00408997955010225</c:v>
                </c:pt>
                <c:pt idx="3">
                  <c:v>0.004219409282700422</c:v>
                </c:pt>
                <c:pt idx="4">
                  <c:v>0.00796812749003984</c:v>
                </c:pt>
                <c:pt idx="5">
                  <c:v>0.007272727272727273</c:v>
                </c:pt>
                <c:pt idx="6">
                  <c:v>0.010830324909747292</c:v>
                </c:pt>
                <c:pt idx="7">
                  <c:v>0.010889292196007259</c:v>
                </c:pt>
                <c:pt idx="8">
                  <c:v>0.007331378299120235</c:v>
                </c:pt>
                <c:pt idx="9">
                  <c:v>0.011764705882352941</c:v>
                </c:pt>
                <c:pt idx="10">
                  <c:v>0.011056511056511056</c:v>
                </c:pt>
                <c:pt idx="11">
                  <c:v>0.011842105263157895</c:v>
                </c:pt>
                <c:pt idx="12">
                  <c:v>0.014723926380368098</c:v>
                </c:pt>
                <c:pt idx="13">
                  <c:v>0.016339869281045753</c:v>
                </c:pt>
                <c:pt idx="14">
                  <c:v>0.01639344262295082</c:v>
                </c:pt>
                <c:pt idx="15">
                  <c:v>0.01693227091633466</c:v>
                </c:pt>
                <c:pt idx="16">
                  <c:v>0.009779951100244499</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2736.8465009942256</c:v>
                </c:pt>
              </c:numCache>
            </c:numRef>
          </c:xVal>
          <c:yVal>
            <c:numRef>
              <c:f>Sheet1!$B$23:$B$24</c:f>
              <c:numCache>
                <c:formatCode>General</c:formatCode>
                <c:ptCount val="2"/>
                <c:pt idx="0">
                  <c:v>0.014861383480143934</c:v>
                </c:pt>
                <c:pt idx="1">
                  <c:v>0.014861383480143934</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2736.8465009942256</c:v>
                </c:pt>
                <c:pt idx="1">
                  <c:v>-2736.8465009942256</c:v>
                </c:pt>
              </c:numCache>
            </c:numRef>
          </c:xVal>
          <c:yVal>
            <c:numRef>
              <c:f>Sheet1!$B$27:$B$28</c:f>
              <c:numCache>
                <c:formatCode>General</c:formatCode>
                <c:ptCount val="2"/>
                <c:pt idx="0">
                  <c:v>0.0148613834801439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2736.8465009942256</c:v>
                </c:pt>
              </c:numCache>
            </c:numRef>
          </c:xVal>
          <c:yVal>
            <c:numRef>
              <c:f>Sheet1!$B$31:$B$32</c:f>
              <c:numCache>
                <c:formatCode>General</c:formatCode>
                <c:ptCount val="2"/>
                <c:pt idx="0">
                  <c:v>0.014861383480143934</c:v>
                </c:pt>
                <c:pt idx="1">
                  <c:v>0.014861383480143934</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2736.8465009942256</c:v>
                </c:pt>
                <c:pt idx="1">
                  <c:v>-2736.8465009942256</c:v>
                </c:pt>
              </c:numCache>
            </c:numRef>
          </c:xVal>
          <c:yVal>
            <c:numRef>
              <c:f>Sheet1!$B$35:$B$36</c:f>
              <c:numCache>
                <c:formatCode>General</c:formatCode>
                <c:ptCount val="2"/>
                <c:pt idx="0">
                  <c:v>0.0148613834801439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2406.7213957037643</c:v>
                </c:pt>
              </c:numCache>
            </c:numRef>
          </c:xVal>
          <c:yVal>
            <c:numRef>
              <c:f>Sheet1!$B$39:$B$40</c:f>
              <c:numCache>
                <c:formatCode>General</c:formatCode>
                <c:ptCount val="2"/>
                <c:pt idx="0">
                  <c:v>0.011778817897739047</c:v>
                </c:pt>
                <c:pt idx="1">
                  <c:v>0.011778817897739047</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2406.7213957037643</c:v>
                </c:pt>
                <c:pt idx="1">
                  <c:v>2406.7213957037643</c:v>
                </c:pt>
              </c:numCache>
            </c:numRef>
          </c:xVal>
          <c:yVal>
            <c:numRef>
              <c:f>Sheet1!$B$43:$B$44</c:f>
              <c:numCache>
                <c:formatCode>General</c:formatCode>
                <c:ptCount val="2"/>
                <c:pt idx="0">
                  <c:v>0.0117788178977390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3188.0</c:v>
                </c:pt>
                <c:pt idx="1">
                  <c:v>4806.0</c:v>
                </c:pt>
                <c:pt idx="2">
                  <c:v>6661.0</c:v>
                </c:pt>
                <c:pt idx="3">
                  <c:v>7105.5</c:v>
                </c:pt>
                <c:pt idx="4">
                  <c:v>6198.75</c:v>
                </c:pt>
                <c:pt idx="5">
                  <c:v>6367.25</c:v>
                </c:pt>
                <c:pt idx="6">
                  <c:v>6216.6667</c:v>
                </c:pt>
                <c:pt idx="7">
                  <c:v>6130.6667</c:v>
                </c:pt>
                <c:pt idx="8">
                  <c:v>6062.2</c:v>
                </c:pt>
                <c:pt idx="9">
                  <c:v>5611.1111</c:v>
                </c:pt>
                <c:pt idx="10">
                  <c:v>5785.4444</c:v>
                </c:pt>
                <c:pt idx="11">
                  <c:v>5518.2222</c:v>
                </c:pt>
                <c:pt idx="12">
                  <c:v>5216.9167</c:v>
                </c:pt>
                <c:pt idx="13">
                  <c:v>4687.3333</c:v>
                </c:pt>
                <c:pt idx="14">
                  <c:v>4899.0</c:v>
                </c:pt>
                <c:pt idx="15">
                  <c:v>5356.7059</c:v>
                </c:pt>
                <c:pt idx="16">
                  <c:v>5675.125</c:v>
                </c:pt>
                <c:pt idx="17">
                  <c:v>-2736.8465009942256</c:v>
                </c:pt>
                <c:pt idx="18">
                  <c:v>-2736.8465009942256</c:v>
                </c:pt>
                <c:pt idx="19">
                  <c:v>2406.7213957037643</c:v>
                </c:pt>
              </c:numCache>
            </c:numRef>
          </c:xVal>
          <c:yVal>
            <c:numRef>
              <c:f>Sheet1!$B$47:$B$66</c:f>
              <c:numCache>
                <c:formatCode>General</c:formatCode>
                <c:ptCount val="20"/>
                <c:pt idx="0">
                  <c:v>0.01131059378089226</c:v>
                </c:pt>
                <c:pt idx="1">
                  <c:v>0.010340918409146319</c:v>
                </c:pt>
                <c:pt idx="2">
                  <c:v>0.009229207769721894</c:v>
                </c:pt>
                <c:pt idx="3">
                  <c:v>0.008962816729708872</c:v>
                </c:pt>
                <c:pt idx="4">
                  <c:v>0.00950623647218763</c:v>
                </c:pt>
                <c:pt idx="5">
                  <c:v>0.009405253592002717</c:v>
                </c:pt>
                <c:pt idx="6">
                  <c:v>0.0094954989056036</c:v>
                </c:pt>
                <c:pt idx="7">
                  <c:v>0.009547039129318157</c:v>
                </c:pt>
                <c:pt idx="8">
                  <c:v>0.00958807155995766</c:v>
                </c:pt>
                <c:pt idx="9">
                  <c:v>0.009858411360203623</c:v>
                </c:pt>
                <c:pt idx="10">
                  <c:v>0.009753932554588545</c:v>
                </c:pt>
                <c:pt idx="11">
                  <c:v>0.009914080135629192</c:v>
                </c:pt>
                <c:pt idx="12">
                  <c:v>0.010094654006285309</c:v>
                </c:pt>
                <c:pt idx="13">
                  <c:v>0.010412035947116878</c:v>
                </c:pt>
                <c:pt idx="14">
                  <c:v>0.01028518305094337</c:v>
                </c:pt>
                <c:pt idx="15">
                  <c:v>0.01001087764999602</c:v>
                </c:pt>
                <c:pt idx="16">
                  <c:v>0.009820047514542678</c:v>
                </c:pt>
                <c:pt idx="17">
                  <c:v>0.014861383480143934</c:v>
                </c:pt>
                <c:pt idx="18">
                  <c:v>0.014861383480143934</c:v>
                </c:pt>
                <c:pt idx="19">
                  <c:v>0.0117788178977390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52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031872509960159"/>
          <c:min val="0.001454545454545454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24286448636267535</c:v>
                </c:pt>
                <c:pt idx="1">
                  <c:v>0.3654157376894072</c:v>
                </c:pt>
                <c:pt idx="2">
                  <c:v>0.5001980592075004</c:v>
                </c:pt>
                <c:pt idx="3">
                  <c:v>0.5347235256993974</c:v>
                </c:pt>
                <c:pt idx="4">
                  <c:v>0.47061072376888713</c:v>
                </c:pt>
                <c:pt idx="5">
                  <c:v>0.4894487615080321</c:v>
                </c:pt>
                <c:pt idx="6">
                  <c:v>0.4859055070794686</c:v>
                </c:pt>
                <c:pt idx="7">
                  <c:v>0.4804423171584456</c:v>
                </c:pt>
                <c:pt idx="8">
                  <c:v>0.47665224847736565</c:v>
                </c:pt>
                <c:pt idx="9">
                  <c:v>0.44716722977329176</c:v>
                </c:pt>
                <c:pt idx="10">
                  <c:v>0.4608094832962225</c:v>
                </c:pt>
                <c:pt idx="11">
                  <c:v>0.43067939365905</c:v>
                </c:pt>
                <c:pt idx="12">
                  <c:v>0.4069973693367015</c:v>
                </c:pt>
                <c:pt idx="13">
                  <c:v>0.36404361486924275</c:v>
                </c:pt>
                <c:pt idx="14">
                  <c:v>0.3777234863768308</c:v>
                </c:pt>
                <c:pt idx="15">
                  <c:v>0.4194496851562466</c:v>
                </c:pt>
                <c:pt idx="16">
                  <c:v>0.44054281068909845</c:v>
                </c:pt>
              </c:numCache>
            </c:numRef>
          </c:xVal>
          <c:yVal>
            <c:numRef>
              <c:f>Sheet1!$B$4:$B$20</c:f>
              <c:numCache>
                <c:formatCode>General</c:formatCode>
                <c:ptCount val="17"/>
                <c:pt idx="0">
                  <c:v>0.0018181818181818182</c:v>
                </c:pt>
                <c:pt idx="1">
                  <c:v>0.004282655246252677</c:v>
                </c:pt>
                <c:pt idx="2">
                  <c:v>0.00408997955010225</c:v>
                </c:pt>
                <c:pt idx="3">
                  <c:v>0.004219409282700422</c:v>
                </c:pt>
                <c:pt idx="4">
                  <c:v>0.00796812749003984</c:v>
                </c:pt>
                <c:pt idx="5">
                  <c:v>0.007272727272727273</c:v>
                </c:pt>
                <c:pt idx="6">
                  <c:v>0.010830324909747292</c:v>
                </c:pt>
                <c:pt idx="7">
                  <c:v>0.010889292196007259</c:v>
                </c:pt>
                <c:pt idx="8">
                  <c:v>0.007331378299120235</c:v>
                </c:pt>
                <c:pt idx="9">
                  <c:v>0.011764705882352941</c:v>
                </c:pt>
                <c:pt idx="10">
                  <c:v>0.011056511056511056</c:v>
                </c:pt>
                <c:pt idx="11">
                  <c:v>0.011842105263157895</c:v>
                </c:pt>
                <c:pt idx="12">
                  <c:v>0.014723926380368098</c:v>
                </c:pt>
                <c:pt idx="13">
                  <c:v>0.016339869281045753</c:v>
                </c:pt>
                <c:pt idx="14">
                  <c:v>0.01639344262295082</c:v>
                </c:pt>
                <c:pt idx="15">
                  <c:v>0.01693227091633466</c:v>
                </c:pt>
                <c:pt idx="16">
                  <c:v>0.009779951100244499</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1.054919190267759</c:v>
                </c:pt>
              </c:numCache>
            </c:numRef>
          </c:xVal>
          <c:yVal>
            <c:numRef>
              <c:f>Sheet1!$B$23:$B$24</c:f>
              <c:numCache>
                <c:formatCode>General</c:formatCode>
                <c:ptCount val="2"/>
                <c:pt idx="0">
                  <c:v>0.014861383480143934</c:v>
                </c:pt>
                <c:pt idx="1">
                  <c:v>0.014861383480143934</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1.054919190267759</c:v>
                </c:pt>
                <c:pt idx="1">
                  <c:v>-1.054919190267759</c:v>
                </c:pt>
              </c:numCache>
            </c:numRef>
          </c:xVal>
          <c:yVal>
            <c:numRef>
              <c:f>Sheet1!$B$27:$B$28</c:f>
              <c:numCache>
                <c:formatCode>General</c:formatCode>
                <c:ptCount val="2"/>
                <c:pt idx="0">
                  <c:v>0.0148613834801439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1.054919190267759</c:v>
                </c:pt>
              </c:numCache>
            </c:numRef>
          </c:xVal>
          <c:yVal>
            <c:numRef>
              <c:f>Sheet1!$B$31:$B$32</c:f>
              <c:numCache>
                <c:formatCode>General</c:formatCode>
                <c:ptCount val="2"/>
                <c:pt idx="0">
                  <c:v>0.014861383480143934</c:v>
                </c:pt>
                <c:pt idx="1">
                  <c:v>0.014861383480143934</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1.054919190267759</c:v>
                </c:pt>
                <c:pt idx="1">
                  <c:v>-1.054919190267759</c:v>
                </c:pt>
              </c:numCache>
            </c:numRef>
          </c:xVal>
          <c:yVal>
            <c:numRef>
              <c:f>Sheet1!$B$35:$B$36</c:f>
              <c:numCache>
                <c:formatCode>General</c:formatCode>
                <c:ptCount val="2"/>
                <c:pt idx="0">
                  <c:v>0.0148613834801439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13758522202671886</c:v>
                </c:pt>
              </c:numCache>
            </c:numRef>
          </c:xVal>
          <c:yVal>
            <c:numRef>
              <c:f>Sheet1!$B$39:$B$40</c:f>
              <c:numCache>
                <c:formatCode>General</c:formatCode>
                <c:ptCount val="2"/>
                <c:pt idx="0">
                  <c:v>0.011778817897739047</c:v>
                </c:pt>
                <c:pt idx="1">
                  <c:v>0.011778817897739047</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13758522202671886</c:v>
                </c:pt>
                <c:pt idx="1">
                  <c:v>-0.13758522202671886</c:v>
                </c:pt>
              </c:numCache>
            </c:numRef>
          </c:xVal>
          <c:yVal>
            <c:numRef>
              <c:f>Sheet1!$B$43:$B$44</c:f>
              <c:numCache>
                <c:formatCode>General</c:formatCode>
                <c:ptCount val="2"/>
                <c:pt idx="0">
                  <c:v>0.0117788178977390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24286448636267535</c:v>
                </c:pt>
                <c:pt idx="1">
                  <c:v>0.3654157376894072</c:v>
                </c:pt>
                <c:pt idx="2">
                  <c:v>0.5001980592075004</c:v>
                </c:pt>
                <c:pt idx="3">
                  <c:v>0.5347235256993974</c:v>
                </c:pt>
                <c:pt idx="4">
                  <c:v>0.47061072376888713</c:v>
                </c:pt>
                <c:pt idx="5">
                  <c:v>0.4894487615080321</c:v>
                </c:pt>
                <c:pt idx="6">
                  <c:v>0.4859055070794686</c:v>
                </c:pt>
                <c:pt idx="7">
                  <c:v>0.4804423171584456</c:v>
                </c:pt>
                <c:pt idx="8">
                  <c:v>0.47665224847736565</c:v>
                </c:pt>
                <c:pt idx="9">
                  <c:v>0.44716722977329176</c:v>
                </c:pt>
                <c:pt idx="10">
                  <c:v>0.4608094832962225</c:v>
                </c:pt>
                <c:pt idx="11">
                  <c:v>0.43067939365905</c:v>
                </c:pt>
                <c:pt idx="12">
                  <c:v>0.4069973693367015</c:v>
                </c:pt>
                <c:pt idx="13">
                  <c:v>0.36404361486924275</c:v>
                </c:pt>
                <c:pt idx="14">
                  <c:v>0.3777234863768308</c:v>
                </c:pt>
                <c:pt idx="15">
                  <c:v>0.4194496851562466</c:v>
                </c:pt>
                <c:pt idx="16">
                  <c:v>0.44054281068909845</c:v>
                </c:pt>
                <c:pt idx="17">
                  <c:v>-1.054919190267759</c:v>
                </c:pt>
                <c:pt idx="18">
                  <c:v>-1.054919190267759</c:v>
                </c:pt>
                <c:pt idx="19">
                  <c:v>-0.13758522202671886</c:v>
                </c:pt>
              </c:numCache>
            </c:numRef>
          </c:xVal>
          <c:yVal>
            <c:numRef>
              <c:f>Sheet1!$B$47:$B$66</c:f>
              <c:numCache>
                <c:formatCode>General</c:formatCode>
                <c:ptCount val="20"/>
                <c:pt idx="0">
                  <c:v>0.010500372732162266</c:v>
                </c:pt>
                <c:pt idx="1">
                  <c:v>0.010088557316512934</c:v>
                </c:pt>
                <c:pt idx="2">
                  <c:v>0.009635641192383174</c:v>
                </c:pt>
                <c:pt idx="3">
                  <c:v>0.009519623451397887</c:v>
                </c:pt>
                <c:pt idx="4">
                  <c:v>0.009735065071859719</c:v>
                </c:pt>
                <c:pt idx="5">
                  <c:v>0.009671762622822452</c:v>
                </c:pt>
                <c:pt idx="6">
                  <c:v>0.009683669207042958</c:v>
                </c:pt>
                <c:pt idx="7">
                  <c:v>0.009702027451481434</c:v>
                </c:pt>
                <c:pt idx="8">
                  <c:v>0.009714763418616337</c:v>
                </c:pt>
                <c:pt idx="9">
                  <c:v>0.009813843477788266</c:v>
                </c:pt>
                <c:pt idx="10">
                  <c:v>0.009768000695734896</c:v>
                </c:pt>
                <c:pt idx="11">
                  <c:v>0.009869248420692048</c:v>
                </c:pt>
                <c:pt idx="12">
                  <c:v>0.00994882837262354</c:v>
                </c:pt>
                <c:pt idx="13">
                  <c:v>0.010093168132994941</c:v>
                </c:pt>
                <c:pt idx="14">
                  <c:v>0.010047198941249136</c:v>
                </c:pt>
                <c:pt idx="15">
                  <c:v>0.009906984200821891</c:v>
                </c:pt>
                <c:pt idx="16">
                  <c:v>0.0098361038616608</c:v>
                </c:pt>
                <c:pt idx="17">
                  <c:v>0.014861383480143934</c:v>
                </c:pt>
                <c:pt idx="18">
                  <c:v>0.014861383480143934</c:v>
                </c:pt>
                <c:pt idx="19">
                  <c:v>0.0117788178977390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031872509960159"/>
          <c:min val="0.001454545454545454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335002138992396</c:v>
                </c:pt>
                <c:pt idx="1">
                  <c:v>0.16989149353642732</c:v>
                </c:pt>
                <c:pt idx="2">
                  <c:v>0.1717201998441449</c:v>
                </c:pt>
                <c:pt idx="3">
                  <c:v>0.1735169621098225</c:v>
                </c:pt>
                <c:pt idx="4">
                  <c:v>0.16681392829503544</c:v>
                </c:pt>
                <c:pt idx="5">
                  <c:v>0.16355385898015393</c:v>
                </c:pt>
                <c:pt idx="6">
                  <c:v>0.1638280510867441</c:v>
                </c:pt>
                <c:pt idx="7">
                  <c:v>0.159638498593992</c:v>
                </c:pt>
                <c:pt idx="8">
                  <c:v>0.1596597973113407</c:v>
                </c:pt>
                <c:pt idx="9">
                  <c:v>0.15799108982084095</c:v>
                </c:pt>
                <c:pt idx="10">
                  <c:v>0.1614350961392481</c:v>
                </c:pt>
                <c:pt idx="11">
                  <c:v>0.17274177997772042</c:v>
                </c:pt>
                <c:pt idx="12">
                  <c:v>0.17708068634228488</c:v>
                </c:pt>
                <c:pt idx="13">
                  <c:v>0.1732328505424726</c:v>
                </c:pt>
                <c:pt idx="14">
                  <c:v>0.17624536786835254</c:v>
                </c:pt>
                <c:pt idx="15">
                  <c:v>0.17797558565418797</c:v>
                </c:pt>
                <c:pt idx="16">
                  <c:v>0.170437864255872</c:v>
                </c:pt>
                <c:pt idx="17">
                  <c:v>0.1647367254511402</c:v>
                </c:pt>
                <c:pt idx="18">
                  <c:v>0.16064962015954376</c:v>
                </c:pt>
                <c:pt idx="19">
                  <c:v>0.16252617508700148</c:v>
                </c:pt>
                <c:pt idx="20">
                  <c:v>0.1726925423928072</c:v>
                </c:pt>
                <c:pt idx="21">
                  <c:v>0.16557816917002</c:v>
                </c:pt>
                <c:pt idx="22">
                  <c:v>0.15537442918969022</c:v>
                </c:pt>
                <c:pt idx="23">
                  <c:v>0.15261400242383183</c:v>
                </c:pt>
                <c:pt idx="24">
                  <c:v>0.15760933065195423</c:v>
                </c:pt>
                <c:pt idx="25">
                  <c:v>0.1468499234731452</c:v>
                </c:pt>
                <c:pt idx="26">
                  <c:v>0.14970936022457917</c:v>
                </c:pt>
                <c:pt idx="27">
                  <c:v>0.149679954789932</c:v>
                </c:pt>
                <c:pt idx="28">
                  <c:v>0.14731449530927215</c:v>
                </c:pt>
                <c:pt idx="29">
                  <c:v>0.1503752005256052</c:v>
                </c:pt>
                <c:pt idx="30">
                  <c:v>0.14179041230227266</c:v>
                </c:pt>
                <c:pt idx="31">
                  <c:v>0.13291030909051238</c:v>
                </c:pt>
                <c:pt idx="32">
                  <c:v>0.13435925369053006</c:v>
                </c:pt>
                <c:pt idx="33">
                  <c:v>0.13380793789486858</c:v>
                </c:pt>
                <c:pt idx="34">
                  <c:v>0.14411483645544051</c:v>
                </c:pt>
                <c:pt idx="35">
                  <c:v>0.15301218361285138</c:v>
                </c:pt>
                <c:pt idx="36">
                  <c:v>0.14650291821132633</c:v>
                </c:pt>
                <c:pt idx="37">
                  <c:v>0.13761551118189835</c:v>
                </c:pt>
                <c:pt idx="38">
                  <c:v>0.14656472897902298</c:v>
                </c:pt>
                <c:pt idx="39">
                  <c:v>0.14913877927467933</c:v>
                </c:pt>
                <c:pt idx="40">
                  <c:v>0.16190039703091452</c:v>
                </c:pt>
                <c:pt idx="41">
                  <c:v>0.1580029644252081</c:v>
                </c:pt>
                <c:pt idx="42">
                  <c:v>0.1582003071232188</c:v>
                </c:pt>
                <c:pt idx="43">
                  <c:v>0.167685139263205</c:v>
                </c:pt>
                <c:pt idx="44">
                  <c:v>0.1766401346150254</c:v>
                </c:pt>
                <c:pt idx="45">
                  <c:v>0.1806663695210737</c:v>
                </c:pt>
                <c:pt idx="46">
                  <c:v>0.17865641361177229</c:v>
                </c:pt>
                <c:pt idx="47">
                  <c:v>0.17249121838034182</c:v>
                </c:pt>
                <c:pt idx="48">
                  <c:v>0.19660150027211676</c:v>
                </c:pt>
                <c:pt idx="49">
                  <c:v>0.20533012882850724</c:v>
                </c:pt>
                <c:pt idx="50">
                  <c:v>0.1782782792342354</c:v>
                </c:pt>
                <c:pt idx="51">
                  <c:v>0.1681604539383348</c:v>
                </c:pt>
                <c:pt idx="52">
                  <c:v>0.18344813037050986</c:v>
                </c:pt>
                <c:pt idx="53">
                  <c:v>0.18497720850504484</c:v>
                </c:pt>
                <c:pt idx="54">
                  <c:v>0.1785541332898652</c:v>
                </c:pt>
                <c:pt idx="55">
                  <c:v>0.17634868174013857</c:v>
                </c:pt>
                <c:pt idx="56">
                  <c:v>0.1799587909954026</c:v>
                </c:pt>
                <c:pt idx="57">
                  <c:v>0.17521096160975633</c:v>
                </c:pt>
                <c:pt idx="58">
                  <c:v>0.1848654208721638</c:v>
                </c:pt>
                <c:pt idx="59">
                  <c:v>0.20821922509676694</c:v>
                </c:pt>
                <c:pt idx="60">
                  <c:v>0.20962568776441987</c:v>
                </c:pt>
                <c:pt idx="61">
                  <c:v>0.198724981610538</c:v>
                </c:pt>
                <c:pt idx="62">
                  <c:v>0.19429812394600027</c:v>
                </c:pt>
                <c:pt idx="63">
                  <c:v>0.1982984332718032</c:v>
                </c:pt>
                <c:pt idx="64">
                  <c:v>0.20517639724147918</c:v>
                </c:pt>
                <c:pt idx="65">
                  <c:v>0.19526987736262488</c:v>
                </c:pt>
                <c:pt idx="66">
                  <c:v>0.19685506207837333</c:v>
                </c:pt>
                <c:pt idx="67">
                  <c:v>0.20385625838444268</c:v>
                </c:pt>
                <c:pt idx="68">
                  <c:v>0.19120627434022</c:v>
                </c:pt>
                <c:pt idx="69">
                  <c:v>0.1833438367864135</c:v>
                </c:pt>
                <c:pt idx="70">
                  <c:v>0.17750753486027185</c:v>
                </c:pt>
                <c:pt idx="71">
                  <c:v>0.18435814213487414</c:v>
                </c:pt>
                <c:pt idx="72">
                  <c:v>0.20396260061050406</c:v>
                </c:pt>
                <c:pt idx="73">
                  <c:v>0.19834777383795377</c:v>
                </c:pt>
                <c:pt idx="74">
                  <c:v>0.19619224044518016</c:v>
                </c:pt>
                <c:pt idx="75">
                  <c:v>0.18571728526891707</c:v>
                </c:pt>
                <c:pt idx="76">
                  <c:v>0.17520789635874454</c:v>
                </c:pt>
                <c:pt idx="77">
                  <c:v>0.17854830932343105</c:v>
                </c:pt>
                <c:pt idx="78">
                  <c:v>0.17699829105043693</c:v>
                </c:pt>
                <c:pt idx="79">
                  <c:v>0.16641821259191894</c:v>
                </c:pt>
                <c:pt idx="80">
                  <c:v>0.16687772914630566</c:v>
                </c:pt>
                <c:pt idx="81">
                  <c:v>0.17633585137531618</c:v>
                </c:pt>
                <c:pt idx="82">
                  <c:v>0.16988368813088772</c:v>
                </c:pt>
                <c:pt idx="83">
                  <c:v>0.1554688095819968</c:v>
                </c:pt>
                <c:pt idx="84">
                  <c:v>0.15295596892382926</c:v>
                </c:pt>
                <c:pt idx="85">
                  <c:v>0.15534252218195052</c:v>
                </c:pt>
                <c:pt idx="86">
                  <c:v>0.16275068818119673</c:v>
                </c:pt>
                <c:pt idx="87">
                  <c:v>0.1782183698782974</c:v>
                </c:pt>
                <c:pt idx="88">
                  <c:v>0.16321937326083258</c:v>
                </c:pt>
                <c:pt idx="89">
                  <c:v>0.1556491851090532</c:v>
                </c:pt>
                <c:pt idx="90">
                  <c:v>0.16505734335565037</c:v>
                </c:pt>
                <c:pt idx="91">
                  <c:v>0.1711865561268803</c:v>
                </c:pt>
                <c:pt idx="92">
                  <c:v>0.17374692586725063</c:v>
                </c:pt>
                <c:pt idx="93">
                  <c:v>0.17342440055882893</c:v>
                </c:pt>
                <c:pt idx="94">
                  <c:v>0.16784818493560397</c:v>
                </c:pt>
                <c:pt idx="95">
                  <c:v>0.17512852566739243</c:v>
                </c:pt>
                <c:pt idx="96">
                  <c:v>0.1806661169018074</c:v>
                </c:pt>
                <c:pt idx="97">
                  <c:v>0.1902970831915284</c:v>
                </c:pt>
                <c:pt idx="98">
                  <c:v>0.19965885235125166</c:v>
                </c:pt>
                <c:pt idx="99">
                  <c:v>0.20397949585185982</c:v>
                </c:pt>
                <c:pt idx="100">
                  <c:v>0.2192975374851525</c:v>
                </c:pt>
                <c:pt idx="101">
                  <c:v>0.20404971979980277</c:v>
                </c:pt>
                <c:pt idx="102">
                  <c:v>0.20529610526193004</c:v>
                </c:pt>
                <c:pt idx="103">
                  <c:v>0.19602229095907545</c:v>
                </c:pt>
                <c:pt idx="104">
                  <c:v>0.2006191024963391</c:v>
                </c:pt>
              </c:numCache>
            </c:numRef>
          </c:xVal>
          <c:yVal>
            <c:numRef>
              <c:f>Sheet1!$B$2:$B$106</c:f>
              <c:numCache>
                <c:formatCode>General</c:formatCode>
                <c:ptCount val="105"/>
                <c:pt idx="0">
                  <c:v>0.23418296003728872</c:v>
                </c:pt>
                <c:pt idx="1">
                  <c:v>0.23165931366074022</c:v>
                </c:pt>
                <c:pt idx="2">
                  <c:v>0.23278705032349017</c:v>
                </c:pt>
                <c:pt idx="3">
                  <c:v>0.2333306651724966</c:v>
                </c:pt>
                <c:pt idx="4">
                  <c:v>0.24390852650297945</c:v>
                </c:pt>
                <c:pt idx="5">
                  <c:v>0.24503670603255664</c:v>
                </c:pt>
                <c:pt idx="6">
                  <c:v>0.2710683172856488</c:v>
                </c:pt>
                <c:pt idx="7">
                  <c:v>0.27163461538461536</c:v>
                </c:pt>
                <c:pt idx="8">
                  <c:v>0.2694881600235329</c:v>
                </c:pt>
                <c:pt idx="9">
                  <c:v>0.26030640668523675</c:v>
                </c:pt>
                <c:pt idx="10">
                  <c:v>0.25559079668852813</c:v>
                </c:pt>
                <c:pt idx="11">
                  <c:v>0.23839553955666223</c:v>
                </c:pt>
                <c:pt idx="12">
                  <c:v>0.22530389481518234</c:v>
                </c:pt>
                <c:pt idx="13">
                  <c:v>0.2139519185835194</c:v>
                </c:pt>
                <c:pt idx="14">
                  <c:v>0.19948627892957305</c:v>
                </c:pt>
                <c:pt idx="15">
                  <c:v>0.19059006211180124</c:v>
                </c:pt>
                <c:pt idx="16">
                  <c:v>0.18442418631151627</c:v>
                </c:pt>
                <c:pt idx="17">
                  <c:v>0.18214480981020073</c:v>
                </c:pt>
                <c:pt idx="18">
                  <c:v>0.16781849002477506</c:v>
                </c:pt>
                <c:pt idx="19">
                  <c:v>0.1664623557053836</c:v>
                </c:pt>
                <c:pt idx="20">
                  <c:v>0.1770842061164642</c:v>
                </c:pt>
                <c:pt idx="21">
                  <c:v>0.18134497081865503</c:v>
                </c:pt>
                <c:pt idx="22">
                  <c:v>0.1921511324496399</c:v>
                </c:pt>
                <c:pt idx="23">
                  <c:v>0.20127326150832517</c:v>
                </c:pt>
                <c:pt idx="24">
                  <c:v>0.20410230438085591</c:v>
                </c:pt>
                <c:pt idx="25">
                  <c:v>0.20850965161439916</c:v>
                </c:pt>
                <c:pt idx="26">
                  <c:v>0.2231766279189384</c:v>
                </c:pt>
                <c:pt idx="27">
                  <c:v>0.22059716599190282</c:v>
                </c:pt>
                <c:pt idx="28">
                  <c:v>0.2278031977790345</c:v>
                </c:pt>
                <c:pt idx="29">
                  <c:v>0.22411392120749293</c:v>
                </c:pt>
                <c:pt idx="30">
                  <c:v>0.22836372028617585</c:v>
                </c:pt>
                <c:pt idx="31">
                  <c:v>0.23155645524066576</c:v>
                </c:pt>
                <c:pt idx="32">
                  <c:v>0.2391124358337473</c:v>
                </c:pt>
                <c:pt idx="33">
                  <c:v>0.23732728936930655</c:v>
                </c:pt>
                <c:pt idx="34">
                  <c:v>0.2376046610332986</c:v>
                </c:pt>
                <c:pt idx="35">
                  <c:v>0.25597164957235835</c:v>
                </c:pt>
                <c:pt idx="36">
                  <c:v>0.2249256444150694</c:v>
                </c:pt>
                <c:pt idx="37">
                  <c:v>0.21881479338444476</c:v>
                </c:pt>
                <c:pt idx="38">
                  <c:v>0.20735478882767952</c:v>
                </c:pt>
                <c:pt idx="39">
                  <c:v>0.20157617317435136</c:v>
                </c:pt>
                <c:pt idx="40">
                  <c:v>0.2043353918846106</c:v>
                </c:pt>
                <c:pt idx="41">
                  <c:v>0.19930262433474033</c:v>
                </c:pt>
                <c:pt idx="42">
                  <c:v>0.19792563600782778</c:v>
                </c:pt>
                <c:pt idx="43">
                  <c:v>0.19148566463944397</c:v>
                </c:pt>
                <c:pt idx="44">
                  <c:v>0.18882872746876686</c:v>
                </c:pt>
                <c:pt idx="45">
                  <c:v>0.20146325946347152</c:v>
                </c:pt>
                <c:pt idx="46">
                  <c:v>0.20674221893734088</c:v>
                </c:pt>
                <c:pt idx="47">
                  <c:v>0.20248705097825404</c:v>
                </c:pt>
                <c:pt idx="48">
                  <c:v>0.20068823124569857</c:v>
                </c:pt>
                <c:pt idx="49">
                  <c:v>0.21421377913941334</c:v>
                </c:pt>
                <c:pt idx="50">
                  <c:v>0.20370295834171864</c:v>
                </c:pt>
                <c:pt idx="51">
                  <c:v>0.19657907167540958</c:v>
                </c:pt>
                <c:pt idx="52">
                  <c:v>0.1990873753591347</c:v>
                </c:pt>
                <c:pt idx="53">
                  <c:v>0.1924849250862364</c:v>
                </c:pt>
                <c:pt idx="54">
                  <c:v>0.19632599504300918</c:v>
                </c:pt>
                <c:pt idx="55">
                  <c:v>0.1932637372498579</c:v>
                </c:pt>
                <c:pt idx="56">
                  <c:v>0.1963961784980046</c:v>
                </c:pt>
                <c:pt idx="57">
                  <c:v>0.1902930783620869</c:v>
                </c:pt>
                <c:pt idx="58">
                  <c:v>0.2004390569819605</c:v>
                </c:pt>
                <c:pt idx="59">
                  <c:v>0.19565183241961073</c:v>
                </c:pt>
                <c:pt idx="60">
                  <c:v>0.1985710596539554</c:v>
                </c:pt>
                <c:pt idx="61">
                  <c:v>0.19782154510669264</c:v>
                </c:pt>
                <c:pt idx="62">
                  <c:v>0.21214106590154305</c:v>
                </c:pt>
                <c:pt idx="63">
                  <c:v>0.2160689782292584</c:v>
                </c:pt>
                <c:pt idx="64">
                  <c:v>0.2057314629258517</c:v>
                </c:pt>
                <c:pt idx="65">
                  <c:v>0.20019627085377822</c:v>
                </c:pt>
                <c:pt idx="66">
                  <c:v>0.1993405749644317</c:v>
                </c:pt>
                <c:pt idx="67">
                  <c:v>0.18906573406609092</c:v>
                </c:pt>
                <c:pt idx="68">
                  <c:v>0.1790146244498083</c:v>
                </c:pt>
                <c:pt idx="69">
                  <c:v>0.17184334908845375</c:v>
                </c:pt>
                <c:pt idx="70">
                  <c:v>0.17183179516644523</c:v>
                </c:pt>
                <c:pt idx="71">
                  <c:v>0.1720010810393421</c:v>
                </c:pt>
                <c:pt idx="72">
                  <c:v>0.1703549517966696</c:v>
                </c:pt>
                <c:pt idx="73">
                  <c:v>0.17289084055492948</c:v>
                </c:pt>
                <c:pt idx="74">
                  <c:v>0.1736186858238989</c:v>
                </c:pt>
                <c:pt idx="75">
                  <c:v>0.18380130535722108</c:v>
                </c:pt>
                <c:pt idx="76">
                  <c:v>0.1867787900023359</c:v>
                </c:pt>
                <c:pt idx="77">
                  <c:v>0.17921302316620913</c:v>
                </c:pt>
                <c:pt idx="78">
                  <c:v>0.183714055361462</c:v>
                </c:pt>
                <c:pt idx="79">
                  <c:v>0.16925569427237205</c:v>
                </c:pt>
                <c:pt idx="80">
                  <c:v>0.1642047079005051</c:v>
                </c:pt>
                <c:pt idx="81">
                  <c:v>0.1722029753413491</c:v>
                </c:pt>
                <c:pt idx="82">
                  <c:v>0.17136125654450263</c:v>
                </c:pt>
                <c:pt idx="83">
                  <c:v>0.17091711623344777</c:v>
                </c:pt>
                <c:pt idx="84">
                  <c:v>0.1731971525843392</c:v>
                </c:pt>
                <c:pt idx="85">
                  <c:v>0.1781016320069865</c:v>
                </c:pt>
                <c:pt idx="86">
                  <c:v>0.18914164143687096</c:v>
                </c:pt>
                <c:pt idx="87">
                  <c:v>0.20626872551279096</c:v>
                </c:pt>
                <c:pt idx="88">
                  <c:v>0.19925086345283846</c:v>
                </c:pt>
                <c:pt idx="89">
                  <c:v>0.18920077137347333</c:v>
                </c:pt>
                <c:pt idx="90">
                  <c:v>0.17882288228822882</c:v>
                </c:pt>
                <c:pt idx="91">
                  <c:v>0.17116303770578864</c:v>
                </c:pt>
                <c:pt idx="92">
                  <c:v>0.18376905390445372</c:v>
                </c:pt>
                <c:pt idx="93">
                  <c:v>0.17386494017374202</c:v>
                </c:pt>
                <c:pt idx="94">
                  <c:v>0.17872005918801442</c:v>
                </c:pt>
                <c:pt idx="95">
                  <c:v>0.18349928876244664</c:v>
                </c:pt>
                <c:pt idx="96">
                  <c:v>0.1838017571962526</c:v>
                </c:pt>
                <c:pt idx="97">
                  <c:v>0.18564141638622558</c:v>
                </c:pt>
                <c:pt idx="98">
                  <c:v>0.19047008859925313</c:v>
                </c:pt>
                <c:pt idx="99">
                  <c:v>0.19314582541492462</c:v>
                </c:pt>
                <c:pt idx="100">
                  <c:v>0.19683051921857891</c:v>
                </c:pt>
                <c:pt idx="101">
                  <c:v>0.19314315106433488</c:v>
                </c:pt>
                <c:pt idx="102">
                  <c:v>0.17887716504081227</c:v>
                </c:pt>
                <c:pt idx="103">
                  <c:v>0.1841797332085186</c:v>
                </c:pt>
                <c:pt idx="104">
                  <c:v>0.1828788495455162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31054590285244</c:v>
                </c:pt>
                <c:pt idx="1">
                  <c:v>0.21239605276175677</c:v>
                </c:pt>
                <c:pt idx="2">
                  <c:v>0.21236983615935148</c:v>
                </c:pt>
                <c:pt idx="3">
                  <c:v>0.21258065697714074</c:v>
                </c:pt>
                <c:pt idx="4">
                  <c:v>0.20676350376513258</c:v>
                </c:pt>
                <c:pt idx="5">
                  <c:v>0.21069389626160673</c:v>
                </c:pt>
                <c:pt idx="6">
                  <c:v>0.195572408848594</c:v>
                </c:pt>
                <c:pt idx="7">
                  <c:v>0.18929083022366103</c:v>
                </c:pt>
                <c:pt idx="8">
                  <c:v>0.20146703084026696</c:v>
                </c:pt>
                <c:pt idx="9">
                  <c:v>0.19388227160383326</c:v>
                </c:pt>
                <c:pt idx="10">
                  <c:v>0.20207161439327978</c:v>
                </c:pt>
                <c:pt idx="11">
                  <c:v>0.19200720813379263</c:v>
                </c:pt>
                <c:pt idx="12">
                  <c:v>0.19728675768000375</c:v>
                </c:pt>
                <c:pt idx="13">
                  <c:v>0.19186634467360608</c:v>
                </c:pt>
                <c:pt idx="14">
                  <c:v>0.1927254168824293</c:v>
                </c:pt>
                <c:pt idx="15">
                  <c:v>0.18488077014703916</c:v>
                </c:pt>
                <c:pt idx="16">
                  <c:v>0.1856368382394618</c:v>
                </c:pt>
                <c:pt idx="17">
                  <c:v>0.17783827367415564</c:v>
                </c:pt>
                <c:pt idx="18">
                  <c:v>0.16377940089458887</c:v>
                </c:pt>
                <c:pt idx="19">
                  <c:v>0.19126120603055646</c:v>
                </c:pt>
                <c:pt idx="20">
                  <c:v>0.17643817810268037</c:v>
                </c:pt>
                <c:pt idx="21">
                  <c:v>0.1623185511994632</c:v>
                </c:pt>
                <c:pt idx="22">
                  <c:v>0.16901598966240033</c:v>
                </c:pt>
                <c:pt idx="23">
                  <c:v>0.15804598292658095</c:v>
                </c:pt>
                <c:pt idx="24">
                  <c:v>0.15646944466322601</c:v>
                </c:pt>
                <c:pt idx="25">
                  <c:v>0.15314851323165896</c:v>
                </c:pt>
                <c:pt idx="26">
                  <c:v>0.15820453931303746</c:v>
                </c:pt>
                <c:pt idx="27">
                  <c:v>0.15779787925440072</c:v>
                </c:pt>
                <c:pt idx="28">
                  <c:v>0.16773555954493405</c:v>
                </c:pt>
                <c:pt idx="29">
                  <c:v>0.15968913208964136</c:v>
                </c:pt>
                <c:pt idx="30">
                  <c:v>0.15408488647378477</c:v>
                </c:pt>
                <c:pt idx="31">
                  <c:v>0.15433057711542963</c:v>
                </c:pt>
                <c:pt idx="32">
                  <c:v>0.15218349678850293</c:v>
                </c:pt>
                <c:pt idx="33">
                  <c:v>0.16317504279945325</c:v>
                </c:pt>
                <c:pt idx="34">
                  <c:v>0.178502577388081</c:v>
                </c:pt>
                <c:pt idx="35">
                  <c:v>0.17144082311556647</c:v>
                </c:pt>
                <c:pt idx="36">
                  <c:v>0.15708787215363307</c:v>
                </c:pt>
                <c:pt idx="37">
                  <c:v>0.1559558381476834</c:v>
                </c:pt>
                <c:pt idx="38">
                  <c:v>0.15866514800528475</c:v>
                </c:pt>
                <c:pt idx="39">
                  <c:v>0.16683169469041567</c:v>
                </c:pt>
                <c:pt idx="40">
                  <c:v>0.16900850313002017</c:v>
                </c:pt>
                <c:pt idx="41">
                  <c:v>0.17491288791634543</c:v>
                </c:pt>
                <c:pt idx="42">
                  <c:v>0.17145253353783438</c:v>
                </c:pt>
                <c:pt idx="43">
                  <c:v>0.18049942938693664</c:v>
                </c:pt>
                <c:pt idx="44">
                  <c:v>0.17955748930177845</c:v>
                </c:pt>
                <c:pt idx="45">
                  <c:v>0.1852500057357664</c:v>
                </c:pt>
                <c:pt idx="46">
                  <c:v>0.17251849526075919</c:v>
                </c:pt>
                <c:pt idx="47">
                  <c:v>0.17133563705225377</c:v>
                </c:pt>
                <c:pt idx="48">
                  <c:v>0.17514024648627416</c:v>
                </c:pt>
                <c:pt idx="49">
                  <c:v>0.1953828126024457</c:v>
                </c:pt>
                <c:pt idx="50">
                  <c:v>0.2072188916307592</c:v>
                </c:pt>
                <c:pt idx="51">
                  <c:v>0.18146984052470808</c:v>
                </c:pt>
              </c:numCache>
            </c:numRef>
          </c:xVal>
          <c:yVal>
            <c:numRef>
              <c:f>Sheet1!$B$109:$B$160</c:f>
              <c:numCache>
                <c:formatCode>General</c:formatCode>
                <c:ptCount val="52"/>
                <c:pt idx="0">
                  <c:v>0.1894963069094143</c:v>
                </c:pt>
                <c:pt idx="1">
                  <c:v>0.18750654793085386</c:v>
                </c:pt>
                <c:pt idx="2">
                  <c:v>0.20014538973829848</c:v>
                </c:pt>
                <c:pt idx="3">
                  <c:v>0.21038936683935394</c:v>
                </c:pt>
                <c:pt idx="4">
                  <c:v>0.1959896821920475</c:v>
                </c:pt>
                <c:pt idx="5">
                  <c:v>0.19458164213408968</c:v>
                </c:pt>
                <c:pt idx="6">
                  <c:v>0.20185614849187936</c:v>
                </c:pt>
                <c:pt idx="7">
                  <c:v>0.19727827016154378</c:v>
                </c:pt>
                <c:pt idx="8">
                  <c:v>0.18963312016156175</c:v>
                </c:pt>
                <c:pt idx="9">
                  <c:v>0.19934265604167312</c:v>
                </c:pt>
                <c:pt idx="10">
                  <c:v>0.20140063503368053</c:v>
                </c:pt>
                <c:pt idx="11">
                  <c:v>0.20503451986012733</c:v>
                </c:pt>
                <c:pt idx="12">
                  <c:v>0.2040353661301292</c:v>
                </c:pt>
                <c:pt idx="13">
                  <c:v>0.2056782334384858</c:v>
                </c:pt>
                <c:pt idx="14">
                  <c:v>0.20327488769743515</c:v>
                </c:pt>
                <c:pt idx="15">
                  <c:v>0.20087417464893517</c:v>
                </c:pt>
                <c:pt idx="16">
                  <c:v>0.1910104279036318</c:v>
                </c:pt>
                <c:pt idx="17">
                  <c:v>0.1925306829305022</c:v>
                </c:pt>
                <c:pt idx="18">
                  <c:v>0.196917183509668</c:v>
                </c:pt>
                <c:pt idx="19">
                  <c:v>0.19663485685585133</c:v>
                </c:pt>
                <c:pt idx="20">
                  <c:v>0.1837483739081955</c:v>
                </c:pt>
                <c:pt idx="21">
                  <c:v>0.1940855584266437</c:v>
                </c:pt>
                <c:pt idx="22">
                  <c:v>0.19056251062142412</c:v>
                </c:pt>
                <c:pt idx="23">
                  <c:v>0.1984478935698448</c:v>
                </c:pt>
                <c:pt idx="24">
                  <c:v>0.19864755206924534</c:v>
                </c:pt>
                <c:pt idx="25">
                  <c:v>0.19644681575661255</c:v>
                </c:pt>
                <c:pt idx="26">
                  <c:v>0.19033461268176657</c:v>
                </c:pt>
                <c:pt idx="27">
                  <c:v>0.19085876647234606</c:v>
                </c:pt>
                <c:pt idx="28">
                  <c:v>0.1812658003282033</c:v>
                </c:pt>
                <c:pt idx="29">
                  <c:v>0.18279283123533177</c:v>
                </c:pt>
                <c:pt idx="30">
                  <c:v>0.19084139157496943</c:v>
                </c:pt>
                <c:pt idx="31">
                  <c:v>0.1821759399406672</c:v>
                </c:pt>
                <c:pt idx="32">
                  <c:v>0.17766712575484692</c:v>
                </c:pt>
                <c:pt idx="33">
                  <c:v>0.1963195611784482</c:v>
                </c:pt>
                <c:pt idx="34">
                  <c:v>0.21426120376089494</c:v>
                </c:pt>
                <c:pt idx="35">
                  <c:v>0.2104092893024788</c:v>
                </c:pt>
                <c:pt idx="36">
                  <c:v>0.19495100266078266</c:v>
                </c:pt>
                <c:pt idx="37">
                  <c:v>0.1963151207115629</c:v>
                </c:pt>
                <c:pt idx="38">
                  <c:v>0.1955647775904552</c:v>
                </c:pt>
                <c:pt idx="39">
                  <c:v>0.20316422718014304</c:v>
                </c:pt>
                <c:pt idx="40">
                  <c:v>0.18989506772061202</c:v>
                </c:pt>
                <c:pt idx="41">
                  <c:v>0.1931857638888889</c:v>
                </c:pt>
                <c:pt idx="42">
                  <c:v>0.19118435808669365</c:v>
                </c:pt>
                <c:pt idx="43">
                  <c:v>0.1848424212106053</c:v>
                </c:pt>
                <c:pt idx="44">
                  <c:v>0.18245932342268523</c:v>
                </c:pt>
                <c:pt idx="45">
                  <c:v>0.19764369081700067</c:v>
                </c:pt>
                <c:pt idx="46">
                  <c:v>0.20973189782562804</c:v>
                </c:pt>
                <c:pt idx="47">
                  <c:v>0.2101964475933312</c:v>
                </c:pt>
                <c:pt idx="48">
                  <c:v>0.2043618236577007</c:v>
                </c:pt>
                <c:pt idx="49">
                  <c:v>0.21280588500225192</c:v>
                </c:pt>
                <c:pt idx="50">
                  <c:v>0.21910028766987402</c:v>
                </c:pt>
                <c:pt idx="51">
                  <c:v>0.2106088600524212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917521916581587</c:v>
                </c:pt>
              </c:numCache>
            </c:numRef>
          </c:xVal>
          <c:yVal>
            <c:numRef>
              <c:f>Sheet1!$B$163:$B$164</c:f>
              <c:numCache>
                <c:formatCode>General</c:formatCode>
                <c:ptCount val="2"/>
                <c:pt idx="0">
                  <c:v>0.24812181271370543</c:v>
                </c:pt>
                <c:pt idx="1">
                  <c:v>0.248121812713705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917521916581587</c:v>
                </c:pt>
                <c:pt idx="1">
                  <c:v>0.4917521916581587</c:v>
                </c:pt>
              </c:numCache>
            </c:numRef>
          </c:xVal>
          <c:yVal>
            <c:numRef>
              <c:f>Sheet1!$B$167:$B$168</c:f>
              <c:numCache>
                <c:formatCode>General</c:formatCode>
                <c:ptCount val="2"/>
                <c:pt idx="0">
                  <c:v>0.248121812713705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6970594678536525</c:v>
                </c:pt>
              </c:numCache>
            </c:numRef>
          </c:xVal>
          <c:yVal>
            <c:numRef>
              <c:f>Sheet1!$B$171:$B$172</c:f>
              <c:numCache>
                <c:formatCode>General</c:formatCode>
                <c:ptCount val="2"/>
                <c:pt idx="0">
                  <c:v>0.211719214095562</c:v>
                </c:pt>
                <c:pt idx="1">
                  <c:v>0.21171921409556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6970594678536525</c:v>
                </c:pt>
                <c:pt idx="1">
                  <c:v>0.26970594678536525</c:v>
                </c:pt>
              </c:numCache>
            </c:numRef>
          </c:xVal>
          <c:yVal>
            <c:numRef>
              <c:f>Sheet1!$B$175:$B$176</c:f>
              <c:numCache>
                <c:formatCode>General</c:formatCode>
                <c:ptCount val="2"/>
                <c:pt idx="0">
                  <c:v>0.2117192140955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0252921102368665</c:v>
                </c:pt>
              </c:numCache>
            </c:numRef>
          </c:xVal>
          <c:yVal>
            <c:numRef>
              <c:f>Sheet1!$B$179:$B$180</c:f>
              <c:numCache>
                <c:formatCode>General</c:formatCode>
                <c:ptCount val="2"/>
                <c:pt idx="0">
                  <c:v>0.20070615800983355</c:v>
                </c:pt>
                <c:pt idx="1">
                  <c:v>0.2007061580098335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0252921102368665</c:v>
                </c:pt>
                <c:pt idx="1">
                  <c:v>0.20252921102368665</c:v>
                </c:pt>
              </c:numCache>
            </c:numRef>
          </c:xVal>
          <c:yVal>
            <c:numRef>
              <c:f>Sheet1!$B$183:$B$184</c:f>
              <c:numCache>
                <c:formatCode>General</c:formatCode>
                <c:ptCount val="2"/>
                <c:pt idx="0">
                  <c:v>0.200706158009833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31054590285244</c:v>
                </c:pt>
                <c:pt idx="1">
                  <c:v>0.21239605276175677</c:v>
                </c:pt>
                <c:pt idx="2">
                  <c:v>0.21236983615935148</c:v>
                </c:pt>
                <c:pt idx="3">
                  <c:v>0.21258065697714074</c:v>
                </c:pt>
                <c:pt idx="4">
                  <c:v>0.20676350376513258</c:v>
                </c:pt>
                <c:pt idx="5">
                  <c:v>0.21069389626160673</c:v>
                </c:pt>
                <c:pt idx="6">
                  <c:v>0.195572408848594</c:v>
                </c:pt>
                <c:pt idx="7">
                  <c:v>0.18929083022366103</c:v>
                </c:pt>
                <c:pt idx="8">
                  <c:v>0.20146703084026696</c:v>
                </c:pt>
                <c:pt idx="9">
                  <c:v>0.19388227160383326</c:v>
                </c:pt>
                <c:pt idx="10">
                  <c:v>0.20207161439327978</c:v>
                </c:pt>
                <c:pt idx="11">
                  <c:v>0.19200720813379263</c:v>
                </c:pt>
                <c:pt idx="12">
                  <c:v>0.19728675768000375</c:v>
                </c:pt>
                <c:pt idx="13">
                  <c:v>0.19186634467360608</c:v>
                </c:pt>
                <c:pt idx="14">
                  <c:v>0.1927254168824293</c:v>
                </c:pt>
                <c:pt idx="15">
                  <c:v>0.18488077014703916</c:v>
                </c:pt>
                <c:pt idx="16">
                  <c:v>0.1856368382394618</c:v>
                </c:pt>
                <c:pt idx="17">
                  <c:v>0.17783827367415564</c:v>
                </c:pt>
                <c:pt idx="18">
                  <c:v>0.16377940089458887</c:v>
                </c:pt>
                <c:pt idx="19">
                  <c:v>0.19126120603055646</c:v>
                </c:pt>
                <c:pt idx="20">
                  <c:v>0.17643817810268037</c:v>
                </c:pt>
                <c:pt idx="21">
                  <c:v>0.1623185511994632</c:v>
                </c:pt>
                <c:pt idx="22">
                  <c:v>0.16901598966240033</c:v>
                </c:pt>
                <c:pt idx="23">
                  <c:v>0.15804598292658095</c:v>
                </c:pt>
                <c:pt idx="24">
                  <c:v>0.15646944466322601</c:v>
                </c:pt>
                <c:pt idx="25">
                  <c:v>0.15314851323165896</c:v>
                </c:pt>
                <c:pt idx="26">
                  <c:v>0.15820453931303746</c:v>
                </c:pt>
                <c:pt idx="27">
                  <c:v>0.15779787925440072</c:v>
                </c:pt>
                <c:pt idx="28">
                  <c:v>0.16773555954493405</c:v>
                </c:pt>
                <c:pt idx="29">
                  <c:v>0.15968913208964136</c:v>
                </c:pt>
                <c:pt idx="30">
                  <c:v>0.15408488647378477</c:v>
                </c:pt>
                <c:pt idx="31">
                  <c:v>0.15433057711542963</c:v>
                </c:pt>
                <c:pt idx="32">
                  <c:v>0.15218349678850293</c:v>
                </c:pt>
                <c:pt idx="33">
                  <c:v>0.16317504279945325</c:v>
                </c:pt>
                <c:pt idx="34">
                  <c:v>0.178502577388081</c:v>
                </c:pt>
                <c:pt idx="35">
                  <c:v>0.17144082311556647</c:v>
                </c:pt>
                <c:pt idx="36">
                  <c:v>0.15708787215363307</c:v>
                </c:pt>
                <c:pt idx="37">
                  <c:v>0.1559558381476834</c:v>
                </c:pt>
                <c:pt idx="38">
                  <c:v>0.15866514800528475</c:v>
                </c:pt>
                <c:pt idx="39">
                  <c:v>0.16683169469041567</c:v>
                </c:pt>
                <c:pt idx="40">
                  <c:v>0.16900850313002017</c:v>
                </c:pt>
                <c:pt idx="41">
                  <c:v>0.17491288791634543</c:v>
                </c:pt>
                <c:pt idx="42">
                  <c:v>0.17145253353783438</c:v>
                </c:pt>
                <c:pt idx="43">
                  <c:v>0.18049942938693664</c:v>
                </c:pt>
                <c:pt idx="44">
                  <c:v>0.17955748930177845</c:v>
                </c:pt>
                <c:pt idx="45">
                  <c:v>0.1852500057357664</c:v>
                </c:pt>
                <c:pt idx="46">
                  <c:v>0.17251849526075919</c:v>
                </c:pt>
                <c:pt idx="47">
                  <c:v>0.17133563705225377</c:v>
                </c:pt>
                <c:pt idx="48">
                  <c:v>0.17514024648627416</c:v>
                </c:pt>
                <c:pt idx="49">
                  <c:v>0.1953828126024457</c:v>
                </c:pt>
                <c:pt idx="50">
                  <c:v>0.2072188916307592</c:v>
                </c:pt>
                <c:pt idx="51">
                  <c:v>0.18146984052470808</c:v>
                </c:pt>
                <c:pt idx="52">
                  <c:v>0.26970594678536525</c:v>
                </c:pt>
                <c:pt idx="53">
                  <c:v>0.4917521916581587</c:v>
                </c:pt>
                <c:pt idx="54">
                  <c:v>0.20252921102368665</c:v>
                </c:pt>
              </c:numCache>
            </c:numRef>
          </c:xVal>
          <c:yVal>
            <c:numRef>
              <c:f>Sheet1!$B$187:$B$241</c:f>
              <c:numCache>
                <c:formatCode>General</c:formatCode>
                <c:ptCount val="55"/>
                <c:pt idx="0">
                  <c:v>0.20244004417046918</c:v>
                </c:pt>
                <c:pt idx="1">
                  <c:v>0.20232374302968145</c:v>
                </c:pt>
                <c:pt idx="2">
                  <c:v>0.20231944504006655</c:v>
                </c:pt>
                <c:pt idx="3">
                  <c:v>0.20235400732511996</c:v>
                </c:pt>
                <c:pt idx="4">
                  <c:v>0.20140033439271665</c:v>
                </c:pt>
                <c:pt idx="5">
                  <c:v>0.2020446889078893</c:v>
                </c:pt>
                <c:pt idx="6">
                  <c:v>0.19956564929557538</c:v>
                </c:pt>
                <c:pt idx="7">
                  <c:v>0.19853583775562908</c:v>
                </c:pt>
                <c:pt idx="8">
                  <c:v>0.20053202257737296</c:v>
                </c:pt>
                <c:pt idx="9">
                  <c:v>0.199288565628766</c:v>
                </c:pt>
                <c:pt idx="10">
                  <c:v>0.20063113892326778</c:v>
                </c:pt>
                <c:pt idx="11">
                  <c:v>0.19898116487572678</c:v>
                </c:pt>
                <c:pt idx="12">
                  <c:v>0.19984670224667142</c:v>
                </c:pt>
                <c:pt idx="13">
                  <c:v>0.19895807150612682</c:v>
                </c:pt>
                <c:pt idx="14">
                  <c:v>0.19909890910876094</c:v>
                </c:pt>
                <c:pt idx="15">
                  <c:v>0.19781284580886982</c:v>
                </c:pt>
                <c:pt idx="16">
                  <c:v>0.19793679676022327</c:v>
                </c:pt>
                <c:pt idx="17">
                  <c:v>0.19665828824128323</c:v>
                </c:pt>
                <c:pt idx="18">
                  <c:v>0.194353455285827</c:v>
                </c:pt>
                <c:pt idx="19">
                  <c:v>0.1988588641579283</c:v>
                </c:pt>
                <c:pt idx="20">
                  <c:v>0.19642875444689434</c:v>
                </c:pt>
                <c:pt idx="21">
                  <c:v>0.1941139613681363</c:v>
                </c:pt>
                <c:pt idx="22">
                  <c:v>0.19521194960151395</c:v>
                </c:pt>
                <c:pt idx="23">
                  <c:v>0.1934135100364984</c:v>
                </c:pt>
                <c:pt idx="24">
                  <c:v>0.19315504995922966</c:v>
                </c:pt>
                <c:pt idx="25">
                  <c:v>0.19261061141665953</c:v>
                </c:pt>
                <c:pt idx="26">
                  <c:v>0.19343950401130228</c:v>
                </c:pt>
                <c:pt idx="27">
                  <c:v>0.19337283554367263</c:v>
                </c:pt>
                <c:pt idx="28">
                  <c:v>0.1950020339433977</c:v>
                </c:pt>
                <c:pt idx="29">
                  <c:v>0.19368289040583042</c:v>
                </c:pt>
                <c:pt idx="30">
                  <c:v>0.19276412186809455</c:v>
                </c:pt>
                <c:pt idx="31">
                  <c:v>0.19280440076502955</c:v>
                </c:pt>
                <c:pt idx="32">
                  <c:v>0.19245240515534562</c:v>
                </c:pt>
                <c:pt idx="33">
                  <c:v>0.194254375901839</c:v>
                </c:pt>
                <c:pt idx="34">
                  <c:v>0.1967671952010583</c:v>
                </c:pt>
                <c:pt idx="35">
                  <c:v>0.19560948048055232</c:v>
                </c:pt>
                <c:pt idx="36">
                  <c:v>0.19325643590124642</c:v>
                </c:pt>
                <c:pt idx="37">
                  <c:v>0.19307084852702946</c:v>
                </c:pt>
                <c:pt idx="38">
                  <c:v>0.19351501689986073</c:v>
                </c:pt>
                <c:pt idx="39">
                  <c:v>0.19485385296639932</c:v>
                </c:pt>
                <c:pt idx="40">
                  <c:v>0.19521072224802533</c:v>
                </c:pt>
                <c:pt idx="41">
                  <c:v>0.1961786960572055</c:v>
                </c:pt>
                <c:pt idx="42">
                  <c:v>0.19561140030496418</c:v>
                </c:pt>
                <c:pt idx="43">
                  <c:v>0.19709456215047833</c:v>
                </c:pt>
                <c:pt idx="44">
                  <c:v>0.1969401390623419</c:v>
                </c:pt>
                <c:pt idx="45">
                  <c:v>0.1978733788520639</c:v>
                </c:pt>
                <c:pt idx="46">
                  <c:v>0.19578615568875446</c:v>
                </c:pt>
                <c:pt idx="47">
                  <c:v>0.19559223611758106</c:v>
                </c:pt>
                <c:pt idx="48">
                  <c:v>0.19621596956646142</c:v>
                </c:pt>
                <c:pt idx="49">
                  <c:v>0.19953456659903168</c:v>
                </c:pt>
                <c:pt idx="50">
                  <c:v>0.20147499137102978</c:v>
                </c:pt>
                <c:pt idx="51">
                  <c:v>0.1972536528262207</c:v>
                </c:pt>
                <c:pt idx="52">
                  <c:v>0.211719214095562</c:v>
                </c:pt>
                <c:pt idx="53">
                  <c:v>0.24812181271370543</c:v>
                </c:pt>
                <c:pt idx="54">
                  <c:v>0.2007061580098335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59615384615384"/>
          <c:min val="0.1313637663204040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3188.0</c:v>
                </c:pt>
                <c:pt idx="1">
                  <c:v>4806.0</c:v>
                </c:pt>
                <c:pt idx="2">
                  <c:v>6661.0</c:v>
                </c:pt>
                <c:pt idx="3">
                  <c:v>7105.5</c:v>
                </c:pt>
                <c:pt idx="4">
                  <c:v>6198.75</c:v>
                </c:pt>
                <c:pt idx="5">
                  <c:v>6367.25</c:v>
                </c:pt>
                <c:pt idx="6">
                  <c:v>6216.6667</c:v>
                </c:pt>
                <c:pt idx="7">
                  <c:v>6130.6667</c:v>
                </c:pt>
                <c:pt idx="8">
                  <c:v>6062.2</c:v>
                </c:pt>
                <c:pt idx="9">
                  <c:v>5611.1111</c:v>
                </c:pt>
                <c:pt idx="10">
                  <c:v>5785.4444</c:v>
                </c:pt>
                <c:pt idx="11">
                  <c:v>5518.2222</c:v>
                </c:pt>
                <c:pt idx="12">
                  <c:v>5216.9167</c:v>
                </c:pt>
                <c:pt idx="13">
                  <c:v>4687.3333</c:v>
                </c:pt>
                <c:pt idx="14">
                  <c:v>4899.0</c:v>
                </c:pt>
                <c:pt idx="15">
                  <c:v>5356.7059</c:v>
                </c:pt>
                <c:pt idx="16">
                  <c:v>5675.125</c:v>
                </c:pt>
              </c:numCache>
            </c:numRef>
          </c:xVal>
          <c:yVal>
            <c:numRef>
              <c:f>Sheet1!$B$4:$B$20</c:f>
              <c:numCache>
                <c:formatCode>General</c:formatCode>
                <c:ptCount val="17"/>
                <c:pt idx="0">
                  <c:v>0.0018181818181818182</c:v>
                </c:pt>
                <c:pt idx="1">
                  <c:v>0.004282655246252677</c:v>
                </c:pt>
                <c:pt idx="2">
                  <c:v>0.00408997955010225</c:v>
                </c:pt>
                <c:pt idx="3">
                  <c:v>0.004219409282700422</c:v>
                </c:pt>
                <c:pt idx="4">
                  <c:v>0.00796812749003984</c:v>
                </c:pt>
                <c:pt idx="5">
                  <c:v>0.007272727272727273</c:v>
                </c:pt>
                <c:pt idx="6">
                  <c:v>0.010830324909747292</c:v>
                </c:pt>
                <c:pt idx="7">
                  <c:v>0.010889292196007259</c:v>
                </c:pt>
                <c:pt idx="8">
                  <c:v>0.007331378299120235</c:v>
                </c:pt>
                <c:pt idx="9">
                  <c:v>0.011764705882352941</c:v>
                </c:pt>
                <c:pt idx="10">
                  <c:v>0.011056511056511056</c:v>
                </c:pt>
                <c:pt idx="11">
                  <c:v>0.011842105263157895</c:v>
                </c:pt>
                <c:pt idx="12">
                  <c:v>0.014723926380368098</c:v>
                </c:pt>
                <c:pt idx="13">
                  <c:v>0.016339869281045753</c:v>
                </c:pt>
                <c:pt idx="14">
                  <c:v>0.01639344262295082</c:v>
                </c:pt>
                <c:pt idx="15">
                  <c:v>0.01693227091633466</c:v>
                </c:pt>
                <c:pt idx="16">
                  <c:v>0.009779951100244499</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2736.8465009942256</c:v>
                </c:pt>
              </c:numCache>
            </c:numRef>
          </c:xVal>
          <c:yVal>
            <c:numRef>
              <c:f>Sheet1!$B$23:$B$24</c:f>
              <c:numCache>
                <c:formatCode>General</c:formatCode>
                <c:ptCount val="2"/>
                <c:pt idx="0">
                  <c:v>0.014861383480143934</c:v>
                </c:pt>
                <c:pt idx="1">
                  <c:v>0.014861383480143934</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2736.8465009942256</c:v>
                </c:pt>
                <c:pt idx="1">
                  <c:v>-2736.8465009942256</c:v>
                </c:pt>
              </c:numCache>
            </c:numRef>
          </c:xVal>
          <c:yVal>
            <c:numRef>
              <c:f>Sheet1!$B$27:$B$28</c:f>
              <c:numCache>
                <c:formatCode>General</c:formatCode>
                <c:ptCount val="2"/>
                <c:pt idx="0">
                  <c:v>0.0148613834801439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2736.8465009942256</c:v>
                </c:pt>
              </c:numCache>
            </c:numRef>
          </c:xVal>
          <c:yVal>
            <c:numRef>
              <c:f>Sheet1!$B$31:$B$32</c:f>
              <c:numCache>
                <c:formatCode>General</c:formatCode>
                <c:ptCount val="2"/>
                <c:pt idx="0">
                  <c:v>0.014861383480143934</c:v>
                </c:pt>
                <c:pt idx="1">
                  <c:v>0.014861383480143934</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2736.8465009942256</c:v>
                </c:pt>
                <c:pt idx="1">
                  <c:v>-2736.8465009942256</c:v>
                </c:pt>
              </c:numCache>
            </c:numRef>
          </c:xVal>
          <c:yVal>
            <c:numRef>
              <c:f>Sheet1!$B$35:$B$36</c:f>
              <c:numCache>
                <c:formatCode>General</c:formatCode>
                <c:ptCount val="2"/>
                <c:pt idx="0">
                  <c:v>0.0148613834801439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2406.7213957037643</c:v>
                </c:pt>
              </c:numCache>
            </c:numRef>
          </c:xVal>
          <c:yVal>
            <c:numRef>
              <c:f>Sheet1!$B$39:$B$40</c:f>
              <c:numCache>
                <c:formatCode>General</c:formatCode>
                <c:ptCount val="2"/>
                <c:pt idx="0">
                  <c:v>0.011778817897739047</c:v>
                </c:pt>
                <c:pt idx="1">
                  <c:v>0.011778817897739047</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2406.7213957037643</c:v>
                </c:pt>
                <c:pt idx="1">
                  <c:v>2406.7213957037643</c:v>
                </c:pt>
              </c:numCache>
            </c:numRef>
          </c:xVal>
          <c:yVal>
            <c:numRef>
              <c:f>Sheet1!$B$43:$B$44</c:f>
              <c:numCache>
                <c:formatCode>General</c:formatCode>
                <c:ptCount val="2"/>
                <c:pt idx="0">
                  <c:v>0.0117788178977390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3188.0</c:v>
                </c:pt>
                <c:pt idx="1">
                  <c:v>4806.0</c:v>
                </c:pt>
                <c:pt idx="2">
                  <c:v>6661.0</c:v>
                </c:pt>
                <c:pt idx="3">
                  <c:v>7105.5</c:v>
                </c:pt>
                <c:pt idx="4">
                  <c:v>6198.75</c:v>
                </c:pt>
                <c:pt idx="5">
                  <c:v>6367.25</c:v>
                </c:pt>
                <c:pt idx="6">
                  <c:v>6216.6667</c:v>
                </c:pt>
                <c:pt idx="7">
                  <c:v>6130.6667</c:v>
                </c:pt>
                <c:pt idx="8">
                  <c:v>6062.2</c:v>
                </c:pt>
                <c:pt idx="9">
                  <c:v>5611.1111</c:v>
                </c:pt>
                <c:pt idx="10">
                  <c:v>5785.4444</c:v>
                </c:pt>
                <c:pt idx="11">
                  <c:v>5518.2222</c:v>
                </c:pt>
                <c:pt idx="12">
                  <c:v>5216.9167</c:v>
                </c:pt>
                <c:pt idx="13">
                  <c:v>4687.3333</c:v>
                </c:pt>
                <c:pt idx="14">
                  <c:v>4899.0</c:v>
                </c:pt>
                <c:pt idx="15">
                  <c:v>5356.7059</c:v>
                </c:pt>
                <c:pt idx="16">
                  <c:v>5675.125</c:v>
                </c:pt>
                <c:pt idx="17">
                  <c:v>-2736.8465009942256</c:v>
                </c:pt>
                <c:pt idx="18">
                  <c:v>-2736.8465009942256</c:v>
                </c:pt>
                <c:pt idx="19">
                  <c:v>2406.7213957037643</c:v>
                </c:pt>
              </c:numCache>
            </c:numRef>
          </c:xVal>
          <c:yVal>
            <c:numRef>
              <c:f>Sheet1!$B$47:$B$66</c:f>
              <c:numCache>
                <c:formatCode>General</c:formatCode>
                <c:ptCount val="20"/>
                <c:pt idx="0">
                  <c:v>0.01131059378089226</c:v>
                </c:pt>
                <c:pt idx="1">
                  <c:v>0.010340918409146319</c:v>
                </c:pt>
                <c:pt idx="2">
                  <c:v>0.009229207769721894</c:v>
                </c:pt>
                <c:pt idx="3">
                  <c:v>0.008962816729708872</c:v>
                </c:pt>
                <c:pt idx="4">
                  <c:v>0.00950623647218763</c:v>
                </c:pt>
                <c:pt idx="5">
                  <c:v>0.009405253592002717</c:v>
                </c:pt>
                <c:pt idx="6">
                  <c:v>0.0094954989056036</c:v>
                </c:pt>
                <c:pt idx="7">
                  <c:v>0.009547039129318157</c:v>
                </c:pt>
                <c:pt idx="8">
                  <c:v>0.00958807155995766</c:v>
                </c:pt>
                <c:pt idx="9">
                  <c:v>0.009858411360203623</c:v>
                </c:pt>
                <c:pt idx="10">
                  <c:v>0.009753932554588545</c:v>
                </c:pt>
                <c:pt idx="11">
                  <c:v>0.009914080135629192</c:v>
                </c:pt>
                <c:pt idx="12">
                  <c:v>0.010094654006285309</c:v>
                </c:pt>
                <c:pt idx="13">
                  <c:v>0.010412035947116878</c:v>
                </c:pt>
                <c:pt idx="14">
                  <c:v>0.01028518305094337</c:v>
                </c:pt>
                <c:pt idx="15">
                  <c:v>0.01001087764999602</c:v>
                </c:pt>
                <c:pt idx="16">
                  <c:v>0.009820047514542678</c:v>
                </c:pt>
                <c:pt idx="17">
                  <c:v>0.014861383480143934</c:v>
                </c:pt>
                <c:pt idx="18">
                  <c:v>0.014861383480143934</c:v>
                </c:pt>
                <c:pt idx="19">
                  <c:v>0.0117788178977390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52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031872509960159"/>
          <c:min val="0.001454545454545454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19477755550856374</c:v>
                </c:pt>
                <c:pt idx="1">
                  <c:v>0.30641337539905705</c:v>
                </c:pt>
                <c:pt idx="2">
                  <c:v>0.3949777754586035</c:v>
                </c:pt>
                <c:pt idx="3">
                  <c:v>0.43589796111834356</c:v>
                </c:pt>
                <c:pt idx="4">
                  <c:v>0.3768617380234115</c:v>
                </c:pt>
                <c:pt idx="5">
                  <c:v>0.38322512709279377</c:v>
                </c:pt>
                <c:pt idx="6">
                  <c:v>0.36833119998470903</c:v>
                </c:pt>
                <c:pt idx="7">
                  <c:v>0.3822724236477661</c:v>
                </c:pt>
                <c:pt idx="8">
                  <c:v>0.3700308915548912</c:v>
                </c:pt>
                <c:pt idx="9">
                  <c:v>0.34442415042783864</c:v>
                </c:pt>
                <c:pt idx="10">
                  <c:v>0.35617035940683434</c:v>
                </c:pt>
                <c:pt idx="11">
                  <c:v>0.3390218786927929</c:v>
                </c:pt>
                <c:pt idx="12">
                  <c:v>0.3170925290773994</c:v>
                </c:pt>
                <c:pt idx="13">
                  <c:v>0.28744435094088006</c:v>
                </c:pt>
                <c:pt idx="14">
                  <c:v>0.295798707379574</c:v>
                </c:pt>
                <c:pt idx="15">
                  <c:v>0.3213842967019055</c:v>
                </c:pt>
                <c:pt idx="16">
                  <c:v>0.3434756711161008</c:v>
                </c:pt>
              </c:numCache>
            </c:numRef>
          </c:xVal>
          <c:yVal>
            <c:numRef>
              <c:f>Sheet1!$B$4:$B$20</c:f>
              <c:numCache>
                <c:formatCode>General</c:formatCode>
                <c:ptCount val="17"/>
                <c:pt idx="0">
                  <c:v>0.0018181818181818182</c:v>
                </c:pt>
                <c:pt idx="1">
                  <c:v>0.004282655246252677</c:v>
                </c:pt>
                <c:pt idx="2">
                  <c:v>0.00408997955010225</c:v>
                </c:pt>
                <c:pt idx="3">
                  <c:v>0.004219409282700422</c:v>
                </c:pt>
                <c:pt idx="4">
                  <c:v>0.00796812749003984</c:v>
                </c:pt>
                <c:pt idx="5">
                  <c:v>0.007272727272727273</c:v>
                </c:pt>
                <c:pt idx="6">
                  <c:v>0.010830324909747292</c:v>
                </c:pt>
                <c:pt idx="7">
                  <c:v>0.010889292196007259</c:v>
                </c:pt>
                <c:pt idx="8">
                  <c:v>0.007331378299120235</c:v>
                </c:pt>
                <c:pt idx="9">
                  <c:v>0.011764705882352941</c:v>
                </c:pt>
                <c:pt idx="10">
                  <c:v>0.011056511056511056</c:v>
                </c:pt>
                <c:pt idx="11">
                  <c:v>0.011842105263157895</c:v>
                </c:pt>
                <c:pt idx="12">
                  <c:v>0.014723926380368098</c:v>
                </c:pt>
                <c:pt idx="13">
                  <c:v>0.016339869281045753</c:v>
                </c:pt>
                <c:pt idx="14">
                  <c:v>0.01639344262295082</c:v>
                </c:pt>
                <c:pt idx="15">
                  <c:v>0.01693227091633466</c:v>
                </c:pt>
                <c:pt idx="16">
                  <c:v>0.009779951100244499</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0962265304676852</c:v>
                </c:pt>
              </c:numCache>
            </c:numRef>
          </c:xVal>
          <c:yVal>
            <c:numRef>
              <c:f>Sheet1!$B$23:$B$24</c:f>
              <c:numCache>
                <c:formatCode>General</c:formatCode>
                <c:ptCount val="2"/>
                <c:pt idx="0">
                  <c:v>0.014861383480143934</c:v>
                </c:pt>
                <c:pt idx="1">
                  <c:v>0.014861383480143934</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0962265304676852</c:v>
                </c:pt>
                <c:pt idx="1">
                  <c:v>-0.0962265304676852</c:v>
                </c:pt>
              </c:numCache>
            </c:numRef>
          </c:xVal>
          <c:yVal>
            <c:numRef>
              <c:f>Sheet1!$B$27:$B$28</c:f>
              <c:numCache>
                <c:formatCode>General</c:formatCode>
                <c:ptCount val="2"/>
                <c:pt idx="0">
                  <c:v>0.0148613834801439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0962265304676852</c:v>
                </c:pt>
              </c:numCache>
            </c:numRef>
          </c:xVal>
          <c:yVal>
            <c:numRef>
              <c:f>Sheet1!$B$31:$B$32</c:f>
              <c:numCache>
                <c:formatCode>General</c:formatCode>
                <c:ptCount val="2"/>
                <c:pt idx="0">
                  <c:v>0.014861383480143934</c:v>
                </c:pt>
                <c:pt idx="1">
                  <c:v>0.014861383480143934</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0962265304676852</c:v>
                </c:pt>
                <c:pt idx="1">
                  <c:v>-0.0962265304676852</c:v>
                </c:pt>
              </c:numCache>
            </c:numRef>
          </c:xVal>
          <c:yVal>
            <c:numRef>
              <c:f>Sheet1!$B$35:$B$36</c:f>
              <c:numCache>
                <c:formatCode>General</c:formatCode>
                <c:ptCount val="2"/>
                <c:pt idx="0">
                  <c:v>0.0148613834801439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173731325659447</c:v>
                </c:pt>
              </c:numCache>
            </c:numRef>
          </c:xVal>
          <c:yVal>
            <c:numRef>
              <c:f>Sheet1!$B$39:$B$40</c:f>
              <c:numCache>
                <c:formatCode>General</c:formatCode>
                <c:ptCount val="2"/>
                <c:pt idx="0">
                  <c:v>0.011778817897739047</c:v>
                </c:pt>
                <c:pt idx="1">
                  <c:v>0.011778817897739047</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173731325659447</c:v>
                </c:pt>
                <c:pt idx="1">
                  <c:v>0.173731325659447</c:v>
                </c:pt>
              </c:numCache>
            </c:numRef>
          </c:xVal>
          <c:yVal>
            <c:numRef>
              <c:f>Sheet1!$B$43:$B$44</c:f>
              <c:numCache>
                <c:formatCode>General</c:formatCode>
                <c:ptCount val="2"/>
                <c:pt idx="0">
                  <c:v>0.0117788178977390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19477755550856374</c:v>
                </c:pt>
                <c:pt idx="1">
                  <c:v>0.30641337539905705</c:v>
                </c:pt>
                <c:pt idx="2">
                  <c:v>0.3949777754586035</c:v>
                </c:pt>
                <c:pt idx="3">
                  <c:v>0.43589796111834356</c:v>
                </c:pt>
                <c:pt idx="4">
                  <c:v>0.3768617380234115</c:v>
                </c:pt>
                <c:pt idx="5">
                  <c:v>0.38322512709279377</c:v>
                </c:pt>
                <c:pt idx="6">
                  <c:v>0.36833119998470903</c:v>
                </c:pt>
                <c:pt idx="7">
                  <c:v>0.3822724236477661</c:v>
                </c:pt>
                <c:pt idx="8">
                  <c:v>0.3700308915548912</c:v>
                </c:pt>
                <c:pt idx="9">
                  <c:v>0.34442415042783864</c:v>
                </c:pt>
                <c:pt idx="10">
                  <c:v>0.35617035940683434</c:v>
                </c:pt>
                <c:pt idx="11">
                  <c:v>0.3390218786927929</c:v>
                </c:pt>
                <c:pt idx="12">
                  <c:v>0.3170925290773994</c:v>
                </c:pt>
                <c:pt idx="13">
                  <c:v>0.28744435094088006</c:v>
                </c:pt>
                <c:pt idx="14">
                  <c:v>0.295798707379574</c:v>
                </c:pt>
                <c:pt idx="15">
                  <c:v>0.3213842967019055</c:v>
                </c:pt>
                <c:pt idx="16">
                  <c:v>0.3434756711161008</c:v>
                </c:pt>
                <c:pt idx="17">
                  <c:v>-0.0962265304676852</c:v>
                </c:pt>
                <c:pt idx="18">
                  <c:v>-0.0962265304676852</c:v>
                </c:pt>
                <c:pt idx="19">
                  <c:v>0.173731325659447</c:v>
                </c:pt>
              </c:numCache>
            </c:numRef>
          </c:xVal>
          <c:yVal>
            <c:numRef>
              <c:f>Sheet1!$B$47:$B$66</c:f>
              <c:numCache>
                <c:formatCode>General</c:formatCode>
                <c:ptCount val="20"/>
                <c:pt idx="0">
                  <c:v>0.011538497483645533</c:v>
                </c:pt>
                <c:pt idx="1">
                  <c:v>0.010263762452426713</c:v>
                </c:pt>
                <c:pt idx="2">
                  <c:v>0.009252472855722671</c:v>
                </c:pt>
                <c:pt idx="3">
                  <c:v>0.008785217863591864</c:v>
                </c:pt>
                <c:pt idx="4">
                  <c:v>0.009459334305463116</c:v>
                </c:pt>
                <c:pt idx="5">
                  <c:v>0.009386672726303547</c:v>
                </c:pt>
                <c:pt idx="6">
                  <c:v>0.009556741890983118</c:v>
                </c:pt>
                <c:pt idx="7">
                  <c:v>0.009397551353404875</c:v>
                </c:pt>
                <c:pt idx="8">
                  <c:v>0.009537333636635153</c:v>
                </c:pt>
                <c:pt idx="9">
                  <c:v>0.009829729123872356</c:v>
                </c:pt>
                <c:pt idx="10">
                  <c:v>0.009695602782665468</c:v>
                </c:pt>
                <c:pt idx="11">
                  <c:v>0.009891416000320983</c:v>
                </c:pt>
                <c:pt idx="12">
                  <c:v>0.010141820486927595</c:v>
                </c:pt>
                <c:pt idx="13">
                  <c:v>0.010480363898168806</c:v>
                </c:pt>
                <c:pt idx="14">
                  <c:v>0.010384968076055993</c:v>
                </c:pt>
                <c:pt idx="15">
                  <c:v>0.010092814114759815</c:v>
                </c:pt>
                <c:pt idx="16">
                  <c:v>0.009840559516897145</c:v>
                </c:pt>
                <c:pt idx="17">
                  <c:v>0.014861383480143934</c:v>
                </c:pt>
                <c:pt idx="18">
                  <c:v>0.014861383480143934</c:v>
                </c:pt>
                <c:pt idx="19">
                  <c:v>0.0117788178977390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ve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031872509960159"/>
          <c:min val="0.001454545454545454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3188.0</c:v>
                </c:pt>
                <c:pt idx="1">
                  <c:v>4806.0</c:v>
                </c:pt>
                <c:pt idx="2">
                  <c:v>6661.0</c:v>
                </c:pt>
                <c:pt idx="3">
                  <c:v>7105.5</c:v>
                </c:pt>
                <c:pt idx="4">
                  <c:v>6198.75</c:v>
                </c:pt>
                <c:pt idx="5">
                  <c:v>6367.25</c:v>
                </c:pt>
                <c:pt idx="6">
                  <c:v>6216.6667</c:v>
                </c:pt>
                <c:pt idx="7">
                  <c:v>6130.6667</c:v>
                </c:pt>
                <c:pt idx="8">
                  <c:v>6062.2</c:v>
                </c:pt>
                <c:pt idx="9">
                  <c:v>5611.1111</c:v>
                </c:pt>
                <c:pt idx="10">
                  <c:v>5785.4444</c:v>
                </c:pt>
                <c:pt idx="11">
                  <c:v>5518.2222</c:v>
                </c:pt>
                <c:pt idx="12">
                  <c:v>5216.9167</c:v>
                </c:pt>
                <c:pt idx="13">
                  <c:v>4687.3333</c:v>
                </c:pt>
                <c:pt idx="14">
                  <c:v>4899.0</c:v>
                </c:pt>
                <c:pt idx="15">
                  <c:v>5356.7059</c:v>
                </c:pt>
                <c:pt idx="16">
                  <c:v>5675.125</c:v>
                </c:pt>
              </c:numCache>
            </c:numRef>
          </c:xVal>
          <c:yVal>
            <c:numRef>
              <c:f>Sheet1!$B$4:$B$20</c:f>
              <c:numCache>
                <c:formatCode>General</c:formatCode>
                <c:ptCount val="17"/>
                <c:pt idx="0">
                  <c:v>0.0018181818181818182</c:v>
                </c:pt>
                <c:pt idx="1">
                  <c:v>0.004282655246252677</c:v>
                </c:pt>
                <c:pt idx="2">
                  <c:v>0.00408997955010225</c:v>
                </c:pt>
                <c:pt idx="3">
                  <c:v>0.004219409282700422</c:v>
                </c:pt>
                <c:pt idx="4">
                  <c:v>0.00796812749003984</c:v>
                </c:pt>
                <c:pt idx="5">
                  <c:v>0.007272727272727273</c:v>
                </c:pt>
                <c:pt idx="6">
                  <c:v>0.010830324909747292</c:v>
                </c:pt>
                <c:pt idx="7">
                  <c:v>0.010889292196007259</c:v>
                </c:pt>
                <c:pt idx="8">
                  <c:v>0.007331378299120235</c:v>
                </c:pt>
                <c:pt idx="9">
                  <c:v>0.011764705882352941</c:v>
                </c:pt>
                <c:pt idx="10">
                  <c:v>0.011056511056511056</c:v>
                </c:pt>
                <c:pt idx="11">
                  <c:v>0.011842105263157895</c:v>
                </c:pt>
                <c:pt idx="12">
                  <c:v>0.014723926380368098</c:v>
                </c:pt>
                <c:pt idx="13">
                  <c:v>0.016339869281045753</c:v>
                </c:pt>
                <c:pt idx="14">
                  <c:v>0.01639344262295082</c:v>
                </c:pt>
                <c:pt idx="15">
                  <c:v>0.01693227091633466</c:v>
                </c:pt>
                <c:pt idx="16">
                  <c:v>0.009779951100244499</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2736.8465009942256</c:v>
                </c:pt>
              </c:numCache>
            </c:numRef>
          </c:xVal>
          <c:yVal>
            <c:numRef>
              <c:f>Sheet1!$B$23:$B$24</c:f>
              <c:numCache>
                <c:formatCode>General</c:formatCode>
                <c:ptCount val="2"/>
                <c:pt idx="0">
                  <c:v>0.014861383480143934</c:v>
                </c:pt>
                <c:pt idx="1">
                  <c:v>0.014861383480143934</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2736.8465009942256</c:v>
                </c:pt>
                <c:pt idx="1">
                  <c:v>-2736.8465009942256</c:v>
                </c:pt>
              </c:numCache>
            </c:numRef>
          </c:xVal>
          <c:yVal>
            <c:numRef>
              <c:f>Sheet1!$B$27:$B$28</c:f>
              <c:numCache>
                <c:formatCode>General</c:formatCode>
                <c:ptCount val="2"/>
                <c:pt idx="0">
                  <c:v>0.0148613834801439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2736.8465009942256</c:v>
                </c:pt>
              </c:numCache>
            </c:numRef>
          </c:xVal>
          <c:yVal>
            <c:numRef>
              <c:f>Sheet1!$B$31:$B$32</c:f>
              <c:numCache>
                <c:formatCode>General</c:formatCode>
                <c:ptCount val="2"/>
                <c:pt idx="0">
                  <c:v>0.014861383480143934</c:v>
                </c:pt>
                <c:pt idx="1">
                  <c:v>0.014861383480143934</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2736.8465009942256</c:v>
                </c:pt>
                <c:pt idx="1">
                  <c:v>-2736.8465009942256</c:v>
                </c:pt>
              </c:numCache>
            </c:numRef>
          </c:xVal>
          <c:yVal>
            <c:numRef>
              <c:f>Sheet1!$B$35:$B$36</c:f>
              <c:numCache>
                <c:formatCode>General</c:formatCode>
                <c:ptCount val="2"/>
                <c:pt idx="0">
                  <c:v>0.0148613834801439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2406.7213957037643</c:v>
                </c:pt>
              </c:numCache>
            </c:numRef>
          </c:xVal>
          <c:yVal>
            <c:numRef>
              <c:f>Sheet1!$B$39:$B$40</c:f>
              <c:numCache>
                <c:formatCode>General</c:formatCode>
                <c:ptCount val="2"/>
                <c:pt idx="0">
                  <c:v>0.011778817897739047</c:v>
                </c:pt>
                <c:pt idx="1">
                  <c:v>0.011778817897739047</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2406.7213957037643</c:v>
                </c:pt>
                <c:pt idx="1">
                  <c:v>2406.7213957037643</c:v>
                </c:pt>
              </c:numCache>
            </c:numRef>
          </c:xVal>
          <c:yVal>
            <c:numRef>
              <c:f>Sheet1!$B$43:$B$44</c:f>
              <c:numCache>
                <c:formatCode>General</c:formatCode>
                <c:ptCount val="2"/>
                <c:pt idx="0">
                  <c:v>0.0117788178977390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3188.0</c:v>
                </c:pt>
                <c:pt idx="1">
                  <c:v>4806.0</c:v>
                </c:pt>
                <c:pt idx="2">
                  <c:v>6661.0</c:v>
                </c:pt>
                <c:pt idx="3">
                  <c:v>7105.5</c:v>
                </c:pt>
                <c:pt idx="4">
                  <c:v>6198.75</c:v>
                </c:pt>
                <c:pt idx="5">
                  <c:v>6367.25</c:v>
                </c:pt>
                <c:pt idx="6">
                  <c:v>6216.6667</c:v>
                </c:pt>
                <c:pt idx="7">
                  <c:v>6130.6667</c:v>
                </c:pt>
                <c:pt idx="8">
                  <c:v>6062.2</c:v>
                </c:pt>
                <c:pt idx="9">
                  <c:v>5611.1111</c:v>
                </c:pt>
                <c:pt idx="10">
                  <c:v>5785.4444</c:v>
                </c:pt>
                <c:pt idx="11">
                  <c:v>5518.2222</c:v>
                </c:pt>
                <c:pt idx="12">
                  <c:v>5216.9167</c:v>
                </c:pt>
                <c:pt idx="13">
                  <c:v>4687.3333</c:v>
                </c:pt>
                <c:pt idx="14">
                  <c:v>4899.0</c:v>
                </c:pt>
                <c:pt idx="15">
                  <c:v>5356.7059</c:v>
                </c:pt>
                <c:pt idx="16">
                  <c:v>5675.125</c:v>
                </c:pt>
                <c:pt idx="17">
                  <c:v>-2736.8465009942256</c:v>
                </c:pt>
                <c:pt idx="18">
                  <c:v>-2736.8465009942256</c:v>
                </c:pt>
                <c:pt idx="19">
                  <c:v>2406.7213957037643</c:v>
                </c:pt>
              </c:numCache>
            </c:numRef>
          </c:xVal>
          <c:yVal>
            <c:numRef>
              <c:f>Sheet1!$B$47:$B$66</c:f>
              <c:numCache>
                <c:formatCode>General</c:formatCode>
                <c:ptCount val="20"/>
                <c:pt idx="0">
                  <c:v>0.01131059378089226</c:v>
                </c:pt>
                <c:pt idx="1">
                  <c:v>0.010340918409146319</c:v>
                </c:pt>
                <c:pt idx="2">
                  <c:v>0.009229207769721894</c:v>
                </c:pt>
                <c:pt idx="3">
                  <c:v>0.008962816729708872</c:v>
                </c:pt>
                <c:pt idx="4">
                  <c:v>0.00950623647218763</c:v>
                </c:pt>
                <c:pt idx="5">
                  <c:v>0.009405253592002717</c:v>
                </c:pt>
                <c:pt idx="6">
                  <c:v>0.0094954989056036</c:v>
                </c:pt>
                <c:pt idx="7">
                  <c:v>0.009547039129318157</c:v>
                </c:pt>
                <c:pt idx="8">
                  <c:v>0.00958807155995766</c:v>
                </c:pt>
                <c:pt idx="9">
                  <c:v>0.009858411360203623</c:v>
                </c:pt>
                <c:pt idx="10">
                  <c:v>0.009753932554588545</c:v>
                </c:pt>
                <c:pt idx="11">
                  <c:v>0.009914080135629192</c:v>
                </c:pt>
                <c:pt idx="12">
                  <c:v>0.010094654006285309</c:v>
                </c:pt>
                <c:pt idx="13">
                  <c:v>0.010412035947116878</c:v>
                </c:pt>
                <c:pt idx="14">
                  <c:v>0.01028518305094337</c:v>
                </c:pt>
                <c:pt idx="15">
                  <c:v>0.01001087764999602</c:v>
                </c:pt>
                <c:pt idx="16">
                  <c:v>0.009820047514542678</c:v>
                </c:pt>
                <c:pt idx="17">
                  <c:v>0.014861383480143934</c:v>
                </c:pt>
                <c:pt idx="18">
                  <c:v>0.014861383480143934</c:v>
                </c:pt>
                <c:pt idx="19">
                  <c:v>0.0117788178977390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52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031872509960159"/>
          <c:min val="0.001454545454545454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492383003574261</c:v>
                </c:pt>
                <c:pt idx="1">
                  <c:v>0.7765754785565929</c:v>
                </c:pt>
                <c:pt idx="2">
                  <c:v>0.7604675514350008</c:v>
                </c:pt>
                <c:pt idx="3">
                  <c:v>0.7839377777272285</c:v>
                </c:pt>
                <c:pt idx="4">
                  <c:v>0.7750948970826544</c:v>
                </c:pt>
                <c:pt idx="5">
                  <c:v>0.7787171417540895</c:v>
                </c:pt>
                <c:pt idx="6">
                  <c:v>0.7495756253151677</c:v>
                </c:pt>
                <c:pt idx="7">
                  <c:v>0.7467995682400693</c:v>
                </c:pt>
                <c:pt idx="8">
                  <c:v>0.7732832537487514</c:v>
                </c:pt>
                <c:pt idx="9">
                  <c:v>0.7697143767036038</c:v>
                </c:pt>
                <c:pt idx="10">
                  <c:v>0.7787765025316368</c:v>
                </c:pt>
                <c:pt idx="11">
                  <c:v>0.8375192969052516</c:v>
                </c:pt>
                <c:pt idx="12">
                  <c:v>0.8350918146240894</c:v>
                </c:pt>
                <c:pt idx="13">
                  <c:v>0.8455732373210524</c:v>
                </c:pt>
                <c:pt idx="14">
                  <c:v>0.8663402474973214</c:v>
                </c:pt>
                <c:pt idx="15">
                  <c:v>0.8708764299286329</c:v>
                </c:pt>
                <c:pt idx="16">
                  <c:v>0.884838133532242</c:v>
                </c:pt>
                <c:pt idx="17">
                  <c:v>0.8726118937366601</c:v>
                </c:pt>
                <c:pt idx="18">
                  <c:v>0.9244355267619173</c:v>
                </c:pt>
                <c:pt idx="19">
                  <c:v>0.9102785037800822</c:v>
                </c:pt>
                <c:pt idx="20">
                  <c:v>0.9281839066952223</c:v>
                </c:pt>
                <c:pt idx="21">
                  <c:v>0.8705814659973447</c:v>
                </c:pt>
                <c:pt idx="22">
                  <c:v>0.8032522825796475</c:v>
                </c:pt>
                <c:pt idx="23">
                  <c:v>0.8117288452429878</c:v>
                </c:pt>
                <c:pt idx="24">
                  <c:v>0.8142537878855888</c:v>
                </c:pt>
                <c:pt idx="25">
                  <c:v>0.7947700708510372</c:v>
                </c:pt>
                <c:pt idx="26">
                  <c:v>0.7986079970790242</c:v>
                </c:pt>
                <c:pt idx="27">
                  <c:v>0.7950056804792749</c:v>
                </c:pt>
                <c:pt idx="28">
                  <c:v>0.7962026743591734</c:v>
                </c:pt>
                <c:pt idx="29">
                  <c:v>0.781877133445752</c:v>
                </c:pt>
                <c:pt idx="30">
                  <c:v>0.782267097247702</c:v>
                </c:pt>
                <c:pt idx="31">
                  <c:v>0.7830871935608725</c:v>
                </c:pt>
                <c:pt idx="32">
                  <c:v>0.7688722326700355</c:v>
                </c:pt>
                <c:pt idx="33">
                  <c:v>0.7481781330444263</c:v>
                </c:pt>
                <c:pt idx="34">
                  <c:v>0.7827109018300054</c:v>
                </c:pt>
                <c:pt idx="35">
                  <c:v>0.8283279432631315</c:v>
                </c:pt>
                <c:pt idx="36">
                  <c:v>0.8763471812010403</c:v>
                </c:pt>
                <c:pt idx="37">
                  <c:v>0.8587511029409699</c:v>
                </c:pt>
                <c:pt idx="38">
                  <c:v>0.891872711238419</c:v>
                </c:pt>
                <c:pt idx="39">
                  <c:v>0.9738410549875555</c:v>
                </c:pt>
                <c:pt idx="40">
                  <c:v>0.9370422684776627</c:v>
                </c:pt>
                <c:pt idx="41">
                  <c:v>0.9398389983307691</c:v>
                </c:pt>
                <c:pt idx="42">
                  <c:v>0.9348459532976567</c:v>
                </c:pt>
                <c:pt idx="43">
                  <c:v>0.9175849264798742</c:v>
                </c:pt>
                <c:pt idx="44">
                  <c:v>0.9279172341637438</c:v>
                </c:pt>
                <c:pt idx="45">
                  <c:v>0.9146573147640166</c:v>
                </c:pt>
                <c:pt idx="46">
                  <c:v>0.9280667977230742</c:v>
                </c:pt>
                <c:pt idx="47">
                  <c:v>0.9339369792152945</c:v>
                </c:pt>
                <c:pt idx="48">
                  <c:v>0.9170789937520617</c:v>
                </c:pt>
                <c:pt idx="49">
                  <c:v>0.865411598548357</c:v>
                </c:pt>
                <c:pt idx="50">
                  <c:v>0.8677865228748869</c:v>
                </c:pt>
                <c:pt idx="51">
                  <c:v>0.8581756842293367</c:v>
                </c:pt>
                <c:pt idx="52">
                  <c:v>0.8511693400123674</c:v>
                </c:pt>
                <c:pt idx="53">
                  <c:v>0.8711467709462781</c:v>
                </c:pt>
                <c:pt idx="54">
                  <c:v>0.8445813936651556</c:v>
                </c:pt>
                <c:pt idx="55">
                  <c:v>0.8774754568112729</c:v>
                </c:pt>
                <c:pt idx="56">
                  <c:v>0.8508852100519161</c:v>
                </c:pt>
                <c:pt idx="57">
                  <c:v>0.8384534369040241</c:v>
                </c:pt>
                <c:pt idx="58">
                  <c:v>0.8330581300660949</c:v>
                </c:pt>
                <c:pt idx="59">
                  <c:v>0.8139599015693262</c:v>
                </c:pt>
                <c:pt idx="60">
                  <c:v>0.8157003801474376</c:v>
                </c:pt>
                <c:pt idx="61">
                  <c:v>0.8843519892992531</c:v>
                </c:pt>
                <c:pt idx="62">
                  <c:v>0.8794961073516642</c:v>
                </c:pt>
                <c:pt idx="63">
                  <c:v>0.8900825931135291</c:v>
                </c:pt>
                <c:pt idx="64">
                  <c:v>0.9194518738547669</c:v>
                </c:pt>
                <c:pt idx="65">
                  <c:v>0.9091499306189565</c:v>
                </c:pt>
                <c:pt idx="66">
                  <c:v>0.9253992908862559</c:v>
                </c:pt>
                <c:pt idx="67">
                  <c:v>0.9624321071067125</c:v>
                </c:pt>
                <c:pt idx="68">
                  <c:v>1.0006768594414104</c:v>
                </c:pt>
                <c:pt idx="69">
                  <c:v>1.0157632993509784</c:v>
                </c:pt>
                <c:pt idx="70">
                  <c:v>0.989474888678103</c:v>
                </c:pt>
                <c:pt idx="71">
                  <c:v>0.9528625931187102</c:v>
                </c:pt>
                <c:pt idx="72">
                  <c:v>1.0495914836016447</c:v>
                </c:pt>
                <c:pt idx="73">
                  <c:v>0.9770162764715602</c:v>
                </c:pt>
                <c:pt idx="74">
                  <c:v>0.961648976495676</c:v>
                </c:pt>
                <c:pt idx="75">
                  <c:v>0.9333480015154664</c:v>
                </c:pt>
                <c:pt idx="76">
                  <c:v>0.9125931299934344</c:v>
                </c:pt>
                <c:pt idx="77">
                  <c:v>0.9325624514958983</c:v>
                </c:pt>
                <c:pt idx="78">
                  <c:v>0.9653461717665373</c:v>
                </c:pt>
                <c:pt idx="79">
                  <c:v>0.9586242062304114</c:v>
                </c:pt>
                <c:pt idx="80">
                  <c:v>0.9949256276547146</c:v>
                </c:pt>
                <c:pt idx="81">
                  <c:v>0.953718886709911</c:v>
                </c:pt>
                <c:pt idx="82">
                  <c:v>0.9644843951441361</c:v>
                </c:pt>
                <c:pt idx="83">
                  <c:v>0.9533071650450267</c:v>
                </c:pt>
                <c:pt idx="84">
                  <c:v>0.9846627493568596</c:v>
                </c:pt>
                <c:pt idx="85">
                  <c:v>0.961316775124571</c:v>
                </c:pt>
                <c:pt idx="86">
                  <c:v>0.9701702786162826</c:v>
                </c:pt>
                <c:pt idx="87">
                  <c:v>0.9378609847079742</c:v>
                </c:pt>
                <c:pt idx="88">
                  <c:v>0.9475468832967366</c:v>
                </c:pt>
                <c:pt idx="89">
                  <c:v>0.93668288859505</c:v>
                </c:pt>
                <c:pt idx="90">
                  <c:v>0.972178049410332</c:v>
                </c:pt>
                <c:pt idx="91">
                  <c:v>0.9861927188595877</c:v>
                </c:pt>
                <c:pt idx="92">
                  <c:v>0.9631683452402253</c:v>
                </c:pt>
                <c:pt idx="93">
                  <c:v>0.9589862157610012</c:v>
                </c:pt>
                <c:pt idx="94">
                  <c:v>0.9873460127936448</c:v>
                </c:pt>
                <c:pt idx="95">
                  <c:v>0.9679150477952632</c:v>
                </c:pt>
                <c:pt idx="96">
                  <c:v>0.9611603662284088</c:v>
                </c:pt>
                <c:pt idx="97">
                  <c:v>0.9894027476542779</c:v>
                </c:pt>
                <c:pt idx="98">
                  <c:v>0.9696767529680224</c:v>
                </c:pt>
                <c:pt idx="99">
                  <c:v>0.9450073014996266</c:v>
                </c:pt>
                <c:pt idx="100">
                  <c:v>0.8909412165450663</c:v>
                </c:pt>
                <c:pt idx="101">
                  <c:v>0.8863316443084995</c:v>
                </c:pt>
                <c:pt idx="102">
                  <c:v>0.8725215099432616</c:v>
                </c:pt>
                <c:pt idx="103">
                  <c:v>0.8829602072947319</c:v>
                </c:pt>
                <c:pt idx="104">
                  <c:v>0.887936693787159</c:v>
                </c:pt>
              </c:numCache>
            </c:numRef>
          </c:xVal>
          <c:yVal>
            <c:numRef>
              <c:f>Sheet1!$B$2:$B$106</c:f>
              <c:numCache>
                <c:formatCode>General</c:formatCode>
                <c:ptCount val="105"/>
                <c:pt idx="0">
                  <c:v>0.4009455346156337</c:v>
                </c:pt>
                <c:pt idx="1">
                  <c:v>0.4135934819897084</c:v>
                </c:pt>
                <c:pt idx="2">
                  <c:v>0.4390207824865025</c:v>
                </c:pt>
                <c:pt idx="3">
                  <c:v>0.4618830556428796</c:v>
                </c:pt>
                <c:pt idx="4">
                  <c:v>0.46609788953749437</c:v>
                </c:pt>
                <c:pt idx="5">
                  <c:v>0.4383669885864794</c:v>
                </c:pt>
                <c:pt idx="6">
                  <c:v>0.4715077330245637</c:v>
                </c:pt>
                <c:pt idx="7">
                  <c:v>0.477452302948545</c:v>
                </c:pt>
                <c:pt idx="8">
                  <c:v>0.4571827335260692</c:v>
                </c:pt>
                <c:pt idx="9">
                  <c:v>0.45672447013487477</c:v>
                </c:pt>
                <c:pt idx="10">
                  <c:v>0.4370319425340058</c:v>
                </c:pt>
                <c:pt idx="11">
                  <c:v>0.3940147687524291</c:v>
                </c:pt>
                <c:pt idx="12">
                  <c:v>0.3782617771901747</c:v>
                </c:pt>
                <c:pt idx="13">
                  <c:v>0.3686315948373462</c:v>
                </c:pt>
                <c:pt idx="14">
                  <c:v>0.3421173235563703</c:v>
                </c:pt>
                <c:pt idx="15">
                  <c:v>0.34964081113030826</c:v>
                </c:pt>
                <c:pt idx="16">
                  <c:v>0.338576072140086</c:v>
                </c:pt>
                <c:pt idx="17">
                  <c:v>0.33659829453791196</c:v>
                </c:pt>
                <c:pt idx="18">
                  <c:v>0.3253569539925965</c:v>
                </c:pt>
                <c:pt idx="19">
                  <c:v>0.33590909090909093</c:v>
                </c:pt>
                <c:pt idx="20">
                  <c:v>0.34473290064902645</c:v>
                </c:pt>
                <c:pt idx="21">
                  <c:v>0.3572060123784262</c:v>
                </c:pt>
                <c:pt idx="22">
                  <c:v>0.41239445114595896</c:v>
                </c:pt>
                <c:pt idx="23">
                  <c:v>0.4120976872068575</c:v>
                </c:pt>
                <c:pt idx="24">
                  <c:v>0.4180656663200119</c:v>
                </c:pt>
                <c:pt idx="25">
                  <c:v>0.41673682438120896</c:v>
                </c:pt>
                <c:pt idx="26">
                  <c:v>0.4252297410192147</c:v>
                </c:pt>
                <c:pt idx="27">
                  <c:v>0.44453312051077415</c:v>
                </c:pt>
                <c:pt idx="28">
                  <c:v>0.41333704580258945</c:v>
                </c:pt>
                <c:pt idx="29">
                  <c:v>0.4175824175824176</c:v>
                </c:pt>
                <c:pt idx="30">
                  <c:v>0.41166190022243404</c:v>
                </c:pt>
                <c:pt idx="31">
                  <c:v>0.41623971433007295</c:v>
                </c:pt>
                <c:pt idx="32">
                  <c:v>0.4307692307692308</c:v>
                </c:pt>
                <c:pt idx="33">
                  <c:v>0.4302512687213764</c:v>
                </c:pt>
                <c:pt idx="34">
                  <c:v>0.43145071982281286</c:v>
                </c:pt>
                <c:pt idx="35">
                  <c:v>0.43787033061399744</c:v>
                </c:pt>
                <c:pt idx="36">
                  <c:v>0.37174284493806065</c:v>
                </c:pt>
                <c:pt idx="37">
                  <c:v>0.4075077399380805</c:v>
                </c:pt>
                <c:pt idx="38">
                  <c:v>0.39748668214724764</c:v>
                </c:pt>
                <c:pt idx="39">
                  <c:v>0.3749816688664027</c:v>
                </c:pt>
                <c:pt idx="40">
                  <c:v>0.38167570825798675</c:v>
                </c:pt>
                <c:pt idx="41">
                  <c:v>0.357347950926651</c:v>
                </c:pt>
                <c:pt idx="42">
                  <c:v>0.35631929046563193</c:v>
                </c:pt>
                <c:pt idx="43">
                  <c:v>0.36905115266646876</c:v>
                </c:pt>
                <c:pt idx="44">
                  <c:v>0.35878014749850506</c:v>
                </c:pt>
                <c:pt idx="45">
                  <c:v>0.373055438765091</c:v>
                </c:pt>
                <c:pt idx="46">
                  <c:v>0.38929900194885725</c:v>
                </c:pt>
                <c:pt idx="47">
                  <c:v>0.3724441274369948</c:v>
                </c:pt>
                <c:pt idx="48">
                  <c:v>0.3642566010987064</c:v>
                </c:pt>
                <c:pt idx="49">
                  <c:v>0.38445875131007634</c:v>
                </c:pt>
                <c:pt idx="50">
                  <c:v>0.36978928080622997</c:v>
                </c:pt>
                <c:pt idx="51">
                  <c:v>0.3766857962697274</c:v>
                </c:pt>
                <c:pt idx="52">
                  <c:v>0.38061652581017813</c:v>
                </c:pt>
                <c:pt idx="53">
                  <c:v>0.3790246212121212</c:v>
                </c:pt>
                <c:pt idx="54">
                  <c:v>0.40068522483940044</c:v>
                </c:pt>
                <c:pt idx="55">
                  <c:v>0.4001251788268956</c:v>
                </c:pt>
                <c:pt idx="56">
                  <c:v>0.38277686553548623</c:v>
                </c:pt>
                <c:pt idx="57">
                  <c:v>0.38703213913601026</c:v>
                </c:pt>
                <c:pt idx="58">
                  <c:v>0.3917849247664551</c:v>
                </c:pt>
                <c:pt idx="59">
                  <c:v>0.3953637824190957</c:v>
                </c:pt>
                <c:pt idx="60">
                  <c:v>0.3971971775774206</c:v>
                </c:pt>
                <c:pt idx="61">
                  <c:v>0.39487286951662476</c:v>
                </c:pt>
                <c:pt idx="62">
                  <c:v>0.407296487884563</c:v>
                </c:pt>
                <c:pt idx="63">
                  <c:v>0.41149077713940124</c:v>
                </c:pt>
                <c:pt idx="64">
                  <c:v>0.3869936653687453</c:v>
                </c:pt>
                <c:pt idx="65">
                  <c:v>0.367304148929411</c:v>
                </c:pt>
                <c:pt idx="66">
                  <c:v>0.37426306159788575</c:v>
                </c:pt>
                <c:pt idx="67">
                  <c:v>0.3538733639900955</c:v>
                </c:pt>
                <c:pt idx="68">
                  <c:v>0.3529885468861847</c:v>
                </c:pt>
                <c:pt idx="69">
                  <c:v>0.3432179501634908</c:v>
                </c:pt>
                <c:pt idx="70">
                  <c:v>0.34660344067048965</c:v>
                </c:pt>
                <c:pt idx="71">
                  <c:v>0.3533198235784957</c:v>
                </c:pt>
                <c:pt idx="72">
                  <c:v>0.34494159135992947</c:v>
                </c:pt>
                <c:pt idx="73">
                  <c:v>0.35838287752675385</c:v>
                </c:pt>
                <c:pt idx="74">
                  <c:v>0.35987554736114313</c:v>
                </c:pt>
                <c:pt idx="75">
                  <c:v>0.37569426077757206</c:v>
                </c:pt>
                <c:pt idx="76">
                  <c:v>0.36361145362378405</c:v>
                </c:pt>
                <c:pt idx="77">
                  <c:v>0.3721134171294943</c:v>
                </c:pt>
                <c:pt idx="78">
                  <c:v>0.3573715248525695</c:v>
                </c:pt>
                <c:pt idx="79">
                  <c:v>0.360427807486631</c:v>
                </c:pt>
                <c:pt idx="80">
                  <c:v>0.34097243728708576</c:v>
                </c:pt>
                <c:pt idx="81">
                  <c:v>0.3447978303747535</c:v>
                </c:pt>
                <c:pt idx="82">
                  <c:v>0.3423802838870691</c:v>
                </c:pt>
                <c:pt idx="83">
                  <c:v>0.3319737542117397</c:v>
                </c:pt>
                <c:pt idx="84">
                  <c:v>0.34851596042561134</c:v>
                </c:pt>
                <c:pt idx="85">
                  <c:v>0.36825127334465196</c:v>
                </c:pt>
                <c:pt idx="86">
                  <c:v>0.35945548197203825</c:v>
                </c:pt>
                <c:pt idx="87">
                  <c:v>0.37491863744847037</c:v>
                </c:pt>
                <c:pt idx="88">
                  <c:v>0.36312692630989074</c:v>
                </c:pt>
                <c:pt idx="89">
                  <c:v>0.3593975324467233</c:v>
                </c:pt>
                <c:pt idx="90">
                  <c:v>0.34738756613756616</c:v>
                </c:pt>
                <c:pt idx="91">
                  <c:v>0.3123387463955077</c:v>
                </c:pt>
                <c:pt idx="92">
                  <c:v>0.34136897327004745</c:v>
                </c:pt>
                <c:pt idx="93">
                  <c:v>0.32392344497607656</c:v>
                </c:pt>
                <c:pt idx="94">
                  <c:v>0.3214096449390567</c:v>
                </c:pt>
                <c:pt idx="95">
                  <c:v>0.32586031921764</c:v>
                </c:pt>
                <c:pt idx="96">
                  <c:v>0.3423314626696029</c:v>
                </c:pt>
                <c:pt idx="97">
                  <c:v>0.34330954237389794</c:v>
                </c:pt>
                <c:pt idx="98">
                  <c:v>0.3523453327099891</c:v>
                </c:pt>
                <c:pt idx="99">
                  <c:v>0.3593200201069323</c:v>
                </c:pt>
                <c:pt idx="100">
                  <c:v>0.35648460328163634</c:v>
                </c:pt>
                <c:pt idx="101">
                  <c:v>0.3588744340649894</c:v>
                </c:pt>
                <c:pt idx="102">
                  <c:v>0.3427196322103297</c:v>
                </c:pt>
                <c:pt idx="103">
                  <c:v>0.3323397913561848</c:v>
                </c:pt>
                <c:pt idx="104">
                  <c:v>0.333919156414762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846150870868674</c:v>
                </c:pt>
                <c:pt idx="1">
                  <c:v>0.8628240472488612</c:v>
                </c:pt>
                <c:pt idx="2">
                  <c:v>0.8607824678214396</c:v>
                </c:pt>
                <c:pt idx="3">
                  <c:v>0.8379886922365699</c:v>
                </c:pt>
                <c:pt idx="4">
                  <c:v>0.8477957040649384</c:v>
                </c:pt>
                <c:pt idx="5">
                  <c:v>0.8648219115823049</c:v>
                </c:pt>
                <c:pt idx="6">
                  <c:v>0.851988805376589</c:v>
                </c:pt>
                <c:pt idx="7">
                  <c:v>0.8728651107905782</c:v>
                </c:pt>
                <c:pt idx="8">
                  <c:v>0.9153529960441499</c:v>
                </c:pt>
                <c:pt idx="9">
                  <c:v>0.8723515785649866</c:v>
                </c:pt>
                <c:pt idx="10">
                  <c:v>0.9015341156865815</c:v>
                </c:pt>
                <c:pt idx="11">
                  <c:v>0.8673284116335555</c:v>
                </c:pt>
                <c:pt idx="12">
                  <c:v>0.8772508838949403</c:v>
                </c:pt>
                <c:pt idx="13">
                  <c:v>0.8509330689287407</c:v>
                </c:pt>
                <c:pt idx="14">
                  <c:v>0.8576238585095372</c:v>
                </c:pt>
                <c:pt idx="15">
                  <c:v>0.8596006614917647</c:v>
                </c:pt>
                <c:pt idx="16">
                  <c:v>0.9025834525474483</c:v>
                </c:pt>
                <c:pt idx="17">
                  <c:v>0.8992409931758683</c:v>
                </c:pt>
                <c:pt idx="18">
                  <c:v>0.9218730744062122</c:v>
                </c:pt>
                <c:pt idx="19">
                  <c:v>0.9136089351380333</c:v>
                </c:pt>
                <c:pt idx="20">
                  <c:v>0.8788647975104129</c:v>
                </c:pt>
                <c:pt idx="21">
                  <c:v>0.8355180188392293</c:v>
                </c:pt>
                <c:pt idx="22">
                  <c:v>0.867029061895779</c:v>
                </c:pt>
                <c:pt idx="23">
                  <c:v>0.8297790342098654</c:v>
                </c:pt>
                <c:pt idx="24">
                  <c:v>0.8242759114955535</c:v>
                </c:pt>
                <c:pt idx="25">
                  <c:v>0.8642632042155326</c:v>
                </c:pt>
                <c:pt idx="26">
                  <c:v>0.9000453024364087</c:v>
                </c:pt>
                <c:pt idx="27">
                  <c:v>0.9176904929012242</c:v>
                </c:pt>
                <c:pt idx="28">
                  <c:v>0.9201540199194692</c:v>
                </c:pt>
                <c:pt idx="29">
                  <c:v>0.8891170377350767</c:v>
                </c:pt>
                <c:pt idx="30">
                  <c:v>0.8923096623104118</c:v>
                </c:pt>
                <c:pt idx="31">
                  <c:v>0.8950708507368375</c:v>
                </c:pt>
                <c:pt idx="32">
                  <c:v>0.9119324962126448</c:v>
                </c:pt>
                <c:pt idx="33">
                  <c:v>0.91594586820353</c:v>
                </c:pt>
                <c:pt idx="34">
                  <c:v>0.9167782128325361</c:v>
                </c:pt>
                <c:pt idx="35">
                  <c:v>0.9153336687242144</c:v>
                </c:pt>
                <c:pt idx="36">
                  <c:v>0.9077223524983186</c:v>
                </c:pt>
                <c:pt idx="37">
                  <c:v>0.8935243484477058</c:v>
                </c:pt>
                <c:pt idx="38">
                  <c:v>0.915855789718962</c:v>
                </c:pt>
                <c:pt idx="39">
                  <c:v>0.9188066987016352</c:v>
                </c:pt>
                <c:pt idx="40">
                  <c:v>0.938026872718355</c:v>
                </c:pt>
                <c:pt idx="41">
                  <c:v>0.9588925377714136</c:v>
                </c:pt>
                <c:pt idx="42">
                  <c:v>0.9138260512120469</c:v>
                </c:pt>
                <c:pt idx="43">
                  <c:v>0.9423373695858012</c:v>
                </c:pt>
                <c:pt idx="44">
                  <c:v>0.9459642316580292</c:v>
                </c:pt>
                <c:pt idx="45">
                  <c:v>0.9068948618405328</c:v>
                </c:pt>
                <c:pt idx="46">
                  <c:v>0.9168716477915877</c:v>
                </c:pt>
                <c:pt idx="47">
                  <c:v>0.9142968533062843</c:v>
                </c:pt>
                <c:pt idx="48">
                  <c:v>0.9494741427944636</c:v>
                </c:pt>
                <c:pt idx="49">
                  <c:v>0.9623505478713921</c:v>
                </c:pt>
                <c:pt idx="50">
                  <c:v>0.9035926367491665</c:v>
                </c:pt>
                <c:pt idx="51">
                  <c:v>0.904679195051925</c:v>
                </c:pt>
              </c:numCache>
            </c:numRef>
          </c:xVal>
          <c:yVal>
            <c:numRef>
              <c:f>Sheet1!$B$109:$B$160</c:f>
              <c:numCache>
                <c:formatCode>General</c:formatCode>
                <c:ptCount val="52"/>
                <c:pt idx="0">
                  <c:v>0.35995872033023735</c:v>
                </c:pt>
                <c:pt idx="1">
                  <c:v>0.357406314547064</c:v>
                </c:pt>
                <c:pt idx="2">
                  <c:v>0.3687352400944634</c:v>
                </c:pt>
                <c:pt idx="3">
                  <c:v>0.39424272162250573</c:v>
                </c:pt>
                <c:pt idx="4">
                  <c:v>0.38426323319027184</c:v>
                </c:pt>
                <c:pt idx="5">
                  <c:v>0.36295992900539287</c:v>
                </c:pt>
                <c:pt idx="6">
                  <c:v>0.3866143330852</c:v>
                </c:pt>
                <c:pt idx="7">
                  <c:v>0.36999000272652915</c:v>
                </c:pt>
                <c:pt idx="8">
                  <c:v>0.36480235492010094</c:v>
                </c:pt>
                <c:pt idx="9">
                  <c:v>0.3698077824660103</c:v>
                </c:pt>
                <c:pt idx="10">
                  <c:v>0.3666456209975647</c:v>
                </c:pt>
                <c:pt idx="11">
                  <c:v>0.3721678597228607</c:v>
                </c:pt>
                <c:pt idx="12">
                  <c:v>0.377632479282293</c:v>
                </c:pt>
                <c:pt idx="13">
                  <c:v>0.3823341836734694</c:v>
                </c:pt>
                <c:pt idx="14">
                  <c:v>0.3853186813186813</c:v>
                </c:pt>
                <c:pt idx="15">
                  <c:v>0.3730682246513381</c:v>
                </c:pt>
                <c:pt idx="16">
                  <c:v>0.3577473958333333</c:v>
                </c:pt>
                <c:pt idx="17">
                  <c:v>0.35038246375156984</c:v>
                </c:pt>
                <c:pt idx="18">
                  <c:v>0.35927577354411566</c:v>
                </c:pt>
                <c:pt idx="19">
                  <c:v>0.3584526500879176</c:v>
                </c:pt>
                <c:pt idx="20">
                  <c:v>0.36460858405817764</c:v>
                </c:pt>
                <c:pt idx="21">
                  <c:v>0.36896197327852004</c:v>
                </c:pt>
                <c:pt idx="22">
                  <c:v>0.35856164383561645</c:v>
                </c:pt>
                <c:pt idx="23">
                  <c:v>0.3732501264968797</c:v>
                </c:pt>
                <c:pt idx="24">
                  <c:v>0.38729641693811073</c:v>
                </c:pt>
                <c:pt idx="25">
                  <c:v>0.37851620332291497</c:v>
                </c:pt>
                <c:pt idx="26">
                  <c:v>0.3610056925996205</c:v>
                </c:pt>
                <c:pt idx="27">
                  <c:v>0.35539387155449836</c:v>
                </c:pt>
                <c:pt idx="28">
                  <c:v>0.3462710292754007</c:v>
                </c:pt>
                <c:pt idx="29">
                  <c:v>0.34827367754197025</c:v>
                </c:pt>
                <c:pt idx="30">
                  <c:v>0.3505646572292031</c:v>
                </c:pt>
                <c:pt idx="31">
                  <c:v>0.3485915492957746</c:v>
                </c:pt>
                <c:pt idx="32">
                  <c:v>0.346096221075412</c:v>
                </c:pt>
                <c:pt idx="33">
                  <c:v>0.3534628929176992</c:v>
                </c:pt>
                <c:pt idx="34">
                  <c:v>0.38005709223348755</c:v>
                </c:pt>
                <c:pt idx="35">
                  <c:v>0.3613193403298351</c:v>
                </c:pt>
                <c:pt idx="36">
                  <c:v>0.35309137333576507</c:v>
                </c:pt>
                <c:pt idx="37">
                  <c:v>0.3512700534759358</c:v>
                </c:pt>
                <c:pt idx="38">
                  <c:v>0.35485714285714287</c:v>
                </c:pt>
                <c:pt idx="39">
                  <c:v>0.365</c:v>
                </c:pt>
                <c:pt idx="40">
                  <c:v>0.36466271521309623</c:v>
                </c:pt>
                <c:pt idx="41">
                  <c:v>0.35534631755449503</c:v>
                </c:pt>
                <c:pt idx="42">
                  <c:v>0.36407483192049106</c:v>
                </c:pt>
                <c:pt idx="43">
                  <c:v>0.35544086966070054</c:v>
                </c:pt>
                <c:pt idx="44">
                  <c:v>0.3527103486037598</c:v>
                </c:pt>
                <c:pt idx="45">
                  <c:v>0.36231604652657284</c:v>
                </c:pt>
                <c:pt idx="46">
                  <c:v>0.37525370804059327</c:v>
                </c:pt>
                <c:pt idx="47">
                  <c:v>0.3708618721461187</c:v>
                </c:pt>
                <c:pt idx="48">
                  <c:v>0.3560686796921255</c:v>
                </c:pt>
                <c:pt idx="49">
                  <c:v>0.3724536661803642</c:v>
                </c:pt>
                <c:pt idx="50">
                  <c:v>0.3828300474170202</c:v>
                </c:pt>
                <c:pt idx="51">
                  <c:v>0.382439148719255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6626596754203914</c:v>
                </c:pt>
              </c:numCache>
            </c:numRef>
          </c:xVal>
          <c:yVal>
            <c:numRef>
              <c:f>Sheet1!$B$163:$B$164</c:f>
              <c:numCache>
                <c:formatCode>General</c:formatCode>
                <c:ptCount val="2"/>
                <c:pt idx="0">
                  <c:v>0.44733894470643065</c:v>
                </c:pt>
                <c:pt idx="1">
                  <c:v>0.4473389447064306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6626596754203914</c:v>
                </c:pt>
                <c:pt idx="1">
                  <c:v>0.46626596754203914</c:v>
                </c:pt>
              </c:numCache>
            </c:numRef>
          </c:xVal>
          <c:yVal>
            <c:numRef>
              <c:f>Sheet1!$B$167:$B$168</c:f>
              <c:numCache>
                <c:formatCode>General</c:formatCode>
                <c:ptCount val="2"/>
                <c:pt idx="0">
                  <c:v>0.4473389447064306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522000672142139</c:v>
                </c:pt>
              </c:numCache>
            </c:numRef>
          </c:xVal>
          <c:yVal>
            <c:numRef>
              <c:f>Sheet1!$B$171:$B$172</c:f>
              <c:numCache>
                <c:formatCode>General</c:formatCode>
                <c:ptCount val="2"/>
                <c:pt idx="0">
                  <c:v>0.37344788550219143</c:v>
                </c:pt>
                <c:pt idx="1">
                  <c:v>0.3734478855021914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522000672142139</c:v>
                </c:pt>
                <c:pt idx="1">
                  <c:v>0.8522000672142139</c:v>
                </c:pt>
              </c:numCache>
            </c:numRef>
          </c:xVal>
          <c:yVal>
            <c:numRef>
              <c:f>Sheet1!$B$175:$B$176</c:f>
              <c:numCache>
                <c:formatCode>General</c:formatCode>
                <c:ptCount val="2"/>
                <c:pt idx="0">
                  <c:v>0.3734478855021914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905146014904186</c:v>
                </c:pt>
              </c:numCache>
            </c:numRef>
          </c:xVal>
          <c:yVal>
            <c:numRef>
              <c:f>Sheet1!$B$179:$B$180</c:f>
              <c:numCache>
                <c:formatCode>General</c:formatCode>
                <c:ptCount val="2"/>
                <c:pt idx="0">
                  <c:v>0.3661121732057379</c:v>
                </c:pt>
                <c:pt idx="1">
                  <c:v>0.366112173205737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905146014904186</c:v>
                </c:pt>
                <c:pt idx="1">
                  <c:v>0.8905146014904186</c:v>
                </c:pt>
              </c:numCache>
            </c:numRef>
          </c:xVal>
          <c:yVal>
            <c:numRef>
              <c:f>Sheet1!$B$183:$B$184</c:f>
              <c:numCache>
                <c:formatCode>General</c:formatCode>
                <c:ptCount val="2"/>
                <c:pt idx="0">
                  <c:v>0.366112173205737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846150870868674</c:v>
                </c:pt>
                <c:pt idx="1">
                  <c:v>0.8628240472488612</c:v>
                </c:pt>
                <c:pt idx="2">
                  <c:v>0.8607824678214396</c:v>
                </c:pt>
                <c:pt idx="3">
                  <c:v>0.8379886922365699</c:v>
                </c:pt>
                <c:pt idx="4">
                  <c:v>0.8477957040649384</c:v>
                </c:pt>
                <c:pt idx="5">
                  <c:v>0.8648219115823049</c:v>
                </c:pt>
                <c:pt idx="6">
                  <c:v>0.851988805376589</c:v>
                </c:pt>
                <c:pt idx="7">
                  <c:v>0.8728651107905782</c:v>
                </c:pt>
                <c:pt idx="8">
                  <c:v>0.9153529960441499</c:v>
                </c:pt>
                <c:pt idx="9">
                  <c:v>0.8723515785649866</c:v>
                </c:pt>
                <c:pt idx="10">
                  <c:v>0.9015341156865815</c:v>
                </c:pt>
                <c:pt idx="11">
                  <c:v>0.8673284116335555</c:v>
                </c:pt>
                <c:pt idx="12">
                  <c:v>0.8772508838949403</c:v>
                </c:pt>
                <c:pt idx="13">
                  <c:v>0.8509330689287407</c:v>
                </c:pt>
                <c:pt idx="14">
                  <c:v>0.8576238585095372</c:v>
                </c:pt>
                <c:pt idx="15">
                  <c:v>0.8596006614917647</c:v>
                </c:pt>
                <c:pt idx="16">
                  <c:v>0.9025834525474483</c:v>
                </c:pt>
                <c:pt idx="17">
                  <c:v>0.8992409931758683</c:v>
                </c:pt>
                <c:pt idx="18">
                  <c:v>0.9218730744062122</c:v>
                </c:pt>
                <c:pt idx="19">
                  <c:v>0.9136089351380333</c:v>
                </c:pt>
                <c:pt idx="20">
                  <c:v>0.8788647975104129</c:v>
                </c:pt>
                <c:pt idx="21">
                  <c:v>0.8355180188392293</c:v>
                </c:pt>
                <c:pt idx="22">
                  <c:v>0.867029061895779</c:v>
                </c:pt>
                <c:pt idx="23">
                  <c:v>0.8297790342098654</c:v>
                </c:pt>
                <c:pt idx="24">
                  <c:v>0.8242759114955535</c:v>
                </c:pt>
                <c:pt idx="25">
                  <c:v>0.8642632042155326</c:v>
                </c:pt>
                <c:pt idx="26">
                  <c:v>0.9000453024364087</c:v>
                </c:pt>
                <c:pt idx="27">
                  <c:v>0.9176904929012242</c:v>
                </c:pt>
                <c:pt idx="28">
                  <c:v>0.9201540199194692</c:v>
                </c:pt>
                <c:pt idx="29">
                  <c:v>0.8891170377350767</c:v>
                </c:pt>
                <c:pt idx="30">
                  <c:v>0.8923096623104118</c:v>
                </c:pt>
                <c:pt idx="31">
                  <c:v>0.8950708507368375</c:v>
                </c:pt>
                <c:pt idx="32">
                  <c:v>0.9119324962126448</c:v>
                </c:pt>
                <c:pt idx="33">
                  <c:v>0.91594586820353</c:v>
                </c:pt>
                <c:pt idx="34">
                  <c:v>0.9167782128325361</c:v>
                </c:pt>
                <c:pt idx="35">
                  <c:v>0.9153336687242144</c:v>
                </c:pt>
                <c:pt idx="36">
                  <c:v>0.9077223524983186</c:v>
                </c:pt>
                <c:pt idx="37">
                  <c:v>0.8935243484477058</c:v>
                </c:pt>
                <c:pt idx="38">
                  <c:v>0.915855789718962</c:v>
                </c:pt>
                <c:pt idx="39">
                  <c:v>0.9188066987016352</c:v>
                </c:pt>
                <c:pt idx="40">
                  <c:v>0.938026872718355</c:v>
                </c:pt>
                <c:pt idx="41">
                  <c:v>0.9588925377714136</c:v>
                </c:pt>
                <c:pt idx="42">
                  <c:v>0.9138260512120469</c:v>
                </c:pt>
                <c:pt idx="43">
                  <c:v>0.9423373695858012</c:v>
                </c:pt>
                <c:pt idx="44">
                  <c:v>0.9459642316580292</c:v>
                </c:pt>
                <c:pt idx="45">
                  <c:v>0.9068948618405328</c:v>
                </c:pt>
                <c:pt idx="46">
                  <c:v>0.9168716477915877</c:v>
                </c:pt>
                <c:pt idx="47">
                  <c:v>0.9142968533062843</c:v>
                </c:pt>
                <c:pt idx="48">
                  <c:v>0.9494741427944636</c:v>
                </c:pt>
                <c:pt idx="49">
                  <c:v>0.9623505478713921</c:v>
                </c:pt>
                <c:pt idx="50">
                  <c:v>0.9035926367491665</c:v>
                </c:pt>
                <c:pt idx="51">
                  <c:v>0.904679195051925</c:v>
                </c:pt>
                <c:pt idx="52">
                  <c:v>0.8522000672142139</c:v>
                </c:pt>
                <c:pt idx="53">
                  <c:v>0.46626596754203914</c:v>
                </c:pt>
                <c:pt idx="54">
                  <c:v>0.8905146014904186</c:v>
                </c:pt>
              </c:numCache>
            </c:numRef>
          </c:xVal>
          <c:yVal>
            <c:numRef>
              <c:f>Sheet1!$B$187:$B$241</c:f>
              <c:numCache>
                <c:formatCode>General</c:formatCode>
                <c:ptCount val="55"/>
                <c:pt idx="0">
                  <c:v>0.3672416960140084</c:v>
                </c:pt>
                <c:pt idx="1">
                  <c:v>0.371413815078273</c:v>
                </c:pt>
                <c:pt idx="2">
                  <c:v>0.371804696491628</c:v>
                </c:pt>
                <c:pt idx="3">
                  <c:v>0.3761687996446285</c:v>
                </c:pt>
                <c:pt idx="4">
                  <c:v>0.3742911462000581</c:v>
                </c:pt>
                <c:pt idx="5">
                  <c:v>0.3710313033700048</c:v>
                </c:pt>
                <c:pt idx="6">
                  <c:v>0.3734883337573852</c:v>
                </c:pt>
                <c:pt idx="7">
                  <c:v>0.3694913500220243</c:v>
                </c:pt>
                <c:pt idx="8">
                  <c:v>0.36135660668786085</c:v>
                </c:pt>
                <c:pt idx="9">
                  <c:v>0.3695896710569282</c:v>
                </c:pt>
                <c:pt idx="10">
                  <c:v>0.3640023736918772</c:v>
                </c:pt>
                <c:pt idx="11">
                  <c:v>0.37055140811369114</c:v>
                </c:pt>
                <c:pt idx="12">
                  <c:v>0.36865164857976757</c:v>
                </c:pt>
                <c:pt idx="13">
                  <c:v>0.3736904653763282</c:v>
                </c:pt>
                <c:pt idx="14">
                  <c:v>0.372409444783803</c:v>
                </c:pt>
                <c:pt idx="15">
                  <c:v>0.37203096548819536</c:v>
                </c:pt>
                <c:pt idx="16">
                  <c:v>0.36380146733978924</c:v>
                </c:pt>
                <c:pt idx="17">
                  <c:v>0.364441415619879</c:v>
                </c:pt>
                <c:pt idx="18">
                  <c:v>0.36010827051679783</c:v>
                </c:pt>
                <c:pt idx="19">
                  <c:v>0.36169052511533106</c:v>
                </c:pt>
                <c:pt idx="20">
                  <c:v>0.3683426481918446</c:v>
                </c:pt>
                <c:pt idx="21">
                  <c:v>0.37664183551897157</c:v>
                </c:pt>
                <c:pt idx="22">
                  <c:v>0.3706087217048343</c:v>
                </c:pt>
                <c:pt idx="23">
                  <c:v>0.37774062324822577</c:v>
                </c:pt>
                <c:pt idx="24">
                  <c:v>0.3787942527840372</c:v>
                </c:pt>
                <c:pt idx="25">
                  <c:v>0.37113827365107377</c:v>
                </c:pt>
                <c:pt idx="26">
                  <c:v>0.3642874223261027</c:v>
                </c:pt>
                <c:pt idx="27">
                  <c:v>0.360909068834112</c:v>
                </c:pt>
                <c:pt idx="28">
                  <c:v>0.36043740120766743</c:v>
                </c:pt>
                <c:pt idx="29">
                  <c:v>0.36637975118414245</c:v>
                </c:pt>
                <c:pt idx="30">
                  <c:v>0.3657684903193643</c:v>
                </c:pt>
                <c:pt idx="31">
                  <c:v>0.36523983234987056</c:v>
                </c:pt>
                <c:pt idx="32">
                  <c:v>0.3620114966179617</c:v>
                </c:pt>
                <c:pt idx="33">
                  <c:v>0.3612430952052878</c:v>
                </c:pt>
                <c:pt idx="34">
                  <c:v>0.3610837342514035</c:v>
                </c:pt>
                <c:pt idx="35">
                  <c:v>0.361360307102369</c:v>
                </c:pt>
                <c:pt idx="36">
                  <c:v>0.36281757200419446</c:v>
                </c:pt>
                <c:pt idx="37">
                  <c:v>0.3655359261449066</c:v>
                </c:pt>
                <c:pt idx="38">
                  <c:v>0.3612603416591303</c:v>
                </c:pt>
                <c:pt idx="39">
                  <c:v>0.36069535973467676</c:v>
                </c:pt>
                <c:pt idx="40">
                  <c:v>0.3570154594164836</c:v>
                </c:pt>
                <c:pt idx="41">
                  <c:v>0.35302051288783787</c:v>
                </c:pt>
                <c:pt idx="42">
                  <c:v>0.3616489560062714</c:v>
                </c:pt>
                <c:pt idx="43">
                  <c:v>0.35619017038526635</c:v>
                </c:pt>
                <c:pt idx="44">
                  <c:v>0.35549577027827334</c:v>
                </c:pt>
                <c:pt idx="45">
                  <c:v>0.3629760036152838</c:v>
                </c:pt>
                <c:pt idx="46">
                  <c:v>0.36106584516594337</c:v>
                </c:pt>
                <c:pt idx="47">
                  <c:v>0.3615588160952132</c:v>
                </c:pt>
                <c:pt idx="48">
                  <c:v>0.354823761632745</c:v>
                </c:pt>
                <c:pt idx="49">
                  <c:v>0.35235844123041393</c:v>
                </c:pt>
                <c:pt idx="50">
                  <c:v>0.3636082486279405</c:v>
                </c:pt>
                <c:pt idx="51">
                  <c:v>0.36340021584735394</c:v>
                </c:pt>
                <c:pt idx="52">
                  <c:v>0.37344788550219143</c:v>
                </c:pt>
                <c:pt idx="53">
                  <c:v>0.44733894470643065</c:v>
                </c:pt>
                <c:pt idx="54">
                  <c:v>0.366112173205737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72942763538254"/>
          <c:min val="0.2498709971164061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42.1199</c:v>
                </c:pt>
                <c:pt idx="1">
                  <c:v>913.9464</c:v>
                </c:pt>
                <c:pt idx="2">
                  <c:v>945.576</c:v>
                </c:pt>
                <c:pt idx="3">
                  <c:v>978.75</c:v>
                </c:pt>
                <c:pt idx="4">
                  <c:v>965.9376</c:v>
                </c:pt>
                <c:pt idx="5">
                  <c:v>952.6493</c:v>
                </c:pt>
                <c:pt idx="6">
                  <c:v>916.4038</c:v>
                </c:pt>
                <c:pt idx="7">
                  <c:v>927.3766</c:v>
                </c:pt>
                <c:pt idx="8">
                  <c:v>937.4799</c:v>
                </c:pt>
                <c:pt idx="9">
                  <c:v>899.1126</c:v>
                </c:pt>
                <c:pt idx="10">
                  <c:v>899.4744</c:v>
                </c:pt>
                <c:pt idx="11">
                  <c:v>963.1389</c:v>
                </c:pt>
                <c:pt idx="12">
                  <c:v>959.7524</c:v>
                </c:pt>
                <c:pt idx="13">
                  <c:v>976.9349</c:v>
                </c:pt>
                <c:pt idx="14">
                  <c:v>1008.76</c:v>
                </c:pt>
                <c:pt idx="15">
                  <c:v>1018.2835</c:v>
                </c:pt>
                <c:pt idx="16">
                  <c:v>1041.4144</c:v>
                </c:pt>
                <c:pt idx="17">
                  <c:v>1047.3937</c:v>
                </c:pt>
                <c:pt idx="18">
                  <c:v>1104.7733</c:v>
                </c:pt>
                <c:pt idx="19">
                  <c:v>1092.3586</c:v>
                </c:pt>
                <c:pt idx="20">
                  <c:v>1118.4113</c:v>
                </c:pt>
                <c:pt idx="21">
                  <c:v>1117.0685</c:v>
                </c:pt>
                <c:pt idx="22">
                  <c:v>1065.5258</c:v>
                </c:pt>
                <c:pt idx="23">
                  <c:v>1080.1998</c:v>
                </c:pt>
                <c:pt idx="24">
                  <c:v>1088.4417</c:v>
                </c:pt>
                <c:pt idx="25">
                  <c:v>1071.5834</c:v>
                </c:pt>
                <c:pt idx="26">
                  <c:v>1055.5602</c:v>
                </c:pt>
                <c:pt idx="27">
                  <c:v>1048.8851</c:v>
                </c:pt>
                <c:pt idx="28">
                  <c:v>1068.4891</c:v>
                </c:pt>
                <c:pt idx="29">
                  <c:v>1059.716</c:v>
                </c:pt>
                <c:pt idx="30">
                  <c:v>1062.0116</c:v>
                </c:pt>
                <c:pt idx="31">
                  <c:v>1033.0563</c:v>
                </c:pt>
                <c:pt idx="32">
                  <c:v>1026.0317</c:v>
                </c:pt>
                <c:pt idx="33">
                  <c:v>986.1519</c:v>
                </c:pt>
                <c:pt idx="34">
                  <c:v>1002.2862</c:v>
                </c:pt>
                <c:pt idx="35">
                  <c:v>1044.1304</c:v>
                </c:pt>
                <c:pt idx="36">
                  <c:v>1093.5628</c:v>
                </c:pt>
                <c:pt idx="37">
                  <c:v>1070.2846</c:v>
                </c:pt>
                <c:pt idx="38">
                  <c:v>1110.9385</c:v>
                </c:pt>
                <c:pt idx="39">
                  <c:v>1180.8299</c:v>
                </c:pt>
                <c:pt idx="40">
                  <c:v>1177.1333</c:v>
                </c:pt>
                <c:pt idx="41">
                  <c:v>1208.1651</c:v>
                </c:pt>
                <c:pt idx="42">
                  <c:v>1227.6814</c:v>
                </c:pt>
                <c:pt idx="43">
                  <c:v>1206.1129</c:v>
                </c:pt>
                <c:pt idx="44">
                  <c:v>1168.2143</c:v>
                </c:pt>
                <c:pt idx="45">
                  <c:v>1131.6883</c:v>
                </c:pt>
                <c:pt idx="46">
                  <c:v>1121.5097</c:v>
                </c:pt>
                <c:pt idx="47">
                  <c:v>1111.3356</c:v>
                </c:pt>
                <c:pt idx="48">
                  <c:v>1108.6667</c:v>
                </c:pt>
                <c:pt idx="49">
                  <c:v>1061.2841</c:v>
                </c:pt>
                <c:pt idx="50">
                  <c:v>1065.8975</c:v>
                </c:pt>
                <c:pt idx="51">
                  <c:v>1054.1268</c:v>
                </c:pt>
                <c:pt idx="52">
                  <c:v>1072.9513</c:v>
                </c:pt>
                <c:pt idx="53">
                  <c:v>1185.2363</c:v>
                </c:pt>
                <c:pt idx="54">
                  <c:v>1163.0765</c:v>
                </c:pt>
                <c:pt idx="55">
                  <c:v>1192.4286</c:v>
                </c:pt>
                <c:pt idx="56">
                  <c:v>1199.9681</c:v>
                </c:pt>
                <c:pt idx="57">
                  <c:v>1160.3939</c:v>
                </c:pt>
                <c:pt idx="58">
                  <c:v>1158.0541</c:v>
                </c:pt>
                <c:pt idx="59">
                  <c:v>1124.2708</c:v>
                </c:pt>
                <c:pt idx="60">
                  <c:v>1143.7692</c:v>
                </c:pt>
                <c:pt idx="61">
                  <c:v>1168.3871</c:v>
                </c:pt>
                <c:pt idx="62">
                  <c:v>1106.9141</c:v>
                </c:pt>
                <c:pt idx="63">
                  <c:v>1122.3735</c:v>
                </c:pt>
                <c:pt idx="64">
                  <c:v>1132.9737</c:v>
                </c:pt>
                <c:pt idx="65">
                  <c:v>1128.9512</c:v>
                </c:pt>
                <c:pt idx="66">
                  <c:v>1169.5745</c:v>
                </c:pt>
                <c:pt idx="67">
                  <c:v>1190.1421</c:v>
                </c:pt>
                <c:pt idx="68">
                  <c:v>1214.3673</c:v>
                </c:pt>
                <c:pt idx="69">
                  <c:v>1242.0069</c:v>
                </c:pt>
                <c:pt idx="70">
                  <c:v>1227.0675</c:v>
                </c:pt>
                <c:pt idx="71">
                  <c:v>1272.279</c:v>
                </c:pt>
                <c:pt idx="72">
                  <c:v>1333.3773</c:v>
                </c:pt>
                <c:pt idx="73">
                  <c:v>1310.35</c:v>
                </c:pt>
                <c:pt idx="74">
                  <c:v>1309.3122</c:v>
                </c:pt>
                <c:pt idx="75">
                  <c:v>1266.2527</c:v>
                </c:pt>
                <c:pt idx="76">
                  <c:v>1244.5633</c:v>
                </c:pt>
                <c:pt idx="77">
                  <c:v>1241.3087</c:v>
                </c:pt>
                <c:pt idx="78">
                  <c:v>1305.0707</c:v>
                </c:pt>
                <c:pt idx="79">
                  <c:v>1273.5197</c:v>
                </c:pt>
                <c:pt idx="80">
                  <c:v>1294.9946</c:v>
                </c:pt>
                <c:pt idx="81">
                  <c:v>1264.4405</c:v>
                </c:pt>
                <c:pt idx="82">
                  <c:v>1281.815</c:v>
                </c:pt>
                <c:pt idx="83">
                  <c:v>1241.6026</c:v>
                </c:pt>
                <c:pt idx="84">
                  <c:v>1266.4622</c:v>
                </c:pt>
                <c:pt idx="85">
                  <c:v>1244.9083</c:v>
                </c:pt>
                <c:pt idx="86">
                  <c:v>1258.0068</c:v>
                </c:pt>
                <c:pt idx="87">
                  <c:v>1244.9268</c:v>
                </c:pt>
                <c:pt idx="88">
                  <c:v>1305.8877</c:v>
                </c:pt>
                <c:pt idx="89">
                  <c:v>1290.8943</c:v>
                </c:pt>
                <c:pt idx="90">
                  <c:v>1348.5107</c:v>
                </c:pt>
                <c:pt idx="91">
                  <c:v>1334.8222</c:v>
                </c:pt>
                <c:pt idx="92">
                  <c:v>1287.6875</c:v>
                </c:pt>
                <c:pt idx="93">
                  <c:v>1313.421</c:v>
                </c:pt>
                <c:pt idx="94">
                  <c:v>1295.8871</c:v>
                </c:pt>
                <c:pt idx="95">
                  <c:v>1264.0745</c:v>
                </c:pt>
                <c:pt idx="96">
                  <c:v>1229.8539</c:v>
                </c:pt>
                <c:pt idx="97">
                  <c:v>1214.3026</c:v>
                </c:pt>
                <c:pt idx="98">
                  <c:v>1193.5788</c:v>
                </c:pt>
                <c:pt idx="99">
                  <c:v>1158.9493</c:v>
                </c:pt>
                <c:pt idx="100">
                  <c:v>1122.3305</c:v>
                </c:pt>
                <c:pt idx="101">
                  <c:v>1176.633</c:v>
                </c:pt>
                <c:pt idx="102">
                  <c:v>1179.1849</c:v>
                </c:pt>
                <c:pt idx="103">
                  <c:v>1169.7795</c:v>
                </c:pt>
                <c:pt idx="104">
                  <c:v>1214.7465</c:v>
                </c:pt>
              </c:numCache>
            </c:numRef>
          </c:xVal>
          <c:yVal>
            <c:numRef>
              <c:f>Sheet1!$B$2:$B$106</c:f>
              <c:numCache>
                <c:formatCode>General</c:formatCode>
                <c:ptCount val="105"/>
                <c:pt idx="0">
                  <c:v>0.4009455346156337</c:v>
                </c:pt>
                <c:pt idx="1">
                  <c:v>0.4135934819897084</c:v>
                </c:pt>
                <c:pt idx="2">
                  <c:v>0.4390207824865025</c:v>
                </c:pt>
                <c:pt idx="3">
                  <c:v>0.4618830556428796</c:v>
                </c:pt>
                <c:pt idx="4">
                  <c:v>0.46609788953749437</c:v>
                </c:pt>
                <c:pt idx="5">
                  <c:v>0.4383669885864794</c:v>
                </c:pt>
                <c:pt idx="6">
                  <c:v>0.4715077330245637</c:v>
                </c:pt>
                <c:pt idx="7">
                  <c:v>0.477452302948545</c:v>
                </c:pt>
                <c:pt idx="8">
                  <c:v>0.4571827335260692</c:v>
                </c:pt>
                <c:pt idx="9">
                  <c:v>0.45672447013487477</c:v>
                </c:pt>
                <c:pt idx="10">
                  <c:v>0.4370319425340058</c:v>
                </c:pt>
                <c:pt idx="11">
                  <c:v>0.3940147687524291</c:v>
                </c:pt>
                <c:pt idx="12">
                  <c:v>0.3782617771901747</c:v>
                </c:pt>
                <c:pt idx="13">
                  <c:v>0.3686315948373462</c:v>
                </c:pt>
                <c:pt idx="14">
                  <c:v>0.3421173235563703</c:v>
                </c:pt>
                <c:pt idx="15">
                  <c:v>0.34964081113030826</c:v>
                </c:pt>
                <c:pt idx="16">
                  <c:v>0.338576072140086</c:v>
                </c:pt>
                <c:pt idx="17">
                  <c:v>0.33659829453791196</c:v>
                </c:pt>
                <c:pt idx="18">
                  <c:v>0.3253569539925965</c:v>
                </c:pt>
                <c:pt idx="19">
                  <c:v>0.33590909090909093</c:v>
                </c:pt>
                <c:pt idx="20">
                  <c:v>0.34473290064902645</c:v>
                </c:pt>
                <c:pt idx="21">
                  <c:v>0.3572060123784262</c:v>
                </c:pt>
                <c:pt idx="22">
                  <c:v>0.41239445114595896</c:v>
                </c:pt>
                <c:pt idx="23">
                  <c:v>0.4120976872068575</c:v>
                </c:pt>
                <c:pt idx="24">
                  <c:v>0.4180656663200119</c:v>
                </c:pt>
                <c:pt idx="25">
                  <c:v>0.41673682438120896</c:v>
                </c:pt>
                <c:pt idx="26">
                  <c:v>0.4252297410192147</c:v>
                </c:pt>
                <c:pt idx="27">
                  <c:v>0.44453312051077415</c:v>
                </c:pt>
                <c:pt idx="28">
                  <c:v>0.41333704580258945</c:v>
                </c:pt>
                <c:pt idx="29">
                  <c:v>0.4175824175824176</c:v>
                </c:pt>
                <c:pt idx="30">
                  <c:v>0.41166190022243404</c:v>
                </c:pt>
                <c:pt idx="31">
                  <c:v>0.41623971433007295</c:v>
                </c:pt>
                <c:pt idx="32">
                  <c:v>0.4307692307692308</c:v>
                </c:pt>
                <c:pt idx="33">
                  <c:v>0.4302512687213764</c:v>
                </c:pt>
                <c:pt idx="34">
                  <c:v>0.43145071982281286</c:v>
                </c:pt>
                <c:pt idx="35">
                  <c:v>0.43787033061399744</c:v>
                </c:pt>
                <c:pt idx="36">
                  <c:v>0.37174284493806065</c:v>
                </c:pt>
                <c:pt idx="37">
                  <c:v>0.4075077399380805</c:v>
                </c:pt>
                <c:pt idx="38">
                  <c:v>0.39748668214724764</c:v>
                </c:pt>
                <c:pt idx="39">
                  <c:v>0.3749816688664027</c:v>
                </c:pt>
                <c:pt idx="40">
                  <c:v>0.38167570825798675</c:v>
                </c:pt>
                <c:pt idx="41">
                  <c:v>0.357347950926651</c:v>
                </c:pt>
                <c:pt idx="42">
                  <c:v>0.35631929046563193</c:v>
                </c:pt>
                <c:pt idx="43">
                  <c:v>0.36905115266646876</c:v>
                </c:pt>
                <c:pt idx="44">
                  <c:v>0.35878014749850506</c:v>
                </c:pt>
                <c:pt idx="45">
                  <c:v>0.373055438765091</c:v>
                </c:pt>
                <c:pt idx="46">
                  <c:v>0.38929900194885725</c:v>
                </c:pt>
                <c:pt idx="47">
                  <c:v>0.3724441274369948</c:v>
                </c:pt>
                <c:pt idx="48">
                  <c:v>0.3642566010987064</c:v>
                </c:pt>
                <c:pt idx="49">
                  <c:v>0.38445875131007634</c:v>
                </c:pt>
                <c:pt idx="50">
                  <c:v>0.36978928080622997</c:v>
                </c:pt>
                <c:pt idx="51">
                  <c:v>0.3766857962697274</c:v>
                </c:pt>
                <c:pt idx="52">
                  <c:v>0.38061652581017813</c:v>
                </c:pt>
                <c:pt idx="53">
                  <c:v>0.3790246212121212</c:v>
                </c:pt>
                <c:pt idx="54">
                  <c:v>0.40068522483940044</c:v>
                </c:pt>
                <c:pt idx="55">
                  <c:v>0.4001251788268956</c:v>
                </c:pt>
                <c:pt idx="56">
                  <c:v>0.38277686553548623</c:v>
                </c:pt>
                <c:pt idx="57">
                  <c:v>0.38703213913601026</c:v>
                </c:pt>
                <c:pt idx="58">
                  <c:v>0.3917849247664551</c:v>
                </c:pt>
                <c:pt idx="59">
                  <c:v>0.3953637824190957</c:v>
                </c:pt>
                <c:pt idx="60">
                  <c:v>0.3971971775774206</c:v>
                </c:pt>
                <c:pt idx="61">
                  <c:v>0.39487286951662476</c:v>
                </c:pt>
                <c:pt idx="62">
                  <c:v>0.407296487884563</c:v>
                </c:pt>
                <c:pt idx="63">
                  <c:v>0.41149077713940124</c:v>
                </c:pt>
                <c:pt idx="64">
                  <c:v>0.3869936653687453</c:v>
                </c:pt>
                <c:pt idx="65">
                  <c:v>0.367304148929411</c:v>
                </c:pt>
                <c:pt idx="66">
                  <c:v>0.37426306159788575</c:v>
                </c:pt>
                <c:pt idx="67">
                  <c:v>0.3538733639900955</c:v>
                </c:pt>
                <c:pt idx="68">
                  <c:v>0.3529885468861847</c:v>
                </c:pt>
                <c:pt idx="69">
                  <c:v>0.3432179501634908</c:v>
                </c:pt>
                <c:pt idx="70">
                  <c:v>0.34660344067048965</c:v>
                </c:pt>
                <c:pt idx="71">
                  <c:v>0.3533198235784957</c:v>
                </c:pt>
                <c:pt idx="72">
                  <c:v>0.34494159135992947</c:v>
                </c:pt>
                <c:pt idx="73">
                  <c:v>0.35838287752675385</c:v>
                </c:pt>
                <c:pt idx="74">
                  <c:v>0.35987554736114313</c:v>
                </c:pt>
                <c:pt idx="75">
                  <c:v>0.37569426077757206</c:v>
                </c:pt>
                <c:pt idx="76">
                  <c:v>0.36361145362378405</c:v>
                </c:pt>
                <c:pt idx="77">
                  <c:v>0.3721134171294943</c:v>
                </c:pt>
                <c:pt idx="78">
                  <c:v>0.3573715248525695</c:v>
                </c:pt>
                <c:pt idx="79">
                  <c:v>0.360427807486631</c:v>
                </c:pt>
                <c:pt idx="80">
                  <c:v>0.34097243728708576</c:v>
                </c:pt>
                <c:pt idx="81">
                  <c:v>0.3447978303747535</c:v>
                </c:pt>
                <c:pt idx="82">
                  <c:v>0.3423802838870691</c:v>
                </c:pt>
                <c:pt idx="83">
                  <c:v>0.3319737542117397</c:v>
                </c:pt>
                <c:pt idx="84">
                  <c:v>0.34851596042561134</c:v>
                </c:pt>
                <c:pt idx="85">
                  <c:v>0.36825127334465196</c:v>
                </c:pt>
                <c:pt idx="86">
                  <c:v>0.35945548197203825</c:v>
                </c:pt>
                <c:pt idx="87">
                  <c:v>0.37491863744847037</c:v>
                </c:pt>
                <c:pt idx="88">
                  <c:v>0.36312692630989074</c:v>
                </c:pt>
                <c:pt idx="89">
                  <c:v>0.3593975324467233</c:v>
                </c:pt>
                <c:pt idx="90">
                  <c:v>0.34738756613756616</c:v>
                </c:pt>
                <c:pt idx="91">
                  <c:v>0.3123387463955077</c:v>
                </c:pt>
                <c:pt idx="92">
                  <c:v>0.34136897327004745</c:v>
                </c:pt>
                <c:pt idx="93">
                  <c:v>0.32392344497607656</c:v>
                </c:pt>
                <c:pt idx="94">
                  <c:v>0.3214096449390567</c:v>
                </c:pt>
                <c:pt idx="95">
                  <c:v>0.32586031921764</c:v>
                </c:pt>
                <c:pt idx="96">
                  <c:v>0.3423314626696029</c:v>
                </c:pt>
                <c:pt idx="97">
                  <c:v>0.34330954237389794</c:v>
                </c:pt>
                <c:pt idx="98">
                  <c:v>0.3523453327099891</c:v>
                </c:pt>
                <c:pt idx="99">
                  <c:v>0.3593200201069323</c:v>
                </c:pt>
                <c:pt idx="100">
                  <c:v>0.35648460328163634</c:v>
                </c:pt>
                <c:pt idx="101">
                  <c:v>0.3588744340649894</c:v>
                </c:pt>
                <c:pt idx="102">
                  <c:v>0.3427196322103297</c:v>
                </c:pt>
                <c:pt idx="103">
                  <c:v>0.3323397913561848</c:v>
                </c:pt>
                <c:pt idx="104">
                  <c:v>0.333919156414762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7.897</c:v>
                </c:pt>
                <c:pt idx="1">
                  <c:v>1269.6109</c:v>
                </c:pt>
                <c:pt idx="2">
                  <c:v>1258.2418</c:v>
                </c:pt>
                <c:pt idx="3">
                  <c:v>1259.2622</c:v>
                </c:pt>
                <c:pt idx="4">
                  <c:v>1268.0421</c:v>
                </c:pt>
                <c:pt idx="5">
                  <c:v>1252.8253</c:v>
                </c:pt>
                <c:pt idx="6">
                  <c:v>1169.7336</c:v>
                </c:pt>
                <c:pt idx="7">
                  <c:v>1206.3029</c:v>
                </c:pt>
                <c:pt idx="8">
                  <c:v>1267.7055</c:v>
                </c:pt>
                <c:pt idx="9">
                  <c:v>1192.5525</c:v>
                </c:pt>
                <c:pt idx="10">
                  <c:v>1230.895</c:v>
                </c:pt>
                <c:pt idx="11">
                  <c:v>1131.9896</c:v>
                </c:pt>
                <c:pt idx="12">
                  <c:v>1175.2738</c:v>
                </c:pt>
                <c:pt idx="13">
                  <c:v>1209.3939</c:v>
                </c:pt>
                <c:pt idx="14">
                  <c:v>1210.9859</c:v>
                </c:pt>
                <c:pt idx="15">
                  <c:v>1220.7391</c:v>
                </c:pt>
                <c:pt idx="16">
                  <c:v>1269.1077</c:v>
                </c:pt>
                <c:pt idx="17">
                  <c:v>1249.6494</c:v>
                </c:pt>
                <c:pt idx="18">
                  <c:v>1235.7668</c:v>
                </c:pt>
                <c:pt idx="19">
                  <c:v>1328.1409</c:v>
                </c:pt>
                <c:pt idx="20">
                  <c:v>1293.4799</c:v>
                </c:pt>
                <c:pt idx="21">
                  <c:v>1212.1982</c:v>
                </c:pt>
                <c:pt idx="22">
                  <c:v>1251.8176</c:v>
                </c:pt>
                <c:pt idx="23">
                  <c:v>1232.2061</c:v>
                </c:pt>
                <c:pt idx="24">
                  <c:v>1220.0496</c:v>
                </c:pt>
                <c:pt idx="25">
                  <c:v>1208.6593</c:v>
                </c:pt>
                <c:pt idx="26">
                  <c:v>1239.9295</c:v>
                </c:pt>
                <c:pt idx="27">
                  <c:v>1253.135</c:v>
                </c:pt>
                <c:pt idx="28">
                  <c:v>1287.4277</c:v>
                </c:pt>
                <c:pt idx="29">
                  <c:v>1288.0755</c:v>
                </c:pt>
                <c:pt idx="30">
                  <c:v>1283.5862</c:v>
                </c:pt>
                <c:pt idx="31">
                  <c:v>1261.2472</c:v>
                </c:pt>
                <c:pt idx="32">
                  <c:v>1293.0072</c:v>
                </c:pt>
                <c:pt idx="33">
                  <c:v>1298.5458</c:v>
                </c:pt>
                <c:pt idx="34">
                  <c:v>1308.7791</c:v>
                </c:pt>
                <c:pt idx="35">
                  <c:v>1333.1012</c:v>
                </c:pt>
                <c:pt idx="36">
                  <c:v>1341.7045</c:v>
                </c:pt>
                <c:pt idx="37">
                  <c:v>1341.9206</c:v>
                </c:pt>
                <c:pt idx="38">
                  <c:v>1344.6167</c:v>
                </c:pt>
                <c:pt idx="39">
                  <c:v>1310.7576</c:v>
                </c:pt>
                <c:pt idx="40">
                  <c:v>1331.8704</c:v>
                </c:pt>
                <c:pt idx="41">
                  <c:v>1364.9935</c:v>
                </c:pt>
                <c:pt idx="42">
                  <c:v>1344.7463</c:v>
                </c:pt>
                <c:pt idx="43">
                  <c:v>1355.1128</c:v>
                </c:pt>
                <c:pt idx="44">
                  <c:v>1284.2225</c:v>
                </c:pt>
                <c:pt idx="45">
                  <c:v>1241.9079</c:v>
                </c:pt>
                <c:pt idx="46">
                  <c:v>1243.1837</c:v>
                </c:pt>
                <c:pt idx="47">
                  <c:v>1214.323</c:v>
                </c:pt>
                <c:pt idx="48">
                  <c:v>1194.7574</c:v>
                </c:pt>
                <c:pt idx="49">
                  <c:v>1202.1403</c:v>
                </c:pt>
                <c:pt idx="50">
                  <c:v>1154.8166</c:v>
                </c:pt>
                <c:pt idx="51">
                  <c:v>1134.5836</c:v>
                </c:pt>
              </c:numCache>
            </c:numRef>
          </c:xVal>
          <c:yVal>
            <c:numRef>
              <c:f>Sheet1!$B$109:$B$160</c:f>
              <c:numCache>
                <c:formatCode>General</c:formatCode>
                <c:ptCount val="52"/>
                <c:pt idx="0">
                  <c:v>0.35995872033023735</c:v>
                </c:pt>
                <c:pt idx="1">
                  <c:v>0.357406314547064</c:v>
                </c:pt>
                <c:pt idx="2">
                  <c:v>0.3687352400944634</c:v>
                </c:pt>
                <c:pt idx="3">
                  <c:v>0.39424272162250573</c:v>
                </c:pt>
                <c:pt idx="4">
                  <c:v>0.38426323319027184</c:v>
                </c:pt>
                <c:pt idx="5">
                  <c:v>0.36295992900539287</c:v>
                </c:pt>
                <c:pt idx="6">
                  <c:v>0.3866143330852</c:v>
                </c:pt>
                <c:pt idx="7">
                  <c:v>0.36999000272652915</c:v>
                </c:pt>
                <c:pt idx="8">
                  <c:v>0.36480235492010094</c:v>
                </c:pt>
                <c:pt idx="9">
                  <c:v>0.3698077824660103</c:v>
                </c:pt>
                <c:pt idx="10">
                  <c:v>0.3666456209975647</c:v>
                </c:pt>
                <c:pt idx="11">
                  <c:v>0.3721678597228607</c:v>
                </c:pt>
                <c:pt idx="12">
                  <c:v>0.377632479282293</c:v>
                </c:pt>
                <c:pt idx="13">
                  <c:v>0.3823341836734694</c:v>
                </c:pt>
                <c:pt idx="14">
                  <c:v>0.3853186813186813</c:v>
                </c:pt>
                <c:pt idx="15">
                  <c:v>0.3730682246513381</c:v>
                </c:pt>
                <c:pt idx="16">
                  <c:v>0.3577473958333333</c:v>
                </c:pt>
                <c:pt idx="17">
                  <c:v>0.35038246375156984</c:v>
                </c:pt>
                <c:pt idx="18">
                  <c:v>0.35927577354411566</c:v>
                </c:pt>
                <c:pt idx="19">
                  <c:v>0.3584526500879176</c:v>
                </c:pt>
                <c:pt idx="20">
                  <c:v>0.36460858405817764</c:v>
                </c:pt>
                <c:pt idx="21">
                  <c:v>0.36896197327852004</c:v>
                </c:pt>
                <c:pt idx="22">
                  <c:v>0.35856164383561645</c:v>
                </c:pt>
                <c:pt idx="23">
                  <c:v>0.3732501264968797</c:v>
                </c:pt>
                <c:pt idx="24">
                  <c:v>0.38729641693811073</c:v>
                </c:pt>
                <c:pt idx="25">
                  <c:v>0.37851620332291497</c:v>
                </c:pt>
                <c:pt idx="26">
                  <c:v>0.3610056925996205</c:v>
                </c:pt>
                <c:pt idx="27">
                  <c:v>0.35539387155449836</c:v>
                </c:pt>
                <c:pt idx="28">
                  <c:v>0.3462710292754007</c:v>
                </c:pt>
                <c:pt idx="29">
                  <c:v>0.34827367754197025</c:v>
                </c:pt>
                <c:pt idx="30">
                  <c:v>0.3505646572292031</c:v>
                </c:pt>
                <c:pt idx="31">
                  <c:v>0.3485915492957746</c:v>
                </c:pt>
                <c:pt idx="32">
                  <c:v>0.346096221075412</c:v>
                </c:pt>
                <c:pt idx="33">
                  <c:v>0.3534628929176992</c:v>
                </c:pt>
                <c:pt idx="34">
                  <c:v>0.38005709223348755</c:v>
                </c:pt>
                <c:pt idx="35">
                  <c:v>0.3613193403298351</c:v>
                </c:pt>
                <c:pt idx="36">
                  <c:v>0.35309137333576507</c:v>
                </c:pt>
                <c:pt idx="37">
                  <c:v>0.3512700534759358</c:v>
                </c:pt>
                <c:pt idx="38">
                  <c:v>0.35485714285714287</c:v>
                </c:pt>
                <c:pt idx="39">
                  <c:v>0.365</c:v>
                </c:pt>
                <c:pt idx="40">
                  <c:v>0.36466271521309623</c:v>
                </c:pt>
                <c:pt idx="41">
                  <c:v>0.35534631755449503</c:v>
                </c:pt>
                <c:pt idx="42">
                  <c:v>0.36407483192049106</c:v>
                </c:pt>
                <c:pt idx="43">
                  <c:v>0.35544086966070054</c:v>
                </c:pt>
                <c:pt idx="44">
                  <c:v>0.3527103486037598</c:v>
                </c:pt>
                <c:pt idx="45">
                  <c:v>0.36231604652657284</c:v>
                </c:pt>
                <c:pt idx="46">
                  <c:v>0.37525370804059327</c:v>
                </c:pt>
                <c:pt idx="47">
                  <c:v>0.3708618721461187</c:v>
                </c:pt>
                <c:pt idx="48">
                  <c:v>0.3560686796921255</c:v>
                </c:pt>
                <c:pt idx="49">
                  <c:v>0.3724536661803642</c:v>
                </c:pt>
                <c:pt idx="50">
                  <c:v>0.3828300474170202</c:v>
                </c:pt>
                <c:pt idx="51">
                  <c:v>0.382439148719255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82.3849602709615</c:v>
                </c:pt>
              </c:numCache>
            </c:numRef>
          </c:xVal>
          <c:yVal>
            <c:numRef>
              <c:f>Sheet1!$B$163:$B$164</c:f>
              <c:numCache>
                <c:formatCode>General</c:formatCode>
                <c:ptCount val="2"/>
                <c:pt idx="0">
                  <c:v>0.44733894470643065</c:v>
                </c:pt>
                <c:pt idx="1">
                  <c:v>0.4473389447064306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82.3849602709615</c:v>
                </c:pt>
                <c:pt idx="1">
                  <c:v>582.3849602709615</c:v>
                </c:pt>
              </c:numCache>
            </c:numRef>
          </c:xVal>
          <c:yVal>
            <c:numRef>
              <c:f>Sheet1!$B$167:$B$168</c:f>
              <c:numCache>
                <c:formatCode>General</c:formatCode>
                <c:ptCount val="2"/>
                <c:pt idx="0">
                  <c:v>0.4473389447064306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90.5111520795047</c:v>
                </c:pt>
              </c:numCache>
            </c:numRef>
          </c:xVal>
          <c:yVal>
            <c:numRef>
              <c:f>Sheet1!$B$171:$B$172</c:f>
              <c:numCache>
                <c:formatCode>General</c:formatCode>
                <c:ptCount val="2"/>
                <c:pt idx="0">
                  <c:v>0.37344788550219143</c:v>
                </c:pt>
                <c:pt idx="1">
                  <c:v>0.3734478855021914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90.5111520795047</c:v>
                </c:pt>
                <c:pt idx="1">
                  <c:v>1190.5111520795047</c:v>
                </c:pt>
              </c:numCache>
            </c:numRef>
          </c:xVal>
          <c:yVal>
            <c:numRef>
              <c:f>Sheet1!$B$175:$B$176</c:f>
              <c:numCache>
                <c:formatCode>General</c:formatCode>
                <c:ptCount val="2"/>
                <c:pt idx="0">
                  <c:v>0.3734478855021914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50.8843397301891</c:v>
                </c:pt>
              </c:numCache>
            </c:numRef>
          </c:xVal>
          <c:yVal>
            <c:numRef>
              <c:f>Sheet1!$B$179:$B$180</c:f>
              <c:numCache>
                <c:formatCode>General</c:formatCode>
                <c:ptCount val="2"/>
                <c:pt idx="0">
                  <c:v>0.3661121732057379</c:v>
                </c:pt>
                <c:pt idx="1">
                  <c:v>0.366112173205737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50.8843397301891</c:v>
                </c:pt>
                <c:pt idx="1">
                  <c:v>1250.8843397301891</c:v>
                </c:pt>
              </c:numCache>
            </c:numRef>
          </c:xVal>
          <c:yVal>
            <c:numRef>
              <c:f>Sheet1!$B$183:$B$184</c:f>
              <c:numCache>
                <c:formatCode>General</c:formatCode>
                <c:ptCount val="2"/>
                <c:pt idx="0">
                  <c:v>0.366112173205737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7.897</c:v>
                </c:pt>
                <c:pt idx="1">
                  <c:v>1269.6109</c:v>
                </c:pt>
                <c:pt idx="2">
                  <c:v>1258.2418</c:v>
                </c:pt>
                <c:pt idx="3">
                  <c:v>1259.2622</c:v>
                </c:pt>
                <c:pt idx="4">
                  <c:v>1268.0421</c:v>
                </c:pt>
                <c:pt idx="5">
                  <c:v>1252.8253</c:v>
                </c:pt>
                <c:pt idx="6">
                  <c:v>1169.7336</c:v>
                </c:pt>
                <c:pt idx="7">
                  <c:v>1206.3029</c:v>
                </c:pt>
                <c:pt idx="8">
                  <c:v>1267.7055</c:v>
                </c:pt>
                <c:pt idx="9">
                  <c:v>1192.5525</c:v>
                </c:pt>
                <c:pt idx="10">
                  <c:v>1230.895</c:v>
                </c:pt>
                <c:pt idx="11">
                  <c:v>1131.9896</c:v>
                </c:pt>
                <c:pt idx="12">
                  <c:v>1175.2738</c:v>
                </c:pt>
                <c:pt idx="13">
                  <c:v>1209.3939</c:v>
                </c:pt>
                <c:pt idx="14">
                  <c:v>1210.9859</c:v>
                </c:pt>
                <c:pt idx="15">
                  <c:v>1220.7391</c:v>
                </c:pt>
                <c:pt idx="16">
                  <c:v>1269.1077</c:v>
                </c:pt>
                <c:pt idx="17">
                  <c:v>1249.6494</c:v>
                </c:pt>
                <c:pt idx="18">
                  <c:v>1235.7668</c:v>
                </c:pt>
                <c:pt idx="19">
                  <c:v>1328.1409</c:v>
                </c:pt>
                <c:pt idx="20">
                  <c:v>1293.4799</c:v>
                </c:pt>
                <c:pt idx="21">
                  <c:v>1212.1982</c:v>
                </c:pt>
                <c:pt idx="22">
                  <c:v>1251.8176</c:v>
                </c:pt>
                <c:pt idx="23">
                  <c:v>1232.2061</c:v>
                </c:pt>
                <c:pt idx="24">
                  <c:v>1220.0496</c:v>
                </c:pt>
                <c:pt idx="25">
                  <c:v>1208.6593</c:v>
                </c:pt>
                <c:pt idx="26">
                  <c:v>1239.9295</c:v>
                </c:pt>
                <c:pt idx="27">
                  <c:v>1253.135</c:v>
                </c:pt>
                <c:pt idx="28">
                  <c:v>1287.4277</c:v>
                </c:pt>
                <c:pt idx="29">
                  <c:v>1288.0755</c:v>
                </c:pt>
                <c:pt idx="30">
                  <c:v>1283.5862</c:v>
                </c:pt>
                <c:pt idx="31">
                  <c:v>1261.2472</c:v>
                </c:pt>
                <c:pt idx="32">
                  <c:v>1293.0072</c:v>
                </c:pt>
                <c:pt idx="33">
                  <c:v>1298.5458</c:v>
                </c:pt>
                <c:pt idx="34">
                  <c:v>1308.7791</c:v>
                </c:pt>
                <c:pt idx="35">
                  <c:v>1333.1012</c:v>
                </c:pt>
                <c:pt idx="36">
                  <c:v>1341.7045</c:v>
                </c:pt>
                <c:pt idx="37">
                  <c:v>1341.9206</c:v>
                </c:pt>
                <c:pt idx="38">
                  <c:v>1344.6167</c:v>
                </c:pt>
                <c:pt idx="39">
                  <c:v>1310.7576</c:v>
                </c:pt>
                <c:pt idx="40">
                  <c:v>1331.8704</c:v>
                </c:pt>
                <c:pt idx="41">
                  <c:v>1364.9935</c:v>
                </c:pt>
                <c:pt idx="42">
                  <c:v>1344.7463</c:v>
                </c:pt>
                <c:pt idx="43">
                  <c:v>1355.1128</c:v>
                </c:pt>
                <c:pt idx="44">
                  <c:v>1284.2225</c:v>
                </c:pt>
                <c:pt idx="45">
                  <c:v>1241.9079</c:v>
                </c:pt>
                <c:pt idx="46">
                  <c:v>1243.1837</c:v>
                </c:pt>
                <c:pt idx="47">
                  <c:v>1214.323</c:v>
                </c:pt>
                <c:pt idx="48">
                  <c:v>1194.7574</c:v>
                </c:pt>
                <c:pt idx="49">
                  <c:v>1202.1403</c:v>
                </c:pt>
                <c:pt idx="50">
                  <c:v>1154.8166</c:v>
                </c:pt>
                <c:pt idx="51">
                  <c:v>1134.5836</c:v>
                </c:pt>
                <c:pt idx="52">
                  <c:v>1190.5111520795047</c:v>
                </c:pt>
                <c:pt idx="53">
                  <c:v>582.3849602709615</c:v>
                </c:pt>
                <c:pt idx="54">
                  <c:v>1250.8843397301891</c:v>
                </c:pt>
              </c:numCache>
            </c:numRef>
          </c:xVal>
          <c:yVal>
            <c:numRef>
              <c:f>Sheet1!$B$187:$B$241</c:f>
              <c:numCache>
                <c:formatCode>General</c:formatCode>
                <c:ptCount val="55"/>
                <c:pt idx="0">
                  <c:v>0.36526009200588894</c:v>
                </c:pt>
                <c:pt idx="1">
                  <c:v>0.3638367813672887</c:v>
                </c:pt>
                <c:pt idx="2">
                  <c:v>0.3652181966927832</c:v>
                </c:pt>
                <c:pt idx="3">
                  <c:v>0.36509421183926494</c:v>
                </c:pt>
                <c:pt idx="4">
                  <c:v>0.36402740018167473</c:v>
                </c:pt>
                <c:pt idx="5">
                  <c:v>0.36587633463778685</c:v>
                </c:pt>
                <c:pt idx="6">
                  <c:v>0.37597248541501543</c:v>
                </c:pt>
                <c:pt idx="7">
                  <c:v>0.37152909135017254</c:v>
                </c:pt>
                <c:pt idx="8">
                  <c:v>0.36406829914452676</c:v>
                </c:pt>
                <c:pt idx="9">
                  <c:v>0.37319984921945676</c:v>
                </c:pt>
                <c:pt idx="10">
                  <c:v>0.3685410004875631</c:v>
                </c:pt>
                <c:pt idx="11">
                  <c:v>0.38055861272900365</c:v>
                </c:pt>
                <c:pt idx="12">
                  <c:v>0.3752993171619167</c:v>
                </c:pt>
                <c:pt idx="13">
                  <c:v>0.37115351590698853</c:v>
                </c:pt>
                <c:pt idx="14">
                  <c:v>0.3709600781504214</c:v>
                </c:pt>
                <c:pt idx="15">
                  <c:v>0.3697750045779651</c:v>
                </c:pt>
                <c:pt idx="16">
                  <c:v>0.3638979232511484</c:v>
                </c:pt>
                <c:pt idx="17">
                  <c:v>0.3662622259512802</c:v>
                </c:pt>
                <c:pt idx="18">
                  <c:v>0.36794904693075176</c:v>
                </c:pt>
                <c:pt idx="19">
                  <c:v>0.35672502766636327</c:v>
                </c:pt>
                <c:pt idx="20">
                  <c:v>0.3609365515861954</c:v>
                </c:pt>
                <c:pt idx="21">
                  <c:v>0.3708127762708446</c:v>
                </c:pt>
                <c:pt idx="22">
                  <c:v>0.3659987763634732</c:v>
                </c:pt>
                <c:pt idx="23">
                  <c:v>0.36838169380249075</c:v>
                </c:pt>
                <c:pt idx="24">
                  <c:v>0.3698587830535638</c:v>
                </c:pt>
                <c:pt idx="25">
                  <c:v>0.37124277430898234</c:v>
                </c:pt>
                <c:pt idx="26">
                  <c:v>0.36744325336965755</c:v>
                </c:pt>
                <c:pt idx="27">
                  <c:v>0.36583870418979136</c:v>
                </c:pt>
                <c:pt idx="28">
                  <c:v>0.3616719309770846</c:v>
                </c:pt>
                <c:pt idx="29">
                  <c:v>0.36159321930704424</c:v>
                </c:pt>
                <c:pt idx="30">
                  <c:v>0.36213869676970556</c:v>
                </c:pt>
                <c:pt idx="31">
                  <c:v>0.3648530221741985</c:v>
                </c:pt>
                <c:pt idx="32">
                  <c:v>0.36099398753313594</c:v>
                </c:pt>
                <c:pt idx="33">
                  <c:v>0.3603210136898428</c:v>
                </c:pt>
                <c:pt idx="34">
                  <c:v>0.35907760502509517</c:v>
                </c:pt>
                <c:pt idx="35">
                  <c:v>0.35612232081717987</c:v>
                </c:pt>
                <c:pt idx="36">
                  <c:v>0.35507696714188225</c:v>
                </c:pt>
                <c:pt idx="37">
                  <c:v>0.35505070966751406</c:v>
                </c:pt>
                <c:pt idx="38">
                  <c:v>0.35472311699447345</c:v>
                </c:pt>
                <c:pt idx="39">
                  <c:v>0.358837205149864</c:v>
                </c:pt>
                <c:pt idx="40">
                  <c:v>0.35627187056013393</c:v>
                </c:pt>
                <c:pt idx="41">
                  <c:v>0.3522472109153172</c:v>
                </c:pt>
                <c:pt idx="42">
                  <c:v>0.3547073698002203</c:v>
                </c:pt>
                <c:pt idx="43">
                  <c:v>0.3534477765191568</c:v>
                </c:pt>
                <c:pt idx="44">
                  <c:v>0.36206138242014296</c:v>
                </c:pt>
                <c:pt idx="45">
                  <c:v>0.36720286564503923</c:v>
                </c:pt>
                <c:pt idx="46">
                  <c:v>0.36704784812630287</c:v>
                </c:pt>
                <c:pt idx="47">
                  <c:v>0.3705546000490143</c:v>
                </c:pt>
                <c:pt idx="48">
                  <c:v>0.3729319403567339</c:v>
                </c:pt>
                <c:pt idx="49">
                  <c:v>0.37203487276065383</c:v>
                </c:pt>
                <c:pt idx="50">
                  <c:v>0.37778499233380414</c:v>
                </c:pt>
                <c:pt idx="51">
                  <c:v>0.38024342583168264</c:v>
                </c:pt>
                <c:pt idx="52">
                  <c:v>0.37344788550219143</c:v>
                </c:pt>
                <c:pt idx="53">
                  <c:v>0.44733894470643065</c:v>
                </c:pt>
                <c:pt idx="54">
                  <c:v>0.36611217320573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38.0"/>
          <c:min val="46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72942763538254"/>
          <c:min val="0.2498709971164061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2282775810391337</c:v>
                </c:pt>
                <c:pt idx="1">
                  <c:v>0.24340208505020874</c:v>
                </c:pt>
                <c:pt idx="2">
                  <c:v>0.24054288977643623</c:v>
                </c:pt>
                <c:pt idx="3">
                  <c:v>0.23725704242534074</c:v>
                </c:pt>
                <c:pt idx="4">
                  <c:v>0.2351862188918741</c:v>
                </c:pt>
                <c:pt idx="5">
                  <c:v>0.2060260740770089</c:v>
                </c:pt>
                <c:pt idx="6">
                  <c:v>0.19034808754762683</c:v>
                </c:pt>
                <c:pt idx="7">
                  <c:v>0.21383179364715857</c:v>
                </c:pt>
                <c:pt idx="8">
                  <c:v>0.18969685812369982</c:v>
                </c:pt>
                <c:pt idx="9">
                  <c:v>0.20889972862932404</c:v>
                </c:pt>
                <c:pt idx="10">
                  <c:v>0.2092518274695053</c:v>
                </c:pt>
                <c:pt idx="11">
                  <c:v>0.21735098016909815</c:v>
                </c:pt>
                <c:pt idx="12">
                  <c:v>0.21866422477227193</c:v>
                </c:pt>
                <c:pt idx="13">
                  <c:v>0.2327894799022095</c:v>
                </c:pt>
                <c:pt idx="14">
                  <c:v>0.24640690388782394</c:v>
                </c:pt>
                <c:pt idx="15">
                  <c:v>0.2366106919837471</c:v>
                </c:pt>
                <c:pt idx="16">
                  <c:v>0.25174108436975867</c:v>
                </c:pt>
                <c:pt idx="17">
                  <c:v>0.26247714964039115</c:v>
                </c:pt>
                <c:pt idx="18">
                  <c:v>0.31046140265625144</c:v>
                </c:pt>
                <c:pt idx="19">
                  <c:v>0.29590053334544</c:v>
                </c:pt>
                <c:pt idx="20">
                  <c:v>0.2982094945861419</c:v>
                </c:pt>
                <c:pt idx="21">
                  <c:v>0.2716767747577215</c:v>
                </c:pt>
                <c:pt idx="22">
                  <c:v>0.256563471495417</c:v>
                </c:pt>
                <c:pt idx="23">
                  <c:v>0.27475604014460686</c:v>
                </c:pt>
                <c:pt idx="24">
                  <c:v>0.23372308019757218</c:v>
                </c:pt>
                <c:pt idx="25">
                  <c:v>0.2222129413173106</c:v>
                </c:pt>
                <c:pt idx="26">
                  <c:v>0.24028887654568298</c:v>
                </c:pt>
                <c:pt idx="27">
                  <c:v>0.20845055738511326</c:v>
                </c:pt>
                <c:pt idx="28">
                  <c:v>0.19075127007097395</c:v>
                </c:pt>
                <c:pt idx="29">
                  <c:v>0.18802982285044006</c:v>
                </c:pt>
                <c:pt idx="30">
                  <c:v>0.20796209632589427</c:v>
                </c:pt>
                <c:pt idx="31">
                  <c:v>0.18239891325128452</c:v>
                </c:pt>
                <c:pt idx="32">
                  <c:v>0.1705651966983189</c:v>
                </c:pt>
                <c:pt idx="33">
                  <c:v>0.16351936234486064</c:v>
                </c:pt>
                <c:pt idx="34">
                  <c:v>0.15428261130678525</c:v>
                </c:pt>
                <c:pt idx="35">
                  <c:v>0.17229288336756596</c:v>
                </c:pt>
                <c:pt idx="36">
                  <c:v>0.2090942256214149</c:v>
                </c:pt>
                <c:pt idx="37">
                  <c:v>0.17999285164324333</c:v>
                </c:pt>
                <c:pt idx="38">
                  <c:v>0.1782728874821258</c:v>
                </c:pt>
                <c:pt idx="39">
                  <c:v>0.1762745113406294</c:v>
                </c:pt>
                <c:pt idx="40">
                  <c:v>0.18908839962714769</c:v>
                </c:pt>
                <c:pt idx="41">
                  <c:v>0.1758037465963596</c:v>
                </c:pt>
                <c:pt idx="42">
                  <c:v>0.20919164564139783</c:v>
                </c:pt>
                <c:pt idx="43">
                  <c:v>0.21682928539325844</c:v>
                </c:pt>
                <c:pt idx="44">
                  <c:v>0.21569557731806163</c:v>
                </c:pt>
                <c:pt idx="45">
                  <c:v>0.18754789733962454</c:v>
                </c:pt>
                <c:pt idx="46">
                  <c:v>0.17875312936802765</c:v>
                </c:pt>
                <c:pt idx="47">
                  <c:v>0.17523378091281974</c:v>
                </c:pt>
                <c:pt idx="48">
                  <c:v>0.1813062194741811</c:v>
                </c:pt>
                <c:pt idx="49">
                  <c:v>0.20631427564544502</c:v>
                </c:pt>
                <c:pt idx="50">
                  <c:v>0.15974692395028947</c:v>
                </c:pt>
                <c:pt idx="51">
                  <c:v>0.1598147560439969</c:v>
                </c:pt>
                <c:pt idx="52">
                  <c:v>0.15519489306073045</c:v>
                </c:pt>
                <c:pt idx="53">
                  <c:v>0.17409684300056796</c:v>
                </c:pt>
                <c:pt idx="54">
                  <c:v>0.1757126439094631</c:v>
                </c:pt>
                <c:pt idx="55">
                  <c:v>0.17050584943722263</c:v>
                </c:pt>
                <c:pt idx="56">
                  <c:v>0.16870589005738165</c:v>
                </c:pt>
                <c:pt idx="57">
                  <c:v>0.16816503749046477</c:v>
                </c:pt>
                <c:pt idx="58">
                  <c:v>0.1838650433930604</c:v>
                </c:pt>
                <c:pt idx="59">
                  <c:v>0.1782595800245527</c:v>
                </c:pt>
                <c:pt idx="60">
                  <c:v>0.1672199171155773</c:v>
                </c:pt>
                <c:pt idx="61">
                  <c:v>0.16181162495301848</c:v>
                </c:pt>
                <c:pt idx="62">
                  <c:v>0.14578866891793957</c:v>
                </c:pt>
                <c:pt idx="63">
                  <c:v>0.1598702974585022</c:v>
                </c:pt>
                <c:pt idx="64">
                  <c:v>0.15673378846672617</c:v>
                </c:pt>
                <c:pt idx="65">
                  <c:v>0.15051048122840524</c:v>
                </c:pt>
                <c:pt idx="66">
                  <c:v>0.1471762261320409</c:v>
                </c:pt>
                <c:pt idx="67">
                  <c:v>0.14520446135387774</c:v>
                </c:pt>
                <c:pt idx="68">
                  <c:v>0.14785217384465038</c:v>
                </c:pt>
                <c:pt idx="69">
                  <c:v>0.1476393455671545</c:v>
                </c:pt>
                <c:pt idx="70">
                  <c:v>0.15124121906288848</c:v>
                </c:pt>
                <c:pt idx="71">
                  <c:v>0.14893073621998631</c:v>
                </c:pt>
                <c:pt idx="72">
                  <c:v>0.1696203939341066</c:v>
                </c:pt>
                <c:pt idx="73">
                  <c:v>0.16984886192772333</c:v>
                </c:pt>
                <c:pt idx="74">
                  <c:v>0.154018408469082</c:v>
                </c:pt>
                <c:pt idx="75">
                  <c:v>0.1622793390166758</c:v>
                </c:pt>
                <c:pt idx="76">
                  <c:v>0.15297428401382285</c:v>
                </c:pt>
                <c:pt idx="77">
                  <c:v>0.14291216688763614</c:v>
                </c:pt>
                <c:pt idx="78">
                  <c:v>0.15890418161035905</c:v>
                </c:pt>
                <c:pt idx="79">
                  <c:v>0.1501566740095505</c:v>
                </c:pt>
                <c:pt idx="80">
                  <c:v>0.1467579864017676</c:v>
                </c:pt>
                <c:pt idx="81">
                  <c:v>0.15435465092325695</c:v>
                </c:pt>
                <c:pt idx="82">
                  <c:v>0.1561868769100851</c:v>
                </c:pt>
                <c:pt idx="83">
                  <c:v>0.14794977268260925</c:v>
                </c:pt>
                <c:pt idx="84">
                  <c:v>0.13951886071479766</c:v>
                </c:pt>
                <c:pt idx="85">
                  <c:v>0.12309908649992225</c:v>
                </c:pt>
                <c:pt idx="86">
                  <c:v>0.13098866691763322</c:v>
                </c:pt>
                <c:pt idx="87">
                  <c:v>0.13694188911498767</c:v>
                </c:pt>
                <c:pt idx="88">
                  <c:v>0.1574089450467408</c:v>
                </c:pt>
                <c:pt idx="89">
                  <c:v>0.1528379265443403</c:v>
                </c:pt>
                <c:pt idx="90">
                  <c:v>0.16127408554342557</c:v>
                </c:pt>
                <c:pt idx="91">
                  <c:v>0.1729597682159966</c:v>
                </c:pt>
                <c:pt idx="92">
                  <c:v>0.16165069292417278</c:v>
                </c:pt>
                <c:pt idx="93">
                  <c:v>0.15682744793236453</c:v>
                </c:pt>
                <c:pt idx="94">
                  <c:v>0.15090189964198314</c:v>
                </c:pt>
                <c:pt idx="95">
                  <c:v>0.14862207124489257</c:v>
                </c:pt>
                <c:pt idx="96">
                  <c:v>0.13353401500737982</c:v>
                </c:pt>
                <c:pt idx="97">
                  <c:v>0.14661663785574802</c:v>
                </c:pt>
                <c:pt idx="98">
                  <c:v>0.1453801842777722</c:v>
                </c:pt>
                <c:pt idx="99">
                  <c:v>0.13082861915786845</c:v>
                </c:pt>
                <c:pt idx="100">
                  <c:v>0.13852722029722248</c:v>
                </c:pt>
                <c:pt idx="101">
                  <c:v>0.15039469255322252</c:v>
                </c:pt>
                <c:pt idx="102">
                  <c:v>0.14227945268235434</c:v>
                </c:pt>
                <c:pt idx="103">
                  <c:v>0.1339655554068423</c:v>
                </c:pt>
                <c:pt idx="104">
                  <c:v>0.14073209655791644</c:v>
                </c:pt>
              </c:numCache>
            </c:numRef>
          </c:xVal>
          <c:yVal>
            <c:numRef>
              <c:f>Sheet1!$B$2:$B$106</c:f>
              <c:numCache>
                <c:formatCode>General</c:formatCode>
                <c:ptCount val="105"/>
                <c:pt idx="0">
                  <c:v>0.4009455346156337</c:v>
                </c:pt>
                <c:pt idx="1">
                  <c:v>0.4135934819897084</c:v>
                </c:pt>
                <c:pt idx="2">
                  <c:v>0.4390207824865025</c:v>
                </c:pt>
                <c:pt idx="3">
                  <c:v>0.4618830556428796</c:v>
                </c:pt>
                <c:pt idx="4">
                  <c:v>0.46609788953749437</c:v>
                </c:pt>
                <c:pt idx="5">
                  <c:v>0.4383669885864794</c:v>
                </c:pt>
                <c:pt idx="6">
                  <c:v>0.4715077330245637</c:v>
                </c:pt>
                <c:pt idx="7">
                  <c:v>0.477452302948545</c:v>
                </c:pt>
                <c:pt idx="8">
                  <c:v>0.4571827335260692</c:v>
                </c:pt>
                <c:pt idx="9">
                  <c:v>0.45672447013487477</c:v>
                </c:pt>
                <c:pt idx="10">
                  <c:v>0.4370319425340058</c:v>
                </c:pt>
                <c:pt idx="11">
                  <c:v>0.3940147687524291</c:v>
                </c:pt>
                <c:pt idx="12">
                  <c:v>0.3782617771901747</c:v>
                </c:pt>
                <c:pt idx="13">
                  <c:v>0.3686315948373462</c:v>
                </c:pt>
                <c:pt idx="14">
                  <c:v>0.3421173235563703</c:v>
                </c:pt>
                <c:pt idx="15">
                  <c:v>0.34964081113030826</c:v>
                </c:pt>
                <c:pt idx="16">
                  <c:v>0.338576072140086</c:v>
                </c:pt>
                <c:pt idx="17">
                  <c:v>0.33659829453791196</c:v>
                </c:pt>
                <c:pt idx="18">
                  <c:v>0.3253569539925965</c:v>
                </c:pt>
                <c:pt idx="19">
                  <c:v>0.33590909090909093</c:v>
                </c:pt>
                <c:pt idx="20">
                  <c:v>0.34473290064902645</c:v>
                </c:pt>
                <c:pt idx="21">
                  <c:v>0.3572060123784262</c:v>
                </c:pt>
                <c:pt idx="22">
                  <c:v>0.41239445114595896</c:v>
                </c:pt>
                <c:pt idx="23">
                  <c:v>0.4120976872068575</c:v>
                </c:pt>
                <c:pt idx="24">
                  <c:v>0.4180656663200119</c:v>
                </c:pt>
                <c:pt idx="25">
                  <c:v>0.41673682438120896</c:v>
                </c:pt>
                <c:pt idx="26">
                  <c:v>0.4252297410192147</c:v>
                </c:pt>
                <c:pt idx="27">
                  <c:v>0.44453312051077415</c:v>
                </c:pt>
                <c:pt idx="28">
                  <c:v>0.41333704580258945</c:v>
                </c:pt>
                <c:pt idx="29">
                  <c:v>0.4175824175824176</c:v>
                </c:pt>
                <c:pt idx="30">
                  <c:v>0.41166190022243404</c:v>
                </c:pt>
                <c:pt idx="31">
                  <c:v>0.41623971433007295</c:v>
                </c:pt>
                <c:pt idx="32">
                  <c:v>0.4307692307692308</c:v>
                </c:pt>
                <c:pt idx="33">
                  <c:v>0.4302512687213764</c:v>
                </c:pt>
                <c:pt idx="34">
                  <c:v>0.43145071982281286</c:v>
                </c:pt>
                <c:pt idx="35">
                  <c:v>0.43787033061399744</c:v>
                </c:pt>
                <c:pt idx="36">
                  <c:v>0.37174284493806065</c:v>
                </c:pt>
                <c:pt idx="37">
                  <c:v>0.4075077399380805</c:v>
                </c:pt>
                <c:pt idx="38">
                  <c:v>0.39748668214724764</c:v>
                </c:pt>
                <c:pt idx="39">
                  <c:v>0.3749816688664027</c:v>
                </c:pt>
                <c:pt idx="40">
                  <c:v>0.38167570825798675</c:v>
                </c:pt>
                <c:pt idx="41">
                  <c:v>0.357347950926651</c:v>
                </c:pt>
                <c:pt idx="42">
                  <c:v>0.35631929046563193</c:v>
                </c:pt>
                <c:pt idx="43">
                  <c:v>0.36905115266646876</c:v>
                </c:pt>
                <c:pt idx="44">
                  <c:v>0.35878014749850506</c:v>
                </c:pt>
                <c:pt idx="45">
                  <c:v>0.373055438765091</c:v>
                </c:pt>
                <c:pt idx="46">
                  <c:v>0.38929900194885725</c:v>
                </c:pt>
                <c:pt idx="47">
                  <c:v>0.3724441274369948</c:v>
                </c:pt>
                <c:pt idx="48">
                  <c:v>0.3642566010987064</c:v>
                </c:pt>
                <c:pt idx="49">
                  <c:v>0.38445875131007634</c:v>
                </c:pt>
                <c:pt idx="50">
                  <c:v>0.36978928080622997</c:v>
                </c:pt>
                <c:pt idx="51">
                  <c:v>0.3766857962697274</c:v>
                </c:pt>
                <c:pt idx="52">
                  <c:v>0.38061652581017813</c:v>
                </c:pt>
                <c:pt idx="53">
                  <c:v>0.3790246212121212</c:v>
                </c:pt>
                <c:pt idx="54">
                  <c:v>0.40068522483940044</c:v>
                </c:pt>
                <c:pt idx="55">
                  <c:v>0.4001251788268956</c:v>
                </c:pt>
                <c:pt idx="56">
                  <c:v>0.38277686553548623</c:v>
                </c:pt>
                <c:pt idx="57">
                  <c:v>0.38703213913601026</c:v>
                </c:pt>
                <c:pt idx="58">
                  <c:v>0.3917849247664551</c:v>
                </c:pt>
                <c:pt idx="59">
                  <c:v>0.3953637824190957</c:v>
                </c:pt>
                <c:pt idx="60">
                  <c:v>0.3971971775774206</c:v>
                </c:pt>
                <c:pt idx="61">
                  <c:v>0.39487286951662476</c:v>
                </c:pt>
                <c:pt idx="62">
                  <c:v>0.407296487884563</c:v>
                </c:pt>
                <c:pt idx="63">
                  <c:v>0.41149077713940124</c:v>
                </c:pt>
                <c:pt idx="64">
                  <c:v>0.3869936653687453</c:v>
                </c:pt>
                <c:pt idx="65">
                  <c:v>0.367304148929411</c:v>
                </c:pt>
                <c:pt idx="66">
                  <c:v>0.37426306159788575</c:v>
                </c:pt>
                <c:pt idx="67">
                  <c:v>0.3538733639900955</c:v>
                </c:pt>
                <c:pt idx="68">
                  <c:v>0.3529885468861847</c:v>
                </c:pt>
                <c:pt idx="69">
                  <c:v>0.3432179501634908</c:v>
                </c:pt>
                <c:pt idx="70">
                  <c:v>0.34660344067048965</c:v>
                </c:pt>
                <c:pt idx="71">
                  <c:v>0.3533198235784957</c:v>
                </c:pt>
                <c:pt idx="72">
                  <c:v>0.34494159135992947</c:v>
                </c:pt>
                <c:pt idx="73">
                  <c:v>0.35838287752675385</c:v>
                </c:pt>
                <c:pt idx="74">
                  <c:v>0.35987554736114313</c:v>
                </c:pt>
                <c:pt idx="75">
                  <c:v>0.37569426077757206</c:v>
                </c:pt>
                <c:pt idx="76">
                  <c:v>0.36361145362378405</c:v>
                </c:pt>
                <c:pt idx="77">
                  <c:v>0.3721134171294943</c:v>
                </c:pt>
                <c:pt idx="78">
                  <c:v>0.3573715248525695</c:v>
                </c:pt>
                <c:pt idx="79">
                  <c:v>0.360427807486631</c:v>
                </c:pt>
                <c:pt idx="80">
                  <c:v>0.34097243728708576</c:v>
                </c:pt>
                <c:pt idx="81">
                  <c:v>0.3447978303747535</c:v>
                </c:pt>
                <c:pt idx="82">
                  <c:v>0.3423802838870691</c:v>
                </c:pt>
                <c:pt idx="83">
                  <c:v>0.3319737542117397</c:v>
                </c:pt>
                <c:pt idx="84">
                  <c:v>0.34851596042561134</c:v>
                </c:pt>
                <c:pt idx="85">
                  <c:v>0.36825127334465196</c:v>
                </c:pt>
                <c:pt idx="86">
                  <c:v>0.35945548197203825</c:v>
                </c:pt>
                <c:pt idx="87">
                  <c:v>0.37491863744847037</c:v>
                </c:pt>
                <c:pt idx="88">
                  <c:v>0.36312692630989074</c:v>
                </c:pt>
                <c:pt idx="89">
                  <c:v>0.3593975324467233</c:v>
                </c:pt>
                <c:pt idx="90">
                  <c:v>0.34738756613756616</c:v>
                </c:pt>
                <c:pt idx="91">
                  <c:v>0.3123387463955077</c:v>
                </c:pt>
                <c:pt idx="92">
                  <c:v>0.34136897327004745</c:v>
                </c:pt>
                <c:pt idx="93">
                  <c:v>0.32392344497607656</c:v>
                </c:pt>
                <c:pt idx="94">
                  <c:v>0.3214096449390567</c:v>
                </c:pt>
                <c:pt idx="95">
                  <c:v>0.32586031921764</c:v>
                </c:pt>
                <c:pt idx="96">
                  <c:v>0.3423314626696029</c:v>
                </c:pt>
                <c:pt idx="97">
                  <c:v>0.34330954237389794</c:v>
                </c:pt>
                <c:pt idx="98">
                  <c:v>0.3523453327099891</c:v>
                </c:pt>
                <c:pt idx="99">
                  <c:v>0.3593200201069323</c:v>
                </c:pt>
                <c:pt idx="100">
                  <c:v>0.35648460328163634</c:v>
                </c:pt>
                <c:pt idx="101">
                  <c:v>0.3588744340649894</c:v>
                </c:pt>
                <c:pt idx="102">
                  <c:v>0.3427196322103297</c:v>
                </c:pt>
                <c:pt idx="103">
                  <c:v>0.3323397913561848</c:v>
                </c:pt>
                <c:pt idx="104">
                  <c:v>0.333919156414762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32962990864536</c:v>
                </c:pt>
                <c:pt idx="1">
                  <c:v>0.1370520161478187</c:v>
                </c:pt>
                <c:pt idx="2">
                  <c:v>0.14810277897239696</c:v>
                </c:pt>
                <c:pt idx="3">
                  <c:v>0.15145956047865686</c:v>
                </c:pt>
                <c:pt idx="4">
                  <c:v>0.16046119622836583</c:v>
                </c:pt>
                <c:pt idx="5">
                  <c:v>0.16215704115972043</c:v>
                </c:pt>
                <c:pt idx="6">
                  <c:v>0.15314674528523656</c:v>
                </c:pt>
                <c:pt idx="7">
                  <c:v>0.14814467811571866</c:v>
                </c:pt>
                <c:pt idx="8">
                  <c:v>0.17277905294020166</c:v>
                </c:pt>
                <c:pt idx="9">
                  <c:v>0.15208438639960983</c:v>
                </c:pt>
                <c:pt idx="10">
                  <c:v>0.16367931096807165</c:v>
                </c:pt>
                <c:pt idx="11">
                  <c:v>0.15042066482133012</c:v>
                </c:pt>
                <c:pt idx="12">
                  <c:v>0.1708717494388861</c:v>
                </c:pt>
                <c:pt idx="13">
                  <c:v>0.15114391803004318</c:v>
                </c:pt>
                <c:pt idx="14">
                  <c:v>0.1459905019956929</c:v>
                </c:pt>
                <c:pt idx="15">
                  <c:v>0.1480036885406695</c:v>
                </c:pt>
                <c:pt idx="16">
                  <c:v>0.1677404426229857</c:v>
                </c:pt>
                <c:pt idx="17">
                  <c:v>0.13205519190033205</c:v>
                </c:pt>
                <c:pt idx="18">
                  <c:v>0.14266714962529817</c:v>
                </c:pt>
                <c:pt idx="19">
                  <c:v>0.1650200128905723</c:v>
                </c:pt>
                <c:pt idx="20">
                  <c:v>0.15453436376162438</c:v>
                </c:pt>
                <c:pt idx="21">
                  <c:v>0.12487841025859636</c:v>
                </c:pt>
                <c:pt idx="22">
                  <c:v>0.14225604136481151</c:v>
                </c:pt>
                <c:pt idx="23">
                  <c:v>0.14384550672148133</c:v>
                </c:pt>
                <c:pt idx="24">
                  <c:v>0.13449242868172995</c:v>
                </c:pt>
                <c:pt idx="25">
                  <c:v>0.14646540371760303</c:v>
                </c:pt>
                <c:pt idx="26">
                  <c:v>0.13622988676587197</c:v>
                </c:pt>
                <c:pt idx="27">
                  <c:v>0.15491061334903783</c:v>
                </c:pt>
                <c:pt idx="28">
                  <c:v>0.15948610999275303</c:v>
                </c:pt>
                <c:pt idx="29">
                  <c:v>0.14959628616932974</c:v>
                </c:pt>
                <c:pt idx="30">
                  <c:v>0.1627526655790337</c:v>
                </c:pt>
                <c:pt idx="31">
                  <c:v>0.13924045671942709</c:v>
                </c:pt>
                <c:pt idx="32">
                  <c:v>0.1463396845911825</c:v>
                </c:pt>
                <c:pt idx="33">
                  <c:v>0.1586985879318044</c:v>
                </c:pt>
                <c:pt idx="34">
                  <c:v>0.14089707265724194</c:v>
                </c:pt>
                <c:pt idx="35">
                  <c:v>0.15421744895231776</c:v>
                </c:pt>
                <c:pt idx="36">
                  <c:v>0.14669871861280354</c:v>
                </c:pt>
                <c:pt idx="37">
                  <c:v>0.1522631587122935</c:v>
                </c:pt>
                <c:pt idx="38">
                  <c:v>0.1420088810951256</c:v>
                </c:pt>
                <c:pt idx="39">
                  <c:v>0.15275052662936958</c:v>
                </c:pt>
                <c:pt idx="40">
                  <c:v>0.15758196896603852</c:v>
                </c:pt>
                <c:pt idx="41">
                  <c:v>0.1542273610245265</c:v>
                </c:pt>
                <c:pt idx="42">
                  <c:v>0.1562450732124193</c:v>
                </c:pt>
                <c:pt idx="43">
                  <c:v>0.17083855839387302</c:v>
                </c:pt>
                <c:pt idx="44">
                  <c:v>0.1706565541739155</c:v>
                </c:pt>
                <c:pt idx="45">
                  <c:v>0.16644358177447538</c:v>
                </c:pt>
                <c:pt idx="46">
                  <c:v>0.15697130948062069</c:v>
                </c:pt>
                <c:pt idx="47">
                  <c:v>0.15322110000445663</c:v>
                </c:pt>
                <c:pt idx="48">
                  <c:v>0.15732890036635447</c:v>
                </c:pt>
                <c:pt idx="49">
                  <c:v>0.15905182043134133</c:v>
                </c:pt>
                <c:pt idx="50">
                  <c:v>0.18346347434218854</c:v>
                </c:pt>
                <c:pt idx="51">
                  <c:v>0.16427916190932906</c:v>
                </c:pt>
              </c:numCache>
            </c:numRef>
          </c:xVal>
          <c:yVal>
            <c:numRef>
              <c:f>Sheet1!$B$109:$B$160</c:f>
              <c:numCache>
                <c:formatCode>General</c:formatCode>
                <c:ptCount val="52"/>
                <c:pt idx="0">
                  <c:v>0.35995872033023735</c:v>
                </c:pt>
                <c:pt idx="1">
                  <c:v>0.357406314547064</c:v>
                </c:pt>
                <c:pt idx="2">
                  <c:v>0.3687352400944634</c:v>
                </c:pt>
                <c:pt idx="3">
                  <c:v>0.39424272162250573</c:v>
                </c:pt>
                <c:pt idx="4">
                  <c:v>0.38426323319027184</c:v>
                </c:pt>
                <c:pt idx="5">
                  <c:v>0.36295992900539287</c:v>
                </c:pt>
                <c:pt idx="6">
                  <c:v>0.3866143330852</c:v>
                </c:pt>
                <c:pt idx="7">
                  <c:v>0.36999000272652915</c:v>
                </c:pt>
                <c:pt idx="8">
                  <c:v>0.36480235492010094</c:v>
                </c:pt>
                <c:pt idx="9">
                  <c:v>0.3698077824660103</c:v>
                </c:pt>
                <c:pt idx="10">
                  <c:v>0.3666456209975647</c:v>
                </c:pt>
                <c:pt idx="11">
                  <c:v>0.3721678597228607</c:v>
                </c:pt>
                <c:pt idx="12">
                  <c:v>0.377632479282293</c:v>
                </c:pt>
                <c:pt idx="13">
                  <c:v>0.3823341836734694</c:v>
                </c:pt>
                <c:pt idx="14">
                  <c:v>0.3853186813186813</c:v>
                </c:pt>
                <c:pt idx="15">
                  <c:v>0.3730682246513381</c:v>
                </c:pt>
                <c:pt idx="16">
                  <c:v>0.3577473958333333</c:v>
                </c:pt>
                <c:pt idx="17">
                  <c:v>0.35038246375156984</c:v>
                </c:pt>
                <c:pt idx="18">
                  <c:v>0.35927577354411566</c:v>
                </c:pt>
                <c:pt idx="19">
                  <c:v>0.3584526500879176</c:v>
                </c:pt>
                <c:pt idx="20">
                  <c:v>0.36460858405817764</c:v>
                </c:pt>
                <c:pt idx="21">
                  <c:v>0.36896197327852004</c:v>
                </c:pt>
                <c:pt idx="22">
                  <c:v>0.35856164383561645</c:v>
                </c:pt>
                <c:pt idx="23">
                  <c:v>0.3732501264968797</c:v>
                </c:pt>
                <c:pt idx="24">
                  <c:v>0.38729641693811073</c:v>
                </c:pt>
                <c:pt idx="25">
                  <c:v>0.37851620332291497</c:v>
                </c:pt>
                <c:pt idx="26">
                  <c:v>0.3610056925996205</c:v>
                </c:pt>
                <c:pt idx="27">
                  <c:v>0.35539387155449836</c:v>
                </c:pt>
                <c:pt idx="28">
                  <c:v>0.3462710292754007</c:v>
                </c:pt>
                <c:pt idx="29">
                  <c:v>0.34827367754197025</c:v>
                </c:pt>
                <c:pt idx="30">
                  <c:v>0.3505646572292031</c:v>
                </c:pt>
                <c:pt idx="31">
                  <c:v>0.3485915492957746</c:v>
                </c:pt>
                <c:pt idx="32">
                  <c:v>0.346096221075412</c:v>
                </c:pt>
                <c:pt idx="33">
                  <c:v>0.3534628929176992</c:v>
                </c:pt>
                <c:pt idx="34">
                  <c:v>0.38005709223348755</c:v>
                </c:pt>
                <c:pt idx="35">
                  <c:v>0.3613193403298351</c:v>
                </c:pt>
                <c:pt idx="36">
                  <c:v>0.35309137333576507</c:v>
                </c:pt>
                <c:pt idx="37">
                  <c:v>0.3512700534759358</c:v>
                </c:pt>
                <c:pt idx="38">
                  <c:v>0.35485714285714287</c:v>
                </c:pt>
                <c:pt idx="39">
                  <c:v>0.365</c:v>
                </c:pt>
                <c:pt idx="40">
                  <c:v>0.36466271521309623</c:v>
                </c:pt>
                <c:pt idx="41">
                  <c:v>0.35534631755449503</c:v>
                </c:pt>
                <c:pt idx="42">
                  <c:v>0.36407483192049106</c:v>
                </c:pt>
                <c:pt idx="43">
                  <c:v>0.35544086966070054</c:v>
                </c:pt>
                <c:pt idx="44">
                  <c:v>0.3527103486037598</c:v>
                </c:pt>
                <c:pt idx="45">
                  <c:v>0.36231604652657284</c:v>
                </c:pt>
                <c:pt idx="46">
                  <c:v>0.37525370804059327</c:v>
                </c:pt>
                <c:pt idx="47">
                  <c:v>0.3708618721461187</c:v>
                </c:pt>
                <c:pt idx="48">
                  <c:v>0.3560686796921255</c:v>
                </c:pt>
                <c:pt idx="49">
                  <c:v>0.3724536661803642</c:v>
                </c:pt>
                <c:pt idx="50">
                  <c:v>0.3828300474170202</c:v>
                </c:pt>
                <c:pt idx="51">
                  <c:v>0.382439148719255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975341728253818</c:v>
                </c:pt>
              </c:numCache>
            </c:numRef>
          </c:xVal>
          <c:yVal>
            <c:numRef>
              <c:f>Sheet1!$B$163:$B$164</c:f>
              <c:numCache>
                <c:formatCode>General</c:formatCode>
                <c:ptCount val="2"/>
                <c:pt idx="0">
                  <c:v>0.44733894470643065</c:v>
                </c:pt>
                <c:pt idx="1">
                  <c:v>0.4473389447064306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975341728253818</c:v>
                </c:pt>
                <c:pt idx="1">
                  <c:v>1.975341728253818</c:v>
                </c:pt>
              </c:numCache>
            </c:numRef>
          </c:xVal>
          <c:yVal>
            <c:numRef>
              <c:f>Sheet1!$B$167:$B$168</c:f>
              <c:numCache>
                <c:formatCode>General</c:formatCode>
                <c:ptCount val="2"/>
                <c:pt idx="0">
                  <c:v>0.4473389447064306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311237786799431</c:v>
                </c:pt>
              </c:numCache>
            </c:numRef>
          </c:xVal>
          <c:yVal>
            <c:numRef>
              <c:f>Sheet1!$B$171:$B$172</c:f>
              <c:numCache>
                <c:formatCode>General</c:formatCode>
                <c:ptCount val="2"/>
                <c:pt idx="0">
                  <c:v>0.37344788550219143</c:v>
                </c:pt>
                <c:pt idx="1">
                  <c:v>0.3734478855021914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311237786799431</c:v>
                </c:pt>
                <c:pt idx="1">
                  <c:v>0.3311237786799431</c:v>
                </c:pt>
              </c:numCache>
            </c:numRef>
          </c:xVal>
          <c:yVal>
            <c:numRef>
              <c:f>Sheet1!$B$175:$B$176</c:f>
              <c:numCache>
                <c:formatCode>General</c:formatCode>
                <c:ptCount val="2"/>
                <c:pt idx="0">
                  <c:v>0.3734478855021914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6789009437992578</c:v>
                </c:pt>
              </c:numCache>
            </c:numRef>
          </c:xVal>
          <c:yVal>
            <c:numRef>
              <c:f>Sheet1!$B$179:$B$180</c:f>
              <c:numCache>
                <c:formatCode>General</c:formatCode>
                <c:ptCount val="2"/>
                <c:pt idx="0">
                  <c:v>0.3661121732057379</c:v>
                </c:pt>
                <c:pt idx="1">
                  <c:v>0.366112173205737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6789009437992578</c:v>
                </c:pt>
                <c:pt idx="1">
                  <c:v>0.16789009437992578</c:v>
                </c:pt>
              </c:numCache>
            </c:numRef>
          </c:xVal>
          <c:yVal>
            <c:numRef>
              <c:f>Sheet1!$B$183:$B$184</c:f>
              <c:numCache>
                <c:formatCode>General</c:formatCode>
                <c:ptCount val="2"/>
                <c:pt idx="0">
                  <c:v>0.366112173205737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32962990864536</c:v>
                </c:pt>
                <c:pt idx="1">
                  <c:v>0.1370520161478187</c:v>
                </c:pt>
                <c:pt idx="2">
                  <c:v>0.14810277897239696</c:v>
                </c:pt>
                <c:pt idx="3">
                  <c:v>0.15145956047865686</c:v>
                </c:pt>
                <c:pt idx="4">
                  <c:v>0.16046119622836583</c:v>
                </c:pt>
                <c:pt idx="5">
                  <c:v>0.16215704115972043</c:v>
                </c:pt>
                <c:pt idx="6">
                  <c:v>0.15314674528523656</c:v>
                </c:pt>
                <c:pt idx="7">
                  <c:v>0.14814467811571866</c:v>
                </c:pt>
                <c:pt idx="8">
                  <c:v>0.17277905294020166</c:v>
                </c:pt>
                <c:pt idx="9">
                  <c:v>0.15208438639960983</c:v>
                </c:pt>
                <c:pt idx="10">
                  <c:v>0.16367931096807165</c:v>
                </c:pt>
                <c:pt idx="11">
                  <c:v>0.15042066482133012</c:v>
                </c:pt>
                <c:pt idx="12">
                  <c:v>0.1708717494388861</c:v>
                </c:pt>
                <c:pt idx="13">
                  <c:v>0.15114391803004318</c:v>
                </c:pt>
                <c:pt idx="14">
                  <c:v>0.1459905019956929</c:v>
                </c:pt>
                <c:pt idx="15">
                  <c:v>0.1480036885406695</c:v>
                </c:pt>
                <c:pt idx="16">
                  <c:v>0.1677404426229857</c:v>
                </c:pt>
                <c:pt idx="17">
                  <c:v>0.13205519190033205</c:v>
                </c:pt>
                <c:pt idx="18">
                  <c:v>0.14266714962529817</c:v>
                </c:pt>
                <c:pt idx="19">
                  <c:v>0.1650200128905723</c:v>
                </c:pt>
                <c:pt idx="20">
                  <c:v>0.15453436376162438</c:v>
                </c:pt>
                <c:pt idx="21">
                  <c:v>0.12487841025859636</c:v>
                </c:pt>
                <c:pt idx="22">
                  <c:v>0.14225604136481151</c:v>
                </c:pt>
                <c:pt idx="23">
                  <c:v>0.14384550672148133</c:v>
                </c:pt>
                <c:pt idx="24">
                  <c:v>0.13449242868172995</c:v>
                </c:pt>
                <c:pt idx="25">
                  <c:v>0.14646540371760303</c:v>
                </c:pt>
                <c:pt idx="26">
                  <c:v>0.13622988676587197</c:v>
                </c:pt>
                <c:pt idx="27">
                  <c:v>0.15491061334903783</c:v>
                </c:pt>
                <c:pt idx="28">
                  <c:v>0.15948610999275303</c:v>
                </c:pt>
                <c:pt idx="29">
                  <c:v>0.14959628616932974</c:v>
                </c:pt>
                <c:pt idx="30">
                  <c:v>0.1627526655790337</c:v>
                </c:pt>
                <c:pt idx="31">
                  <c:v>0.13924045671942709</c:v>
                </c:pt>
                <c:pt idx="32">
                  <c:v>0.1463396845911825</c:v>
                </c:pt>
                <c:pt idx="33">
                  <c:v>0.1586985879318044</c:v>
                </c:pt>
                <c:pt idx="34">
                  <c:v>0.14089707265724194</c:v>
                </c:pt>
                <c:pt idx="35">
                  <c:v>0.15421744895231776</c:v>
                </c:pt>
                <c:pt idx="36">
                  <c:v>0.14669871861280354</c:v>
                </c:pt>
                <c:pt idx="37">
                  <c:v>0.1522631587122935</c:v>
                </c:pt>
                <c:pt idx="38">
                  <c:v>0.1420088810951256</c:v>
                </c:pt>
                <c:pt idx="39">
                  <c:v>0.15275052662936958</c:v>
                </c:pt>
                <c:pt idx="40">
                  <c:v>0.15758196896603852</c:v>
                </c:pt>
                <c:pt idx="41">
                  <c:v>0.1542273610245265</c:v>
                </c:pt>
                <c:pt idx="42">
                  <c:v>0.1562450732124193</c:v>
                </c:pt>
                <c:pt idx="43">
                  <c:v>0.17083855839387302</c:v>
                </c:pt>
                <c:pt idx="44">
                  <c:v>0.1706565541739155</c:v>
                </c:pt>
                <c:pt idx="45">
                  <c:v>0.16644358177447538</c:v>
                </c:pt>
                <c:pt idx="46">
                  <c:v>0.15697130948062069</c:v>
                </c:pt>
                <c:pt idx="47">
                  <c:v>0.15322110000445663</c:v>
                </c:pt>
                <c:pt idx="48">
                  <c:v>0.15732890036635447</c:v>
                </c:pt>
                <c:pt idx="49">
                  <c:v>0.15905182043134133</c:v>
                </c:pt>
                <c:pt idx="50">
                  <c:v>0.18346347434218854</c:v>
                </c:pt>
                <c:pt idx="51">
                  <c:v>0.16427916190932906</c:v>
                </c:pt>
                <c:pt idx="52">
                  <c:v>0.3311237786799431</c:v>
                </c:pt>
                <c:pt idx="53">
                  <c:v>1.975341728253818</c:v>
                </c:pt>
                <c:pt idx="54">
                  <c:v>0.16789009437992578</c:v>
                </c:pt>
              </c:numCache>
            </c:numRef>
          </c:xVal>
          <c:yVal>
            <c:numRef>
              <c:f>Sheet1!$B$187:$B$241</c:f>
              <c:numCache>
                <c:formatCode>General</c:formatCode>
                <c:ptCount val="55"/>
                <c:pt idx="0">
                  <c:v>0.3645425512013333</c:v>
                </c:pt>
                <c:pt idx="1">
                  <c:v>0.3647263117601892</c:v>
                </c:pt>
                <c:pt idx="2">
                  <c:v>0.3652229324000104</c:v>
                </c:pt>
                <c:pt idx="3">
                  <c:v>0.3653737859660349</c:v>
                </c:pt>
                <c:pt idx="4">
                  <c:v>0.3657783189540668</c:v>
                </c:pt>
                <c:pt idx="5">
                  <c:v>0.3658545301268352</c:v>
                </c:pt>
                <c:pt idx="6">
                  <c:v>0.3654496079532987</c:v>
                </c:pt>
                <c:pt idx="7">
                  <c:v>0.365224815345079</c:v>
                </c:pt>
                <c:pt idx="8">
                  <c:v>0.36633188271962447</c:v>
                </c:pt>
                <c:pt idx="9">
                  <c:v>0.3654018656066504</c:v>
                </c:pt>
                <c:pt idx="10">
                  <c:v>0.36592294084365223</c:v>
                </c:pt>
                <c:pt idx="11">
                  <c:v>0.36532709805550434</c:v>
                </c:pt>
                <c:pt idx="12">
                  <c:v>0.3662461686109975</c:v>
                </c:pt>
                <c:pt idx="13">
                  <c:v>0.3653596010127178</c:v>
                </c:pt>
                <c:pt idx="14">
                  <c:v>0.36512800679529855</c:v>
                </c:pt>
                <c:pt idx="15">
                  <c:v>0.365218479281761</c:v>
                </c:pt>
                <c:pt idx="16">
                  <c:v>0.3661054478644686</c:v>
                </c:pt>
                <c:pt idx="17">
                  <c:v>0.3645017547685812</c:v>
                </c:pt>
                <c:pt idx="18">
                  <c:v>0.3649786555326992</c:v>
                </c:pt>
                <c:pt idx="19">
                  <c:v>0.36598319191021944</c:v>
                </c:pt>
                <c:pt idx="20">
                  <c:v>0.36551196744707404</c:v>
                </c:pt>
                <c:pt idx="21">
                  <c:v>0.3641792306182258</c:v>
                </c:pt>
                <c:pt idx="22">
                  <c:v>0.3649601803513385</c:v>
                </c:pt>
                <c:pt idx="23">
                  <c:v>0.3650316108321961</c:v>
                </c:pt>
                <c:pt idx="24">
                  <c:v>0.36461128404805154</c:v>
                </c:pt>
                <c:pt idx="25">
                  <c:v>0.3651493488511124</c:v>
                </c:pt>
                <c:pt idx="26">
                  <c:v>0.3646893653134905</c:v>
                </c:pt>
                <c:pt idx="27">
                  <c:v>0.36552887608169043</c:v>
                </c:pt>
                <c:pt idx="28">
                  <c:v>0.36573449863524377</c:v>
                </c:pt>
                <c:pt idx="29">
                  <c:v>0.36529005052673996</c:v>
                </c:pt>
                <c:pt idx="30">
                  <c:v>0.36588129745366216</c:v>
                </c:pt>
                <c:pt idx="31">
                  <c:v>0.36482466015243464</c:v>
                </c:pt>
                <c:pt idx="32">
                  <c:v>0.36514369904086924</c:v>
                </c:pt>
                <c:pt idx="33">
                  <c:v>0.3656991074395417</c:v>
                </c:pt>
                <c:pt idx="34">
                  <c:v>0.3648991083765107</c:v>
                </c:pt>
                <c:pt idx="35">
                  <c:v>0.3654977253139412</c:v>
                </c:pt>
                <c:pt idx="36">
                  <c:v>0.36515983400895835</c:v>
                </c:pt>
                <c:pt idx="37">
                  <c:v>0.36540989962400433</c:v>
                </c:pt>
                <c:pt idx="38">
                  <c:v>0.36494907298316687</c:v>
                </c:pt>
                <c:pt idx="39">
                  <c:v>0.3654318019099052</c:v>
                </c:pt>
                <c:pt idx="40">
                  <c:v>0.36564892664804177</c:v>
                </c:pt>
                <c:pt idx="41">
                  <c:v>0.36549817076189084</c:v>
                </c:pt>
                <c:pt idx="42">
                  <c:v>0.3655888466304832</c:v>
                </c:pt>
                <c:pt idx="43">
                  <c:v>0.3662446770073614</c:v>
                </c:pt>
                <c:pt idx="44">
                  <c:v>0.36623649774828215</c:v>
                </c:pt>
                <c:pt idx="45">
                  <c:v>0.36604716701322143</c:v>
                </c:pt>
                <c:pt idx="46">
                  <c:v>0.36562148364621694</c:v>
                </c:pt>
                <c:pt idx="47">
                  <c:v>0.36545294945006407</c:v>
                </c:pt>
                <c:pt idx="48">
                  <c:v>0.36563755375986307</c:v>
                </c:pt>
                <c:pt idx="49">
                  <c:v>0.36571498168756517</c:v>
                </c:pt>
                <c:pt idx="50">
                  <c:v>0.36681203999718115</c:v>
                </c:pt>
                <c:pt idx="51">
                  <c:v>0.36594989811013</c:v>
                </c:pt>
                <c:pt idx="52">
                  <c:v>0.37344788550219143</c:v>
                </c:pt>
                <c:pt idx="53">
                  <c:v>0.44733894470643065</c:v>
                </c:pt>
                <c:pt idx="54">
                  <c:v>0.366112173205737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72942763538254"/>
          <c:min val="0.2498709971164061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42.1199</c:v>
                </c:pt>
                <c:pt idx="1">
                  <c:v>913.9464</c:v>
                </c:pt>
                <c:pt idx="2">
                  <c:v>945.576</c:v>
                </c:pt>
                <c:pt idx="3">
                  <c:v>978.75</c:v>
                </c:pt>
                <c:pt idx="4">
                  <c:v>965.9376</c:v>
                </c:pt>
                <c:pt idx="5">
                  <c:v>952.6493</c:v>
                </c:pt>
                <c:pt idx="6">
                  <c:v>916.4038</c:v>
                </c:pt>
                <c:pt idx="7">
                  <c:v>927.3766</c:v>
                </c:pt>
                <c:pt idx="8">
                  <c:v>937.4799</c:v>
                </c:pt>
                <c:pt idx="9">
                  <c:v>899.1126</c:v>
                </c:pt>
                <c:pt idx="10">
                  <c:v>899.4744</c:v>
                </c:pt>
                <c:pt idx="11">
                  <c:v>963.1389</c:v>
                </c:pt>
                <c:pt idx="12">
                  <c:v>959.7524</c:v>
                </c:pt>
                <c:pt idx="13">
                  <c:v>976.9349</c:v>
                </c:pt>
                <c:pt idx="14">
                  <c:v>1008.76</c:v>
                </c:pt>
                <c:pt idx="15">
                  <c:v>1018.2835</c:v>
                </c:pt>
                <c:pt idx="16">
                  <c:v>1041.4144</c:v>
                </c:pt>
                <c:pt idx="17">
                  <c:v>1047.3937</c:v>
                </c:pt>
                <c:pt idx="18">
                  <c:v>1104.7733</c:v>
                </c:pt>
                <c:pt idx="19">
                  <c:v>1092.3586</c:v>
                </c:pt>
                <c:pt idx="20">
                  <c:v>1118.4113</c:v>
                </c:pt>
                <c:pt idx="21">
                  <c:v>1117.0685</c:v>
                </c:pt>
                <c:pt idx="22">
                  <c:v>1065.5258</c:v>
                </c:pt>
                <c:pt idx="23">
                  <c:v>1080.1998</c:v>
                </c:pt>
                <c:pt idx="24">
                  <c:v>1088.4417</c:v>
                </c:pt>
                <c:pt idx="25">
                  <c:v>1071.5834</c:v>
                </c:pt>
                <c:pt idx="26">
                  <c:v>1055.5602</c:v>
                </c:pt>
                <c:pt idx="27">
                  <c:v>1048.8851</c:v>
                </c:pt>
                <c:pt idx="28">
                  <c:v>1068.4891</c:v>
                </c:pt>
                <c:pt idx="29">
                  <c:v>1059.716</c:v>
                </c:pt>
                <c:pt idx="30">
                  <c:v>1062.0116</c:v>
                </c:pt>
                <c:pt idx="31">
                  <c:v>1033.0563</c:v>
                </c:pt>
                <c:pt idx="32">
                  <c:v>1026.0317</c:v>
                </c:pt>
                <c:pt idx="33">
                  <c:v>986.1519</c:v>
                </c:pt>
                <c:pt idx="34">
                  <c:v>1002.2862</c:v>
                </c:pt>
                <c:pt idx="35">
                  <c:v>1044.1304</c:v>
                </c:pt>
                <c:pt idx="36">
                  <c:v>1093.5628</c:v>
                </c:pt>
                <c:pt idx="37">
                  <c:v>1070.2846</c:v>
                </c:pt>
                <c:pt idx="38">
                  <c:v>1110.9385</c:v>
                </c:pt>
                <c:pt idx="39">
                  <c:v>1180.8299</c:v>
                </c:pt>
                <c:pt idx="40">
                  <c:v>1177.1333</c:v>
                </c:pt>
                <c:pt idx="41">
                  <c:v>1208.1651</c:v>
                </c:pt>
                <c:pt idx="42">
                  <c:v>1227.6814</c:v>
                </c:pt>
                <c:pt idx="43">
                  <c:v>1206.1129</c:v>
                </c:pt>
                <c:pt idx="44">
                  <c:v>1168.2143</c:v>
                </c:pt>
                <c:pt idx="45">
                  <c:v>1131.6883</c:v>
                </c:pt>
                <c:pt idx="46">
                  <c:v>1121.5097</c:v>
                </c:pt>
                <c:pt idx="47">
                  <c:v>1111.3356</c:v>
                </c:pt>
                <c:pt idx="48">
                  <c:v>1108.6667</c:v>
                </c:pt>
                <c:pt idx="49">
                  <c:v>1061.2841</c:v>
                </c:pt>
                <c:pt idx="50">
                  <c:v>1065.8975</c:v>
                </c:pt>
                <c:pt idx="51">
                  <c:v>1054.1268</c:v>
                </c:pt>
                <c:pt idx="52">
                  <c:v>1072.9513</c:v>
                </c:pt>
                <c:pt idx="53">
                  <c:v>1185.2363</c:v>
                </c:pt>
                <c:pt idx="54">
                  <c:v>1163.0765</c:v>
                </c:pt>
                <c:pt idx="55">
                  <c:v>1192.4286</c:v>
                </c:pt>
                <c:pt idx="56">
                  <c:v>1199.9681</c:v>
                </c:pt>
                <c:pt idx="57">
                  <c:v>1160.3939</c:v>
                </c:pt>
                <c:pt idx="58">
                  <c:v>1158.0541</c:v>
                </c:pt>
                <c:pt idx="59">
                  <c:v>1124.2708</c:v>
                </c:pt>
                <c:pt idx="60">
                  <c:v>1143.7692</c:v>
                </c:pt>
                <c:pt idx="61">
                  <c:v>1168.3871</c:v>
                </c:pt>
                <c:pt idx="62">
                  <c:v>1106.9141</c:v>
                </c:pt>
                <c:pt idx="63">
                  <c:v>1122.3735</c:v>
                </c:pt>
                <c:pt idx="64">
                  <c:v>1132.9737</c:v>
                </c:pt>
                <c:pt idx="65">
                  <c:v>1128.9512</c:v>
                </c:pt>
                <c:pt idx="66">
                  <c:v>1169.5745</c:v>
                </c:pt>
                <c:pt idx="67">
                  <c:v>1190.1421</c:v>
                </c:pt>
                <c:pt idx="68">
                  <c:v>1214.3673</c:v>
                </c:pt>
                <c:pt idx="69">
                  <c:v>1242.0069</c:v>
                </c:pt>
                <c:pt idx="70">
                  <c:v>1227.0675</c:v>
                </c:pt>
                <c:pt idx="71">
                  <c:v>1272.279</c:v>
                </c:pt>
                <c:pt idx="72">
                  <c:v>1333.3773</c:v>
                </c:pt>
                <c:pt idx="73">
                  <c:v>1310.35</c:v>
                </c:pt>
                <c:pt idx="74">
                  <c:v>1309.3122</c:v>
                </c:pt>
                <c:pt idx="75">
                  <c:v>1266.2527</c:v>
                </c:pt>
                <c:pt idx="76">
                  <c:v>1244.5633</c:v>
                </c:pt>
                <c:pt idx="77">
                  <c:v>1241.3087</c:v>
                </c:pt>
                <c:pt idx="78">
                  <c:v>1305.0707</c:v>
                </c:pt>
                <c:pt idx="79">
                  <c:v>1273.5197</c:v>
                </c:pt>
                <c:pt idx="80">
                  <c:v>1294.9946</c:v>
                </c:pt>
                <c:pt idx="81">
                  <c:v>1264.4405</c:v>
                </c:pt>
                <c:pt idx="82">
                  <c:v>1281.815</c:v>
                </c:pt>
                <c:pt idx="83">
                  <c:v>1241.6026</c:v>
                </c:pt>
                <c:pt idx="84">
                  <c:v>1266.4622</c:v>
                </c:pt>
                <c:pt idx="85">
                  <c:v>1244.9083</c:v>
                </c:pt>
                <c:pt idx="86">
                  <c:v>1258.0068</c:v>
                </c:pt>
                <c:pt idx="87">
                  <c:v>1244.9268</c:v>
                </c:pt>
                <c:pt idx="88">
                  <c:v>1305.8877</c:v>
                </c:pt>
                <c:pt idx="89">
                  <c:v>1290.8943</c:v>
                </c:pt>
                <c:pt idx="90">
                  <c:v>1348.5107</c:v>
                </c:pt>
                <c:pt idx="91">
                  <c:v>1334.8222</c:v>
                </c:pt>
                <c:pt idx="92">
                  <c:v>1287.6875</c:v>
                </c:pt>
                <c:pt idx="93">
                  <c:v>1313.421</c:v>
                </c:pt>
                <c:pt idx="94">
                  <c:v>1295.8871</c:v>
                </c:pt>
                <c:pt idx="95">
                  <c:v>1264.0745</c:v>
                </c:pt>
                <c:pt idx="96">
                  <c:v>1229.8539</c:v>
                </c:pt>
                <c:pt idx="97">
                  <c:v>1214.3026</c:v>
                </c:pt>
                <c:pt idx="98">
                  <c:v>1193.5788</c:v>
                </c:pt>
                <c:pt idx="99">
                  <c:v>1158.9493</c:v>
                </c:pt>
                <c:pt idx="100">
                  <c:v>1122.3305</c:v>
                </c:pt>
                <c:pt idx="101">
                  <c:v>1176.633</c:v>
                </c:pt>
                <c:pt idx="102">
                  <c:v>1179.1849</c:v>
                </c:pt>
                <c:pt idx="103">
                  <c:v>1169.7795</c:v>
                </c:pt>
                <c:pt idx="104">
                  <c:v>1214.7465</c:v>
                </c:pt>
              </c:numCache>
            </c:numRef>
          </c:xVal>
          <c:yVal>
            <c:numRef>
              <c:f>Sheet1!$B$2:$B$106</c:f>
              <c:numCache>
                <c:formatCode>General</c:formatCode>
                <c:ptCount val="105"/>
                <c:pt idx="0">
                  <c:v>0.4009455346156337</c:v>
                </c:pt>
                <c:pt idx="1">
                  <c:v>0.4135934819897084</c:v>
                </c:pt>
                <c:pt idx="2">
                  <c:v>0.4390207824865025</c:v>
                </c:pt>
                <c:pt idx="3">
                  <c:v>0.4618830556428796</c:v>
                </c:pt>
                <c:pt idx="4">
                  <c:v>0.46609788953749437</c:v>
                </c:pt>
                <c:pt idx="5">
                  <c:v>0.4383669885864794</c:v>
                </c:pt>
                <c:pt idx="6">
                  <c:v>0.4715077330245637</c:v>
                </c:pt>
                <c:pt idx="7">
                  <c:v>0.477452302948545</c:v>
                </c:pt>
                <c:pt idx="8">
                  <c:v>0.4571827335260692</c:v>
                </c:pt>
                <c:pt idx="9">
                  <c:v>0.45672447013487477</c:v>
                </c:pt>
                <c:pt idx="10">
                  <c:v>0.4370319425340058</c:v>
                </c:pt>
                <c:pt idx="11">
                  <c:v>0.3940147687524291</c:v>
                </c:pt>
                <c:pt idx="12">
                  <c:v>0.3782617771901747</c:v>
                </c:pt>
                <c:pt idx="13">
                  <c:v>0.3686315948373462</c:v>
                </c:pt>
                <c:pt idx="14">
                  <c:v>0.3421173235563703</c:v>
                </c:pt>
                <c:pt idx="15">
                  <c:v>0.34964081113030826</c:v>
                </c:pt>
                <c:pt idx="16">
                  <c:v>0.338576072140086</c:v>
                </c:pt>
                <c:pt idx="17">
                  <c:v>0.33659829453791196</c:v>
                </c:pt>
                <c:pt idx="18">
                  <c:v>0.3253569539925965</c:v>
                </c:pt>
                <c:pt idx="19">
                  <c:v>0.33590909090909093</c:v>
                </c:pt>
                <c:pt idx="20">
                  <c:v>0.34473290064902645</c:v>
                </c:pt>
                <c:pt idx="21">
                  <c:v>0.3572060123784262</c:v>
                </c:pt>
                <c:pt idx="22">
                  <c:v>0.41239445114595896</c:v>
                </c:pt>
                <c:pt idx="23">
                  <c:v>0.4120976872068575</c:v>
                </c:pt>
                <c:pt idx="24">
                  <c:v>0.4180656663200119</c:v>
                </c:pt>
                <c:pt idx="25">
                  <c:v>0.41673682438120896</c:v>
                </c:pt>
                <c:pt idx="26">
                  <c:v>0.4252297410192147</c:v>
                </c:pt>
                <c:pt idx="27">
                  <c:v>0.44453312051077415</c:v>
                </c:pt>
                <c:pt idx="28">
                  <c:v>0.41333704580258945</c:v>
                </c:pt>
                <c:pt idx="29">
                  <c:v>0.4175824175824176</c:v>
                </c:pt>
                <c:pt idx="30">
                  <c:v>0.41166190022243404</c:v>
                </c:pt>
                <c:pt idx="31">
                  <c:v>0.41623971433007295</c:v>
                </c:pt>
                <c:pt idx="32">
                  <c:v>0.4307692307692308</c:v>
                </c:pt>
                <c:pt idx="33">
                  <c:v>0.4302512687213764</c:v>
                </c:pt>
                <c:pt idx="34">
                  <c:v>0.43145071982281286</c:v>
                </c:pt>
                <c:pt idx="35">
                  <c:v>0.43787033061399744</c:v>
                </c:pt>
                <c:pt idx="36">
                  <c:v>0.37174284493806065</c:v>
                </c:pt>
                <c:pt idx="37">
                  <c:v>0.4075077399380805</c:v>
                </c:pt>
                <c:pt idx="38">
                  <c:v>0.39748668214724764</c:v>
                </c:pt>
                <c:pt idx="39">
                  <c:v>0.3749816688664027</c:v>
                </c:pt>
                <c:pt idx="40">
                  <c:v>0.38167570825798675</c:v>
                </c:pt>
                <c:pt idx="41">
                  <c:v>0.357347950926651</c:v>
                </c:pt>
                <c:pt idx="42">
                  <c:v>0.35631929046563193</c:v>
                </c:pt>
                <c:pt idx="43">
                  <c:v>0.36905115266646876</c:v>
                </c:pt>
                <c:pt idx="44">
                  <c:v>0.35878014749850506</c:v>
                </c:pt>
                <c:pt idx="45">
                  <c:v>0.373055438765091</c:v>
                </c:pt>
                <c:pt idx="46">
                  <c:v>0.38929900194885725</c:v>
                </c:pt>
                <c:pt idx="47">
                  <c:v>0.3724441274369948</c:v>
                </c:pt>
                <c:pt idx="48">
                  <c:v>0.3642566010987064</c:v>
                </c:pt>
                <c:pt idx="49">
                  <c:v>0.38445875131007634</c:v>
                </c:pt>
                <c:pt idx="50">
                  <c:v>0.36978928080622997</c:v>
                </c:pt>
                <c:pt idx="51">
                  <c:v>0.3766857962697274</c:v>
                </c:pt>
                <c:pt idx="52">
                  <c:v>0.38061652581017813</c:v>
                </c:pt>
                <c:pt idx="53">
                  <c:v>0.3790246212121212</c:v>
                </c:pt>
                <c:pt idx="54">
                  <c:v>0.40068522483940044</c:v>
                </c:pt>
                <c:pt idx="55">
                  <c:v>0.4001251788268956</c:v>
                </c:pt>
                <c:pt idx="56">
                  <c:v>0.38277686553548623</c:v>
                </c:pt>
                <c:pt idx="57">
                  <c:v>0.38703213913601026</c:v>
                </c:pt>
                <c:pt idx="58">
                  <c:v>0.3917849247664551</c:v>
                </c:pt>
                <c:pt idx="59">
                  <c:v>0.3953637824190957</c:v>
                </c:pt>
                <c:pt idx="60">
                  <c:v>0.3971971775774206</c:v>
                </c:pt>
                <c:pt idx="61">
                  <c:v>0.39487286951662476</c:v>
                </c:pt>
                <c:pt idx="62">
                  <c:v>0.407296487884563</c:v>
                </c:pt>
                <c:pt idx="63">
                  <c:v>0.41149077713940124</c:v>
                </c:pt>
                <c:pt idx="64">
                  <c:v>0.3869936653687453</c:v>
                </c:pt>
                <c:pt idx="65">
                  <c:v>0.367304148929411</c:v>
                </c:pt>
                <c:pt idx="66">
                  <c:v>0.37426306159788575</c:v>
                </c:pt>
                <c:pt idx="67">
                  <c:v>0.3538733639900955</c:v>
                </c:pt>
                <c:pt idx="68">
                  <c:v>0.3529885468861847</c:v>
                </c:pt>
                <c:pt idx="69">
                  <c:v>0.3432179501634908</c:v>
                </c:pt>
                <c:pt idx="70">
                  <c:v>0.34660344067048965</c:v>
                </c:pt>
                <c:pt idx="71">
                  <c:v>0.3533198235784957</c:v>
                </c:pt>
                <c:pt idx="72">
                  <c:v>0.34494159135992947</c:v>
                </c:pt>
                <c:pt idx="73">
                  <c:v>0.35838287752675385</c:v>
                </c:pt>
                <c:pt idx="74">
                  <c:v>0.35987554736114313</c:v>
                </c:pt>
                <c:pt idx="75">
                  <c:v>0.37569426077757206</c:v>
                </c:pt>
                <c:pt idx="76">
                  <c:v>0.36361145362378405</c:v>
                </c:pt>
                <c:pt idx="77">
                  <c:v>0.3721134171294943</c:v>
                </c:pt>
                <c:pt idx="78">
                  <c:v>0.3573715248525695</c:v>
                </c:pt>
                <c:pt idx="79">
                  <c:v>0.360427807486631</c:v>
                </c:pt>
                <c:pt idx="80">
                  <c:v>0.34097243728708576</c:v>
                </c:pt>
                <c:pt idx="81">
                  <c:v>0.3447978303747535</c:v>
                </c:pt>
                <c:pt idx="82">
                  <c:v>0.3423802838870691</c:v>
                </c:pt>
                <c:pt idx="83">
                  <c:v>0.3319737542117397</c:v>
                </c:pt>
                <c:pt idx="84">
                  <c:v>0.34851596042561134</c:v>
                </c:pt>
                <c:pt idx="85">
                  <c:v>0.36825127334465196</c:v>
                </c:pt>
                <c:pt idx="86">
                  <c:v>0.35945548197203825</c:v>
                </c:pt>
                <c:pt idx="87">
                  <c:v>0.37491863744847037</c:v>
                </c:pt>
                <c:pt idx="88">
                  <c:v>0.36312692630989074</c:v>
                </c:pt>
                <c:pt idx="89">
                  <c:v>0.3593975324467233</c:v>
                </c:pt>
                <c:pt idx="90">
                  <c:v>0.34738756613756616</c:v>
                </c:pt>
                <c:pt idx="91">
                  <c:v>0.3123387463955077</c:v>
                </c:pt>
                <c:pt idx="92">
                  <c:v>0.34136897327004745</c:v>
                </c:pt>
                <c:pt idx="93">
                  <c:v>0.32392344497607656</c:v>
                </c:pt>
                <c:pt idx="94">
                  <c:v>0.3214096449390567</c:v>
                </c:pt>
                <c:pt idx="95">
                  <c:v>0.32586031921764</c:v>
                </c:pt>
                <c:pt idx="96">
                  <c:v>0.3423314626696029</c:v>
                </c:pt>
                <c:pt idx="97">
                  <c:v>0.34330954237389794</c:v>
                </c:pt>
                <c:pt idx="98">
                  <c:v>0.3523453327099891</c:v>
                </c:pt>
                <c:pt idx="99">
                  <c:v>0.3593200201069323</c:v>
                </c:pt>
                <c:pt idx="100">
                  <c:v>0.35648460328163634</c:v>
                </c:pt>
                <c:pt idx="101">
                  <c:v>0.3588744340649894</c:v>
                </c:pt>
                <c:pt idx="102">
                  <c:v>0.3427196322103297</c:v>
                </c:pt>
                <c:pt idx="103">
                  <c:v>0.3323397913561848</c:v>
                </c:pt>
                <c:pt idx="104">
                  <c:v>0.333919156414762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7.897</c:v>
                </c:pt>
                <c:pt idx="1">
                  <c:v>1269.6109</c:v>
                </c:pt>
                <c:pt idx="2">
                  <c:v>1258.2418</c:v>
                </c:pt>
                <c:pt idx="3">
                  <c:v>1259.2622</c:v>
                </c:pt>
                <c:pt idx="4">
                  <c:v>1268.0421</c:v>
                </c:pt>
                <c:pt idx="5">
                  <c:v>1252.8253</c:v>
                </c:pt>
                <c:pt idx="6">
                  <c:v>1169.7336</c:v>
                </c:pt>
                <c:pt idx="7">
                  <c:v>1206.3029</c:v>
                </c:pt>
                <c:pt idx="8">
                  <c:v>1267.7055</c:v>
                </c:pt>
                <c:pt idx="9">
                  <c:v>1192.5525</c:v>
                </c:pt>
                <c:pt idx="10">
                  <c:v>1230.895</c:v>
                </c:pt>
                <c:pt idx="11">
                  <c:v>1131.9896</c:v>
                </c:pt>
                <c:pt idx="12">
                  <c:v>1175.2738</c:v>
                </c:pt>
                <c:pt idx="13">
                  <c:v>1209.3939</c:v>
                </c:pt>
                <c:pt idx="14">
                  <c:v>1210.9859</c:v>
                </c:pt>
                <c:pt idx="15">
                  <c:v>1220.7391</c:v>
                </c:pt>
                <c:pt idx="16">
                  <c:v>1269.1077</c:v>
                </c:pt>
                <c:pt idx="17">
                  <c:v>1249.6494</c:v>
                </c:pt>
                <c:pt idx="18">
                  <c:v>1235.7668</c:v>
                </c:pt>
                <c:pt idx="19">
                  <c:v>1328.1409</c:v>
                </c:pt>
                <c:pt idx="20">
                  <c:v>1293.4799</c:v>
                </c:pt>
                <c:pt idx="21">
                  <c:v>1212.1982</c:v>
                </c:pt>
                <c:pt idx="22">
                  <c:v>1251.8176</c:v>
                </c:pt>
                <c:pt idx="23">
                  <c:v>1232.2061</c:v>
                </c:pt>
                <c:pt idx="24">
                  <c:v>1220.0496</c:v>
                </c:pt>
                <c:pt idx="25">
                  <c:v>1208.6593</c:v>
                </c:pt>
                <c:pt idx="26">
                  <c:v>1239.9295</c:v>
                </c:pt>
                <c:pt idx="27">
                  <c:v>1253.135</c:v>
                </c:pt>
                <c:pt idx="28">
                  <c:v>1287.4277</c:v>
                </c:pt>
                <c:pt idx="29">
                  <c:v>1288.0755</c:v>
                </c:pt>
                <c:pt idx="30">
                  <c:v>1283.5862</c:v>
                </c:pt>
                <c:pt idx="31">
                  <c:v>1261.2472</c:v>
                </c:pt>
                <c:pt idx="32">
                  <c:v>1293.0072</c:v>
                </c:pt>
                <c:pt idx="33">
                  <c:v>1298.5458</c:v>
                </c:pt>
                <c:pt idx="34">
                  <c:v>1308.7791</c:v>
                </c:pt>
                <c:pt idx="35">
                  <c:v>1333.1012</c:v>
                </c:pt>
                <c:pt idx="36">
                  <c:v>1341.7045</c:v>
                </c:pt>
                <c:pt idx="37">
                  <c:v>1341.9206</c:v>
                </c:pt>
                <c:pt idx="38">
                  <c:v>1344.6167</c:v>
                </c:pt>
                <c:pt idx="39">
                  <c:v>1310.7576</c:v>
                </c:pt>
                <c:pt idx="40">
                  <c:v>1331.8704</c:v>
                </c:pt>
                <c:pt idx="41">
                  <c:v>1364.9935</c:v>
                </c:pt>
                <c:pt idx="42">
                  <c:v>1344.7463</c:v>
                </c:pt>
                <c:pt idx="43">
                  <c:v>1355.1128</c:v>
                </c:pt>
                <c:pt idx="44">
                  <c:v>1284.2225</c:v>
                </c:pt>
                <c:pt idx="45">
                  <c:v>1241.9079</c:v>
                </c:pt>
                <c:pt idx="46">
                  <c:v>1243.1837</c:v>
                </c:pt>
                <c:pt idx="47">
                  <c:v>1214.323</c:v>
                </c:pt>
                <c:pt idx="48">
                  <c:v>1194.7574</c:v>
                </c:pt>
                <c:pt idx="49">
                  <c:v>1202.1403</c:v>
                </c:pt>
                <c:pt idx="50">
                  <c:v>1154.8166</c:v>
                </c:pt>
                <c:pt idx="51">
                  <c:v>1134.5836</c:v>
                </c:pt>
              </c:numCache>
            </c:numRef>
          </c:xVal>
          <c:yVal>
            <c:numRef>
              <c:f>Sheet1!$B$109:$B$160</c:f>
              <c:numCache>
                <c:formatCode>General</c:formatCode>
                <c:ptCount val="52"/>
                <c:pt idx="0">
                  <c:v>0.35995872033023735</c:v>
                </c:pt>
                <c:pt idx="1">
                  <c:v>0.357406314547064</c:v>
                </c:pt>
                <c:pt idx="2">
                  <c:v>0.3687352400944634</c:v>
                </c:pt>
                <c:pt idx="3">
                  <c:v>0.39424272162250573</c:v>
                </c:pt>
                <c:pt idx="4">
                  <c:v>0.38426323319027184</c:v>
                </c:pt>
                <c:pt idx="5">
                  <c:v>0.36295992900539287</c:v>
                </c:pt>
                <c:pt idx="6">
                  <c:v>0.3866143330852</c:v>
                </c:pt>
                <c:pt idx="7">
                  <c:v>0.36999000272652915</c:v>
                </c:pt>
                <c:pt idx="8">
                  <c:v>0.36480235492010094</c:v>
                </c:pt>
                <c:pt idx="9">
                  <c:v>0.3698077824660103</c:v>
                </c:pt>
                <c:pt idx="10">
                  <c:v>0.3666456209975647</c:v>
                </c:pt>
                <c:pt idx="11">
                  <c:v>0.3721678597228607</c:v>
                </c:pt>
                <c:pt idx="12">
                  <c:v>0.377632479282293</c:v>
                </c:pt>
                <c:pt idx="13">
                  <c:v>0.3823341836734694</c:v>
                </c:pt>
                <c:pt idx="14">
                  <c:v>0.3853186813186813</c:v>
                </c:pt>
                <c:pt idx="15">
                  <c:v>0.3730682246513381</c:v>
                </c:pt>
                <c:pt idx="16">
                  <c:v>0.3577473958333333</c:v>
                </c:pt>
                <c:pt idx="17">
                  <c:v>0.35038246375156984</c:v>
                </c:pt>
                <c:pt idx="18">
                  <c:v>0.35927577354411566</c:v>
                </c:pt>
                <c:pt idx="19">
                  <c:v>0.3584526500879176</c:v>
                </c:pt>
                <c:pt idx="20">
                  <c:v>0.36460858405817764</c:v>
                </c:pt>
                <c:pt idx="21">
                  <c:v>0.36896197327852004</c:v>
                </c:pt>
                <c:pt idx="22">
                  <c:v>0.35856164383561645</c:v>
                </c:pt>
                <c:pt idx="23">
                  <c:v>0.3732501264968797</c:v>
                </c:pt>
                <c:pt idx="24">
                  <c:v>0.38729641693811073</c:v>
                </c:pt>
                <c:pt idx="25">
                  <c:v>0.37851620332291497</c:v>
                </c:pt>
                <c:pt idx="26">
                  <c:v>0.3610056925996205</c:v>
                </c:pt>
                <c:pt idx="27">
                  <c:v>0.35539387155449836</c:v>
                </c:pt>
                <c:pt idx="28">
                  <c:v>0.3462710292754007</c:v>
                </c:pt>
                <c:pt idx="29">
                  <c:v>0.34827367754197025</c:v>
                </c:pt>
                <c:pt idx="30">
                  <c:v>0.3505646572292031</c:v>
                </c:pt>
                <c:pt idx="31">
                  <c:v>0.3485915492957746</c:v>
                </c:pt>
                <c:pt idx="32">
                  <c:v>0.346096221075412</c:v>
                </c:pt>
                <c:pt idx="33">
                  <c:v>0.3534628929176992</c:v>
                </c:pt>
                <c:pt idx="34">
                  <c:v>0.38005709223348755</c:v>
                </c:pt>
                <c:pt idx="35">
                  <c:v>0.3613193403298351</c:v>
                </c:pt>
                <c:pt idx="36">
                  <c:v>0.35309137333576507</c:v>
                </c:pt>
                <c:pt idx="37">
                  <c:v>0.3512700534759358</c:v>
                </c:pt>
                <c:pt idx="38">
                  <c:v>0.35485714285714287</c:v>
                </c:pt>
                <c:pt idx="39">
                  <c:v>0.365</c:v>
                </c:pt>
                <c:pt idx="40">
                  <c:v>0.36466271521309623</c:v>
                </c:pt>
                <c:pt idx="41">
                  <c:v>0.35534631755449503</c:v>
                </c:pt>
                <c:pt idx="42">
                  <c:v>0.36407483192049106</c:v>
                </c:pt>
                <c:pt idx="43">
                  <c:v>0.35544086966070054</c:v>
                </c:pt>
                <c:pt idx="44">
                  <c:v>0.3527103486037598</c:v>
                </c:pt>
                <c:pt idx="45">
                  <c:v>0.36231604652657284</c:v>
                </c:pt>
                <c:pt idx="46">
                  <c:v>0.37525370804059327</c:v>
                </c:pt>
                <c:pt idx="47">
                  <c:v>0.3708618721461187</c:v>
                </c:pt>
                <c:pt idx="48">
                  <c:v>0.3560686796921255</c:v>
                </c:pt>
                <c:pt idx="49">
                  <c:v>0.3724536661803642</c:v>
                </c:pt>
                <c:pt idx="50">
                  <c:v>0.3828300474170202</c:v>
                </c:pt>
                <c:pt idx="51">
                  <c:v>0.382439148719255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82.3849602709615</c:v>
                </c:pt>
              </c:numCache>
            </c:numRef>
          </c:xVal>
          <c:yVal>
            <c:numRef>
              <c:f>Sheet1!$B$163:$B$164</c:f>
              <c:numCache>
                <c:formatCode>General</c:formatCode>
                <c:ptCount val="2"/>
                <c:pt idx="0">
                  <c:v>0.44733894470643065</c:v>
                </c:pt>
                <c:pt idx="1">
                  <c:v>0.4473389447064306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82.3849602709615</c:v>
                </c:pt>
                <c:pt idx="1">
                  <c:v>582.3849602709615</c:v>
                </c:pt>
              </c:numCache>
            </c:numRef>
          </c:xVal>
          <c:yVal>
            <c:numRef>
              <c:f>Sheet1!$B$167:$B$168</c:f>
              <c:numCache>
                <c:formatCode>General</c:formatCode>
                <c:ptCount val="2"/>
                <c:pt idx="0">
                  <c:v>0.4473389447064306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90.5111520795047</c:v>
                </c:pt>
              </c:numCache>
            </c:numRef>
          </c:xVal>
          <c:yVal>
            <c:numRef>
              <c:f>Sheet1!$B$171:$B$172</c:f>
              <c:numCache>
                <c:formatCode>General</c:formatCode>
                <c:ptCount val="2"/>
                <c:pt idx="0">
                  <c:v>0.37344788550219143</c:v>
                </c:pt>
                <c:pt idx="1">
                  <c:v>0.3734478855021914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90.5111520795047</c:v>
                </c:pt>
                <c:pt idx="1">
                  <c:v>1190.5111520795047</c:v>
                </c:pt>
              </c:numCache>
            </c:numRef>
          </c:xVal>
          <c:yVal>
            <c:numRef>
              <c:f>Sheet1!$B$175:$B$176</c:f>
              <c:numCache>
                <c:formatCode>General</c:formatCode>
                <c:ptCount val="2"/>
                <c:pt idx="0">
                  <c:v>0.3734478855021914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50.8843397301891</c:v>
                </c:pt>
              </c:numCache>
            </c:numRef>
          </c:xVal>
          <c:yVal>
            <c:numRef>
              <c:f>Sheet1!$B$179:$B$180</c:f>
              <c:numCache>
                <c:formatCode>General</c:formatCode>
                <c:ptCount val="2"/>
                <c:pt idx="0">
                  <c:v>0.3661121732057379</c:v>
                </c:pt>
                <c:pt idx="1">
                  <c:v>0.366112173205737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50.8843397301891</c:v>
                </c:pt>
                <c:pt idx="1">
                  <c:v>1250.8843397301891</c:v>
                </c:pt>
              </c:numCache>
            </c:numRef>
          </c:xVal>
          <c:yVal>
            <c:numRef>
              <c:f>Sheet1!$B$183:$B$184</c:f>
              <c:numCache>
                <c:formatCode>General</c:formatCode>
                <c:ptCount val="2"/>
                <c:pt idx="0">
                  <c:v>0.366112173205737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7.897</c:v>
                </c:pt>
                <c:pt idx="1">
                  <c:v>1269.6109</c:v>
                </c:pt>
                <c:pt idx="2">
                  <c:v>1258.2418</c:v>
                </c:pt>
                <c:pt idx="3">
                  <c:v>1259.2622</c:v>
                </c:pt>
                <c:pt idx="4">
                  <c:v>1268.0421</c:v>
                </c:pt>
                <c:pt idx="5">
                  <c:v>1252.8253</c:v>
                </c:pt>
                <c:pt idx="6">
                  <c:v>1169.7336</c:v>
                </c:pt>
                <c:pt idx="7">
                  <c:v>1206.3029</c:v>
                </c:pt>
                <c:pt idx="8">
                  <c:v>1267.7055</c:v>
                </c:pt>
                <c:pt idx="9">
                  <c:v>1192.5525</c:v>
                </c:pt>
                <c:pt idx="10">
                  <c:v>1230.895</c:v>
                </c:pt>
                <c:pt idx="11">
                  <c:v>1131.9896</c:v>
                </c:pt>
                <c:pt idx="12">
                  <c:v>1175.2738</c:v>
                </c:pt>
                <c:pt idx="13">
                  <c:v>1209.3939</c:v>
                </c:pt>
                <c:pt idx="14">
                  <c:v>1210.9859</c:v>
                </c:pt>
                <c:pt idx="15">
                  <c:v>1220.7391</c:v>
                </c:pt>
                <c:pt idx="16">
                  <c:v>1269.1077</c:v>
                </c:pt>
                <c:pt idx="17">
                  <c:v>1249.6494</c:v>
                </c:pt>
                <c:pt idx="18">
                  <c:v>1235.7668</c:v>
                </c:pt>
                <c:pt idx="19">
                  <c:v>1328.1409</c:v>
                </c:pt>
                <c:pt idx="20">
                  <c:v>1293.4799</c:v>
                </c:pt>
                <c:pt idx="21">
                  <c:v>1212.1982</c:v>
                </c:pt>
                <c:pt idx="22">
                  <c:v>1251.8176</c:v>
                </c:pt>
                <c:pt idx="23">
                  <c:v>1232.2061</c:v>
                </c:pt>
                <c:pt idx="24">
                  <c:v>1220.0496</c:v>
                </c:pt>
                <c:pt idx="25">
                  <c:v>1208.6593</c:v>
                </c:pt>
                <c:pt idx="26">
                  <c:v>1239.9295</c:v>
                </c:pt>
                <c:pt idx="27">
                  <c:v>1253.135</c:v>
                </c:pt>
                <c:pt idx="28">
                  <c:v>1287.4277</c:v>
                </c:pt>
                <c:pt idx="29">
                  <c:v>1288.0755</c:v>
                </c:pt>
                <c:pt idx="30">
                  <c:v>1283.5862</c:v>
                </c:pt>
                <c:pt idx="31">
                  <c:v>1261.2472</c:v>
                </c:pt>
                <c:pt idx="32">
                  <c:v>1293.0072</c:v>
                </c:pt>
                <c:pt idx="33">
                  <c:v>1298.5458</c:v>
                </c:pt>
                <c:pt idx="34">
                  <c:v>1308.7791</c:v>
                </c:pt>
                <c:pt idx="35">
                  <c:v>1333.1012</c:v>
                </c:pt>
                <c:pt idx="36">
                  <c:v>1341.7045</c:v>
                </c:pt>
                <c:pt idx="37">
                  <c:v>1341.9206</c:v>
                </c:pt>
                <c:pt idx="38">
                  <c:v>1344.6167</c:v>
                </c:pt>
                <c:pt idx="39">
                  <c:v>1310.7576</c:v>
                </c:pt>
                <c:pt idx="40">
                  <c:v>1331.8704</c:v>
                </c:pt>
                <c:pt idx="41">
                  <c:v>1364.9935</c:v>
                </c:pt>
                <c:pt idx="42">
                  <c:v>1344.7463</c:v>
                </c:pt>
                <c:pt idx="43">
                  <c:v>1355.1128</c:v>
                </c:pt>
                <c:pt idx="44">
                  <c:v>1284.2225</c:v>
                </c:pt>
                <c:pt idx="45">
                  <c:v>1241.9079</c:v>
                </c:pt>
                <c:pt idx="46">
                  <c:v>1243.1837</c:v>
                </c:pt>
                <c:pt idx="47">
                  <c:v>1214.323</c:v>
                </c:pt>
                <c:pt idx="48">
                  <c:v>1194.7574</c:v>
                </c:pt>
                <c:pt idx="49">
                  <c:v>1202.1403</c:v>
                </c:pt>
                <c:pt idx="50">
                  <c:v>1154.8166</c:v>
                </c:pt>
                <c:pt idx="51">
                  <c:v>1134.5836</c:v>
                </c:pt>
                <c:pt idx="52">
                  <c:v>1190.5111520795047</c:v>
                </c:pt>
                <c:pt idx="53">
                  <c:v>582.3849602709615</c:v>
                </c:pt>
                <c:pt idx="54">
                  <c:v>1250.8843397301891</c:v>
                </c:pt>
              </c:numCache>
            </c:numRef>
          </c:xVal>
          <c:yVal>
            <c:numRef>
              <c:f>Sheet1!$B$187:$B$241</c:f>
              <c:numCache>
                <c:formatCode>General</c:formatCode>
                <c:ptCount val="55"/>
                <c:pt idx="0">
                  <c:v>0.36526009200588894</c:v>
                </c:pt>
                <c:pt idx="1">
                  <c:v>0.3638367813672887</c:v>
                </c:pt>
                <c:pt idx="2">
                  <c:v>0.3652181966927832</c:v>
                </c:pt>
                <c:pt idx="3">
                  <c:v>0.36509421183926494</c:v>
                </c:pt>
                <c:pt idx="4">
                  <c:v>0.36402740018167473</c:v>
                </c:pt>
                <c:pt idx="5">
                  <c:v>0.36587633463778685</c:v>
                </c:pt>
                <c:pt idx="6">
                  <c:v>0.37597248541501543</c:v>
                </c:pt>
                <c:pt idx="7">
                  <c:v>0.37152909135017254</c:v>
                </c:pt>
                <c:pt idx="8">
                  <c:v>0.36406829914452676</c:v>
                </c:pt>
                <c:pt idx="9">
                  <c:v>0.37319984921945676</c:v>
                </c:pt>
                <c:pt idx="10">
                  <c:v>0.3685410004875631</c:v>
                </c:pt>
                <c:pt idx="11">
                  <c:v>0.38055861272900365</c:v>
                </c:pt>
                <c:pt idx="12">
                  <c:v>0.3752993171619167</c:v>
                </c:pt>
                <c:pt idx="13">
                  <c:v>0.37115351590698853</c:v>
                </c:pt>
                <c:pt idx="14">
                  <c:v>0.3709600781504214</c:v>
                </c:pt>
                <c:pt idx="15">
                  <c:v>0.3697750045779651</c:v>
                </c:pt>
                <c:pt idx="16">
                  <c:v>0.3638979232511484</c:v>
                </c:pt>
                <c:pt idx="17">
                  <c:v>0.3662622259512802</c:v>
                </c:pt>
                <c:pt idx="18">
                  <c:v>0.36794904693075176</c:v>
                </c:pt>
                <c:pt idx="19">
                  <c:v>0.35672502766636327</c:v>
                </c:pt>
                <c:pt idx="20">
                  <c:v>0.3609365515861954</c:v>
                </c:pt>
                <c:pt idx="21">
                  <c:v>0.3708127762708446</c:v>
                </c:pt>
                <c:pt idx="22">
                  <c:v>0.3659987763634732</c:v>
                </c:pt>
                <c:pt idx="23">
                  <c:v>0.36838169380249075</c:v>
                </c:pt>
                <c:pt idx="24">
                  <c:v>0.3698587830535638</c:v>
                </c:pt>
                <c:pt idx="25">
                  <c:v>0.37124277430898234</c:v>
                </c:pt>
                <c:pt idx="26">
                  <c:v>0.36744325336965755</c:v>
                </c:pt>
                <c:pt idx="27">
                  <c:v>0.36583870418979136</c:v>
                </c:pt>
                <c:pt idx="28">
                  <c:v>0.3616719309770846</c:v>
                </c:pt>
                <c:pt idx="29">
                  <c:v>0.36159321930704424</c:v>
                </c:pt>
                <c:pt idx="30">
                  <c:v>0.36213869676970556</c:v>
                </c:pt>
                <c:pt idx="31">
                  <c:v>0.3648530221741985</c:v>
                </c:pt>
                <c:pt idx="32">
                  <c:v>0.36099398753313594</c:v>
                </c:pt>
                <c:pt idx="33">
                  <c:v>0.3603210136898428</c:v>
                </c:pt>
                <c:pt idx="34">
                  <c:v>0.35907760502509517</c:v>
                </c:pt>
                <c:pt idx="35">
                  <c:v>0.35612232081717987</c:v>
                </c:pt>
                <c:pt idx="36">
                  <c:v>0.35507696714188225</c:v>
                </c:pt>
                <c:pt idx="37">
                  <c:v>0.35505070966751406</c:v>
                </c:pt>
                <c:pt idx="38">
                  <c:v>0.35472311699447345</c:v>
                </c:pt>
                <c:pt idx="39">
                  <c:v>0.358837205149864</c:v>
                </c:pt>
                <c:pt idx="40">
                  <c:v>0.35627187056013393</c:v>
                </c:pt>
                <c:pt idx="41">
                  <c:v>0.3522472109153172</c:v>
                </c:pt>
                <c:pt idx="42">
                  <c:v>0.3547073698002203</c:v>
                </c:pt>
                <c:pt idx="43">
                  <c:v>0.3534477765191568</c:v>
                </c:pt>
                <c:pt idx="44">
                  <c:v>0.36206138242014296</c:v>
                </c:pt>
                <c:pt idx="45">
                  <c:v>0.36720286564503923</c:v>
                </c:pt>
                <c:pt idx="46">
                  <c:v>0.36704784812630287</c:v>
                </c:pt>
                <c:pt idx="47">
                  <c:v>0.3705546000490143</c:v>
                </c:pt>
                <c:pt idx="48">
                  <c:v>0.3729319403567339</c:v>
                </c:pt>
                <c:pt idx="49">
                  <c:v>0.37203487276065383</c:v>
                </c:pt>
                <c:pt idx="50">
                  <c:v>0.37778499233380414</c:v>
                </c:pt>
                <c:pt idx="51">
                  <c:v>0.38024342583168264</c:v>
                </c:pt>
                <c:pt idx="52">
                  <c:v>0.37344788550219143</c:v>
                </c:pt>
                <c:pt idx="53">
                  <c:v>0.44733894470643065</c:v>
                </c:pt>
                <c:pt idx="54">
                  <c:v>0.36611217320573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38.0"/>
          <c:min val="46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72942763538254"/>
          <c:min val="0.2498709971164061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9</c:f>
              <c:numCache>
                <c:formatCode>General</c:formatCode>
                <c:ptCount val="68"/>
                <c:pt idx="0">
                  <c:v>0.21589200201714573</c:v>
                </c:pt>
                <c:pt idx="1">
                  <c:v>0.16038643229490146</c:v>
                </c:pt>
                <c:pt idx="2">
                  <c:v>0.16351896475618538</c:v>
                </c:pt>
                <c:pt idx="3">
                  <c:v>0.15946264329861992</c:v>
                </c:pt>
                <c:pt idx="4">
                  <c:v>0.17014993780306367</c:v>
                </c:pt>
                <c:pt idx="5">
                  <c:v>0.1689351895101891</c:v>
                </c:pt>
                <c:pt idx="6">
                  <c:v>0.16042900553063805</c:v>
                </c:pt>
                <c:pt idx="7">
                  <c:v>0.16459711320035642</c:v>
                </c:pt>
                <c:pt idx="8">
                  <c:v>0.15629164983513733</c:v>
                </c:pt>
                <c:pt idx="9">
                  <c:v>0.1554306285080729</c:v>
                </c:pt>
                <c:pt idx="10">
                  <c:v>0.15455466117851324</c:v>
                </c:pt>
                <c:pt idx="11">
                  <c:v>0.15919351952781038</c:v>
                </c:pt>
                <c:pt idx="12">
                  <c:v>0.14724430642425174</c:v>
                </c:pt>
                <c:pt idx="13">
                  <c:v>0.1496478325744153</c:v>
                </c:pt>
                <c:pt idx="14">
                  <c:v>0.14475512747430944</c:v>
                </c:pt>
                <c:pt idx="15">
                  <c:v>0.16154363652013673</c:v>
                </c:pt>
                <c:pt idx="16">
                  <c:v>0.1853299424767675</c:v>
                </c:pt>
                <c:pt idx="17">
                  <c:v>0.18051942623679917</c:v>
                </c:pt>
                <c:pt idx="18">
                  <c:v>0.16692841816620876</c:v>
                </c:pt>
                <c:pt idx="19">
                  <c:v>0.16745082250262858</c:v>
                </c:pt>
                <c:pt idx="20">
                  <c:v>0.17591097281386528</c:v>
                </c:pt>
                <c:pt idx="21">
                  <c:v>0.16361587934064978</c:v>
                </c:pt>
                <c:pt idx="22">
                  <c:v>0.1591211945368339</c:v>
                </c:pt>
                <c:pt idx="23">
                  <c:v>0.17171486122099008</c:v>
                </c:pt>
                <c:pt idx="24">
                  <c:v>0.16837205782107867</c:v>
                </c:pt>
                <c:pt idx="25">
                  <c:v>0.1694342721567427</c:v>
                </c:pt>
                <c:pt idx="26">
                  <c:v>0.17254226086183327</c:v>
                </c:pt>
                <c:pt idx="27">
                  <c:v>0.17354565746058853</c:v>
                </c:pt>
                <c:pt idx="28">
                  <c:v>0.17639998107485452</c:v>
                </c:pt>
                <c:pt idx="29">
                  <c:v>0.18068987495589448</c:v>
                </c:pt>
                <c:pt idx="30">
                  <c:v>0.17598221283631046</c:v>
                </c:pt>
                <c:pt idx="31">
                  <c:v>0.16784663512961295</c:v>
                </c:pt>
                <c:pt idx="32">
                  <c:v>0.1668756160809963</c:v>
                </c:pt>
                <c:pt idx="33">
                  <c:v>0.18131452805656206</c:v>
                </c:pt>
                <c:pt idx="34">
                  <c:v>0.19882005856373286</c:v>
                </c:pt>
                <c:pt idx="35">
                  <c:v>0.2019986113760362</c:v>
                </c:pt>
                <c:pt idx="36">
                  <c:v>0.19544490978733697</c:v>
                </c:pt>
                <c:pt idx="37">
                  <c:v>0.21642768157812445</c:v>
                </c:pt>
                <c:pt idx="38">
                  <c:v>0.1872020038739829</c:v>
                </c:pt>
                <c:pt idx="39">
                  <c:v>0.17868700517649092</c:v>
                </c:pt>
                <c:pt idx="40">
                  <c:v>0.16892243145295394</c:v>
                </c:pt>
                <c:pt idx="41">
                  <c:v>0.17220557328649067</c:v>
                </c:pt>
                <c:pt idx="42">
                  <c:v>0.17374244272993328</c:v>
                </c:pt>
                <c:pt idx="43">
                  <c:v>0.1852326349223332</c:v>
                </c:pt>
                <c:pt idx="44">
                  <c:v>0.21078116809601471</c:v>
                </c:pt>
                <c:pt idx="45">
                  <c:v>0.20921469104755877</c:v>
                </c:pt>
                <c:pt idx="46">
                  <c:v>0.20825716109350412</c:v>
                </c:pt>
                <c:pt idx="47">
                  <c:v>0.24359969111445096</c:v>
                </c:pt>
                <c:pt idx="48">
                  <c:v>0.21316150964738179</c:v>
                </c:pt>
                <c:pt idx="49">
                  <c:v>0.22287845615868931</c:v>
                </c:pt>
                <c:pt idx="50">
                  <c:v>0.2203337847816223</c:v>
                </c:pt>
                <c:pt idx="51">
                  <c:v>0.19423355755951288</c:v>
                </c:pt>
                <c:pt idx="52">
                  <c:v>0.20335990997113534</c:v>
                </c:pt>
                <c:pt idx="53">
                  <c:v>0.22939442444817215</c:v>
                </c:pt>
                <c:pt idx="54">
                  <c:v>0.22437540736494815</c:v>
                </c:pt>
                <c:pt idx="55">
                  <c:v>0.23112967290283684</c:v>
                </c:pt>
                <c:pt idx="56">
                  <c:v>0.22318018281383062</c:v>
                </c:pt>
                <c:pt idx="57">
                  <c:v>0.21849758358724367</c:v>
                </c:pt>
                <c:pt idx="58">
                  <c:v>0.21338415065478147</c:v>
                </c:pt>
                <c:pt idx="59">
                  <c:v>0.2076092459480876</c:v>
                </c:pt>
                <c:pt idx="60">
                  <c:v>0.20528512983500136</c:v>
                </c:pt>
                <c:pt idx="61">
                  <c:v>0.2098732303434606</c:v>
                </c:pt>
                <c:pt idx="62">
                  <c:v>0.20738905671912944</c:v>
                </c:pt>
                <c:pt idx="63">
                  <c:v>0.2083800093045282</c:v>
                </c:pt>
                <c:pt idx="64">
                  <c:v>0.19787856782112834</c:v>
                </c:pt>
                <c:pt idx="65">
                  <c:v>0.18819135513938146</c:v>
                </c:pt>
                <c:pt idx="66">
                  <c:v>0.20119458843462057</c:v>
                </c:pt>
                <c:pt idx="67">
                  <c:v>0.21174153280254893</c:v>
                </c:pt>
              </c:numCache>
            </c:numRef>
          </c:xVal>
          <c:yVal>
            <c:numRef>
              <c:f>Sheet1!$B$2:$B$69</c:f>
              <c:numCache>
                <c:formatCode>General</c:formatCode>
                <c:ptCount val="68"/>
                <c:pt idx="0">
                  <c:v>0.4075077399380805</c:v>
                </c:pt>
                <c:pt idx="1">
                  <c:v>0.39748668214724764</c:v>
                </c:pt>
                <c:pt idx="2">
                  <c:v>0.3749816688664027</c:v>
                </c:pt>
                <c:pt idx="3">
                  <c:v>0.38167570825798675</c:v>
                </c:pt>
                <c:pt idx="4">
                  <c:v>0.357347950926651</c:v>
                </c:pt>
                <c:pt idx="5">
                  <c:v>0.35631929046563193</c:v>
                </c:pt>
                <c:pt idx="6">
                  <c:v>0.36905115266646876</c:v>
                </c:pt>
                <c:pt idx="7">
                  <c:v>0.35878014749850506</c:v>
                </c:pt>
                <c:pt idx="8">
                  <c:v>0.373055438765091</c:v>
                </c:pt>
                <c:pt idx="9">
                  <c:v>0.38929900194885725</c:v>
                </c:pt>
                <c:pt idx="10">
                  <c:v>0.3724441274369948</c:v>
                </c:pt>
                <c:pt idx="11">
                  <c:v>0.3642566010987064</c:v>
                </c:pt>
                <c:pt idx="12">
                  <c:v>0.38445875131007634</c:v>
                </c:pt>
                <c:pt idx="13">
                  <c:v>0.36978928080622997</c:v>
                </c:pt>
                <c:pt idx="14">
                  <c:v>0.3766857962697274</c:v>
                </c:pt>
                <c:pt idx="15">
                  <c:v>0.38061652581017813</c:v>
                </c:pt>
                <c:pt idx="16">
                  <c:v>0.3790246212121212</c:v>
                </c:pt>
                <c:pt idx="17">
                  <c:v>0.40068522483940044</c:v>
                </c:pt>
                <c:pt idx="18">
                  <c:v>0.4001251788268956</c:v>
                </c:pt>
                <c:pt idx="19">
                  <c:v>0.38277686553548623</c:v>
                </c:pt>
                <c:pt idx="20">
                  <c:v>0.38703213913601026</c:v>
                </c:pt>
                <c:pt idx="21">
                  <c:v>0.3917849247664551</c:v>
                </c:pt>
                <c:pt idx="22">
                  <c:v>0.3953637824190957</c:v>
                </c:pt>
                <c:pt idx="23">
                  <c:v>0.3971971775774206</c:v>
                </c:pt>
                <c:pt idx="24">
                  <c:v>0.39487286951662476</c:v>
                </c:pt>
                <c:pt idx="25">
                  <c:v>0.407296487884563</c:v>
                </c:pt>
                <c:pt idx="26">
                  <c:v>0.41149077713940124</c:v>
                </c:pt>
                <c:pt idx="27">
                  <c:v>0.3869936653687453</c:v>
                </c:pt>
                <c:pt idx="28">
                  <c:v>0.367304148929411</c:v>
                </c:pt>
                <c:pt idx="29">
                  <c:v>0.37426306159788575</c:v>
                </c:pt>
                <c:pt idx="30">
                  <c:v>0.3538733639900955</c:v>
                </c:pt>
                <c:pt idx="31">
                  <c:v>0.3529885468861847</c:v>
                </c:pt>
                <c:pt idx="32">
                  <c:v>0.3432179501634908</c:v>
                </c:pt>
                <c:pt idx="33">
                  <c:v>0.34660344067048965</c:v>
                </c:pt>
                <c:pt idx="34">
                  <c:v>0.3533198235784957</c:v>
                </c:pt>
                <c:pt idx="35">
                  <c:v>0.34494159135992947</c:v>
                </c:pt>
                <c:pt idx="36">
                  <c:v>0.35838287752675385</c:v>
                </c:pt>
                <c:pt idx="37">
                  <c:v>0.35987554736114313</c:v>
                </c:pt>
                <c:pt idx="38">
                  <c:v>0.37569426077757206</c:v>
                </c:pt>
                <c:pt idx="39">
                  <c:v>0.36361145362378405</c:v>
                </c:pt>
                <c:pt idx="40">
                  <c:v>0.3721134171294943</c:v>
                </c:pt>
                <c:pt idx="41">
                  <c:v>0.3573715248525695</c:v>
                </c:pt>
                <c:pt idx="42">
                  <c:v>0.360427807486631</c:v>
                </c:pt>
                <c:pt idx="43">
                  <c:v>0.34097243728708576</c:v>
                </c:pt>
                <c:pt idx="44">
                  <c:v>0.3447978303747535</c:v>
                </c:pt>
                <c:pt idx="45">
                  <c:v>0.3423802838870691</c:v>
                </c:pt>
                <c:pt idx="46">
                  <c:v>0.3319737542117397</c:v>
                </c:pt>
                <c:pt idx="47">
                  <c:v>0.34851596042561134</c:v>
                </c:pt>
                <c:pt idx="48">
                  <c:v>0.36825127334465196</c:v>
                </c:pt>
                <c:pt idx="49">
                  <c:v>0.35945548197203825</c:v>
                </c:pt>
                <c:pt idx="50">
                  <c:v>0.37491863744847037</c:v>
                </c:pt>
                <c:pt idx="51">
                  <c:v>0.36312692630989074</c:v>
                </c:pt>
                <c:pt idx="52">
                  <c:v>0.3593975324467233</c:v>
                </c:pt>
                <c:pt idx="53">
                  <c:v>0.34738756613756616</c:v>
                </c:pt>
                <c:pt idx="54">
                  <c:v>0.3123387463955077</c:v>
                </c:pt>
                <c:pt idx="55">
                  <c:v>0.34136897327004745</c:v>
                </c:pt>
                <c:pt idx="56">
                  <c:v>0.32392344497607656</c:v>
                </c:pt>
                <c:pt idx="57">
                  <c:v>0.3214096449390567</c:v>
                </c:pt>
                <c:pt idx="58">
                  <c:v>0.32586031921764</c:v>
                </c:pt>
                <c:pt idx="59">
                  <c:v>0.3423314626696029</c:v>
                </c:pt>
                <c:pt idx="60">
                  <c:v>0.34330954237389794</c:v>
                </c:pt>
                <c:pt idx="61">
                  <c:v>0.3523453327099891</c:v>
                </c:pt>
                <c:pt idx="62">
                  <c:v>0.3593200201069323</c:v>
                </c:pt>
                <c:pt idx="63">
                  <c:v>0.35648460328163634</c:v>
                </c:pt>
                <c:pt idx="64">
                  <c:v>0.3588744340649894</c:v>
                </c:pt>
                <c:pt idx="65">
                  <c:v>0.3427196322103297</c:v>
                </c:pt>
                <c:pt idx="66">
                  <c:v>0.3323397913561848</c:v>
                </c:pt>
                <c:pt idx="67">
                  <c:v>0.3339191564147627</c:v>
                </c:pt>
              </c:numCache>
            </c:numRef>
          </c:yVal>
          <c:smooth val="0"/>
          <c:extLst>
            <c:ext xmlns:c16="http://schemas.microsoft.com/office/drawing/2014/chart" uri="{C3380CC4-5D6E-409C-BE32-E72D297353CC}">
              <c16:uniqueId val="{00000000-096C-4121-9522-6AB7243CCAAE}"/>
            </c:ext>
          </c:extLst>
        </c:ser>
        <c:ser>
          <c:idx val="1"/>
          <c:order val="1"/>
          <c:tx>
            <c:strRef>
              <c:f>Sheet1!$B$7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2:$A$123</c:f>
              <c:numCache>
                <c:formatCode>General</c:formatCode>
                <c:ptCount val="52"/>
                <c:pt idx="0">
                  <c:v>0.21749623115428007</c:v>
                </c:pt>
                <c:pt idx="1">
                  <c:v>0.21811742399142903</c:v>
                </c:pt>
                <c:pt idx="2">
                  <c:v>0.21786631054274977</c:v>
                </c:pt>
                <c:pt idx="3">
                  <c:v>0.23843247780720206</c:v>
                </c:pt>
                <c:pt idx="4">
                  <c:v>0.2361057628579944</c:v>
                </c:pt>
                <c:pt idx="5">
                  <c:v>0.2330445472174284</c:v>
                </c:pt>
                <c:pt idx="6">
                  <c:v>0.2119179353840067</c:v>
                </c:pt>
                <c:pt idx="7">
                  <c:v>0.20482906060113745</c:v>
                </c:pt>
                <c:pt idx="8">
                  <c:v>0.21249636468019664</c:v>
                </c:pt>
                <c:pt idx="9">
                  <c:v>0.2077068258306109</c:v>
                </c:pt>
                <c:pt idx="10">
                  <c:v>0.22456047749826097</c:v>
                </c:pt>
                <c:pt idx="11">
                  <c:v>0.20107913341273667</c:v>
                </c:pt>
                <c:pt idx="12">
                  <c:v>0.19805092514576522</c:v>
                </c:pt>
                <c:pt idx="13">
                  <c:v>0.2000718766887974</c:v>
                </c:pt>
                <c:pt idx="14">
                  <c:v>0.20056320659087187</c:v>
                </c:pt>
                <c:pt idx="15">
                  <c:v>0.19108194183374622</c:v>
                </c:pt>
                <c:pt idx="16">
                  <c:v>0.19249453336891678</c:v>
                </c:pt>
                <c:pt idx="17">
                  <c:v>0.18824703162239825</c:v>
                </c:pt>
                <c:pt idx="18">
                  <c:v>0.19681771385353464</c:v>
                </c:pt>
                <c:pt idx="19">
                  <c:v>0.20921796587768093</c:v>
                </c:pt>
                <c:pt idx="20">
                  <c:v>0.19789400482461914</c:v>
                </c:pt>
                <c:pt idx="21">
                  <c:v>0.1861348608801078</c:v>
                </c:pt>
                <c:pt idx="22">
                  <c:v>0.2109496815071956</c:v>
                </c:pt>
                <c:pt idx="23">
                  <c:v>0.19256502643552167</c:v>
                </c:pt>
                <c:pt idx="24">
                  <c:v>0.16776757830566832</c:v>
                </c:pt>
                <c:pt idx="25">
                  <c:v>0.17163342070124107</c:v>
                </c:pt>
                <c:pt idx="26">
                  <c:v>0.19782337245326814</c:v>
                </c:pt>
                <c:pt idx="27">
                  <c:v>0.20626084841106962</c:v>
                </c:pt>
                <c:pt idx="28">
                  <c:v>0.21923946149107829</c:v>
                </c:pt>
                <c:pt idx="29">
                  <c:v>0.1905739483076272</c:v>
                </c:pt>
                <c:pt idx="30">
                  <c:v>0.1966717016961385</c:v>
                </c:pt>
                <c:pt idx="31">
                  <c:v>0.19964265112859567</c:v>
                </c:pt>
                <c:pt idx="32">
                  <c:v>0.19898200878713815</c:v>
                </c:pt>
                <c:pt idx="33">
                  <c:v>0.17276735670278112</c:v>
                </c:pt>
                <c:pt idx="34">
                  <c:v>0.1741736398119709</c:v>
                </c:pt>
                <c:pt idx="35">
                  <c:v>0.17490538146939572</c:v>
                </c:pt>
                <c:pt idx="36">
                  <c:v>0.17181668495384939</c:v>
                </c:pt>
                <c:pt idx="37">
                  <c:v>0.18570885784716515</c:v>
                </c:pt>
                <c:pt idx="38">
                  <c:v>0.1858151786562562</c:v>
                </c:pt>
                <c:pt idx="39">
                  <c:v>0.18954038700112302</c:v>
                </c:pt>
                <c:pt idx="40">
                  <c:v>0.21369353717915376</c:v>
                </c:pt>
                <c:pt idx="41">
                  <c:v>0.2172448718188674</c:v>
                </c:pt>
                <c:pt idx="42">
                  <c:v>0.19914465967116957</c:v>
                </c:pt>
                <c:pt idx="43">
                  <c:v>0.2000078225329982</c:v>
                </c:pt>
                <c:pt idx="44">
                  <c:v>0.20594587493406147</c:v>
                </c:pt>
                <c:pt idx="45">
                  <c:v>0.20983824377439203</c:v>
                </c:pt>
                <c:pt idx="46">
                  <c:v>0.18788970584568027</c:v>
                </c:pt>
                <c:pt idx="47">
                  <c:v>0.20241344330516509</c:v>
                </c:pt>
                <c:pt idx="48">
                  <c:v>0.26019841337336863</c:v>
                </c:pt>
                <c:pt idx="49">
                  <c:v>0.2184884822480561</c:v>
                </c:pt>
                <c:pt idx="50">
                  <c:v>0.1971556893460342</c:v>
                </c:pt>
                <c:pt idx="51">
                  <c:v>0.2057324496586489</c:v>
                </c:pt>
              </c:numCache>
            </c:numRef>
          </c:xVal>
          <c:yVal>
            <c:numRef>
              <c:f>Sheet1!$B$72:$B$123</c:f>
              <c:numCache>
                <c:formatCode>General</c:formatCode>
                <c:ptCount val="52"/>
                <c:pt idx="0">
                  <c:v>0.35995872033023735</c:v>
                </c:pt>
                <c:pt idx="1">
                  <c:v>0.357406314547064</c:v>
                </c:pt>
                <c:pt idx="2">
                  <c:v>0.3687352400944634</c:v>
                </c:pt>
                <c:pt idx="3">
                  <c:v>0.39424272162250573</c:v>
                </c:pt>
                <c:pt idx="4">
                  <c:v>0.38426323319027184</c:v>
                </c:pt>
                <c:pt idx="5">
                  <c:v>0.36295992900539287</c:v>
                </c:pt>
                <c:pt idx="6">
                  <c:v>0.3866143330852</c:v>
                </c:pt>
                <c:pt idx="7">
                  <c:v>0.36999000272652915</c:v>
                </c:pt>
                <c:pt idx="8">
                  <c:v>0.36480235492010094</c:v>
                </c:pt>
                <c:pt idx="9">
                  <c:v>0.3698077824660103</c:v>
                </c:pt>
                <c:pt idx="10">
                  <c:v>0.3666456209975647</c:v>
                </c:pt>
                <c:pt idx="11">
                  <c:v>0.3721678597228607</c:v>
                </c:pt>
                <c:pt idx="12">
                  <c:v>0.377632479282293</c:v>
                </c:pt>
                <c:pt idx="13">
                  <c:v>0.3823341836734694</c:v>
                </c:pt>
                <c:pt idx="14">
                  <c:v>0.3853186813186813</c:v>
                </c:pt>
                <c:pt idx="15">
                  <c:v>0.3730682246513381</c:v>
                </c:pt>
                <c:pt idx="16">
                  <c:v>0.3577473958333333</c:v>
                </c:pt>
                <c:pt idx="17">
                  <c:v>0.35038246375156984</c:v>
                </c:pt>
                <c:pt idx="18">
                  <c:v>0.35927577354411566</c:v>
                </c:pt>
                <c:pt idx="19">
                  <c:v>0.3584526500879176</c:v>
                </c:pt>
                <c:pt idx="20">
                  <c:v>0.36460858405817764</c:v>
                </c:pt>
                <c:pt idx="21">
                  <c:v>0.36896197327852004</c:v>
                </c:pt>
                <c:pt idx="22">
                  <c:v>0.35856164383561645</c:v>
                </c:pt>
                <c:pt idx="23">
                  <c:v>0.3732501264968797</c:v>
                </c:pt>
                <c:pt idx="24">
                  <c:v>0.38729641693811073</c:v>
                </c:pt>
                <c:pt idx="25">
                  <c:v>0.37851620332291497</c:v>
                </c:pt>
                <c:pt idx="26">
                  <c:v>0.3610056925996205</c:v>
                </c:pt>
                <c:pt idx="27">
                  <c:v>0.35539387155449836</c:v>
                </c:pt>
                <c:pt idx="28">
                  <c:v>0.3462710292754007</c:v>
                </c:pt>
                <c:pt idx="29">
                  <c:v>0.34827367754197025</c:v>
                </c:pt>
                <c:pt idx="30">
                  <c:v>0.3505646572292031</c:v>
                </c:pt>
                <c:pt idx="31">
                  <c:v>0.3485915492957746</c:v>
                </c:pt>
                <c:pt idx="32">
                  <c:v>0.346096221075412</c:v>
                </c:pt>
                <c:pt idx="33">
                  <c:v>0.3534628929176992</c:v>
                </c:pt>
                <c:pt idx="34">
                  <c:v>0.38005709223348755</c:v>
                </c:pt>
                <c:pt idx="35">
                  <c:v>0.3613193403298351</c:v>
                </c:pt>
                <c:pt idx="36">
                  <c:v>0.35309137333576507</c:v>
                </c:pt>
                <c:pt idx="37">
                  <c:v>0.3512700534759358</c:v>
                </c:pt>
                <c:pt idx="38">
                  <c:v>0.35485714285714287</c:v>
                </c:pt>
                <c:pt idx="39">
                  <c:v>0.365</c:v>
                </c:pt>
                <c:pt idx="40">
                  <c:v>0.36466271521309623</c:v>
                </c:pt>
                <c:pt idx="41">
                  <c:v>0.35534631755449503</c:v>
                </c:pt>
                <c:pt idx="42">
                  <c:v>0.36407483192049106</c:v>
                </c:pt>
                <c:pt idx="43">
                  <c:v>0.35544086966070054</c:v>
                </c:pt>
                <c:pt idx="44">
                  <c:v>0.3527103486037598</c:v>
                </c:pt>
                <c:pt idx="45">
                  <c:v>0.36231604652657284</c:v>
                </c:pt>
                <c:pt idx="46">
                  <c:v>0.37525370804059327</c:v>
                </c:pt>
                <c:pt idx="47">
                  <c:v>0.3708618721461187</c:v>
                </c:pt>
                <c:pt idx="48">
                  <c:v>0.3560686796921255</c:v>
                </c:pt>
                <c:pt idx="49">
                  <c:v>0.3724536661803642</c:v>
                </c:pt>
                <c:pt idx="50">
                  <c:v>0.3828300474170202</c:v>
                </c:pt>
                <c:pt idx="51">
                  <c:v>0.3824391487192558</c:v>
                </c:pt>
              </c:numCache>
            </c:numRef>
          </c:yVal>
          <c:smooth val="0"/>
          <c:extLst>
            <c:ext xmlns:c16="http://schemas.microsoft.com/office/drawing/2014/chart" uri="{C3380CC4-5D6E-409C-BE32-E72D297353CC}">
              <c16:uniqueId val="{00000002-096C-4121-9522-6AB7243CCAAE}"/>
            </c:ext>
          </c:extLst>
        </c:ser>
        <c:ser>
          <c:idx val="2"/>
          <c:order val="2"/>
          <c:tx>
            <c:strRef>
              <c:f>Sheet1!$B$12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6:$A$127</c:f>
              <c:numCache>
                <c:formatCode>General</c:formatCode>
                <c:ptCount val="2"/>
                <c:pt idx="0">
                  <c:v>0</c:v>
                </c:pt>
                <c:pt idx="1">
                  <c:v>0.8670174712858166</c:v>
                </c:pt>
              </c:numCache>
            </c:numRef>
          </c:xVal>
          <c:yVal>
            <c:numRef>
              <c:f>Sheet1!$B$126:$B$127</c:f>
              <c:numCache>
                <c:formatCode>General</c:formatCode>
                <c:ptCount val="2"/>
                <c:pt idx="0">
                  <c:v>0.38536898996983104</c:v>
                </c:pt>
                <c:pt idx="1">
                  <c:v>0.38536898996983104</c:v>
                </c:pt>
              </c:numCache>
            </c:numRef>
          </c:yVal>
          <c:smooth val="0"/>
          <c:extLst>
            <c:ext xmlns:c16="http://schemas.microsoft.com/office/drawing/2014/chart" uri="{C3380CC4-5D6E-409C-BE32-E72D297353CC}">
              <c16:uniqueId val="{00000005-096C-4121-9522-6AB7243CCAAE}"/>
            </c:ext>
          </c:extLst>
        </c:ser>
        <c:ser>
          <c:idx val="3"/>
          <c:order val="3"/>
          <c:tx>
            <c:strRef>
              <c:f>Sheet1!$B$12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0:$A$131</c:f>
              <c:numCache>
                <c:formatCode>General</c:formatCode>
                <c:ptCount val="2"/>
                <c:pt idx="0">
                  <c:v>0.8670174712858166</c:v>
                </c:pt>
                <c:pt idx="1">
                  <c:v>0.8670174712858166</c:v>
                </c:pt>
              </c:numCache>
            </c:numRef>
          </c:xVal>
          <c:yVal>
            <c:numRef>
              <c:f>Sheet1!$B$130:$B$131</c:f>
              <c:numCache>
                <c:formatCode>General</c:formatCode>
                <c:ptCount val="2"/>
                <c:pt idx="0">
                  <c:v>0.3853689899698310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4:$A$135</c:f>
              <c:numCache>
                <c:formatCode>General</c:formatCode>
                <c:ptCount val="2"/>
                <c:pt idx="0">
                  <c:v>0</c:v>
                </c:pt>
                <c:pt idx="1">
                  <c:v>0.4693371529250866</c:v>
                </c:pt>
              </c:numCache>
            </c:numRef>
          </c:xVal>
          <c:yVal>
            <c:numRef>
              <c:f>Sheet1!$B$134:$B$135</c:f>
              <c:numCache>
                <c:formatCode>General</c:formatCode>
                <c:ptCount val="2"/>
                <c:pt idx="0">
                  <c:v>0.37344788550219143</c:v>
                </c:pt>
                <c:pt idx="1">
                  <c:v>0.37344788550219143</c:v>
                </c:pt>
              </c:numCache>
            </c:numRef>
          </c:yVal>
          <c:smooth val="0"/>
          <c:extLst>
            <c:ext xmlns:c16="http://schemas.microsoft.com/office/drawing/2014/chart" uri="{C3380CC4-5D6E-409C-BE32-E72D297353CC}">
              <c16:uniqueId val="{0000000D-096C-4121-9522-6AB7243CCAAE}"/>
            </c:ext>
          </c:extLst>
        </c:ser>
        <c:ser>
          <c:idx val="5"/>
          <c:order val="5"/>
          <c:tx>
            <c:strRef>
              <c:f>Sheet1!$B$13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8:$A$139</c:f>
              <c:numCache>
                <c:formatCode>General</c:formatCode>
                <c:ptCount val="2"/>
                <c:pt idx="0">
                  <c:v>0.4693371529250866</c:v>
                </c:pt>
                <c:pt idx="1">
                  <c:v>0.4693371529250866</c:v>
                </c:pt>
              </c:numCache>
            </c:numRef>
          </c:xVal>
          <c:yVal>
            <c:numRef>
              <c:f>Sheet1!$B$138:$B$139</c:f>
              <c:numCache>
                <c:formatCode>General</c:formatCode>
                <c:ptCount val="2"/>
                <c:pt idx="0">
                  <c:v>0.3734478855021914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4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42:$A$143</c:f>
              <c:numCache>
                <c:formatCode>General</c:formatCode>
                <c:ptCount val="2"/>
                <c:pt idx="0">
                  <c:v>0</c:v>
                </c:pt>
                <c:pt idx="1">
                  <c:v>0.22462254536708567</c:v>
                </c:pt>
              </c:numCache>
            </c:numRef>
          </c:xVal>
          <c:yVal>
            <c:numRef>
              <c:f>Sheet1!$B$142:$B$143</c:f>
              <c:numCache>
                <c:formatCode>General</c:formatCode>
                <c:ptCount val="2"/>
                <c:pt idx="0">
                  <c:v>0.3661121732057379</c:v>
                </c:pt>
                <c:pt idx="1">
                  <c:v>0.3661121732057379</c:v>
                </c:pt>
              </c:numCache>
            </c:numRef>
          </c:yVal>
          <c:smooth val="0"/>
          <c:extLst>
            <c:ext xmlns:c16="http://schemas.microsoft.com/office/drawing/2014/chart" uri="{C3380CC4-5D6E-409C-BE32-E72D297353CC}">
              <c16:uniqueId val="{00000015-096C-4121-9522-6AB7243CCAAE}"/>
            </c:ext>
          </c:extLst>
        </c:ser>
        <c:ser>
          <c:idx val="7"/>
          <c:order val="7"/>
          <c:tx>
            <c:strRef>
              <c:f>Sheet1!$B$14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6:$A$147</c:f>
              <c:numCache>
                <c:formatCode>General</c:formatCode>
                <c:ptCount val="2"/>
                <c:pt idx="0">
                  <c:v>0.22462254536708567</c:v>
                </c:pt>
                <c:pt idx="1">
                  <c:v>0.22462254536708567</c:v>
                </c:pt>
              </c:numCache>
            </c:numRef>
          </c:xVal>
          <c:yVal>
            <c:numRef>
              <c:f>Sheet1!$B$146:$B$147</c:f>
              <c:numCache>
                <c:formatCode>General</c:formatCode>
                <c:ptCount val="2"/>
                <c:pt idx="0">
                  <c:v>0.366112173205737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50:$A$204</c:f>
              <c:numCache>
                <c:formatCode>General</c:formatCode>
                <c:ptCount val="55"/>
                <c:pt idx="0">
                  <c:v>0.21749623115428007</c:v>
                </c:pt>
                <c:pt idx="1">
                  <c:v>0.21811742399142903</c:v>
                </c:pt>
                <c:pt idx="2">
                  <c:v>0.21786631054274977</c:v>
                </c:pt>
                <c:pt idx="3">
                  <c:v>0.23843247780720206</c:v>
                </c:pt>
                <c:pt idx="4">
                  <c:v>0.2361057628579944</c:v>
                </c:pt>
                <c:pt idx="5">
                  <c:v>0.2330445472174284</c:v>
                </c:pt>
                <c:pt idx="6">
                  <c:v>0.2119179353840067</c:v>
                </c:pt>
                <c:pt idx="7">
                  <c:v>0.20482906060113745</c:v>
                </c:pt>
                <c:pt idx="8">
                  <c:v>0.21249636468019664</c:v>
                </c:pt>
                <c:pt idx="9">
                  <c:v>0.2077068258306109</c:v>
                </c:pt>
                <c:pt idx="10">
                  <c:v>0.22456047749826097</c:v>
                </c:pt>
                <c:pt idx="11">
                  <c:v>0.20107913341273667</c:v>
                </c:pt>
                <c:pt idx="12">
                  <c:v>0.19805092514576522</c:v>
                </c:pt>
                <c:pt idx="13">
                  <c:v>0.2000718766887974</c:v>
                </c:pt>
                <c:pt idx="14">
                  <c:v>0.20056320659087187</c:v>
                </c:pt>
                <c:pt idx="15">
                  <c:v>0.19108194183374622</c:v>
                </c:pt>
                <c:pt idx="16">
                  <c:v>0.19249453336891678</c:v>
                </c:pt>
                <c:pt idx="17">
                  <c:v>0.18824703162239825</c:v>
                </c:pt>
                <c:pt idx="18">
                  <c:v>0.19681771385353464</c:v>
                </c:pt>
                <c:pt idx="19">
                  <c:v>0.20921796587768093</c:v>
                </c:pt>
                <c:pt idx="20">
                  <c:v>0.19789400482461914</c:v>
                </c:pt>
                <c:pt idx="21">
                  <c:v>0.1861348608801078</c:v>
                </c:pt>
                <c:pt idx="22">
                  <c:v>0.2109496815071956</c:v>
                </c:pt>
                <c:pt idx="23">
                  <c:v>0.19256502643552167</c:v>
                </c:pt>
                <c:pt idx="24">
                  <c:v>0.16776757830566832</c:v>
                </c:pt>
                <c:pt idx="25">
                  <c:v>0.17163342070124107</c:v>
                </c:pt>
                <c:pt idx="26">
                  <c:v>0.19782337245326814</c:v>
                </c:pt>
                <c:pt idx="27">
                  <c:v>0.20626084841106962</c:v>
                </c:pt>
                <c:pt idx="28">
                  <c:v>0.21923946149107829</c:v>
                </c:pt>
                <c:pt idx="29">
                  <c:v>0.1905739483076272</c:v>
                </c:pt>
                <c:pt idx="30">
                  <c:v>0.1966717016961385</c:v>
                </c:pt>
                <c:pt idx="31">
                  <c:v>0.19964265112859567</c:v>
                </c:pt>
                <c:pt idx="32">
                  <c:v>0.19898200878713815</c:v>
                </c:pt>
                <c:pt idx="33">
                  <c:v>0.17276735670278112</c:v>
                </c:pt>
                <c:pt idx="34">
                  <c:v>0.1741736398119709</c:v>
                </c:pt>
                <c:pt idx="35">
                  <c:v>0.17490538146939572</c:v>
                </c:pt>
                <c:pt idx="36">
                  <c:v>0.17181668495384939</c:v>
                </c:pt>
                <c:pt idx="37">
                  <c:v>0.18570885784716515</c:v>
                </c:pt>
                <c:pt idx="38">
                  <c:v>0.1858151786562562</c:v>
                </c:pt>
                <c:pt idx="39">
                  <c:v>0.18954038700112302</c:v>
                </c:pt>
                <c:pt idx="40">
                  <c:v>0.21369353717915376</c:v>
                </c:pt>
                <c:pt idx="41">
                  <c:v>0.2172448718188674</c:v>
                </c:pt>
                <c:pt idx="42">
                  <c:v>0.19914465967116957</c:v>
                </c:pt>
                <c:pt idx="43">
                  <c:v>0.2000078225329982</c:v>
                </c:pt>
                <c:pt idx="44">
                  <c:v>0.20594587493406147</c:v>
                </c:pt>
                <c:pt idx="45">
                  <c:v>0.20983824377439203</c:v>
                </c:pt>
                <c:pt idx="46">
                  <c:v>0.18788970584568027</c:v>
                </c:pt>
                <c:pt idx="47">
                  <c:v>0.20241344330516509</c:v>
                </c:pt>
                <c:pt idx="48">
                  <c:v>0.26019841337336863</c:v>
                </c:pt>
                <c:pt idx="49">
                  <c:v>0.2184884822480561</c:v>
                </c:pt>
                <c:pt idx="50">
                  <c:v>0.1971556893460342</c:v>
                </c:pt>
                <c:pt idx="51">
                  <c:v>0.2057324496586489</c:v>
                </c:pt>
                <c:pt idx="52">
                  <c:v>0.4693371529250866</c:v>
                </c:pt>
                <c:pt idx="53">
                  <c:v>0.8670174712858166</c:v>
                </c:pt>
                <c:pt idx="54">
                  <c:v>0.22462254536708567</c:v>
                </c:pt>
              </c:numCache>
            </c:numRef>
          </c:xVal>
          <c:yVal>
            <c:numRef>
              <c:f>Sheet1!$B$150:$B$204</c:f>
              <c:numCache>
                <c:formatCode>General</c:formatCode>
                <c:ptCount val="55"/>
                <c:pt idx="0">
                  <c:v>0.3658985505237046</c:v>
                </c:pt>
                <c:pt idx="1">
                  <c:v>0.36591717177390054</c:v>
                </c:pt>
                <c:pt idx="2">
                  <c:v>0.3659096442460931</c:v>
                </c:pt>
                <c:pt idx="3">
                  <c:v>0.36652614804861744</c:v>
                </c:pt>
                <c:pt idx="4">
                  <c:v>0.3664564010415484</c:v>
                </c:pt>
                <c:pt idx="5">
                  <c:v>0.36636463619987963</c:v>
                </c:pt>
                <c:pt idx="6">
                  <c:v>0.36573133217379244</c:v>
                </c:pt>
                <c:pt idx="7">
                  <c:v>0.3655188317986345</c:v>
                </c:pt>
                <c:pt idx="8">
                  <c:v>0.36574867151835805</c:v>
                </c:pt>
                <c:pt idx="9">
                  <c:v>0.3656050974204166</c:v>
                </c:pt>
                <c:pt idx="10">
                  <c:v>0.366110312621962</c:v>
                </c:pt>
                <c:pt idx="11">
                  <c:v>0.365406421725279</c:v>
                </c:pt>
                <c:pt idx="12">
                  <c:v>0.3653156463324983</c:v>
                </c:pt>
                <c:pt idx="13">
                  <c:v>0.3653762275917566</c:v>
                </c:pt>
                <c:pt idx="14">
                  <c:v>0.3653909559924852</c:v>
                </c:pt>
                <c:pt idx="15">
                  <c:v>0.36510673989619724</c:v>
                </c:pt>
                <c:pt idx="16">
                  <c:v>0.3651490845898705</c:v>
                </c:pt>
                <c:pt idx="17">
                  <c:v>0.36502175892222005</c:v>
                </c:pt>
                <c:pt idx="18">
                  <c:v>0.3652786788489025</c:v>
                </c:pt>
                <c:pt idx="19">
                  <c:v>0.3656503962635693</c:v>
                </c:pt>
                <c:pt idx="20">
                  <c:v>0.36531094239454837</c:v>
                </c:pt>
                <c:pt idx="21">
                  <c:v>0.36495844322136733</c:v>
                </c:pt>
                <c:pt idx="22">
                  <c:v>0.36570230721307967</c:v>
                </c:pt>
                <c:pt idx="23">
                  <c:v>0.36515119773244364</c:v>
                </c:pt>
                <c:pt idx="24">
                  <c:v>0.3644078545091597</c:v>
                </c:pt>
                <c:pt idx="25">
                  <c:v>0.36452373932649995</c:v>
                </c:pt>
                <c:pt idx="26">
                  <c:v>0.3653088250760923</c:v>
                </c:pt>
                <c:pt idx="27">
                  <c:v>0.36556175193138846</c:v>
                </c:pt>
                <c:pt idx="28">
                  <c:v>0.36595080664500773</c:v>
                </c:pt>
                <c:pt idx="29">
                  <c:v>0.3650915119766494</c:v>
                </c:pt>
                <c:pt idx="30">
                  <c:v>0.36527430190063154</c:v>
                </c:pt>
                <c:pt idx="31">
                  <c:v>0.3653633608681419</c:v>
                </c:pt>
                <c:pt idx="32">
                  <c:v>0.36534355705587196</c:v>
                </c:pt>
                <c:pt idx="33">
                  <c:v>0.36455773087425797</c:v>
                </c:pt>
                <c:pt idx="34">
                  <c:v>0.36459988646275887</c:v>
                </c:pt>
                <c:pt idx="35">
                  <c:v>0.3646218215908976</c:v>
                </c:pt>
                <c:pt idx="36">
                  <c:v>0.36452923296598794</c:v>
                </c:pt>
                <c:pt idx="37">
                  <c:v>0.36494567309816844</c:v>
                </c:pt>
                <c:pt idx="38">
                  <c:v>0.36494886023470435</c:v>
                </c:pt>
                <c:pt idx="39">
                  <c:v>0.3650605293211352</c:v>
                </c:pt>
                <c:pt idx="40">
                  <c:v>0.36578455868140575</c:v>
                </c:pt>
                <c:pt idx="41">
                  <c:v>0.3658910156250485</c:v>
                </c:pt>
                <c:pt idx="42">
                  <c:v>0.36534843277662243</c:v>
                </c:pt>
                <c:pt idx="43">
                  <c:v>0.36537430746584737</c:v>
                </c:pt>
                <c:pt idx="44">
                  <c:v>0.36555231009695366</c:v>
                </c:pt>
                <c:pt idx="45">
                  <c:v>0.3656689900869603</c:v>
                </c:pt>
                <c:pt idx="46">
                  <c:v>0.36501104750977</c:v>
                </c:pt>
                <c:pt idx="47">
                  <c:v>0.3654464198013352</c:v>
                </c:pt>
                <c:pt idx="48">
                  <c:v>0.36717861682753455</c:v>
                </c:pt>
                <c:pt idx="49">
                  <c:v>0.36592829483942985</c:v>
                </c:pt>
                <c:pt idx="50">
                  <c:v>0.36528881020559173</c:v>
                </c:pt>
                <c:pt idx="51">
                  <c:v>0.3655459123325012</c:v>
                </c:pt>
                <c:pt idx="52">
                  <c:v>0.37344788550219143</c:v>
                </c:pt>
                <c:pt idx="53">
                  <c:v>0.38536898996983104</c:v>
                </c:pt>
                <c:pt idx="54">
                  <c:v>0.366112173205737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oreal Pari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9378893256728146"/>
          <c:min val="0.2498709971164061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9</c:f>
              <c:numCache>
                <c:formatCode>General</c:formatCode>
                <c:ptCount val="68"/>
                <c:pt idx="0">
                  <c:v>1070.2846</c:v>
                </c:pt>
                <c:pt idx="1">
                  <c:v>1110.9385</c:v>
                </c:pt>
                <c:pt idx="2">
                  <c:v>1180.8299</c:v>
                </c:pt>
                <c:pt idx="3">
                  <c:v>1177.1333</c:v>
                </c:pt>
                <c:pt idx="4">
                  <c:v>1208.1651</c:v>
                </c:pt>
                <c:pt idx="5">
                  <c:v>1227.6814</c:v>
                </c:pt>
                <c:pt idx="6">
                  <c:v>1206.1129</c:v>
                </c:pt>
                <c:pt idx="7">
                  <c:v>1168.2143</c:v>
                </c:pt>
                <c:pt idx="8">
                  <c:v>1131.6883</c:v>
                </c:pt>
                <c:pt idx="9">
                  <c:v>1121.5097</c:v>
                </c:pt>
                <c:pt idx="10">
                  <c:v>1111.3356</c:v>
                </c:pt>
                <c:pt idx="11">
                  <c:v>1108.6667</c:v>
                </c:pt>
                <c:pt idx="12">
                  <c:v>1061.2841</c:v>
                </c:pt>
                <c:pt idx="13">
                  <c:v>1065.8975</c:v>
                </c:pt>
                <c:pt idx="14">
                  <c:v>1054.1268</c:v>
                </c:pt>
                <c:pt idx="15">
                  <c:v>1072.9513</c:v>
                </c:pt>
                <c:pt idx="16">
                  <c:v>1185.2363</c:v>
                </c:pt>
                <c:pt idx="17">
                  <c:v>1163.0765</c:v>
                </c:pt>
                <c:pt idx="18">
                  <c:v>1192.4286</c:v>
                </c:pt>
                <c:pt idx="19">
                  <c:v>1199.9681</c:v>
                </c:pt>
                <c:pt idx="20">
                  <c:v>1160.3939</c:v>
                </c:pt>
                <c:pt idx="21">
                  <c:v>1158.0541</c:v>
                </c:pt>
                <c:pt idx="22">
                  <c:v>1124.2708</c:v>
                </c:pt>
                <c:pt idx="23">
                  <c:v>1143.7692</c:v>
                </c:pt>
                <c:pt idx="24">
                  <c:v>1168.3871</c:v>
                </c:pt>
                <c:pt idx="25">
                  <c:v>1106.9141</c:v>
                </c:pt>
                <c:pt idx="26">
                  <c:v>1122.3735</c:v>
                </c:pt>
                <c:pt idx="27">
                  <c:v>1132.9737</c:v>
                </c:pt>
                <c:pt idx="28">
                  <c:v>1128.9512</c:v>
                </c:pt>
                <c:pt idx="29">
                  <c:v>1169.5745</c:v>
                </c:pt>
                <c:pt idx="30">
                  <c:v>1190.1421</c:v>
                </c:pt>
                <c:pt idx="31">
                  <c:v>1214.3673</c:v>
                </c:pt>
                <c:pt idx="32">
                  <c:v>1242.0069</c:v>
                </c:pt>
                <c:pt idx="33">
                  <c:v>1227.0675</c:v>
                </c:pt>
                <c:pt idx="34">
                  <c:v>1272.279</c:v>
                </c:pt>
                <c:pt idx="35">
                  <c:v>1333.3773</c:v>
                </c:pt>
                <c:pt idx="36">
                  <c:v>1310.35</c:v>
                </c:pt>
                <c:pt idx="37">
                  <c:v>1309.3122</c:v>
                </c:pt>
                <c:pt idx="38">
                  <c:v>1266.2527</c:v>
                </c:pt>
                <c:pt idx="39">
                  <c:v>1244.5633</c:v>
                </c:pt>
                <c:pt idx="40">
                  <c:v>1241.3087</c:v>
                </c:pt>
                <c:pt idx="41">
                  <c:v>1305.0707</c:v>
                </c:pt>
                <c:pt idx="42">
                  <c:v>1273.5197</c:v>
                </c:pt>
                <c:pt idx="43">
                  <c:v>1294.9946</c:v>
                </c:pt>
                <c:pt idx="44">
                  <c:v>1264.4405</c:v>
                </c:pt>
                <c:pt idx="45">
                  <c:v>1281.815</c:v>
                </c:pt>
                <c:pt idx="46">
                  <c:v>1241.6026</c:v>
                </c:pt>
                <c:pt idx="47">
                  <c:v>1266.4622</c:v>
                </c:pt>
                <c:pt idx="48">
                  <c:v>1244.9083</c:v>
                </c:pt>
                <c:pt idx="49">
                  <c:v>1258.0068</c:v>
                </c:pt>
                <c:pt idx="50">
                  <c:v>1244.9268</c:v>
                </c:pt>
                <c:pt idx="51">
                  <c:v>1305.8877</c:v>
                </c:pt>
                <c:pt idx="52">
                  <c:v>1290.8943</c:v>
                </c:pt>
                <c:pt idx="53">
                  <c:v>1348.5107</c:v>
                </c:pt>
                <c:pt idx="54">
                  <c:v>1334.8222</c:v>
                </c:pt>
                <c:pt idx="55">
                  <c:v>1287.6875</c:v>
                </c:pt>
                <c:pt idx="56">
                  <c:v>1313.421</c:v>
                </c:pt>
                <c:pt idx="57">
                  <c:v>1295.8871</c:v>
                </c:pt>
                <c:pt idx="58">
                  <c:v>1264.0745</c:v>
                </c:pt>
                <c:pt idx="59">
                  <c:v>1229.8539</c:v>
                </c:pt>
                <c:pt idx="60">
                  <c:v>1214.3026</c:v>
                </c:pt>
                <c:pt idx="61">
                  <c:v>1193.5788</c:v>
                </c:pt>
                <c:pt idx="62">
                  <c:v>1158.9493</c:v>
                </c:pt>
                <c:pt idx="63">
                  <c:v>1122.3305</c:v>
                </c:pt>
                <c:pt idx="64">
                  <c:v>1176.633</c:v>
                </c:pt>
                <c:pt idx="65">
                  <c:v>1179.1849</c:v>
                </c:pt>
                <c:pt idx="66">
                  <c:v>1169.7795</c:v>
                </c:pt>
                <c:pt idx="67">
                  <c:v>1214.7465</c:v>
                </c:pt>
              </c:numCache>
            </c:numRef>
          </c:xVal>
          <c:yVal>
            <c:numRef>
              <c:f>Sheet1!$B$2:$B$69</c:f>
              <c:numCache>
                <c:formatCode>General</c:formatCode>
                <c:ptCount val="68"/>
                <c:pt idx="0">
                  <c:v>0.4075077399380805</c:v>
                </c:pt>
                <c:pt idx="1">
                  <c:v>0.39748668214724764</c:v>
                </c:pt>
                <c:pt idx="2">
                  <c:v>0.3749816688664027</c:v>
                </c:pt>
                <c:pt idx="3">
                  <c:v>0.38167570825798675</c:v>
                </c:pt>
                <c:pt idx="4">
                  <c:v>0.357347950926651</c:v>
                </c:pt>
                <c:pt idx="5">
                  <c:v>0.35631929046563193</c:v>
                </c:pt>
                <c:pt idx="6">
                  <c:v>0.36905115266646876</c:v>
                </c:pt>
                <c:pt idx="7">
                  <c:v>0.35878014749850506</c:v>
                </c:pt>
                <c:pt idx="8">
                  <c:v>0.373055438765091</c:v>
                </c:pt>
                <c:pt idx="9">
                  <c:v>0.38929900194885725</c:v>
                </c:pt>
                <c:pt idx="10">
                  <c:v>0.3724441274369948</c:v>
                </c:pt>
                <c:pt idx="11">
                  <c:v>0.3642566010987064</c:v>
                </c:pt>
                <c:pt idx="12">
                  <c:v>0.38445875131007634</c:v>
                </c:pt>
                <c:pt idx="13">
                  <c:v>0.36978928080622997</c:v>
                </c:pt>
                <c:pt idx="14">
                  <c:v>0.3766857962697274</c:v>
                </c:pt>
                <c:pt idx="15">
                  <c:v>0.38061652581017813</c:v>
                </c:pt>
                <c:pt idx="16">
                  <c:v>0.3790246212121212</c:v>
                </c:pt>
                <c:pt idx="17">
                  <c:v>0.40068522483940044</c:v>
                </c:pt>
                <c:pt idx="18">
                  <c:v>0.4001251788268956</c:v>
                </c:pt>
                <c:pt idx="19">
                  <c:v>0.38277686553548623</c:v>
                </c:pt>
                <c:pt idx="20">
                  <c:v>0.38703213913601026</c:v>
                </c:pt>
                <c:pt idx="21">
                  <c:v>0.3917849247664551</c:v>
                </c:pt>
                <c:pt idx="22">
                  <c:v>0.3953637824190957</c:v>
                </c:pt>
                <c:pt idx="23">
                  <c:v>0.3971971775774206</c:v>
                </c:pt>
                <c:pt idx="24">
                  <c:v>0.39487286951662476</c:v>
                </c:pt>
                <c:pt idx="25">
                  <c:v>0.407296487884563</c:v>
                </c:pt>
                <c:pt idx="26">
                  <c:v>0.41149077713940124</c:v>
                </c:pt>
                <c:pt idx="27">
                  <c:v>0.3869936653687453</c:v>
                </c:pt>
                <c:pt idx="28">
                  <c:v>0.367304148929411</c:v>
                </c:pt>
                <c:pt idx="29">
                  <c:v>0.37426306159788575</c:v>
                </c:pt>
                <c:pt idx="30">
                  <c:v>0.3538733639900955</c:v>
                </c:pt>
                <c:pt idx="31">
                  <c:v>0.3529885468861847</c:v>
                </c:pt>
                <c:pt idx="32">
                  <c:v>0.3432179501634908</c:v>
                </c:pt>
                <c:pt idx="33">
                  <c:v>0.34660344067048965</c:v>
                </c:pt>
                <c:pt idx="34">
                  <c:v>0.3533198235784957</c:v>
                </c:pt>
                <c:pt idx="35">
                  <c:v>0.34494159135992947</c:v>
                </c:pt>
                <c:pt idx="36">
                  <c:v>0.35838287752675385</c:v>
                </c:pt>
                <c:pt idx="37">
                  <c:v>0.35987554736114313</c:v>
                </c:pt>
                <c:pt idx="38">
                  <c:v>0.37569426077757206</c:v>
                </c:pt>
                <c:pt idx="39">
                  <c:v>0.36361145362378405</c:v>
                </c:pt>
                <c:pt idx="40">
                  <c:v>0.3721134171294943</c:v>
                </c:pt>
                <c:pt idx="41">
                  <c:v>0.3573715248525695</c:v>
                </c:pt>
                <c:pt idx="42">
                  <c:v>0.360427807486631</c:v>
                </c:pt>
                <c:pt idx="43">
                  <c:v>0.34097243728708576</c:v>
                </c:pt>
                <c:pt idx="44">
                  <c:v>0.3447978303747535</c:v>
                </c:pt>
                <c:pt idx="45">
                  <c:v>0.3423802838870691</c:v>
                </c:pt>
                <c:pt idx="46">
                  <c:v>0.3319737542117397</c:v>
                </c:pt>
                <c:pt idx="47">
                  <c:v>0.34851596042561134</c:v>
                </c:pt>
                <c:pt idx="48">
                  <c:v>0.36825127334465196</c:v>
                </c:pt>
                <c:pt idx="49">
                  <c:v>0.35945548197203825</c:v>
                </c:pt>
                <c:pt idx="50">
                  <c:v>0.37491863744847037</c:v>
                </c:pt>
                <c:pt idx="51">
                  <c:v>0.36312692630989074</c:v>
                </c:pt>
                <c:pt idx="52">
                  <c:v>0.3593975324467233</c:v>
                </c:pt>
                <c:pt idx="53">
                  <c:v>0.34738756613756616</c:v>
                </c:pt>
                <c:pt idx="54">
                  <c:v>0.3123387463955077</c:v>
                </c:pt>
                <c:pt idx="55">
                  <c:v>0.34136897327004745</c:v>
                </c:pt>
                <c:pt idx="56">
                  <c:v>0.32392344497607656</c:v>
                </c:pt>
                <c:pt idx="57">
                  <c:v>0.3214096449390567</c:v>
                </c:pt>
                <c:pt idx="58">
                  <c:v>0.32586031921764</c:v>
                </c:pt>
                <c:pt idx="59">
                  <c:v>0.3423314626696029</c:v>
                </c:pt>
                <c:pt idx="60">
                  <c:v>0.34330954237389794</c:v>
                </c:pt>
                <c:pt idx="61">
                  <c:v>0.3523453327099891</c:v>
                </c:pt>
                <c:pt idx="62">
                  <c:v>0.3593200201069323</c:v>
                </c:pt>
                <c:pt idx="63">
                  <c:v>0.35648460328163634</c:v>
                </c:pt>
                <c:pt idx="64">
                  <c:v>0.3588744340649894</c:v>
                </c:pt>
                <c:pt idx="65">
                  <c:v>0.3427196322103297</c:v>
                </c:pt>
                <c:pt idx="66">
                  <c:v>0.3323397913561848</c:v>
                </c:pt>
                <c:pt idx="67">
                  <c:v>0.3339191564147627</c:v>
                </c:pt>
              </c:numCache>
            </c:numRef>
          </c:yVal>
          <c:smooth val="0"/>
          <c:extLst>
            <c:ext xmlns:c16="http://schemas.microsoft.com/office/drawing/2014/chart" uri="{C3380CC4-5D6E-409C-BE32-E72D297353CC}">
              <c16:uniqueId val="{00000000-F32D-48B7-BC20-E66FC6253BAD}"/>
            </c:ext>
          </c:extLst>
        </c:ser>
        <c:ser>
          <c:idx val="1"/>
          <c:order val="1"/>
          <c:tx>
            <c:strRef>
              <c:f>Sheet1!$B$7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2:$A$123</c:f>
              <c:numCache>
                <c:formatCode>General</c:formatCode>
                <c:ptCount val="52"/>
                <c:pt idx="0">
                  <c:v>1257.897</c:v>
                </c:pt>
                <c:pt idx="1">
                  <c:v>1269.6109</c:v>
                </c:pt>
                <c:pt idx="2">
                  <c:v>1258.2418</c:v>
                </c:pt>
                <c:pt idx="3">
                  <c:v>1259.2622</c:v>
                </c:pt>
                <c:pt idx="4">
                  <c:v>1268.0421</c:v>
                </c:pt>
                <c:pt idx="5">
                  <c:v>1252.8253</c:v>
                </c:pt>
                <c:pt idx="6">
                  <c:v>1169.7336</c:v>
                </c:pt>
                <c:pt idx="7">
                  <c:v>1206.3029</c:v>
                </c:pt>
                <c:pt idx="8">
                  <c:v>1267.7055</c:v>
                </c:pt>
                <c:pt idx="9">
                  <c:v>1192.5525</c:v>
                </c:pt>
                <c:pt idx="10">
                  <c:v>1230.895</c:v>
                </c:pt>
                <c:pt idx="11">
                  <c:v>1131.9896</c:v>
                </c:pt>
                <c:pt idx="12">
                  <c:v>1175.2738</c:v>
                </c:pt>
                <c:pt idx="13">
                  <c:v>1209.3939</c:v>
                </c:pt>
                <c:pt idx="14">
                  <c:v>1210.9859</c:v>
                </c:pt>
                <c:pt idx="15">
                  <c:v>1220.7391</c:v>
                </c:pt>
                <c:pt idx="16">
                  <c:v>1269.1077</c:v>
                </c:pt>
                <c:pt idx="17">
                  <c:v>1249.6494</c:v>
                </c:pt>
                <c:pt idx="18">
                  <c:v>1235.7668</c:v>
                </c:pt>
                <c:pt idx="19">
                  <c:v>1328.1409</c:v>
                </c:pt>
                <c:pt idx="20">
                  <c:v>1293.4799</c:v>
                </c:pt>
                <c:pt idx="21">
                  <c:v>1212.1982</c:v>
                </c:pt>
                <c:pt idx="22">
                  <c:v>1251.8176</c:v>
                </c:pt>
                <c:pt idx="23">
                  <c:v>1232.2061</c:v>
                </c:pt>
                <c:pt idx="24">
                  <c:v>1220.0496</c:v>
                </c:pt>
                <c:pt idx="25">
                  <c:v>1208.6593</c:v>
                </c:pt>
                <c:pt idx="26">
                  <c:v>1239.9295</c:v>
                </c:pt>
                <c:pt idx="27">
                  <c:v>1253.135</c:v>
                </c:pt>
                <c:pt idx="28">
                  <c:v>1287.4277</c:v>
                </c:pt>
                <c:pt idx="29">
                  <c:v>1288.0755</c:v>
                </c:pt>
                <c:pt idx="30">
                  <c:v>1283.5862</c:v>
                </c:pt>
                <c:pt idx="31">
                  <c:v>1261.2472</c:v>
                </c:pt>
                <c:pt idx="32">
                  <c:v>1293.0072</c:v>
                </c:pt>
                <c:pt idx="33">
                  <c:v>1298.5458</c:v>
                </c:pt>
                <c:pt idx="34">
                  <c:v>1308.7791</c:v>
                </c:pt>
                <c:pt idx="35">
                  <c:v>1333.1012</c:v>
                </c:pt>
                <c:pt idx="36">
                  <c:v>1341.7045</c:v>
                </c:pt>
                <c:pt idx="37">
                  <c:v>1341.9206</c:v>
                </c:pt>
                <c:pt idx="38">
                  <c:v>1344.6167</c:v>
                </c:pt>
                <c:pt idx="39">
                  <c:v>1310.7576</c:v>
                </c:pt>
                <c:pt idx="40">
                  <c:v>1331.8704</c:v>
                </c:pt>
                <c:pt idx="41">
                  <c:v>1364.9935</c:v>
                </c:pt>
                <c:pt idx="42">
                  <c:v>1344.7463</c:v>
                </c:pt>
                <c:pt idx="43">
                  <c:v>1355.1128</c:v>
                </c:pt>
                <c:pt idx="44">
                  <c:v>1284.2225</c:v>
                </c:pt>
                <c:pt idx="45">
                  <c:v>1241.9079</c:v>
                </c:pt>
                <c:pt idx="46">
                  <c:v>1243.1837</c:v>
                </c:pt>
                <c:pt idx="47">
                  <c:v>1214.323</c:v>
                </c:pt>
                <c:pt idx="48">
                  <c:v>1194.7574</c:v>
                </c:pt>
                <c:pt idx="49">
                  <c:v>1202.1403</c:v>
                </c:pt>
                <c:pt idx="50">
                  <c:v>1154.8166</c:v>
                </c:pt>
                <c:pt idx="51">
                  <c:v>1134.5836</c:v>
                </c:pt>
              </c:numCache>
            </c:numRef>
          </c:xVal>
          <c:yVal>
            <c:numRef>
              <c:f>Sheet1!$B$72:$B$123</c:f>
              <c:numCache>
                <c:formatCode>General</c:formatCode>
                <c:ptCount val="52"/>
                <c:pt idx="0">
                  <c:v>0.35995872033023735</c:v>
                </c:pt>
                <c:pt idx="1">
                  <c:v>0.357406314547064</c:v>
                </c:pt>
                <c:pt idx="2">
                  <c:v>0.3687352400944634</c:v>
                </c:pt>
                <c:pt idx="3">
                  <c:v>0.39424272162250573</c:v>
                </c:pt>
                <c:pt idx="4">
                  <c:v>0.38426323319027184</c:v>
                </c:pt>
                <c:pt idx="5">
                  <c:v>0.36295992900539287</c:v>
                </c:pt>
                <c:pt idx="6">
                  <c:v>0.3866143330852</c:v>
                </c:pt>
                <c:pt idx="7">
                  <c:v>0.36999000272652915</c:v>
                </c:pt>
                <c:pt idx="8">
                  <c:v>0.36480235492010094</c:v>
                </c:pt>
                <c:pt idx="9">
                  <c:v>0.3698077824660103</c:v>
                </c:pt>
                <c:pt idx="10">
                  <c:v>0.3666456209975647</c:v>
                </c:pt>
                <c:pt idx="11">
                  <c:v>0.3721678597228607</c:v>
                </c:pt>
                <c:pt idx="12">
                  <c:v>0.377632479282293</c:v>
                </c:pt>
                <c:pt idx="13">
                  <c:v>0.3823341836734694</c:v>
                </c:pt>
                <c:pt idx="14">
                  <c:v>0.3853186813186813</c:v>
                </c:pt>
                <c:pt idx="15">
                  <c:v>0.3730682246513381</c:v>
                </c:pt>
                <c:pt idx="16">
                  <c:v>0.3577473958333333</c:v>
                </c:pt>
                <c:pt idx="17">
                  <c:v>0.35038246375156984</c:v>
                </c:pt>
                <c:pt idx="18">
                  <c:v>0.35927577354411566</c:v>
                </c:pt>
                <c:pt idx="19">
                  <c:v>0.3584526500879176</c:v>
                </c:pt>
                <c:pt idx="20">
                  <c:v>0.36460858405817764</c:v>
                </c:pt>
                <c:pt idx="21">
                  <c:v>0.36896197327852004</c:v>
                </c:pt>
                <c:pt idx="22">
                  <c:v>0.35856164383561645</c:v>
                </c:pt>
                <c:pt idx="23">
                  <c:v>0.3732501264968797</c:v>
                </c:pt>
                <c:pt idx="24">
                  <c:v>0.38729641693811073</c:v>
                </c:pt>
                <c:pt idx="25">
                  <c:v>0.37851620332291497</c:v>
                </c:pt>
                <c:pt idx="26">
                  <c:v>0.3610056925996205</c:v>
                </c:pt>
                <c:pt idx="27">
                  <c:v>0.35539387155449836</c:v>
                </c:pt>
                <c:pt idx="28">
                  <c:v>0.3462710292754007</c:v>
                </c:pt>
                <c:pt idx="29">
                  <c:v>0.34827367754197025</c:v>
                </c:pt>
                <c:pt idx="30">
                  <c:v>0.3505646572292031</c:v>
                </c:pt>
                <c:pt idx="31">
                  <c:v>0.3485915492957746</c:v>
                </c:pt>
                <c:pt idx="32">
                  <c:v>0.346096221075412</c:v>
                </c:pt>
                <c:pt idx="33">
                  <c:v>0.3534628929176992</c:v>
                </c:pt>
                <c:pt idx="34">
                  <c:v>0.38005709223348755</c:v>
                </c:pt>
                <c:pt idx="35">
                  <c:v>0.3613193403298351</c:v>
                </c:pt>
                <c:pt idx="36">
                  <c:v>0.35309137333576507</c:v>
                </c:pt>
                <c:pt idx="37">
                  <c:v>0.3512700534759358</c:v>
                </c:pt>
                <c:pt idx="38">
                  <c:v>0.35485714285714287</c:v>
                </c:pt>
                <c:pt idx="39">
                  <c:v>0.365</c:v>
                </c:pt>
                <c:pt idx="40">
                  <c:v>0.36466271521309623</c:v>
                </c:pt>
                <c:pt idx="41">
                  <c:v>0.35534631755449503</c:v>
                </c:pt>
                <c:pt idx="42">
                  <c:v>0.36407483192049106</c:v>
                </c:pt>
                <c:pt idx="43">
                  <c:v>0.35544086966070054</c:v>
                </c:pt>
                <c:pt idx="44">
                  <c:v>0.3527103486037598</c:v>
                </c:pt>
                <c:pt idx="45">
                  <c:v>0.36231604652657284</c:v>
                </c:pt>
                <c:pt idx="46">
                  <c:v>0.37525370804059327</c:v>
                </c:pt>
                <c:pt idx="47">
                  <c:v>0.3708618721461187</c:v>
                </c:pt>
                <c:pt idx="48">
                  <c:v>0.3560686796921255</c:v>
                </c:pt>
                <c:pt idx="49">
                  <c:v>0.3724536661803642</c:v>
                </c:pt>
                <c:pt idx="50">
                  <c:v>0.3828300474170202</c:v>
                </c:pt>
                <c:pt idx="51">
                  <c:v>0.3824391487192558</c:v>
                </c:pt>
              </c:numCache>
            </c:numRef>
          </c:yVal>
          <c:smooth val="0"/>
          <c:extLst>
            <c:ext xmlns:c16="http://schemas.microsoft.com/office/drawing/2014/chart" uri="{C3380CC4-5D6E-409C-BE32-E72D297353CC}">
              <c16:uniqueId val="{00000002-F32D-48B7-BC20-E66FC6253BAD}"/>
            </c:ext>
          </c:extLst>
        </c:ser>
        <c:ser>
          <c:idx val="2"/>
          <c:order val="2"/>
          <c:tx>
            <c:strRef>
              <c:f>Sheet1!$B$125</c:f>
              <c:strCache>
                <c:ptCount val="1"/>
                <c:pt idx="0">
                  <c:v>Custom Linep3yQ</c:v>
                </c:pt>
              </c:strCache>
            </c:strRef>
          </c:tx>
          <c:spPr>
            <a:ln w="19050" cap="rnd">
              <a:solidFill>
                <a:srgbClr val="C00000"/>
              </a:solidFill>
              <a:prstDash val="sysDot"/>
              <a:round/>
            </a:ln>
            <a:effectLst/>
          </c:spPr>
          <c:marker>
            <c:symbol val="none"/>
          </c:marker>
          <c:xVal>
            <c:numRef>
              <c:f>Sheet1!$A$126:$A$127</c:f>
              <c:numCache>
                <c:formatCode>General</c:formatCode>
                <c:ptCount val="2"/>
                <c:pt idx="0">
                  <c:v>0</c:v>
                </c:pt>
                <c:pt idx="1">
                  <c:v>1092.4000146816857</c:v>
                </c:pt>
              </c:numCache>
            </c:numRef>
          </c:xVal>
          <c:yVal>
            <c:numRef>
              <c:f>Sheet1!$B$126:$B$127</c:f>
              <c:numCache>
                <c:formatCode>General</c:formatCode>
                <c:ptCount val="2"/>
                <c:pt idx="0">
                  <c:v>0.38536898996983104</c:v>
                </c:pt>
                <c:pt idx="1">
                  <c:v>0.38536898996983104</c:v>
                </c:pt>
              </c:numCache>
            </c:numRef>
          </c:yVal>
          <c:smooth val="0"/>
          <c:extLst>
            <c:ext xmlns:c16="http://schemas.microsoft.com/office/drawing/2014/chart" uri="{C3380CC4-5D6E-409C-BE32-E72D297353CC}">
              <c16:uniqueId val="{00000003-F32D-48B7-BC20-E66FC6253BAD}"/>
            </c:ext>
          </c:extLst>
        </c:ser>
        <c:ser>
          <c:idx val="3"/>
          <c:order val="3"/>
          <c:tx>
            <c:strRef>
              <c:f>Sheet1!$B$12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0:$A$131</c:f>
              <c:numCache>
                <c:formatCode>General</c:formatCode>
                <c:ptCount val="2"/>
                <c:pt idx="0">
                  <c:v>1092.4000146816857</c:v>
                </c:pt>
                <c:pt idx="1">
                  <c:v>1092.4000146816857</c:v>
                </c:pt>
              </c:numCache>
            </c:numRef>
          </c:xVal>
          <c:yVal>
            <c:numRef>
              <c:f>Sheet1!$B$130:$B$131</c:f>
              <c:numCache>
                <c:formatCode>General</c:formatCode>
                <c:ptCount val="2"/>
                <c:pt idx="0">
                  <c:v>0.3853689899698310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4:$A$135</c:f>
              <c:numCache>
                <c:formatCode>General</c:formatCode>
                <c:ptCount val="2"/>
                <c:pt idx="0">
                  <c:v>0</c:v>
                </c:pt>
                <c:pt idx="1">
                  <c:v>1190.5111520795047</c:v>
                </c:pt>
              </c:numCache>
            </c:numRef>
          </c:xVal>
          <c:yVal>
            <c:numRef>
              <c:f>Sheet1!$B$134:$B$135</c:f>
              <c:numCache>
                <c:formatCode>General</c:formatCode>
                <c:ptCount val="2"/>
                <c:pt idx="0">
                  <c:v>0.37344788550219143</c:v>
                </c:pt>
                <c:pt idx="1">
                  <c:v>0.37344788550219143</c:v>
                </c:pt>
              </c:numCache>
            </c:numRef>
          </c:yVal>
          <c:smooth val="0"/>
          <c:extLst>
            <c:ext xmlns:c16="http://schemas.microsoft.com/office/drawing/2014/chart" uri="{C3380CC4-5D6E-409C-BE32-E72D297353CC}">
              <c16:uniqueId val="{0000000A-F32D-48B7-BC20-E66FC6253BAD}"/>
            </c:ext>
          </c:extLst>
        </c:ser>
        <c:ser>
          <c:idx val="5"/>
          <c:order val="5"/>
          <c:tx>
            <c:strRef>
              <c:f>Sheet1!$B$13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8:$A$139</c:f>
              <c:numCache>
                <c:formatCode>General</c:formatCode>
                <c:ptCount val="2"/>
                <c:pt idx="0">
                  <c:v>1190.5111520795047</c:v>
                </c:pt>
                <c:pt idx="1">
                  <c:v>1190.5111520795047</c:v>
                </c:pt>
              </c:numCache>
            </c:numRef>
          </c:xVal>
          <c:yVal>
            <c:numRef>
              <c:f>Sheet1!$B$138:$B$139</c:f>
              <c:numCache>
                <c:formatCode>General</c:formatCode>
                <c:ptCount val="2"/>
                <c:pt idx="0">
                  <c:v>0.3734478855021914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4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42:$A$143</c:f>
              <c:numCache>
                <c:formatCode>General</c:formatCode>
                <c:ptCount val="2"/>
                <c:pt idx="0">
                  <c:v>0</c:v>
                </c:pt>
                <c:pt idx="1">
                  <c:v>1250.8843397301891</c:v>
                </c:pt>
              </c:numCache>
            </c:numRef>
          </c:xVal>
          <c:yVal>
            <c:numRef>
              <c:f>Sheet1!$B$142:$B$143</c:f>
              <c:numCache>
                <c:formatCode>General</c:formatCode>
                <c:ptCount val="2"/>
                <c:pt idx="0">
                  <c:v>0.3661121732057379</c:v>
                </c:pt>
                <c:pt idx="1">
                  <c:v>0.3661121732057379</c:v>
                </c:pt>
              </c:numCache>
            </c:numRef>
          </c:yVal>
          <c:smooth val="0"/>
          <c:extLst>
            <c:ext xmlns:c16="http://schemas.microsoft.com/office/drawing/2014/chart" uri="{C3380CC4-5D6E-409C-BE32-E72D297353CC}">
              <c16:uniqueId val="{00000011-F32D-48B7-BC20-E66FC6253BAD}"/>
            </c:ext>
          </c:extLst>
        </c:ser>
        <c:ser>
          <c:idx val="7"/>
          <c:order val="7"/>
          <c:tx>
            <c:strRef>
              <c:f>Sheet1!$B$14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6:$A$147</c:f>
              <c:numCache>
                <c:formatCode>General</c:formatCode>
                <c:ptCount val="2"/>
                <c:pt idx="0">
                  <c:v>1250.8843397301891</c:v>
                </c:pt>
                <c:pt idx="1">
                  <c:v>1250.8843397301891</c:v>
                </c:pt>
              </c:numCache>
            </c:numRef>
          </c:xVal>
          <c:yVal>
            <c:numRef>
              <c:f>Sheet1!$B$146:$B$147</c:f>
              <c:numCache>
                <c:formatCode>General</c:formatCode>
                <c:ptCount val="2"/>
                <c:pt idx="0">
                  <c:v>0.366112173205737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50:$A$204</c:f>
              <c:numCache>
                <c:formatCode>General</c:formatCode>
                <c:ptCount val="55"/>
                <c:pt idx="0">
                  <c:v>1257.897</c:v>
                </c:pt>
                <c:pt idx="1">
                  <c:v>1269.6109</c:v>
                </c:pt>
                <c:pt idx="2">
                  <c:v>1258.2418</c:v>
                </c:pt>
                <c:pt idx="3">
                  <c:v>1259.2622</c:v>
                </c:pt>
                <c:pt idx="4">
                  <c:v>1268.0421</c:v>
                </c:pt>
                <c:pt idx="5">
                  <c:v>1252.8253</c:v>
                </c:pt>
                <c:pt idx="6">
                  <c:v>1169.7336</c:v>
                </c:pt>
                <c:pt idx="7">
                  <c:v>1206.3029</c:v>
                </c:pt>
                <c:pt idx="8">
                  <c:v>1267.7055</c:v>
                </c:pt>
                <c:pt idx="9">
                  <c:v>1192.5525</c:v>
                </c:pt>
                <c:pt idx="10">
                  <c:v>1230.895</c:v>
                </c:pt>
                <c:pt idx="11">
                  <c:v>1131.9896</c:v>
                </c:pt>
                <c:pt idx="12">
                  <c:v>1175.2738</c:v>
                </c:pt>
                <c:pt idx="13">
                  <c:v>1209.3939</c:v>
                </c:pt>
                <c:pt idx="14">
                  <c:v>1210.9859</c:v>
                </c:pt>
                <c:pt idx="15">
                  <c:v>1220.7391</c:v>
                </c:pt>
                <c:pt idx="16">
                  <c:v>1269.1077</c:v>
                </c:pt>
                <c:pt idx="17">
                  <c:v>1249.6494</c:v>
                </c:pt>
                <c:pt idx="18">
                  <c:v>1235.7668</c:v>
                </c:pt>
                <c:pt idx="19">
                  <c:v>1328.1409</c:v>
                </c:pt>
                <c:pt idx="20">
                  <c:v>1293.4799</c:v>
                </c:pt>
                <c:pt idx="21">
                  <c:v>1212.1982</c:v>
                </c:pt>
                <c:pt idx="22">
                  <c:v>1251.8176</c:v>
                </c:pt>
                <c:pt idx="23">
                  <c:v>1232.2061</c:v>
                </c:pt>
                <c:pt idx="24">
                  <c:v>1220.0496</c:v>
                </c:pt>
                <c:pt idx="25">
                  <c:v>1208.6593</c:v>
                </c:pt>
                <c:pt idx="26">
                  <c:v>1239.9295</c:v>
                </c:pt>
                <c:pt idx="27">
                  <c:v>1253.135</c:v>
                </c:pt>
                <c:pt idx="28">
                  <c:v>1287.4277</c:v>
                </c:pt>
                <c:pt idx="29">
                  <c:v>1288.0755</c:v>
                </c:pt>
                <c:pt idx="30">
                  <c:v>1283.5862</c:v>
                </c:pt>
                <c:pt idx="31">
                  <c:v>1261.2472</c:v>
                </c:pt>
                <c:pt idx="32">
                  <c:v>1293.0072</c:v>
                </c:pt>
                <c:pt idx="33">
                  <c:v>1298.5458</c:v>
                </c:pt>
                <c:pt idx="34">
                  <c:v>1308.7791</c:v>
                </c:pt>
                <c:pt idx="35">
                  <c:v>1333.1012</c:v>
                </c:pt>
                <c:pt idx="36">
                  <c:v>1341.7045</c:v>
                </c:pt>
                <c:pt idx="37">
                  <c:v>1341.9206</c:v>
                </c:pt>
                <c:pt idx="38">
                  <c:v>1344.6167</c:v>
                </c:pt>
                <c:pt idx="39">
                  <c:v>1310.7576</c:v>
                </c:pt>
                <c:pt idx="40">
                  <c:v>1331.8704</c:v>
                </c:pt>
                <c:pt idx="41">
                  <c:v>1364.9935</c:v>
                </c:pt>
                <c:pt idx="42">
                  <c:v>1344.7463</c:v>
                </c:pt>
                <c:pt idx="43">
                  <c:v>1355.1128</c:v>
                </c:pt>
                <c:pt idx="44">
                  <c:v>1284.2225</c:v>
                </c:pt>
                <c:pt idx="45">
                  <c:v>1241.9079</c:v>
                </c:pt>
                <c:pt idx="46">
                  <c:v>1243.1837</c:v>
                </c:pt>
                <c:pt idx="47">
                  <c:v>1214.323</c:v>
                </c:pt>
                <c:pt idx="48">
                  <c:v>1194.7574</c:v>
                </c:pt>
                <c:pt idx="49">
                  <c:v>1202.1403</c:v>
                </c:pt>
                <c:pt idx="50">
                  <c:v>1154.8166</c:v>
                </c:pt>
                <c:pt idx="51">
                  <c:v>1134.5836</c:v>
                </c:pt>
                <c:pt idx="52">
                  <c:v>1190.5111520795047</c:v>
                </c:pt>
                <c:pt idx="53">
                  <c:v>1092.4000146816857</c:v>
                </c:pt>
                <c:pt idx="54">
                  <c:v>1250.8843397301891</c:v>
                </c:pt>
              </c:numCache>
            </c:numRef>
          </c:xVal>
          <c:yVal>
            <c:numRef>
              <c:f>Sheet1!$B$150:$B$204</c:f>
              <c:numCache>
                <c:formatCode>General</c:formatCode>
                <c:ptCount val="55"/>
                <c:pt idx="0">
                  <c:v>0.36526009200588894</c:v>
                </c:pt>
                <c:pt idx="1">
                  <c:v>0.3638367813672887</c:v>
                </c:pt>
                <c:pt idx="2">
                  <c:v>0.3652181966927832</c:v>
                </c:pt>
                <c:pt idx="3">
                  <c:v>0.36509421183926494</c:v>
                </c:pt>
                <c:pt idx="4">
                  <c:v>0.36402740018167473</c:v>
                </c:pt>
                <c:pt idx="5">
                  <c:v>0.36587633463778685</c:v>
                </c:pt>
                <c:pt idx="6">
                  <c:v>0.37597248541501543</c:v>
                </c:pt>
                <c:pt idx="7">
                  <c:v>0.37152909135017254</c:v>
                </c:pt>
                <c:pt idx="8">
                  <c:v>0.36406829914452676</c:v>
                </c:pt>
                <c:pt idx="9">
                  <c:v>0.37319984921945676</c:v>
                </c:pt>
                <c:pt idx="10">
                  <c:v>0.3685410004875631</c:v>
                </c:pt>
                <c:pt idx="11">
                  <c:v>0.38055861272900365</c:v>
                </c:pt>
                <c:pt idx="12">
                  <c:v>0.3752993171619167</c:v>
                </c:pt>
                <c:pt idx="13">
                  <c:v>0.37115351590698853</c:v>
                </c:pt>
                <c:pt idx="14">
                  <c:v>0.3709600781504214</c:v>
                </c:pt>
                <c:pt idx="15">
                  <c:v>0.3697750045779651</c:v>
                </c:pt>
                <c:pt idx="16">
                  <c:v>0.3638979232511484</c:v>
                </c:pt>
                <c:pt idx="17">
                  <c:v>0.3662622259512802</c:v>
                </c:pt>
                <c:pt idx="18">
                  <c:v>0.36794904693075176</c:v>
                </c:pt>
                <c:pt idx="19">
                  <c:v>0.35672502766636327</c:v>
                </c:pt>
                <c:pt idx="20">
                  <c:v>0.3609365515861954</c:v>
                </c:pt>
                <c:pt idx="21">
                  <c:v>0.3708127762708446</c:v>
                </c:pt>
                <c:pt idx="22">
                  <c:v>0.3659987763634732</c:v>
                </c:pt>
                <c:pt idx="23">
                  <c:v>0.36838169380249075</c:v>
                </c:pt>
                <c:pt idx="24">
                  <c:v>0.3698587830535638</c:v>
                </c:pt>
                <c:pt idx="25">
                  <c:v>0.37124277430898234</c:v>
                </c:pt>
                <c:pt idx="26">
                  <c:v>0.36744325336965755</c:v>
                </c:pt>
                <c:pt idx="27">
                  <c:v>0.36583870418979136</c:v>
                </c:pt>
                <c:pt idx="28">
                  <c:v>0.3616719309770846</c:v>
                </c:pt>
                <c:pt idx="29">
                  <c:v>0.36159321930704424</c:v>
                </c:pt>
                <c:pt idx="30">
                  <c:v>0.36213869676970556</c:v>
                </c:pt>
                <c:pt idx="31">
                  <c:v>0.3648530221741985</c:v>
                </c:pt>
                <c:pt idx="32">
                  <c:v>0.36099398753313594</c:v>
                </c:pt>
                <c:pt idx="33">
                  <c:v>0.3603210136898428</c:v>
                </c:pt>
                <c:pt idx="34">
                  <c:v>0.35907760502509517</c:v>
                </c:pt>
                <c:pt idx="35">
                  <c:v>0.35612232081717987</c:v>
                </c:pt>
                <c:pt idx="36">
                  <c:v>0.35507696714188225</c:v>
                </c:pt>
                <c:pt idx="37">
                  <c:v>0.35505070966751406</c:v>
                </c:pt>
                <c:pt idx="38">
                  <c:v>0.35472311699447345</c:v>
                </c:pt>
                <c:pt idx="39">
                  <c:v>0.358837205149864</c:v>
                </c:pt>
                <c:pt idx="40">
                  <c:v>0.35627187056013393</c:v>
                </c:pt>
                <c:pt idx="41">
                  <c:v>0.3522472109153172</c:v>
                </c:pt>
                <c:pt idx="42">
                  <c:v>0.3547073698002203</c:v>
                </c:pt>
                <c:pt idx="43">
                  <c:v>0.3534477765191568</c:v>
                </c:pt>
                <c:pt idx="44">
                  <c:v>0.36206138242014296</c:v>
                </c:pt>
                <c:pt idx="45">
                  <c:v>0.36720286564503923</c:v>
                </c:pt>
                <c:pt idx="46">
                  <c:v>0.36704784812630287</c:v>
                </c:pt>
                <c:pt idx="47">
                  <c:v>0.3705546000490143</c:v>
                </c:pt>
                <c:pt idx="48">
                  <c:v>0.3729319403567339</c:v>
                </c:pt>
                <c:pt idx="49">
                  <c:v>0.37203487276065383</c:v>
                </c:pt>
                <c:pt idx="50">
                  <c:v>0.37778499233380414</c:v>
                </c:pt>
                <c:pt idx="51">
                  <c:v>0.38024342583168264</c:v>
                </c:pt>
                <c:pt idx="52">
                  <c:v>0.37344788550219143</c:v>
                </c:pt>
                <c:pt idx="53">
                  <c:v>0.38536898996983104</c:v>
                </c:pt>
                <c:pt idx="54">
                  <c:v>0.36611217320573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38.0"/>
          <c:min val="84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9378893256728146"/>
          <c:min val="0.2498709971164061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9483213241713365</c:v>
                </c:pt>
                <c:pt idx="1">
                  <c:v>0.9022548520120602</c:v>
                </c:pt>
                <c:pt idx="2">
                  <c:v>0.8878717788282904</c:v>
                </c:pt>
                <c:pt idx="3">
                  <c:v>0.8983897297302926</c:v>
                </c:pt>
                <c:pt idx="4">
                  <c:v>0.884980763806668</c:v>
                </c:pt>
                <c:pt idx="5">
                  <c:v>0.8886904095802592</c:v>
                </c:pt>
                <c:pt idx="6">
                  <c:v>0.8698241850014334</c:v>
                </c:pt>
                <c:pt idx="7">
                  <c:v>0.8656367057786704</c:v>
                </c:pt>
                <c:pt idx="8">
                  <c:v>0.8784419678686701</c:v>
                </c:pt>
                <c:pt idx="9">
                  <c:v>0.9020962031038119</c:v>
                </c:pt>
                <c:pt idx="10">
                  <c:v>0.8951006247705596</c:v>
                </c:pt>
                <c:pt idx="11">
                  <c:v>0.8924812483168333</c:v>
                </c:pt>
                <c:pt idx="12">
                  <c:v>0.8919477859876686</c:v>
                </c:pt>
                <c:pt idx="13">
                  <c:v>0.8911866009343297</c:v>
                </c:pt>
                <c:pt idx="14">
                  <c:v>0.9324297376039211</c:v>
                </c:pt>
                <c:pt idx="15">
                  <c:v>0.9237302406499001</c:v>
                </c:pt>
                <c:pt idx="16">
                  <c:v>0.9229614359838998</c:v>
                </c:pt>
                <c:pt idx="17">
                  <c:v>0.934558213202679</c:v>
                </c:pt>
                <c:pt idx="18">
                  <c:v>0.9707026850447016</c:v>
                </c:pt>
                <c:pt idx="19">
                  <c:v>0.9956310142406818</c:v>
                </c:pt>
                <c:pt idx="20">
                  <c:v>0.9881613762212376</c:v>
                </c:pt>
                <c:pt idx="21">
                  <c:v>0.9279360956012848</c:v>
                </c:pt>
                <c:pt idx="22">
                  <c:v>0.9173240850363866</c:v>
                </c:pt>
                <c:pt idx="23">
                  <c:v>0.8985448468998106</c:v>
                </c:pt>
                <c:pt idx="24">
                  <c:v>0.893072464913021</c:v>
                </c:pt>
                <c:pt idx="25">
                  <c:v>0.8318841682553414</c:v>
                </c:pt>
                <c:pt idx="26">
                  <c:v>0.8762184319108431</c:v>
                </c:pt>
                <c:pt idx="27">
                  <c:v>0.8752226581884057</c:v>
                </c:pt>
                <c:pt idx="28">
                  <c:v>0.8680185036855582</c:v>
                </c:pt>
                <c:pt idx="29">
                  <c:v>0.845816481886393</c:v>
                </c:pt>
                <c:pt idx="30">
                  <c:v>0.8674806869791664</c:v>
                </c:pt>
                <c:pt idx="31">
                  <c:v>0.8703770999881899</c:v>
                </c:pt>
                <c:pt idx="32">
                  <c:v>0.8745223547565794</c:v>
                </c:pt>
                <c:pt idx="33">
                  <c:v>0.8577526552059791</c:v>
                </c:pt>
                <c:pt idx="34">
                  <c:v>0.9103683329066876</c:v>
                </c:pt>
                <c:pt idx="35">
                  <c:v>0.9506502752259806</c:v>
                </c:pt>
                <c:pt idx="36">
                  <c:v>1.0010313617308542</c:v>
                </c:pt>
                <c:pt idx="37">
                  <c:v>1.0162712527507831</c:v>
                </c:pt>
                <c:pt idx="38">
                  <c:v>1.0755308682512266</c:v>
                </c:pt>
                <c:pt idx="39">
                  <c:v>1.0815048366296816</c:v>
                </c:pt>
                <c:pt idx="40">
                  <c:v>1.0829429698026352</c:v>
                </c:pt>
                <c:pt idx="41">
                  <c:v>1.0393755841102412</c:v>
                </c:pt>
                <c:pt idx="42">
                  <c:v>1.0600178367381066</c:v>
                </c:pt>
                <c:pt idx="43">
                  <c:v>1.0727281552304901</c:v>
                </c:pt>
                <c:pt idx="44">
                  <c:v>1.0119259178122582</c:v>
                </c:pt>
                <c:pt idx="45">
                  <c:v>0.9835266227273153</c:v>
                </c:pt>
                <c:pt idx="46">
                  <c:v>1.0128931899105322</c:v>
                </c:pt>
                <c:pt idx="47">
                  <c:v>1.0201280376245296</c:v>
                </c:pt>
                <c:pt idx="48">
                  <c:v>0.9849668809311655</c:v>
                </c:pt>
                <c:pt idx="49">
                  <c:v>0.9476987722354708</c:v>
                </c:pt>
                <c:pt idx="50">
                  <c:v>0.9492002977135942</c:v>
                </c:pt>
                <c:pt idx="51">
                  <c:v>0.9835367320546644</c:v>
                </c:pt>
                <c:pt idx="52">
                  <c:v>0.9498789230037565</c:v>
                </c:pt>
                <c:pt idx="53">
                  <c:v>0.9864761766442208</c:v>
                </c:pt>
                <c:pt idx="54">
                  <c:v>0.9816231757642723</c:v>
                </c:pt>
                <c:pt idx="55">
                  <c:v>0.9961559490511291</c:v>
                </c:pt>
                <c:pt idx="56">
                  <c:v>0.9497419799277934</c:v>
                </c:pt>
                <c:pt idx="57">
                  <c:v>0.9652685962565357</c:v>
                </c:pt>
                <c:pt idx="58">
                  <c:v>0.9457172885296563</c:v>
                </c:pt>
                <c:pt idx="59">
                  <c:v>0.9374750630974674</c:v>
                </c:pt>
                <c:pt idx="60">
                  <c:v>0.9190986432108338</c:v>
                </c:pt>
                <c:pt idx="61">
                  <c:v>0.9622360728161852</c:v>
                </c:pt>
                <c:pt idx="62">
                  <c:v>0.9855014104811652</c:v>
                </c:pt>
                <c:pt idx="63">
                  <c:v>0.956634729520797</c:v>
                </c:pt>
                <c:pt idx="64">
                  <c:v>0.9953877016034297</c:v>
                </c:pt>
                <c:pt idx="65">
                  <c:v>0.9733023709706268</c:v>
                </c:pt>
                <c:pt idx="66">
                  <c:v>0.9955363702272871</c:v>
                </c:pt>
                <c:pt idx="67">
                  <c:v>1.0439976273624787</c:v>
                </c:pt>
                <c:pt idx="68">
                  <c:v>1.0686243511679285</c:v>
                </c:pt>
                <c:pt idx="69">
                  <c:v>1.090574832142367</c:v>
                </c:pt>
                <c:pt idx="70">
                  <c:v>1.0809636229529096</c:v>
                </c:pt>
                <c:pt idx="71">
                  <c:v>1.0302976810448214</c:v>
                </c:pt>
                <c:pt idx="72">
                  <c:v>1.0910870265796604</c:v>
                </c:pt>
                <c:pt idx="73">
                  <c:v>1.0215700379786326</c:v>
                </c:pt>
                <c:pt idx="74">
                  <c:v>0.9832166531695782</c:v>
                </c:pt>
                <c:pt idx="75">
                  <c:v>0.9828803150047394</c:v>
                </c:pt>
                <c:pt idx="76">
                  <c:v>0.9807974360407044</c:v>
                </c:pt>
                <c:pt idx="77">
                  <c:v>0.9947555844044617</c:v>
                </c:pt>
                <c:pt idx="78">
                  <c:v>1.0136364587872402</c:v>
                </c:pt>
                <c:pt idx="79">
                  <c:v>1.0320349414058956</c:v>
                </c:pt>
                <c:pt idx="80">
                  <c:v>1.0488319985396428</c:v>
                </c:pt>
                <c:pt idx="81">
                  <c:v>1.050935208930457</c:v>
                </c:pt>
                <c:pt idx="82">
                  <c:v>1.0552901628408031</c:v>
                </c:pt>
                <c:pt idx="83">
                  <c:v>1.0493913581074437</c:v>
                </c:pt>
                <c:pt idx="84">
                  <c:v>1.0599820959411248</c:v>
                </c:pt>
                <c:pt idx="85">
                  <c:v>1.050861882040137</c:v>
                </c:pt>
                <c:pt idx="86">
                  <c:v>1.021651415230172</c:v>
                </c:pt>
                <c:pt idx="87">
                  <c:v>1.0110571648204156</c:v>
                </c:pt>
                <c:pt idx="88">
                  <c:v>0.9735849680890137</c:v>
                </c:pt>
                <c:pt idx="89">
                  <c:v>0.9591734631319798</c:v>
                </c:pt>
                <c:pt idx="90">
                  <c:v>0.9713502807939369</c:v>
                </c:pt>
                <c:pt idx="91">
                  <c:v>1.0136756973809955</c:v>
                </c:pt>
                <c:pt idx="92">
                  <c:v>1.005637697385231</c:v>
                </c:pt>
                <c:pt idx="93">
                  <c:v>0.9848303131177929</c:v>
                </c:pt>
                <c:pt idx="94">
                  <c:v>1.0481230638979764</c:v>
                </c:pt>
                <c:pt idx="95">
                  <c:v>0.9989014352246867</c:v>
                </c:pt>
                <c:pt idx="96">
                  <c:v>0.9737106260382546</c:v>
                </c:pt>
                <c:pt idx="97">
                  <c:v>1.0373976001310836</c:v>
                </c:pt>
                <c:pt idx="98">
                  <c:v>1.0156640185853678</c:v>
                </c:pt>
                <c:pt idx="99">
                  <c:v>1.0070961003574794</c:v>
                </c:pt>
                <c:pt idx="100">
                  <c:v>0.9638135121697929</c:v>
                </c:pt>
                <c:pt idx="101">
                  <c:v>0.9581137559619121</c:v>
                </c:pt>
                <c:pt idx="102">
                  <c:v>0.948544989596498</c:v>
                </c:pt>
                <c:pt idx="103">
                  <c:v>0.774847466290792</c:v>
                </c:pt>
                <c:pt idx="104">
                  <c:v>0.8252421521264527</c:v>
                </c:pt>
              </c:numCache>
            </c:numRef>
          </c:xVal>
          <c:yVal>
            <c:numRef>
              <c:f>Sheet1!$B$2:$B$106</c:f>
              <c:numCache>
                <c:formatCode>General</c:formatCode>
                <c:ptCount val="105"/>
                <c:pt idx="0">
                  <c:v>0.17285149925522958</c:v>
                </c:pt>
                <c:pt idx="1">
                  <c:v>0.17510005717552887</c:v>
                </c:pt>
                <c:pt idx="2">
                  <c:v>0.18127357443976036</c:v>
                </c:pt>
                <c:pt idx="3">
                  <c:v>0.17871738447029237</c:v>
                </c:pt>
                <c:pt idx="4">
                  <c:v>0.18096093399191737</c:v>
                </c:pt>
                <c:pt idx="5">
                  <c:v>0.17093942054433714</c:v>
                </c:pt>
                <c:pt idx="6">
                  <c:v>0.1792242163592755</c:v>
                </c:pt>
                <c:pt idx="7">
                  <c:v>0.17662362690306418</c:v>
                </c:pt>
                <c:pt idx="8">
                  <c:v>0.18821652876084138</c:v>
                </c:pt>
                <c:pt idx="9">
                  <c:v>0.1716377649325626</c:v>
                </c:pt>
                <c:pt idx="10">
                  <c:v>0.18408986703347088</c:v>
                </c:pt>
                <c:pt idx="11">
                  <c:v>0.1763699961134862</c:v>
                </c:pt>
                <c:pt idx="12">
                  <c:v>0.1919142717973697</c:v>
                </c:pt>
                <c:pt idx="13">
                  <c:v>0.1839384104460714</c:v>
                </c:pt>
                <c:pt idx="14">
                  <c:v>0.18140849373663306</c:v>
                </c:pt>
                <c:pt idx="15">
                  <c:v>0.17968536873692825</c:v>
                </c:pt>
                <c:pt idx="16">
                  <c:v>0.16588025584565377</c:v>
                </c:pt>
                <c:pt idx="17">
                  <c:v>0.17308135515095643</c:v>
                </c:pt>
                <c:pt idx="18">
                  <c:v>0.15375462718138552</c:v>
                </c:pt>
                <c:pt idx="19">
                  <c:v>0.1353030303030303</c:v>
                </c:pt>
                <c:pt idx="20">
                  <c:v>0.15489266100848728</c:v>
                </c:pt>
                <c:pt idx="21">
                  <c:v>0.16386678455643972</c:v>
                </c:pt>
                <c:pt idx="22">
                  <c:v>0.13314234016887816</c:v>
                </c:pt>
                <c:pt idx="23">
                  <c:v>0.13682678311499272</c:v>
                </c:pt>
                <c:pt idx="24">
                  <c:v>0.1518347942356262</c:v>
                </c:pt>
                <c:pt idx="25">
                  <c:v>0.15676039737329517</c:v>
                </c:pt>
                <c:pt idx="26">
                  <c:v>0.1492620439988861</c:v>
                </c:pt>
                <c:pt idx="27">
                  <c:v>0.1447193402500665</c:v>
                </c:pt>
                <c:pt idx="28">
                  <c:v>0.14910204649867742</c:v>
                </c:pt>
                <c:pt idx="29">
                  <c:v>0.15953012504736644</c:v>
                </c:pt>
                <c:pt idx="30">
                  <c:v>0.13584366062917064</c:v>
                </c:pt>
                <c:pt idx="31">
                  <c:v>0.13010402111473374</c:v>
                </c:pt>
                <c:pt idx="32">
                  <c:v>0.1303807303807304</c:v>
                </c:pt>
                <c:pt idx="33">
                  <c:v>0.1387547963856913</c:v>
                </c:pt>
                <c:pt idx="34">
                  <c:v>0.14318936877076413</c:v>
                </c:pt>
                <c:pt idx="35">
                  <c:v>0.1562043795620438</c:v>
                </c:pt>
                <c:pt idx="36">
                  <c:v>0.1653139683895771</c:v>
                </c:pt>
                <c:pt idx="37">
                  <c:v>0.11661506707946337</c:v>
                </c:pt>
                <c:pt idx="38">
                  <c:v>0.10790875563447616</c:v>
                </c:pt>
                <c:pt idx="39">
                  <c:v>0.1250916556679865</c:v>
                </c:pt>
                <c:pt idx="40">
                  <c:v>0.13068113321277877</c:v>
                </c:pt>
                <c:pt idx="41">
                  <c:v>0.13534325241451317</c:v>
                </c:pt>
                <c:pt idx="42">
                  <c:v>0.12904656319290467</c:v>
                </c:pt>
                <c:pt idx="43">
                  <c:v>0.13416444048679133</c:v>
                </c:pt>
                <c:pt idx="44">
                  <c:v>0.13128695767723075</c:v>
                </c:pt>
                <c:pt idx="45">
                  <c:v>0.14931827737401646</c:v>
                </c:pt>
                <c:pt idx="46">
                  <c:v>0.15283765428453316</c:v>
                </c:pt>
                <c:pt idx="47">
                  <c:v>0.15739419876367094</c:v>
                </c:pt>
                <c:pt idx="48">
                  <c:v>0.16090731880205564</c:v>
                </c:pt>
                <c:pt idx="49">
                  <c:v>0.17951789189998502</c:v>
                </c:pt>
                <c:pt idx="50">
                  <c:v>0.15941365093907467</c:v>
                </c:pt>
                <c:pt idx="51">
                  <c:v>0.1580344332855093</c:v>
                </c:pt>
                <c:pt idx="52">
                  <c:v>0.15680671247035935</c:v>
                </c:pt>
                <c:pt idx="53">
                  <c:v>0.14512310606060605</c:v>
                </c:pt>
                <c:pt idx="54">
                  <c:v>0.1331049250535332</c:v>
                </c:pt>
                <c:pt idx="55">
                  <c:v>0.13680257510729613</c:v>
                </c:pt>
                <c:pt idx="56">
                  <c:v>0.16538952745849297</c:v>
                </c:pt>
                <c:pt idx="57">
                  <c:v>0.15572653682776308</c:v>
                </c:pt>
                <c:pt idx="58">
                  <c:v>0.1601654424873422</c:v>
                </c:pt>
                <c:pt idx="59">
                  <c:v>0.1552903373881111</c:v>
                </c:pt>
                <c:pt idx="60">
                  <c:v>0.1709623676989416</c:v>
                </c:pt>
                <c:pt idx="61">
                  <c:v>0.18203408773400392</c:v>
                </c:pt>
                <c:pt idx="62">
                  <c:v>0.17696705690171521</c:v>
                </c:pt>
                <c:pt idx="63">
                  <c:v>0.18850922286059874</c:v>
                </c:pt>
                <c:pt idx="64">
                  <c:v>0.16795490207473704</c:v>
                </c:pt>
                <c:pt idx="65">
                  <c:v>0.16964228985323082</c:v>
                </c:pt>
                <c:pt idx="66">
                  <c:v>0.15924645930744732</c:v>
                </c:pt>
                <c:pt idx="67">
                  <c:v>0.16667845772904138</c:v>
                </c:pt>
                <c:pt idx="68">
                  <c:v>0.14343235504652826</c:v>
                </c:pt>
                <c:pt idx="69">
                  <c:v>0.13304769421580787</c:v>
                </c:pt>
                <c:pt idx="70">
                  <c:v>0.1280326422584914</c:v>
                </c:pt>
                <c:pt idx="71">
                  <c:v>0.13362736917391824</c:v>
                </c:pt>
                <c:pt idx="72">
                  <c:v>0.1361031518624642</c:v>
                </c:pt>
                <c:pt idx="73">
                  <c:v>0.144589774078478</c:v>
                </c:pt>
                <c:pt idx="74">
                  <c:v>0.14208342936160406</c:v>
                </c:pt>
                <c:pt idx="75">
                  <c:v>0.1310499867759852</c:v>
                </c:pt>
                <c:pt idx="76">
                  <c:v>0.13344293738868337</c:v>
                </c:pt>
                <c:pt idx="77">
                  <c:v>0.12832505115463314</c:v>
                </c:pt>
                <c:pt idx="78">
                  <c:v>0.14035383319292333</c:v>
                </c:pt>
                <c:pt idx="79">
                  <c:v>0.12925897631779984</c:v>
                </c:pt>
                <c:pt idx="80">
                  <c:v>0.11969650046454011</c:v>
                </c:pt>
                <c:pt idx="81">
                  <c:v>0.11846646942800788</c:v>
                </c:pt>
                <c:pt idx="82">
                  <c:v>0.11542661051318047</c:v>
                </c:pt>
                <c:pt idx="83">
                  <c:v>0.10746586274162086</c:v>
                </c:pt>
                <c:pt idx="84">
                  <c:v>0.11573641963785701</c:v>
                </c:pt>
                <c:pt idx="85">
                  <c:v>0.11578947368421053</c:v>
                </c:pt>
                <c:pt idx="86">
                  <c:v>0.12607309296051017</c:v>
                </c:pt>
                <c:pt idx="87">
                  <c:v>0.1476459101757431</c:v>
                </c:pt>
                <c:pt idx="88">
                  <c:v>0.14121602689829083</c:v>
                </c:pt>
                <c:pt idx="89">
                  <c:v>0.1381188912033328</c:v>
                </c:pt>
                <c:pt idx="90">
                  <c:v>0.13409391534391535</c:v>
                </c:pt>
                <c:pt idx="91">
                  <c:v>0.12460160874184247</c:v>
                </c:pt>
                <c:pt idx="92">
                  <c:v>0.135898076442668</c:v>
                </c:pt>
                <c:pt idx="93">
                  <c:v>0.12870813397129185</c:v>
                </c:pt>
                <c:pt idx="94">
                  <c:v>0.12466878643349232</c:v>
                </c:pt>
                <c:pt idx="95">
                  <c:v>0.13940400405941508</c:v>
                </c:pt>
                <c:pt idx="96">
                  <c:v>0.12353484407189032</c:v>
                </c:pt>
                <c:pt idx="97">
                  <c:v>0.12715168236070293</c:v>
                </c:pt>
                <c:pt idx="98">
                  <c:v>0.14258999532491817</c:v>
                </c:pt>
                <c:pt idx="99">
                  <c:v>0.1412511995613033</c:v>
                </c:pt>
                <c:pt idx="100">
                  <c:v>0.16016440291558295</c:v>
                </c:pt>
                <c:pt idx="101">
                  <c:v>0.151813857527652</c:v>
                </c:pt>
                <c:pt idx="102">
                  <c:v>0.13899863515552044</c:v>
                </c:pt>
                <c:pt idx="103">
                  <c:v>0.16957169701289446</c:v>
                </c:pt>
                <c:pt idx="104">
                  <c:v>0.1716971039963322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713039858056177</c:v>
                </c:pt>
                <c:pt idx="1">
                  <c:v>0.8277065401310997</c:v>
                </c:pt>
                <c:pt idx="2">
                  <c:v>0.8344932850320566</c:v>
                </c:pt>
                <c:pt idx="3">
                  <c:v>0.864067406312208</c:v>
                </c:pt>
                <c:pt idx="4">
                  <c:v>0.8471231730040858</c:v>
                </c:pt>
                <c:pt idx="5">
                  <c:v>0.8784560424207013</c:v>
                </c:pt>
                <c:pt idx="6">
                  <c:v>0.9007480854292176</c:v>
                </c:pt>
                <c:pt idx="7">
                  <c:v>0.9299832605380679</c:v>
                </c:pt>
                <c:pt idx="8">
                  <c:v>0.9833914370929144</c:v>
                </c:pt>
                <c:pt idx="9">
                  <c:v>0.9557480098275496</c:v>
                </c:pt>
                <c:pt idx="10">
                  <c:v>0.9758472982943803</c:v>
                </c:pt>
                <c:pt idx="11">
                  <c:v>0.9747694758583585</c:v>
                </c:pt>
                <c:pt idx="12">
                  <c:v>0.9809079290005842</c:v>
                </c:pt>
                <c:pt idx="13">
                  <c:v>0.9332178814769637</c:v>
                </c:pt>
                <c:pt idx="14">
                  <c:v>0.9401095377594368</c:v>
                </c:pt>
                <c:pt idx="15">
                  <c:v>0.937085119709659</c:v>
                </c:pt>
                <c:pt idx="16">
                  <c:v>0.9549912220718044</c:v>
                </c:pt>
                <c:pt idx="17">
                  <c:v>0.9239933212983531</c:v>
                </c:pt>
                <c:pt idx="18">
                  <c:v>0.9996811626983333</c:v>
                </c:pt>
                <c:pt idx="19">
                  <c:v>0.9709044360501007</c:v>
                </c:pt>
                <c:pt idx="20">
                  <c:v>0.9478699037025073</c:v>
                </c:pt>
                <c:pt idx="21">
                  <c:v>0.9122664800522017</c:v>
                </c:pt>
                <c:pt idx="22">
                  <c:v>0.8896837043770291</c:v>
                </c:pt>
                <c:pt idx="23">
                  <c:v>0.8378087665768115</c:v>
                </c:pt>
                <c:pt idx="24">
                  <c:v>0.8373904863915216</c:v>
                </c:pt>
                <c:pt idx="25">
                  <c:v>0.8761871058771306</c:v>
                </c:pt>
                <c:pt idx="26">
                  <c:v>0.9117246349364753</c:v>
                </c:pt>
                <c:pt idx="27">
                  <c:v>0.9690245085575488</c:v>
                </c:pt>
                <c:pt idx="28">
                  <c:v>0.9635722906803639</c:v>
                </c:pt>
                <c:pt idx="29">
                  <c:v>0.9346266696974026</c:v>
                </c:pt>
                <c:pt idx="30">
                  <c:v>0.950127028277956</c:v>
                </c:pt>
                <c:pt idx="31">
                  <c:v>0.9036690144483386</c:v>
                </c:pt>
                <c:pt idx="32">
                  <c:v>0.8951581097359712</c:v>
                </c:pt>
                <c:pt idx="33">
                  <c:v>0.9329018017927783</c:v>
                </c:pt>
                <c:pt idx="34">
                  <c:v>0.9580426472589764</c:v>
                </c:pt>
                <c:pt idx="35">
                  <c:v>0.9120688602750008</c:v>
                </c:pt>
                <c:pt idx="36">
                  <c:v>0.8741908616337959</c:v>
                </c:pt>
                <c:pt idx="37">
                  <c:v>0.9125309089824354</c:v>
                </c:pt>
                <c:pt idx="38">
                  <c:v>0.9526616191919468</c:v>
                </c:pt>
                <c:pt idx="39">
                  <c:v>0.9595449110040194</c:v>
                </c:pt>
                <c:pt idx="40">
                  <c:v>0.9595483031541475</c:v>
                </c:pt>
                <c:pt idx="41">
                  <c:v>0.9816934951792415</c:v>
                </c:pt>
                <c:pt idx="42">
                  <c:v>0.9471114285075506</c:v>
                </c:pt>
                <c:pt idx="43">
                  <c:v>0.9575244973413695</c:v>
                </c:pt>
                <c:pt idx="44">
                  <c:v>0.9736870096238868</c:v>
                </c:pt>
                <c:pt idx="45">
                  <c:v>0.9212431923985767</c:v>
                </c:pt>
                <c:pt idx="46">
                  <c:v>0.9196279039443404</c:v>
                </c:pt>
                <c:pt idx="47">
                  <c:v>0.9237795953106488</c:v>
                </c:pt>
                <c:pt idx="48">
                  <c:v>0.9437631875558822</c:v>
                </c:pt>
                <c:pt idx="49">
                  <c:v>0.9575811444214717</c:v>
                </c:pt>
                <c:pt idx="50">
                  <c:v>0.8760702328955416</c:v>
                </c:pt>
                <c:pt idx="51">
                  <c:v>0.8830659324195033</c:v>
                </c:pt>
              </c:numCache>
            </c:numRef>
          </c:xVal>
          <c:yVal>
            <c:numRef>
              <c:f>Sheet1!$B$109:$B$160</c:f>
              <c:numCache>
                <c:formatCode>General</c:formatCode>
                <c:ptCount val="52"/>
                <c:pt idx="0">
                  <c:v>0.15741314069487444</c:v>
                </c:pt>
                <c:pt idx="1">
                  <c:v>0.16354381823546768</c:v>
                </c:pt>
                <c:pt idx="2">
                  <c:v>0.16032537391760693</c:v>
                </c:pt>
                <c:pt idx="3">
                  <c:v>0.15675498855086686</c:v>
                </c:pt>
                <c:pt idx="4">
                  <c:v>0.1582260371959943</c:v>
                </c:pt>
                <c:pt idx="5">
                  <c:v>0.14792818622431567</c:v>
                </c:pt>
                <c:pt idx="6">
                  <c:v>0.14915070718007714</c:v>
                </c:pt>
                <c:pt idx="7">
                  <c:v>0.15123148232300282</c:v>
                </c:pt>
                <c:pt idx="8">
                  <c:v>0.1586417157275021</c:v>
                </c:pt>
                <c:pt idx="9">
                  <c:v>0.1749648382559775</c:v>
                </c:pt>
                <c:pt idx="10">
                  <c:v>0.16307387029854784</c:v>
                </c:pt>
                <c:pt idx="11">
                  <c:v>0.15886254679188283</c:v>
                </c:pt>
                <c:pt idx="12">
                  <c:v>0.15243670645480117</c:v>
                </c:pt>
                <c:pt idx="13">
                  <c:v>0.15959821428571427</c:v>
                </c:pt>
                <c:pt idx="14">
                  <c:v>0.15287912087912087</c:v>
                </c:pt>
                <c:pt idx="15">
                  <c:v>0.14851111948737278</c:v>
                </c:pt>
                <c:pt idx="16">
                  <c:v>0.1355251736111111</c:v>
                </c:pt>
                <c:pt idx="17">
                  <c:v>0.13848612855348785</c:v>
                </c:pt>
                <c:pt idx="18">
                  <c:v>0.12484799351438995</c:v>
                </c:pt>
                <c:pt idx="19">
                  <c:v>0.13602110022607386</c:v>
                </c:pt>
                <c:pt idx="20">
                  <c:v>0.13147012690717239</c:v>
                </c:pt>
                <c:pt idx="21">
                  <c:v>0.14953751284686537</c:v>
                </c:pt>
                <c:pt idx="22">
                  <c:v>0.15256849315068494</c:v>
                </c:pt>
                <c:pt idx="23">
                  <c:v>0.16208466857817508</c:v>
                </c:pt>
                <c:pt idx="24">
                  <c:v>0.16530944625407165</c:v>
                </c:pt>
                <c:pt idx="25">
                  <c:v>0.1621977298897845</c:v>
                </c:pt>
                <c:pt idx="26">
                  <c:v>0.15528146742567994</c:v>
                </c:pt>
                <c:pt idx="27">
                  <c:v>0.13320274240940255</c:v>
                </c:pt>
                <c:pt idx="28">
                  <c:v>0.13617697708305737</c:v>
                </c:pt>
                <c:pt idx="29">
                  <c:v>0.13477985429204942</c:v>
                </c:pt>
                <c:pt idx="30">
                  <c:v>0.1364720852552887</c:v>
                </c:pt>
                <c:pt idx="31">
                  <c:v>0.13176426982950334</c:v>
                </c:pt>
                <c:pt idx="32">
                  <c:v>0.13351090394539702</c:v>
                </c:pt>
                <c:pt idx="33">
                  <c:v>0.1475153254206339</c:v>
                </c:pt>
                <c:pt idx="34">
                  <c:v>0.16448469337533222</c:v>
                </c:pt>
                <c:pt idx="35">
                  <c:v>0.17218313919963096</c:v>
                </c:pt>
                <c:pt idx="36">
                  <c:v>0.16614991792814152</c:v>
                </c:pt>
                <c:pt idx="37">
                  <c:v>0.14872994652406418</c:v>
                </c:pt>
                <c:pt idx="38">
                  <c:v>0.13733333333333334</c:v>
                </c:pt>
                <c:pt idx="39">
                  <c:v>0.15125</c:v>
                </c:pt>
                <c:pt idx="40">
                  <c:v>0.14281682190234266</c:v>
                </c:pt>
                <c:pt idx="41">
                  <c:v>0.1404617567393267</c:v>
                </c:pt>
                <c:pt idx="42">
                  <c:v>0.14220988015200234</c:v>
                </c:pt>
                <c:pt idx="43">
                  <c:v>0.13615899857252664</c:v>
                </c:pt>
                <c:pt idx="44">
                  <c:v>0.13086329622193832</c:v>
                </c:pt>
                <c:pt idx="45">
                  <c:v>0.14015808752650857</c:v>
                </c:pt>
                <c:pt idx="46">
                  <c:v>0.14113973458235754</c:v>
                </c:pt>
                <c:pt idx="47">
                  <c:v>0.14362157534246575</c:v>
                </c:pt>
                <c:pt idx="48">
                  <c:v>0.12741267021906452</c:v>
                </c:pt>
                <c:pt idx="49">
                  <c:v>0.14005511428108283</c:v>
                </c:pt>
                <c:pt idx="50">
                  <c:v>0.16831259581446753</c:v>
                </c:pt>
                <c:pt idx="51">
                  <c:v>0.1648400662673633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123674701580367</c:v>
                </c:pt>
              </c:numCache>
            </c:numRef>
          </c:xVal>
          <c:yVal>
            <c:numRef>
              <c:f>Sheet1!$B$163:$B$164</c:f>
              <c:numCache>
                <c:formatCode>General</c:formatCode>
                <c:ptCount val="2"/>
                <c:pt idx="0">
                  <c:v>0.17821191576669407</c:v>
                </c:pt>
                <c:pt idx="1">
                  <c:v>0.1782119157666940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123674701580367</c:v>
                </c:pt>
                <c:pt idx="1">
                  <c:v>0.7123674701580367</c:v>
                </c:pt>
              </c:numCache>
            </c:numRef>
          </c:xVal>
          <c:yVal>
            <c:numRef>
              <c:f>Sheet1!$B$167:$B$168</c:f>
              <c:numCache>
                <c:formatCode>General</c:formatCode>
                <c:ptCount val="2"/>
                <c:pt idx="0">
                  <c:v>0.1782119157666940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730908399468178</c:v>
                </c:pt>
              </c:numCache>
            </c:numRef>
          </c:xVal>
          <c:yVal>
            <c:numRef>
              <c:f>Sheet1!$B$171:$B$172</c:f>
              <c:numCache>
                <c:formatCode>General</c:formatCode>
                <c:ptCount val="2"/>
                <c:pt idx="0">
                  <c:v>0.1559128277833009</c:v>
                </c:pt>
                <c:pt idx="1">
                  <c:v>0.155912827783300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730908399468178</c:v>
                </c:pt>
                <c:pt idx="1">
                  <c:v>0.8730908399468178</c:v>
                </c:pt>
              </c:numCache>
            </c:numRef>
          </c:xVal>
          <c:yVal>
            <c:numRef>
              <c:f>Sheet1!$B$175:$B$176</c:f>
              <c:numCache>
                <c:formatCode>General</c:formatCode>
                <c:ptCount val="2"/>
                <c:pt idx="0">
                  <c:v>0.155912827783300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604506210048143</c:v>
                </c:pt>
              </c:numCache>
            </c:numRef>
          </c:xVal>
          <c:yVal>
            <c:numRef>
              <c:f>Sheet1!$B$179:$B$180</c:f>
              <c:numCache>
                <c:formatCode>General</c:formatCode>
                <c:ptCount val="2"/>
                <c:pt idx="0">
                  <c:v>0.14379235366318818</c:v>
                </c:pt>
                <c:pt idx="1">
                  <c:v>0.1437923536631881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604506210048143</c:v>
                </c:pt>
                <c:pt idx="1">
                  <c:v>0.9604506210048143</c:v>
                </c:pt>
              </c:numCache>
            </c:numRef>
          </c:xVal>
          <c:yVal>
            <c:numRef>
              <c:f>Sheet1!$B$183:$B$184</c:f>
              <c:numCache>
                <c:formatCode>General</c:formatCode>
                <c:ptCount val="2"/>
                <c:pt idx="0">
                  <c:v>0.1437923536631881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713039858056177</c:v>
                </c:pt>
                <c:pt idx="1">
                  <c:v>0.8277065401310997</c:v>
                </c:pt>
                <c:pt idx="2">
                  <c:v>0.8344932850320566</c:v>
                </c:pt>
                <c:pt idx="3">
                  <c:v>0.864067406312208</c:v>
                </c:pt>
                <c:pt idx="4">
                  <c:v>0.8471231730040858</c:v>
                </c:pt>
                <c:pt idx="5">
                  <c:v>0.8784560424207013</c:v>
                </c:pt>
                <c:pt idx="6">
                  <c:v>0.9007480854292176</c:v>
                </c:pt>
                <c:pt idx="7">
                  <c:v>0.9299832605380679</c:v>
                </c:pt>
                <c:pt idx="8">
                  <c:v>0.9833914370929144</c:v>
                </c:pt>
                <c:pt idx="9">
                  <c:v>0.9557480098275496</c:v>
                </c:pt>
                <c:pt idx="10">
                  <c:v>0.9758472982943803</c:v>
                </c:pt>
                <c:pt idx="11">
                  <c:v>0.9747694758583585</c:v>
                </c:pt>
                <c:pt idx="12">
                  <c:v>0.9809079290005842</c:v>
                </c:pt>
                <c:pt idx="13">
                  <c:v>0.9332178814769637</c:v>
                </c:pt>
                <c:pt idx="14">
                  <c:v>0.9401095377594368</c:v>
                </c:pt>
                <c:pt idx="15">
                  <c:v>0.937085119709659</c:v>
                </c:pt>
                <c:pt idx="16">
                  <c:v>0.9549912220718044</c:v>
                </c:pt>
                <c:pt idx="17">
                  <c:v>0.9239933212983531</c:v>
                </c:pt>
                <c:pt idx="18">
                  <c:v>0.9996811626983333</c:v>
                </c:pt>
                <c:pt idx="19">
                  <c:v>0.9709044360501007</c:v>
                </c:pt>
                <c:pt idx="20">
                  <c:v>0.9478699037025073</c:v>
                </c:pt>
                <c:pt idx="21">
                  <c:v>0.9122664800522017</c:v>
                </c:pt>
                <c:pt idx="22">
                  <c:v>0.8896837043770291</c:v>
                </c:pt>
                <c:pt idx="23">
                  <c:v>0.8378087665768115</c:v>
                </c:pt>
                <c:pt idx="24">
                  <c:v>0.8373904863915216</c:v>
                </c:pt>
                <c:pt idx="25">
                  <c:v>0.8761871058771306</c:v>
                </c:pt>
                <c:pt idx="26">
                  <c:v>0.9117246349364753</c:v>
                </c:pt>
                <c:pt idx="27">
                  <c:v>0.9690245085575488</c:v>
                </c:pt>
                <c:pt idx="28">
                  <c:v>0.9635722906803639</c:v>
                </c:pt>
                <c:pt idx="29">
                  <c:v>0.9346266696974026</c:v>
                </c:pt>
                <c:pt idx="30">
                  <c:v>0.950127028277956</c:v>
                </c:pt>
                <c:pt idx="31">
                  <c:v>0.9036690144483386</c:v>
                </c:pt>
                <c:pt idx="32">
                  <c:v>0.8951581097359712</c:v>
                </c:pt>
                <c:pt idx="33">
                  <c:v>0.9329018017927783</c:v>
                </c:pt>
                <c:pt idx="34">
                  <c:v>0.9580426472589764</c:v>
                </c:pt>
                <c:pt idx="35">
                  <c:v>0.9120688602750008</c:v>
                </c:pt>
                <c:pt idx="36">
                  <c:v>0.8741908616337959</c:v>
                </c:pt>
                <c:pt idx="37">
                  <c:v>0.9125309089824354</c:v>
                </c:pt>
                <c:pt idx="38">
                  <c:v>0.9526616191919468</c:v>
                </c:pt>
                <c:pt idx="39">
                  <c:v>0.9595449110040194</c:v>
                </c:pt>
                <c:pt idx="40">
                  <c:v>0.9595483031541475</c:v>
                </c:pt>
                <c:pt idx="41">
                  <c:v>0.9816934951792415</c:v>
                </c:pt>
                <c:pt idx="42">
                  <c:v>0.9471114285075506</c:v>
                </c:pt>
                <c:pt idx="43">
                  <c:v>0.9575244973413695</c:v>
                </c:pt>
                <c:pt idx="44">
                  <c:v>0.9736870096238868</c:v>
                </c:pt>
                <c:pt idx="45">
                  <c:v>0.9212431923985767</c:v>
                </c:pt>
                <c:pt idx="46">
                  <c:v>0.9196279039443404</c:v>
                </c:pt>
                <c:pt idx="47">
                  <c:v>0.9237795953106488</c:v>
                </c:pt>
                <c:pt idx="48">
                  <c:v>0.9437631875558822</c:v>
                </c:pt>
                <c:pt idx="49">
                  <c:v>0.9575811444214717</c:v>
                </c:pt>
                <c:pt idx="50">
                  <c:v>0.8760702328955416</c:v>
                </c:pt>
                <c:pt idx="51">
                  <c:v>0.8830659324195033</c:v>
                </c:pt>
                <c:pt idx="52">
                  <c:v>0.8730908399468178</c:v>
                </c:pt>
                <c:pt idx="53">
                  <c:v>0.7123674701580367</c:v>
                </c:pt>
                <c:pt idx="54">
                  <c:v>0.9604506210048143</c:v>
                </c:pt>
              </c:numCache>
            </c:numRef>
          </c:xVal>
          <c:yVal>
            <c:numRef>
              <c:f>Sheet1!$B$187:$B$241</c:f>
              <c:numCache>
                <c:formatCode>General</c:formatCode>
                <c:ptCount val="55"/>
                <c:pt idx="0">
                  <c:v>0.1561607395696234</c:v>
                </c:pt>
                <c:pt idx="1">
                  <c:v>0.1622095380624929</c:v>
                </c:pt>
                <c:pt idx="2">
                  <c:v>0.1612679312391282</c:v>
                </c:pt>
                <c:pt idx="3">
                  <c:v>0.15716475736140084</c:v>
                </c:pt>
                <c:pt idx="4">
                  <c:v>0.15951563483395204</c:v>
                </c:pt>
                <c:pt idx="5">
                  <c:v>0.1551684486542976</c:v>
                </c:pt>
                <c:pt idx="6">
                  <c:v>0.15207560516159485</c:v>
                </c:pt>
                <c:pt idx="7">
                  <c:v>0.14801945736666688</c:v>
                </c:pt>
                <c:pt idx="8">
                  <c:v>0.14060949807080192</c:v>
                </c:pt>
                <c:pt idx="9">
                  <c:v>0.14444480352490602</c:v>
                </c:pt>
                <c:pt idx="10">
                  <c:v>0.14165618726757848</c:v>
                </c:pt>
                <c:pt idx="11">
                  <c:v>0.1418057265496562</c:v>
                </c:pt>
                <c:pt idx="12">
                  <c:v>0.14095406504653868</c:v>
                </c:pt>
                <c:pt idx="13">
                  <c:v>0.14757067946334046</c:v>
                </c:pt>
                <c:pt idx="14">
                  <c:v>0.14661451702102649</c:v>
                </c:pt>
                <c:pt idx="15">
                  <c:v>0.14703413094698628</c:v>
                </c:pt>
                <c:pt idx="16">
                  <c:v>0.14454980180096438</c:v>
                </c:pt>
                <c:pt idx="17">
                  <c:v>0.14885051374818198</c:v>
                </c:pt>
                <c:pt idx="18">
                  <c:v>0.13834942833123676</c:v>
                </c:pt>
                <c:pt idx="19">
                  <c:v>0.1423419700521221</c:v>
                </c:pt>
                <c:pt idx="20">
                  <c:v>0.1455378280294052</c:v>
                </c:pt>
                <c:pt idx="21">
                  <c:v>0.15047751960961253</c:v>
                </c:pt>
                <c:pt idx="22">
                  <c:v>0.15361069994518967</c:v>
                </c:pt>
                <c:pt idx="23">
                  <c:v>0.16080793457049833</c:v>
                </c:pt>
                <c:pt idx="24">
                  <c:v>0.16086596761613287</c:v>
                </c:pt>
                <c:pt idx="25">
                  <c:v>0.1554832455359229</c:v>
                </c:pt>
                <c:pt idx="26">
                  <c:v>0.1505526963056016</c:v>
                </c:pt>
                <c:pt idx="27">
                  <c:v>0.14260279502495526</c:v>
                </c:pt>
                <c:pt idx="28">
                  <c:v>0.14335924684840667</c:v>
                </c:pt>
                <c:pt idx="29">
                  <c:v>0.14737522131360892</c:v>
                </c:pt>
                <c:pt idx="30">
                  <c:v>0.14522466996431765</c:v>
                </c:pt>
                <c:pt idx="31">
                  <c:v>0.15167034951472644</c:v>
                </c:pt>
                <c:pt idx="32">
                  <c:v>0.15285116978528676</c:v>
                </c:pt>
                <c:pt idx="33">
                  <c:v>0.1476145330031006</c:v>
                </c:pt>
                <c:pt idx="34">
                  <c:v>0.1441264408497044</c:v>
                </c:pt>
                <c:pt idx="35">
                  <c:v>0.15050493778037918</c:v>
                </c:pt>
                <c:pt idx="36">
                  <c:v>0.155760208531889</c:v>
                </c:pt>
                <c:pt idx="37">
                  <c:v>0.15044083220075352</c:v>
                </c:pt>
                <c:pt idx="38">
                  <c:v>0.14487301565376365</c:v>
                </c:pt>
                <c:pt idx="39">
                  <c:v>0.14391801371512528</c:v>
                </c:pt>
                <c:pt idx="40">
                  <c:v>0.14391754308130109</c:v>
                </c:pt>
                <c:pt idx="41">
                  <c:v>0.14084507399341628</c:v>
                </c:pt>
                <c:pt idx="42">
                  <c:v>0.14564306042421993</c:v>
                </c:pt>
                <c:pt idx="43">
                  <c:v>0.14419833002560015</c:v>
                </c:pt>
                <c:pt idx="44">
                  <c:v>0.14195591012179795</c:v>
                </c:pt>
                <c:pt idx="45">
                  <c:v>0.14923207223829066</c:v>
                </c:pt>
                <c:pt idx="46">
                  <c:v>0.14945618065144123</c:v>
                </c:pt>
                <c:pt idx="47">
                  <c:v>0.14888016652742883</c:v>
                </c:pt>
                <c:pt idx="48">
                  <c:v>0.14610760219974997</c:v>
                </c:pt>
                <c:pt idx="49">
                  <c:v>0.14419047069422314</c:v>
                </c:pt>
                <c:pt idx="50">
                  <c:v>0.15549946073165183</c:v>
                </c:pt>
                <c:pt idx="51">
                  <c:v>0.15452886311790584</c:v>
                </c:pt>
                <c:pt idx="52">
                  <c:v>0.1559128277833009</c:v>
                </c:pt>
                <c:pt idx="53">
                  <c:v>0.17821191576669407</c:v>
                </c:pt>
                <c:pt idx="54">
                  <c:v>0.1437923536631881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02971261568436"/>
          <c:min val="0.0859726901932966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4.1047</c:v>
                </c:pt>
                <c:pt idx="1">
                  <c:v>871.9001</c:v>
                </c:pt>
                <c:pt idx="2">
                  <c:v>898.2265</c:v>
                </c:pt>
                <c:pt idx="3">
                  <c:v>910.7331</c:v>
                </c:pt>
                <c:pt idx="4">
                  <c:v>904.1224</c:v>
                </c:pt>
                <c:pt idx="5">
                  <c:v>893.8169</c:v>
                </c:pt>
                <c:pt idx="6">
                  <c:v>858.8036</c:v>
                </c:pt>
                <c:pt idx="7">
                  <c:v>867.0558</c:v>
                </c:pt>
                <c:pt idx="8">
                  <c:v>868.809</c:v>
                </c:pt>
                <c:pt idx="9">
                  <c:v>842.1731</c:v>
                </c:pt>
                <c:pt idx="10">
                  <c:v>826.7434</c:v>
                </c:pt>
                <c:pt idx="11">
                  <c:v>861.1664</c:v>
                </c:pt>
                <c:pt idx="12">
                  <c:v>867.1068</c:v>
                </c:pt>
                <c:pt idx="13">
                  <c:v>868.5584</c:v>
                </c:pt>
                <c:pt idx="14">
                  <c:v>895.9741</c:v>
                </c:pt>
                <c:pt idx="15">
                  <c:v>914.0135</c:v>
                </c:pt>
                <c:pt idx="16">
                  <c:v>930.0587</c:v>
                </c:pt>
                <c:pt idx="17">
                  <c:v>919.9987</c:v>
                </c:pt>
                <c:pt idx="18">
                  <c:v>972.0593</c:v>
                </c:pt>
                <c:pt idx="19">
                  <c:v>990.7156</c:v>
                </c:pt>
                <c:pt idx="20">
                  <c:v>1014.1583</c:v>
                </c:pt>
                <c:pt idx="21">
                  <c:v>1027.6645</c:v>
                </c:pt>
                <c:pt idx="22">
                  <c:v>1008.3504</c:v>
                </c:pt>
                <c:pt idx="23">
                  <c:v>1004.1741</c:v>
                </c:pt>
                <c:pt idx="24">
                  <c:v>1013.5886</c:v>
                </c:pt>
                <c:pt idx="25">
                  <c:v>990.419</c:v>
                </c:pt>
                <c:pt idx="26">
                  <c:v>979.0327</c:v>
                </c:pt>
                <c:pt idx="27">
                  <c:v>996.4611</c:v>
                </c:pt>
                <c:pt idx="28">
                  <c:v>998.4049</c:v>
                </c:pt>
                <c:pt idx="29">
                  <c:v>987.1565</c:v>
                </c:pt>
                <c:pt idx="30">
                  <c:v>989.7549</c:v>
                </c:pt>
                <c:pt idx="31">
                  <c:v>975.2188</c:v>
                </c:pt>
                <c:pt idx="32">
                  <c:v>964.5709</c:v>
                </c:pt>
                <c:pt idx="33">
                  <c:v>921.5912</c:v>
                </c:pt>
                <c:pt idx="34">
                  <c:v>934.5094</c:v>
                </c:pt>
                <c:pt idx="35">
                  <c:v>965.3223</c:v>
                </c:pt>
                <c:pt idx="36">
                  <c:v>1025.9005</c:v>
                </c:pt>
                <c:pt idx="37">
                  <c:v>1045.4788</c:v>
                </c:pt>
                <c:pt idx="38">
                  <c:v>1082.9511</c:v>
                </c:pt>
                <c:pt idx="39">
                  <c:v>1108.7055</c:v>
                </c:pt>
                <c:pt idx="40">
                  <c:v>1106.815</c:v>
                </c:pt>
                <c:pt idx="41">
                  <c:v>1131.6485</c:v>
                </c:pt>
                <c:pt idx="42">
                  <c:v>1148.8976</c:v>
                </c:pt>
                <c:pt idx="43">
                  <c:v>1154.9292</c:v>
                </c:pt>
                <c:pt idx="44">
                  <c:v>1113.0708</c:v>
                </c:pt>
                <c:pt idx="45">
                  <c:v>1078.0761</c:v>
                </c:pt>
                <c:pt idx="46">
                  <c:v>1061.4059</c:v>
                </c:pt>
                <c:pt idx="47">
                  <c:v>1047.8382</c:v>
                </c:pt>
                <c:pt idx="48">
                  <c:v>1044.792</c:v>
                </c:pt>
                <c:pt idx="49">
                  <c:v>999.338</c:v>
                </c:pt>
                <c:pt idx="50">
                  <c:v>1004.3309</c:v>
                </c:pt>
                <c:pt idx="51">
                  <c:v>1014.8195</c:v>
                </c:pt>
                <c:pt idx="52">
                  <c:v>1016.3603</c:v>
                </c:pt>
                <c:pt idx="53">
                  <c:v>1111.8357</c:v>
                </c:pt>
                <c:pt idx="54">
                  <c:v>1105.4646</c:v>
                </c:pt>
                <c:pt idx="55">
                  <c:v>1118.4436</c:v>
                </c:pt>
                <c:pt idx="56">
                  <c:v>1124.8373</c:v>
                </c:pt>
                <c:pt idx="57">
                  <c:v>1102.1197</c:v>
                </c:pt>
                <c:pt idx="58">
                  <c:v>1081.0693</c:v>
                </c:pt>
                <c:pt idx="59">
                  <c:v>1077.478</c:v>
                </c:pt>
                <c:pt idx="60">
                  <c:v>1092.2519</c:v>
                </c:pt>
                <c:pt idx="61">
                  <c:v>1097.7472</c:v>
                </c:pt>
                <c:pt idx="62">
                  <c:v>1033.3266</c:v>
                </c:pt>
                <c:pt idx="63">
                  <c:v>1053.9903</c:v>
                </c:pt>
                <c:pt idx="64">
                  <c:v>1060.6227</c:v>
                </c:pt>
                <c:pt idx="65">
                  <c:v>1053.3096</c:v>
                </c:pt>
                <c:pt idx="66">
                  <c:v>1083.3464</c:v>
                </c:pt>
                <c:pt idx="67">
                  <c:v>1105.0394</c:v>
                </c:pt>
                <c:pt idx="68">
                  <c:v>1116.0063</c:v>
                </c:pt>
                <c:pt idx="69">
                  <c:v>1146.5405</c:v>
                </c:pt>
                <c:pt idx="70">
                  <c:v>1135.5569</c:v>
                </c:pt>
                <c:pt idx="71">
                  <c:v>1184.6456</c:v>
                </c:pt>
                <c:pt idx="72">
                  <c:v>1253.7753</c:v>
                </c:pt>
                <c:pt idx="73">
                  <c:v>1235.0861</c:v>
                </c:pt>
                <c:pt idx="74">
                  <c:v>1227.9679</c:v>
                </c:pt>
                <c:pt idx="75">
                  <c:v>1196.1969</c:v>
                </c:pt>
                <c:pt idx="76">
                  <c:v>1160.9117</c:v>
                </c:pt>
                <c:pt idx="77">
                  <c:v>1163.9833</c:v>
                </c:pt>
                <c:pt idx="78">
                  <c:v>1207.1764</c:v>
                </c:pt>
                <c:pt idx="79">
                  <c:v>1195.5859</c:v>
                </c:pt>
                <c:pt idx="80">
                  <c:v>1214.1439</c:v>
                </c:pt>
                <c:pt idx="81">
                  <c:v>1212.0495</c:v>
                </c:pt>
                <c:pt idx="82">
                  <c:v>1220.6117</c:v>
                </c:pt>
                <c:pt idx="83">
                  <c:v>1184.5929</c:v>
                </c:pt>
                <c:pt idx="84">
                  <c:v>1204.6501</c:v>
                </c:pt>
                <c:pt idx="85">
                  <c:v>1185.7867</c:v>
                </c:pt>
                <c:pt idx="86">
                  <c:v>1181.1099</c:v>
                </c:pt>
                <c:pt idx="87">
                  <c:v>1181.1963</c:v>
                </c:pt>
                <c:pt idx="88">
                  <c:v>1222.5552</c:v>
                </c:pt>
                <c:pt idx="89">
                  <c:v>1217.5926</c:v>
                </c:pt>
                <c:pt idx="90">
                  <c:v>1271.0298</c:v>
                </c:pt>
                <c:pt idx="91">
                  <c:v>1268.4142</c:v>
                </c:pt>
                <c:pt idx="92">
                  <c:v>1222.2023</c:v>
                </c:pt>
                <c:pt idx="93">
                  <c:v>1248.6531</c:v>
                </c:pt>
                <c:pt idx="94">
                  <c:v>1233.51</c:v>
                </c:pt>
                <c:pt idx="95">
                  <c:v>1198.1168</c:v>
                </c:pt>
                <c:pt idx="96">
                  <c:v>1150.1633</c:v>
                </c:pt>
                <c:pt idx="97">
                  <c:v>1148.0502</c:v>
                </c:pt>
                <c:pt idx="98">
                  <c:v>1130.0131</c:v>
                </c:pt>
                <c:pt idx="99">
                  <c:v>1100.8128</c:v>
                </c:pt>
                <c:pt idx="100">
                  <c:v>1087.9755</c:v>
                </c:pt>
                <c:pt idx="101">
                  <c:v>1123.3286</c:v>
                </c:pt>
                <c:pt idx="102">
                  <c:v>1145.7458</c:v>
                </c:pt>
                <c:pt idx="103">
                  <c:v>1119.9822</c:v>
                </c:pt>
                <c:pt idx="104">
                  <c:v>1148.4012</c:v>
                </c:pt>
              </c:numCache>
            </c:numRef>
          </c:xVal>
          <c:yVal>
            <c:numRef>
              <c:f>Sheet1!$B$2:$B$106</c:f>
              <c:numCache>
                <c:formatCode>General</c:formatCode>
                <c:ptCount val="105"/>
                <c:pt idx="0">
                  <c:v>0.23418296003728872</c:v>
                </c:pt>
                <c:pt idx="1">
                  <c:v>0.23165931366074022</c:v>
                </c:pt>
                <c:pt idx="2">
                  <c:v>0.23278705032349017</c:v>
                </c:pt>
                <c:pt idx="3">
                  <c:v>0.2333306651724966</c:v>
                </c:pt>
                <c:pt idx="4">
                  <c:v>0.24390852650297945</c:v>
                </c:pt>
                <c:pt idx="5">
                  <c:v>0.24503670603255664</c:v>
                </c:pt>
                <c:pt idx="6">
                  <c:v>0.2710683172856488</c:v>
                </c:pt>
                <c:pt idx="7">
                  <c:v>0.27163461538461536</c:v>
                </c:pt>
                <c:pt idx="8">
                  <c:v>0.2694881600235329</c:v>
                </c:pt>
                <c:pt idx="9">
                  <c:v>0.26030640668523675</c:v>
                </c:pt>
                <c:pt idx="10">
                  <c:v>0.25559079668852813</c:v>
                </c:pt>
                <c:pt idx="11">
                  <c:v>0.23839553955666223</c:v>
                </c:pt>
                <c:pt idx="12">
                  <c:v>0.22530389481518234</c:v>
                </c:pt>
                <c:pt idx="13">
                  <c:v>0.2139519185835194</c:v>
                </c:pt>
                <c:pt idx="14">
                  <c:v>0.19948627892957305</c:v>
                </c:pt>
                <c:pt idx="15">
                  <c:v>0.19059006211180124</c:v>
                </c:pt>
                <c:pt idx="16">
                  <c:v>0.18442418631151627</c:v>
                </c:pt>
                <c:pt idx="17">
                  <c:v>0.18214480981020073</c:v>
                </c:pt>
                <c:pt idx="18">
                  <c:v>0.16781849002477506</c:v>
                </c:pt>
                <c:pt idx="19">
                  <c:v>0.1664623557053836</c:v>
                </c:pt>
                <c:pt idx="20">
                  <c:v>0.1770842061164642</c:v>
                </c:pt>
                <c:pt idx="21">
                  <c:v>0.18134497081865503</c:v>
                </c:pt>
                <c:pt idx="22">
                  <c:v>0.1921511324496399</c:v>
                </c:pt>
                <c:pt idx="23">
                  <c:v>0.20127326150832517</c:v>
                </c:pt>
                <c:pt idx="24">
                  <c:v>0.20410230438085591</c:v>
                </c:pt>
                <c:pt idx="25">
                  <c:v>0.20850965161439916</c:v>
                </c:pt>
                <c:pt idx="26">
                  <c:v>0.2231766279189384</c:v>
                </c:pt>
                <c:pt idx="27">
                  <c:v>0.22059716599190282</c:v>
                </c:pt>
                <c:pt idx="28">
                  <c:v>0.2278031977790345</c:v>
                </c:pt>
                <c:pt idx="29">
                  <c:v>0.22411392120749293</c:v>
                </c:pt>
                <c:pt idx="30">
                  <c:v>0.22836372028617585</c:v>
                </c:pt>
                <c:pt idx="31">
                  <c:v>0.23155645524066576</c:v>
                </c:pt>
                <c:pt idx="32">
                  <c:v>0.2391124358337473</c:v>
                </c:pt>
                <c:pt idx="33">
                  <c:v>0.23732728936930655</c:v>
                </c:pt>
                <c:pt idx="34">
                  <c:v>0.2376046610332986</c:v>
                </c:pt>
                <c:pt idx="35">
                  <c:v>0.25597164957235835</c:v>
                </c:pt>
                <c:pt idx="36">
                  <c:v>0.2249256444150694</c:v>
                </c:pt>
                <c:pt idx="37">
                  <c:v>0.21881479338444476</c:v>
                </c:pt>
                <c:pt idx="38">
                  <c:v>0.20735478882767952</c:v>
                </c:pt>
                <c:pt idx="39">
                  <c:v>0.20157617317435136</c:v>
                </c:pt>
                <c:pt idx="40">
                  <c:v>0.2043353918846106</c:v>
                </c:pt>
                <c:pt idx="41">
                  <c:v>0.19930262433474033</c:v>
                </c:pt>
                <c:pt idx="42">
                  <c:v>0.19792563600782778</c:v>
                </c:pt>
                <c:pt idx="43">
                  <c:v>0.19148566463944397</c:v>
                </c:pt>
                <c:pt idx="44">
                  <c:v>0.18882872746876686</c:v>
                </c:pt>
                <c:pt idx="45">
                  <c:v>0.20146325946347152</c:v>
                </c:pt>
                <c:pt idx="46">
                  <c:v>0.20674221893734088</c:v>
                </c:pt>
                <c:pt idx="47">
                  <c:v>0.20248705097825404</c:v>
                </c:pt>
                <c:pt idx="48">
                  <c:v>0.20068823124569857</c:v>
                </c:pt>
                <c:pt idx="49">
                  <c:v>0.21421377913941334</c:v>
                </c:pt>
                <c:pt idx="50">
                  <c:v>0.20370295834171864</c:v>
                </c:pt>
                <c:pt idx="51">
                  <c:v>0.19657907167540958</c:v>
                </c:pt>
                <c:pt idx="52">
                  <c:v>0.1990873753591347</c:v>
                </c:pt>
                <c:pt idx="53">
                  <c:v>0.1924849250862364</c:v>
                </c:pt>
                <c:pt idx="54">
                  <c:v>0.19632599504300918</c:v>
                </c:pt>
                <c:pt idx="55">
                  <c:v>0.1932637372498579</c:v>
                </c:pt>
                <c:pt idx="56">
                  <c:v>0.1963961784980046</c:v>
                </c:pt>
                <c:pt idx="57">
                  <c:v>0.1902930783620869</c:v>
                </c:pt>
                <c:pt idx="58">
                  <c:v>0.2004390569819605</c:v>
                </c:pt>
                <c:pt idx="59">
                  <c:v>0.19565183241961073</c:v>
                </c:pt>
                <c:pt idx="60">
                  <c:v>0.1985710596539554</c:v>
                </c:pt>
                <c:pt idx="61">
                  <c:v>0.19782154510669264</c:v>
                </c:pt>
                <c:pt idx="62">
                  <c:v>0.21214106590154305</c:v>
                </c:pt>
                <c:pt idx="63">
                  <c:v>0.2160689782292584</c:v>
                </c:pt>
                <c:pt idx="64">
                  <c:v>0.2057314629258517</c:v>
                </c:pt>
                <c:pt idx="65">
                  <c:v>0.20019627085377822</c:v>
                </c:pt>
                <c:pt idx="66">
                  <c:v>0.1993405749644317</c:v>
                </c:pt>
                <c:pt idx="67">
                  <c:v>0.18906573406609092</c:v>
                </c:pt>
                <c:pt idx="68">
                  <c:v>0.1790146244498083</c:v>
                </c:pt>
                <c:pt idx="69">
                  <c:v>0.17184334908845375</c:v>
                </c:pt>
                <c:pt idx="70">
                  <c:v>0.17183179516644523</c:v>
                </c:pt>
                <c:pt idx="71">
                  <c:v>0.1720010810393421</c:v>
                </c:pt>
                <c:pt idx="72">
                  <c:v>0.1703549517966696</c:v>
                </c:pt>
                <c:pt idx="73">
                  <c:v>0.17289084055492948</c:v>
                </c:pt>
                <c:pt idx="74">
                  <c:v>0.1736186858238989</c:v>
                </c:pt>
                <c:pt idx="75">
                  <c:v>0.18380130535722108</c:v>
                </c:pt>
                <c:pt idx="76">
                  <c:v>0.1867787900023359</c:v>
                </c:pt>
                <c:pt idx="77">
                  <c:v>0.17921302316620913</c:v>
                </c:pt>
                <c:pt idx="78">
                  <c:v>0.183714055361462</c:v>
                </c:pt>
                <c:pt idx="79">
                  <c:v>0.16925569427237205</c:v>
                </c:pt>
                <c:pt idx="80">
                  <c:v>0.1642047079005051</c:v>
                </c:pt>
                <c:pt idx="81">
                  <c:v>0.1722029753413491</c:v>
                </c:pt>
                <c:pt idx="82">
                  <c:v>0.17136125654450263</c:v>
                </c:pt>
                <c:pt idx="83">
                  <c:v>0.17091711623344777</c:v>
                </c:pt>
                <c:pt idx="84">
                  <c:v>0.1731971525843392</c:v>
                </c:pt>
                <c:pt idx="85">
                  <c:v>0.1781016320069865</c:v>
                </c:pt>
                <c:pt idx="86">
                  <c:v>0.18914164143687096</c:v>
                </c:pt>
                <c:pt idx="87">
                  <c:v>0.20626872551279096</c:v>
                </c:pt>
                <c:pt idx="88">
                  <c:v>0.19925086345283846</c:v>
                </c:pt>
                <c:pt idx="89">
                  <c:v>0.18920077137347333</c:v>
                </c:pt>
                <c:pt idx="90">
                  <c:v>0.17882288228822882</c:v>
                </c:pt>
                <c:pt idx="91">
                  <c:v>0.17116303770578864</c:v>
                </c:pt>
                <c:pt idx="92">
                  <c:v>0.18376905390445372</c:v>
                </c:pt>
                <c:pt idx="93">
                  <c:v>0.17386494017374202</c:v>
                </c:pt>
                <c:pt idx="94">
                  <c:v>0.17872005918801442</c:v>
                </c:pt>
                <c:pt idx="95">
                  <c:v>0.18349928876244664</c:v>
                </c:pt>
                <c:pt idx="96">
                  <c:v>0.1838017571962526</c:v>
                </c:pt>
                <c:pt idx="97">
                  <c:v>0.18564141638622558</c:v>
                </c:pt>
                <c:pt idx="98">
                  <c:v>0.19047008859925313</c:v>
                </c:pt>
                <c:pt idx="99">
                  <c:v>0.19314582541492462</c:v>
                </c:pt>
                <c:pt idx="100">
                  <c:v>0.19683051921857891</c:v>
                </c:pt>
                <c:pt idx="101">
                  <c:v>0.19314315106433488</c:v>
                </c:pt>
                <c:pt idx="102">
                  <c:v>0.17887716504081227</c:v>
                </c:pt>
                <c:pt idx="103">
                  <c:v>0.1841797332085186</c:v>
                </c:pt>
                <c:pt idx="104">
                  <c:v>0.1828788495455162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95.6848</c:v>
                </c:pt>
                <c:pt idx="1">
                  <c:v>1198.9994</c:v>
                </c:pt>
                <c:pt idx="2">
                  <c:v>1210.5629</c:v>
                </c:pt>
                <c:pt idx="3">
                  <c:v>1199.603</c:v>
                </c:pt>
                <c:pt idx="4">
                  <c:v>1217.8573</c:v>
                </c:pt>
                <c:pt idx="5">
                  <c:v>1213.9471</c:v>
                </c:pt>
                <c:pt idx="6">
                  <c:v>1133.9565</c:v>
                </c:pt>
                <c:pt idx="7">
                  <c:v>1164.5555</c:v>
                </c:pt>
                <c:pt idx="8">
                  <c:v>1201.2923</c:v>
                </c:pt>
                <c:pt idx="9">
                  <c:v>1136.7634</c:v>
                </c:pt>
                <c:pt idx="10">
                  <c:v>1160.9751</c:v>
                </c:pt>
                <c:pt idx="11">
                  <c:v>1076.0515</c:v>
                </c:pt>
                <c:pt idx="12">
                  <c:v>1107.9836</c:v>
                </c:pt>
                <c:pt idx="13">
                  <c:v>1135.0708</c:v>
                </c:pt>
                <c:pt idx="14">
                  <c:v>1145.0448</c:v>
                </c:pt>
                <c:pt idx="15">
                  <c:v>1152.681</c:v>
                </c:pt>
                <c:pt idx="16">
                  <c:v>1202.9584</c:v>
                </c:pt>
                <c:pt idx="17">
                  <c:v>1161.3676</c:v>
                </c:pt>
                <c:pt idx="18">
                  <c:v>1174.7117</c:v>
                </c:pt>
                <c:pt idx="19">
                  <c:v>1255.5536</c:v>
                </c:pt>
                <c:pt idx="20">
                  <c:v>1241.1818</c:v>
                </c:pt>
                <c:pt idx="21">
                  <c:v>1182.4799</c:v>
                </c:pt>
                <c:pt idx="22">
                  <c:v>1207.6495</c:v>
                </c:pt>
                <c:pt idx="23">
                  <c:v>1197.7542</c:v>
                </c:pt>
                <c:pt idx="24">
                  <c:v>1194.7574</c:v>
                </c:pt>
                <c:pt idx="25">
                  <c:v>1180.9858</c:v>
                </c:pt>
                <c:pt idx="26">
                  <c:v>1195.4343</c:v>
                </c:pt>
                <c:pt idx="27">
                  <c:v>1200.8557</c:v>
                </c:pt>
                <c:pt idx="28">
                  <c:v>1239.3249</c:v>
                </c:pt>
                <c:pt idx="29">
                  <c:v>1245.4634</c:v>
                </c:pt>
                <c:pt idx="30">
                  <c:v>1236.1846</c:v>
                </c:pt>
                <c:pt idx="31">
                  <c:v>1222.3516</c:v>
                </c:pt>
                <c:pt idx="32">
                  <c:v>1238.381</c:v>
                </c:pt>
                <c:pt idx="33">
                  <c:v>1235.9333</c:v>
                </c:pt>
                <c:pt idx="34">
                  <c:v>1249.3299</c:v>
                </c:pt>
                <c:pt idx="35">
                  <c:v>1268.9072</c:v>
                </c:pt>
                <c:pt idx="36">
                  <c:v>1290.0027</c:v>
                </c:pt>
                <c:pt idx="37">
                  <c:v>1273.1904</c:v>
                </c:pt>
                <c:pt idx="38">
                  <c:v>1281.431</c:v>
                </c:pt>
                <c:pt idx="39">
                  <c:v>1247.9419</c:v>
                </c:pt>
                <c:pt idx="40">
                  <c:v>1274.4374</c:v>
                </c:pt>
                <c:pt idx="41">
                  <c:v>1296.8614</c:v>
                </c:pt>
                <c:pt idx="42">
                  <c:v>1292.6702</c:v>
                </c:pt>
                <c:pt idx="43">
                  <c:v>1302.0746</c:v>
                </c:pt>
                <c:pt idx="44">
                  <c:v>1228.3732</c:v>
                </c:pt>
                <c:pt idx="45">
                  <c:v>1191.7719</c:v>
                </c:pt>
                <c:pt idx="46">
                  <c:v>1187.7071</c:v>
                </c:pt>
                <c:pt idx="47">
                  <c:v>1166.1368</c:v>
                </c:pt>
                <c:pt idx="48">
                  <c:v>1151.4027</c:v>
                </c:pt>
                <c:pt idx="49">
                  <c:v>1160.7003</c:v>
                </c:pt>
                <c:pt idx="50">
                  <c:v>1117.3454</c:v>
                </c:pt>
                <c:pt idx="51">
                  <c:v>1097.8635</c:v>
                </c:pt>
              </c:numCache>
            </c:numRef>
          </c:xVal>
          <c:yVal>
            <c:numRef>
              <c:f>Sheet1!$B$109:$B$160</c:f>
              <c:numCache>
                <c:formatCode>General</c:formatCode>
                <c:ptCount val="52"/>
                <c:pt idx="0">
                  <c:v>0.1894963069094143</c:v>
                </c:pt>
                <c:pt idx="1">
                  <c:v>0.18750654793085386</c:v>
                </c:pt>
                <c:pt idx="2">
                  <c:v>0.20014538973829848</c:v>
                </c:pt>
                <c:pt idx="3">
                  <c:v>0.21038936683935394</c:v>
                </c:pt>
                <c:pt idx="4">
                  <c:v>0.1959896821920475</c:v>
                </c:pt>
                <c:pt idx="5">
                  <c:v>0.19458164213408968</c:v>
                </c:pt>
                <c:pt idx="6">
                  <c:v>0.20185614849187936</c:v>
                </c:pt>
                <c:pt idx="7">
                  <c:v>0.19727827016154378</c:v>
                </c:pt>
                <c:pt idx="8">
                  <c:v>0.18963312016156175</c:v>
                </c:pt>
                <c:pt idx="9">
                  <c:v>0.19934265604167312</c:v>
                </c:pt>
                <c:pt idx="10">
                  <c:v>0.20140063503368053</c:v>
                </c:pt>
                <c:pt idx="11">
                  <c:v>0.20503451986012733</c:v>
                </c:pt>
                <c:pt idx="12">
                  <c:v>0.2040353661301292</c:v>
                </c:pt>
                <c:pt idx="13">
                  <c:v>0.2056782334384858</c:v>
                </c:pt>
                <c:pt idx="14">
                  <c:v>0.20327488769743515</c:v>
                </c:pt>
                <c:pt idx="15">
                  <c:v>0.20087417464893517</c:v>
                </c:pt>
                <c:pt idx="16">
                  <c:v>0.1910104279036318</c:v>
                </c:pt>
                <c:pt idx="17">
                  <c:v>0.1925306829305022</c:v>
                </c:pt>
                <c:pt idx="18">
                  <c:v>0.196917183509668</c:v>
                </c:pt>
                <c:pt idx="19">
                  <c:v>0.19663485685585133</c:v>
                </c:pt>
                <c:pt idx="20">
                  <c:v>0.1837483739081955</c:v>
                </c:pt>
                <c:pt idx="21">
                  <c:v>0.1940855584266437</c:v>
                </c:pt>
                <c:pt idx="22">
                  <c:v>0.19056251062142412</c:v>
                </c:pt>
                <c:pt idx="23">
                  <c:v>0.1984478935698448</c:v>
                </c:pt>
                <c:pt idx="24">
                  <c:v>0.19864755206924534</c:v>
                </c:pt>
                <c:pt idx="25">
                  <c:v>0.19644681575661255</c:v>
                </c:pt>
                <c:pt idx="26">
                  <c:v>0.19033461268176657</c:v>
                </c:pt>
                <c:pt idx="27">
                  <c:v>0.19085876647234606</c:v>
                </c:pt>
                <c:pt idx="28">
                  <c:v>0.1812658003282033</c:v>
                </c:pt>
                <c:pt idx="29">
                  <c:v>0.18279283123533177</c:v>
                </c:pt>
                <c:pt idx="30">
                  <c:v>0.19084139157496943</c:v>
                </c:pt>
                <c:pt idx="31">
                  <c:v>0.1821759399406672</c:v>
                </c:pt>
                <c:pt idx="32">
                  <c:v>0.17766712575484692</c:v>
                </c:pt>
                <c:pt idx="33">
                  <c:v>0.1963195611784482</c:v>
                </c:pt>
                <c:pt idx="34">
                  <c:v>0.21426120376089494</c:v>
                </c:pt>
                <c:pt idx="35">
                  <c:v>0.2104092893024788</c:v>
                </c:pt>
                <c:pt idx="36">
                  <c:v>0.19495100266078266</c:v>
                </c:pt>
                <c:pt idx="37">
                  <c:v>0.1963151207115629</c:v>
                </c:pt>
                <c:pt idx="38">
                  <c:v>0.1955647775904552</c:v>
                </c:pt>
                <c:pt idx="39">
                  <c:v>0.20316422718014304</c:v>
                </c:pt>
                <c:pt idx="40">
                  <c:v>0.18989506772061202</c:v>
                </c:pt>
                <c:pt idx="41">
                  <c:v>0.1931857638888889</c:v>
                </c:pt>
                <c:pt idx="42">
                  <c:v>0.19118435808669365</c:v>
                </c:pt>
                <c:pt idx="43">
                  <c:v>0.1848424212106053</c:v>
                </c:pt>
                <c:pt idx="44">
                  <c:v>0.18245932342268523</c:v>
                </c:pt>
                <c:pt idx="45">
                  <c:v>0.19764369081700067</c:v>
                </c:pt>
                <c:pt idx="46">
                  <c:v>0.20973189782562804</c:v>
                </c:pt>
                <c:pt idx="47">
                  <c:v>0.2101964475933312</c:v>
                </c:pt>
                <c:pt idx="48">
                  <c:v>0.2043618236577007</c:v>
                </c:pt>
                <c:pt idx="49">
                  <c:v>0.21280588500225192</c:v>
                </c:pt>
                <c:pt idx="50">
                  <c:v>0.21910028766987402</c:v>
                </c:pt>
                <c:pt idx="51">
                  <c:v>0.2106088600524212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98.8196222714489</c:v>
                </c:pt>
              </c:numCache>
            </c:numRef>
          </c:xVal>
          <c:yVal>
            <c:numRef>
              <c:f>Sheet1!$B$163:$B$164</c:f>
              <c:numCache>
                <c:formatCode>General</c:formatCode>
                <c:ptCount val="2"/>
                <c:pt idx="0">
                  <c:v>0.24812181271370543</c:v>
                </c:pt>
                <c:pt idx="1">
                  <c:v>0.248121812713705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98.8196222714489</c:v>
                </c:pt>
                <c:pt idx="1">
                  <c:v>598.8196222714489</c:v>
                </c:pt>
              </c:numCache>
            </c:numRef>
          </c:xVal>
          <c:yVal>
            <c:numRef>
              <c:f>Sheet1!$B$167:$B$168</c:f>
              <c:numCache>
                <c:formatCode>General</c:formatCode>
                <c:ptCount val="2"/>
                <c:pt idx="0">
                  <c:v>0.248121812713705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27.9668659640793</c:v>
                </c:pt>
              </c:numCache>
            </c:numRef>
          </c:xVal>
          <c:yVal>
            <c:numRef>
              <c:f>Sheet1!$B$171:$B$172</c:f>
              <c:numCache>
                <c:formatCode>General</c:formatCode>
                <c:ptCount val="2"/>
                <c:pt idx="0">
                  <c:v>0.211719214095562</c:v>
                </c:pt>
                <c:pt idx="1">
                  <c:v>0.21171921409556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27.9668659640793</c:v>
                </c:pt>
                <c:pt idx="1">
                  <c:v>1027.9668659640793</c:v>
                </c:pt>
              </c:numCache>
            </c:numRef>
          </c:xVal>
          <c:yVal>
            <c:numRef>
              <c:f>Sheet1!$B$175:$B$176</c:f>
              <c:numCache>
                <c:formatCode>General</c:formatCode>
                <c:ptCount val="2"/>
                <c:pt idx="0">
                  <c:v>0.2117192140955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7.7988791508278</c:v>
                </c:pt>
              </c:numCache>
            </c:numRef>
          </c:xVal>
          <c:yVal>
            <c:numRef>
              <c:f>Sheet1!$B$179:$B$180</c:f>
              <c:numCache>
                <c:formatCode>General</c:formatCode>
                <c:ptCount val="2"/>
                <c:pt idx="0">
                  <c:v>0.20070615800983355</c:v>
                </c:pt>
                <c:pt idx="1">
                  <c:v>0.2007061580098335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7.7988791508278</c:v>
                </c:pt>
                <c:pt idx="1">
                  <c:v>1157.7988791508278</c:v>
                </c:pt>
              </c:numCache>
            </c:numRef>
          </c:xVal>
          <c:yVal>
            <c:numRef>
              <c:f>Sheet1!$B$183:$B$184</c:f>
              <c:numCache>
                <c:formatCode>General</c:formatCode>
                <c:ptCount val="2"/>
                <c:pt idx="0">
                  <c:v>0.200706158009833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95.6848</c:v>
                </c:pt>
                <c:pt idx="1">
                  <c:v>1198.9994</c:v>
                </c:pt>
                <c:pt idx="2">
                  <c:v>1210.5629</c:v>
                </c:pt>
                <c:pt idx="3">
                  <c:v>1199.603</c:v>
                </c:pt>
                <c:pt idx="4">
                  <c:v>1217.8573</c:v>
                </c:pt>
                <c:pt idx="5">
                  <c:v>1213.9471</c:v>
                </c:pt>
                <c:pt idx="6">
                  <c:v>1133.9565</c:v>
                </c:pt>
                <c:pt idx="7">
                  <c:v>1164.5555</c:v>
                </c:pt>
                <c:pt idx="8">
                  <c:v>1201.2923</c:v>
                </c:pt>
                <c:pt idx="9">
                  <c:v>1136.7634</c:v>
                </c:pt>
                <c:pt idx="10">
                  <c:v>1160.9751</c:v>
                </c:pt>
                <c:pt idx="11">
                  <c:v>1076.0515</c:v>
                </c:pt>
                <c:pt idx="12">
                  <c:v>1107.9836</c:v>
                </c:pt>
                <c:pt idx="13">
                  <c:v>1135.0708</c:v>
                </c:pt>
                <c:pt idx="14">
                  <c:v>1145.0448</c:v>
                </c:pt>
                <c:pt idx="15">
                  <c:v>1152.681</c:v>
                </c:pt>
                <c:pt idx="16">
                  <c:v>1202.9584</c:v>
                </c:pt>
                <c:pt idx="17">
                  <c:v>1161.3676</c:v>
                </c:pt>
                <c:pt idx="18">
                  <c:v>1174.7117</c:v>
                </c:pt>
                <c:pt idx="19">
                  <c:v>1255.5536</c:v>
                </c:pt>
                <c:pt idx="20">
                  <c:v>1241.1818</c:v>
                </c:pt>
                <c:pt idx="21">
                  <c:v>1182.4799</c:v>
                </c:pt>
                <c:pt idx="22">
                  <c:v>1207.6495</c:v>
                </c:pt>
                <c:pt idx="23">
                  <c:v>1197.7542</c:v>
                </c:pt>
                <c:pt idx="24">
                  <c:v>1194.7574</c:v>
                </c:pt>
                <c:pt idx="25">
                  <c:v>1180.9858</c:v>
                </c:pt>
                <c:pt idx="26">
                  <c:v>1195.4343</c:v>
                </c:pt>
                <c:pt idx="27">
                  <c:v>1200.8557</c:v>
                </c:pt>
                <c:pt idx="28">
                  <c:v>1239.3249</c:v>
                </c:pt>
                <c:pt idx="29">
                  <c:v>1245.4634</c:v>
                </c:pt>
                <c:pt idx="30">
                  <c:v>1236.1846</c:v>
                </c:pt>
                <c:pt idx="31">
                  <c:v>1222.3516</c:v>
                </c:pt>
                <c:pt idx="32">
                  <c:v>1238.381</c:v>
                </c:pt>
                <c:pt idx="33">
                  <c:v>1235.9333</c:v>
                </c:pt>
                <c:pt idx="34">
                  <c:v>1249.3299</c:v>
                </c:pt>
                <c:pt idx="35">
                  <c:v>1268.9072</c:v>
                </c:pt>
                <c:pt idx="36">
                  <c:v>1290.0027</c:v>
                </c:pt>
                <c:pt idx="37">
                  <c:v>1273.1904</c:v>
                </c:pt>
                <c:pt idx="38">
                  <c:v>1281.431</c:v>
                </c:pt>
                <c:pt idx="39">
                  <c:v>1247.9419</c:v>
                </c:pt>
                <c:pt idx="40">
                  <c:v>1274.4374</c:v>
                </c:pt>
                <c:pt idx="41">
                  <c:v>1296.8614</c:v>
                </c:pt>
                <c:pt idx="42">
                  <c:v>1292.6702</c:v>
                </c:pt>
                <c:pt idx="43">
                  <c:v>1302.0746</c:v>
                </c:pt>
                <c:pt idx="44">
                  <c:v>1228.3732</c:v>
                </c:pt>
                <c:pt idx="45">
                  <c:v>1191.7719</c:v>
                </c:pt>
                <c:pt idx="46">
                  <c:v>1187.7071</c:v>
                </c:pt>
                <c:pt idx="47">
                  <c:v>1166.1368</c:v>
                </c:pt>
                <c:pt idx="48">
                  <c:v>1151.4027</c:v>
                </c:pt>
                <c:pt idx="49">
                  <c:v>1160.7003</c:v>
                </c:pt>
                <c:pt idx="50">
                  <c:v>1117.3454</c:v>
                </c:pt>
                <c:pt idx="51">
                  <c:v>1097.8635</c:v>
                </c:pt>
                <c:pt idx="52">
                  <c:v>1027.9668659640793</c:v>
                </c:pt>
                <c:pt idx="53">
                  <c:v>598.8196222714489</c:v>
                </c:pt>
                <c:pt idx="54">
                  <c:v>1157.7988791508278</c:v>
                </c:pt>
              </c:numCache>
            </c:numRef>
          </c:xVal>
          <c:yVal>
            <c:numRef>
              <c:f>Sheet1!$B$187:$B$241</c:f>
              <c:numCache>
                <c:formatCode>General</c:formatCode>
                <c:ptCount val="55"/>
                <c:pt idx="0">
                  <c:v>0.19749246855890246</c:v>
                </c:pt>
                <c:pt idx="1">
                  <c:v>0.1972113061952776</c:v>
                </c:pt>
                <c:pt idx="2">
                  <c:v>0.19623042735868326</c:v>
                </c:pt>
                <c:pt idx="3">
                  <c:v>0.1971601055669412</c:v>
                </c:pt>
                <c:pt idx="4">
                  <c:v>0.19561167675673283</c:v>
                </c:pt>
                <c:pt idx="5">
                  <c:v>0.1959433611452701</c:v>
                </c:pt>
                <c:pt idx="6">
                  <c:v>0.20272859802566834</c:v>
                </c:pt>
                <c:pt idx="7">
                  <c:v>0.20013302475451766</c:v>
                </c:pt>
                <c:pt idx="8">
                  <c:v>0.197016809971433</c:v>
                </c:pt>
                <c:pt idx="9">
                  <c:v>0.20249050153183543</c:v>
                </c:pt>
                <c:pt idx="10">
                  <c:v>0.20043673371690296</c:v>
                </c:pt>
                <c:pt idx="11">
                  <c:v>0.20764041443358947</c:v>
                </c:pt>
                <c:pt idx="12">
                  <c:v>0.20493176038438166</c:v>
                </c:pt>
                <c:pt idx="13">
                  <c:v>0.20263407705125597</c:v>
                </c:pt>
                <c:pt idx="14">
                  <c:v>0.20178802823245615</c:v>
                </c:pt>
                <c:pt idx="15">
                  <c:v>0.20114028429921776</c:v>
                </c:pt>
                <c:pt idx="16">
                  <c:v>0.19687548232585425</c:v>
                </c:pt>
                <c:pt idx="17">
                  <c:v>0.2004034397364158</c:v>
                </c:pt>
                <c:pt idx="18">
                  <c:v>0.19927152074273752</c:v>
                </c:pt>
                <c:pt idx="19">
                  <c:v>0.1924140719754891</c:v>
                </c:pt>
                <c:pt idx="20">
                  <c:v>0.19363316606151554</c:v>
                </c:pt>
                <c:pt idx="21">
                  <c:v>0.19861257985300412</c:v>
                </c:pt>
                <c:pt idx="22">
                  <c:v>0.1964775577605974</c:v>
                </c:pt>
                <c:pt idx="23">
                  <c:v>0.1973169308182142</c:v>
                </c:pt>
                <c:pt idx="24">
                  <c:v>0.19757113566082293</c:v>
                </c:pt>
                <c:pt idx="25">
                  <c:v>0.19873931752496812</c:v>
                </c:pt>
                <c:pt idx="26">
                  <c:v>0.1975137173286146</c:v>
                </c:pt>
                <c:pt idx="27">
                  <c:v>0.19705384475329463</c:v>
                </c:pt>
                <c:pt idx="28">
                  <c:v>0.1937906783987553</c:v>
                </c:pt>
                <c:pt idx="29">
                  <c:v>0.1932699775090217</c:v>
                </c:pt>
                <c:pt idx="30">
                  <c:v>0.19405705569028098</c:v>
                </c:pt>
                <c:pt idx="31">
                  <c:v>0.19523044583570492</c:v>
                </c:pt>
                <c:pt idx="32">
                  <c:v>0.19387074512023766</c:v>
                </c:pt>
                <c:pt idx="33">
                  <c:v>0.1940783723203356</c:v>
                </c:pt>
                <c:pt idx="34">
                  <c:v>0.19294199999168768</c:v>
                </c:pt>
                <c:pt idx="35">
                  <c:v>0.19128134714024486</c:v>
                </c:pt>
                <c:pt idx="36">
                  <c:v>0.1894919123240235</c:v>
                </c:pt>
                <c:pt idx="37">
                  <c:v>0.19091802286706627</c:v>
                </c:pt>
                <c:pt idx="38">
                  <c:v>0.19021901044514908</c:v>
                </c:pt>
                <c:pt idx="39">
                  <c:v>0.19305973768574164</c:v>
                </c:pt>
                <c:pt idx="40">
                  <c:v>0.1908122455583593</c:v>
                </c:pt>
                <c:pt idx="41">
                  <c:v>0.1889101201610495</c:v>
                </c:pt>
                <c:pt idx="42">
                  <c:v>0.18926564049485278</c:v>
                </c:pt>
                <c:pt idx="43">
                  <c:v>0.1884679082398376</c:v>
                </c:pt>
                <c:pt idx="44">
                  <c:v>0.1947196610385037</c:v>
                </c:pt>
                <c:pt idx="45">
                  <c:v>0.19782438197609534</c:v>
                </c:pt>
                <c:pt idx="46">
                  <c:v>0.19816918037580034</c:v>
                </c:pt>
                <c:pt idx="47">
                  <c:v>0.1999988903052327</c:v>
                </c:pt>
                <c:pt idx="48">
                  <c:v>0.2012487166438209</c:v>
                </c:pt>
                <c:pt idx="49">
                  <c:v>0.20046004374451537</c:v>
                </c:pt>
                <c:pt idx="50">
                  <c:v>0.20413764169259896</c:v>
                </c:pt>
                <c:pt idx="51">
                  <c:v>0.20579020219821126</c:v>
                </c:pt>
                <c:pt idx="52">
                  <c:v>0.211719214095562</c:v>
                </c:pt>
                <c:pt idx="53">
                  <c:v>0.24812181271370543</c:v>
                </c:pt>
                <c:pt idx="54">
                  <c:v>0.200706158009833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2.0"/>
          <c:min val="47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59615384615384"/>
          <c:min val="0.1313637663204040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40.3724</c:v>
                </c:pt>
                <c:pt idx="1">
                  <c:v>1061.8576</c:v>
                </c:pt>
                <c:pt idx="2">
                  <c:v>1103.9922</c:v>
                </c:pt>
                <c:pt idx="3">
                  <c:v>1121.6438</c:v>
                </c:pt>
                <c:pt idx="4">
                  <c:v>1102.8794</c:v>
                </c:pt>
                <c:pt idx="5">
                  <c:v>1087.1859</c:v>
                </c:pt>
                <c:pt idx="6">
                  <c:v>1063.4153</c:v>
                </c:pt>
                <c:pt idx="7">
                  <c:v>1074.9487</c:v>
                </c:pt>
                <c:pt idx="8">
                  <c:v>1064.9677</c:v>
                </c:pt>
                <c:pt idx="9">
                  <c:v>1053.7494</c:v>
                </c:pt>
                <c:pt idx="10">
                  <c:v>1033.8269</c:v>
                </c:pt>
                <c:pt idx="11">
                  <c:v>1026.3446</c:v>
                </c:pt>
                <c:pt idx="12">
                  <c:v>1025.0957</c:v>
                </c:pt>
                <c:pt idx="13">
                  <c:v>1029.6344</c:v>
                </c:pt>
                <c:pt idx="14">
                  <c:v>1085.7141</c:v>
                </c:pt>
                <c:pt idx="15">
                  <c:v>1080.0835</c:v>
                </c:pt>
                <c:pt idx="16">
                  <c:v>1086.2838</c:v>
                </c:pt>
                <c:pt idx="17">
                  <c:v>1121.7477</c:v>
                </c:pt>
                <c:pt idx="18">
                  <c:v>1160.0662</c:v>
                </c:pt>
                <c:pt idx="19">
                  <c:v>1194.7839</c:v>
                </c:pt>
                <c:pt idx="20">
                  <c:v>1190.6809</c:v>
                </c:pt>
                <c:pt idx="21">
                  <c:v>1190.6619</c:v>
                </c:pt>
                <c:pt idx="22">
                  <c:v>1216.8437</c:v>
                </c:pt>
                <c:pt idx="23">
                  <c:v>1195.7293</c:v>
                </c:pt>
                <c:pt idx="24">
                  <c:v>1193.8014</c:v>
                </c:pt>
                <c:pt idx="25">
                  <c:v>1121.6241</c:v>
                </c:pt>
                <c:pt idx="26">
                  <c:v>1158.1418</c:v>
                </c:pt>
                <c:pt idx="27">
                  <c:v>1154.7188</c:v>
                </c:pt>
                <c:pt idx="28">
                  <c:v>1164.8646</c:v>
                </c:pt>
                <c:pt idx="29">
                  <c:v>1146.3761</c:v>
                </c:pt>
                <c:pt idx="30">
                  <c:v>1177.6982</c:v>
                </c:pt>
                <c:pt idx="31">
                  <c:v>1148.21</c:v>
                </c:pt>
                <c:pt idx="32">
                  <c:v>1167.0179</c:v>
                </c:pt>
                <c:pt idx="33">
                  <c:v>1130.5789</c:v>
                </c:pt>
                <c:pt idx="34">
                  <c:v>1165.7556</c:v>
                </c:pt>
                <c:pt idx="35">
                  <c:v>1198.3211</c:v>
                </c:pt>
                <c:pt idx="36">
                  <c:v>1249.1518</c:v>
                </c:pt>
                <c:pt idx="37">
                  <c:v>1266.6062</c:v>
                </c:pt>
                <c:pt idx="38">
                  <c:v>1339.7076</c:v>
                </c:pt>
                <c:pt idx="39">
                  <c:v>1311.3775</c:v>
                </c:pt>
                <c:pt idx="40">
                  <c:v>1360.417</c:v>
                </c:pt>
                <c:pt idx="41">
                  <c:v>1336.1196</c:v>
                </c:pt>
                <c:pt idx="42">
                  <c:v>1392.0627</c:v>
                </c:pt>
                <c:pt idx="43">
                  <c:v>1410.0398</c:v>
                </c:pt>
                <c:pt idx="44">
                  <c:v>1273.9782</c:v>
                </c:pt>
                <c:pt idx="45">
                  <c:v>1216.899</c:v>
                </c:pt>
                <c:pt idx="46">
                  <c:v>1224.017</c:v>
                </c:pt>
                <c:pt idx="47">
                  <c:v>1213.8984</c:v>
                </c:pt>
                <c:pt idx="48">
                  <c:v>1190.7371</c:v>
                </c:pt>
                <c:pt idx="49">
                  <c:v>1162.1957</c:v>
                </c:pt>
                <c:pt idx="50">
                  <c:v>1165.8976</c:v>
                </c:pt>
                <c:pt idx="51">
                  <c:v>1208.1121</c:v>
                </c:pt>
                <c:pt idx="52">
                  <c:v>1197.3808</c:v>
                </c:pt>
                <c:pt idx="53">
                  <c:v>1342.1474</c:v>
                </c:pt>
                <c:pt idx="54">
                  <c:v>1351.7973</c:v>
                </c:pt>
                <c:pt idx="55">
                  <c:v>1353.7072</c:v>
                </c:pt>
                <c:pt idx="56">
                  <c:v>1339.3817</c:v>
                </c:pt>
                <c:pt idx="57">
                  <c:v>1335.9022</c:v>
                </c:pt>
                <c:pt idx="58">
                  <c:v>1314.6643</c:v>
                </c:pt>
                <c:pt idx="59">
                  <c:v>1294.8744</c:v>
                </c:pt>
                <c:pt idx="60">
                  <c:v>1288.7535</c:v>
                </c:pt>
                <c:pt idx="61">
                  <c:v>1271.2859</c:v>
                </c:pt>
                <c:pt idx="62">
                  <c:v>1240.33</c:v>
                </c:pt>
                <c:pt idx="63">
                  <c:v>1206.2942</c:v>
                </c:pt>
                <c:pt idx="64">
                  <c:v>1226.5439</c:v>
                </c:pt>
                <c:pt idx="65">
                  <c:v>1208.6135</c:v>
                </c:pt>
                <c:pt idx="66">
                  <c:v>1258.2179</c:v>
                </c:pt>
                <c:pt idx="67">
                  <c:v>1291.0059</c:v>
                </c:pt>
                <c:pt idx="68">
                  <c:v>1296.8247</c:v>
                </c:pt>
                <c:pt idx="69">
                  <c:v>1333.4814</c:v>
                </c:pt>
                <c:pt idx="70">
                  <c:v>1340.5245</c:v>
                </c:pt>
                <c:pt idx="71">
                  <c:v>1375.6717</c:v>
                </c:pt>
                <c:pt idx="72">
                  <c:v>1386.0923</c:v>
                </c:pt>
                <c:pt idx="73">
                  <c:v>1370.1044</c:v>
                </c:pt>
                <c:pt idx="74">
                  <c:v>1338.6772</c:v>
                </c:pt>
                <c:pt idx="75">
                  <c:v>1333.4521</c:v>
                </c:pt>
                <c:pt idx="76">
                  <c:v>1337.578</c:v>
                </c:pt>
                <c:pt idx="77">
                  <c:v>1324.0923</c:v>
                </c:pt>
                <c:pt idx="78">
                  <c:v>1370.3553</c:v>
                </c:pt>
                <c:pt idx="79">
                  <c:v>1371.0449</c:v>
                </c:pt>
                <c:pt idx="80">
                  <c:v>1365.1591</c:v>
                </c:pt>
                <c:pt idx="81">
                  <c:v>1393.3299</c:v>
                </c:pt>
                <c:pt idx="82">
                  <c:v>1402.4973</c:v>
                </c:pt>
                <c:pt idx="83">
                  <c:v>1366.7442</c:v>
                </c:pt>
                <c:pt idx="84">
                  <c:v>1363.3371</c:v>
                </c:pt>
                <c:pt idx="85">
                  <c:v>1360.8695</c:v>
                </c:pt>
                <c:pt idx="86">
                  <c:v>1324.7617</c:v>
                </c:pt>
                <c:pt idx="87">
                  <c:v>1342.0882</c:v>
                </c:pt>
                <c:pt idx="88">
                  <c:v>1341.7728</c:v>
                </c:pt>
                <c:pt idx="89">
                  <c:v>1321.8898</c:v>
                </c:pt>
                <c:pt idx="90">
                  <c:v>1347.3625</c:v>
                </c:pt>
                <c:pt idx="91">
                  <c:v>1372.0207</c:v>
                </c:pt>
                <c:pt idx="92">
                  <c:v>1344.466</c:v>
                </c:pt>
                <c:pt idx="93">
                  <c:v>1348.8169</c:v>
                </c:pt>
                <c:pt idx="94">
                  <c:v>1375.6567</c:v>
                </c:pt>
                <c:pt idx="95">
                  <c:v>1304.542</c:v>
                </c:pt>
                <c:pt idx="96">
                  <c:v>1245.9126</c:v>
                </c:pt>
                <c:pt idx="97">
                  <c:v>1273.2071</c:v>
                </c:pt>
                <c:pt idx="98">
                  <c:v>1250.1847</c:v>
                </c:pt>
                <c:pt idx="99">
                  <c:v>1235.0945</c:v>
                </c:pt>
                <c:pt idx="100">
                  <c:v>1214.1287</c:v>
                </c:pt>
                <c:pt idx="101">
                  <c:v>1271.926</c:v>
                </c:pt>
                <c:pt idx="102">
                  <c:v>1281.9282</c:v>
                </c:pt>
                <c:pt idx="103">
                  <c:v>1026.5476</c:v>
                </c:pt>
                <c:pt idx="104">
                  <c:v>1128.9769</c:v>
                </c:pt>
              </c:numCache>
            </c:numRef>
          </c:xVal>
          <c:yVal>
            <c:numRef>
              <c:f>Sheet1!$B$2:$B$106</c:f>
              <c:numCache>
                <c:formatCode>General</c:formatCode>
                <c:ptCount val="105"/>
                <c:pt idx="0">
                  <c:v>0.17285149925522958</c:v>
                </c:pt>
                <c:pt idx="1">
                  <c:v>0.17510005717552887</c:v>
                </c:pt>
                <c:pt idx="2">
                  <c:v>0.18127357443976036</c:v>
                </c:pt>
                <c:pt idx="3">
                  <c:v>0.17871738447029237</c:v>
                </c:pt>
                <c:pt idx="4">
                  <c:v>0.18096093399191737</c:v>
                </c:pt>
                <c:pt idx="5">
                  <c:v>0.17093942054433714</c:v>
                </c:pt>
                <c:pt idx="6">
                  <c:v>0.1792242163592755</c:v>
                </c:pt>
                <c:pt idx="7">
                  <c:v>0.17662362690306418</c:v>
                </c:pt>
                <c:pt idx="8">
                  <c:v>0.18821652876084138</c:v>
                </c:pt>
                <c:pt idx="9">
                  <c:v>0.1716377649325626</c:v>
                </c:pt>
                <c:pt idx="10">
                  <c:v>0.18408986703347088</c:v>
                </c:pt>
                <c:pt idx="11">
                  <c:v>0.1763699961134862</c:v>
                </c:pt>
                <c:pt idx="12">
                  <c:v>0.1919142717973697</c:v>
                </c:pt>
                <c:pt idx="13">
                  <c:v>0.1839384104460714</c:v>
                </c:pt>
                <c:pt idx="14">
                  <c:v>0.18140849373663306</c:v>
                </c:pt>
                <c:pt idx="15">
                  <c:v>0.17968536873692825</c:v>
                </c:pt>
                <c:pt idx="16">
                  <c:v>0.16588025584565377</c:v>
                </c:pt>
                <c:pt idx="17">
                  <c:v>0.17308135515095643</c:v>
                </c:pt>
                <c:pt idx="18">
                  <c:v>0.15375462718138552</c:v>
                </c:pt>
                <c:pt idx="19">
                  <c:v>0.1353030303030303</c:v>
                </c:pt>
                <c:pt idx="20">
                  <c:v>0.15489266100848728</c:v>
                </c:pt>
                <c:pt idx="21">
                  <c:v>0.16386678455643972</c:v>
                </c:pt>
                <c:pt idx="22">
                  <c:v>0.13314234016887816</c:v>
                </c:pt>
                <c:pt idx="23">
                  <c:v>0.13682678311499272</c:v>
                </c:pt>
                <c:pt idx="24">
                  <c:v>0.1518347942356262</c:v>
                </c:pt>
                <c:pt idx="25">
                  <c:v>0.15676039737329517</c:v>
                </c:pt>
                <c:pt idx="26">
                  <c:v>0.1492620439988861</c:v>
                </c:pt>
                <c:pt idx="27">
                  <c:v>0.1447193402500665</c:v>
                </c:pt>
                <c:pt idx="28">
                  <c:v>0.14910204649867742</c:v>
                </c:pt>
                <c:pt idx="29">
                  <c:v>0.15953012504736644</c:v>
                </c:pt>
                <c:pt idx="30">
                  <c:v>0.13584366062917064</c:v>
                </c:pt>
                <c:pt idx="31">
                  <c:v>0.13010402111473374</c:v>
                </c:pt>
                <c:pt idx="32">
                  <c:v>0.1303807303807304</c:v>
                </c:pt>
                <c:pt idx="33">
                  <c:v>0.1387547963856913</c:v>
                </c:pt>
                <c:pt idx="34">
                  <c:v>0.14318936877076413</c:v>
                </c:pt>
                <c:pt idx="35">
                  <c:v>0.1562043795620438</c:v>
                </c:pt>
                <c:pt idx="36">
                  <c:v>0.1653139683895771</c:v>
                </c:pt>
                <c:pt idx="37">
                  <c:v>0.11661506707946337</c:v>
                </c:pt>
                <c:pt idx="38">
                  <c:v>0.10790875563447616</c:v>
                </c:pt>
                <c:pt idx="39">
                  <c:v>0.1250916556679865</c:v>
                </c:pt>
                <c:pt idx="40">
                  <c:v>0.13068113321277877</c:v>
                </c:pt>
                <c:pt idx="41">
                  <c:v>0.13534325241451317</c:v>
                </c:pt>
                <c:pt idx="42">
                  <c:v>0.12904656319290467</c:v>
                </c:pt>
                <c:pt idx="43">
                  <c:v>0.13416444048679133</c:v>
                </c:pt>
                <c:pt idx="44">
                  <c:v>0.13128695767723075</c:v>
                </c:pt>
                <c:pt idx="45">
                  <c:v>0.14931827737401646</c:v>
                </c:pt>
                <c:pt idx="46">
                  <c:v>0.15283765428453316</c:v>
                </c:pt>
                <c:pt idx="47">
                  <c:v>0.15739419876367094</c:v>
                </c:pt>
                <c:pt idx="48">
                  <c:v>0.16090731880205564</c:v>
                </c:pt>
                <c:pt idx="49">
                  <c:v>0.17951789189998502</c:v>
                </c:pt>
                <c:pt idx="50">
                  <c:v>0.15941365093907467</c:v>
                </c:pt>
                <c:pt idx="51">
                  <c:v>0.1580344332855093</c:v>
                </c:pt>
                <c:pt idx="52">
                  <c:v>0.15680671247035935</c:v>
                </c:pt>
                <c:pt idx="53">
                  <c:v>0.14512310606060605</c:v>
                </c:pt>
                <c:pt idx="54">
                  <c:v>0.1331049250535332</c:v>
                </c:pt>
                <c:pt idx="55">
                  <c:v>0.13680257510729613</c:v>
                </c:pt>
                <c:pt idx="56">
                  <c:v>0.16538952745849297</c:v>
                </c:pt>
                <c:pt idx="57">
                  <c:v>0.15572653682776308</c:v>
                </c:pt>
                <c:pt idx="58">
                  <c:v>0.1601654424873422</c:v>
                </c:pt>
                <c:pt idx="59">
                  <c:v>0.1552903373881111</c:v>
                </c:pt>
                <c:pt idx="60">
                  <c:v>0.1709623676989416</c:v>
                </c:pt>
                <c:pt idx="61">
                  <c:v>0.18203408773400392</c:v>
                </c:pt>
                <c:pt idx="62">
                  <c:v>0.17696705690171521</c:v>
                </c:pt>
                <c:pt idx="63">
                  <c:v>0.18850922286059874</c:v>
                </c:pt>
                <c:pt idx="64">
                  <c:v>0.16795490207473704</c:v>
                </c:pt>
                <c:pt idx="65">
                  <c:v>0.16964228985323082</c:v>
                </c:pt>
                <c:pt idx="66">
                  <c:v>0.15924645930744732</c:v>
                </c:pt>
                <c:pt idx="67">
                  <c:v>0.16667845772904138</c:v>
                </c:pt>
                <c:pt idx="68">
                  <c:v>0.14343235504652826</c:v>
                </c:pt>
                <c:pt idx="69">
                  <c:v>0.13304769421580787</c:v>
                </c:pt>
                <c:pt idx="70">
                  <c:v>0.1280326422584914</c:v>
                </c:pt>
                <c:pt idx="71">
                  <c:v>0.13362736917391824</c:v>
                </c:pt>
                <c:pt idx="72">
                  <c:v>0.1361031518624642</c:v>
                </c:pt>
                <c:pt idx="73">
                  <c:v>0.144589774078478</c:v>
                </c:pt>
                <c:pt idx="74">
                  <c:v>0.14208342936160406</c:v>
                </c:pt>
                <c:pt idx="75">
                  <c:v>0.1310499867759852</c:v>
                </c:pt>
                <c:pt idx="76">
                  <c:v>0.13344293738868337</c:v>
                </c:pt>
                <c:pt idx="77">
                  <c:v>0.12832505115463314</c:v>
                </c:pt>
                <c:pt idx="78">
                  <c:v>0.14035383319292333</c:v>
                </c:pt>
                <c:pt idx="79">
                  <c:v>0.12925897631779984</c:v>
                </c:pt>
                <c:pt idx="80">
                  <c:v>0.11969650046454011</c:v>
                </c:pt>
                <c:pt idx="81">
                  <c:v>0.11846646942800788</c:v>
                </c:pt>
                <c:pt idx="82">
                  <c:v>0.11542661051318047</c:v>
                </c:pt>
                <c:pt idx="83">
                  <c:v>0.10746586274162086</c:v>
                </c:pt>
                <c:pt idx="84">
                  <c:v>0.11573641963785701</c:v>
                </c:pt>
                <c:pt idx="85">
                  <c:v>0.11578947368421053</c:v>
                </c:pt>
                <c:pt idx="86">
                  <c:v>0.12607309296051017</c:v>
                </c:pt>
                <c:pt idx="87">
                  <c:v>0.1476459101757431</c:v>
                </c:pt>
                <c:pt idx="88">
                  <c:v>0.14121602689829083</c:v>
                </c:pt>
                <c:pt idx="89">
                  <c:v>0.1381188912033328</c:v>
                </c:pt>
                <c:pt idx="90">
                  <c:v>0.13409391534391535</c:v>
                </c:pt>
                <c:pt idx="91">
                  <c:v>0.12460160874184247</c:v>
                </c:pt>
                <c:pt idx="92">
                  <c:v>0.135898076442668</c:v>
                </c:pt>
                <c:pt idx="93">
                  <c:v>0.12870813397129185</c:v>
                </c:pt>
                <c:pt idx="94">
                  <c:v>0.12466878643349232</c:v>
                </c:pt>
                <c:pt idx="95">
                  <c:v>0.13940400405941508</c:v>
                </c:pt>
                <c:pt idx="96">
                  <c:v>0.12353484407189032</c:v>
                </c:pt>
                <c:pt idx="97">
                  <c:v>0.12715168236070293</c:v>
                </c:pt>
                <c:pt idx="98">
                  <c:v>0.14258999532491817</c:v>
                </c:pt>
                <c:pt idx="99">
                  <c:v>0.1412511995613033</c:v>
                </c:pt>
                <c:pt idx="100">
                  <c:v>0.16016440291558295</c:v>
                </c:pt>
                <c:pt idx="101">
                  <c:v>0.151813857527652</c:v>
                </c:pt>
                <c:pt idx="102">
                  <c:v>0.13899863515552044</c:v>
                </c:pt>
                <c:pt idx="103">
                  <c:v>0.16957169701289446</c:v>
                </c:pt>
                <c:pt idx="104">
                  <c:v>0.1716971039963322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8.969</c:v>
                </c:pt>
                <c:pt idx="1">
                  <c:v>1217.9369</c:v>
                </c:pt>
                <c:pt idx="2">
                  <c:v>1219.8138</c:v>
                </c:pt>
                <c:pt idx="3">
                  <c:v>1298.4512</c:v>
                </c:pt>
                <c:pt idx="4">
                  <c:v>1267.0362</c:v>
                </c:pt>
                <c:pt idx="5">
                  <c:v>1272.5764</c:v>
                </c:pt>
                <c:pt idx="6">
                  <c:v>1236.6774</c:v>
                </c:pt>
                <c:pt idx="7">
                  <c:v>1285.2404</c:v>
                </c:pt>
                <c:pt idx="8">
                  <c:v>1361.9344</c:v>
                </c:pt>
                <c:pt idx="9">
                  <c:v>1306.56</c:v>
                </c:pt>
                <c:pt idx="10">
                  <c:v>1332.3573</c:v>
                </c:pt>
                <c:pt idx="11">
                  <c:v>1272.2158</c:v>
                </c:pt>
                <c:pt idx="12">
                  <c:v>1314.1456</c:v>
                </c:pt>
                <c:pt idx="13">
                  <c:v>1326.3417</c:v>
                </c:pt>
                <c:pt idx="14">
                  <c:v>1327.4577</c:v>
                </c:pt>
                <c:pt idx="15">
                  <c:v>1330.7766</c:v>
                </c:pt>
                <c:pt idx="16">
                  <c:v>1342.7974</c:v>
                </c:pt>
                <c:pt idx="17">
                  <c:v>1284.047</c:v>
                </c:pt>
                <c:pt idx="18">
                  <c:v>1340.0682</c:v>
                </c:pt>
                <c:pt idx="19">
                  <c:v>1411.4331</c:v>
                </c:pt>
                <c:pt idx="20">
                  <c:v>1395.039</c:v>
                </c:pt>
                <c:pt idx="21">
                  <c:v>1323.5475</c:v>
                </c:pt>
                <c:pt idx="22">
                  <c:v>1284.5264</c:v>
                </c:pt>
                <c:pt idx="23">
                  <c:v>1244.1301</c:v>
                </c:pt>
                <c:pt idx="24">
                  <c:v>1239.4611</c:v>
                </c:pt>
                <c:pt idx="25">
                  <c:v>1225.3347</c:v>
                </c:pt>
                <c:pt idx="26">
                  <c:v>1256.0193</c:v>
                </c:pt>
                <c:pt idx="27">
                  <c:v>1323.2332</c:v>
                </c:pt>
                <c:pt idx="28">
                  <c:v>1348.1761</c:v>
                </c:pt>
                <c:pt idx="29">
                  <c:v>1354.0059</c:v>
                </c:pt>
                <c:pt idx="30">
                  <c:v>1366.7564</c:v>
                </c:pt>
                <c:pt idx="31">
                  <c:v>1273.3629</c:v>
                </c:pt>
                <c:pt idx="32">
                  <c:v>1269.2232</c:v>
                </c:pt>
                <c:pt idx="33">
                  <c:v>1322.5844</c:v>
                </c:pt>
                <c:pt idx="34">
                  <c:v>1367.6876</c:v>
                </c:pt>
                <c:pt idx="35">
                  <c:v>1328.3463</c:v>
                </c:pt>
                <c:pt idx="36">
                  <c:v>1292.1416</c:v>
                </c:pt>
                <c:pt idx="37">
                  <c:v>1370.4652</c:v>
                </c:pt>
                <c:pt idx="38">
                  <c:v>1398.6533</c:v>
                </c:pt>
                <c:pt idx="39">
                  <c:v>1368.8742</c:v>
                </c:pt>
                <c:pt idx="40">
                  <c:v>1362.4279</c:v>
                </c:pt>
                <c:pt idx="41">
                  <c:v>1397.4509</c:v>
                </c:pt>
                <c:pt idx="42">
                  <c:v>1393.7276</c:v>
                </c:pt>
                <c:pt idx="43">
                  <c:v>1376.9524</c:v>
                </c:pt>
                <c:pt idx="44">
                  <c:v>1321.8584</c:v>
                </c:pt>
                <c:pt idx="45">
                  <c:v>1261.5566</c:v>
                </c:pt>
                <c:pt idx="46">
                  <c:v>1246.9209</c:v>
                </c:pt>
                <c:pt idx="47">
                  <c:v>1226.9175</c:v>
                </c:pt>
                <c:pt idx="48">
                  <c:v>1187.5711</c:v>
                </c:pt>
                <c:pt idx="49">
                  <c:v>1196.1825</c:v>
                </c:pt>
                <c:pt idx="50">
                  <c:v>1119.6422</c:v>
                </c:pt>
                <c:pt idx="51">
                  <c:v>1107.4778</c:v>
                </c:pt>
              </c:numCache>
            </c:numRef>
          </c:xVal>
          <c:yVal>
            <c:numRef>
              <c:f>Sheet1!$B$109:$B$160</c:f>
              <c:numCache>
                <c:formatCode>General</c:formatCode>
                <c:ptCount val="52"/>
                <c:pt idx="0">
                  <c:v>0.15741314069487444</c:v>
                </c:pt>
                <c:pt idx="1">
                  <c:v>0.16354381823546768</c:v>
                </c:pt>
                <c:pt idx="2">
                  <c:v>0.16032537391760693</c:v>
                </c:pt>
                <c:pt idx="3">
                  <c:v>0.15675498855086686</c:v>
                </c:pt>
                <c:pt idx="4">
                  <c:v>0.1582260371959943</c:v>
                </c:pt>
                <c:pt idx="5">
                  <c:v>0.14792818622431567</c:v>
                </c:pt>
                <c:pt idx="6">
                  <c:v>0.14915070718007714</c:v>
                </c:pt>
                <c:pt idx="7">
                  <c:v>0.15123148232300282</c:v>
                </c:pt>
                <c:pt idx="8">
                  <c:v>0.1586417157275021</c:v>
                </c:pt>
                <c:pt idx="9">
                  <c:v>0.1749648382559775</c:v>
                </c:pt>
                <c:pt idx="10">
                  <c:v>0.16307387029854784</c:v>
                </c:pt>
                <c:pt idx="11">
                  <c:v>0.15886254679188283</c:v>
                </c:pt>
                <c:pt idx="12">
                  <c:v>0.15243670645480117</c:v>
                </c:pt>
                <c:pt idx="13">
                  <c:v>0.15959821428571427</c:v>
                </c:pt>
                <c:pt idx="14">
                  <c:v>0.15287912087912087</c:v>
                </c:pt>
                <c:pt idx="15">
                  <c:v>0.14851111948737278</c:v>
                </c:pt>
                <c:pt idx="16">
                  <c:v>0.1355251736111111</c:v>
                </c:pt>
                <c:pt idx="17">
                  <c:v>0.13848612855348785</c:v>
                </c:pt>
                <c:pt idx="18">
                  <c:v>0.12484799351438995</c:v>
                </c:pt>
                <c:pt idx="19">
                  <c:v>0.13602110022607386</c:v>
                </c:pt>
                <c:pt idx="20">
                  <c:v>0.13147012690717239</c:v>
                </c:pt>
                <c:pt idx="21">
                  <c:v>0.14953751284686537</c:v>
                </c:pt>
                <c:pt idx="22">
                  <c:v>0.15256849315068494</c:v>
                </c:pt>
                <c:pt idx="23">
                  <c:v>0.16208466857817508</c:v>
                </c:pt>
                <c:pt idx="24">
                  <c:v>0.16530944625407165</c:v>
                </c:pt>
                <c:pt idx="25">
                  <c:v>0.1621977298897845</c:v>
                </c:pt>
                <c:pt idx="26">
                  <c:v>0.15528146742567994</c:v>
                </c:pt>
                <c:pt idx="27">
                  <c:v>0.13320274240940255</c:v>
                </c:pt>
                <c:pt idx="28">
                  <c:v>0.13617697708305737</c:v>
                </c:pt>
                <c:pt idx="29">
                  <c:v>0.13477985429204942</c:v>
                </c:pt>
                <c:pt idx="30">
                  <c:v>0.1364720852552887</c:v>
                </c:pt>
                <c:pt idx="31">
                  <c:v>0.13176426982950334</c:v>
                </c:pt>
                <c:pt idx="32">
                  <c:v>0.13351090394539702</c:v>
                </c:pt>
                <c:pt idx="33">
                  <c:v>0.1475153254206339</c:v>
                </c:pt>
                <c:pt idx="34">
                  <c:v>0.16448469337533222</c:v>
                </c:pt>
                <c:pt idx="35">
                  <c:v>0.17218313919963096</c:v>
                </c:pt>
                <c:pt idx="36">
                  <c:v>0.16614991792814152</c:v>
                </c:pt>
                <c:pt idx="37">
                  <c:v>0.14872994652406418</c:v>
                </c:pt>
                <c:pt idx="38">
                  <c:v>0.13733333333333334</c:v>
                </c:pt>
                <c:pt idx="39">
                  <c:v>0.15125</c:v>
                </c:pt>
                <c:pt idx="40">
                  <c:v>0.14281682190234266</c:v>
                </c:pt>
                <c:pt idx="41">
                  <c:v>0.1404617567393267</c:v>
                </c:pt>
                <c:pt idx="42">
                  <c:v>0.14220988015200234</c:v>
                </c:pt>
                <c:pt idx="43">
                  <c:v>0.13615899857252664</c:v>
                </c:pt>
                <c:pt idx="44">
                  <c:v>0.13086329622193832</c:v>
                </c:pt>
                <c:pt idx="45">
                  <c:v>0.14015808752650857</c:v>
                </c:pt>
                <c:pt idx="46">
                  <c:v>0.14113973458235754</c:v>
                </c:pt>
                <c:pt idx="47">
                  <c:v>0.14362157534246575</c:v>
                </c:pt>
                <c:pt idx="48">
                  <c:v>0.12741267021906452</c:v>
                </c:pt>
                <c:pt idx="49">
                  <c:v>0.14005511428108283</c:v>
                </c:pt>
                <c:pt idx="50">
                  <c:v>0.16831259581446753</c:v>
                </c:pt>
                <c:pt idx="51">
                  <c:v>0.1648400662673633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43.6909391882205</c:v>
                </c:pt>
              </c:numCache>
            </c:numRef>
          </c:xVal>
          <c:yVal>
            <c:numRef>
              <c:f>Sheet1!$B$163:$B$164</c:f>
              <c:numCache>
                <c:formatCode>General</c:formatCode>
                <c:ptCount val="2"/>
                <c:pt idx="0">
                  <c:v>0.17821191576669407</c:v>
                </c:pt>
                <c:pt idx="1">
                  <c:v>0.1782119157666940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43.6909391882205</c:v>
                </c:pt>
                <c:pt idx="1">
                  <c:v>843.6909391882205</c:v>
                </c:pt>
              </c:numCache>
            </c:numRef>
          </c:xVal>
          <c:yVal>
            <c:numRef>
              <c:f>Sheet1!$B$167:$B$168</c:f>
              <c:numCache>
                <c:formatCode>General</c:formatCode>
                <c:ptCount val="2"/>
                <c:pt idx="0">
                  <c:v>0.1782119157666940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88.9289395476694</c:v>
                </c:pt>
              </c:numCache>
            </c:numRef>
          </c:xVal>
          <c:yVal>
            <c:numRef>
              <c:f>Sheet1!$B$171:$B$172</c:f>
              <c:numCache>
                <c:formatCode>General</c:formatCode>
                <c:ptCount val="2"/>
                <c:pt idx="0">
                  <c:v>0.1559128277833009</c:v>
                </c:pt>
                <c:pt idx="1">
                  <c:v>0.155912827783300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88.9289395476694</c:v>
                </c:pt>
                <c:pt idx="1">
                  <c:v>1188.9289395476694</c:v>
                </c:pt>
              </c:numCache>
            </c:numRef>
          </c:xVal>
          <c:yVal>
            <c:numRef>
              <c:f>Sheet1!$B$175:$B$176</c:f>
              <c:numCache>
                <c:formatCode>General</c:formatCode>
                <c:ptCount val="2"/>
                <c:pt idx="0">
                  <c:v>0.155912827783300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76.5800332494593</c:v>
                </c:pt>
              </c:numCache>
            </c:numRef>
          </c:xVal>
          <c:yVal>
            <c:numRef>
              <c:f>Sheet1!$B$179:$B$180</c:f>
              <c:numCache>
                <c:formatCode>General</c:formatCode>
                <c:ptCount val="2"/>
                <c:pt idx="0">
                  <c:v>0.14379235366318818</c:v>
                </c:pt>
                <c:pt idx="1">
                  <c:v>0.1437923536631881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76.5800332494593</c:v>
                </c:pt>
                <c:pt idx="1">
                  <c:v>1376.5800332494593</c:v>
                </c:pt>
              </c:numCache>
            </c:numRef>
          </c:xVal>
          <c:yVal>
            <c:numRef>
              <c:f>Sheet1!$B$183:$B$184</c:f>
              <c:numCache>
                <c:formatCode>General</c:formatCode>
                <c:ptCount val="2"/>
                <c:pt idx="0">
                  <c:v>0.1437923536631881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8.969</c:v>
                </c:pt>
                <c:pt idx="1">
                  <c:v>1217.9369</c:v>
                </c:pt>
                <c:pt idx="2">
                  <c:v>1219.8138</c:v>
                </c:pt>
                <c:pt idx="3">
                  <c:v>1298.4512</c:v>
                </c:pt>
                <c:pt idx="4">
                  <c:v>1267.0362</c:v>
                </c:pt>
                <c:pt idx="5">
                  <c:v>1272.5764</c:v>
                </c:pt>
                <c:pt idx="6">
                  <c:v>1236.6774</c:v>
                </c:pt>
                <c:pt idx="7">
                  <c:v>1285.2404</c:v>
                </c:pt>
                <c:pt idx="8">
                  <c:v>1361.9344</c:v>
                </c:pt>
                <c:pt idx="9">
                  <c:v>1306.56</c:v>
                </c:pt>
                <c:pt idx="10">
                  <c:v>1332.3573</c:v>
                </c:pt>
                <c:pt idx="11">
                  <c:v>1272.2158</c:v>
                </c:pt>
                <c:pt idx="12">
                  <c:v>1314.1456</c:v>
                </c:pt>
                <c:pt idx="13">
                  <c:v>1326.3417</c:v>
                </c:pt>
                <c:pt idx="14">
                  <c:v>1327.4577</c:v>
                </c:pt>
                <c:pt idx="15">
                  <c:v>1330.7766</c:v>
                </c:pt>
                <c:pt idx="16">
                  <c:v>1342.7974</c:v>
                </c:pt>
                <c:pt idx="17">
                  <c:v>1284.047</c:v>
                </c:pt>
                <c:pt idx="18">
                  <c:v>1340.0682</c:v>
                </c:pt>
                <c:pt idx="19">
                  <c:v>1411.4331</c:v>
                </c:pt>
                <c:pt idx="20">
                  <c:v>1395.039</c:v>
                </c:pt>
                <c:pt idx="21">
                  <c:v>1323.5475</c:v>
                </c:pt>
                <c:pt idx="22">
                  <c:v>1284.5264</c:v>
                </c:pt>
                <c:pt idx="23">
                  <c:v>1244.1301</c:v>
                </c:pt>
                <c:pt idx="24">
                  <c:v>1239.4611</c:v>
                </c:pt>
                <c:pt idx="25">
                  <c:v>1225.3347</c:v>
                </c:pt>
                <c:pt idx="26">
                  <c:v>1256.0193</c:v>
                </c:pt>
                <c:pt idx="27">
                  <c:v>1323.2332</c:v>
                </c:pt>
                <c:pt idx="28">
                  <c:v>1348.1761</c:v>
                </c:pt>
                <c:pt idx="29">
                  <c:v>1354.0059</c:v>
                </c:pt>
                <c:pt idx="30">
                  <c:v>1366.7564</c:v>
                </c:pt>
                <c:pt idx="31">
                  <c:v>1273.3629</c:v>
                </c:pt>
                <c:pt idx="32">
                  <c:v>1269.2232</c:v>
                </c:pt>
                <c:pt idx="33">
                  <c:v>1322.5844</c:v>
                </c:pt>
                <c:pt idx="34">
                  <c:v>1367.6876</c:v>
                </c:pt>
                <c:pt idx="35">
                  <c:v>1328.3463</c:v>
                </c:pt>
                <c:pt idx="36">
                  <c:v>1292.1416</c:v>
                </c:pt>
                <c:pt idx="37">
                  <c:v>1370.4652</c:v>
                </c:pt>
                <c:pt idx="38">
                  <c:v>1398.6533</c:v>
                </c:pt>
                <c:pt idx="39">
                  <c:v>1368.8742</c:v>
                </c:pt>
                <c:pt idx="40">
                  <c:v>1362.4279</c:v>
                </c:pt>
                <c:pt idx="41">
                  <c:v>1397.4509</c:v>
                </c:pt>
                <c:pt idx="42">
                  <c:v>1393.7276</c:v>
                </c:pt>
                <c:pt idx="43">
                  <c:v>1376.9524</c:v>
                </c:pt>
                <c:pt idx="44">
                  <c:v>1321.8584</c:v>
                </c:pt>
                <c:pt idx="45">
                  <c:v>1261.5566</c:v>
                </c:pt>
                <c:pt idx="46">
                  <c:v>1246.9209</c:v>
                </c:pt>
                <c:pt idx="47">
                  <c:v>1226.9175</c:v>
                </c:pt>
                <c:pt idx="48">
                  <c:v>1187.5711</c:v>
                </c:pt>
                <c:pt idx="49">
                  <c:v>1196.1825</c:v>
                </c:pt>
                <c:pt idx="50">
                  <c:v>1119.6422</c:v>
                </c:pt>
                <c:pt idx="51">
                  <c:v>1107.4778</c:v>
                </c:pt>
                <c:pt idx="52">
                  <c:v>1188.9289395476694</c:v>
                </c:pt>
                <c:pt idx="53">
                  <c:v>843.6909391882205</c:v>
                </c:pt>
                <c:pt idx="54">
                  <c:v>1376.5800332494593</c:v>
                </c:pt>
              </c:numCache>
            </c:numRef>
          </c:xVal>
          <c:yVal>
            <c:numRef>
              <c:f>Sheet1!$B$187:$B$241</c:f>
              <c:numCache>
                <c:formatCode>General</c:formatCode>
                <c:ptCount val="55"/>
                <c:pt idx="0">
                  <c:v>0.1526807162846853</c:v>
                </c:pt>
                <c:pt idx="1">
                  <c:v>0.15403918970848923</c:v>
                </c:pt>
                <c:pt idx="2">
                  <c:v>0.15391795983752354</c:v>
                </c:pt>
                <c:pt idx="3">
                  <c:v>0.14883873246521934</c:v>
                </c:pt>
                <c:pt idx="4">
                  <c:v>0.15086784237858036</c:v>
                </c:pt>
                <c:pt idx="5">
                  <c:v>0.15050999820407768</c:v>
                </c:pt>
                <c:pt idx="6">
                  <c:v>0.1528287318274979</c:v>
                </c:pt>
                <c:pt idx="7">
                  <c:v>0.14969202437174267</c:v>
                </c:pt>
                <c:pt idx="8">
                  <c:v>0.1447383221372906</c:v>
                </c:pt>
                <c:pt idx="9">
                  <c:v>0.14831498118508368</c:v>
                </c:pt>
                <c:pt idx="10">
                  <c:v>0.1466487212083863</c:v>
                </c:pt>
                <c:pt idx="11">
                  <c:v>0.15053328953098383</c:v>
                </c:pt>
                <c:pt idx="12">
                  <c:v>0.14782502364382022</c:v>
                </c:pt>
                <c:pt idx="13">
                  <c:v>0.14703727169684133</c:v>
                </c:pt>
                <c:pt idx="14">
                  <c:v>0.14696518872172398</c:v>
                </c:pt>
                <c:pt idx="15">
                  <c:v>0.14675081937932533</c:v>
                </c:pt>
                <c:pt idx="16">
                  <c:v>0.14597439014340202</c:v>
                </c:pt>
                <c:pt idx="17">
                  <c:v>0.14976910664997295</c:v>
                </c:pt>
                <c:pt idx="18">
                  <c:v>0.146150670480042</c:v>
                </c:pt>
                <c:pt idx="19">
                  <c:v>0.14154117736987112</c:v>
                </c:pt>
                <c:pt idx="20">
                  <c:v>0.14260008014977346</c:v>
                </c:pt>
                <c:pt idx="21">
                  <c:v>0.14721775041464852</c:v>
                </c:pt>
                <c:pt idx="22">
                  <c:v>0.14973814197410268</c:v>
                </c:pt>
                <c:pt idx="23">
                  <c:v>0.15234735836095945</c:v>
                </c:pt>
                <c:pt idx="24">
                  <c:v>0.1526489313097254</c:v>
                </c:pt>
                <c:pt idx="25">
                  <c:v>0.15356136225927508</c:v>
                </c:pt>
                <c:pt idx="26">
                  <c:v>0.1515794292321378</c:v>
                </c:pt>
                <c:pt idx="27">
                  <c:v>0.14723805120235406</c:v>
                </c:pt>
                <c:pt idx="28">
                  <c:v>0.1456269773313379</c:v>
                </c:pt>
                <c:pt idx="29">
                  <c:v>0.14525042775397318</c:v>
                </c:pt>
                <c:pt idx="30">
                  <c:v>0.14442686684516182</c:v>
                </c:pt>
                <c:pt idx="31">
                  <c:v>0.15045919779195419</c:v>
                </c:pt>
                <c:pt idx="32">
                  <c:v>0.15072658299992303</c:v>
                </c:pt>
                <c:pt idx="33">
                  <c:v>0.14727995750545092</c:v>
                </c:pt>
                <c:pt idx="34">
                  <c:v>0.14436672019065527</c:v>
                </c:pt>
                <c:pt idx="35">
                  <c:v>0.14690779362164402</c:v>
                </c:pt>
                <c:pt idx="36">
                  <c:v>0.14924627255464612</c:v>
                </c:pt>
                <c:pt idx="37">
                  <c:v>0.1441873136748077</c:v>
                </c:pt>
                <c:pt idx="38">
                  <c:v>0.14236663077973172</c:v>
                </c:pt>
                <c:pt idx="39">
                  <c:v>0.14429007712768555</c:v>
                </c:pt>
                <c:pt idx="40">
                  <c:v>0.14470644673565944</c:v>
                </c:pt>
                <c:pt idx="41">
                  <c:v>0.1424442943722775</c:v>
                </c:pt>
                <c:pt idx="42">
                  <c:v>0.14268478410458427</c:v>
                </c:pt>
                <c:pt idx="43">
                  <c:v>0.14376830231622245</c:v>
                </c:pt>
                <c:pt idx="44">
                  <c:v>0.1473268501935649</c:v>
                </c:pt>
                <c:pt idx="45">
                  <c:v>0.15122177237002565</c:v>
                </c:pt>
                <c:pt idx="46">
                  <c:v>0.15216709925078253</c:v>
                </c:pt>
                <c:pt idx="47">
                  <c:v>0.15345912844832912</c:v>
                </c:pt>
                <c:pt idx="48">
                  <c:v>0.15600053129076324</c:v>
                </c:pt>
                <c:pt idx="49">
                  <c:v>0.155444316835633</c:v>
                </c:pt>
                <c:pt idx="50">
                  <c:v>0.1603880915133865</c:v>
                </c:pt>
                <c:pt idx="51">
                  <c:v>0.1611737959421654</c:v>
                </c:pt>
                <c:pt idx="52">
                  <c:v>0.1559128277833009</c:v>
                </c:pt>
                <c:pt idx="53">
                  <c:v>0.17821191576669407</c:v>
                </c:pt>
                <c:pt idx="54">
                  <c:v>0.1437923536631881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94.0"/>
          <c:min val="67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02971261568436"/>
          <c:min val="0.0859726901932966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2549113692099719</c:v>
                </c:pt>
                <c:pt idx="1">
                  <c:v>0.28279377638164616</c:v>
                </c:pt>
                <c:pt idx="2">
                  <c:v>0.2808420201852049</c:v>
                </c:pt>
                <c:pt idx="3">
                  <c:v>0.27189567370903744</c:v>
                </c:pt>
                <c:pt idx="4">
                  <c:v>0.2685287703675049</c:v>
                </c:pt>
                <c:pt idx="5">
                  <c:v>0.2351218258060753</c:v>
                </c:pt>
                <c:pt idx="6">
                  <c:v>0.2208841436754036</c:v>
                </c:pt>
                <c:pt idx="7">
                  <c:v>0.2478585383755438</c:v>
                </c:pt>
                <c:pt idx="8">
                  <c:v>0.21549371532469433</c:v>
                </c:pt>
                <c:pt idx="9">
                  <c:v>0.24482802677141105</c:v>
                </c:pt>
                <c:pt idx="10">
                  <c:v>0.24050730972680662</c:v>
                </c:pt>
                <c:pt idx="11">
                  <c:v>0.23161457272804675</c:v>
                </c:pt>
                <c:pt idx="12">
                  <c:v>0.23355164994418295</c:v>
                </c:pt>
                <c:pt idx="13">
                  <c:v>0.24534700978071672</c:v>
                </c:pt>
                <c:pt idx="14">
                  <c:v>0.2652042605657989</c:v>
                </c:pt>
                <c:pt idx="15">
                  <c:v>0.2509706818731989</c:v>
                </c:pt>
                <c:pt idx="16">
                  <c:v>0.2625873636328651</c:v>
                </c:pt>
                <c:pt idx="17">
                  <c:v>0.2811102825152228</c:v>
                </c:pt>
                <c:pt idx="18">
                  <c:v>0.3259997138110665</c:v>
                </c:pt>
                <c:pt idx="19">
                  <c:v>0.3236457270007713</c:v>
                </c:pt>
                <c:pt idx="20">
                  <c:v>0.31747922200211365</c:v>
                </c:pt>
                <c:pt idx="21">
                  <c:v>0.28957506618340834</c:v>
                </c:pt>
                <c:pt idx="22">
                  <c:v>0.29299867158479664</c:v>
                </c:pt>
                <c:pt idx="23">
                  <c:v>0.30414174077136713</c:v>
                </c:pt>
                <c:pt idx="24">
                  <c:v>0.25634716159090004</c:v>
                </c:pt>
                <c:pt idx="25">
                  <c:v>0.23258982017954116</c:v>
                </c:pt>
                <c:pt idx="26">
                  <c:v>0.263640663983537</c:v>
                </c:pt>
                <c:pt idx="27">
                  <c:v>0.22948345579803656</c:v>
                </c:pt>
                <c:pt idx="28">
                  <c:v>0.2079566388751341</c:v>
                </c:pt>
                <c:pt idx="29">
                  <c:v>0.2034062852716939</c:v>
                </c:pt>
                <c:pt idx="30">
                  <c:v>0.23061573575206926</c:v>
                </c:pt>
                <c:pt idx="31">
                  <c:v>0.20273072840682296</c:v>
                </c:pt>
                <c:pt idx="32">
                  <c:v>0.194002424743757</c:v>
                </c:pt>
                <c:pt idx="33">
                  <c:v>0.18746761103289866</c:v>
                </c:pt>
                <c:pt idx="34">
                  <c:v>0.17944556965216943</c:v>
                </c:pt>
                <c:pt idx="35">
                  <c:v>0.19773602752988834</c:v>
                </c:pt>
                <c:pt idx="36">
                  <c:v>0.23884355640535374</c:v>
                </c:pt>
                <c:pt idx="37">
                  <c:v>0.21300882199651588</c:v>
                </c:pt>
                <c:pt idx="38">
                  <c:v>0.214983585710414</c:v>
                </c:pt>
                <c:pt idx="39">
                  <c:v>0.19576268181860593</c:v>
                </c:pt>
                <c:pt idx="40">
                  <c:v>0.21853011324678806</c:v>
                </c:pt>
                <c:pt idx="41">
                  <c:v>0.19442279170357543</c:v>
                </c:pt>
                <c:pt idx="42">
                  <c:v>0.23720151421126645</c:v>
                </c:pt>
                <c:pt idx="43">
                  <c:v>0.2534903011235955</c:v>
                </c:pt>
                <c:pt idx="44">
                  <c:v>0.23522350594375105</c:v>
                </c:pt>
                <c:pt idx="45">
                  <c:v>0.201669354295429</c:v>
                </c:pt>
                <c:pt idx="46">
                  <c:v>0.19509137473324134</c:v>
                </c:pt>
                <c:pt idx="47">
                  <c:v>0.19140573403391595</c:v>
                </c:pt>
                <c:pt idx="48">
                  <c:v>0.19472763273998395</c:v>
                </c:pt>
                <c:pt idx="49">
                  <c:v>0.225931552167559</c:v>
                </c:pt>
                <c:pt idx="50">
                  <c:v>0.17473402014830225</c:v>
                </c:pt>
                <c:pt idx="51">
                  <c:v>0.1831602616832252</c:v>
                </c:pt>
                <c:pt idx="52">
                  <c:v>0.17319274901756665</c:v>
                </c:pt>
                <c:pt idx="53">
                  <c:v>0.19714518124480365</c:v>
                </c:pt>
                <c:pt idx="54">
                  <c:v>0.20422377858436108</c:v>
                </c:pt>
                <c:pt idx="55">
                  <c:v>0.1935671419029066</c:v>
                </c:pt>
                <c:pt idx="56">
                  <c:v>0.18830632399733702</c:v>
                </c:pt>
                <c:pt idx="57">
                  <c:v>0.1935998142928831</c:v>
                </c:pt>
                <c:pt idx="58">
                  <c:v>0.20873015221552027</c:v>
                </c:pt>
                <c:pt idx="59">
                  <c:v>0.20530975875967306</c:v>
                </c:pt>
                <c:pt idx="60">
                  <c:v>0.18841673079884486</c:v>
                </c:pt>
                <c:pt idx="61">
                  <c:v>0.17606222908388888</c:v>
                </c:pt>
                <c:pt idx="62">
                  <c:v>0.16336051706179186</c:v>
                </c:pt>
                <c:pt idx="63">
                  <c:v>0.1718239183092491</c:v>
                </c:pt>
                <c:pt idx="64">
                  <c:v>0.16967814183837923</c:v>
                </c:pt>
                <c:pt idx="65">
                  <c:v>0.16113096784355885</c:v>
                </c:pt>
                <c:pt idx="66">
                  <c:v>0.1583308820205824</c:v>
                </c:pt>
                <c:pt idx="67">
                  <c:v>0.15751044880622084</c:v>
                </c:pt>
                <c:pt idx="68">
                  <c:v>0.1578915629484066</c:v>
                </c:pt>
                <c:pt idx="69">
                  <c:v>0.15851306560533032</c:v>
                </c:pt>
                <c:pt idx="70">
                  <c:v>0.16522527046284663</c:v>
                </c:pt>
                <c:pt idx="71">
                  <c:v>0.1610337033606624</c:v>
                </c:pt>
                <c:pt idx="72">
                  <c:v>0.1763263271056376</c:v>
                </c:pt>
                <c:pt idx="73">
                  <c:v>0.1775942863068388</c:v>
                </c:pt>
                <c:pt idx="74">
                  <c:v>0.15747270345288694</c:v>
                </c:pt>
                <c:pt idx="75">
                  <c:v>0.1708914226981694</c:v>
                </c:pt>
                <c:pt idx="76">
                  <c:v>0.16440709513340232</c:v>
                </c:pt>
                <c:pt idx="77">
                  <c:v>0.15244306251316372</c:v>
                </c:pt>
                <c:pt idx="78">
                  <c:v>0.16685317313607456</c:v>
                </c:pt>
                <c:pt idx="79">
                  <c:v>0.16165556143478327</c:v>
                </c:pt>
                <c:pt idx="80">
                  <c:v>0.15470952591929674</c:v>
                </c:pt>
                <c:pt idx="81">
                  <c:v>0.17008862839764824</c:v>
                </c:pt>
                <c:pt idx="82">
                  <c:v>0.17089180042504312</c:v>
                </c:pt>
                <c:pt idx="83">
                  <c:v>0.16286168674685014</c:v>
                </c:pt>
                <c:pt idx="84">
                  <c:v>0.15019101159293674</c:v>
                </c:pt>
                <c:pt idx="85">
                  <c:v>0.13456556783789292</c:v>
                </c:pt>
                <c:pt idx="86">
                  <c:v>0.13793945236745742</c:v>
                </c:pt>
                <c:pt idx="87">
                  <c:v>0.14762963851925542</c:v>
                </c:pt>
                <c:pt idx="88">
                  <c:v>0.16173445920381327</c:v>
                </c:pt>
                <c:pt idx="89">
                  <c:v>0.1565076986954801</c:v>
                </c:pt>
                <c:pt idx="90">
                  <c:v>0.16113676745983826</c:v>
                </c:pt>
                <c:pt idx="91">
                  <c:v>0.17777976891570232</c:v>
                </c:pt>
                <c:pt idx="92">
                  <c:v>0.16877841907527322</c:v>
                </c:pt>
                <c:pt idx="93">
                  <c:v>0.1610538526146935</c:v>
                </c:pt>
                <c:pt idx="94">
                  <c:v>0.16019081391058043</c:v>
                </c:pt>
                <c:pt idx="95">
                  <c:v>0.15337998991827984</c:v>
                </c:pt>
                <c:pt idx="96">
                  <c:v>0.135277622672322</c:v>
                </c:pt>
                <c:pt idx="97">
                  <c:v>0.15372885168496483</c:v>
                </c:pt>
                <c:pt idx="98">
                  <c:v>0.15227489133289848</c:v>
                </c:pt>
                <c:pt idx="99">
                  <c:v>0.13942431128305435</c:v>
                </c:pt>
                <c:pt idx="100">
                  <c:v>0.14985770581310973</c:v>
                </c:pt>
                <c:pt idx="101">
                  <c:v>0.16257483830595446</c:v>
                </c:pt>
                <c:pt idx="102">
                  <c:v>0.1546763723603276</c:v>
                </c:pt>
                <c:pt idx="103">
                  <c:v>0.1175623434891456</c:v>
                </c:pt>
                <c:pt idx="104">
                  <c:v>0.13079542612590953</c:v>
                </c:pt>
              </c:numCache>
            </c:numRef>
          </c:xVal>
          <c:yVal>
            <c:numRef>
              <c:f>Sheet1!$B$2:$B$106</c:f>
              <c:numCache>
                <c:formatCode>General</c:formatCode>
                <c:ptCount val="105"/>
                <c:pt idx="0">
                  <c:v>0.17285149925522958</c:v>
                </c:pt>
                <c:pt idx="1">
                  <c:v>0.17510005717552887</c:v>
                </c:pt>
                <c:pt idx="2">
                  <c:v>0.18127357443976036</c:v>
                </c:pt>
                <c:pt idx="3">
                  <c:v>0.17871738447029237</c:v>
                </c:pt>
                <c:pt idx="4">
                  <c:v>0.18096093399191737</c:v>
                </c:pt>
                <c:pt idx="5">
                  <c:v>0.17093942054433714</c:v>
                </c:pt>
                <c:pt idx="6">
                  <c:v>0.1792242163592755</c:v>
                </c:pt>
                <c:pt idx="7">
                  <c:v>0.17662362690306418</c:v>
                </c:pt>
                <c:pt idx="8">
                  <c:v>0.18821652876084138</c:v>
                </c:pt>
                <c:pt idx="9">
                  <c:v>0.1716377649325626</c:v>
                </c:pt>
                <c:pt idx="10">
                  <c:v>0.18408986703347088</c:v>
                </c:pt>
                <c:pt idx="11">
                  <c:v>0.1763699961134862</c:v>
                </c:pt>
                <c:pt idx="12">
                  <c:v>0.1919142717973697</c:v>
                </c:pt>
                <c:pt idx="13">
                  <c:v>0.1839384104460714</c:v>
                </c:pt>
                <c:pt idx="14">
                  <c:v>0.18140849373663306</c:v>
                </c:pt>
                <c:pt idx="15">
                  <c:v>0.17968536873692825</c:v>
                </c:pt>
                <c:pt idx="16">
                  <c:v>0.16588025584565377</c:v>
                </c:pt>
                <c:pt idx="17">
                  <c:v>0.17308135515095643</c:v>
                </c:pt>
                <c:pt idx="18">
                  <c:v>0.15375462718138552</c:v>
                </c:pt>
                <c:pt idx="19">
                  <c:v>0.1353030303030303</c:v>
                </c:pt>
                <c:pt idx="20">
                  <c:v>0.15489266100848728</c:v>
                </c:pt>
                <c:pt idx="21">
                  <c:v>0.16386678455643972</c:v>
                </c:pt>
                <c:pt idx="22">
                  <c:v>0.13314234016887816</c:v>
                </c:pt>
                <c:pt idx="23">
                  <c:v>0.13682678311499272</c:v>
                </c:pt>
                <c:pt idx="24">
                  <c:v>0.1518347942356262</c:v>
                </c:pt>
                <c:pt idx="25">
                  <c:v>0.15676039737329517</c:v>
                </c:pt>
                <c:pt idx="26">
                  <c:v>0.1492620439988861</c:v>
                </c:pt>
                <c:pt idx="27">
                  <c:v>0.1447193402500665</c:v>
                </c:pt>
                <c:pt idx="28">
                  <c:v>0.14910204649867742</c:v>
                </c:pt>
                <c:pt idx="29">
                  <c:v>0.15953012504736644</c:v>
                </c:pt>
                <c:pt idx="30">
                  <c:v>0.13584366062917064</c:v>
                </c:pt>
                <c:pt idx="31">
                  <c:v>0.13010402111473374</c:v>
                </c:pt>
                <c:pt idx="32">
                  <c:v>0.1303807303807304</c:v>
                </c:pt>
                <c:pt idx="33">
                  <c:v>0.1387547963856913</c:v>
                </c:pt>
                <c:pt idx="34">
                  <c:v>0.14318936877076413</c:v>
                </c:pt>
                <c:pt idx="35">
                  <c:v>0.1562043795620438</c:v>
                </c:pt>
                <c:pt idx="36">
                  <c:v>0.1653139683895771</c:v>
                </c:pt>
                <c:pt idx="37">
                  <c:v>0.11661506707946337</c:v>
                </c:pt>
                <c:pt idx="38">
                  <c:v>0.10790875563447616</c:v>
                </c:pt>
                <c:pt idx="39">
                  <c:v>0.1250916556679865</c:v>
                </c:pt>
                <c:pt idx="40">
                  <c:v>0.13068113321277877</c:v>
                </c:pt>
                <c:pt idx="41">
                  <c:v>0.13534325241451317</c:v>
                </c:pt>
                <c:pt idx="42">
                  <c:v>0.12904656319290467</c:v>
                </c:pt>
                <c:pt idx="43">
                  <c:v>0.13416444048679133</c:v>
                </c:pt>
                <c:pt idx="44">
                  <c:v>0.13128695767723075</c:v>
                </c:pt>
                <c:pt idx="45">
                  <c:v>0.14931827737401646</c:v>
                </c:pt>
                <c:pt idx="46">
                  <c:v>0.15283765428453316</c:v>
                </c:pt>
                <c:pt idx="47">
                  <c:v>0.15739419876367094</c:v>
                </c:pt>
                <c:pt idx="48">
                  <c:v>0.16090731880205564</c:v>
                </c:pt>
                <c:pt idx="49">
                  <c:v>0.17951789189998502</c:v>
                </c:pt>
                <c:pt idx="50">
                  <c:v>0.15941365093907467</c:v>
                </c:pt>
                <c:pt idx="51">
                  <c:v>0.1580344332855093</c:v>
                </c:pt>
                <c:pt idx="52">
                  <c:v>0.15680671247035935</c:v>
                </c:pt>
                <c:pt idx="53">
                  <c:v>0.14512310606060605</c:v>
                </c:pt>
                <c:pt idx="54">
                  <c:v>0.1331049250535332</c:v>
                </c:pt>
                <c:pt idx="55">
                  <c:v>0.13680257510729613</c:v>
                </c:pt>
                <c:pt idx="56">
                  <c:v>0.16538952745849297</c:v>
                </c:pt>
                <c:pt idx="57">
                  <c:v>0.15572653682776308</c:v>
                </c:pt>
                <c:pt idx="58">
                  <c:v>0.1601654424873422</c:v>
                </c:pt>
                <c:pt idx="59">
                  <c:v>0.1552903373881111</c:v>
                </c:pt>
                <c:pt idx="60">
                  <c:v>0.1709623676989416</c:v>
                </c:pt>
                <c:pt idx="61">
                  <c:v>0.18203408773400392</c:v>
                </c:pt>
                <c:pt idx="62">
                  <c:v>0.17696705690171521</c:v>
                </c:pt>
                <c:pt idx="63">
                  <c:v>0.18850922286059874</c:v>
                </c:pt>
                <c:pt idx="64">
                  <c:v>0.16795490207473704</c:v>
                </c:pt>
                <c:pt idx="65">
                  <c:v>0.16964228985323082</c:v>
                </c:pt>
                <c:pt idx="66">
                  <c:v>0.15924645930744732</c:v>
                </c:pt>
                <c:pt idx="67">
                  <c:v>0.16667845772904138</c:v>
                </c:pt>
                <c:pt idx="68">
                  <c:v>0.14343235504652826</c:v>
                </c:pt>
                <c:pt idx="69">
                  <c:v>0.13304769421580787</c:v>
                </c:pt>
                <c:pt idx="70">
                  <c:v>0.1280326422584914</c:v>
                </c:pt>
                <c:pt idx="71">
                  <c:v>0.13362736917391824</c:v>
                </c:pt>
                <c:pt idx="72">
                  <c:v>0.1361031518624642</c:v>
                </c:pt>
                <c:pt idx="73">
                  <c:v>0.144589774078478</c:v>
                </c:pt>
                <c:pt idx="74">
                  <c:v>0.14208342936160406</c:v>
                </c:pt>
                <c:pt idx="75">
                  <c:v>0.1310499867759852</c:v>
                </c:pt>
                <c:pt idx="76">
                  <c:v>0.13344293738868337</c:v>
                </c:pt>
                <c:pt idx="77">
                  <c:v>0.12832505115463314</c:v>
                </c:pt>
                <c:pt idx="78">
                  <c:v>0.14035383319292333</c:v>
                </c:pt>
                <c:pt idx="79">
                  <c:v>0.12925897631779984</c:v>
                </c:pt>
                <c:pt idx="80">
                  <c:v>0.11969650046454011</c:v>
                </c:pt>
                <c:pt idx="81">
                  <c:v>0.11846646942800788</c:v>
                </c:pt>
                <c:pt idx="82">
                  <c:v>0.11542661051318047</c:v>
                </c:pt>
                <c:pt idx="83">
                  <c:v>0.10746586274162086</c:v>
                </c:pt>
                <c:pt idx="84">
                  <c:v>0.11573641963785701</c:v>
                </c:pt>
                <c:pt idx="85">
                  <c:v>0.11578947368421053</c:v>
                </c:pt>
                <c:pt idx="86">
                  <c:v>0.12607309296051017</c:v>
                </c:pt>
                <c:pt idx="87">
                  <c:v>0.1476459101757431</c:v>
                </c:pt>
                <c:pt idx="88">
                  <c:v>0.14121602689829083</c:v>
                </c:pt>
                <c:pt idx="89">
                  <c:v>0.1381188912033328</c:v>
                </c:pt>
                <c:pt idx="90">
                  <c:v>0.13409391534391535</c:v>
                </c:pt>
                <c:pt idx="91">
                  <c:v>0.12460160874184247</c:v>
                </c:pt>
                <c:pt idx="92">
                  <c:v>0.135898076442668</c:v>
                </c:pt>
                <c:pt idx="93">
                  <c:v>0.12870813397129185</c:v>
                </c:pt>
                <c:pt idx="94">
                  <c:v>0.12466878643349232</c:v>
                </c:pt>
                <c:pt idx="95">
                  <c:v>0.13940400405941508</c:v>
                </c:pt>
                <c:pt idx="96">
                  <c:v>0.12353484407189032</c:v>
                </c:pt>
                <c:pt idx="97">
                  <c:v>0.12715168236070293</c:v>
                </c:pt>
                <c:pt idx="98">
                  <c:v>0.14258999532491817</c:v>
                </c:pt>
                <c:pt idx="99">
                  <c:v>0.1412511995613033</c:v>
                </c:pt>
                <c:pt idx="100">
                  <c:v>0.16016440291558295</c:v>
                </c:pt>
                <c:pt idx="101">
                  <c:v>0.151813857527652</c:v>
                </c:pt>
                <c:pt idx="102">
                  <c:v>0.13899863515552044</c:v>
                </c:pt>
                <c:pt idx="103">
                  <c:v>0.16957169701289446</c:v>
                </c:pt>
                <c:pt idx="104">
                  <c:v>0.1716971039963322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3096225193989916</c:v>
                </c:pt>
                <c:pt idx="1">
                  <c:v>0.13147390880609505</c:v>
                </c:pt>
                <c:pt idx="2">
                  <c:v>0.14357956762275711</c:v>
                </c:pt>
                <c:pt idx="3">
                  <c:v>0.15617307345125153</c:v>
                </c:pt>
                <c:pt idx="4">
                  <c:v>0.16033390714444182</c:v>
                </c:pt>
                <c:pt idx="5">
                  <c:v>0.1647134869272586</c:v>
                </c:pt>
                <c:pt idx="6">
                  <c:v>0.16191132645741613</c:v>
                </c:pt>
                <c:pt idx="7">
                  <c:v>0.15783890211929152</c:v>
                </c:pt>
                <c:pt idx="8">
                  <c:v>0.18562176767291913</c:v>
                </c:pt>
                <c:pt idx="9">
                  <c:v>0.16662358755214063</c:v>
                </c:pt>
                <c:pt idx="10">
                  <c:v>0.17717134672517176</c:v>
                </c:pt>
                <c:pt idx="11">
                  <c:v>0.16905415600302365</c:v>
                </c:pt>
                <c:pt idx="12">
                  <c:v>0.19106216584545208</c:v>
                </c:pt>
                <c:pt idx="13">
                  <c:v>0.1657594611520929</c:v>
                </c:pt>
                <c:pt idx="14">
                  <c:v>0.16003176915688938</c:v>
                </c:pt>
                <c:pt idx="15">
                  <c:v>0.16134475042505897</c:v>
                </c:pt>
                <c:pt idx="16">
                  <c:v>0.1774801541500334</c:v>
                </c:pt>
                <c:pt idx="17">
                  <c:v>0.13569011675918513</c:v>
                </c:pt>
                <c:pt idx="18">
                  <c:v>0.15470856669519198</c:v>
                </c:pt>
                <c:pt idx="19">
                  <c:v>0.1753689750509004</c:v>
                </c:pt>
                <c:pt idx="20">
                  <c:v>0.16666781160468958</c:v>
                </c:pt>
                <c:pt idx="21">
                  <c:v>0.13634940862124656</c:v>
                </c:pt>
                <c:pt idx="22">
                  <c:v>0.14597305605272876</c:v>
                </c:pt>
                <c:pt idx="23">
                  <c:v>0.14523749286904783</c:v>
                </c:pt>
                <c:pt idx="24">
                  <c:v>0.1366322595372586</c:v>
                </c:pt>
                <c:pt idx="25">
                  <c:v>0.14848612965182825</c:v>
                </c:pt>
                <c:pt idx="26">
                  <c:v>0.13799765794325386</c:v>
                </c:pt>
                <c:pt idx="27">
                  <c:v>0.1635760445728593</c:v>
                </c:pt>
                <c:pt idx="28">
                  <c:v>0.16701160133046755</c:v>
                </c:pt>
                <c:pt idx="29">
                  <c:v>0.15725340175429225</c:v>
                </c:pt>
                <c:pt idx="30">
                  <c:v>0.17329825398341306</c:v>
                </c:pt>
                <c:pt idx="31">
                  <c:v>0.14057801814392465</c:v>
                </c:pt>
                <c:pt idx="32">
                  <c:v>0.143647864268514</c:v>
                </c:pt>
                <c:pt idx="33">
                  <c:v>0.16163640643297508</c:v>
                </c:pt>
                <c:pt idx="34">
                  <c:v>0.1472388878685554</c:v>
                </c:pt>
                <c:pt idx="35">
                  <c:v>0.1536673867754752</c:v>
                </c:pt>
                <c:pt idx="36">
                  <c:v>0.14127963123496845</c:v>
                </c:pt>
                <c:pt idx="37">
                  <c:v>0.1555020172261124</c:v>
                </c:pt>
                <c:pt idx="38">
                  <c:v>0.14771584361030546</c:v>
                </c:pt>
                <c:pt idx="39">
                  <c:v>0.15952320622772434</c:v>
                </c:pt>
                <c:pt idx="40">
                  <c:v>0.16119741910043578</c:v>
                </c:pt>
                <c:pt idx="41">
                  <c:v>0.1578946452626694</c:v>
                </c:pt>
                <c:pt idx="42">
                  <c:v>0.16193617405764152</c:v>
                </c:pt>
                <c:pt idx="43">
                  <c:v>0.1735918685093843</c:v>
                </c:pt>
                <c:pt idx="44">
                  <c:v>0.17565787832703855</c:v>
                </c:pt>
                <c:pt idx="45">
                  <c:v>0.16907694935770126</c:v>
                </c:pt>
                <c:pt idx="46">
                  <c:v>0.15744318920184852</c:v>
                </c:pt>
                <c:pt idx="47">
                  <c:v>0.1548102514443998</c:v>
                </c:pt>
                <c:pt idx="48">
                  <c:v>0.15638258885850967</c:v>
                </c:pt>
                <c:pt idx="49">
                  <c:v>0.158263560578672</c:v>
                </c:pt>
                <c:pt idx="50">
                  <c:v>0.17787538560852997</c:v>
                </c:pt>
                <c:pt idx="51">
                  <c:v>0.16035444617495578</c:v>
                </c:pt>
              </c:numCache>
            </c:numRef>
          </c:xVal>
          <c:yVal>
            <c:numRef>
              <c:f>Sheet1!$B$109:$B$160</c:f>
              <c:numCache>
                <c:formatCode>General</c:formatCode>
                <c:ptCount val="52"/>
                <c:pt idx="0">
                  <c:v>0.15741314069487444</c:v>
                </c:pt>
                <c:pt idx="1">
                  <c:v>0.16354381823546768</c:v>
                </c:pt>
                <c:pt idx="2">
                  <c:v>0.16032537391760693</c:v>
                </c:pt>
                <c:pt idx="3">
                  <c:v>0.15675498855086686</c:v>
                </c:pt>
                <c:pt idx="4">
                  <c:v>0.1582260371959943</c:v>
                </c:pt>
                <c:pt idx="5">
                  <c:v>0.14792818622431567</c:v>
                </c:pt>
                <c:pt idx="6">
                  <c:v>0.14915070718007714</c:v>
                </c:pt>
                <c:pt idx="7">
                  <c:v>0.15123148232300282</c:v>
                </c:pt>
                <c:pt idx="8">
                  <c:v>0.1586417157275021</c:v>
                </c:pt>
                <c:pt idx="9">
                  <c:v>0.1749648382559775</c:v>
                </c:pt>
                <c:pt idx="10">
                  <c:v>0.16307387029854784</c:v>
                </c:pt>
                <c:pt idx="11">
                  <c:v>0.15886254679188283</c:v>
                </c:pt>
                <c:pt idx="12">
                  <c:v>0.15243670645480117</c:v>
                </c:pt>
                <c:pt idx="13">
                  <c:v>0.15959821428571427</c:v>
                </c:pt>
                <c:pt idx="14">
                  <c:v>0.15287912087912087</c:v>
                </c:pt>
                <c:pt idx="15">
                  <c:v>0.14851111948737278</c:v>
                </c:pt>
                <c:pt idx="16">
                  <c:v>0.1355251736111111</c:v>
                </c:pt>
                <c:pt idx="17">
                  <c:v>0.13848612855348785</c:v>
                </c:pt>
                <c:pt idx="18">
                  <c:v>0.12484799351438995</c:v>
                </c:pt>
                <c:pt idx="19">
                  <c:v>0.13602110022607386</c:v>
                </c:pt>
                <c:pt idx="20">
                  <c:v>0.13147012690717239</c:v>
                </c:pt>
                <c:pt idx="21">
                  <c:v>0.14953751284686537</c:v>
                </c:pt>
                <c:pt idx="22">
                  <c:v>0.15256849315068494</c:v>
                </c:pt>
                <c:pt idx="23">
                  <c:v>0.16208466857817508</c:v>
                </c:pt>
                <c:pt idx="24">
                  <c:v>0.16530944625407165</c:v>
                </c:pt>
                <c:pt idx="25">
                  <c:v>0.1621977298897845</c:v>
                </c:pt>
                <c:pt idx="26">
                  <c:v>0.15528146742567994</c:v>
                </c:pt>
                <c:pt idx="27">
                  <c:v>0.13320274240940255</c:v>
                </c:pt>
                <c:pt idx="28">
                  <c:v>0.13617697708305737</c:v>
                </c:pt>
                <c:pt idx="29">
                  <c:v>0.13477985429204942</c:v>
                </c:pt>
                <c:pt idx="30">
                  <c:v>0.1364720852552887</c:v>
                </c:pt>
                <c:pt idx="31">
                  <c:v>0.13176426982950334</c:v>
                </c:pt>
                <c:pt idx="32">
                  <c:v>0.13351090394539702</c:v>
                </c:pt>
                <c:pt idx="33">
                  <c:v>0.1475153254206339</c:v>
                </c:pt>
                <c:pt idx="34">
                  <c:v>0.16448469337533222</c:v>
                </c:pt>
                <c:pt idx="35">
                  <c:v>0.17218313919963096</c:v>
                </c:pt>
                <c:pt idx="36">
                  <c:v>0.16614991792814152</c:v>
                </c:pt>
                <c:pt idx="37">
                  <c:v>0.14872994652406418</c:v>
                </c:pt>
                <c:pt idx="38">
                  <c:v>0.13733333333333334</c:v>
                </c:pt>
                <c:pt idx="39">
                  <c:v>0.15125</c:v>
                </c:pt>
                <c:pt idx="40">
                  <c:v>0.14281682190234266</c:v>
                </c:pt>
                <c:pt idx="41">
                  <c:v>0.1404617567393267</c:v>
                </c:pt>
                <c:pt idx="42">
                  <c:v>0.14220988015200234</c:v>
                </c:pt>
                <c:pt idx="43">
                  <c:v>0.13615899857252664</c:v>
                </c:pt>
                <c:pt idx="44">
                  <c:v>0.13086329622193832</c:v>
                </c:pt>
                <c:pt idx="45">
                  <c:v>0.14015808752650857</c:v>
                </c:pt>
                <c:pt idx="46">
                  <c:v>0.14113973458235754</c:v>
                </c:pt>
                <c:pt idx="47">
                  <c:v>0.14362157534246575</c:v>
                </c:pt>
                <c:pt idx="48">
                  <c:v>0.12741267021906452</c:v>
                </c:pt>
                <c:pt idx="49">
                  <c:v>0.14005511428108283</c:v>
                </c:pt>
                <c:pt idx="50">
                  <c:v>0.16831259581446753</c:v>
                </c:pt>
                <c:pt idx="51">
                  <c:v>0.1648400662673633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5536831714613618</c:v>
                </c:pt>
              </c:numCache>
            </c:numRef>
          </c:xVal>
          <c:yVal>
            <c:numRef>
              <c:f>Sheet1!$B$163:$B$164</c:f>
              <c:numCache>
                <c:formatCode>General</c:formatCode>
                <c:ptCount val="2"/>
                <c:pt idx="0">
                  <c:v>0.17821191576669407</c:v>
                </c:pt>
                <c:pt idx="1">
                  <c:v>0.1782119157666940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5536831714613618</c:v>
                </c:pt>
                <c:pt idx="1">
                  <c:v>-0.05536831714613618</c:v>
                </c:pt>
              </c:numCache>
            </c:numRef>
          </c:xVal>
          <c:yVal>
            <c:numRef>
              <c:f>Sheet1!$B$167:$B$168</c:f>
              <c:numCache>
                <c:formatCode>General</c:formatCode>
                <c:ptCount val="2"/>
                <c:pt idx="0">
                  <c:v>0.1782119157666940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0656073064150101</c:v>
                </c:pt>
              </c:numCache>
            </c:numRef>
          </c:xVal>
          <c:yVal>
            <c:numRef>
              <c:f>Sheet1!$B$171:$B$172</c:f>
              <c:numCache>
                <c:formatCode>General</c:formatCode>
                <c:ptCount val="2"/>
                <c:pt idx="0">
                  <c:v>0.1559128277833009</c:v>
                </c:pt>
                <c:pt idx="1">
                  <c:v>0.155912827783300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0656073064150101</c:v>
                </c:pt>
                <c:pt idx="1">
                  <c:v>0.10656073064150101</c:v>
                </c:pt>
              </c:numCache>
            </c:numRef>
          </c:xVal>
          <c:yVal>
            <c:numRef>
              <c:f>Sheet1!$B$175:$B$176</c:f>
              <c:numCache>
                <c:formatCode>General</c:formatCode>
                <c:ptCount val="2"/>
                <c:pt idx="0">
                  <c:v>0.155912827783300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9457584742413375</c:v>
                </c:pt>
              </c:numCache>
            </c:numRef>
          </c:xVal>
          <c:yVal>
            <c:numRef>
              <c:f>Sheet1!$B$179:$B$180</c:f>
              <c:numCache>
                <c:formatCode>General</c:formatCode>
                <c:ptCount val="2"/>
                <c:pt idx="0">
                  <c:v>0.14379235366318818</c:v>
                </c:pt>
                <c:pt idx="1">
                  <c:v>0.1437923536631881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9457584742413375</c:v>
                </c:pt>
                <c:pt idx="1">
                  <c:v>0.19457584742413375</c:v>
                </c:pt>
              </c:numCache>
            </c:numRef>
          </c:xVal>
          <c:yVal>
            <c:numRef>
              <c:f>Sheet1!$B$183:$B$184</c:f>
              <c:numCache>
                <c:formatCode>General</c:formatCode>
                <c:ptCount val="2"/>
                <c:pt idx="0">
                  <c:v>0.1437923536631881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3096225193989916</c:v>
                </c:pt>
                <c:pt idx="1">
                  <c:v>0.13147390880609505</c:v>
                </c:pt>
                <c:pt idx="2">
                  <c:v>0.14357956762275711</c:v>
                </c:pt>
                <c:pt idx="3">
                  <c:v>0.15617307345125153</c:v>
                </c:pt>
                <c:pt idx="4">
                  <c:v>0.16033390714444182</c:v>
                </c:pt>
                <c:pt idx="5">
                  <c:v>0.1647134869272586</c:v>
                </c:pt>
                <c:pt idx="6">
                  <c:v>0.16191132645741613</c:v>
                </c:pt>
                <c:pt idx="7">
                  <c:v>0.15783890211929152</c:v>
                </c:pt>
                <c:pt idx="8">
                  <c:v>0.18562176767291913</c:v>
                </c:pt>
                <c:pt idx="9">
                  <c:v>0.16662358755214063</c:v>
                </c:pt>
                <c:pt idx="10">
                  <c:v>0.17717134672517176</c:v>
                </c:pt>
                <c:pt idx="11">
                  <c:v>0.16905415600302365</c:v>
                </c:pt>
                <c:pt idx="12">
                  <c:v>0.19106216584545208</c:v>
                </c:pt>
                <c:pt idx="13">
                  <c:v>0.1657594611520929</c:v>
                </c:pt>
                <c:pt idx="14">
                  <c:v>0.16003176915688938</c:v>
                </c:pt>
                <c:pt idx="15">
                  <c:v>0.16134475042505897</c:v>
                </c:pt>
                <c:pt idx="16">
                  <c:v>0.1774801541500334</c:v>
                </c:pt>
                <c:pt idx="17">
                  <c:v>0.13569011675918513</c:v>
                </c:pt>
                <c:pt idx="18">
                  <c:v>0.15470856669519198</c:v>
                </c:pt>
                <c:pt idx="19">
                  <c:v>0.1753689750509004</c:v>
                </c:pt>
                <c:pt idx="20">
                  <c:v>0.16666781160468958</c:v>
                </c:pt>
                <c:pt idx="21">
                  <c:v>0.13634940862124656</c:v>
                </c:pt>
                <c:pt idx="22">
                  <c:v>0.14597305605272876</c:v>
                </c:pt>
                <c:pt idx="23">
                  <c:v>0.14523749286904783</c:v>
                </c:pt>
                <c:pt idx="24">
                  <c:v>0.1366322595372586</c:v>
                </c:pt>
                <c:pt idx="25">
                  <c:v>0.14848612965182825</c:v>
                </c:pt>
                <c:pt idx="26">
                  <c:v>0.13799765794325386</c:v>
                </c:pt>
                <c:pt idx="27">
                  <c:v>0.1635760445728593</c:v>
                </c:pt>
                <c:pt idx="28">
                  <c:v>0.16701160133046755</c:v>
                </c:pt>
                <c:pt idx="29">
                  <c:v>0.15725340175429225</c:v>
                </c:pt>
                <c:pt idx="30">
                  <c:v>0.17329825398341306</c:v>
                </c:pt>
                <c:pt idx="31">
                  <c:v>0.14057801814392465</c:v>
                </c:pt>
                <c:pt idx="32">
                  <c:v>0.143647864268514</c:v>
                </c:pt>
                <c:pt idx="33">
                  <c:v>0.16163640643297508</c:v>
                </c:pt>
                <c:pt idx="34">
                  <c:v>0.1472388878685554</c:v>
                </c:pt>
                <c:pt idx="35">
                  <c:v>0.1536673867754752</c:v>
                </c:pt>
                <c:pt idx="36">
                  <c:v>0.14127963123496845</c:v>
                </c:pt>
                <c:pt idx="37">
                  <c:v>0.1555020172261124</c:v>
                </c:pt>
                <c:pt idx="38">
                  <c:v>0.14771584361030546</c:v>
                </c:pt>
                <c:pt idx="39">
                  <c:v>0.15952320622772434</c:v>
                </c:pt>
                <c:pt idx="40">
                  <c:v>0.16119741910043578</c:v>
                </c:pt>
                <c:pt idx="41">
                  <c:v>0.1578946452626694</c:v>
                </c:pt>
                <c:pt idx="42">
                  <c:v>0.16193617405764152</c:v>
                </c:pt>
                <c:pt idx="43">
                  <c:v>0.1735918685093843</c:v>
                </c:pt>
                <c:pt idx="44">
                  <c:v>0.17565787832703855</c:v>
                </c:pt>
                <c:pt idx="45">
                  <c:v>0.16907694935770126</c:v>
                </c:pt>
                <c:pt idx="46">
                  <c:v>0.15744318920184852</c:v>
                </c:pt>
                <c:pt idx="47">
                  <c:v>0.1548102514443998</c:v>
                </c:pt>
                <c:pt idx="48">
                  <c:v>0.15638258885850967</c:v>
                </c:pt>
                <c:pt idx="49">
                  <c:v>0.158263560578672</c:v>
                </c:pt>
                <c:pt idx="50">
                  <c:v>0.17787538560852997</c:v>
                </c:pt>
                <c:pt idx="51">
                  <c:v>0.16035444617495578</c:v>
                </c:pt>
                <c:pt idx="52">
                  <c:v>0.10656073064150101</c:v>
                </c:pt>
                <c:pt idx="53">
                  <c:v>-0.05536831714613618</c:v>
                </c:pt>
                <c:pt idx="54">
                  <c:v>0.19457584742413375</c:v>
                </c:pt>
              </c:numCache>
            </c:numRef>
          </c:xVal>
          <c:yVal>
            <c:numRef>
              <c:f>Sheet1!$B$187:$B$241</c:f>
              <c:numCache>
                <c:formatCode>General</c:formatCode>
                <c:ptCount val="55"/>
                <c:pt idx="0">
                  <c:v>0.1525525185750653</c:v>
                </c:pt>
                <c:pt idx="1">
                  <c:v>0.152482058817335</c:v>
                </c:pt>
                <c:pt idx="2">
                  <c:v>0.1508150005919096</c:v>
                </c:pt>
                <c:pt idx="3">
                  <c:v>0.14908076144009752</c:v>
                </c:pt>
                <c:pt idx="4">
                  <c:v>0.1485077771739861</c:v>
                </c:pt>
                <c:pt idx="5">
                  <c:v>0.14790466960161652</c:v>
                </c:pt>
                <c:pt idx="6">
                  <c:v>0.14829055233059144</c:v>
                </c:pt>
                <c:pt idx="7">
                  <c:v>0.1488513618324212</c:v>
                </c:pt>
                <c:pt idx="8">
                  <c:v>0.14502541107265624</c:v>
                </c:pt>
                <c:pt idx="9">
                  <c:v>0.14764163154591672</c:v>
                </c:pt>
                <c:pt idx="10">
                  <c:v>0.14618911012965097</c:v>
                </c:pt>
                <c:pt idx="11">
                  <c:v>0.14730692038398252</c:v>
                </c:pt>
                <c:pt idx="12">
                  <c:v>0.14427621925579887</c:v>
                </c:pt>
                <c:pt idx="13">
                  <c:v>0.14776062953229843</c:v>
                </c:pt>
                <c:pt idx="14">
                  <c:v>0.1485493842954977</c:v>
                </c:pt>
                <c:pt idx="15">
                  <c:v>0.14836857495202613</c:v>
                </c:pt>
                <c:pt idx="16">
                  <c:v>0.14614658456656643</c:v>
                </c:pt>
                <c:pt idx="17">
                  <c:v>0.15190144901701347</c:v>
                </c:pt>
                <c:pt idx="18">
                  <c:v>0.1492824372076749</c:v>
                </c:pt>
                <c:pt idx="19">
                  <c:v>0.14643731293879775</c:v>
                </c:pt>
                <c:pt idx="20">
                  <c:v>0.14763554149566172</c:v>
                </c:pt>
                <c:pt idx="21">
                  <c:v>0.15181065859096143</c:v>
                </c:pt>
                <c:pt idx="22">
                  <c:v>0.15048539568274488</c:v>
                </c:pt>
                <c:pt idx="23">
                  <c:v>0.15058668935657515</c:v>
                </c:pt>
                <c:pt idx="24">
                  <c:v>0.1517717074728729</c:v>
                </c:pt>
                <c:pt idx="25">
                  <c:v>0.15013932281897707</c:v>
                </c:pt>
                <c:pt idx="26">
                  <c:v>0.15158367981752843</c:v>
                </c:pt>
                <c:pt idx="27">
                  <c:v>0.14806130565600778</c:v>
                </c:pt>
                <c:pt idx="28">
                  <c:v>0.14758819855474006</c:v>
                </c:pt>
                <c:pt idx="29">
                  <c:v>0.14893199050486636</c:v>
                </c:pt>
                <c:pt idx="30">
                  <c:v>0.14672246987576387</c:v>
                </c:pt>
                <c:pt idx="31">
                  <c:v>0.1512283409828367</c:v>
                </c:pt>
                <c:pt idx="32">
                  <c:v>0.1508055955288063</c:v>
                </c:pt>
                <c:pt idx="33">
                  <c:v>0.14832841129349628</c:v>
                </c:pt>
                <c:pt idx="34">
                  <c:v>0.15031107924342194</c:v>
                </c:pt>
                <c:pt idx="35">
                  <c:v>0.1494258170580076</c:v>
                </c:pt>
                <c:pt idx="36">
                  <c:v>0.15113172254246887</c:v>
                </c:pt>
                <c:pt idx="37">
                  <c:v>0.1491731719248785</c:v>
                </c:pt>
                <c:pt idx="38">
                  <c:v>0.15024539814299692</c:v>
                </c:pt>
                <c:pt idx="39">
                  <c:v>0.14861941799023923</c:v>
                </c:pt>
                <c:pt idx="40">
                  <c:v>0.1483888638020834</c:v>
                </c:pt>
                <c:pt idx="41">
                  <c:v>0.14884368549963448</c:v>
                </c:pt>
                <c:pt idx="42">
                  <c:v>0.1482871305922982</c:v>
                </c:pt>
                <c:pt idx="43">
                  <c:v>0.1466820365116622</c:v>
                </c:pt>
                <c:pt idx="44">
                  <c:v>0.1463975283562209</c:v>
                </c:pt>
                <c:pt idx="45">
                  <c:v>0.14730378153379883</c:v>
                </c:pt>
                <c:pt idx="46">
                  <c:v>0.14890585506438164</c:v>
                </c:pt>
                <c:pt idx="47">
                  <c:v>0.14926843430208053</c:v>
                </c:pt>
                <c:pt idx="48">
                  <c:v>0.14905190928191986</c:v>
                </c:pt>
                <c:pt idx="49">
                  <c:v>0.14879288253869352</c:v>
                </c:pt>
                <c:pt idx="50">
                  <c:v>0.14609215763583822</c:v>
                </c:pt>
                <c:pt idx="51">
                  <c:v>0.14850494876453899</c:v>
                </c:pt>
                <c:pt idx="52">
                  <c:v>0.1559128277833009</c:v>
                </c:pt>
                <c:pt idx="53">
                  <c:v>0.17821191576669407</c:v>
                </c:pt>
                <c:pt idx="54">
                  <c:v>0.1437923536631881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02971261568436"/>
          <c:min val="0.0859726901932966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40.3724</c:v>
                </c:pt>
                <c:pt idx="1">
                  <c:v>1061.8576</c:v>
                </c:pt>
                <c:pt idx="2">
                  <c:v>1103.9922</c:v>
                </c:pt>
                <c:pt idx="3">
                  <c:v>1121.6438</c:v>
                </c:pt>
                <c:pt idx="4">
                  <c:v>1102.8794</c:v>
                </c:pt>
                <c:pt idx="5">
                  <c:v>1087.1859</c:v>
                </c:pt>
                <c:pt idx="6">
                  <c:v>1063.4153</c:v>
                </c:pt>
                <c:pt idx="7">
                  <c:v>1074.9487</c:v>
                </c:pt>
                <c:pt idx="8">
                  <c:v>1064.9677</c:v>
                </c:pt>
                <c:pt idx="9">
                  <c:v>1053.7494</c:v>
                </c:pt>
                <c:pt idx="10">
                  <c:v>1033.8269</c:v>
                </c:pt>
                <c:pt idx="11">
                  <c:v>1026.3446</c:v>
                </c:pt>
                <c:pt idx="12">
                  <c:v>1025.0957</c:v>
                </c:pt>
                <c:pt idx="13">
                  <c:v>1029.6344</c:v>
                </c:pt>
                <c:pt idx="14">
                  <c:v>1085.7141</c:v>
                </c:pt>
                <c:pt idx="15">
                  <c:v>1080.0835</c:v>
                </c:pt>
                <c:pt idx="16">
                  <c:v>1086.2838</c:v>
                </c:pt>
                <c:pt idx="17">
                  <c:v>1121.7477</c:v>
                </c:pt>
                <c:pt idx="18">
                  <c:v>1160.0662</c:v>
                </c:pt>
                <c:pt idx="19">
                  <c:v>1194.7839</c:v>
                </c:pt>
                <c:pt idx="20">
                  <c:v>1190.6809</c:v>
                </c:pt>
                <c:pt idx="21">
                  <c:v>1190.6619</c:v>
                </c:pt>
                <c:pt idx="22">
                  <c:v>1216.8437</c:v>
                </c:pt>
                <c:pt idx="23">
                  <c:v>1195.7293</c:v>
                </c:pt>
                <c:pt idx="24">
                  <c:v>1193.8014</c:v>
                </c:pt>
                <c:pt idx="25">
                  <c:v>1121.6241</c:v>
                </c:pt>
                <c:pt idx="26">
                  <c:v>1158.1418</c:v>
                </c:pt>
                <c:pt idx="27">
                  <c:v>1154.7188</c:v>
                </c:pt>
                <c:pt idx="28">
                  <c:v>1164.8646</c:v>
                </c:pt>
                <c:pt idx="29">
                  <c:v>1146.3761</c:v>
                </c:pt>
                <c:pt idx="30">
                  <c:v>1177.6982</c:v>
                </c:pt>
                <c:pt idx="31">
                  <c:v>1148.21</c:v>
                </c:pt>
                <c:pt idx="32">
                  <c:v>1167.0179</c:v>
                </c:pt>
                <c:pt idx="33">
                  <c:v>1130.5789</c:v>
                </c:pt>
                <c:pt idx="34">
                  <c:v>1165.7556</c:v>
                </c:pt>
                <c:pt idx="35">
                  <c:v>1198.3211</c:v>
                </c:pt>
                <c:pt idx="36">
                  <c:v>1249.1518</c:v>
                </c:pt>
                <c:pt idx="37">
                  <c:v>1266.6062</c:v>
                </c:pt>
                <c:pt idx="38">
                  <c:v>1339.7076</c:v>
                </c:pt>
                <c:pt idx="39">
                  <c:v>1311.3775</c:v>
                </c:pt>
                <c:pt idx="40">
                  <c:v>1360.417</c:v>
                </c:pt>
                <c:pt idx="41">
                  <c:v>1336.1196</c:v>
                </c:pt>
                <c:pt idx="42">
                  <c:v>1392.0627</c:v>
                </c:pt>
                <c:pt idx="43">
                  <c:v>1410.0398</c:v>
                </c:pt>
                <c:pt idx="44">
                  <c:v>1273.9782</c:v>
                </c:pt>
                <c:pt idx="45">
                  <c:v>1216.899</c:v>
                </c:pt>
                <c:pt idx="46">
                  <c:v>1224.017</c:v>
                </c:pt>
                <c:pt idx="47">
                  <c:v>1213.8984</c:v>
                </c:pt>
                <c:pt idx="48">
                  <c:v>1190.7371</c:v>
                </c:pt>
                <c:pt idx="49">
                  <c:v>1162.1957</c:v>
                </c:pt>
                <c:pt idx="50">
                  <c:v>1165.8976</c:v>
                </c:pt>
                <c:pt idx="51">
                  <c:v>1208.1121</c:v>
                </c:pt>
                <c:pt idx="52">
                  <c:v>1197.3808</c:v>
                </c:pt>
                <c:pt idx="53">
                  <c:v>1342.1474</c:v>
                </c:pt>
                <c:pt idx="54">
                  <c:v>1351.7973</c:v>
                </c:pt>
                <c:pt idx="55">
                  <c:v>1353.7072</c:v>
                </c:pt>
                <c:pt idx="56">
                  <c:v>1339.3817</c:v>
                </c:pt>
                <c:pt idx="57">
                  <c:v>1335.9022</c:v>
                </c:pt>
                <c:pt idx="58">
                  <c:v>1314.6643</c:v>
                </c:pt>
                <c:pt idx="59">
                  <c:v>1294.8744</c:v>
                </c:pt>
                <c:pt idx="60">
                  <c:v>1288.7535</c:v>
                </c:pt>
                <c:pt idx="61">
                  <c:v>1271.2859</c:v>
                </c:pt>
                <c:pt idx="62">
                  <c:v>1240.33</c:v>
                </c:pt>
                <c:pt idx="63">
                  <c:v>1206.2942</c:v>
                </c:pt>
                <c:pt idx="64">
                  <c:v>1226.5439</c:v>
                </c:pt>
                <c:pt idx="65">
                  <c:v>1208.6135</c:v>
                </c:pt>
                <c:pt idx="66">
                  <c:v>1258.2179</c:v>
                </c:pt>
                <c:pt idx="67">
                  <c:v>1291.0059</c:v>
                </c:pt>
                <c:pt idx="68">
                  <c:v>1296.8247</c:v>
                </c:pt>
                <c:pt idx="69">
                  <c:v>1333.4814</c:v>
                </c:pt>
                <c:pt idx="70">
                  <c:v>1340.5245</c:v>
                </c:pt>
                <c:pt idx="71">
                  <c:v>1375.6717</c:v>
                </c:pt>
                <c:pt idx="72">
                  <c:v>1386.0923</c:v>
                </c:pt>
                <c:pt idx="73">
                  <c:v>1370.1044</c:v>
                </c:pt>
                <c:pt idx="74">
                  <c:v>1338.6772</c:v>
                </c:pt>
                <c:pt idx="75">
                  <c:v>1333.4521</c:v>
                </c:pt>
                <c:pt idx="76">
                  <c:v>1337.578</c:v>
                </c:pt>
                <c:pt idx="77">
                  <c:v>1324.0923</c:v>
                </c:pt>
                <c:pt idx="78">
                  <c:v>1370.3553</c:v>
                </c:pt>
                <c:pt idx="79">
                  <c:v>1371.0449</c:v>
                </c:pt>
                <c:pt idx="80">
                  <c:v>1365.1591</c:v>
                </c:pt>
                <c:pt idx="81">
                  <c:v>1393.3299</c:v>
                </c:pt>
                <c:pt idx="82">
                  <c:v>1402.4973</c:v>
                </c:pt>
                <c:pt idx="83">
                  <c:v>1366.7442</c:v>
                </c:pt>
                <c:pt idx="84">
                  <c:v>1363.3371</c:v>
                </c:pt>
                <c:pt idx="85">
                  <c:v>1360.8695</c:v>
                </c:pt>
                <c:pt idx="86">
                  <c:v>1324.7617</c:v>
                </c:pt>
                <c:pt idx="87">
                  <c:v>1342.0882</c:v>
                </c:pt>
                <c:pt idx="88">
                  <c:v>1341.7728</c:v>
                </c:pt>
                <c:pt idx="89">
                  <c:v>1321.8898</c:v>
                </c:pt>
                <c:pt idx="90">
                  <c:v>1347.3625</c:v>
                </c:pt>
                <c:pt idx="91">
                  <c:v>1372.0207</c:v>
                </c:pt>
                <c:pt idx="92">
                  <c:v>1344.466</c:v>
                </c:pt>
                <c:pt idx="93">
                  <c:v>1348.8169</c:v>
                </c:pt>
                <c:pt idx="94">
                  <c:v>1375.6567</c:v>
                </c:pt>
                <c:pt idx="95">
                  <c:v>1304.542</c:v>
                </c:pt>
                <c:pt idx="96">
                  <c:v>1245.9126</c:v>
                </c:pt>
                <c:pt idx="97">
                  <c:v>1273.2071</c:v>
                </c:pt>
                <c:pt idx="98">
                  <c:v>1250.1847</c:v>
                </c:pt>
                <c:pt idx="99">
                  <c:v>1235.0945</c:v>
                </c:pt>
                <c:pt idx="100">
                  <c:v>1214.1287</c:v>
                </c:pt>
                <c:pt idx="101">
                  <c:v>1271.926</c:v>
                </c:pt>
                <c:pt idx="102">
                  <c:v>1281.9282</c:v>
                </c:pt>
                <c:pt idx="103">
                  <c:v>1026.5476</c:v>
                </c:pt>
                <c:pt idx="104">
                  <c:v>1128.9769</c:v>
                </c:pt>
              </c:numCache>
            </c:numRef>
          </c:xVal>
          <c:yVal>
            <c:numRef>
              <c:f>Sheet1!$B$2:$B$106</c:f>
              <c:numCache>
                <c:formatCode>General</c:formatCode>
                <c:ptCount val="105"/>
                <c:pt idx="0">
                  <c:v>0.17285149925522958</c:v>
                </c:pt>
                <c:pt idx="1">
                  <c:v>0.17510005717552887</c:v>
                </c:pt>
                <c:pt idx="2">
                  <c:v>0.18127357443976036</c:v>
                </c:pt>
                <c:pt idx="3">
                  <c:v>0.17871738447029237</c:v>
                </c:pt>
                <c:pt idx="4">
                  <c:v>0.18096093399191737</c:v>
                </c:pt>
                <c:pt idx="5">
                  <c:v>0.17093942054433714</c:v>
                </c:pt>
                <c:pt idx="6">
                  <c:v>0.1792242163592755</c:v>
                </c:pt>
                <c:pt idx="7">
                  <c:v>0.17662362690306418</c:v>
                </c:pt>
                <c:pt idx="8">
                  <c:v>0.18821652876084138</c:v>
                </c:pt>
                <c:pt idx="9">
                  <c:v>0.1716377649325626</c:v>
                </c:pt>
                <c:pt idx="10">
                  <c:v>0.18408986703347088</c:v>
                </c:pt>
                <c:pt idx="11">
                  <c:v>0.1763699961134862</c:v>
                </c:pt>
                <c:pt idx="12">
                  <c:v>0.1919142717973697</c:v>
                </c:pt>
                <c:pt idx="13">
                  <c:v>0.1839384104460714</c:v>
                </c:pt>
                <c:pt idx="14">
                  <c:v>0.18140849373663306</c:v>
                </c:pt>
                <c:pt idx="15">
                  <c:v>0.17968536873692825</c:v>
                </c:pt>
                <c:pt idx="16">
                  <c:v>0.16588025584565377</c:v>
                </c:pt>
                <c:pt idx="17">
                  <c:v>0.17308135515095643</c:v>
                </c:pt>
                <c:pt idx="18">
                  <c:v>0.15375462718138552</c:v>
                </c:pt>
                <c:pt idx="19">
                  <c:v>0.1353030303030303</c:v>
                </c:pt>
                <c:pt idx="20">
                  <c:v>0.15489266100848728</c:v>
                </c:pt>
                <c:pt idx="21">
                  <c:v>0.16386678455643972</c:v>
                </c:pt>
                <c:pt idx="22">
                  <c:v>0.13314234016887816</c:v>
                </c:pt>
                <c:pt idx="23">
                  <c:v>0.13682678311499272</c:v>
                </c:pt>
                <c:pt idx="24">
                  <c:v>0.1518347942356262</c:v>
                </c:pt>
                <c:pt idx="25">
                  <c:v>0.15676039737329517</c:v>
                </c:pt>
                <c:pt idx="26">
                  <c:v>0.1492620439988861</c:v>
                </c:pt>
                <c:pt idx="27">
                  <c:v>0.1447193402500665</c:v>
                </c:pt>
                <c:pt idx="28">
                  <c:v>0.14910204649867742</c:v>
                </c:pt>
                <c:pt idx="29">
                  <c:v>0.15953012504736644</c:v>
                </c:pt>
                <c:pt idx="30">
                  <c:v>0.13584366062917064</c:v>
                </c:pt>
                <c:pt idx="31">
                  <c:v>0.13010402111473374</c:v>
                </c:pt>
                <c:pt idx="32">
                  <c:v>0.1303807303807304</c:v>
                </c:pt>
                <c:pt idx="33">
                  <c:v>0.1387547963856913</c:v>
                </c:pt>
                <c:pt idx="34">
                  <c:v>0.14318936877076413</c:v>
                </c:pt>
                <c:pt idx="35">
                  <c:v>0.1562043795620438</c:v>
                </c:pt>
                <c:pt idx="36">
                  <c:v>0.1653139683895771</c:v>
                </c:pt>
                <c:pt idx="37">
                  <c:v>0.11661506707946337</c:v>
                </c:pt>
                <c:pt idx="38">
                  <c:v>0.10790875563447616</c:v>
                </c:pt>
                <c:pt idx="39">
                  <c:v>0.1250916556679865</c:v>
                </c:pt>
                <c:pt idx="40">
                  <c:v>0.13068113321277877</c:v>
                </c:pt>
                <c:pt idx="41">
                  <c:v>0.13534325241451317</c:v>
                </c:pt>
                <c:pt idx="42">
                  <c:v>0.12904656319290467</c:v>
                </c:pt>
                <c:pt idx="43">
                  <c:v>0.13416444048679133</c:v>
                </c:pt>
                <c:pt idx="44">
                  <c:v>0.13128695767723075</c:v>
                </c:pt>
                <c:pt idx="45">
                  <c:v>0.14931827737401646</c:v>
                </c:pt>
                <c:pt idx="46">
                  <c:v>0.15283765428453316</c:v>
                </c:pt>
                <c:pt idx="47">
                  <c:v>0.15739419876367094</c:v>
                </c:pt>
                <c:pt idx="48">
                  <c:v>0.16090731880205564</c:v>
                </c:pt>
                <c:pt idx="49">
                  <c:v>0.17951789189998502</c:v>
                </c:pt>
                <c:pt idx="50">
                  <c:v>0.15941365093907467</c:v>
                </c:pt>
                <c:pt idx="51">
                  <c:v>0.1580344332855093</c:v>
                </c:pt>
                <c:pt idx="52">
                  <c:v>0.15680671247035935</c:v>
                </c:pt>
                <c:pt idx="53">
                  <c:v>0.14512310606060605</c:v>
                </c:pt>
                <c:pt idx="54">
                  <c:v>0.1331049250535332</c:v>
                </c:pt>
                <c:pt idx="55">
                  <c:v>0.13680257510729613</c:v>
                </c:pt>
                <c:pt idx="56">
                  <c:v>0.16538952745849297</c:v>
                </c:pt>
                <c:pt idx="57">
                  <c:v>0.15572653682776308</c:v>
                </c:pt>
                <c:pt idx="58">
                  <c:v>0.1601654424873422</c:v>
                </c:pt>
                <c:pt idx="59">
                  <c:v>0.1552903373881111</c:v>
                </c:pt>
                <c:pt idx="60">
                  <c:v>0.1709623676989416</c:v>
                </c:pt>
                <c:pt idx="61">
                  <c:v>0.18203408773400392</c:v>
                </c:pt>
                <c:pt idx="62">
                  <c:v>0.17696705690171521</c:v>
                </c:pt>
                <c:pt idx="63">
                  <c:v>0.18850922286059874</c:v>
                </c:pt>
                <c:pt idx="64">
                  <c:v>0.16795490207473704</c:v>
                </c:pt>
                <c:pt idx="65">
                  <c:v>0.16964228985323082</c:v>
                </c:pt>
                <c:pt idx="66">
                  <c:v>0.15924645930744732</c:v>
                </c:pt>
                <c:pt idx="67">
                  <c:v>0.16667845772904138</c:v>
                </c:pt>
                <c:pt idx="68">
                  <c:v>0.14343235504652826</c:v>
                </c:pt>
                <c:pt idx="69">
                  <c:v>0.13304769421580787</c:v>
                </c:pt>
                <c:pt idx="70">
                  <c:v>0.1280326422584914</c:v>
                </c:pt>
                <c:pt idx="71">
                  <c:v>0.13362736917391824</c:v>
                </c:pt>
                <c:pt idx="72">
                  <c:v>0.1361031518624642</c:v>
                </c:pt>
                <c:pt idx="73">
                  <c:v>0.144589774078478</c:v>
                </c:pt>
                <c:pt idx="74">
                  <c:v>0.14208342936160406</c:v>
                </c:pt>
                <c:pt idx="75">
                  <c:v>0.1310499867759852</c:v>
                </c:pt>
                <c:pt idx="76">
                  <c:v>0.13344293738868337</c:v>
                </c:pt>
                <c:pt idx="77">
                  <c:v>0.12832505115463314</c:v>
                </c:pt>
                <c:pt idx="78">
                  <c:v>0.14035383319292333</c:v>
                </c:pt>
                <c:pt idx="79">
                  <c:v>0.12925897631779984</c:v>
                </c:pt>
                <c:pt idx="80">
                  <c:v>0.11969650046454011</c:v>
                </c:pt>
                <c:pt idx="81">
                  <c:v>0.11846646942800788</c:v>
                </c:pt>
                <c:pt idx="82">
                  <c:v>0.11542661051318047</c:v>
                </c:pt>
                <c:pt idx="83">
                  <c:v>0.10746586274162086</c:v>
                </c:pt>
                <c:pt idx="84">
                  <c:v>0.11573641963785701</c:v>
                </c:pt>
                <c:pt idx="85">
                  <c:v>0.11578947368421053</c:v>
                </c:pt>
                <c:pt idx="86">
                  <c:v>0.12607309296051017</c:v>
                </c:pt>
                <c:pt idx="87">
                  <c:v>0.1476459101757431</c:v>
                </c:pt>
                <c:pt idx="88">
                  <c:v>0.14121602689829083</c:v>
                </c:pt>
                <c:pt idx="89">
                  <c:v>0.1381188912033328</c:v>
                </c:pt>
                <c:pt idx="90">
                  <c:v>0.13409391534391535</c:v>
                </c:pt>
                <c:pt idx="91">
                  <c:v>0.12460160874184247</c:v>
                </c:pt>
                <c:pt idx="92">
                  <c:v>0.135898076442668</c:v>
                </c:pt>
                <c:pt idx="93">
                  <c:v>0.12870813397129185</c:v>
                </c:pt>
                <c:pt idx="94">
                  <c:v>0.12466878643349232</c:v>
                </c:pt>
                <c:pt idx="95">
                  <c:v>0.13940400405941508</c:v>
                </c:pt>
                <c:pt idx="96">
                  <c:v>0.12353484407189032</c:v>
                </c:pt>
                <c:pt idx="97">
                  <c:v>0.12715168236070293</c:v>
                </c:pt>
                <c:pt idx="98">
                  <c:v>0.14258999532491817</c:v>
                </c:pt>
                <c:pt idx="99">
                  <c:v>0.1412511995613033</c:v>
                </c:pt>
                <c:pt idx="100">
                  <c:v>0.16016440291558295</c:v>
                </c:pt>
                <c:pt idx="101">
                  <c:v>0.151813857527652</c:v>
                </c:pt>
                <c:pt idx="102">
                  <c:v>0.13899863515552044</c:v>
                </c:pt>
                <c:pt idx="103">
                  <c:v>0.16957169701289446</c:v>
                </c:pt>
                <c:pt idx="104">
                  <c:v>0.1716971039963322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8.969</c:v>
                </c:pt>
                <c:pt idx="1">
                  <c:v>1217.9369</c:v>
                </c:pt>
                <c:pt idx="2">
                  <c:v>1219.8138</c:v>
                </c:pt>
                <c:pt idx="3">
                  <c:v>1298.4512</c:v>
                </c:pt>
                <c:pt idx="4">
                  <c:v>1267.0362</c:v>
                </c:pt>
                <c:pt idx="5">
                  <c:v>1272.5764</c:v>
                </c:pt>
                <c:pt idx="6">
                  <c:v>1236.6774</c:v>
                </c:pt>
                <c:pt idx="7">
                  <c:v>1285.2404</c:v>
                </c:pt>
                <c:pt idx="8">
                  <c:v>1361.9344</c:v>
                </c:pt>
                <c:pt idx="9">
                  <c:v>1306.56</c:v>
                </c:pt>
                <c:pt idx="10">
                  <c:v>1332.3573</c:v>
                </c:pt>
                <c:pt idx="11">
                  <c:v>1272.2158</c:v>
                </c:pt>
                <c:pt idx="12">
                  <c:v>1314.1456</c:v>
                </c:pt>
                <c:pt idx="13">
                  <c:v>1326.3417</c:v>
                </c:pt>
                <c:pt idx="14">
                  <c:v>1327.4577</c:v>
                </c:pt>
                <c:pt idx="15">
                  <c:v>1330.7766</c:v>
                </c:pt>
                <c:pt idx="16">
                  <c:v>1342.7974</c:v>
                </c:pt>
                <c:pt idx="17">
                  <c:v>1284.047</c:v>
                </c:pt>
                <c:pt idx="18">
                  <c:v>1340.0682</c:v>
                </c:pt>
                <c:pt idx="19">
                  <c:v>1411.4331</c:v>
                </c:pt>
                <c:pt idx="20">
                  <c:v>1395.039</c:v>
                </c:pt>
                <c:pt idx="21">
                  <c:v>1323.5475</c:v>
                </c:pt>
                <c:pt idx="22">
                  <c:v>1284.5264</c:v>
                </c:pt>
                <c:pt idx="23">
                  <c:v>1244.1301</c:v>
                </c:pt>
                <c:pt idx="24">
                  <c:v>1239.4611</c:v>
                </c:pt>
                <c:pt idx="25">
                  <c:v>1225.3347</c:v>
                </c:pt>
                <c:pt idx="26">
                  <c:v>1256.0193</c:v>
                </c:pt>
                <c:pt idx="27">
                  <c:v>1323.2332</c:v>
                </c:pt>
                <c:pt idx="28">
                  <c:v>1348.1761</c:v>
                </c:pt>
                <c:pt idx="29">
                  <c:v>1354.0059</c:v>
                </c:pt>
                <c:pt idx="30">
                  <c:v>1366.7564</c:v>
                </c:pt>
                <c:pt idx="31">
                  <c:v>1273.3629</c:v>
                </c:pt>
                <c:pt idx="32">
                  <c:v>1269.2232</c:v>
                </c:pt>
                <c:pt idx="33">
                  <c:v>1322.5844</c:v>
                </c:pt>
                <c:pt idx="34">
                  <c:v>1367.6876</c:v>
                </c:pt>
                <c:pt idx="35">
                  <c:v>1328.3463</c:v>
                </c:pt>
                <c:pt idx="36">
                  <c:v>1292.1416</c:v>
                </c:pt>
                <c:pt idx="37">
                  <c:v>1370.4652</c:v>
                </c:pt>
                <c:pt idx="38">
                  <c:v>1398.6533</c:v>
                </c:pt>
                <c:pt idx="39">
                  <c:v>1368.8742</c:v>
                </c:pt>
                <c:pt idx="40">
                  <c:v>1362.4279</c:v>
                </c:pt>
                <c:pt idx="41">
                  <c:v>1397.4509</c:v>
                </c:pt>
                <c:pt idx="42">
                  <c:v>1393.7276</c:v>
                </c:pt>
                <c:pt idx="43">
                  <c:v>1376.9524</c:v>
                </c:pt>
                <c:pt idx="44">
                  <c:v>1321.8584</c:v>
                </c:pt>
                <c:pt idx="45">
                  <c:v>1261.5566</c:v>
                </c:pt>
                <c:pt idx="46">
                  <c:v>1246.9209</c:v>
                </c:pt>
                <c:pt idx="47">
                  <c:v>1226.9175</c:v>
                </c:pt>
                <c:pt idx="48">
                  <c:v>1187.5711</c:v>
                </c:pt>
                <c:pt idx="49">
                  <c:v>1196.1825</c:v>
                </c:pt>
                <c:pt idx="50">
                  <c:v>1119.6422</c:v>
                </c:pt>
                <c:pt idx="51">
                  <c:v>1107.4778</c:v>
                </c:pt>
              </c:numCache>
            </c:numRef>
          </c:xVal>
          <c:yVal>
            <c:numRef>
              <c:f>Sheet1!$B$109:$B$160</c:f>
              <c:numCache>
                <c:formatCode>General</c:formatCode>
                <c:ptCount val="52"/>
                <c:pt idx="0">
                  <c:v>0.15741314069487444</c:v>
                </c:pt>
                <c:pt idx="1">
                  <c:v>0.16354381823546768</c:v>
                </c:pt>
                <c:pt idx="2">
                  <c:v>0.16032537391760693</c:v>
                </c:pt>
                <c:pt idx="3">
                  <c:v>0.15675498855086686</c:v>
                </c:pt>
                <c:pt idx="4">
                  <c:v>0.1582260371959943</c:v>
                </c:pt>
                <c:pt idx="5">
                  <c:v>0.14792818622431567</c:v>
                </c:pt>
                <c:pt idx="6">
                  <c:v>0.14915070718007714</c:v>
                </c:pt>
                <c:pt idx="7">
                  <c:v>0.15123148232300282</c:v>
                </c:pt>
                <c:pt idx="8">
                  <c:v>0.1586417157275021</c:v>
                </c:pt>
                <c:pt idx="9">
                  <c:v>0.1749648382559775</c:v>
                </c:pt>
                <c:pt idx="10">
                  <c:v>0.16307387029854784</c:v>
                </c:pt>
                <c:pt idx="11">
                  <c:v>0.15886254679188283</c:v>
                </c:pt>
                <c:pt idx="12">
                  <c:v>0.15243670645480117</c:v>
                </c:pt>
                <c:pt idx="13">
                  <c:v>0.15959821428571427</c:v>
                </c:pt>
                <c:pt idx="14">
                  <c:v>0.15287912087912087</c:v>
                </c:pt>
                <c:pt idx="15">
                  <c:v>0.14851111948737278</c:v>
                </c:pt>
                <c:pt idx="16">
                  <c:v>0.1355251736111111</c:v>
                </c:pt>
                <c:pt idx="17">
                  <c:v>0.13848612855348785</c:v>
                </c:pt>
                <c:pt idx="18">
                  <c:v>0.12484799351438995</c:v>
                </c:pt>
                <c:pt idx="19">
                  <c:v>0.13602110022607386</c:v>
                </c:pt>
                <c:pt idx="20">
                  <c:v>0.13147012690717239</c:v>
                </c:pt>
                <c:pt idx="21">
                  <c:v>0.14953751284686537</c:v>
                </c:pt>
                <c:pt idx="22">
                  <c:v>0.15256849315068494</c:v>
                </c:pt>
                <c:pt idx="23">
                  <c:v>0.16208466857817508</c:v>
                </c:pt>
                <c:pt idx="24">
                  <c:v>0.16530944625407165</c:v>
                </c:pt>
                <c:pt idx="25">
                  <c:v>0.1621977298897845</c:v>
                </c:pt>
                <c:pt idx="26">
                  <c:v>0.15528146742567994</c:v>
                </c:pt>
                <c:pt idx="27">
                  <c:v>0.13320274240940255</c:v>
                </c:pt>
                <c:pt idx="28">
                  <c:v>0.13617697708305737</c:v>
                </c:pt>
                <c:pt idx="29">
                  <c:v>0.13477985429204942</c:v>
                </c:pt>
                <c:pt idx="30">
                  <c:v>0.1364720852552887</c:v>
                </c:pt>
                <c:pt idx="31">
                  <c:v>0.13176426982950334</c:v>
                </c:pt>
                <c:pt idx="32">
                  <c:v>0.13351090394539702</c:v>
                </c:pt>
                <c:pt idx="33">
                  <c:v>0.1475153254206339</c:v>
                </c:pt>
                <c:pt idx="34">
                  <c:v>0.16448469337533222</c:v>
                </c:pt>
                <c:pt idx="35">
                  <c:v>0.17218313919963096</c:v>
                </c:pt>
                <c:pt idx="36">
                  <c:v>0.16614991792814152</c:v>
                </c:pt>
                <c:pt idx="37">
                  <c:v>0.14872994652406418</c:v>
                </c:pt>
                <c:pt idx="38">
                  <c:v>0.13733333333333334</c:v>
                </c:pt>
                <c:pt idx="39">
                  <c:v>0.15125</c:v>
                </c:pt>
                <c:pt idx="40">
                  <c:v>0.14281682190234266</c:v>
                </c:pt>
                <c:pt idx="41">
                  <c:v>0.1404617567393267</c:v>
                </c:pt>
                <c:pt idx="42">
                  <c:v>0.14220988015200234</c:v>
                </c:pt>
                <c:pt idx="43">
                  <c:v>0.13615899857252664</c:v>
                </c:pt>
                <c:pt idx="44">
                  <c:v>0.13086329622193832</c:v>
                </c:pt>
                <c:pt idx="45">
                  <c:v>0.14015808752650857</c:v>
                </c:pt>
                <c:pt idx="46">
                  <c:v>0.14113973458235754</c:v>
                </c:pt>
                <c:pt idx="47">
                  <c:v>0.14362157534246575</c:v>
                </c:pt>
                <c:pt idx="48">
                  <c:v>0.12741267021906452</c:v>
                </c:pt>
                <c:pt idx="49">
                  <c:v>0.14005511428108283</c:v>
                </c:pt>
                <c:pt idx="50">
                  <c:v>0.16831259581446753</c:v>
                </c:pt>
                <c:pt idx="51">
                  <c:v>0.1648400662673633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43.6909391882205</c:v>
                </c:pt>
              </c:numCache>
            </c:numRef>
          </c:xVal>
          <c:yVal>
            <c:numRef>
              <c:f>Sheet1!$B$163:$B$164</c:f>
              <c:numCache>
                <c:formatCode>General</c:formatCode>
                <c:ptCount val="2"/>
                <c:pt idx="0">
                  <c:v>0.17821191576669407</c:v>
                </c:pt>
                <c:pt idx="1">
                  <c:v>0.1782119157666940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43.6909391882205</c:v>
                </c:pt>
                <c:pt idx="1">
                  <c:v>843.6909391882205</c:v>
                </c:pt>
              </c:numCache>
            </c:numRef>
          </c:xVal>
          <c:yVal>
            <c:numRef>
              <c:f>Sheet1!$B$167:$B$168</c:f>
              <c:numCache>
                <c:formatCode>General</c:formatCode>
                <c:ptCount val="2"/>
                <c:pt idx="0">
                  <c:v>0.1782119157666940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88.9289395476694</c:v>
                </c:pt>
              </c:numCache>
            </c:numRef>
          </c:xVal>
          <c:yVal>
            <c:numRef>
              <c:f>Sheet1!$B$171:$B$172</c:f>
              <c:numCache>
                <c:formatCode>General</c:formatCode>
                <c:ptCount val="2"/>
                <c:pt idx="0">
                  <c:v>0.1559128277833009</c:v>
                </c:pt>
                <c:pt idx="1">
                  <c:v>0.155912827783300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88.9289395476694</c:v>
                </c:pt>
                <c:pt idx="1">
                  <c:v>1188.9289395476694</c:v>
                </c:pt>
              </c:numCache>
            </c:numRef>
          </c:xVal>
          <c:yVal>
            <c:numRef>
              <c:f>Sheet1!$B$175:$B$176</c:f>
              <c:numCache>
                <c:formatCode>General</c:formatCode>
                <c:ptCount val="2"/>
                <c:pt idx="0">
                  <c:v>0.155912827783300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76.5800332494593</c:v>
                </c:pt>
              </c:numCache>
            </c:numRef>
          </c:xVal>
          <c:yVal>
            <c:numRef>
              <c:f>Sheet1!$B$179:$B$180</c:f>
              <c:numCache>
                <c:formatCode>General</c:formatCode>
                <c:ptCount val="2"/>
                <c:pt idx="0">
                  <c:v>0.14379235366318818</c:v>
                </c:pt>
                <c:pt idx="1">
                  <c:v>0.1437923536631881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76.5800332494593</c:v>
                </c:pt>
                <c:pt idx="1">
                  <c:v>1376.5800332494593</c:v>
                </c:pt>
              </c:numCache>
            </c:numRef>
          </c:xVal>
          <c:yVal>
            <c:numRef>
              <c:f>Sheet1!$B$183:$B$184</c:f>
              <c:numCache>
                <c:formatCode>General</c:formatCode>
                <c:ptCount val="2"/>
                <c:pt idx="0">
                  <c:v>0.1437923536631881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8.969</c:v>
                </c:pt>
                <c:pt idx="1">
                  <c:v>1217.9369</c:v>
                </c:pt>
                <c:pt idx="2">
                  <c:v>1219.8138</c:v>
                </c:pt>
                <c:pt idx="3">
                  <c:v>1298.4512</c:v>
                </c:pt>
                <c:pt idx="4">
                  <c:v>1267.0362</c:v>
                </c:pt>
                <c:pt idx="5">
                  <c:v>1272.5764</c:v>
                </c:pt>
                <c:pt idx="6">
                  <c:v>1236.6774</c:v>
                </c:pt>
                <c:pt idx="7">
                  <c:v>1285.2404</c:v>
                </c:pt>
                <c:pt idx="8">
                  <c:v>1361.9344</c:v>
                </c:pt>
                <c:pt idx="9">
                  <c:v>1306.56</c:v>
                </c:pt>
                <c:pt idx="10">
                  <c:v>1332.3573</c:v>
                </c:pt>
                <c:pt idx="11">
                  <c:v>1272.2158</c:v>
                </c:pt>
                <c:pt idx="12">
                  <c:v>1314.1456</c:v>
                </c:pt>
                <c:pt idx="13">
                  <c:v>1326.3417</c:v>
                </c:pt>
                <c:pt idx="14">
                  <c:v>1327.4577</c:v>
                </c:pt>
                <c:pt idx="15">
                  <c:v>1330.7766</c:v>
                </c:pt>
                <c:pt idx="16">
                  <c:v>1342.7974</c:v>
                </c:pt>
                <c:pt idx="17">
                  <c:v>1284.047</c:v>
                </c:pt>
                <c:pt idx="18">
                  <c:v>1340.0682</c:v>
                </c:pt>
                <c:pt idx="19">
                  <c:v>1411.4331</c:v>
                </c:pt>
                <c:pt idx="20">
                  <c:v>1395.039</c:v>
                </c:pt>
                <c:pt idx="21">
                  <c:v>1323.5475</c:v>
                </c:pt>
                <c:pt idx="22">
                  <c:v>1284.5264</c:v>
                </c:pt>
                <c:pt idx="23">
                  <c:v>1244.1301</c:v>
                </c:pt>
                <c:pt idx="24">
                  <c:v>1239.4611</c:v>
                </c:pt>
                <c:pt idx="25">
                  <c:v>1225.3347</c:v>
                </c:pt>
                <c:pt idx="26">
                  <c:v>1256.0193</c:v>
                </c:pt>
                <c:pt idx="27">
                  <c:v>1323.2332</c:v>
                </c:pt>
                <c:pt idx="28">
                  <c:v>1348.1761</c:v>
                </c:pt>
                <c:pt idx="29">
                  <c:v>1354.0059</c:v>
                </c:pt>
                <c:pt idx="30">
                  <c:v>1366.7564</c:v>
                </c:pt>
                <c:pt idx="31">
                  <c:v>1273.3629</c:v>
                </c:pt>
                <c:pt idx="32">
                  <c:v>1269.2232</c:v>
                </c:pt>
                <c:pt idx="33">
                  <c:v>1322.5844</c:v>
                </c:pt>
                <c:pt idx="34">
                  <c:v>1367.6876</c:v>
                </c:pt>
                <c:pt idx="35">
                  <c:v>1328.3463</c:v>
                </c:pt>
                <c:pt idx="36">
                  <c:v>1292.1416</c:v>
                </c:pt>
                <c:pt idx="37">
                  <c:v>1370.4652</c:v>
                </c:pt>
                <c:pt idx="38">
                  <c:v>1398.6533</c:v>
                </c:pt>
                <c:pt idx="39">
                  <c:v>1368.8742</c:v>
                </c:pt>
                <c:pt idx="40">
                  <c:v>1362.4279</c:v>
                </c:pt>
                <c:pt idx="41">
                  <c:v>1397.4509</c:v>
                </c:pt>
                <c:pt idx="42">
                  <c:v>1393.7276</c:v>
                </c:pt>
                <c:pt idx="43">
                  <c:v>1376.9524</c:v>
                </c:pt>
                <c:pt idx="44">
                  <c:v>1321.8584</c:v>
                </c:pt>
                <c:pt idx="45">
                  <c:v>1261.5566</c:v>
                </c:pt>
                <c:pt idx="46">
                  <c:v>1246.9209</c:v>
                </c:pt>
                <c:pt idx="47">
                  <c:v>1226.9175</c:v>
                </c:pt>
                <c:pt idx="48">
                  <c:v>1187.5711</c:v>
                </c:pt>
                <c:pt idx="49">
                  <c:v>1196.1825</c:v>
                </c:pt>
                <c:pt idx="50">
                  <c:v>1119.6422</c:v>
                </c:pt>
                <c:pt idx="51">
                  <c:v>1107.4778</c:v>
                </c:pt>
                <c:pt idx="52">
                  <c:v>1188.9289395476694</c:v>
                </c:pt>
                <c:pt idx="53">
                  <c:v>843.6909391882205</c:v>
                </c:pt>
                <c:pt idx="54">
                  <c:v>1376.5800332494593</c:v>
                </c:pt>
              </c:numCache>
            </c:numRef>
          </c:xVal>
          <c:yVal>
            <c:numRef>
              <c:f>Sheet1!$B$187:$B$241</c:f>
              <c:numCache>
                <c:formatCode>General</c:formatCode>
                <c:ptCount val="55"/>
                <c:pt idx="0">
                  <c:v>0.1526807162846853</c:v>
                </c:pt>
                <c:pt idx="1">
                  <c:v>0.15403918970848923</c:v>
                </c:pt>
                <c:pt idx="2">
                  <c:v>0.15391795983752354</c:v>
                </c:pt>
                <c:pt idx="3">
                  <c:v>0.14883873246521934</c:v>
                </c:pt>
                <c:pt idx="4">
                  <c:v>0.15086784237858036</c:v>
                </c:pt>
                <c:pt idx="5">
                  <c:v>0.15050999820407768</c:v>
                </c:pt>
                <c:pt idx="6">
                  <c:v>0.1528287318274979</c:v>
                </c:pt>
                <c:pt idx="7">
                  <c:v>0.14969202437174267</c:v>
                </c:pt>
                <c:pt idx="8">
                  <c:v>0.1447383221372906</c:v>
                </c:pt>
                <c:pt idx="9">
                  <c:v>0.14831498118508368</c:v>
                </c:pt>
                <c:pt idx="10">
                  <c:v>0.1466487212083863</c:v>
                </c:pt>
                <c:pt idx="11">
                  <c:v>0.15053328953098383</c:v>
                </c:pt>
                <c:pt idx="12">
                  <c:v>0.14782502364382022</c:v>
                </c:pt>
                <c:pt idx="13">
                  <c:v>0.14703727169684133</c:v>
                </c:pt>
                <c:pt idx="14">
                  <c:v>0.14696518872172398</c:v>
                </c:pt>
                <c:pt idx="15">
                  <c:v>0.14675081937932533</c:v>
                </c:pt>
                <c:pt idx="16">
                  <c:v>0.14597439014340202</c:v>
                </c:pt>
                <c:pt idx="17">
                  <c:v>0.14976910664997295</c:v>
                </c:pt>
                <c:pt idx="18">
                  <c:v>0.146150670480042</c:v>
                </c:pt>
                <c:pt idx="19">
                  <c:v>0.14154117736987112</c:v>
                </c:pt>
                <c:pt idx="20">
                  <c:v>0.14260008014977346</c:v>
                </c:pt>
                <c:pt idx="21">
                  <c:v>0.14721775041464852</c:v>
                </c:pt>
                <c:pt idx="22">
                  <c:v>0.14973814197410268</c:v>
                </c:pt>
                <c:pt idx="23">
                  <c:v>0.15234735836095945</c:v>
                </c:pt>
                <c:pt idx="24">
                  <c:v>0.1526489313097254</c:v>
                </c:pt>
                <c:pt idx="25">
                  <c:v>0.15356136225927508</c:v>
                </c:pt>
                <c:pt idx="26">
                  <c:v>0.1515794292321378</c:v>
                </c:pt>
                <c:pt idx="27">
                  <c:v>0.14723805120235406</c:v>
                </c:pt>
                <c:pt idx="28">
                  <c:v>0.1456269773313379</c:v>
                </c:pt>
                <c:pt idx="29">
                  <c:v>0.14525042775397318</c:v>
                </c:pt>
                <c:pt idx="30">
                  <c:v>0.14442686684516182</c:v>
                </c:pt>
                <c:pt idx="31">
                  <c:v>0.15045919779195419</c:v>
                </c:pt>
                <c:pt idx="32">
                  <c:v>0.15072658299992303</c:v>
                </c:pt>
                <c:pt idx="33">
                  <c:v>0.14727995750545092</c:v>
                </c:pt>
                <c:pt idx="34">
                  <c:v>0.14436672019065527</c:v>
                </c:pt>
                <c:pt idx="35">
                  <c:v>0.14690779362164402</c:v>
                </c:pt>
                <c:pt idx="36">
                  <c:v>0.14924627255464612</c:v>
                </c:pt>
                <c:pt idx="37">
                  <c:v>0.1441873136748077</c:v>
                </c:pt>
                <c:pt idx="38">
                  <c:v>0.14236663077973172</c:v>
                </c:pt>
                <c:pt idx="39">
                  <c:v>0.14429007712768555</c:v>
                </c:pt>
                <c:pt idx="40">
                  <c:v>0.14470644673565944</c:v>
                </c:pt>
                <c:pt idx="41">
                  <c:v>0.1424442943722775</c:v>
                </c:pt>
                <c:pt idx="42">
                  <c:v>0.14268478410458427</c:v>
                </c:pt>
                <c:pt idx="43">
                  <c:v>0.14376830231622245</c:v>
                </c:pt>
                <c:pt idx="44">
                  <c:v>0.1473268501935649</c:v>
                </c:pt>
                <c:pt idx="45">
                  <c:v>0.15122177237002565</c:v>
                </c:pt>
                <c:pt idx="46">
                  <c:v>0.15216709925078253</c:v>
                </c:pt>
                <c:pt idx="47">
                  <c:v>0.15345912844832912</c:v>
                </c:pt>
                <c:pt idx="48">
                  <c:v>0.15600053129076324</c:v>
                </c:pt>
                <c:pt idx="49">
                  <c:v>0.155444316835633</c:v>
                </c:pt>
                <c:pt idx="50">
                  <c:v>0.1603880915133865</c:v>
                </c:pt>
                <c:pt idx="51">
                  <c:v>0.1611737959421654</c:v>
                </c:pt>
                <c:pt idx="52">
                  <c:v>0.1559128277833009</c:v>
                </c:pt>
                <c:pt idx="53">
                  <c:v>0.17821191576669407</c:v>
                </c:pt>
                <c:pt idx="54">
                  <c:v>0.1437923536631881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94.0"/>
          <c:min val="67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02971261568436"/>
          <c:min val="0.0859726901932966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9</c:f>
              <c:numCache>
                <c:formatCode>General</c:formatCode>
                <c:ptCount val="68"/>
                <c:pt idx="0">
                  <c:v>0.25549292990418554</c:v>
                </c:pt>
                <c:pt idx="1">
                  <c:v>0.19341387689990483</c:v>
                </c:pt>
                <c:pt idx="2">
                  <c:v>0.18159693551505982</c:v>
                </c:pt>
                <c:pt idx="3">
                  <c:v>0.18429152484971636</c:v>
                </c:pt>
                <c:pt idx="4">
                  <c:v>0.18817019862389198</c:v>
                </c:pt>
                <c:pt idx="5">
                  <c:v>0.19155489040932405</c:v>
                </c:pt>
                <c:pt idx="6">
                  <c:v>0.18755398675581678</c:v>
                </c:pt>
                <c:pt idx="7">
                  <c:v>0.17949885907079402</c:v>
                </c:pt>
                <c:pt idx="8">
                  <c:v>0.16805966129784036</c:v>
                </c:pt>
                <c:pt idx="9">
                  <c:v>0.16963716998129028</c:v>
                </c:pt>
                <c:pt idx="10">
                  <c:v>0.16881818229987353</c:v>
                </c:pt>
                <c:pt idx="11">
                  <c:v>0.17097801330313098</c:v>
                </c:pt>
                <c:pt idx="12">
                  <c:v>0.16124494824312144</c:v>
                </c:pt>
                <c:pt idx="13">
                  <c:v>0.1636874547915842</c:v>
                </c:pt>
                <c:pt idx="14">
                  <c:v>0.1659007446151219</c:v>
                </c:pt>
                <c:pt idx="15">
                  <c:v>0.180277752337306</c:v>
                </c:pt>
                <c:pt idx="16">
                  <c:v>0.2098654086424311</c:v>
                </c:pt>
                <c:pt idx="17">
                  <c:v>0.20981050944151505</c:v>
                </c:pt>
                <c:pt idx="18">
                  <c:v>0.189505855156617</c:v>
                </c:pt>
                <c:pt idx="19">
                  <c:v>0.18690544132795603</c:v>
                </c:pt>
                <c:pt idx="20">
                  <c:v>0.20251731380713292</c:v>
                </c:pt>
                <c:pt idx="21">
                  <c:v>0.18574257928214213</c:v>
                </c:pt>
                <c:pt idx="22">
                  <c:v>0.1832671997735475</c:v>
                </c:pt>
                <c:pt idx="23">
                  <c:v>0.19348145447575024</c:v>
                </c:pt>
                <c:pt idx="24">
                  <c:v>0.18320043336829211</c:v>
                </c:pt>
                <c:pt idx="25">
                  <c:v>0.18985611510791367</c:v>
                </c:pt>
                <c:pt idx="26">
                  <c:v>0.18544337382566187</c:v>
                </c:pt>
                <c:pt idx="27">
                  <c:v>0.1878784719625657</c:v>
                </c:pt>
                <c:pt idx="28">
                  <c:v>0.18884731113870437</c:v>
                </c:pt>
                <c:pt idx="29">
                  <c:v>0.19438456893363198</c:v>
                </c:pt>
                <c:pt idx="30">
                  <c:v>0.19089659551303373</c:v>
                </c:pt>
                <c:pt idx="31">
                  <c:v>0.17924367878480407</c:v>
                </c:pt>
                <c:pt idx="32">
                  <c:v>0.179166098157385</c:v>
                </c:pt>
                <c:pt idx="33">
                  <c:v>0.19807921492970748</c:v>
                </c:pt>
                <c:pt idx="34">
                  <c:v>0.2149773186215209</c:v>
                </c:pt>
                <c:pt idx="35">
                  <c:v>0.2099846156365615</c:v>
                </c:pt>
                <c:pt idx="36">
                  <c:v>0.2043575616111981</c:v>
                </c:pt>
                <c:pt idx="37">
                  <c:v>0.22128167963110343</c:v>
                </c:pt>
                <c:pt idx="38">
                  <c:v>0.1971367209641256</c:v>
                </c:pt>
                <c:pt idx="39">
                  <c:v>0.1920415032405024</c:v>
                </c:pt>
                <c:pt idx="40">
                  <c:v>0.18018796676776222</c:v>
                </c:pt>
                <c:pt idx="41">
                  <c:v>0.1808199510131374</c:v>
                </c:pt>
                <c:pt idx="42">
                  <c:v>0.18704751094028393</c:v>
                </c:pt>
                <c:pt idx="43">
                  <c:v>0.19526878118348986</c:v>
                </c:pt>
                <c:pt idx="44">
                  <c:v>0.2322669226943485</c:v>
                </c:pt>
                <c:pt idx="45">
                  <c:v>0.22891215917627372</c:v>
                </c:pt>
                <c:pt idx="46">
                  <c:v>0.2292474798562861</c:v>
                </c:pt>
                <c:pt idx="47">
                  <c:v>0.2622332482129126</c:v>
                </c:pt>
                <c:pt idx="48">
                  <c:v>0.23301716042304288</c:v>
                </c:pt>
                <c:pt idx="49">
                  <c:v>0.2347052833690253</c:v>
                </c:pt>
                <c:pt idx="50">
                  <c:v>0.23752992755618632</c:v>
                </c:pt>
                <c:pt idx="51">
                  <c:v>0.1995709924985041</c:v>
                </c:pt>
                <c:pt idx="52">
                  <c:v>0.20824275908551312</c:v>
                </c:pt>
                <c:pt idx="53">
                  <c:v>0.22919910476835692</c:v>
                </c:pt>
                <c:pt idx="54">
                  <c:v>0.2306282465751928</c:v>
                </c:pt>
                <c:pt idx="55">
                  <c:v>0.24132096242992607</c:v>
                </c:pt>
                <c:pt idx="56">
                  <c:v>0.22919475349060528</c:v>
                </c:pt>
                <c:pt idx="57">
                  <c:v>0.23194741640348282</c:v>
                </c:pt>
                <c:pt idx="58">
                  <c:v>0.22021533276993557</c:v>
                </c:pt>
                <c:pt idx="59">
                  <c:v>0.2103200838759964</c:v>
                </c:pt>
                <c:pt idx="60">
                  <c:v>0.21524328847714366</c:v>
                </c:pt>
                <c:pt idx="61">
                  <c:v>0.2198265430945742</c:v>
                </c:pt>
                <c:pt idx="62">
                  <c:v>0.22101491697176467</c:v>
                </c:pt>
                <c:pt idx="63">
                  <c:v>0.22542392798101338</c:v>
                </c:pt>
                <c:pt idx="64">
                  <c:v>0.21390433147332807</c:v>
                </c:pt>
                <c:pt idx="65">
                  <c:v>0.20458861468577832</c:v>
                </c:pt>
                <c:pt idx="66">
                  <c:v>0.17655961819346938</c:v>
                </c:pt>
                <c:pt idx="67">
                  <c:v>0.19679109946369056</c:v>
                </c:pt>
              </c:numCache>
            </c:numRef>
          </c:xVal>
          <c:yVal>
            <c:numRef>
              <c:f>Sheet1!$B$2:$B$69</c:f>
              <c:numCache>
                <c:formatCode>General</c:formatCode>
                <c:ptCount val="68"/>
                <c:pt idx="0">
                  <c:v>0.11661506707946337</c:v>
                </c:pt>
                <c:pt idx="1">
                  <c:v>0.10790875563447616</c:v>
                </c:pt>
                <c:pt idx="2">
                  <c:v>0.1250916556679865</c:v>
                </c:pt>
                <c:pt idx="3">
                  <c:v>0.13068113321277877</c:v>
                </c:pt>
                <c:pt idx="4">
                  <c:v>0.13534325241451317</c:v>
                </c:pt>
                <c:pt idx="5">
                  <c:v>0.12904656319290467</c:v>
                </c:pt>
                <c:pt idx="6">
                  <c:v>0.13416444048679133</c:v>
                </c:pt>
                <c:pt idx="7">
                  <c:v>0.13128695767723075</c:v>
                </c:pt>
                <c:pt idx="8">
                  <c:v>0.14931827737401646</c:v>
                </c:pt>
                <c:pt idx="9">
                  <c:v>0.15283765428453316</c:v>
                </c:pt>
                <c:pt idx="10">
                  <c:v>0.15739419876367094</c:v>
                </c:pt>
                <c:pt idx="11">
                  <c:v>0.16090731880205564</c:v>
                </c:pt>
                <c:pt idx="12">
                  <c:v>0.17951789189998502</c:v>
                </c:pt>
                <c:pt idx="13">
                  <c:v>0.15941365093907467</c:v>
                </c:pt>
                <c:pt idx="14">
                  <c:v>0.1580344332855093</c:v>
                </c:pt>
                <c:pt idx="15">
                  <c:v>0.15680671247035935</c:v>
                </c:pt>
                <c:pt idx="16">
                  <c:v>0.14512310606060605</c:v>
                </c:pt>
                <c:pt idx="17">
                  <c:v>0.1331049250535332</c:v>
                </c:pt>
                <c:pt idx="18">
                  <c:v>0.13680257510729613</c:v>
                </c:pt>
                <c:pt idx="19">
                  <c:v>0.16538952745849297</c:v>
                </c:pt>
                <c:pt idx="20">
                  <c:v>0.15572653682776308</c:v>
                </c:pt>
                <c:pt idx="21">
                  <c:v>0.1601654424873422</c:v>
                </c:pt>
                <c:pt idx="22">
                  <c:v>0.1552903373881111</c:v>
                </c:pt>
                <c:pt idx="23">
                  <c:v>0.1709623676989416</c:v>
                </c:pt>
                <c:pt idx="24">
                  <c:v>0.18203408773400392</c:v>
                </c:pt>
                <c:pt idx="25">
                  <c:v>0.17696705690171521</c:v>
                </c:pt>
                <c:pt idx="26">
                  <c:v>0.18850922286059874</c:v>
                </c:pt>
                <c:pt idx="27">
                  <c:v>0.16795490207473704</c:v>
                </c:pt>
                <c:pt idx="28">
                  <c:v>0.16964228985323082</c:v>
                </c:pt>
                <c:pt idx="29">
                  <c:v>0.15924645930744732</c:v>
                </c:pt>
                <c:pt idx="30">
                  <c:v>0.16667845772904138</c:v>
                </c:pt>
                <c:pt idx="31">
                  <c:v>0.14343235504652826</c:v>
                </c:pt>
                <c:pt idx="32">
                  <c:v>0.13304769421580787</c:v>
                </c:pt>
                <c:pt idx="33">
                  <c:v>0.1280326422584914</c:v>
                </c:pt>
                <c:pt idx="34">
                  <c:v>0.13362736917391824</c:v>
                </c:pt>
                <c:pt idx="35">
                  <c:v>0.1361031518624642</c:v>
                </c:pt>
                <c:pt idx="36">
                  <c:v>0.144589774078478</c:v>
                </c:pt>
                <c:pt idx="37">
                  <c:v>0.14208342936160406</c:v>
                </c:pt>
                <c:pt idx="38">
                  <c:v>0.1310499867759852</c:v>
                </c:pt>
                <c:pt idx="39">
                  <c:v>0.13344293738868337</c:v>
                </c:pt>
                <c:pt idx="40">
                  <c:v>0.12832505115463314</c:v>
                </c:pt>
                <c:pt idx="41">
                  <c:v>0.14035383319292333</c:v>
                </c:pt>
                <c:pt idx="42">
                  <c:v>0.12925897631779984</c:v>
                </c:pt>
                <c:pt idx="43">
                  <c:v>0.11969650046454011</c:v>
                </c:pt>
                <c:pt idx="44">
                  <c:v>0.11846646942800788</c:v>
                </c:pt>
                <c:pt idx="45">
                  <c:v>0.11542661051318047</c:v>
                </c:pt>
                <c:pt idx="46">
                  <c:v>0.10746586274162086</c:v>
                </c:pt>
                <c:pt idx="47">
                  <c:v>0.11573641963785701</c:v>
                </c:pt>
                <c:pt idx="48">
                  <c:v>0.11578947368421053</c:v>
                </c:pt>
                <c:pt idx="49">
                  <c:v>0.12607309296051017</c:v>
                </c:pt>
                <c:pt idx="50">
                  <c:v>0.1476459101757431</c:v>
                </c:pt>
                <c:pt idx="51">
                  <c:v>0.14121602689829083</c:v>
                </c:pt>
                <c:pt idx="52">
                  <c:v>0.1381188912033328</c:v>
                </c:pt>
                <c:pt idx="53">
                  <c:v>0.13409391534391535</c:v>
                </c:pt>
                <c:pt idx="54">
                  <c:v>0.12460160874184247</c:v>
                </c:pt>
                <c:pt idx="55">
                  <c:v>0.135898076442668</c:v>
                </c:pt>
                <c:pt idx="56">
                  <c:v>0.12870813397129185</c:v>
                </c:pt>
                <c:pt idx="57">
                  <c:v>0.12466878643349232</c:v>
                </c:pt>
                <c:pt idx="58">
                  <c:v>0.13940400405941508</c:v>
                </c:pt>
                <c:pt idx="59">
                  <c:v>0.12353484407189032</c:v>
                </c:pt>
                <c:pt idx="60">
                  <c:v>0.12715168236070293</c:v>
                </c:pt>
                <c:pt idx="61">
                  <c:v>0.14258999532491817</c:v>
                </c:pt>
                <c:pt idx="62">
                  <c:v>0.1412511995613033</c:v>
                </c:pt>
                <c:pt idx="63">
                  <c:v>0.16016440291558295</c:v>
                </c:pt>
                <c:pt idx="64">
                  <c:v>0.151813857527652</c:v>
                </c:pt>
                <c:pt idx="65">
                  <c:v>0.13899863515552044</c:v>
                </c:pt>
                <c:pt idx="66">
                  <c:v>0.16957169701289446</c:v>
                </c:pt>
                <c:pt idx="67">
                  <c:v>0.17169710399633223</c:v>
                </c:pt>
              </c:numCache>
            </c:numRef>
          </c:yVal>
          <c:smooth val="0"/>
          <c:extLst>
            <c:ext xmlns:c16="http://schemas.microsoft.com/office/drawing/2014/chart" uri="{C3380CC4-5D6E-409C-BE32-E72D297353CC}">
              <c16:uniqueId val="{00000000-096C-4121-9522-6AB7243CCAAE}"/>
            </c:ext>
          </c:extLst>
        </c:ser>
        <c:ser>
          <c:idx val="1"/>
          <c:order val="1"/>
          <c:tx>
            <c:strRef>
              <c:f>Sheet1!$B$7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2:$A$123</c:f>
              <c:numCache>
                <c:formatCode>General</c:formatCode>
                <c:ptCount val="52"/>
                <c:pt idx="0">
                  <c:v>0.21422349208002506</c:v>
                </c:pt>
                <c:pt idx="1">
                  <c:v>0.20923990114775062</c:v>
                </c:pt>
                <c:pt idx="2">
                  <c:v>0.2112124491136216</c:v>
                </c:pt>
                <c:pt idx="3">
                  <c:v>0.24585264048085848</c:v>
                </c:pt>
                <c:pt idx="4">
                  <c:v>0.23591846719418416</c:v>
                </c:pt>
                <c:pt idx="5">
                  <c:v>0.23671855201007277</c:v>
                </c:pt>
                <c:pt idx="6">
                  <c:v>0.22404598905602213</c:v>
                </c:pt>
                <c:pt idx="7">
                  <c:v>0.2182325714201882</c:v>
                </c:pt>
                <c:pt idx="8">
                  <c:v>0.2282912781658712</c:v>
                </c:pt>
                <c:pt idx="9">
                  <c:v>0.22756350798580605</c:v>
                </c:pt>
                <c:pt idx="10">
                  <c:v>0.24307092927202867</c:v>
                </c:pt>
                <c:pt idx="11">
                  <c:v>0.22598798661930417</c:v>
                </c:pt>
                <c:pt idx="12">
                  <c:v>0.22145286643523981</c:v>
                </c:pt>
                <c:pt idx="13">
                  <c:v>0.21941872953849847</c:v>
                </c:pt>
                <c:pt idx="14">
                  <c:v>0.21985323935294676</c:v>
                </c:pt>
                <c:pt idx="15">
                  <c:v>0.2083060802057627</c:v>
                </c:pt>
                <c:pt idx="16">
                  <c:v>0.20367157091710553</c:v>
                </c:pt>
                <c:pt idx="17">
                  <c:v>0.1934286818476011</c:v>
                </c:pt>
                <c:pt idx="18">
                  <c:v>0.21342955607143774</c:v>
                </c:pt>
                <c:pt idx="19">
                  <c:v>0.22233873089401088</c:v>
                </c:pt>
                <c:pt idx="20">
                  <c:v>0.2134318860281724</c:v>
                </c:pt>
                <c:pt idx="21">
                  <c:v>0.203232713743276</c:v>
                </c:pt>
                <c:pt idx="22">
                  <c:v>0.2164615954972869</c:v>
                </c:pt>
                <c:pt idx="23">
                  <c:v>0.19442846906514114</c:v>
                </c:pt>
                <c:pt idx="24">
                  <c:v>0.17043683072481627</c:v>
                </c:pt>
                <c:pt idx="25">
                  <c:v>0.17400137992975276</c:v>
                </c:pt>
                <c:pt idx="26">
                  <c:v>0.20039040428701238</c:v>
                </c:pt>
                <c:pt idx="27">
                  <c:v>0.21779872278540985</c:v>
                </c:pt>
                <c:pt idx="28">
                  <c:v>0.22958446688628967</c:v>
                </c:pt>
                <c:pt idx="29">
                  <c:v>0.20032851365841697</c:v>
                </c:pt>
                <c:pt idx="30">
                  <c:v>0.20941508018089333</c:v>
                </c:pt>
                <c:pt idx="31">
                  <c:v>0.20156044366623518</c:v>
                </c:pt>
                <c:pt idx="32">
                  <c:v>0.1953218682272145</c:v>
                </c:pt>
                <c:pt idx="33">
                  <c:v>0.17596561538632963</c:v>
                </c:pt>
                <c:pt idx="34">
                  <c:v>0.1820132422787764</c:v>
                </c:pt>
                <c:pt idx="35">
                  <c:v>0.1742815296580337</c:v>
                </c:pt>
                <c:pt idx="36">
                  <c:v>0.16546973361344683</c:v>
                </c:pt>
                <c:pt idx="37">
                  <c:v>0.18965915495394198</c:v>
                </c:pt>
                <c:pt idx="38">
                  <c:v>0.1932826007721474</c:v>
                </c:pt>
                <c:pt idx="39">
                  <c:v>0.19794426187103756</c:v>
                </c:pt>
                <c:pt idx="40">
                  <c:v>0.21859637176602645</c:v>
                </c:pt>
                <c:pt idx="41">
                  <c:v>0.2224106134158594</c:v>
                </c:pt>
                <c:pt idx="42">
                  <c:v>0.20639834337251264</c:v>
                </c:pt>
                <c:pt idx="43">
                  <c:v>0.20323123747011015</c:v>
                </c:pt>
                <c:pt idx="44">
                  <c:v>0.21198140098537332</c:v>
                </c:pt>
                <c:pt idx="45">
                  <c:v>0.2131581749065234</c:v>
                </c:pt>
                <c:pt idx="46">
                  <c:v>0.18845453098671652</c:v>
                </c:pt>
                <c:pt idx="47">
                  <c:v>0.2045127991698789</c:v>
                </c:pt>
                <c:pt idx="48">
                  <c:v>0.2586333560169337</c:v>
                </c:pt>
                <c:pt idx="49">
                  <c:v>0.21740565466167744</c:v>
                </c:pt>
                <c:pt idx="50">
                  <c:v>0.19115055131863384</c:v>
                </c:pt>
                <c:pt idx="51">
                  <c:v>0.20081739303879523</c:v>
                </c:pt>
              </c:numCache>
            </c:numRef>
          </c:xVal>
          <c:yVal>
            <c:numRef>
              <c:f>Sheet1!$B$72:$B$123</c:f>
              <c:numCache>
                <c:formatCode>General</c:formatCode>
                <c:ptCount val="52"/>
                <c:pt idx="0">
                  <c:v>0.15741314069487444</c:v>
                </c:pt>
                <c:pt idx="1">
                  <c:v>0.16354381823546768</c:v>
                </c:pt>
                <c:pt idx="2">
                  <c:v>0.16032537391760693</c:v>
                </c:pt>
                <c:pt idx="3">
                  <c:v>0.15675498855086686</c:v>
                </c:pt>
                <c:pt idx="4">
                  <c:v>0.1582260371959943</c:v>
                </c:pt>
                <c:pt idx="5">
                  <c:v>0.14792818622431567</c:v>
                </c:pt>
                <c:pt idx="6">
                  <c:v>0.14915070718007714</c:v>
                </c:pt>
                <c:pt idx="7">
                  <c:v>0.15123148232300282</c:v>
                </c:pt>
                <c:pt idx="8">
                  <c:v>0.1586417157275021</c:v>
                </c:pt>
                <c:pt idx="9">
                  <c:v>0.1749648382559775</c:v>
                </c:pt>
                <c:pt idx="10">
                  <c:v>0.16307387029854784</c:v>
                </c:pt>
                <c:pt idx="11">
                  <c:v>0.15886254679188283</c:v>
                </c:pt>
                <c:pt idx="12">
                  <c:v>0.15243670645480117</c:v>
                </c:pt>
                <c:pt idx="13">
                  <c:v>0.15959821428571427</c:v>
                </c:pt>
                <c:pt idx="14">
                  <c:v>0.15287912087912087</c:v>
                </c:pt>
                <c:pt idx="15">
                  <c:v>0.14851111948737278</c:v>
                </c:pt>
                <c:pt idx="16">
                  <c:v>0.1355251736111111</c:v>
                </c:pt>
                <c:pt idx="17">
                  <c:v>0.13848612855348785</c:v>
                </c:pt>
                <c:pt idx="18">
                  <c:v>0.12484799351438995</c:v>
                </c:pt>
                <c:pt idx="19">
                  <c:v>0.13602110022607386</c:v>
                </c:pt>
                <c:pt idx="20">
                  <c:v>0.13147012690717239</c:v>
                </c:pt>
                <c:pt idx="21">
                  <c:v>0.14953751284686537</c:v>
                </c:pt>
                <c:pt idx="22">
                  <c:v>0.15256849315068494</c:v>
                </c:pt>
                <c:pt idx="23">
                  <c:v>0.16208466857817508</c:v>
                </c:pt>
                <c:pt idx="24">
                  <c:v>0.16530944625407165</c:v>
                </c:pt>
                <c:pt idx="25">
                  <c:v>0.1621977298897845</c:v>
                </c:pt>
                <c:pt idx="26">
                  <c:v>0.15528146742567994</c:v>
                </c:pt>
                <c:pt idx="27">
                  <c:v>0.13320274240940255</c:v>
                </c:pt>
                <c:pt idx="28">
                  <c:v>0.13617697708305737</c:v>
                </c:pt>
                <c:pt idx="29">
                  <c:v>0.13477985429204942</c:v>
                </c:pt>
                <c:pt idx="30">
                  <c:v>0.1364720852552887</c:v>
                </c:pt>
                <c:pt idx="31">
                  <c:v>0.13176426982950334</c:v>
                </c:pt>
                <c:pt idx="32">
                  <c:v>0.13351090394539702</c:v>
                </c:pt>
                <c:pt idx="33">
                  <c:v>0.1475153254206339</c:v>
                </c:pt>
                <c:pt idx="34">
                  <c:v>0.16448469337533222</c:v>
                </c:pt>
                <c:pt idx="35">
                  <c:v>0.17218313919963096</c:v>
                </c:pt>
                <c:pt idx="36">
                  <c:v>0.16614991792814152</c:v>
                </c:pt>
                <c:pt idx="37">
                  <c:v>0.14872994652406418</c:v>
                </c:pt>
                <c:pt idx="38">
                  <c:v>0.13733333333333334</c:v>
                </c:pt>
                <c:pt idx="39">
                  <c:v>0.15125</c:v>
                </c:pt>
                <c:pt idx="40">
                  <c:v>0.14281682190234266</c:v>
                </c:pt>
                <c:pt idx="41">
                  <c:v>0.1404617567393267</c:v>
                </c:pt>
                <c:pt idx="42">
                  <c:v>0.14220988015200234</c:v>
                </c:pt>
                <c:pt idx="43">
                  <c:v>0.13615899857252664</c:v>
                </c:pt>
                <c:pt idx="44">
                  <c:v>0.13086329622193832</c:v>
                </c:pt>
                <c:pt idx="45">
                  <c:v>0.14015808752650857</c:v>
                </c:pt>
                <c:pt idx="46">
                  <c:v>0.14113973458235754</c:v>
                </c:pt>
                <c:pt idx="47">
                  <c:v>0.14362157534246575</c:v>
                </c:pt>
                <c:pt idx="48">
                  <c:v>0.12741267021906452</c:v>
                </c:pt>
                <c:pt idx="49">
                  <c:v>0.14005511428108283</c:v>
                </c:pt>
                <c:pt idx="50">
                  <c:v>0.16831259581446753</c:v>
                </c:pt>
                <c:pt idx="51">
                  <c:v>0.16484006626736333</c:v>
                </c:pt>
              </c:numCache>
            </c:numRef>
          </c:yVal>
          <c:smooth val="0"/>
          <c:extLst>
            <c:ext xmlns:c16="http://schemas.microsoft.com/office/drawing/2014/chart" uri="{C3380CC4-5D6E-409C-BE32-E72D297353CC}">
              <c16:uniqueId val="{00000002-096C-4121-9522-6AB7243CCAAE}"/>
            </c:ext>
          </c:extLst>
        </c:ser>
        <c:ser>
          <c:idx val="2"/>
          <c:order val="2"/>
          <c:tx>
            <c:strRef>
              <c:f>Sheet1!$B$12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6:$A$127</c:f>
              <c:numCache>
                <c:formatCode>General</c:formatCode>
                <c:ptCount val="2"/>
                <c:pt idx="0">
                  <c:v>0</c:v>
                </c:pt>
                <c:pt idx="1">
                  <c:v>0.15048263646169346</c:v>
                </c:pt>
              </c:numCache>
            </c:numRef>
          </c:xVal>
          <c:yVal>
            <c:numRef>
              <c:f>Sheet1!$B$126:$B$127</c:f>
              <c:numCache>
                <c:formatCode>General</c:formatCode>
                <c:ptCount val="2"/>
                <c:pt idx="0">
                  <c:v>0.15671114042146694</c:v>
                </c:pt>
                <c:pt idx="1">
                  <c:v>0.15671114042146694</c:v>
                </c:pt>
              </c:numCache>
            </c:numRef>
          </c:yVal>
          <c:smooth val="0"/>
          <c:extLst>
            <c:ext xmlns:c16="http://schemas.microsoft.com/office/drawing/2014/chart" uri="{C3380CC4-5D6E-409C-BE32-E72D297353CC}">
              <c16:uniqueId val="{00000005-096C-4121-9522-6AB7243CCAAE}"/>
            </c:ext>
          </c:extLst>
        </c:ser>
        <c:ser>
          <c:idx val="3"/>
          <c:order val="3"/>
          <c:tx>
            <c:strRef>
              <c:f>Sheet1!$B$12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0:$A$131</c:f>
              <c:numCache>
                <c:formatCode>General</c:formatCode>
                <c:ptCount val="2"/>
                <c:pt idx="0">
                  <c:v>0.15048263646169346</c:v>
                </c:pt>
                <c:pt idx="1">
                  <c:v>0.15048263646169346</c:v>
                </c:pt>
              </c:numCache>
            </c:numRef>
          </c:xVal>
          <c:yVal>
            <c:numRef>
              <c:f>Sheet1!$B$130:$B$131</c:f>
              <c:numCache>
                <c:formatCode>General</c:formatCode>
                <c:ptCount val="2"/>
                <c:pt idx="0">
                  <c:v>0.1567111404214669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4:$A$135</c:f>
              <c:numCache>
                <c:formatCode>General</c:formatCode>
                <c:ptCount val="2"/>
                <c:pt idx="0">
                  <c:v>0</c:v>
                </c:pt>
                <c:pt idx="1">
                  <c:v>0.15639246591166608</c:v>
                </c:pt>
              </c:numCache>
            </c:numRef>
          </c:xVal>
          <c:yVal>
            <c:numRef>
              <c:f>Sheet1!$B$134:$B$135</c:f>
              <c:numCache>
                <c:formatCode>General</c:formatCode>
                <c:ptCount val="2"/>
                <c:pt idx="0">
                  <c:v>0.1559128277833009</c:v>
                </c:pt>
                <c:pt idx="1">
                  <c:v>0.1559128277833009</c:v>
                </c:pt>
              </c:numCache>
            </c:numRef>
          </c:yVal>
          <c:smooth val="0"/>
          <c:extLst>
            <c:ext xmlns:c16="http://schemas.microsoft.com/office/drawing/2014/chart" uri="{C3380CC4-5D6E-409C-BE32-E72D297353CC}">
              <c16:uniqueId val="{0000000D-096C-4121-9522-6AB7243CCAAE}"/>
            </c:ext>
          </c:extLst>
        </c:ser>
        <c:ser>
          <c:idx val="5"/>
          <c:order val="5"/>
          <c:tx>
            <c:strRef>
              <c:f>Sheet1!$B$13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8:$A$139</c:f>
              <c:numCache>
                <c:formatCode>General</c:formatCode>
                <c:ptCount val="2"/>
                <c:pt idx="0">
                  <c:v>0.15639246591166608</c:v>
                </c:pt>
                <c:pt idx="1">
                  <c:v>0.15639246591166608</c:v>
                </c:pt>
              </c:numCache>
            </c:numRef>
          </c:xVal>
          <c:yVal>
            <c:numRef>
              <c:f>Sheet1!$B$138:$B$139</c:f>
              <c:numCache>
                <c:formatCode>General</c:formatCode>
                <c:ptCount val="2"/>
                <c:pt idx="0">
                  <c:v>0.155912827783300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4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42:$A$143</c:f>
              <c:numCache>
                <c:formatCode>General</c:formatCode>
                <c:ptCount val="2"/>
                <c:pt idx="0">
                  <c:v>0</c:v>
                </c:pt>
                <c:pt idx="1">
                  <c:v>0.24611913623875495</c:v>
                </c:pt>
              </c:numCache>
            </c:numRef>
          </c:xVal>
          <c:yVal>
            <c:numRef>
              <c:f>Sheet1!$B$142:$B$143</c:f>
              <c:numCache>
                <c:formatCode>General</c:formatCode>
                <c:ptCount val="2"/>
                <c:pt idx="0">
                  <c:v>0.14379235366318818</c:v>
                </c:pt>
                <c:pt idx="1">
                  <c:v>0.14379235366318818</c:v>
                </c:pt>
              </c:numCache>
            </c:numRef>
          </c:yVal>
          <c:smooth val="0"/>
          <c:extLst>
            <c:ext xmlns:c16="http://schemas.microsoft.com/office/drawing/2014/chart" uri="{C3380CC4-5D6E-409C-BE32-E72D297353CC}">
              <c16:uniqueId val="{00000015-096C-4121-9522-6AB7243CCAAE}"/>
            </c:ext>
          </c:extLst>
        </c:ser>
        <c:ser>
          <c:idx val="7"/>
          <c:order val="7"/>
          <c:tx>
            <c:strRef>
              <c:f>Sheet1!$B$14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6:$A$147</c:f>
              <c:numCache>
                <c:formatCode>General</c:formatCode>
                <c:ptCount val="2"/>
                <c:pt idx="0">
                  <c:v>0.24611913623875495</c:v>
                </c:pt>
                <c:pt idx="1">
                  <c:v>0.24611913623875495</c:v>
                </c:pt>
              </c:numCache>
            </c:numRef>
          </c:xVal>
          <c:yVal>
            <c:numRef>
              <c:f>Sheet1!$B$146:$B$147</c:f>
              <c:numCache>
                <c:formatCode>General</c:formatCode>
                <c:ptCount val="2"/>
                <c:pt idx="0">
                  <c:v>0.1437923536631881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50:$A$204</c:f>
              <c:numCache>
                <c:formatCode>General</c:formatCode>
                <c:ptCount val="55"/>
                <c:pt idx="0">
                  <c:v>0.21422349208002506</c:v>
                </c:pt>
                <c:pt idx="1">
                  <c:v>0.20923990114775062</c:v>
                </c:pt>
                <c:pt idx="2">
                  <c:v>0.2112124491136216</c:v>
                </c:pt>
                <c:pt idx="3">
                  <c:v>0.24585264048085848</c:v>
                </c:pt>
                <c:pt idx="4">
                  <c:v>0.23591846719418416</c:v>
                </c:pt>
                <c:pt idx="5">
                  <c:v>0.23671855201007277</c:v>
                </c:pt>
                <c:pt idx="6">
                  <c:v>0.22404598905602213</c:v>
                </c:pt>
                <c:pt idx="7">
                  <c:v>0.2182325714201882</c:v>
                </c:pt>
                <c:pt idx="8">
                  <c:v>0.2282912781658712</c:v>
                </c:pt>
                <c:pt idx="9">
                  <c:v>0.22756350798580605</c:v>
                </c:pt>
                <c:pt idx="10">
                  <c:v>0.24307092927202867</c:v>
                </c:pt>
                <c:pt idx="11">
                  <c:v>0.22598798661930417</c:v>
                </c:pt>
                <c:pt idx="12">
                  <c:v>0.22145286643523981</c:v>
                </c:pt>
                <c:pt idx="13">
                  <c:v>0.21941872953849847</c:v>
                </c:pt>
                <c:pt idx="14">
                  <c:v>0.21985323935294676</c:v>
                </c:pt>
                <c:pt idx="15">
                  <c:v>0.2083060802057627</c:v>
                </c:pt>
                <c:pt idx="16">
                  <c:v>0.20367157091710553</c:v>
                </c:pt>
                <c:pt idx="17">
                  <c:v>0.1934286818476011</c:v>
                </c:pt>
                <c:pt idx="18">
                  <c:v>0.21342955607143774</c:v>
                </c:pt>
                <c:pt idx="19">
                  <c:v>0.22233873089401088</c:v>
                </c:pt>
                <c:pt idx="20">
                  <c:v>0.2134318860281724</c:v>
                </c:pt>
                <c:pt idx="21">
                  <c:v>0.203232713743276</c:v>
                </c:pt>
                <c:pt idx="22">
                  <c:v>0.2164615954972869</c:v>
                </c:pt>
                <c:pt idx="23">
                  <c:v>0.19442846906514114</c:v>
                </c:pt>
                <c:pt idx="24">
                  <c:v>0.17043683072481627</c:v>
                </c:pt>
                <c:pt idx="25">
                  <c:v>0.17400137992975276</c:v>
                </c:pt>
                <c:pt idx="26">
                  <c:v>0.20039040428701238</c:v>
                </c:pt>
                <c:pt idx="27">
                  <c:v>0.21779872278540985</c:v>
                </c:pt>
                <c:pt idx="28">
                  <c:v>0.22958446688628967</c:v>
                </c:pt>
                <c:pt idx="29">
                  <c:v>0.20032851365841697</c:v>
                </c:pt>
                <c:pt idx="30">
                  <c:v>0.20941508018089333</c:v>
                </c:pt>
                <c:pt idx="31">
                  <c:v>0.20156044366623518</c:v>
                </c:pt>
                <c:pt idx="32">
                  <c:v>0.1953218682272145</c:v>
                </c:pt>
                <c:pt idx="33">
                  <c:v>0.17596561538632963</c:v>
                </c:pt>
                <c:pt idx="34">
                  <c:v>0.1820132422787764</c:v>
                </c:pt>
                <c:pt idx="35">
                  <c:v>0.1742815296580337</c:v>
                </c:pt>
                <c:pt idx="36">
                  <c:v>0.16546973361344683</c:v>
                </c:pt>
                <c:pt idx="37">
                  <c:v>0.18965915495394198</c:v>
                </c:pt>
                <c:pt idx="38">
                  <c:v>0.1932826007721474</c:v>
                </c:pt>
                <c:pt idx="39">
                  <c:v>0.19794426187103756</c:v>
                </c:pt>
                <c:pt idx="40">
                  <c:v>0.21859637176602645</c:v>
                </c:pt>
                <c:pt idx="41">
                  <c:v>0.2224106134158594</c:v>
                </c:pt>
                <c:pt idx="42">
                  <c:v>0.20639834337251264</c:v>
                </c:pt>
                <c:pt idx="43">
                  <c:v>0.20323123747011015</c:v>
                </c:pt>
                <c:pt idx="44">
                  <c:v>0.21198140098537332</c:v>
                </c:pt>
                <c:pt idx="45">
                  <c:v>0.2131581749065234</c:v>
                </c:pt>
                <c:pt idx="46">
                  <c:v>0.18845453098671652</c:v>
                </c:pt>
                <c:pt idx="47">
                  <c:v>0.2045127991698789</c:v>
                </c:pt>
                <c:pt idx="48">
                  <c:v>0.2586333560169337</c:v>
                </c:pt>
                <c:pt idx="49">
                  <c:v>0.21740565466167744</c:v>
                </c:pt>
                <c:pt idx="50">
                  <c:v>0.19115055131863384</c:v>
                </c:pt>
                <c:pt idx="51">
                  <c:v>0.20081739303879523</c:v>
                </c:pt>
                <c:pt idx="52">
                  <c:v>0.15639246591166608</c:v>
                </c:pt>
                <c:pt idx="53">
                  <c:v>0.15048263646169346</c:v>
                </c:pt>
                <c:pt idx="54">
                  <c:v>0.24611913623875495</c:v>
                </c:pt>
              </c:numCache>
            </c:numRef>
          </c:xVal>
          <c:yVal>
            <c:numRef>
              <c:f>Sheet1!$B$150:$B$204</c:f>
              <c:numCache>
                <c:formatCode>General</c:formatCode>
                <c:ptCount val="55"/>
                <c:pt idx="0">
                  <c:v>0.1481008867689073</c:v>
                </c:pt>
                <c:pt idx="1">
                  <c:v>0.14877408109005696</c:v>
                </c:pt>
                <c:pt idx="2">
                  <c:v>0.1485076250131306</c:v>
                </c:pt>
                <c:pt idx="3">
                  <c:v>0.1438283524907935</c:v>
                </c:pt>
                <c:pt idx="4">
                  <c:v>0.14517028226247589</c:v>
                </c:pt>
                <c:pt idx="5">
                  <c:v>0.14506220506235779</c:v>
                </c:pt>
                <c:pt idx="6">
                  <c:v>0.14677404247658643</c:v>
                </c:pt>
                <c:pt idx="7">
                  <c:v>0.14755933159684098</c:v>
                </c:pt>
                <c:pt idx="8">
                  <c:v>0.14620057957418797</c:v>
                </c:pt>
                <c:pt idx="9">
                  <c:v>0.14629888835574326</c:v>
                </c:pt>
                <c:pt idx="10">
                  <c:v>0.14420411210154627</c:v>
                </c:pt>
                <c:pt idx="11">
                  <c:v>0.1465117132146036</c:v>
                </c:pt>
                <c:pt idx="12">
                  <c:v>0.1471243271299776</c:v>
                </c:pt>
                <c:pt idx="13">
                  <c:v>0.14739910277387305</c:v>
                </c:pt>
                <c:pt idx="14">
                  <c:v>0.14734040824144745</c:v>
                </c:pt>
                <c:pt idx="15">
                  <c:v>0.14890022365746666</c:v>
                </c:pt>
                <c:pt idx="16">
                  <c:v>0.1495262632696335</c:v>
                </c:pt>
                <c:pt idx="17">
                  <c:v>0.15090989504187627</c:v>
                </c:pt>
                <c:pt idx="18">
                  <c:v>0.14820813337473845</c:v>
                </c:pt>
                <c:pt idx="19">
                  <c:v>0.1470046626288062</c:v>
                </c:pt>
                <c:pt idx="20">
                  <c:v>0.14820781863910631</c:v>
                </c:pt>
                <c:pt idx="21">
                  <c:v>0.14958554505283614</c:v>
                </c:pt>
                <c:pt idx="22">
                  <c:v>0.14779855888302712</c:v>
                </c:pt>
                <c:pt idx="23">
                  <c:v>0.15077484160624072</c:v>
                </c:pt>
                <c:pt idx="24">
                  <c:v>0.1540156843851265</c:v>
                </c:pt>
                <c:pt idx="25">
                  <c:v>0.15353417731224833</c:v>
                </c:pt>
                <c:pt idx="26">
                  <c:v>0.14996949040688096</c:v>
                </c:pt>
                <c:pt idx="27">
                  <c:v>0.14761793681567625</c:v>
                </c:pt>
                <c:pt idx="28">
                  <c:v>0.1460258928242939</c:v>
                </c:pt>
                <c:pt idx="29">
                  <c:v>0.14997785072783607</c:v>
                </c:pt>
                <c:pt idx="30">
                  <c:v>0.14875041752458804</c:v>
                </c:pt>
                <c:pt idx="31">
                  <c:v>0.1498114389383077</c:v>
                </c:pt>
                <c:pt idx="32">
                  <c:v>0.15065415930093096</c:v>
                </c:pt>
                <c:pt idx="33">
                  <c:v>0.15326884410718833</c:v>
                </c:pt>
                <c:pt idx="34">
                  <c:v>0.15245191749026615</c:v>
                </c:pt>
                <c:pt idx="35">
                  <c:v>0.15349633407657481</c:v>
                </c:pt>
                <c:pt idx="36">
                  <c:v>0.1546866506850123</c:v>
                </c:pt>
                <c:pt idx="37">
                  <c:v>0.15141909094754302</c:v>
                </c:pt>
                <c:pt idx="38">
                  <c:v>0.15092962799182327</c:v>
                </c:pt>
                <c:pt idx="39">
                  <c:v>0.15029992065397307</c:v>
                </c:pt>
                <c:pt idx="40">
                  <c:v>0.14751018865349375</c:v>
                </c:pt>
                <c:pt idx="41">
                  <c:v>0.1469949525811406</c:v>
                </c:pt>
                <c:pt idx="42">
                  <c:v>0.1491579249053911</c:v>
                </c:pt>
                <c:pt idx="43">
                  <c:v>0.14958574447103182</c:v>
                </c:pt>
                <c:pt idx="44">
                  <c:v>0.14840375331893751</c:v>
                </c:pt>
                <c:pt idx="45">
                  <c:v>0.14824479213376784</c:v>
                </c:pt>
                <c:pt idx="46">
                  <c:v>0.15158181417761496</c:v>
                </c:pt>
                <c:pt idx="47">
                  <c:v>0.14941262832441957</c:v>
                </c:pt>
                <c:pt idx="48">
                  <c:v>0.14210190559014713</c:v>
                </c:pt>
                <c:pt idx="49">
                  <c:v>0.1476710333142287</c:v>
                </c:pt>
                <c:pt idx="50">
                  <c:v>0.15121762987721485</c:v>
                </c:pt>
                <c:pt idx="51">
                  <c:v>0.14991181183598673</c:v>
                </c:pt>
                <c:pt idx="52">
                  <c:v>0.1559128277833009</c:v>
                </c:pt>
                <c:pt idx="53">
                  <c:v>0.15671114042146694</c:v>
                </c:pt>
                <c:pt idx="54">
                  <c:v>0.1437923536631881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oreal Pari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2621106743271846"/>
          <c:min val="0.0859726901932966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9</c:f>
              <c:numCache>
                <c:formatCode>General</c:formatCode>
                <c:ptCount val="68"/>
                <c:pt idx="0">
                  <c:v>1266.6062</c:v>
                </c:pt>
                <c:pt idx="1">
                  <c:v>1339.7076</c:v>
                </c:pt>
                <c:pt idx="2">
                  <c:v>1311.3775</c:v>
                </c:pt>
                <c:pt idx="3">
                  <c:v>1360.417</c:v>
                </c:pt>
                <c:pt idx="4">
                  <c:v>1336.1196</c:v>
                </c:pt>
                <c:pt idx="5">
                  <c:v>1392.0627</c:v>
                </c:pt>
                <c:pt idx="6">
                  <c:v>1410.0398</c:v>
                </c:pt>
                <c:pt idx="7">
                  <c:v>1273.9782</c:v>
                </c:pt>
                <c:pt idx="8">
                  <c:v>1216.899</c:v>
                </c:pt>
                <c:pt idx="9">
                  <c:v>1224.017</c:v>
                </c:pt>
                <c:pt idx="10">
                  <c:v>1213.8984</c:v>
                </c:pt>
                <c:pt idx="11">
                  <c:v>1190.7371</c:v>
                </c:pt>
                <c:pt idx="12">
                  <c:v>1162.1957</c:v>
                </c:pt>
                <c:pt idx="13">
                  <c:v>1165.8976</c:v>
                </c:pt>
                <c:pt idx="14">
                  <c:v>1208.1121</c:v>
                </c:pt>
                <c:pt idx="15">
                  <c:v>1197.3808</c:v>
                </c:pt>
                <c:pt idx="16">
                  <c:v>1342.1474</c:v>
                </c:pt>
                <c:pt idx="17">
                  <c:v>1351.7973</c:v>
                </c:pt>
                <c:pt idx="18">
                  <c:v>1353.7072</c:v>
                </c:pt>
                <c:pt idx="19">
                  <c:v>1339.3817</c:v>
                </c:pt>
                <c:pt idx="20">
                  <c:v>1335.9022</c:v>
                </c:pt>
                <c:pt idx="21">
                  <c:v>1314.6643</c:v>
                </c:pt>
                <c:pt idx="22">
                  <c:v>1294.8744</c:v>
                </c:pt>
                <c:pt idx="23">
                  <c:v>1288.7535</c:v>
                </c:pt>
                <c:pt idx="24">
                  <c:v>1271.2859</c:v>
                </c:pt>
                <c:pt idx="25">
                  <c:v>1240.33</c:v>
                </c:pt>
                <c:pt idx="26">
                  <c:v>1206.2942</c:v>
                </c:pt>
                <c:pt idx="27">
                  <c:v>1226.5439</c:v>
                </c:pt>
                <c:pt idx="28">
                  <c:v>1208.6135</c:v>
                </c:pt>
                <c:pt idx="29">
                  <c:v>1258.2179</c:v>
                </c:pt>
                <c:pt idx="30">
                  <c:v>1291.0059</c:v>
                </c:pt>
                <c:pt idx="31">
                  <c:v>1296.8247</c:v>
                </c:pt>
                <c:pt idx="32">
                  <c:v>1333.4814</c:v>
                </c:pt>
                <c:pt idx="33">
                  <c:v>1340.5245</c:v>
                </c:pt>
                <c:pt idx="34">
                  <c:v>1375.6717</c:v>
                </c:pt>
                <c:pt idx="35">
                  <c:v>1386.0923</c:v>
                </c:pt>
                <c:pt idx="36">
                  <c:v>1370.1044</c:v>
                </c:pt>
                <c:pt idx="37">
                  <c:v>1338.6772</c:v>
                </c:pt>
                <c:pt idx="38">
                  <c:v>1333.4521</c:v>
                </c:pt>
                <c:pt idx="39">
                  <c:v>1337.578</c:v>
                </c:pt>
                <c:pt idx="40">
                  <c:v>1324.0923</c:v>
                </c:pt>
                <c:pt idx="41">
                  <c:v>1370.3553</c:v>
                </c:pt>
                <c:pt idx="42">
                  <c:v>1371.0449</c:v>
                </c:pt>
                <c:pt idx="43">
                  <c:v>1365.1591</c:v>
                </c:pt>
                <c:pt idx="44">
                  <c:v>1393.3299</c:v>
                </c:pt>
                <c:pt idx="45">
                  <c:v>1402.4973</c:v>
                </c:pt>
                <c:pt idx="46">
                  <c:v>1366.7442</c:v>
                </c:pt>
                <c:pt idx="47">
                  <c:v>1363.3371</c:v>
                </c:pt>
                <c:pt idx="48">
                  <c:v>1360.8695</c:v>
                </c:pt>
                <c:pt idx="49">
                  <c:v>1324.7617</c:v>
                </c:pt>
                <c:pt idx="50">
                  <c:v>1342.0882</c:v>
                </c:pt>
                <c:pt idx="51">
                  <c:v>1341.7728</c:v>
                </c:pt>
                <c:pt idx="52">
                  <c:v>1321.8898</c:v>
                </c:pt>
                <c:pt idx="53">
                  <c:v>1347.3625</c:v>
                </c:pt>
                <c:pt idx="54">
                  <c:v>1372.0207</c:v>
                </c:pt>
                <c:pt idx="55">
                  <c:v>1344.466</c:v>
                </c:pt>
                <c:pt idx="56">
                  <c:v>1348.8169</c:v>
                </c:pt>
                <c:pt idx="57">
                  <c:v>1375.6567</c:v>
                </c:pt>
                <c:pt idx="58">
                  <c:v>1304.542</c:v>
                </c:pt>
                <c:pt idx="59">
                  <c:v>1245.9126</c:v>
                </c:pt>
                <c:pt idx="60">
                  <c:v>1273.2071</c:v>
                </c:pt>
                <c:pt idx="61">
                  <c:v>1250.1847</c:v>
                </c:pt>
                <c:pt idx="62">
                  <c:v>1235.0945</c:v>
                </c:pt>
                <c:pt idx="63">
                  <c:v>1214.1287</c:v>
                </c:pt>
                <c:pt idx="64">
                  <c:v>1271.926</c:v>
                </c:pt>
                <c:pt idx="65">
                  <c:v>1281.9282</c:v>
                </c:pt>
                <c:pt idx="66">
                  <c:v>1026.5476</c:v>
                </c:pt>
                <c:pt idx="67">
                  <c:v>1128.9769</c:v>
                </c:pt>
              </c:numCache>
            </c:numRef>
          </c:xVal>
          <c:yVal>
            <c:numRef>
              <c:f>Sheet1!$B$2:$B$69</c:f>
              <c:numCache>
                <c:formatCode>General</c:formatCode>
                <c:ptCount val="68"/>
                <c:pt idx="0">
                  <c:v>0.11661506707946337</c:v>
                </c:pt>
                <c:pt idx="1">
                  <c:v>0.10790875563447616</c:v>
                </c:pt>
                <c:pt idx="2">
                  <c:v>0.1250916556679865</c:v>
                </c:pt>
                <c:pt idx="3">
                  <c:v>0.13068113321277877</c:v>
                </c:pt>
                <c:pt idx="4">
                  <c:v>0.13534325241451317</c:v>
                </c:pt>
                <c:pt idx="5">
                  <c:v>0.12904656319290467</c:v>
                </c:pt>
                <c:pt idx="6">
                  <c:v>0.13416444048679133</c:v>
                </c:pt>
                <c:pt idx="7">
                  <c:v>0.13128695767723075</c:v>
                </c:pt>
                <c:pt idx="8">
                  <c:v>0.14931827737401646</c:v>
                </c:pt>
                <c:pt idx="9">
                  <c:v>0.15283765428453316</c:v>
                </c:pt>
                <c:pt idx="10">
                  <c:v>0.15739419876367094</c:v>
                </c:pt>
                <c:pt idx="11">
                  <c:v>0.16090731880205564</c:v>
                </c:pt>
                <c:pt idx="12">
                  <c:v>0.17951789189998502</c:v>
                </c:pt>
                <c:pt idx="13">
                  <c:v>0.15941365093907467</c:v>
                </c:pt>
                <c:pt idx="14">
                  <c:v>0.1580344332855093</c:v>
                </c:pt>
                <c:pt idx="15">
                  <c:v>0.15680671247035935</c:v>
                </c:pt>
                <c:pt idx="16">
                  <c:v>0.14512310606060605</c:v>
                </c:pt>
                <c:pt idx="17">
                  <c:v>0.1331049250535332</c:v>
                </c:pt>
                <c:pt idx="18">
                  <c:v>0.13680257510729613</c:v>
                </c:pt>
                <c:pt idx="19">
                  <c:v>0.16538952745849297</c:v>
                </c:pt>
                <c:pt idx="20">
                  <c:v>0.15572653682776308</c:v>
                </c:pt>
                <c:pt idx="21">
                  <c:v>0.1601654424873422</c:v>
                </c:pt>
                <c:pt idx="22">
                  <c:v>0.1552903373881111</c:v>
                </c:pt>
                <c:pt idx="23">
                  <c:v>0.1709623676989416</c:v>
                </c:pt>
                <c:pt idx="24">
                  <c:v>0.18203408773400392</c:v>
                </c:pt>
                <c:pt idx="25">
                  <c:v>0.17696705690171521</c:v>
                </c:pt>
                <c:pt idx="26">
                  <c:v>0.18850922286059874</c:v>
                </c:pt>
                <c:pt idx="27">
                  <c:v>0.16795490207473704</c:v>
                </c:pt>
                <c:pt idx="28">
                  <c:v>0.16964228985323082</c:v>
                </c:pt>
                <c:pt idx="29">
                  <c:v>0.15924645930744732</c:v>
                </c:pt>
                <c:pt idx="30">
                  <c:v>0.16667845772904138</c:v>
                </c:pt>
                <c:pt idx="31">
                  <c:v>0.14343235504652826</c:v>
                </c:pt>
                <c:pt idx="32">
                  <c:v>0.13304769421580787</c:v>
                </c:pt>
                <c:pt idx="33">
                  <c:v>0.1280326422584914</c:v>
                </c:pt>
                <c:pt idx="34">
                  <c:v>0.13362736917391824</c:v>
                </c:pt>
                <c:pt idx="35">
                  <c:v>0.1361031518624642</c:v>
                </c:pt>
                <c:pt idx="36">
                  <c:v>0.144589774078478</c:v>
                </c:pt>
                <c:pt idx="37">
                  <c:v>0.14208342936160406</c:v>
                </c:pt>
                <c:pt idx="38">
                  <c:v>0.1310499867759852</c:v>
                </c:pt>
                <c:pt idx="39">
                  <c:v>0.13344293738868337</c:v>
                </c:pt>
                <c:pt idx="40">
                  <c:v>0.12832505115463314</c:v>
                </c:pt>
                <c:pt idx="41">
                  <c:v>0.14035383319292333</c:v>
                </c:pt>
                <c:pt idx="42">
                  <c:v>0.12925897631779984</c:v>
                </c:pt>
                <c:pt idx="43">
                  <c:v>0.11969650046454011</c:v>
                </c:pt>
                <c:pt idx="44">
                  <c:v>0.11846646942800788</c:v>
                </c:pt>
                <c:pt idx="45">
                  <c:v>0.11542661051318047</c:v>
                </c:pt>
                <c:pt idx="46">
                  <c:v>0.10746586274162086</c:v>
                </c:pt>
                <c:pt idx="47">
                  <c:v>0.11573641963785701</c:v>
                </c:pt>
                <c:pt idx="48">
                  <c:v>0.11578947368421053</c:v>
                </c:pt>
                <c:pt idx="49">
                  <c:v>0.12607309296051017</c:v>
                </c:pt>
                <c:pt idx="50">
                  <c:v>0.1476459101757431</c:v>
                </c:pt>
                <c:pt idx="51">
                  <c:v>0.14121602689829083</c:v>
                </c:pt>
                <c:pt idx="52">
                  <c:v>0.1381188912033328</c:v>
                </c:pt>
                <c:pt idx="53">
                  <c:v>0.13409391534391535</c:v>
                </c:pt>
                <c:pt idx="54">
                  <c:v>0.12460160874184247</c:v>
                </c:pt>
                <c:pt idx="55">
                  <c:v>0.135898076442668</c:v>
                </c:pt>
                <c:pt idx="56">
                  <c:v>0.12870813397129185</c:v>
                </c:pt>
                <c:pt idx="57">
                  <c:v>0.12466878643349232</c:v>
                </c:pt>
                <c:pt idx="58">
                  <c:v>0.13940400405941508</c:v>
                </c:pt>
                <c:pt idx="59">
                  <c:v>0.12353484407189032</c:v>
                </c:pt>
                <c:pt idx="60">
                  <c:v>0.12715168236070293</c:v>
                </c:pt>
                <c:pt idx="61">
                  <c:v>0.14258999532491817</c:v>
                </c:pt>
                <c:pt idx="62">
                  <c:v>0.1412511995613033</c:v>
                </c:pt>
                <c:pt idx="63">
                  <c:v>0.16016440291558295</c:v>
                </c:pt>
                <c:pt idx="64">
                  <c:v>0.151813857527652</c:v>
                </c:pt>
                <c:pt idx="65">
                  <c:v>0.13899863515552044</c:v>
                </c:pt>
                <c:pt idx="66">
                  <c:v>0.16957169701289446</c:v>
                </c:pt>
                <c:pt idx="67">
                  <c:v>0.17169710399633223</c:v>
                </c:pt>
              </c:numCache>
            </c:numRef>
          </c:yVal>
          <c:smooth val="0"/>
          <c:extLst>
            <c:ext xmlns:c16="http://schemas.microsoft.com/office/drawing/2014/chart" uri="{C3380CC4-5D6E-409C-BE32-E72D297353CC}">
              <c16:uniqueId val="{00000000-F32D-48B7-BC20-E66FC6253BAD}"/>
            </c:ext>
          </c:extLst>
        </c:ser>
        <c:ser>
          <c:idx val="1"/>
          <c:order val="1"/>
          <c:tx>
            <c:strRef>
              <c:f>Sheet1!$B$7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2:$A$123</c:f>
              <c:numCache>
                <c:formatCode>General</c:formatCode>
                <c:ptCount val="52"/>
                <c:pt idx="0">
                  <c:v>1238.969</c:v>
                </c:pt>
                <c:pt idx="1">
                  <c:v>1217.9369</c:v>
                </c:pt>
                <c:pt idx="2">
                  <c:v>1219.8138</c:v>
                </c:pt>
                <c:pt idx="3">
                  <c:v>1298.4512</c:v>
                </c:pt>
                <c:pt idx="4">
                  <c:v>1267.0362</c:v>
                </c:pt>
                <c:pt idx="5">
                  <c:v>1272.5764</c:v>
                </c:pt>
                <c:pt idx="6">
                  <c:v>1236.6774</c:v>
                </c:pt>
                <c:pt idx="7">
                  <c:v>1285.2404</c:v>
                </c:pt>
                <c:pt idx="8">
                  <c:v>1361.9344</c:v>
                </c:pt>
                <c:pt idx="9">
                  <c:v>1306.56</c:v>
                </c:pt>
                <c:pt idx="10">
                  <c:v>1332.3573</c:v>
                </c:pt>
                <c:pt idx="11">
                  <c:v>1272.2158</c:v>
                </c:pt>
                <c:pt idx="12">
                  <c:v>1314.1456</c:v>
                </c:pt>
                <c:pt idx="13">
                  <c:v>1326.3417</c:v>
                </c:pt>
                <c:pt idx="14">
                  <c:v>1327.4577</c:v>
                </c:pt>
                <c:pt idx="15">
                  <c:v>1330.7766</c:v>
                </c:pt>
                <c:pt idx="16">
                  <c:v>1342.7974</c:v>
                </c:pt>
                <c:pt idx="17">
                  <c:v>1284.047</c:v>
                </c:pt>
                <c:pt idx="18">
                  <c:v>1340.0682</c:v>
                </c:pt>
                <c:pt idx="19">
                  <c:v>1411.4331</c:v>
                </c:pt>
                <c:pt idx="20">
                  <c:v>1395.039</c:v>
                </c:pt>
                <c:pt idx="21">
                  <c:v>1323.5475</c:v>
                </c:pt>
                <c:pt idx="22">
                  <c:v>1284.5264</c:v>
                </c:pt>
                <c:pt idx="23">
                  <c:v>1244.1301</c:v>
                </c:pt>
                <c:pt idx="24">
                  <c:v>1239.4611</c:v>
                </c:pt>
                <c:pt idx="25">
                  <c:v>1225.3347</c:v>
                </c:pt>
                <c:pt idx="26">
                  <c:v>1256.0193</c:v>
                </c:pt>
                <c:pt idx="27">
                  <c:v>1323.2332</c:v>
                </c:pt>
                <c:pt idx="28">
                  <c:v>1348.1761</c:v>
                </c:pt>
                <c:pt idx="29">
                  <c:v>1354.0059</c:v>
                </c:pt>
                <c:pt idx="30">
                  <c:v>1366.7564</c:v>
                </c:pt>
                <c:pt idx="31">
                  <c:v>1273.3629</c:v>
                </c:pt>
                <c:pt idx="32">
                  <c:v>1269.2232</c:v>
                </c:pt>
                <c:pt idx="33">
                  <c:v>1322.5844</c:v>
                </c:pt>
                <c:pt idx="34">
                  <c:v>1367.6876</c:v>
                </c:pt>
                <c:pt idx="35">
                  <c:v>1328.3463</c:v>
                </c:pt>
                <c:pt idx="36">
                  <c:v>1292.1416</c:v>
                </c:pt>
                <c:pt idx="37">
                  <c:v>1370.4652</c:v>
                </c:pt>
                <c:pt idx="38">
                  <c:v>1398.6533</c:v>
                </c:pt>
                <c:pt idx="39">
                  <c:v>1368.8742</c:v>
                </c:pt>
                <c:pt idx="40">
                  <c:v>1362.4279</c:v>
                </c:pt>
                <c:pt idx="41">
                  <c:v>1397.4509</c:v>
                </c:pt>
                <c:pt idx="42">
                  <c:v>1393.7276</c:v>
                </c:pt>
                <c:pt idx="43">
                  <c:v>1376.9524</c:v>
                </c:pt>
                <c:pt idx="44">
                  <c:v>1321.8584</c:v>
                </c:pt>
                <c:pt idx="45">
                  <c:v>1261.5566</c:v>
                </c:pt>
                <c:pt idx="46">
                  <c:v>1246.9209</c:v>
                </c:pt>
                <c:pt idx="47">
                  <c:v>1226.9175</c:v>
                </c:pt>
                <c:pt idx="48">
                  <c:v>1187.5711</c:v>
                </c:pt>
                <c:pt idx="49">
                  <c:v>1196.1825</c:v>
                </c:pt>
                <c:pt idx="50">
                  <c:v>1119.6422</c:v>
                </c:pt>
                <c:pt idx="51">
                  <c:v>1107.4778</c:v>
                </c:pt>
              </c:numCache>
            </c:numRef>
          </c:xVal>
          <c:yVal>
            <c:numRef>
              <c:f>Sheet1!$B$72:$B$123</c:f>
              <c:numCache>
                <c:formatCode>General</c:formatCode>
                <c:ptCount val="52"/>
                <c:pt idx="0">
                  <c:v>0.15741314069487444</c:v>
                </c:pt>
                <c:pt idx="1">
                  <c:v>0.16354381823546768</c:v>
                </c:pt>
                <c:pt idx="2">
                  <c:v>0.16032537391760693</c:v>
                </c:pt>
                <c:pt idx="3">
                  <c:v>0.15675498855086686</c:v>
                </c:pt>
                <c:pt idx="4">
                  <c:v>0.1582260371959943</c:v>
                </c:pt>
                <c:pt idx="5">
                  <c:v>0.14792818622431567</c:v>
                </c:pt>
                <c:pt idx="6">
                  <c:v>0.14915070718007714</c:v>
                </c:pt>
                <c:pt idx="7">
                  <c:v>0.15123148232300282</c:v>
                </c:pt>
                <c:pt idx="8">
                  <c:v>0.1586417157275021</c:v>
                </c:pt>
                <c:pt idx="9">
                  <c:v>0.1749648382559775</c:v>
                </c:pt>
                <c:pt idx="10">
                  <c:v>0.16307387029854784</c:v>
                </c:pt>
                <c:pt idx="11">
                  <c:v>0.15886254679188283</c:v>
                </c:pt>
                <c:pt idx="12">
                  <c:v>0.15243670645480117</c:v>
                </c:pt>
                <c:pt idx="13">
                  <c:v>0.15959821428571427</c:v>
                </c:pt>
                <c:pt idx="14">
                  <c:v>0.15287912087912087</c:v>
                </c:pt>
                <c:pt idx="15">
                  <c:v>0.14851111948737278</c:v>
                </c:pt>
                <c:pt idx="16">
                  <c:v>0.1355251736111111</c:v>
                </c:pt>
                <c:pt idx="17">
                  <c:v>0.13848612855348785</c:v>
                </c:pt>
                <c:pt idx="18">
                  <c:v>0.12484799351438995</c:v>
                </c:pt>
                <c:pt idx="19">
                  <c:v>0.13602110022607386</c:v>
                </c:pt>
                <c:pt idx="20">
                  <c:v>0.13147012690717239</c:v>
                </c:pt>
                <c:pt idx="21">
                  <c:v>0.14953751284686537</c:v>
                </c:pt>
                <c:pt idx="22">
                  <c:v>0.15256849315068494</c:v>
                </c:pt>
                <c:pt idx="23">
                  <c:v>0.16208466857817508</c:v>
                </c:pt>
                <c:pt idx="24">
                  <c:v>0.16530944625407165</c:v>
                </c:pt>
                <c:pt idx="25">
                  <c:v>0.1621977298897845</c:v>
                </c:pt>
                <c:pt idx="26">
                  <c:v>0.15528146742567994</c:v>
                </c:pt>
                <c:pt idx="27">
                  <c:v>0.13320274240940255</c:v>
                </c:pt>
                <c:pt idx="28">
                  <c:v>0.13617697708305737</c:v>
                </c:pt>
                <c:pt idx="29">
                  <c:v>0.13477985429204942</c:v>
                </c:pt>
                <c:pt idx="30">
                  <c:v>0.1364720852552887</c:v>
                </c:pt>
                <c:pt idx="31">
                  <c:v>0.13176426982950334</c:v>
                </c:pt>
                <c:pt idx="32">
                  <c:v>0.13351090394539702</c:v>
                </c:pt>
                <c:pt idx="33">
                  <c:v>0.1475153254206339</c:v>
                </c:pt>
                <c:pt idx="34">
                  <c:v>0.16448469337533222</c:v>
                </c:pt>
                <c:pt idx="35">
                  <c:v>0.17218313919963096</c:v>
                </c:pt>
                <c:pt idx="36">
                  <c:v>0.16614991792814152</c:v>
                </c:pt>
                <c:pt idx="37">
                  <c:v>0.14872994652406418</c:v>
                </c:pt>
                <c:pt idx="38">
                  <c:v>0.13733333333333334</c:v>
                </c:pt>
                <c:pt idx="39">
                  <c:v>0.15125</c:v>
                </c:pt>
                <c:pt idx="40">
                  <c:v>0.14281682190234266</c:v>
                </c:pt>
                <c:pt idx="41">
                  <c:v>0.1404617567393267</c:v>
                </c:pt>
                <c:pt idx="42">
                  <c:v>0.14220988015200234</c:v>
                </c:pt>
                <c:pt idx="43">
                  <c:v>0.13615899857252664</c:v>
                </c:pt>
                <c:pt idx="44">
                  <c:v>0.13086329622193832</c:v>
                </c:pt>
                <c:pt idx="45">
                  <c:v>0.14015808752650857</c:v>
                </c:pt>
                <c:pt idx="46">
                  <c:v>0.14113973458235754</c:v>
                </c:pt>
                <c:pt idx="47">
                  <c:v>0.14362157534246575</c:v>
                </c:pt>
                <c:pt idx="48">
                  <c:v>0.12741267021906452</c:v>
                </c:pt>
                <c:pt idx="49">
                  <c:v>0.14005511428108283</c:v>
                </c:pt>
                <c:pt idx="50">
                  <c:v>0.16831259581446753</c:v>
                </c:pt>
                <c:pt idx="51">
                  <c:v>0.16484006626736333</c:v>
                </c:pt>
              </c:numCache>
            </c:numRef>
          </c:yVal>
          <c:smooth val="0"/>
          <c:extLst>
            <c:ext xmlns:c16="http://schemas.microsoft.com/office/drawing/2014/chart" uri="{C3380CC4-5D6E-409C-BE32-E72D297353CC}">
              <c16:uniqueId val="{00000002-F32D-48B7-BC20-E66FC6253BAD}"/>
            </c:ext>
          </c:extLst>
        </c:ser>
        <c:ser>
          <c:idx val="2"/>
          <c:order val="2"/>
          <c:tx>
            <c:strRef>
              <c:f>Sheet1!$B$125</c:f>
              <c:strCache>
                <c:ptCount val="1"/>
                <c:pt idx="0">
                  <c:v>Custom Linep3yQ</c:v>
                </c:pt>
              </c:strCache>
            </c:strRef>
          </c:tx>
          <c:spPr>
            <a:ln w="19050" cap="rnd">
              <a:solidFill>
                <a:srgbClr val="C00000"/>
              </a:solidFill>
              <a:prstDash val="sysDot"/>
              <a:round/>
            </a:ln>
            <a:effectLst/>
          </c:spPr>
          <c:marker>
            <c:symbol val="none"/>
          </c:marker>
          <c:xVal>
            <c:numRef>
              <c:f>Sheet1!$A$126:$A$127</c:f>
              <c:numCache>
                <c:formatCode>General</c:formatCode>
                <c:ptCount val="2"/>
                <c:pt idx="0">
                  <c:v>0</c:v>
                </c:pt>
                <c:pt idx="1">
                  <c:v>1176.569337259568</c:v>
                </c:pt>
              </c:numCache>
            </c:numRef>
          </c:xVal>
          <c:yVal>
            <c:numRef>
              <c:f>Sheet1!$B$126:$B$127</c:f>
              <c:numCache>
                <c:formatCode>General</c:formatCode>
                <c:ptCount val="2"/>
                <c:pt idx="0">
                  <c:v>0.15671114042146694</c:v>
                </c:pt>
                <c:pt idx="1">
                  <c:v>0.15671114042146694</c:v>
                </c:pt>
              </c:numCache>
            </c:numRef>
          </c:yVal>
          <c:smooth val="0"/>
          <c:extLst>
            <c:ext xmlns:c16="http://schemas.microsoft.com/office/drawing/2014/chart" uri="{C3380CC4-5D6E-409C-BE32-E72D297353CC}">
              <c16:uniqueId val="{00000003-F32D-48B7-BC20-E66FC6253BAD}"/>
            </c:ext>
          </c:extLst>
        </c:ser>
        <c:ser>
          <c:idx val="3"/>
          <c:order val="3"/>
          <c:tx>
            <c:strRef>
              <c:f>Sheet1!$B$12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0:$A$131</c:f>
              <c:numCache>
                <c:formatCode>General</c:formatCode>
                <c:ptCount val="2"/>
                <c:pt idx="0">
                  <c:v>1176.569337259568</c:v>
                </c:pt>
                <c:pt idx="1">
                  <c:v>1176.569337259568</c:v>
                </c:pt>
              </c:numCache>
            </c:numRef>
          </c:xVal>
          <c:yVal>
            <c:numRef>
              <c:f>Sheet1!$B$130:$B$131</c:f>
              <c:numCache>
                <c:formatCode>General</c:formatCode>
                <c:ptCount val="2"/>
                <c:pt idx="0">
                  <c:v>0.1567111404214669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4:$A$135</c:f>
              <c:numCache>
                <c:formatCode>General</c:formatCode>
                <c:ptCount val="2"/>
                <c:pt idx="0">
                  <c:v>0</c:v>
                </c:pt>
                <c:pt idx="1">
                  <c:v>1188.9289395476694</c:v>
                </c:pt>
              </c:numCache>
            </c:numRef>
          </c:xVal>
          <c:yVal>
            <c:numRef>
              <c:f>Sheet1!$B$134:$B$135</c:f>
              <c:numCache>
                <c:formatCode>General</c:formatCode>
                <c:ptCount val="2"/>
                <c:pt idx="0">
                  <c:v>0.1559128277833009</c:v>
                </c:pt>
                <c:pt idx="1">
                  <c:v>0.1559128277833009</c:v>
                </c:pt>
              </c:numCache>
            </c:numRef>
          </c:yVal>
          <c:smooth val="0"/>
          <c:extLst>
            <c:ext xmlns:c16="http://schemas.microsoft.com/office/drawing/2014/chart" uri="{C3380CC4-5D6E-409C-BE32-E72D297353CC}">
              <c16:uniqueId val="{0000000A-F32D-48B7-BC20-E66FC6253BAD}"/>
            </c:ext>
          </c:extLst>
        </c:ser>
        <c:ser>
          <c:idx val="5"/>
          <c:order val="5"/>
          <c:tx>
            <c:strRef>
              <c:f>Sheet1!$B$13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8:$A$139</c:f>
              <c:numCache>
                <c:formatCode>General</c:formatCode>
                <c:ptCount val="2"/>
                <c:pt idx="0">
                  <c:v>1188.9289395476694</c:v>
                </c:pt>
                <c:pt idx="1">
                  <c:v>1188.9289395476694</c:v>
                </c:pt>
              </c:numCache>
            </c:numRef>
          </c:xVal>
          <c:yVal>
            <c:numRef>
              <c:f>Sheet1!$B$138:$B$139</c:f>
              <c:numCache>
                <c:formatCode>General</c:formatCode>
                <c:ptCount val="2"/>
                <c:pt idx="0">
                  <c:v>0.155912827783300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4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42:$A$143</c:f>
              <c:numCache>
                <c:formatCode>General</c:formatCode>
                <c:ptCount val="2"/>
                <c:pt idx="0">
                  <c:v>0</c:v>
                </c:pt>
                <c:pt idx="1">
                  <c:v>1376.5800332494593</c:v>
                </c:pt>
              </c:numCache>
            </c:numRef>
          </c:xVal>
          <c:yVal>
            <c:numRef>
              <c:f>Sheet1!$B$142:$B$143</c:f>
              <c:numCache>
                <c:formatCode>General</c:formatCode>
                <c:ptCount val="2"/>
                <c:pt idx="0">
                  <c:v>0.14379235366318818</c:v>
                </c:pt>
                <c:pt idx="1">
                  <c:v>0.14379235366318818</c:v>
                </c:pt>
              </c:numCache>
            </c:numRef>
          </c:yVal>
          <c:smooth val="0"/>
          <c:extLst>
            <c:ext xmlns:c16="http://schemas.microsoft.com/office/drawing/2014/chart" uri="{C3380CC4-5D6E-409C-BE32-E72D297353CC}">
              <c16:uniqueId val="{00000011-F32D-48B7-BC20-E66FC6253BAD}"/>
            </c:ext>
          </c:extLst>
        </c:ser>
        <c:ser>
          <c:idx val="7"/>
          <c:order val="7"/>
          <c:tx>
            <c:strRef>
              <c:f>Sheet1!$B$14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6:$A$147</c:f>
              <c:numCache>
                <c:formatCode>General</c:formatCode>
                <c:ptCount val="2"/>
                <c:pt idx="0">
                  <c:v>1376.5800332494593</c:v>
                </c:pt>
                <c:pt idx="1">
                  <c:v>1376.5800332494593</c:v>
                </c:pt>
              </c:numCache>
            </c:numRef>
          </c:xVal>
          <c:yVal>
            <c:numRef>
              <c:f>Sheet1!$B$146:$B$147</c:f>
              <c:numCache>
                <c:formatCode>General</c:formatCode>
                <c:ptCount val="2"/>
                <c:pt idx="0">
                  <c:v>0.1437923536631881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50:$A$204</c:f>
              <c:numCache>
                <c:formatCode>General</c:formatCode>
                <c:ptCount val="55"/>
                <c:pt idx="0">
                  <c:v>1238.969</c:v>
                </c:pt>
                <c:pt idx="1">
                  <c:v>1217.9369</c:v>
                </c:pt>
                <c:pt idx="2">
                  <c:v>1219.8138</c:v>
                </c:pt>
                <c:pt idx="3">
                  <c:v>1298.4512</c:v>
                </c:pt>
                <c:pt idx="4">
                  <c:v>1267.0362</c:v>
                </c:pt>
                <c:pt idx="5">
                  <c:v>1272.5764</c:v>
                </c:pt>
                <c:pt idx="6">
                  <c:v>1236.6774</c:v>
                </c:pt>
                <c:pt idx="7">
                  <c:v>1285.2404</c:v>
                </c:pt>
                <c:pt idx="8">
                  <c:v>1361.9344</c:v>
                </c:pt>
                <c:pt idx="9">
                  <c:v>1306.56</c:v>
                </c:pt>
                <c:pt idx="10">
                  <c:v>1332.3573</c:v>
                </c:pt>
                <c:pt idx="11">
                  <c:v>1272.2158</c:v>
                </c:pt>
                <c:pt idx="12">
                  <c:v>1314.1456</c:v>
                </c:pt>
                <c:pt idx="13">
                  <c:v>1326.3417</c:v>
                </c:pt>
                <c:pt idx="14">
                  <c:v>1327.4577</c:v>
                </c:pt>
                <c:pt idx="15">
                  <c:v>1330.7766</c:v>
                </c:pt>
                <c:pt idx="16">
                  <c:v>1342.7974</c:v>
                </c:pt>
                <c:pt idx="17">
                  <c:v>1284.047</c:v>
                </c:pt>
                <c:pt idx="18">
                  <c:v>1340.0682</c:v>
                </c:pt>
                <c:pt idx="19">
                  <c:v>1411.4331</c:v>
                </c:pt>
                <c:pt idx="20">
                  <c:v>1395.039</c:v>
                </c:pt>
                <c:pt idx="21">
                  <c:v>1323.5475</c:v>
                </c:pt>
                <c:pt idx="22">
                  <c:v>1284.5264</c:v>
                </c:pt>
                <c:pt idx="23">
                  <c:v>1244.1301</c:v>
                </c:pt>
                <c:pt idx="24">
                  <c:v>1239.4611</c:v>
                </c:pt>
                <c:pt idx="25">
                  <c:v>1225.3347</c:v>
                </c:pt>
                <c:pt idx="26">
                  <c:v>1256.0193</c:v>
                </c:pt>
                <c:pt idx="27">
                  <c:v>1323.2332</c:v>
                </c:pt>
                <c:pt idx="28">
                  <c:v>1348.1761</c:v>
                </c:pt>
                <c:pt idx="29">
                  <c:v>1354.0059</c:v>
                </c:pt>
                <c:pt idx="30">
                  <c:v>1366.7564</c:v>
                </c:pt>
                <c:pt idx="31">
                  <c:v>1273.3629</c:v>
                </c:pt>
                <c:pt idx="32">
                  <c:v>1269.2232</c:v>
                </c:pt>
                <c:pt idx="33">
                  <c:v>1322.5844</c:v>
                </c:pt>
                <c:pt idx="34">
                  <c:v>1367.6876</c:v>
                </c:pt>
                <c:pt idx="35">
                  <c:v>1328.3463</c:v>
                </c:pt>
                <c:pt idx="36">
                  <c:v>1292.1416</c:v>
                </c:pt>
                <c:pt idx="37">
                  <c:v>1370.4652</c:v>
                </c:pt>
                <c:pt idx="38">
                  <c:v>1398.6533</c:v>
                </c:pt>
                <c:pt idx="39">
                  <c:v>1368.8742</c:v>
                </c:pt>
                <c:pt idx="40">
                  <c:v>1362.4279</c:v>
                </c:pt>
                <c:pt idx="41">
                  <c:v>1397.4509</c:v>
                </c:pt>
                <c:pt idx="42">
                  <c:v>1393.7276</c:v>
                </c:pt>
                <c:pt idx="43">
                  <c:v>1376.9524</c:v>
                </c:pt>
                <c:pt idx="44">
                  <c:v>1321.8584</c:v>
                </c:pt>
                <c:pt idx="45">
                  <c:v>1261.5566</c:v>
                </c:pt>
                <c:pt idx="46">
                  <c:v>1246.9209</c:v>
                </c:pt>
                <c:pt idx="47">
                  <c:v>1226.9175</c:v>
                </c:pt>
                <c:pt idx="48">
                  <c:v>1187.5711</c:v>
                </c:pt>
                <c:pt idx="49">
                  <c:v>1196.1825</c:v>
                </c:pt>
                <c:pt idx="50">
                  <c:v>1119.6422</c:v>
                </c:pt>
                <c:pt idx="51">
                  <c:v>1107.4778</c:v>
                </c:pt>
                <c:pt idx="52">
                  <c:v>1188.9289395476694</c:v>
                </c:pt>
                <c:pt idx="53">
                  <c:v>1176.569337259568</c:v>
                </c:pt>
                <c:pt idx="54">
                  <c:v>1376.5800332494593</c:v>
                </c:pt>
              </c:numCache>
            </c:numRef>
          </c:xVal>
          <c:yVal>
            <c:numRef>
              <c:f>Sheet1!$B$150:$B$204</c:f>
              <c:numCache>
                <c:formatCode>General</c:formatCode>
                <c:ptCount val="55"/>
                <c:pt idx="0">
                  <c:v>0.1526807162846853</c:v>
                </c:pt>
                <c:pt idx="1">
                  <c:v>0.15403918970848923</c:v>
                </c:pt>
                <c:pt idx="2">
                  <c:v>0.15391795983752354</c:v>
                </c:pt>
                <c:pt idx="3">
                  <c:v>0.14883873246521934</c:v>
                </c:pt>
                <c:pt idx="4">
                  <c:v>0.15086784237858036</c:v>
                </c:pt>
                <c:pt idx="5">
                  <c:v>0.15050999820407768</c:v>
                </c:pt>
                <c:pt idx="6">
                  <c:v>0.1528287318274979</c:v>
                </c:pt>
                <c:pt idx="7">
                  <c:v>0.14969202437174267</c:v>
                </c:pt>
                <c:pt idx="8">
                  <c:v>0.1447383221372906</c:v>
                </c:pt>
                <c:pt idx="9">
                  <c:v>0.14831498118508368</c:v>
                </c:pt>
                <c:pt idx="10">
                  <c:v>0.1466487212083863</c:v>
                </c:pt>
                <c:pt idx="11">
                  <c:v>0.15053328953098383</c:v>
                </c:pt>
                <c:pt idx="12">
                  <c:v>0.14782502364382022</c:v>
                </c:pt>
                <c:pt idx="13">
                  <c:v>0.14703727169684133</c:v>
                </c:pt>
                <c:pt idx="14">
                  <c:v>0.14696518872172398</c:v>
                </c:pt>
                <c:pt idx="15">
                  <c:v>0.14675081937932533</c:v>
                </c:pt>
                <c:pt idx="16">
                  <c:v>0.14597439014340202</c:v>
                </c:pt>
                <c:pt idx="17">
                  <c:v>0.14976910664997295</c:v>
                </c:pt>
                <c:pt idx="18">
                  <c:v>0.146150670480042</c:v>
                </c:pt>
                <c:pt idx="19">
                  <c:v>0.14154117736987112</c:v>
                </c:pt>
                <c:pt idx="20">
                  <c:v>0.14260008014977346</c:v>
                </c:pt>
                <c:pt idx="21">
                  <c:v>0.14721775041464852</c:v>
                </c:pt>
                <c:pt idx="22">
                  <c:v>0.14973814197410268</c:v>
                </c:pt>
                <c:pt idx="23">
                  <c:v>0.15234735836095945</c:v>
                </c:pt>
                <c:pt idx="24">
                  <c:v>0.1526489313097254</c:v>
                </c:pt>
                <c:pt idx="25">
                  <c:v>0.15356136225927508</c:v>
                </c:pt>
                <c:pt idx="26">
                  <c:v>0.1515794292321378</c:v>
                </c:pt>
                <c:pt idx="27">
                  <c:v>0.14723805120235406</c:v>
                </c:pt>
                <c:pt idx="28">
                  <c:v>0.1456269773313379</c:v>
                </c:pt>
                <c:pt idx="29">
                  <c:v>0.14525042775397318</c:v>
                </c:pt>
                <c:pt idx="30">
                  <c:v>0.14442686684516182</c:v>
                </c:pt>
                <c:pt idx="31">
                  <c:v>0.15045919779195419</c:v>
                </c:pt>
                <c:pt idx="32">
                  <c:v>0.15072658299992303</c:v>
                </c:pt>
                <c:pt idx="33">
                  <c:v>0.14727995750545092</c:v>
                </c:pt>
                <c:pt idx="34">
                  <c:v>0.14436672019065527</c:v>
                </c:pt>
                <c:pt idx="35">
                  <c:v>0.14690779362164402</c:v>
                </c:pt>
                <c:pt idx="36">
                  <c:v>0.14924627255464612</c:v>
                </c:pt>
                <c:pt idx="37">
                  <c:v>0.1441873136748077</c:v>
                </c:pt>
                <c:pt idx="38">
                  <c:v>0.14236663077973172</c:v>
                </c:pt>
                <c:pt idx="39">
                  <c:v>0.14429007712768555</c:v>
                </c:pt>
                <c:pt idx="40">
                  <c:v>0.14470644673565944</c:v>
                </c:pt>
                <c:pt idx="41">
                  <c:v>0.1424442943722775</c:v>
                </c:pt>
                <c:pt idx="42">
                  <c:v>0.14268478410458427</c:v>
                </c:pt>
                <c:pt idx="43">
                  <c:v>0.14376830231622245</c:v>
                </c:pt>
                <c:pt idx="44">
                  <c:v>0.1473268501935649</c:v>
                </c:pt>
                <c:pt idx="45">
                  <c:v>0.15122177237002565</c:v>
                </c:pt>
                <c:pt idx="46">
                  <c:v>0.15216709925078253</c:v>
                </c:pt>
                <c:pt idx="47">
                  <c:v>0.15345912844832912</c:v>
                </c:pt>
                <c:pt idx="48">
                  <c:v>0.15600053129076324</c:v>
                </c:pt>
                <c:pt idx="49">
                  <c:v>0.155444316835633</c:v>
                </c:pt>
                <c:pt idx="50">
                  <c:v>0.1603880915133865</c:v>
                </c:pt>
                <c:pt idx="51">
                  <c:v>0.1611737959421654</c:v>
                </c:pt>
                <c:pt idx="52">
                  <c:v>0.1559128277833009</c:v>
                </c:pt>
                <c:pt idx="53">
                  <c:v>0.15671114042146694</c:v>
                </c:pt>
                <c:pt idx="54">
                  <c:v>0.1437923536631881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94.0"/>
          <c:min val="82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2621106743271846"/>
          <c:min val="0.0859726901932966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608066978218123</c:v>
                </c:pt>
                <c:pt idx="1">
                  <c:v>3.178028388642232</c:v>
                </c:pt>
                <c:pt idx="2">
                  <c:v>2.554123807517046</c:v>
                </c:pt>
                <c:pt idx="3">
                  <c:v>2.424820667475261</c:v>
                </c:pt>
                <c:pt idx="4">
                  <c:v>3.1955337687572443</c:v>
                </c:pt>
                <c:pt idx="5">
                  <c:v>3.145987439646619</c:v>
                </c:pt>
                <c:pt idx="6">
                  <c:v>2.631058754821324</c:v>
                </c:pt>
                <c:pt idx="7">
                  <c:v>2.58404887996565</c:v>
                </c:pt>
                <c:pt idx="8">
                  <c:v>2.493531089127858</c:v>
                </c:pt>
                <c:pt idx="9">
                  <c:v>2.7679993870450774</c:v>
                </c:pt>
                <c:pt idx="10">
                  <c:v>3.0548763446073712</c:v>
                </c:pt>
                <c:pt idx="11">
                  <c:v>2.7215016894493265</c:v>
                </c:pt>
                <c:pt idx="12">
                  <c:v>2.791713873853116</c:v>
                </c:pt>
                <c:pt idx="13">
                  <c:v>2.7290379505054823</c:v>
                </c:pt>
                <c:pt idx="14">
                  <c:v>3.3931860084280867</c:v>
                </c:pt>
                <c:pt idx="15">
                  <c:v>2.67547469435659</c:v>
                </c:pt>
                <c:pt idx="16">
                  <c:v>3.6891819200857943</c:v>
                </c:pt>
                <c:pt idx="17">
                  <c:v>2.7422372773811956</c:v>
                </c:pt>
                <c:pt idx="18">
                  <c:v>3.7102155941516157</c:v>
                </c:pt>
                <c:pt idx="19">
                  <c:v>3.1732624638049747</c:v>
                </c:pt>
                <c:pt idx="20">
                  <c:v>2.5264206904576123</c:v>
                </c:pt>
                <c:pt idx="21">
                  <c:v>5.237196690715167</c:v>
                </c:pt>
                <c:pt idx="22">
                  <c:v>2.3536440046452562</c:v>
                </c:pt>
                <c:pt idx="23">
                  <c:v>2.9491868319551897</c:v>
                </c:pt>
                <c:pt idx="24">
                  <c:v>2.1008897648539513</c:v>
                </c:pt>
                <c:pt idx="25">
                  <c:v>2.050740283866956</c:v>
                </c:pt>
                <c:pt idx="26">
                  <c:v>2.4225456839382877</c:v>
                </c:pt>
                <c:pt idx="27">
                  <c:v>2.3545054132629204</c:v>
                </c:pt>
                <c:pt idx="28">
                  <c:v>2.4937754348737946</c:v>
                </c:pt>
                <c:pt idx="29">
                  <c:v>2.3017450493360196</c:v>
                </c:pt>
                <c:pt idx="30">
                  <c:v>2.283281602619432</c:v>
                </c:pt>
                <c:pt idx="31">
                  <c:v>2.5333347281076897</c:v>
                </c:pt>
                <c:pt idx="32">
                  <c:v>3.244001033524192</c:v>
                </c:pt>
                <c:pt idx="33">
                  <c:v>2.0207268804184295</c:v>
                </c:pt>
                <c:pt idx="34">
                  <c:v>2.3469601457769342</c:v>
                </c:pt>
                <c:pt idx="35">
                  <c:v>2.2882830509569083</c:v>
                </c:pt>
                <c:pt idx="36">
                  <c:v>2.3096341045921</c:v>
                </c:pt>
                <c:pt idx="37">
                  <c:v>2.447191021873956</c:v>
                </c:pt>
                <c:pt idx="38">
                  <c:v>2.4615765023889624</c:v>
                </c:pt>
                <c:pt idx="39">
                  <c:v>3.0804256224223208</c:v>
                </c:pt>
                <c:pt idx="40">
                  <c:v>3.4012692977404795</c:v>
                </c:pt>
                <c:pt idx="41">
                  <c:v>3.1141525856587413</c:v>
                </c:pt>
                <c:pt idx="42">
                  <c:v>2.70297452584233</c:v>
                </c:pt>
                <c:pt idx="43">
                  <c:v>2.361565600268037</c:v>
                </c:pt>
                <c:pt idx="44">
                  <c:v>2.3862655632937533</c:v>
                </c:pt>
                <c:pt idx="45">
                  <c:v>2.5363214926404765</c:v>
                </c:pt>
                <c:pt idx="46">
                  <c:v>2.47912649767915</c:v>
                </c:pt>
                <c:pt idx="47">
                  <c:v>2.235533579601984</c:v>
                </c:pt>
                <c:pt idx="48">
                  <c:v>3.034963373641794</c:v>
                </c:pt>
                <c:pt idx="49">
                  <c:v>2.4667459000786494</c:v>
                </c:pt>
                <c:pt idx="50">
                  <c:v>2.5233010875404</c:v>
                </c:pt>
                <c:pt idx="51">
                  <c:v>2.230228573731341</c:v>
                </c:pt>
                <c:pt idx="52">
                  <c:v>2.5405345157693615</c:v>
                </c:pt>
                <c:pt idx="53">
                  <c:v>2.4508521277321362</c:v>
                </c:pt>
                <c:pt idx="54">
                  <c:v>2.112906569663107</c:v>
                </c:pt>
                <c:pt idx="55">
                  <c:v>2.292978819380822</c:v>
                </c:pt>
                <c:pt idx="56">
                  <c:v>1.8434563592419404</c:v>
                </c:pt>
                <c:pt idx="57">
                  <c:v>1.9486220576842233</c:v>
                </c:pt>
                <c:pt idx="58">
                  <c:v>1.7635631066005621</c:v>
                </c:pt>
                <c:pt idx="59">
                  <c:v>1.9125009837203069</c:v>
                </c:pt>
                <c:pt idx="60">
                  <c:v>1.825134532141372</c:v>
                </c:pt>
                <c:pt idx="61">
                  <c:v>1.9806649183289955</c:v>
                </c:pt>
                <c:pt idx="62">
                  <c:v>1.8714689503452149</c:v>
                </c:pt>
                <c:pt idx="63">
                  <c:v>2.075235246199613</c:v>
                </c:pt>
                <c:pt idx="64">
                  <c:v>1.8723548001249446</c:v>
                </c:pt>
                <c:pt idx="65">
                  <c:v>1.8804372676745702</c:v>
                </c:pt>
                <c:pt idx="66">
                  <c:v>1.7447027529092831</c:v>
                </c:pt>
                <c:pt idx="67">
                  <c:v>1.9140543191666495</c:v>
                </c:pt>
                <c:pt idx="68">
                  <c:v>1.5716340024715998</c:v>
                </c:pt>
                <c:pt idx="69">
                  <c:v>1.477711643576036</c:v>
                </c:pt>
                <c:pt idx="70">
                  <c:v>1.68839980714768</c:v>
                </c:pt>
                <c:pt idx="71">
                  <c:v>1.265098418033254</c:v>
                </c:pt>
                <c:pt idx="72">
                  <c:v>1.5982947272204306</c:v>
                </c:pt>
                <c:pt idx="73">
                  <c:v>1.1483361756167279</c:v>
                </c:pt>
                <c:pt idx="74">
                  <c:v>1.394808715676987</c:v>
                </c:pt>
                <c:pt idx="75">
                  <c:v>2.103284640865408</c:v>
                </c:pt>
                <c:pt idx="76">
                  <c:v>2.108222100891517</c:v>
                </c:pt>
                <c:pt idx="77">
                  <c:v>2.573587849802377</c:v>
                </c:pt>
                <c:pt idx="78">
                  <c:v>2.1123713024713964</c:v>
                </c:pt>
                <c:pt idx="79">
                  <c:v>2.994609882867494</c:v>
                </c:pt>
                <c:pt idx="80">
                  <c:v>2.6430046756321492</c:v>
                </c:pt>
                <c:pt idx="81">
                  <c:v>2.554150475184794</c:v>
                </c:pt>
                <c:pt idx="82">
                  <c:v>2.508851286794333</c:v>
                </c:pt>
                <c:pt idx="83">
                  <c:v>3.008722558021204</c:v>
                </c:pt>
                <c:pt idx="84">
                  <c:v>2.7211207250444103</c:v>
                </c:pt>
                <c:pt idx="85">
                  <c:v>2.569374191507789</c:v>
                </c:pt>
                <c:pt idx="86">
                  <c:v>3.4708243302583677</c:v>
                </c:pt>
                <c:pt idx="87">
                  <c:v>3.3005715336955217</c:v>
                </c:pt>
                <c:pt idx="88">
                  <c:v>2.8566034387155095</c:v>
                </c:pt>
                <c:pt idx="89">
                  <c:v>2.851574398266204</c:v>
                </c:pt>
                <c:pt idx="90">
                  <c:v>3.2193874483401594</c:v>
                </c:pt>
                <c:pt idx="91">
                  <c:v>2.6633599813226416</c:v>
                </c:pt>
                <c:pt idx="92">
                  <c:v>3.1031036207762153</c:v>
                </c:pt>
                <c:pt idx="93">
                  <c:v>3.2563555368119528</c:v>
                </c:pt>
                <c:pt idx="94">
                  <c:v>3.2570646723790424</c:v>
                </c:pt>
                <c:pt idx="95">
                  <c:v>3.2179528164629585</c:v>
                </c:pt>
                <c:pt idx="96">
                  <c:v>2.749745770235689</c:v>
                </c:pt>
                <c:pt idx="97">
                  <c:v>2.8587993387482706</c:v>
                </c:pt>
                <c:pt idx="98">
                  <c:v>2.7108625385671896</c:v>
                </c:pt>
                <c:pt idx="99">
                  <c:v>2.846723384262404</c:v>
                </c:pt>
                <c:pt idx="100">
                  <c:v>3.0967911508118555</c:v>
                </c:pt>
                <c:pt idx="101">
                  <c:v>2.7871020442229875</c:v>
                </c:pt>
                <c:pt idx="102">
                  <c:v>2.8500100631313505</c:v>
                </c:pt>
                <c:pt idx="103">
                  <c:v>2.9732980998511294</c:v>
                </c:pt>
                <c:pt idx="104">
                  <c:v>3.0892909080502817</c:v>
                </c:pt>
              </c:numCache>
            </c:numRef>
          </c:xVal>
          <c:yVal>
            <c:numRef>
              <c:f>Sheet1!$B$2:$B$106</c:f>
              <c:numCache>
                <c:formatCode>General</c:formatCode>
                <c:ptCount val="105"/>
                <c:pt idx="0">
                  <c:v>0.0010362023185026877</c:v>
                </c:pt>
                <c:pt idx="1">
                  <c:v>0.000357347055460263</c:v>
                </c:pt>
                <c:pt idx="2">
                  <c:v>0.00044375416019525185</c:v>
                </c:pt>
                <c:pt idx="3">
                  <c:v>0.00039295818924866394</c:v>
                </c:pt>
                <c:pt idx="4">
                  <c:v>0.0002694207453973956</c:v>
                </c:pt>
                <c:pt idx="5">
                  <c:v>0.0005267778753292362</c:v>
                </c:pt>
                <c:pt idx="6">
                  <c:v>0.0009097675957323629</c:v>
                </c:pt>
                <c:pt idx="7">
                  <c:v>0.0007708614376565812</c:v>
                </c:pt>
                <c:pt idx="8">
                  <c:v>0.0006978367062107466</c:v>
                </c:pt>
                <c:pt idx="9">
                  <c:v>0.0006936416184971098</c:v>
                </c:pt>
                <c:pt idx="10">
                  <c:v>0.0004585052728106373</c:v>
                </c:pt>
                <c:pt idx="11">
                  <c:v>0.000777302759424796</c:v>
                </c:pt>
                <c:pt idx="12">
                  <c:v>0.0007654303806276529</c:v>
                </c:pt>
                <c:pt idx="13">
                  <c:v>0.0007547739452034116</c:v>
                </c:pt>
                <c:pt idx="14">
                  <c:v>0.00022914757103574703</c:v>
                </c:pt>
                <c:pt idx="15">
                  <c:v>0.0005456033463671911</c:v>
                </c:pt>
                <c:pt idx="16">
                  <c:v>0.0002097095522701059</c:v>
                </c:pt>
                <c:pt idx="17">
                  <c:v>0.0004609356994699239</c:v>
                </c:pt>
                <c:pt idx="18">
                  <c:v>0.00026441036488630354</c:v>
                </c:pt>
                <c:pt idx="19">
                  <c:v>0.00045454545454545455</c:v>
                </c:pt>
                <c:pt idx="20">
                  <c:v>0.0006240639041437844</c:v>
                </c:pt>
                <c:pt idx="21">
                  <c:v>0.00014736221632773356</c:v>
                </c:pt>
                <c:pt idx="22">
                  <c:v>0.0010554885404101327</c:v>
                </c:pt>
                <c:pt idx="23">
                  <c:v>0.0008086689309396733</c:v>
                </c:pt>
                <c:pt idx="24">
                  <c:v>0.0013370970138166691</c:v>
                </c:pt>
                <c:pt idx="25">
                  <c:v>0.0016837851490149856</c:v>
                </c:pt>
                <c:pt idx="26">
                  <c:v>0.001392369813422445</c:v>
                </c:pt>
                <c:pt idx="27">
                  <c:v>0.0006650704974727321</c:v>
                </c:pt>
                <c:pt idx="28">
                  <c:v>0.0006960879855213699</c:v>
                </c:pt>
                <c:pt idx="29">
                  <c:v>0.0011367942402425162</c:v>
                </c:pt>
                <c:pt idx="30">
                  <c:v>0.0007944073721004131</c:v>
                </c:pt>
                <c:pt idx="31">
                  <c:v>0.0009315323707498836</c:v>
                </c:pt>
                <c:pt idx="32">
                  <c:v>0.0006216006216006216</c:v>
                </c:pt>
                <c:pt idx="33">
                  <c:v>0.0016091100383710856</c:v>
                </c:pt>
                <c:pt idx="34">
                  <c:v>0.0015503875968992248</c:v>
                </c:pt>
                <c:pt idx="35">
                  <c:v>0.0015457277801631602</c:v>
                </c:pt>
                <c:pt idx="36">
                  <c:v>0.0009611277231952157</c:v>
                </c:pt>
                <c:pt idx="37">
                  <c:v>0.0007739938080495357</c:v>
                </c:pt>
                <c:pt idx="38">
                  <c:v>0.0006829668078131403</c:v>
                </c:pt>
                <c:pt idx="39">
                  <c:v>0.0008798944126704796</c:v>
                </c:pt>
                <c:pt idx="40">
                  <c:v>0.0004822182037371911</c:v>
                </c:pt>
                <c:pt idx="41">
                  <c:v>0.0005220569042025581</c:v>
                </c:pt>
                <c:pt idx="42">
                  <c:v>0.0003325942350332594</c:v>
                </c:pt>
                <c:pt idx="43">
                  <c:v>0.0006925892945483328</c:v>
                </c:pt>
                <c:pt idx="44">
                  <c:v>0.0005979669124975084</c:v>
                </c:pt>
                <c:pt idx="45">
                  <c:v>0.0004204456724127575</c:v>
                </c:pt>
                <c:pt idx="46">
                  <c:v>0.0008858442095316837</c:v>
                </c:pt>
                <c:pt idx="47">
                  <c:v>0.0010699001426533524</c:v>
                </c:pt>
                <c:pt idx="48">
                  <c:v>0.000531632110579479</c:v>
                </c:pt>
                <c:pt idx="49">
                  <c:v>0.0005390028447372361</c:v>
                </c:pt>
                <c:pt idx="50">
                  <c:v>0.0008016491067338525</c:v>
                </c:pt>
                <c:pt idx="51">
                  <c:v>0.0010760401721664275</c:v>
                </c:pt>
                <c:pt idx="52">
                  <c:v>0.00036480817170304614</c:v>
                </c:pt>
                <c:pt idx="53">
                  <c:v>0.0004734848484848485</c:v>
                </c:pt>
                <c:pt idx="54">
                  <c:v>0.0011134903640256958</c:v>
                </c:pt>
                <c:pt idx="55">
                  <c:v>0.000715307582260372</c:v>
                </c:pt>
                <c:pt idx="56">
                  <c:v>0.0007297938332421091</c:v>
                </c:pt>
                <c:pt idx="57">
                  <c:v>0.00048088482808367395</c:v>
                </c:pt>
                <c:pt idx="58">
                  <c:v>0.0004991799187049847</c:v>
                </c:pt>
                <c:pt idx="59">
                  <c:v>0.0005967408767500573</c:v>
                </c:pt>
                <c:pt idx="60">
                  <c:v>0.0010290082320658564</c:v>
                </c:pt>
                <c:pt idx="61">
                  <c:v>0.0011176306230790724</c:v>
                </c:pt>
                <c:pt idx="62">
                  <c:v>0.0012251565477811054</c:v>
                </c:pt>
                <c:pt idx="63">
                  <c:v>0.0010281221651043241</c:v>
                </c:pt>
                <c:pt idx="64">
                  <c:v>0.0013947811937002382</c:v>
                </c:pt>
                <c:pt idx="65">
                  <c:v>0.0010165830103564394</c:v>
                </c:pt>
                <c:pt idx="66">
                  <c:v>0.0011519956630751508</c:v>
                </c:pt>
                <c:pt idx="67">
                  <c:v>0.0008489564909798373</c:v>
                </c:pt>
                <c:pt idx="68">
                  <c:v>0.0014316392269148174</c:v>
                </c:pt>
                <c:pt idx="69">
                  <c:v>0.0014657796820385612</c:v>
                </c:pt>
                <c:pt idx="70">
                  <c:v>0.0012130569033965593</c:v>
                </c:pt>
                <c:pt idx="71">
                  <c:v>0.0013112409107164144</c:v>
                </c:pt>
                <c:pt idx="72">
                  <c:v>0.001763279700242451</c:v>
                </c:pt>
                <c:pt idx="73">
                  <c:v>0.002972651605231867</c:v>
                </c:pt>
                <c:pt idx="74">
                  <c:v>0.0032265498962894676</c:v>
                </c:pt>
                <c:pt idx="75">
                  <c:v>0.003306003702724147</c:v>
                </c:pt>
                <c:pt idx="76">
                  <c:v>0.004521167283189478</c:v>
                </c:pt>
                <c:pt idx="77">
                  <c:v>0.0043846828412744815</c:v>
                </c:pt>
                <c:pt idx="78">
                  <c:v>0.006234203875315923</c:v>
                </c:pt>
                <c:pt idx="79">
                  <c:v>0.004583651642475172</c:v>
                </c:pt>
                <c:pt idx="80">
                  <c:v>0.004645401052957572</c:v>
                </c:pt>
                <c:pt idx="81">
                  <c:v>0.005054240631163708</c:v>
                </c:pt>
                <c:pt idx="82">
                  <c:v>0.005147402901263453</c:v>
                </c:pt>
                <c:pt idx="83">
                  <c:v>0.00407873736478099</c:v>
                </c:pt>
                <c:pt idx="84">
                  <c:v>0.00448011946985253</c:v>
                </c:pt>
                <c:pt idx="85">
                  <c:v>0.0039049235993208827</c:v>
                </c:pt>
                <c:pt idx="86">
                  <c:v>0.003433897473632573</c:v>
                </c:pt>
                <c:pt idx="87">
                  <c:v>0.0030375352571056628</c:v>
                </c:pt>
                <c:pt idx="88">
                  <c:v>0.004483048472961614</c:v>
                </c:pt>
                <c:pt idx="89">
                  <c:v>0.005447844896651178</c:v>
                </c:pt>
                <c:pt idx="90">
                  <c:v>0.004794973544973545</c:v>
                </c:pt>
                <c:pt idx="91">
                  <c:v>0.005311883442100471</c:v>
                </c:pt>
                <c:pt idx="92">
                  <c:v>0.00437172120909318</c:v>
                </c:pt>
                <c:pt idx="93">
                  <c:v>0.004066985645933014</c:v>
                </c:pt>
                <c:pt idx="94">
                  <c:v>0.0045045045045045045</c:v>
                </c:pt>
                <c:pt idx="95">
                  <c:v>0.0045207122428268295</c:v>
                </c:pt>
                <c:pt idx="96">
                  <c:v>0.005967180507210343</c:v>
                </c:pt>
                <c:pt idx="97">
                  <c:v>0.006957356204642236</c:v>
                </c:pt>
                <c:pt idx="98">
                  <c:v>0.006597059892992572</c:v>
                </c:pt>
                <c:pt idx="99">
                  <c:v>0.00621486999040351</c:v>
                </c:pt>
                <c:pt idx="100">
                  <c:v>0.004655941945220435</c:v>
                </c:pt>
                <c:pt idx="101">
                  <c:v>0.00659063556650811</c:v>
                </c:pt>
                <c:pt idx="102">
                  <c:v>0.005459377918252999</c:v>
                </c:pt>
                <c:pt idx="103">
                  <c:v>0.005118901056178319</c:v>
                </c:pt>
                <c:pt idx="104">
                  <c:v>0.00404982043249025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3.0983463094535684</c:v>
                </c:pt>
                <c:pt idx="1">
                  <c:v>2.6559403117910523</c:v>
                </c:pt>
                <c:pt idx="2">
                  <c:v>2.9393658346935254</c:v>
                </c:pt>
                <c:pt idx="3">
                  <c:v>2.457957631223066</c:v>
                </c:pt>
                <c:pt idx="4">
                  <c:v>3.026602116878263</c:v>
                </c:pt>
                <c:pt idx="5">
                  <c:v>3.3311524540897075</c:v>
                </c:pt>
                <c:pt idx="6">
                  <c:v>3.2128431529075314</c:v>
                </c:pt>
                <c:pt idx="7">
                  <c:v>3.0999653546538726</c:v>
                </c:pt>
                <c:pt idx="8">
                  <c:v>3.0107468488440112</c:v>
                </c:pt>
                <c:pt idx="9">
                  <c:v>2.9977752173669105</c:v>
                </c:pt>
                <c:pt idx="10">
                  <c:v>3.076638767750421</c:v>
                </c:pt>
                <c:pt idx="11">
                  <c:v>3.1308329425083934</c:v>
                </c:pt>
                <c:pt idx="12">
                  <c:v>2.871122903924145</c:v>
                </c:pt>
                <c:pt idx="13">
                  <c:v>2.401571229733246</c:v>
                </c:pt>
                <c:pt idx="14">
                  <c:v>2.4471046359323085</c:v>
                </c:pt>
                <c:pt idx="15">
                  <c:v>2.564750248833992</c:v>
                </c:pt>
                <c:pt idx="16">
                  <c:v>2.755831641577474</c:v>
                </c:pt>
                <c:pt idx="17">
                  <c:v>2.0934840490697333</c:v>
                </c:pt>
                <c:pt idx="18">
                  <c:v>3.051934075725426</c:v>
                </c:pt>
                <c:pt idx="19">
                  <c:v>3.0297769833769705</c:v>
                </c:pt>
                <c:pt idx="20">
                  <c:v>2.8926868683464533</c:v>
                </c:pt>
                <c:pt idx="21">
                  <c:v>2.5324253775913625</c:v>
                </c:pt>
                <c:pt idx="22">
                  <c:v>2.6869379939565086</c:v>
                </c:pt>
                <c:pt idx="23">
                  <c:v>2.117638003449202</c:v>
                </c:pt>
                <c:pt idx="24">
                  <c:v>2.7411239734212907</c:v>
                </c:pt>
                <c:pt idx="25">
                  <c:v>2.5806202310900392</c:v>
                </c:pt>
                <c:pt idx="26">
                  <c:v>2.7718727980754774</c:v>
                </c:pt>
                <c:pt idx="27">
                  <c:v>2.717846066058396</c:v>
                </c:pt>
                <c:pt idx="28">
                  <c:v>2.7256446925358704</c:v>
                </c:pt>
                <c:pt idx="29">
                  <c:v>2.4734731121020443</c:v>
                </c:pt>
                <c:pt idx="30">
                  <c:v>2.480201232034567</c:v>
                </c:pt>
                <c:pt idx="31">
                  <c:v>2.754717894331657</c:v>
                </c:pt>
                <c:pt idx="32">
                  <c:v>3.1445257554257213</c:v>
                </c:pt>
                <c:pt idx="33">
                  <c:v>2.9443501923030535</c:v>
                </c:pt>
                <c:pt idx="34">
                  <c:v>3.01688921845861</c:v>
                </c:pt>
                <c:pt idx="35">
                  <c:v>2.7572399422387965</c:v>
                </c:pt>
                <c:pt idx="36">
                  <c:v>2.824191338597433</c:v>
                </c:pt>
                <c:pt idx="37">
                  <c:v>2.7572309839843263</c:v>
                </c:pt>
                <c:pt idx="38">
                  <c:v>2.4546359021227553</c:v>
                </c:pt>
                <c:pt idx="39">
                  <c:v>2.30295918180659</c:v>
                </c:pt>
                <c:pt idx="40">
                  <c:v>2.268958402911603</c:v>
                </c:pt>
                <c:pt idx="41">
                  <c:v>2.4810084984275496</c:v>
                </c:pt>
                <c:pt idx="42">
                  <c:v>2.247213001257648</c:v>
                </c:pt>
                <c:pt idx="43">
                  <c:v>2.550825238019473</c:v>
                </c:pt>
                <c:pt idx="44">
                  <c:v>3.0409401903563134</c:v>
                </c:pt>
                <c:pt idx="45">
                  <c:v>3.1381574224808455</c:v>
                </c:pt>
                <c:pt idx="46">
                  <c:v>3.225440247239982</c:v>
                </c:pt>
                <c:pt idx="47">
                  <c:v>3.231027664353473</c:v>
                </c:pt>
                <c:pt idx="48">
                  <c:v>3.145073108062799</c:v>
                </c:pt>
                <c:pt idx="49">
                  <c:v>3.0993891228173824</c:v>
                </c:pt>
                <c:pt idx="50">
                  <c:v>3.139451102749791</c:v>
                </c:pt>
                <c:pt idx="51">
                  <c:v>3.377227732956466</c:v>
                </c:pt>
              </c:numCache>
            </c:numRef>
          </c:xVal>
          <c:yVal>
            <c:numRef>
              <c:f>Sheet1!$B$109:$B$160</c:f>
              <c:numCache>
                <c:formatCode>General</c:formatCode>
                <c:ptCount val="52"/>
                <c:pt idx="0">
                  <c:v>0.003990368077055384</c:v>
                </c:pt>
                <c:pt idx="1">
                  <c:v>0.00472115668338743</c:v>
                </c:pt>
                <c:pt idx="2">
                  <c:v>0.0045263710312254</c:v>
                </c:pt>
                <c:pt idx="3">
                  <c:v>0.004841347726529277</c:v>
                </c:pt>
                <c:pt idx="4">
                  <c:v>0.004864091559370529</c:v>
                </c:pt>
                <c:pt idx="5">
                  <c:v>0.00402757867431224</c:v>
                </c:pt>
                <c:pt idx="6">
                  <c:v>0.004804764160519726</c:v>
                </c:pt>
                <c:pt idx="7">
                  <c:v>0.005543942561119695</c:v>
                </c:pt>
                <c:pt idx="8">
                  <c:v>0.006833473507148864</c:v>
                </c:pt>
                <c:pt idx="9">
                  <c:v>0.006844819503047351</c:v>
                </c:pt>
                <c:pt idx="10">
                  <c:v>0.0064940921800306665</c:v>
                </c:pt>
                <c:pt idx="11">
                  <c:v>0.006501608984041505</c:v>
                </c:pt>
                <c:pt idx="12">
                  <c:v>0.006690488861856611</c:v>
                </c:pt>
                <c:pt idx="13">
                  <c:v>0.009964923469387755</c:v>
                </c:pt>
                <c:pt idx="14">
                  <c:v>0.009934065934065935</c:v>
                </c:pt>
                <c:pt idx="15">
                  <c:v>0.009705993215228043</c:v>
                </c:pt>
                <c:pt idx="16">
                  <c:v>0.009223090277777778</c:v>
                </c:pt>
                <c:pt idx="17">
                  <c:v>0.012101838109373216</c:v>
                </c:pt>
                <c:pt idx="18">
                  <c:v>0.0064856100526955816</c:v>
                </c:pt>
                <c:pt idx="19">
                  <c:v>0.005777442853554383</c:v>
                </c:pt>
                <c:pt idx="20">
                  <c:v>0.006987024098103522</c:v>
                </c:pt>
                <c:pt idx="21">
                  <c:v>0.009249743062692703</c:v>
                </c:pt>
                <c:pt idx="22">
                  <c:v>0.008047945205479452</c:v>
                </c:pt>
                <c:pt idx="23">
                  <c:v>0.007758475290942824</c:v>
                </c:pt>
                <c:pt idx="24">
                  <c:v>0.007328990228013029</c:v>
                </c:pt>
                <c:pt idx="25">
                  <c:v>0.008060536272413226</c:v>
                </c:pt>
                <c:pt idx="26">
                  <c:v>0.008222643896268185</c:v>
                </c:pt>
                <c:pt idx="27">
                  <c:v>0.007835455435847209</c:v>
                </c:pt>
                <c:pt idx="28">
                  <c:v>0.006755861703536892</c:v>
                </c:pt>
                <c:pt idx="29">
                  <c:v>0.008077288565093443</c:v>
                </c:pt>
                <c:pt idx="30">
                  <c:v>0.00747574359790043</c:v>
                </c:pt>
                <c:pt idx="31">
                  <c:v>0.00815418828762046</c:v>
                </c:pt>
                <c:pt idx="32">
                  <c:v>0.006991842850008324</c:v>
                </c:pt>
                <c:pt idx="33">
                  <c:v>0.0066518847006651885</c:v>
                </c:pt>
                <c:pt idx="34">
                  <c:v>0.005906093119401516</c:v>
                </c:pt>
                <c:pt idx="35">
                  <c:v>0.007034944066428324</c:v>
                </c:pt>
                <c:pt idx="36">
                  <c:v>0.008754331570308225</c:v>
                </c:pt>
                <c:pt idx="37">
                  <c:v>0.009024064171122994</c:v>
                </c:pt>
                <c:pt idx="38">
                  <c:v>0.010476190476190476</c:v>
                </c:pt>
                <c:pt idx="39">
                  <c:v>0.009722222222222222</c:v>
                </c:pt>
                <c:pt idx="40">
                  <c:v>0.009455263900649167</c:v>
                </c:pt>
                <c:pt idx="41">
                  <c:v>0.007480975106410422</c:v>
                </c:pt>
                <c:pt idx="42">
                  <c:v>0.008769365682548963</c:v>
                </c:pt>
                <c:pt idx="43">
                  <c:v>0.0063687273525859225</c:v>
                </c:pt>
                <c:pt idx="44">
                  <c:v>0.004836649023544443</c:v>
                </c:pt>
                <c:pt idx="45">
                  <c:v>0.003727266885161622</c:v>
                </c:pt>
                <c:pt idx="46">
                  <c:v>0.004059328649492584</c:v>
                </c:pt>
                <c:pt idx="47">
                  <c:v>0.004209474885844749</c:v>
                </c:pt>
                <c:pt idx="48">
                  <c:v>0.004558910597986974</c:v>
                </c:pt>
                <c:pt idx="49">
                  <c:v>0.004214621494569622</c:v>
                </c:pt>
                <c:pt idx="50">
                  <c:v>0.0034938857000249564</c:v>
                </c:pt>
                <c:pt idx="51">
                  <c:v>0.00401427297056199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548906075190892</c:v>
                </c:pt>
              </c:numCache>
            </c:numRef>
          </c:xVal>
          <c:yVal>
            <c:numRef>
              <c:f>Sheet1!$B$163:$B$164</c:f>
              <c:numCache>
                <c:formatCode>General</c:formatCode>
                <c:ptCount val="2"/>
                <c:pt idx="0">
                  <c:v>0.008150826200142696</c:v>
                </c:pt>
                <c:pt idx="1">
                  <c:v>0.00815082620014269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548906075190892</c:v>
                </c:pt>
                <c:pt idx="1">
                  <c:v>2.548906075190892</c:v>
                </c:pt>
              </c:numCache>
            </c:numRef>
          </c:xVal>
          <c:yVal>
            <c:numRef>
              <c:f>Sheet1!$B$167:$B$168</c:f>
              <c:numCache>
                <c:formatCode>General</c:formatCode>
                <c:ptCount val="2"/>
                <c:pt idx="0">
                  <c:v>0.00815082620014269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548906075190892</c:v>
                </c:pt>
              </c:numCache>
            </c:numRef>
          </c:xVal>
          <c:yVal>
            <c:numRef>
              <c:f>Sheet1!$B$171:$B$172</c:f>
              <c:numCache>
                <c:formatCode>General</c:formatCode>
                <c:ptCount val="2"/>
                <c:pt idx="0">
                  <c:v>0.008150826200142696</c:v>
                </c:pt>
                <c:pt idx="1">
                  <c:v>0.00815082620014269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548906075190892</c:v>
                </c:pt>
                <c:pt idx="1">
                  <c:v>2.548906075190892</c:v>
                </c:pt>
              </c:numCache>
            </c:numRef>
          </c:xVal>
          <c:yVal>
            <c:numRef>
              <c:f>Sheet1!$B$175:$B$176</c:f>
              <c:numCache>
                <c:formatCode>General</c:formatCode>
                <c:ptCount val="2"/>
                <c:pt idx="0">
                  <c:v>0.00815082620014269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3.029486249286448</c:v>
                </c:pt>
              </c:numCache>
            </c:numRef>
          </c:xVal>
          <c:yVal>
            <c:numRef>
              <c:f>Sheet1!$B$179:$B$180</c:f>
              <c:numCache>
                <c:formatCode>General</c:formatCode>
                <c:ptCount val="2"/>
                <c:pt idx="0">
                  <c:v>0.00576238188243105</c:v>
                </c:pt>
                <c:pt idx="1">
                  <c:v>0.005762381882431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3.029486249286448</c:v>
                </c:pt>
                <c:pt idx="1">
                  <c:v>3.029486249286448</c:v>
                </c:pt>
              </c:numCache>
            </c:numRef>
          </c:xVal>
          <c:yVal>
            <c:numRef>
              <c:f>Sheet1!$B$183:$B$184</c:f>
              <c:numCache>
                <c:formatCode>General</c:formatCode>
                <c:ptCount val="2"/>
                <c:pt idx="0">
                  <c:v>0.005762381882431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3.0983463094535684</c:v>
                </c:pt>
                <c:pt idx="1">
                  <c:v>2.6559403117910523</c:v>
                </c:pt>
                <c:pt idx="2">
                  <c:v>2.9393658346935254</c:v>
                </c:pt>
                <c:pt idx="3">
                  <c:v>2.457957631223066</c:v>
                </c:pt>
                <c:pt idx="4">
                  <c:v>3.026602116878263</c:v>
                </c:pt>
                <c:pt idx="5">
                  <c:v>3.3311524540897075</c:v>
                </c:pt>
                <c:pt idx="6">
                  <c:v>3.2128431529075314</c:v>
                </c:pt>
                <c:pt idx="7">
                  <c:v>3.0999653546538726</c:v>
                </c:pt>
                <c:pt idx="8">
                  <c:v>3.0107468488440112</c:v>
                </c:pt>
                <c:pt idx="9">
                  <c:v>2.9977752173669105</c:v>
                </c:pt>
                <c:pt idx="10">
                  <c:v>3.076638767750421</c:v>
                </c:pt>
                <c:pt idx="11">
                  <c:v>3.1308329425083934</c:v>
                </c:pt>
                <c:pt idx="12">
                  <c:v>2.871122903924145</c:v>
                </c:pt>
                <c:pt idx="13">
                  <c:v>2.401571229733246</c:v>
                </c:pt>
                <c:pt idx="14">
                  <c:v>2.4471046359323085</c:v>
                </c:pt>
                <c:pt idx="15">
                  <c:v>2.564750248833992</c:v>
                </c:pt>
                <c:pt idx="16">
                  <c:v>2.755831641577474</c:v>
                </c:pt>
                <c:pt idx="17">
                  <c:v>2.0934840490697333</c:v>
                </c:pt>
                <c:pt idx="18">
                  <c:v>3.051934075725426</c:v>
                </c:pt>
                <c:pt idx="19">
                  <c:v>3.0297769833769705</c:v>
                </c:pt>
                <c:pt idx="20">
                  <c:v>2.8926868683464533</c:v>
                </c:pt>
                <c:pt idx="21">
                  <c:v>2.5324253775913625</c:v>
                </c:pt>
                <c:pt idx="22">
                  <c:v>2.6869379939565086</c:v>
                </c:pt>
                <c:pt idx="23">
                  <c:v>2.117638003449202</c:v>
                </c:pt>
                <c:pt idx="24">
                  <c:v>2.7411239734212907</c:v>
                </c:pt>
                <c:pt idx="25">
                  <c:v>2.5806202310900392</c:v>
                </c:pt>
                <c:pt idx="26">
                  <c:v>2.7718727980754774</c:v>
                </c:pt>
                <c:pt idx="27">
                  <c:v>2.717846066058396</c:v>
                </c:pt>
                <c:pt idx="28">
                  <c:v>2.7256446925358704</c:v>
                </c:pt>
                <c:pt idx="29">
                  <c:v>2.4734731121020443</c:v>
                </c:pt>
                <c:pt idx="30">
                  <c:v>2.480201232034567</c:v>
                </c:pt>
                <c:pt idx="31">
                  <c:v>2.754717894331657</c:v>
                </c:pt>
                <c:pt idx="32">
                  <c:v>3.1445257554257213</c:v>
                </c:pt>
                <c:pt idx="33">
                  <c:v>2.9443501923030535</c:v>
                </c:pt>
                <c:pt idx="34">
                  <c:v>3.01688921845861</c:v>
                </c:pt>
                <c:pt idx="35">
                  <c:v>2.7572399422387965</c:v>
                </c:pt>
                <c:pt idx="36">
                  <c:v>2.824191338597433</c:v>
                </c:pt>
                <c:pt idx="37">
                  <c:v>2.7572309839843263</c:v>
                </c:pt>
                <c:pt idx="38">
                  <c:v>2.4546359021227553</c:v>
                </c:pt>
                <c:pt idx="39">
                  <c:v>2.30295918180659</c:v>
                </c:pt>
                <c:pt idx="40">
                  <c:v>2.268958402911603</c:v>
                </c:pt>
                <c:pt idx="41">
                  <c:v>2.4810084984275496</c:v>
                </c:pt>
                <c:pt idx="42">
                  <c:v>2.247213001257648</c:v>
                </c:pt>
                <c:pt idx="43">
                  <c:v>2.550825238019473</c:v>
                </c:pt>
                <c:pt idx="44">
                  <c:v>3.0409401903563134</c:v>
                </c:pt>
                <c:pt idx="45">
                  <c:v>3.1381574224808455</c:v>
                </c:pt>
                <c:pt idx="46">
                  <c:v>3.225440247239982</c:v>
                </c:pt>
                <c:pt idx="47">
                  <c:v>3.231027664353473</c:v>
                </c:pt>
                <c:pt idx="48">
                  <c:v>3.145073108062799</c:v>
                </c:pt>
                <c:pt idx="49">
                  <c:v>3.0993891228173824</c:v>
                </c:pt>
                <c:pt idx="50">
                  <c:v>3.139451102749791</c:v>
                </c:pt>
                <c:pt idx="51">
                  <c:v>3.377227732956466</c:v>
                </c:pt>
                <c:pt idx="52">
                  <c:v>2.548906075190892</c:v>
                </c:pt>
                <c:pt idx="53">
                  <c:v>2.548906075190892</c:v>
                </c:pt>
                <c:pt idx="54">
                  <c:v>3.029486249286448</c:v>
                </c:pt>
              </c:numCache>
            </c:numRef>
          </c:xVal>
          <c:yVal>
            <c:numRef>
              <c:f>Sheet1!$B$187:$B$241</c:f>
              <c:numCache>
                <c:formatCode>General</c:formatCode>
                <c:ptCount val="55"/>
                <c:pt idx="0">
                  <c:v>0.005420152992666781</c:v>
                </c:pt>
                <c:pt idx="1">
                  <c:v>0.007618874763133507</c:v>
                </c:pt>
                <c:pt idx="2">
                  <c:v>0.006210273001845986</c:v>
                </c:pt>
                <c:pt idx="3">
                  <c:v>0.008602832558100518</c:v>
                </c:pt>
                <c:pt idx="4">
                  <c:v>0.005776715785561409</c:v>
                </c:pt>
                <c:pt idx="5">
                  <c:v>0.004263125417962917</c:v>
                </c:pt>
                <c:pt idx="6">
                  <c:v>0.004851113007490106</c:v>
                </c:pt>
                <c:pt idx="7">
                  <c:v>0.0054121064699069465</c:v>
                </c:pt>
                <c:pt idx="8">
                  <c:v>0.005855515176138587</c:v>
                </c:pt>
                <c:pt idx="9">
                  <c:v>0.00591998312792465</c:v>
                </c:pt>
                <c:pt idx="10">
                  <c:v>0.0055280377066584604</c:v>
                </c:pt>
                <c:pt idx="11">
                  <c:v>0.005258697072710433</c:v>
                </c:pt>
                <c:pt idx="12">
                  <c:v>0.006549434808774181</c:v>
                </c:pt>
                <c:pt idx="13">
                  <c:v>0.008883068380329404</c:v>
                </c:pt>
                <c:pt idx="14">
                  <c:v>0.00865677106062228</c:v>
                </c:pt>
                <c:pt idx="15">
                  <c:v>0.008072081947785803</c:v>
                </c:pt>
                <c:pt idx="16">
                  <c:v>0.007122422991135106</c:v>
                </c:pt>
                <c:pt idx="17">
                  <c:v>0.010414236571777218</c:v>
                </c:pt>
                <c:pt idx="18">
                  <c:v>0.005650818013605088</c:v>
                </c:pt>
                <c:pt idx="19">
                  <c:v>0.0057609369576840375</c:v>
                </c:pt>
                <c:pt idx="20">
                  <c:v>0.006442263662172621</c:v>
                </c:pt>
                <c:pt idx="21">
                  <c:v>0.008232733924712484</c:v>
                </c:pt>
                <c:pt idx="22">
                  <c:v>0.007464818807808986</c:v>
                </c:pt>
                <c:pt idx="23">
                  <c:v>0.010294193386066361</c:v>
                </c:pt>
                <c:pt idx="24">
                  <c:v>0.007195518903800532</c:v>
                </c:pt>
                <c:pt idx="25">
                  <c:v>0.007993209428724907</c:v>
                </c:pt>
                <c:pt idx="26">
                  <c:v>0.007042699750035356</c:v>
                </c:pt>
                <c:pt idx="27">
                  <c:v>0.007311208207200862</c:v>
                </c:pt>
                <c:pt idx="28">
                  <c:v>0.007272449668875526</c:v>
                </c:pt>
                <c:pt idx="29">
                  <c:v>0.008525721882006357</c:v>
                </c:pt>
                <c:pt idx="30">
                  <c:v>0.008492283674007119</c:v>
                </c:pt>
                <c:pt idx="31">
                  <c:v>0.007127958224222165</c:v>
                </c:pt>
                <c:pt idx="32">
                  <c:v>0.0051906449079131</c:v>
                </c:pt>
                <c:pt idx="33">
                  <c:v>0.006185501150547033</c:v>
                </c:pt>
                <c:pt idx="34">
                  <c:v>0.005824988099504843</c:v>
                </c:pt>
                <c:pt idx="35">
                  <c:v>0.007115423851566986</c:v>
                </c:pt>
                <c:pt idx="36">
                  <c:v>0.006782680865453186</c:v>
                </c:pt>
                <c:pt idx="37">
                  <c:v>0.007115468373361975</c:v>
                </c:pt>
                <c:pt idx="38">
                  <c:v>0.008619341281144591</c:v>
                </c:pt>
                <c:pt idx="39">
                  <c:v>0.00937316222569369</c:v>
                </c:pt>
                <c:pt idx="40">
                  <c:v>0.009542143327134957</c:v>
                </c:pt>
                <c:pt idx="41">
                  <c:v>0.008488271625793048</c:v>
                </c:pt>
                <c:pt idx="42">
                  <c:v>0.00965021620199812</c:v>
                </c:pt>
                <c:pt idx="43">
                  <c:v>0.008141288117217583</c:v>
                </c:pt>
                <c:pt idx="44">
                  <c:v>0.005705456728339518</c:v>
                </c:pt>
                <c:pt idx="45">
                  <c:v>0.005222295003891594</c:v>
                </c:pt>
                <c:pt idx="46">
                  <c:v>0.0047885064748035625</c:v>
                </c:pt>
                <c:pt idx="47">
                  <c:v>0.004760737466894489</c:v>
                </c:pt>
                <c:pt idx="48">
                  <c:v>0.00518792460989358</c:v>
                </c:pt>
                <c:pt idx="49">
                  <c:v>0.005414970295195078</c:v>
                </c:pt>
                <c:pt idx="50">
                  <c:v>0.005215865518336735</c:v>
                </c:pt>
                <c:pt idx="51">
                  <c:v>0.004034135035237706</c:v>
                </c:pt>
                <c:pt idx="52">
                  <c:v>0.008150826200142696</c:v>
                </c:pt>
                <c:pt idx="53">
                  <c:v>0.008150826200142696</c:v>
                </c:pt>
                <c:pt idx="54">
                  <c:v>0.00576238188243104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4522205731247857"/>
          <c:min val="0.0001178897730621868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34.3125</c:v>
                </c:pt>
                <c:pt idx="1">
                  <c:v>3740.2</c:v>
                </c:pt>
                <c:pt idx="2">
                  <c:v>3175.8333</c:v>
                </c:pt>
                <c:pt idx="3">
                  <c:v>3027.4</c:v>
                </c:pt>
                <c:pt idx="4">
                  <c:v>3982.3333</c:v>
                </c:pt>
                <c:pt idx="5">
                  <c:v>3848.6667</c:v>
                </c:pt>
                <c:pt idx="6">
                  <c:v>3216.6364</c:v>
                </c:pt>
                <c:pt idx="7">
                  <c:v>3208.875</c:v>
                </c:pt>
                <c:pt idx="8">
                  <c:v>3023.0</c:v>
                </c:pt>
                <c:pt idx="9">
                  <c:v>3233.3333</c:v>
                </c:pt>
                <c:pt idx="10">
                  <c:v>3528.3333</c:v>
                </c:pt>
                <c:pt idx="11">
                  <c:v>3129.7</c:v>
                </c:pt>
                <c:pt idx="12">
                  <c:v>3208.4545</c:v>
                </c:pt>
                <c:pt idx="13">
                  <c:v>3153.0</c:v>
                </c:pt>
                <c:pt idx="14">
                  <c:v>3951.0</c:v>
                </c:pt>
                <c:pt idx="15">
                  <c:v>3128.3333</c:v>
                </c:pt>
                <c:pt idx="16">
                  <c:v>4342.0</c:v>
                </c:pt>
                <c:pt idx="17">
                  <c:v>3291.5</c:v>
                </c:pt>
                <c:pt idx="18">
                  <c:v>4434.0</c:v>
                </c:pt>
                <c:pt idx="19">
                  <c:v>3808.0</c:v>
                </c:pt>
                <c:pt idx="20">
                  <c:v>3044.2</c:v>
                </c:pt>
                <c:pt idx="21">
                  <c:v>6720.0</c:v>
                </c:pt>
                <c:pt idx="22">
                  <c:v>3122.1429</c:v>
                </c:pt>
                <c:pt idx="23">
                  <c:v>3924.6</c:v>
                </c:pt>
                <c:pt idx="24">
                  <c:v>2808.3333</c:v>
                </c:pt>
                <c:pt idx="25">
                  <c:v>2765.0</c:v>
                </c:pt>
                <c:pt idx="26">
                  <c:v>3202.0</c:v>
                </c:pt>
                <c:pt idx="27">
                  <c:v>3106.4</c:v>
                </c:pt>
                <c:pt idx="28">
                  <c:v>3346.6</c:v>
                </c:pt>
                <c:pt idx="29">
                  <c:v>3119.6667</c:v>
                </c:pt>
                <c:pt idx="30">
                  <c:v>3099.8</c:v>
                </c:pt>
                <c:pt idx="31">
                  <c:v>3342.0</c:v>
                </c:pt>
                <c:pt idx="32">
                  <c:v>4329.0</c:v>
                </c:pt>
                <c:pt idx="33">
                  <c:v>2663.4615</c:v>
                </c:pt>
                <c:pt idx="34">
                  <c:v>3005.3571</c:v>
                </c:pt>
                <c:pt idx="35">
                  <c:v>2884.4444</c:v>
                </c:pt>
                <c:pt idx="36">
                  <c:v>2882.1111</c:v>
                </c:pt>
                <c:pt idx="37">
                  <c:v>3050.0</c:v>
                </c:pt>
                <c:pt idx="38">
                  <c:v>3066.2</c:v>
                </c:pt>
                <c:pt idx="39">
                  <c:v>3735.1667</c:v>
                </c:pt>
                <c:pt idx="40">
                  <c:v>4272.75</c:v>
                </c:pt>
                <c:pt idx="41">
                  <c:v>4003.25</c:v>
                </c:pt>
                <c:pt idx="42">
                  <c:v>3549.6667</c:v>
                </c:pt>
                <c:pt idx="43">
                  <c:v>3104.1429</c:v>
                </c:pt>
                <c:pt idx="44">
                  <c:v>3004.2222</c:v>
                </c:pt>
                <c:pt idx="45">
                  <c:v>3138.1429</c:v>
                </c:pt>
                <c:pt idx="46">
                  <c:v>2995.8667</c:v>
                </c:pt>
                <c:pt idx="47">
                  <c:v>2660.1667</c:v>
                </c:pt>
                <c:pt idx="48">
                  <c:v>3669.0</c:v>
                </c:pt>
                <c:pt idx="49">
                  <c:v>3025.0556</c:v>
                </c:pt>
                <c:pt idx="50">
                  <c:v>3099.3571</c:v>
                </c:pt>
                <c:pt idx="51">
                  <c:v>2739.4667</c:v>
                </c:pt>
                <c:pt idx="52">
                  <c:v>3202.5</c:v>
                </c:pt>
                <c:pt idx="53">
                  <c:v>3334.5</c:v>
                </c:pt>
                <c:pt idx="54">
                  <c:v>2909.6923</c:v>
                </c:pt>
                <c:pt idx="55">
                  <c:v>3116.0</c:v>
                </c:pt>
                <c:pt idx="56">
                  <c:v>2599.75</c:v>
                </c:pt>
                <c:pt idx="57">
                  <c:v>2696.8333</c:v>
                </c:pt>
                <c:pt idx="58">
                  <c:v>2451.5714</c:v>
                </c:pt>
                <c:pt idx="59">
                  <c:v>2641.6154</c:v>
                </c:pt>
                <c:pt idx="60">
                  <c:v>2559.1905</c:v>
                </c:pt>
                <c:pt idx="61">
                  <c:v>2616.8125</c:v>
                </c:pt>
                <c:pt idx="62">
                  <c:v>2355.3889</c:v>
                </c:pt>
                <c:pt idx="63">
                  <c:v>2616.8235</c:v>
                </c:pt>
                <c:pt idx="64">
                  <c:v>2307.1667</c:v>
                </c:pt>
                <c:pt idx="65">
                  <c:v>2335.0625</c:v>
                </c:pt>
                <c:pt idx="66">
                  <c:v>2205.0588</c:v>
                </c:pt>
                <c:pt idx="67">
                  <c:v>2366.9167</c:v>
                </c:pt>
                <c:pt idx="68">
                  <c:v>1907.25</c:v>
                </c:pt>
                <c:pt idx="69">
                  <c:v>1806.8462</c:v>
                </c:pt>
                <c:pt idx="70">
                  <c:v>2093.8182</c:v>
                </c:pt>
                <c:pt idx="71">
                  <c:v>1689.1818</c:v>
                </c:pt>
                <c:pt idx="72">
                  <c:v>2030.4375</c:v>
                </c:pt>
                <c:pt idx="73">
                  <c:v>1540.12</c:v>
                </c:pt>
                <c:pt idx="74">
                  <c:v>1899.0714</c:v>
                </c:pt>
                <c:pt idx="75">
                  <c:v>2853.48</c:v>
                </c:pt>
                <c:pt idx="76">
                  <c:v>2875.1212</c:v>
                </c:pt>
                <c:pt idx="77">
                  <c:v>3425.6333</c:v>
                </c:pt>
                <c:pt idx="78">
                  <c:v>2855.7568</c:v>
                </c:pt>
                <c:pt idx="79">
                  <c:v>3978.3</c:v>
                </c:pt>
                <c:pt idx="80">
                  <c:v>3440.1333</c:v>
                </c:pt>
                <c:pt idx="81">
                  <c:v>3386.2927</c:v>
                </c:pt>
                <c:pt idx="82">
                  <c:v>3334.303</c:v>
                </c:pt>
                <c:pt idx="83">
                  <c:v>3918.6087</c:v>
                </c:pt>
                <c:pt idx="84">
                  <c:v>3499.875</c:v>
                </c:pt>
                <c:pt idx="85">
                  <c:v>3327.3478</c:v>
                </c:pt>
                <c:pt idx="86">
                  <c:v>4500.5714</c:v>
                </c:pt>
                <c:pt idx="87">
                  <c:v>4381.2143</c:v>
                </c:pt>
                <c:pt idx="88">
                  <c:v>3936.9063</c:v>
                </c:pt>
                <c:pt idx="89">
                  <c:v>3929.9118</c:v>
                </c:pt>
                <c:pt idx="90">
                  <c:v>4465.6207</c:v>
                </c:pt>
                <c:pt idx="91">
                  <c:v>3604.8857</c:v>
                </c:pt>
                <c:pt idx="92">
                  <c:v>4148.6286</c:v>
                </c:pt>
                <c:pt idx="93">
                  <c:v>4459.8824</c:v>
                </c:pt>
                <c:pt idx="94">
                  <c:v>4274.8824</c:v>
                </c:pt>
                <c:pt idx="95">
                  <c:v>4202.5714</c:v>
                </c:pt>
                <c:pt idx="96">
                  <c:v>3518.4405</c:v>
                </c:pt>
                <c:pt idx="97">
                  <c:v>3508.6293</c:v>
                </c:pt>
                <c:pt idx="98">
                  <c:v>3336.811</c:v>
                </c:pt>
                <c:pt idx="99">
                  <c:v>3491.1985</c:v>
                </c:pt>
                <c:pt idx="100">
                  <c:v>3901.069</c:v>
                </c:pt>
                <c:pt idx="101">
                  <c:v>3699.9652</c:v>
                </c:pt>
                <c:pt idx="102">
                  <c:v>3851.6974</c:v>
                </c:pt>
                <c:pt idx="103">
                  <c:v>3939.1392</c:v>
                </c:pt>
                <c:pt idx="104">
                  <c:v>4226.3208</c:v>
                </c:pt>
              </c:numCache>
            </c:numRef>
          </c:xVal>
          <c:yVal>
            <c:numRef>
              <c:f>Sheet1!$B$2:$B$106</c:f>
              <c:numCache>
                <c:formatCode>General</c:formatCode>
                <c:ptCount val="105"/>
                <c:pt idx="0">
                  <c:v>0.0010362023185026877</c:v>
                </c:pt>
                <c:pt idx="1">
                  <c:v>0.000357347055460263</c:v>
                </c:pt>
                <c:pt idx="2">
                  <c:v>0.00044375416019525185</c:v>
                </c:pt>
                <c:pt idx="3">
                  <c:v>0.00039295818924866394</c:v>
                </c:pt>
                <c:pt idx="4">
                  <c:v>0.0002694207453973956</c:v>
                </c:pt>
                <c:pt idx="5">
                  <c:v>0.0005267778753292362</c:v>
                </c:pt>
                <c:pt idx="6">
                  <c:v>0.0009097675957323629</c:v>
                </c:pt>
                <c:pt idx="7">
                  <c:v>0.0007708614376565812</c:v>
                </c:pt>
                <c:pt idx="8">
                  <c:v>0.0006978367062107466</c:v>
                </c:pt>
                <c:pt idx="9">
                  <c:v>0.0006936416184971098</c:v>
                </c:pt>
                <c:pt idx="10">
                  <c:v>0.0004585052728106373</c:v>
                </c:pt>
                <c:pt idx="11">
                  <c:v>0.000777302759424796</c:v>
                </c:pt>
                <c:pt idx="12">
                  <c:v>0.0007654303806276529</c:v>
                </c:pt>
                <c:pt idx="13">
                  <c:v>0.0007547739452034116</c:v>
                </c:pt>
                <c:pt idx="14">
                  <c:v>0.00022914757103574703</c:v>
                </c:pt>
                <c:pt idx="15">
                  <c:v>0.0005456033463671911</c:v>
                </c:pt>
                <c:pt idx="16">
                  <c:v>0.0002097095522701059</c:v>
                </c:pt>
                <c:pt idx="17">
                  <c:v>0.0004609356994699239</c:v>
                </c:pt>
                <c:pt idx="18">
                  <c:v>0.00026441036488630354</c:v>
                </c:pt>
                <c:pt idx="19">
                  <c:v>0.00045454545454545455</c:v>
                </c:pt>
                <c:pt idx="20">
                  <c:v>0.0006240639041437844</c:v>
                </c:pt>
                <c:pt idx="21">
                  <c:v>0.00014736221632773356</c:v>
                </c:pt>
                <c:pt idx="22">
                  <c:v>0.0010554885404101327</c:v>
                </c:pt>
                <c:pt idx="23">
                  <c:v>0.0008086689309396733</c:v>
                </c:pt>
                <c:pt idx="24">
                  <c:v>0.0013370970138166691</c:v>
                </c:pt>
                <c:pt idx="25">
                  <c:v>0.0016837851490149856</c:v>
                </c:pt>
                <c:pt idx="26">
                  <c:v>0.001392369813422445</c:v>
                </c:pt>
                <c:pt idx="27">
                  <c:v>0.0006650704974727321</c:v>
                </c:pt>
                <c:pt idx="28">
                  <c:v>0.0006960879855213699</c:v>
                </c:pt>
                <c:pt idx="29">
                  <c:v>0.0011367942402425162</c:v>
                </c:pt>
                <c:pt idx="30">
                  <c:v>0.0007944073721004131</c:v>
                </c:pt>
                <c:pt idx="31">
                  <c:v>0.0009315323707498836</c:v>
                </c:pt>
                <c:pt idx="32">
                  <c:v>0.0006216006216006216</c:v>
                </c:pt>
                <c:pt idx="33">
                  <c:v>0.0016091100383710856</c:v>
                </c:pt>
                <c:pt idx="34">
                  <c:v>0.0015503875968992248</c:v>
                </c:pt>
                <c:pt idx="35">
                  <c:v>0.0015457277801631602</c:v>
                </c:pt>
                <c:pt idx="36">
                  <c:v>0.0009611277231952157</c:v>
                </c:pt>
                <c:pt idx="37">
                  <c:v>0.0007739938080495357</c:v>
                </c:pt>
                <c:pt idx="38">
                  <c:v>0.0006829668078131403</c:v>
                </c:pt>
                <c:pt idx="39">
                  <c:v>0.0008798944126704796</c:v>
                </c:pt>
                <c:pt idx="40">
                  <c:v>0.0004822182037371911</c:v>
                </c:pt>
                <c:pt idx="41">
                  <c:v>0.0005220569042025581</c:v>
                </c:pt>
                <c:pt idx="42">
                  <c:v>0.0003325942350332594</c:v>
                </c:pt>
                <c:pt idx="43">
                  <c:v>0.0006925892945483328</c:v>
                </c:pt>
                <c:pt idx="44">
                  <c:v>0.0005979669124975084</c:v>
                </c:pt>
                <c:pt idx="45">
                  <c:v>0.0004204456724127575</c:v>
                </c:pt>
                <c:pt idx="46">
                  <c:v>0.0008858442095316837</c:v>
                </c:pt>
                <c:pt idx="47">
                  <c:v>0.0010699001426533524</c:v>
                </c:pt>
                <c:pt idx="48">
                  <c:v>0.000531632110579479</c:v>
                </c:pt>
                <c:pt idx="49">
                  <c:v>0.0005390028447372361</c:v>
                </c:pt>
                <c:pt idx="50">
                  <c:v>0.0008016491067338525</c:v>
                </c:pt>
                <c:pt idx="51">
                  <c:v>0.0010760401721664275</c:v>
                </c:pt>
                <c:pt idx="52">
                  <c:v>0.00036480817170304614</c:v>
                </c:pt>
                <c:pt idx="53">
                  <c:v>0.0004734848484848485</c:v>
                </c:pt>
                <c:pt idx="54">
                  <c:v>0.0011134903640256958</c:v>
                </c:pt>
                <c:pt idx="55">
                  <c:v>0.000715307582260372</c:v>
                </c:pt>
                <c:pt idx="56">
                  <c:v>0.0007297938332421091</c:v>
                </c:pt>
                <c:pt idx="57">
                  <c:v>0.00048088482808367395</c:v>
                </c:pt>
                <c:pt idx="58">
                  <c:v>0.0004991799187049847</c:v>
                </c:pt>
                <c:pt idx="59">
                  <c:v>0.0005967408767500573</c:v>
                </c:pt>
                <c:pt idx="60">
                  <c:v>0.0010290082320658564</c:v>
                </c:pt>
                <c:pt idx="61">
                  <c:v>0.0011176306230790724</c:v>
                </c:pt>
                <c:pt idx="62">
                  <c:v>0.0012251565477811054</c:v>
                </c:pt>
                <c:pt idx="63">
                  <c:v>0.0010281221651043241</c:v>
                </c:pt>
                <c:pt idx="64">
                  <c:v>0.0013947811937002382</c:v>
                </c:pt>
                <c:pt idx="65">
                  <c:v>0.0010165830103564394</c:v>
                </c:pt>
                <c:pt idx="66">
                  <c:v>0.0011519956630751508</c:v>
                </c:pt>
                <c:pt idx="67">
                  <c:v>0.0008489564909798373</c:v>
                </c:pt>
                <c:pt idx="68">
                  <c:v>0.0014316392269148174</c:v>
                </c:pt>
                <c:pt idx="69">
                  <c:v>0.0014657796820385612</c:v>
                </c:pt>
                <c:pt idx="70">
                  <c:v>0.0012130569033965593</c:v>
                </c:pt>
                <c:pt idx="71">
                  <c:v>0.0013112409107164144</c:v>
                </c:pt>
                <c:pt idx="72">
                  <c:v>0.001763279700242451</c:v>
                </c:pt>
                <c:pt idx="73">
                  <c:v>0.002972651605231867</c:v>
                </c:pt>
                <c:pt idx="74">
                  <c:v>0.0032265498962894676</c:v>
                </c:pt>
                <c:pt idx="75">
                  <c:v>0.003306003702724147</c:v>
                </c:pt>
                <c:pt idx="76">
                  <c:v>0.004521167283189478</c:v>
                </c:pt>
                <c:pt idx="77">
                  <c:v>0.0043846828412744815</c:v>
                </c:pt>
                <c:pt idx="78">
                  <c:v>0.006234203875315923</c:v>
                </c:pt>
                <c:pt idx="79">
                  <c:v>0.004583651642475172</c:v>
                </c:pt>
                <c:pt idx="80">
                  <c:v>0.004645401052957572</c:v>
                </c:pt>
                <c:pt idx="81">
                  <c:v>0.005054240631163708</c:v>
                </c:pt>
                <c:pt idx="82">
                  <c:v>0.005147402901263453</c:v>
                </c:pt>
                <c:pt idx="83">
                  <c:v>0.00407873736478099</c:v>
                </c:pt>
                <c:pt idx="84">
                  <c:v>0.00448011946985253</c:v>
                </c:pt>
                <c:pt idx="85">
                  <c:v>0.0039049235993208827</c:v>
                </c:pt>
                <c:pt idx="86">
                  <c:v>0.003433897473632573</c:v>
                </c:pt>
                <c:pt idx="87">
                  <c:v>0.0030375352571056628</c:v>
                </c:pt>
                <c:pt idx="88">
                  <c:v>0.004483048472961614</c:v>
                </c:pt>
                <c:pt idx="89">
                  <c:v>0.005447844896651178</c:v>
                </c:pt>
                <c:pt idx="90">
                  <c:v>0.004794973544973545</c:v>
                </c:pt>
                <c:pt idx="91">
                  <c:v>0.005311883442100471</c:v>
                </c:pt>
                <c:pt idx="92">
                  <c:v>0.00437172120909318</c:v>
                </c:pt>
                <c:pt idx="93">
                  <c:v>0.004066985645933014</c:v>
                </c:pt>
                <c:pt idx="94">
                  <c:v>0.0045045045045045045</c:v>
                </c:pt>
                <c:pt idx="95">
                  <c:v>0.0045207122428268295</c:v>
                </c:pt>
                <c:pt idx="96">
                  <c:v>0.005967180507210343</c:v>
                </c:pt>
                <c:pt idx="97">
                  <c:v>0.006957356204642236</c:v>
                </c:pt>
                <c:pt idx="98">
                  <c:v>0.006597059892992572</c:v>
                </c:pt>
                <c:pt idx="99">
                  <c:v>0.00621486999040351</c:v>
                </c:pt>
                <c:pt idx="100">
                  <c:v>0.004655941945220435</c:v>
                </c:pt>
                <c:pt idx="101">
                  <c:v>0.00659063556650811</c:v>
                </c:pt>
                <c:pt idx="102">
                  <c:v>0.005459377918252999</c:v>
                </c:pt>
                <c:pt idx="103">
                  <c:v>0.005118901056178319</c:v>
                </c:pt>
                <c:pt idx="104">
                  <c:v>0.00404982043249025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109:$B$160</c:f>
              <c:numCache>
                <c:formatCode>General</c:formatCode>
                <c:ptCount val="52"/>
                <c:pt idx="0">
                  <c:v>0.003990368077055384</c:v>
                </c:pt>
                <c:pt idx="1">
                  <c:v>0.00472115668338743</c:v>
                </c:pt>
                <c:pt idx="2">
                  <c:v>0.0045263710312254</c:v>
                </c:pt>
                <c:pt idx="3">
                  <c:v>0.004841347726529277</c:v>
                </c:pt>
                <c:pt idx="4">
                  <c:v>0.004864091559370529</c:v>
                </c:pt>
                <c:pt idx="5">
                  <c:v>0.00402757867431224</c:v>
                </c:pt>
                <c:pt idx="6">
                  <c:v>0.004804764160519726</c:v>
                </c:pt>
                <c:pt idx="7">
                  <c:v>0.005543942561119695</c:v>
                </c:pt>
                <c:pt idx="8">
                  <c:v>0.006833473507148864</c:v>
                </c:pt>
                <c:pt idx="9">
                  <c:v>0.006844819503047351</c:v>
                </c:pt>
                <c:pt idx="10">
                  <c:v>0.0064940921800306665</c:v>
                </c:pt>
                <c:pt idx="11">
                  <c:v>0.006501608984041505</c:v>
                </c:pt>
                <c:pt idx="12">
                  <c:v>0.006690488861856611</c:v>
                </c:pt>
                <c:pt idx="13">
                  <c:v>0.009964923469387755</c:v>
                </c:pt>
                <c:pt idx="14">
                  <c:v>0.009934065934065935</c:v>
                </c:pt>
                <c:pt idx="15">
                  <c:v>0.009705993215228043</c:v>
                </c:pt>
                <c:pt idx="16">
                  <c:v>0.009223090277777778</c:v>
                </c:pt>
                <c:pt idx="17">
                  <c:v>0.012101838109373216</c:v>
                </c:pt>
                <c:pt idx="18">
                  <c:v>0.0064856100526955816</c:v>
                </c:pt>
                <c:pt idx="19">
                  <c:v>0.005777442853554383</c:v>
                </c:pt>
                <c:pt idx="20">
                  <c:v>0.006987024098103522</c:v>
                </c:pt>
                <c:pt idx="21">
                  <c:v>0.009249743062692703</c:v>
                </c:pt>
                <c:pt idx="22">
                  <c:v>0.008047945205479452</c:v>
                </c:pt>
                <c:pt idx="23">
                  <c:v>0.007758475290942824</c:v>
                </c:pt>
                <c:pt idx="24">
                  <c:v>0.007328990228013029</c:v>
                </c:pt>
                <c:pt idx="25">
                  <c:v>0.008060536272413226</c:v>
                </c:pt>
                <c:pt idx="26">
                  <c:v>0.008222643896268185</c:v>
                </c:pt>
                <c:pt idx="27">
                  <c:v>0.007835455435847209</c:v>
                </c:pt>
                <c:pt idx="28">
                  <c:v>0.006755861703536892</c:v>
                </c:pt>
                <c:pt idx="29">
                  <c:v>0.008077288565093443</c:v>
                </c:pt>
                <c:pt idx="30">
                  <c:v>0.00747574359790043</c:v>
                </c:pt>
                <c:pt idx="31">
                  <c:v>0.00815418828762046</c:v>
                </c:pt>
                <c:pt idx="32">
                  <c:v>0.006991842850008324</c:v>
                </c:pt>
                <c:pt idx="33">
                  <c:v>0.0066518847006651885</c:v>
                </c:pt>
                <c:pt idx="34">
                  <c:v>0.005906093119401516</c:v>
                </c:pt>
                <c:pt idx="35">
                  <c:v>0.007034944066428324</c:v>
                </c:pt>
                <c:pt idx="36">
                  <c:v>0.008754331570308225</c:v>
                </c:pt>
                <c:pt idx="37">
                  <c:v>0.009024064171122994</c:v>
                </c:pt>
                <c:pt idx="38">
                  <c:v>0.010476190476190476</c:v>
                </c:pt>
                <c:pt idx="39">
                  <c:v>0.009722222222222222</c:v>
                </c:pt>
                <c:pt idx="40">
                  <c:v>0.009455263900649167</c:v>
                </c:pt>
                <c:pt idx="41">
                  <c:v>0.007480975106410422</c:v>
                </c:pt>
                <c:pt idx="42">
                  <c:v>0.008769365682548963</c:v>
                </c:pt>
                <c:pt idx="43">
                  <c:v>0.0063687273525859225</c:v>
                </c:pt>
                <c:pt idx="44">
                  <c:v>0.004836649023544443</c:v>
                </c:pt>
                <c:pt idx="45">
                  <c:v>0.003727266885161622</c:v>
                </c:pt>
                <c:pt idx="46">
                  <c:v>0.004059328649492584</c:v>
                </c:pt>
                <c:pt idx="47">
                  <c:v>0.004209474885844749</c:v>
                </c:pt>
                <c:pt idx="48">
                  <c:v>0.004558910597986974</c:v>
                </c:pt>
                <c:pt idx="49">
                  <c:v>0.004214621494569622</c:v>
                </c:pt>
                <c:pt idx="50">
                  <c:v>0.0034938857000249564</c:v>
                </c:pt>
                <c:pt idx="51">
                  <c:v>0.00401427297056199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92.7101333724936</c:v>
                </c:pt>
              </c:numCache>
            </c:numRef>
          </c:xVal>
          <c:yVal>
            <c:numRef>
              <c:f>Sheet1!$B$163:$B$164</c:f>
              <c:numCache>
                <c:formatCode>General</c:formatCode>
                <c:ptCount val="2"/>
                <c:pt idx="0">
                  <c:v>0.008150826200142696</c:v>
                </c:pt>
                <c:pt idx="1">
                  <c:v>0.00815082620014269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92.7101333724936</c:v>
                </c:pt>
                <c:pt idx="1">
                  <c:v>3592.7101333724936</c:v>
                </c:pt>
              </c:numCache>
            </c:numRef>
          </c:xVal>
          <c:yVal>
            <c:numRef>
              <c:f>Sheet1!$B$167:$B$168</c:f>
              <c:numCache>
                <c:formatCode>General</c:formatCode>
                <c:ptCount val="2"/>
                <c:pt idx="0">
                  <c:v>0.00815082620014269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92.7101333724936</c:v>
                </c:pt>
              </c:numCache>
            </c:numRef>
          </c:xVal>
          <c:yVal>
            <c:numRef>
              <c:f>Sheet1!$B$171:$B$172</c:f>
              <c:numCache>
                <c:formatCode>General</c:formatCode>
                <c:ptCount val="2"/>
                <c:pt idx="0">
                  <c:v>0.008150826200142696</c:v>
                </c:pt>
                <c:pt idx="1">
                  <c:v>0.00815082620014269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92.7101333724936</c:v>
                </c:pt>
                <c:pt idx="1">
                  <c:v>3592.7101333724936</c:v>
                </c:pt>
              </c:numCache>
            </c:numRef>
          </c:xVal>
          <c:yVal>
            <c:numRef>
              <c:f>Sheet1!$B$175:$B$176</c:f>
              <c:numCache>
                <c:formatCode>General</c:formatCode>
                <c:ptCount val="2"/>
                <c:pt idx="0">
                  <c:v>0.00815082620014269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33.471666008143</c:v>
                </c:pt>
              </c:numCache>
            </c:numRef>
          </c:xVal>
          <c:yVal>
            <c:numRef>
              <c:f>Sheet1!$B$179:$B$180</c:f>
              <c:numCache>
                <c:formatCode>General</c:formatCode>
                <c:ptCount val="2"/>
                <c:pt idx="0">
                  <c:v>0.00576238188243105</c:v>
                </c:pt>
                <c:pt idx="1">
                  <c:v>0.005762381882431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33.471666008143</c:v>
                </c:pt>
                <c:pt idx="1">
                  <c:v>4233.471666008143</c:v>
                </c:pt>
              </c:numCache>
            </c:numRef>
          </c:xVal>
          <c:yVal>
            <c:numRef>
              <c:f>Sheet1!$B$183:$B$184</c:f>
              <c:numCache>
                <c:formatCode>General</c:formatCode>
                <c:ptCount val="2"/>
                <c:pt idx="0">
                  <c:v>0.005762381882431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592.7101333724936</c:v>
                </c:pt>
                <c:pt idx="53">
                  <c:v>3592.7101333724936</c:v>
                </c:pt>
                <c:pt idx="54">
                  <c:v>4233.471666008143</c:v>
                </c:pt>
              </c:numCache>
            </c:numRef>
          </c:xVal>
          <c:yVal>
            <c:numRef>
              <c:f>Sheet1!$B$187:$B$241</c:f>
              <c:numCache>
                <c:formatCode>General</c:formatCode>
                <c:ptCount val="55"/>
                <c:pt idx="0">
                  <c:v>0.005120180802075623</c:v>
                </c:pt>
                <c:pt idx="1">
                  <c:v>0.006975172625733701</c:v>
                </c:pt>
                <c:pt idx="2">
                  <c:v>0.005527092074985418</c:v>
                </c:pt>
                <c:pt idx="3">
                  <c:v>0.007774677809856188</c:v>
                </c:pt>
                <c:pt idx="4">
                  <c:v>0.004668745926320966</c:v>
                </c:pt>
                <c:pt idx="5">
                  <c:v>0.003554927499959587</c:v>
                </c:pt>
                <c:pt idx="6">
                  <c:v>0.005100433578159272</c:v>
                </c:pt>
                <c:pt idx="7">
                  <c:v>0.0055734261289045565</c:v>
                </c:pt>
                <c:pt idx="8">
                  <c:v>0.006000120037065281</c:v>
                </c:pt>
                <c:pt idx="9">
                  <c:v>0.006266894121756635</c:v>
                </c:pt>
                <c:pt idx="10">
                  <c:v>0.005884766310042276</c:v>
                </c:pt>
                <c:pt idx="11">
                  <c:v>0.006311368521483982</c:v>
                </c:pt>
                <c:pt idx="12">
                  <c:v>0.007204779719151493</c:v>
                </c:pt>
                <c:pt idx="13">
                  <c:v>0.008819772900071503</c:v>
                </c:pt>
                <c:pt idx="14">
                  <c:v>0.008662756433286817</c:v>
                </c:pt>
                <c:pt idx="15">
                  <c:v>0.00796612080336882</c:v>
                </c:pt>
                <c:pt idx="16">
                  <c:v>0.007098851371141057</c:v>
                </c:pt>
                <c:pt idx="17">
                  <c:v>0.010698412412962214</c:v>
                </c:pt>
                <c:pt idx="18">
                  <c:v>0.006293057879498912</c:v>
                </c:pt>
                <c:pt idx="19">
                  <c:v>0.005124953131724359</c:v>
                </c:pt>
                <c:pt idx="20">
                  <c:v>0.005673386735161011</c:v>
                </c:pt>
                <c:pt idx="21">
                  <c:v>0.00784733441339688</c:v>
                </c:pt>
                <c:pt idx="22">
                  <c:v>0.007082171141550237</c:v>
                </c:pt>
                <c:pt idx="23">
                  <c:v>0.009820966135927001</c:v>
                </c:pt>
                <c:pt idx="24">
                  <c:v>0.006419187462010107</c:v>
                </c:pt>
                <c:pt idx="25">
                  <c:v>0.008090257659620377</c:v>
                </c:pt>
                <c:pt idx="26">
                  <c:v>0.00730876230751447</c:v>
                </c:pt>
                <c:pt idx="27">
                  <c:v>0.007708767997430241</c:v>
                </c:pt>
                <c:pt idx="28">
                  <c:v>0.007327574299447017</c:v>
                </c:pt>
                <c:pt idx="29">
                  <c:v>0.008185705370847757</c:v>
                </c:pt>
                <c:pt idx="30">
                  <c:v>0.008243805679370659</c:v>
                </c:pt>
                <c:pt idx="31">
                  <c:v>0.007073681740023256</c:v>
                </c:pt>
                <c:pt idx="32">
                  <c:v>0.004923409334585904</c:v>
                </c:pt>
                <c:pt idx="33">
                  <c:v>0.005983185964118154</c:v>
                </c:pt>
                <c:pt idx="34">
                  <c:v>0.00548880123977755</c:v>
                </c:pt>
                <c:pt idx="35">
                  <c:v>0.0065742317038341245</c:v>
                </c:pt>
                <c:pt idx="36">
                  <c:v>0.005982432261817933</c:v>
                </c:pt>
                <c:pt idx="37">
                  <c:v>0.006107484967007</c:v>
                </c:pt>
                <c:pt idx="38">
                  <c:v>0.008109556464215677</c:v>
                </c:pt>
                <c:pt idx="39">
                  <c:v>0.009296434065079292</c:v>
                </c:pt>
                <c:pt idx="40">
                  <c:v>0.0095340981689913</c:v>
                </c:pt>
                <c:pt idx="41">
                  <c:v>0.008378087696603989</c:v>
                </c:pt>
                <c:pt idx="42">
                  <c:v>0.009216186016906392</c:v>
                </c:pt>
                <c:pt idx="43">
                  <c:v>0.007869539929434876</c:v>
                </c:pt>
                <c:pt idx="44">
                  <c:v>0.006154332671652996</c:v>
                </c:pt>
                <c:pt idx="45">
                  <c:v>0.005524037008688372</c:v>
                </c:pt>
                <c:pt idx="46">
                  <c:v>0.005240926743477963</c:v>
                </c:pt>
                <c:pt idx="47">
                  <c:v>0.005546870609976554</c:v>
                </c:pt>
                <c:pt idx="48">
                  <c:v>0.0067908510379805845</c:v>
                </c:pt>
                <c:pt idx="49">
                  <c:v>0.007111013114439447</c:v>
                </c:pt>
                <c:pt idx="50">
                  <c:v>0.006586778498802213</c:v>
                </c:pt>
                <c:pt idx="51">
                  <c:v>0.005754909964129685</c:v>
                </c:pt>
                <c:pt idx="52">
                  <c:v>0.008150826200142696</c:v>
                </c:pt>
                <c:pt idx="53">
                  <c:v>0.008150826200142696</c:v>
                </c:pt>
                <c:pt idx="54">
                  <c:v>0.00576238188243104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64.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4522205731247857"/>
          <c:min val="0.0001178897730621868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49633497226131</c:v>
                </c:pt>
                <c:pt idx="1">
                  <c:v>0.9960895721070631</c:v>
                </c:pt>
                <c:pt idx="2">
                  <c:v>0.807892881619495</c:v>
                </c:pt>
                <c:pt idx="3">
                  <c:v>0.7338666362589799</c:v>
                </c:pt>
                <c:pt idx="4">
                  <c:v>0.9696174071639818</c:v>
                </c:pt>
                <c:pt idx="5">
                  <c:v>0.8323374516014628</c:v>
                </c:pt>
                <c:pt idx="6">
                  <c:v>0.668134055179696</c:v>
                </c:pt>
                <c:pt idx="7">
                  <c:v>0.7398930454353991</c:v>
                </c:pt>
                <c:pt idx="8">
                  <c:v>0.611696957031233</c:v>
                </c:pt>
                <c:pt idx="9">
                  <c:v>0.7512323250037389</c:v>
                </c:pt>
                <c:pt idx="10">
                  <c:v>0.8208240178336486</c:v>
                </c:pt>
                <c:pt idx="11">
                  <c:v>0.7062775292693778</c:v>
                </c:pt>
                <c:pt idx="12">
                  <c:v>0.7309950107544481</c:v>
                </c:pt>
                <c:pt idx="13">
                  <c:v>0.751314371235654</c:v>
                </c:pt>
                <c:pt idx="14">
                  <c:v>0.965099406460201</c:v>
                </c:pt>
                <c:pt idx="15">
                  <c:v>0.7269067080717688</c:v>
                </c:pt>
                <c:pt idx="16">
                  <c:v>1.0495915826912823</c:v>
                </c:pt>
                <c:pt idx="17">
                  <c:v>0.82485080637906</c:v>
                </c:pt>
                <c:pt idx="18">
                  <c:v>1.246034692708286</c:v>
                </c:pt>
                <c:pt idx="19">
                  <c:v>1.0315195312047118</c:v>
                </c:pt>
                <c:pt idx="20">
                  <c:v>0.8116954321000985</c:v>
                </c:pt>
                <c:pt idx="21">
                  <c:v>1.6343383833416556</c:v>
                </c:pt>
                <c:pt idx="22">
                  <c:v>0.7517676446021002</c:v>
                </c:pt>
                <c:pt idx="23">
                  <c:v>0.9982482455111767</c:v>
                </c:pt>
                <c:pt idx="24">
                  <c:v>0.6030385541985505</c:v>
                </c:pt>
                <c:pt idx="25">
                  <c:v>0.5733746740966348</c:v>
                </c:pt>
                <c:pt idx="26">
                  <c:v>0.7289067764200251</c:v>
                </c:pt>
                <c:pt idx="27">
                  <c:v>0.6173515206395017</c:v>
                </c:pt>
                <c:pt idx="28">
                  <c:v>0.597449426877187</c:v>
                </c:pt>
                <c:pt idx="29">
                  <c:v>0.5535354537946177</c:v>
                </c:pt>
                <c:pt idx="30">
                  <c:v>0.6069998728742766</c:v>
                </c:pt>
                <c:pt idx="31">
                  <c:v>0.5900715847585392</c:v>
                </c:pt>
                <c:pt idx="32">
                  <c:v>0.7196432006019137</c:v>
                </c:pt>
                <c:pt idx="33">
                  <c:v>0.4416434487527591</c:v>
                </c:pt>
                <c:pt idx="34">
                  <c:v>0.4626167069818854</c:v>
                </c:pt>
                <c:pt idx="35">
                  <c:v>0.4759647287249071</c:v>
                </c:pt>
                <c:pt idx="36">
                  <c:v>0.5510728680688337</c:v>
                </c:pt>
                <c:pt idx="37">
                  <c:v>0.5129273069162092</c:v>
                </c:pt>
                <c:pt idx="38">
                  <c:v>0.49203473243360824</c:v>
                </c:pt>
                <c:pt idx="39">
                  <c:v>0.5575863931107193</c:v>
                </c:pt>
                <c:pt idx="40">
                  <c:v>0.6863517152279145</c:v>
                </c:pt>
                <c:pt idx="41">
                  <c:v>0.5825249782185206</c:v>
                </c:pt>
                <c:pt idx="42">
                  <c:v>0.6048479829143539</c:v>
                </c:pt>
                <c:pt idx="43">
                  <c:v>0.5580481617977527</c:v>
                </c:pt>
                <c:pt idx="44">
                  <c:v>0.5546905579059743</c:v>
                </c:pt>
                <c:pt idx="45">
                  <c:v>0.5200655537803754</c:v>
                </c:pt>
                <c:pt idx="46">
                  <c:v>0.47749970222679844</c:v>
                </c:pt>
                <c:pt idx="47">
                  <c:v>0.41945121590577916</c:v>
                </c:pt>
                <c:pt idx="48">
                  <c:v>0.6000112741284378</c:v>
                </c:pt>
                <c:pt idx="49">
                  <c:v>0.5880726517067363</c:v>
                </c:pt>
                <c:pt idx="50">
                  <c:v>0.464503165593774</c:v>
                </c:pt>
                <c:pt idx="51">
                  <c:v>0.4153268870036823</c:v>
                </c:pt>
                <c:pt idx="52">
                  <c:v>0.46321920205231054</c:v>
                </c:pt>
                <c:pt idx="53">
                  <c:v>0.48979762346579653</c:v>
                </c:pt>
                <c:pt idx="54">
                  <c:v>0.43958391988489726</c:v>
                </c:pt>
                <c:pt idx="55">
                  <c:v>0.4455581045660812</c:v>
                </c:pt>
                <c:pt idx="56">
                  <c:v>0.36550399771183745</c:v>
                </c:pt>
                <c:pt idx="57">
                  <c:v>0.39082683302629717</c:v>
                </c:pt>
                <c:pt idx="58">
                  <c:v>0.38923767192066916</c:v>
                </c:pt>
                <c:pt idx="59">
                  <c:v>0.41884326426550506</c:v>
                </c:pt>
                <c:pt idx="60">
                  <c:v>0.37415557552430406</c:v>
                </c:pt>
                <c:pt idx="61">
                  <c:v>0.3624061604432048</c:v>
                </c:pt>
                <c:pt idx="62">
                  <c:v>0.3102219156076247</c:v>
                </c:pt>
                <c:pt idx="63">
                  <c:v>0.37273897801524974</c:v>
                </c:pt>
                <c:pt idx="64">
                  <c:v>0.3191697896564366</c:v>
                </c:pt>
                <c:pt idx="65">
                  <c:v>0.3113078586332191</c:v>
                </c:pt>
                <c:pt idx="66">
                  <c:v>0.27747888876103805</c:v>
                </c:pt>
                <c:pt idx="67">
                  <c:v>0.28877800767908124</c:v>
                </c:pt>
                <c:pt idx="68">
                  <c:v>0.23221232864653835</c:v>
                </c:pt>
                <c:pt idx="69">
                  <c:v>0.21478269606110878</c:v>
                </c:pt>
                <c:pt idx="70">
                  <c:v>0.2580718803684906</c:v>
                </c:pt>
                <c:pt idx="71">
                  <c:v>0.19773264282708564</c:v>
                </c:pt>
                <c:pt idx="72">
                  <c:v>0.25829418920554786</c:v>
                </c:pt>
                <c:pt idx="73">
                  <c:v>0.1996318763934256</c:v>
                </c:pt>
                <c:pt idx="74">
                  <c:v>0.22339359138114762</c:v>
                </c:pt>
                <c:pt idx="75">
                  <c:v>0.36569386844924723</c:v>
                </c:pt>
                <c:pt idx="76">
                  <c:v>0.35339271776932774</c:v>
                </c:pt>
                <c:pt idx="77">
                  <c:v>0.39439397940693055</c:v>
                </c:pt>
                <c:pt idx="78">
                  <c:v>0.3477142634358566</c:v>
                </c:pt>
                <c:pt idx="79">
                  <c:v>0.46906875191031183</c:v>
                </c:pt>
                <c:pt idx="80">
                  <c:v>0.3898603407779985</c:v>
                </c:pt>
                <c:pt idx="81">
                  <c:v>0.41337653106846334</c:v>
                </c:pt>
                <c:pt idx="82">
                  <c:v>0.4062788875476784</c:v>
                </c:pt>
                <c:pt idx="83">
                  <c:v>0.4669426967993584</c:v>
                </c:pt>
                <c:pt idx="84">
                  <c:v>0.38556111082052236</c:v>
                </c:pt>
                <c:pt idx="85">
                  <c:v>0.32901497616131725</c:v>
                </c:pt>
                <c:pt idx="86">
                  <c:v>0.4686173779455136</c:v>
                </c:pt>
                <c:pt idx="87">
                  <c:v>0.48193336576865264</c:v>
                </c:pt>
                <c:pt idx="88">
                  <c:v>0.4745463698225105</c:v>
                </c:pt>
                <c:pt idx="89">
                  <c:v>0.4652895058984583</c:v>
                </c:pt>
                <c:pt idx="90">
                  <c:v>0.5340624251452302</c:v>
                </c:pt>
                <c:pt idx="91">
                  <c:v>0.4671035551530088</c:v>
                </c:pt>
                <c:pt idx="92">
                  <c:v>0.5208008059991581</c:v>
                </c:pt>
                <c:pt idx="93">
                  <c:v>0.5325268705696566</c:v>
                </c:pt>
                <c:pt idx="94">
                  <c:v>0.49779635502666875</c:v>
                </c:pt>
                <c:pt idx="95">
                  <c:v>0.49411238500780447</c:v>
                </c:pt>
                <c:pt idx="96">
                  <c:v>0.3820221950994122</c:v>
                </c:pt>
                <c:pt idx="97">
                  <c:v>0.4236369348531138</c:v>
                </c:pt>
                <c:pt idx="98">
                  <c:v>0.40642997184609625</c:v>
                </c:pt>
                <c:pt idx="99">
                  <c:v>0.39410583272367616</c:v>
                </c:pt>
                <c:pt idx="100">
                  <c:v>0.48150187913245285</c:v>
                </c:pt>
                <c:pt idx="101">
                  <c:v>0.47292157258178424</c:v>
                </c:pt>
                <c:pt idx="102">
                  <c:v>0.4647425505279513</c:v>
                </c:pt>
                <c:pt idx="103">
                  <c:v>0.45111832678967656</c:v>
                </c:pt>
                <c:pt idx="104">
                  <c:v>0.48963218820579496</c:v>
                </c:pt>
              </c:numCache>
            </c:numRef>
          </c:xVal>
          <c:yVal>
            <c:numRef>
              <c:f>Sheet1!$B$2:$B$106</c:f>
              <c:numCache>
                <c:formatCode>General</c:formatCode>
                <c:ptCount val="105"/>
                <c:pt idx="0">
                  <c:v>0.0010362023185026877</c:v>
                </c:pt>
                <c:pt idx="1">
                  <c:v>0.000357347055460263</c:v>
                </c:pt>
                <c:pt idx="2">
                  <c:v>0.00044375416019525185</c:v>
                </c:pt>
                <c:pt idx="3">
                  <c:v>0.00039295818924866394</c:v>
                </c:pt>
                <c:pt idx="4">
                  <c:v>0.0002694207453973956</c:v>
                </c:pt>
                <c:pt idx="5">
                  <c:v>0.0005267778753292362</c:v>
                </c:pt>
                <c:pt idx="6">
                  <c:v>0.0009097675957323629</c:v>
                </c:pt>
                <c:pt idx="7">
                  <c:v>0.0007708614376565812</c:v>
                </c:pt>
                <c:pt idx="8">
                  <c:v>0.0006978367062107466</c:v>
                </c:pt>
                <c:pt idx="9">
                  <c:v>0.0006936416184971098</c:v>
                </c:pt>
                <c:pt idx="10">
                  <c:v>0.0004585052728106373</c:v>
                </c:pt>
                <c:pt idx="11">
                  <c:v>0.000777302759424796</c:v>
                </c:pt>
                <c:pt idx="12">
                  <c:v>0.0007654303806276529</c:v>
                </c:pt>
                <c:pt idx="13">
                  <c:v>0.0007547739452034116</c:v>
                </c:pt>
                <c:pt idx="14">
                  <c:v>0.00022914757103574703</c:v>
                </c:pt>
                <c:pt idx="15">
                  <c:v>0.0005456033463671911</c:v>
                </c:pt>
                <c:pt idx="16">
                  <c:v>0.0002097095522701059</c:v>
                </c:pt>
                <c:pt idx="17">
                  <c:v>0.0004609356994699239</c:v>
                </c:pt>
                <c:pt idx="18">
                  <c:v>0.00026441036488630354</c:v>
                </c:pt>
                <c:pt idx="19">
                  <c:v>0.00045454545454545455</c:v>
                </c:pt>
                <c:pt idx="20">
                  <c:v>0.0006240639041437844</c:v>
                </c:pt>
                <c:pt idx="21">
                  <c:v>0.00014736221632773356</c:v>
                </c:pt>
                <c:pt idx="22">
                  <c:v>0.0010554885404101327</c:v>
                </c:pt>
                <c:pt idx="23">
                  <c:v>0.0008086689309396733</c:v>
                </c:pt>
                <c:pt idx="24">
                  <c:v>0.0013370970138166691</c:v>
                </c:pt>
                <c:pt idx="25">
                  <c:v>0.0016837851490149856</c:v>
                </c:pt>
                <c:pt idx="26">
                  <c:v>0.001392369813422445</c:v>
                </c:pt>
                <c:pt idx="27">
                  <c:v>0.0006650704974727321</c:v>
                </c:pt>
                <c:pt idx="28">
                  <c:v>0.0006960879855213699</c:v>
                </c:pt>
                <c:pt idx="29">
                  <c:v>0.0011367942402425162</c:v>
                </c:pt>
                <c:pt idx="30">
                  <c:v>0.0007944073721004131</c:v>
                </c:pt>
                <c:pt idx="31">
                  <c:v>0.0009315323707498836</c:v>
                </c:pt>
                <c:pt idx="32">
                  <c:v>0.0006216006216006216</c:v>
                </c:pt>
                <c:pt idx="33">
                  <c:v>0.0016091100383710856</c:v>
                </c:pt>
                <c:pt idx="34">
                  <c:v>0.0015503875968992248</c:v>
                </c:pt>
                <c:pt idx="35">
                  <c:v>0.0015457277801631602</c:v>
                </c:pt>
                <c:pt idx="36">
                  <c:v>0.0009611277231952157</c:v>
                </c:pt>
                <c:pt idx="37">
                  <c:v>0.0007739938080495357</c:v>
                </c:pt>
                <c:pt idx="38">
                  <c:v>0.0006829668078131403</c:v>
                </c:pt>
                <c:pt idx="39">
                  <c:v>0.0008798944126704796</c:v>
                </c:pt>
                <c:pt idx="40">
                  <c:v>0.0004822182037371911</c:v>
                </c:pt>
                <c:pt idx="41">
                  <c:v>0.0005220569042025581</c:v>
                </c:pt>
                <c:pt idx="42">
                  <c:v>0.0003325942350332594</c:v>
                </c:pt>
                <c:pt idx="43">
                  <c:v>0.0006925892945483328</c:v>
                </c:pt>
                <c:pt idx="44">
                  <c:v>0.0005979669124975084</c:v>
                </c:pt>
                <c:pt idx="45">
                  <c:v>0.0004204456724127575</c:v>
                </c:pt>
                <c:pt idx="46">
                  <c:v>0.0008858442095316837</c:v>
                </c:pt>
                <c:pt idx="47">
                  <c:v>0.0010699001426533524</c:v>
                </c:pt>
                <c:pt idx="48">
                  <c:v>0.000531632110579479</c:v>
                </c:pt>
                <c:pt idx="49">
                  <c:v>0.0005390028447372361</c:v>
                </c:pt>
                <c:pt idx="50">
                  <c:v>0.0008016491067338525</c:v>
                </c:pt>
                <c:pt idx="51">
                  <c:v>0.0010760401721664275</c:v>
                </c:pt>
                <c:pt idx="52">
                  <c:v>0.00036480817170304614</c:v>
                </c:pt>
                <c:pt idx="53">
                  <c:v>0.0004734848484848485</c:v>
                </c:pt>
                <c:pt idx="54">
                  <c:v>0.0011134903640256958</c:v>
                </c:pt>
                <c:pt idx="55">
                  <c:v>0.000715307582260372</c:v>
                </c:pt>
                <c:pt idx="56">
                  <c:v>0.0007297938332421091</c:v>
                </c:pt>
                <c:pt idx="57">
                  <c:v>0.00048088482808367395</c:v>
                </c:pt>
                <c:pt idx="58">
                  <c:v>0.0004991799187049847</c:v>
                </c:pt>
                <c:pt idx="59">
                  <c:v>0.0005967408767500573</c:v>
                </c:pt>
                <c:pt idx="60">
                  <c:v>0.0010290082320658564</c:v>
                </c:pt>
                <c:pt idx="61">
                  <c:v>0.0011176306230790724</c:v>
                </c:pt>
                <c:pt idx="62">
                  <c:v>0.0012251565477811054</c:v>
                </c:pt>
                <c:pt idx="63">
                  <c:v>0.0010281221651043241</c:v>
                </c:pt>
                <c:pt idx="64">
                  <c:v>0.0013947811937002382</c:v>
                </c:pt>
                <c:pt idx="65">
                  <c:v>0.0010165830103564394</c:v>
                </c:pt>
                <c:pt idx="66">
                  <c:v>0.0011519956630751508</c:v>
                </c:pt>
                <c:pt idx="67">
                  <c:v>0.0008489564909798373</c:v>
                </c:pt>
                <c:pt idx="68">
                  <c:v>0.0014316392269148174</c:v>
                </c:pt>
                <c:pt idx="69">
                  <c:v>0.0014657796820385612</c:v>
                </c:pt>
                <c:pt idx="70">
                  <c:v>0.0012130569033965593</c:v>
                </c:pt>
                <c:pt idx="71">
                  <c:v>0.0013112409107164144</c:v>
                </c:pt>
                <c:pt idx="72">
                  <c:v>0.001763279700242451</c:v>
                </c:pt>
                <c:pt idx="73">
                  <c:v>0.002972651605231867</c:v>
                </c:pt>
                <c:pt idx="74">
                  <c:v>0.0032265498962894676</c:v>
                </c:pt>
                <c:pt idx="75">
                  <c:v>0.003306003702724147</c:v>
                </c:pt>
                <c:pt idx="76">
                  <c:v>0.004521167283189478</c:v>
                </c:pt>
                <c:pt idx="77">
                  <c:v>0.0043846828412744815</c:v>
                </c:pt>
                <c:pt idx="78">
                  <c:v>0.006234203875315923</c:v>
                </c:pt>
                <c:pt idx="79">
                  <c:v>0.004583651642475172</c:v>
                </c:pt>
                <c:pt idx="80">
                  <c:v>0.004645401052957572</c:v>
                </c:pt>
                <c:pt idx="81">
                  <c:v>0.005054240631163708</c:v>
                </c:pt>
                <c:pt idx="82">
                  <c:v>0.005147402901263453</c:v>
                </c:pt>
                <c:pt idx="83">
                  <c:v>0.00407873736478099</c:v>
                </c:pt>
                <c:pt idx="84">
                  <c:v>0.00448011946985253</c:v>
                </c:pt>
                <c:pt idx="85">
                  <c:v>0.0039049235993208827</c:v>
                </c:pt>
                <c:pt idx="86">
                  <c:v>0.003433897473632573</c:v>
                </c:pt>
                <c:pt idx="87">
                  <c:v>0.0030375352571056628</c:v>
                </c:pt>
                <c:pt idx="88">
                  <c:v>0.004483048472961614</c:v>
                </c:pt>
                <c:pt idx="89">
                  <c:v>0.005447844896651178</c:v>
                </c:pt>
                <c:pt idx="90">
                  <c:v>0.004794973544973545</c:v>
                </c:pt>
                <c:pt idx="91">
                  <c:v>0.005311883442100471</c:v>
                </c:pt>
                <c:pt idx="92">
                  <c:v>0.00437172120909318</c:v>
                </c:pt>
                <c:pt idx="93">
                  <c:v>0.004066985645933014</c:v>
                </c:pt>
                <c:pt idx="94">
                  <c:v>0.0045045045045045045</c:v>
                </c:pt>
                <c:pt idx="95">
                  <c:v>0.0045207122428268295</c:v>
                </c:pt>
                <c:pt idx="96">
                  <c:v>0.005967180507210343</c:v>
                </c:pt>
                <c:pt idx="97">
                  <c:v>0.006957356204642236</c:v>
                </c:pt>
                <c:pt idx="98">
                  <c:v>0.006597059892992572</c:v>
                </c:pt>
                <c:pt idx="99">
                  <c:v>0.00621486999040351</c:v>
                </c:pt>
                <c:pt idx="100">
                  <c:v>0.004655941945220435</c:v>
                </c:pt>
                <c:pt idx="101">
                  <c:v>0.00659063556650811</c:v>
                </c:pt>
                <c:pt idx="102">
                  <c:v>0.005459377918252999</c:v>
                </c:pt>
                <c:pt idx="103">
                  <c:v>0.005118901056178319</c:v>
                </c:pt>
                <c:pt idx="104">
                  <c:v>0.00404982043249025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657001650239654</c:v>
                </c:pt>
                <c:pt idx="1">
                  <c:v>0.42187277424622144</c:v>
                </c:pt>
                <c:pt idx="2">
                  <c:v>0.5057354962588929</c:v>
                </c:pt>
                <c:pt idx="3">
                  <c:v>0.44425561579667316</c:v>
                </c:pt>
                <c:pt idx="4">
                  <c:v>0.5728410675508577</c:v>
                </c:pt>
                <c:pt idx="5">
                  <c:v>0.6246023815687289</c:v>
                </c:pt>
                <c:pt idx="6">
                  <c:v>0.5775151843248224</c:v>
                </c:pt>
                <c:pt idx="7">
                  <c:v>0.5261332638431706</c:v>
                </c:pt>
                <c:pt idx="8">
                  <c:v>0.5682987781042609</c:v>
                </c:pt>
                <c:pt idx="9">
                  <c:v>0.5226273622925985</c:v>
                </c:pt>
                <c:pt idx="10">
                  <c:v>0.5585835353768424</c:v>
                </c:pt>
                <c:pt idx="11">
                  <c:v>0.5429799904394298</c:v>
                </c:pt>
                <c:pt idx="12">
                  <c:v>0.5592400104168229</c:v>
                </c:pt>
                <c:pt idx="13">
                  <c:v>0.42657042997174766</c:v>
                </c:pt>
                <c:pt idx="14">
                  <c:v>0.41656261155865715</c:v>
                </c:pt>
                <c:pt idx="15">
                  <c:v>0.44159167624915496</c:v>
                </c:pt>
                <c:pt idx="16">
                  <c:v>0.5121569845402564</c:v>
                </c:pt>
                <c:pt idx="17">
                  <c:v>0.30743197867773386</c:v>
                </c:pt>
                <c:pt idx="18">
                  <c:v>0.4723109368483486</c:v>
                </c:pt>
                <c:pt idx="19">
                  <c:v>0.5472514744800389</c:v>
                </c:pt>
                <c:pt idx="20">
                  <c:v>0.5086328705254901</c:v>
                </c:pt>
                <c:pt idx="21">
                  <c:v>0.3785020168583426</c:v>
                </c:pt>
                <c:pt idx="22">
                  <c:v>0.4408539219864201</c:v>
                </c:pt>
                <c:pt idx="23">
                  <c:v>0.3671009980974944</c:v>
                </c:pt>
                <c:pt idx="24">
                  <c:v>0.44725366271380096</c:v>
                </c:pt>
                <c:pt idx="25">
                  <c:v>0.43733388410477425</c:v>
                </c:pt>
                <c:pt idx="26">
                  <c:v>0.41954767875465093</c:v>
                </c:pt>
                <c:pt idx="27">
                  <c:v>0.4587856192672714</c:v>
                </c:pt>
                <c:pt idx="28">
                  <c:v>0.47242359412067114</c:v>
                </c:pt>
                <c:pt idx="29">
                  <c:v>0.41616837357289815</c:v>
                </c:pt>
                <c:pt idx="30">
                  <c:v>0.4523758721169227</c:v>
                </c:pt>
                <c:pt idx="31">
                  <c:v>0.4285338724014513</c:v>
                </c:pt>
                <c:pt idx="32">
                  <c:v>0.5046085199825443</c:v>
                </c:pt>
                <c:pt idx="33">
                  <c:v>0.5101439223823234</c:v>
                </c:pt>
                <c:pt idx="34">
                  <c:v>0.46365724388092366</c:v>
                </c:pt>
                <c:pt idx="35">
                  <c:v>0.4645459077607886</c:v>
                </c:pt>
                <c:pt idx="36">
                  <c:v>0.4564228801343627</c:v>
                </c:pt>
                <c:pt idx="37">
                  <c:v>0.46985255594904385</c:v>
                </c:pt>
                <c:pt idx="38">
                  <c:v>0.38060587907987287</c:v>
                </c:pt>
                <c:pt idx="39">
                  <c:v>0.382864239370475</c:v>
                </c:pt>
                <c:pt idx="40">
                  <c:v>0.38116917865763844</c:v>
                </c:pt>
                <c:pt idx="41">
                  <c:v>0.3990430400899833</c:v>
                </c:pt>
                <c:pt idx="42">
                  <c:v>0.38422625338783184</c:v>
                </c:pt>
                <c:pt idx="43">
                  <c:v>0.4624451077107332</c:v>
                </c:pt>
                <c:pt idx="44">
                  <c:v>0.5486004195164795</c:v>
                </c:pt>
                <c:pt idx="45">
                  <c:v>0.5759500726576093</c:v>
                </c:pt>
                <c:pt idx="46">
                  <c:v>0.5522055136945878</c:v>
                </c:pt>
                <c:pt idx="47">
                  <c:v>0.5414670422268495</c:v>
                </c:pt>
                <c:pt idx="48">
                  <c:v>0.5211420420644637</c:v>
                </c:pt>
                <c:pt idx="49">
                  <c:v>0.5122493911387913</c:v>
                </c:pt>
                <c:pt idx="50">
                  <c:v>0.6374272912515775</c:v>
                </c:pt>
                <c:pt idx="51">
                  <c:v>0.6132650607878607</c:v>
                </c:pt>
              </c:numCache>
            </c:numRef>
          </c:xVal>
          <c:yVal>
            <c:numRef>
              <c:f>Sheet1!$B$109:$B$160</c:f>
              <c:numCache>
                <c:formatCode>General</c:formatCode>
                <c:ptCount val="52"/>
                <c:pt idx="0">
                  <c:v>0.003990368077055384</c:v>
                </c:pt>
                <c:pt idx="1">
                  <c:v>0.00472115668338743</c:v>
                </c:pt>
                <c:pt idx="2">
                  <c:v>0.0045263710312254</c:v>
                </c:pt>
                <c:pt idx="3">
                  <c:v>0.004841347726529277</c:v>
                </c:pt>
                <c:pt idx="4">
                  <c:v>0.004864091559370529</c:v>
                </c:pt>
                <c:pt idx="5">
                  <c:v>0.00402757867431224</c:v>
                </c:pt>
                <c:pt idx="6">
                  <c:v>0.004804764160519726</c:v>
                </c:pt>
                <c:pt idx="7">
                  <c:v>0.005543942561119695</c:v>
                </c:pt>
                <c:pt idx="8">
                  <c:v>0.006833473507148864</c:v>
                </c:pt>
                <c:pt idx="9">
                  <c:v>0.006844819503047351</c:v>
                </c:pt>
                <c:pt idx="10">
                  <c:v>0.0064940921800306665</c:v>
                </c:pt>
                <c:pt idx="11">
                  <c:v>0.006501608984041505</c:v>
                </c:pt>
                <c:pt idx="12">
                  <c:v>0.006690488861856611</c:v>
                </c:pt>
                <c:pt idx="13">
                  <c:v>0.009964923469387755</c:v>
                </c:pt>
                <c:pt idx="14">
                  <c:v>0.009934065934065935</c:v>
                </c:pt>
                <c:pt idx="15">
                  <c:v>0.009705993215228043</c:v>
                </c:pt>
                <c:pt idx="16">
                  <c:v>0.009223090277777778</c:v>
                </c:pt>
                <c:pt idx="17">
                  <c:v>0.012101838109373216</c:v>
                </c:pt>
                <c:pt idx="18">
                  <c:v>0.0064856100526955816</c:v>
                </c:pt>
                <c:pt idx="19">
                  <c:v>0.005777442853554383</c:v>
                </c:pt>
                <c:pt idx="20">
                  <c:v>0.006987024098103522</c:v>
                </c:pt>
                <c:pt idx="21">
                  <c:v>0.009249743062692703</c:v>
                </c:pt>
                <c:pt idx="22">
                  <c:v>0.008047945205479452</c:v>
                </c:pt>
                <c:pt idx="23">
                  <c:v>0.007758475290942824</c:v>
                </c:pt>
                <c:pt idx="24">
                  <c:v>0.007328990228013029</c:v>
                </c:pt>
                <c:pt idx="25">
                  <c:v>0.008060536272413226</c:v>
                </c:pt>
                <c:pt idx="26">
                  <c:v>0.008222643896268185</c:v>
                </c:pt>
                <c:pt idx="27">
                  <c:v>0.007835455435847209</c:v>
                </c:pt>
                <c:pt idx="28">
                  <c:v>0.006755861703536892</c:v>
                </c:pt>
                <c:pt idx="29">
                  <c:v>0.008077288565093443</c:v>
                </c:pt>
                <c:pt idx="30">
                  <c:v>0.00747574359790043</c:v>
                </c:pt>
                <c:pt idx="31">
                  <c:v>0.00815418828762046</c:v>
                </c:pt>
                <c:pt idx="32">
                  <c:v>0.006991842850008324</c:v>
                </c:pt>
                <c:pt idx="33">
                  <c:v>0.0066518847006651885</c:v>
                </c:pt>
                <c:pt idx="34">
                  <c:v>0.005906093119401516</c:v>
                </c:pt>
                <c:pt idx="35">
                  <c:v>0.007034944066428324</c:v>
                </c:pt>
                <c:pt idx="36">
                  <c:v>0.008754331570308225</c:v>
                </c:pt>
                <c:pt idx="37">
                  <c:v>0.009024064171122994</c:v>
                </c:pt>
                <c:pt idx="38">
                  <c:v>0.010476190476190476</c:v>
                </c:pt>
                <c:pt idx="39">
                  <c:v>0.009722222222222222</c:v>
                </c:pt>
                <c:pt idx="40">
                  <c:v>0.009455263900649167</c:v>
                </c:pt>
                <c:pt idx="41">
                  <c:v>0.007480975106410422</c:v>
                </c:pt>
                <c:pt idx="42">
                  <c:v>0.008769365682548963</c:v>
                </c:pt>
                <c:pt idx="43">
                  <c:v>0.0063687273525859225</c:v>
                </c:pt>
                <c:pt idx="44">
                  <c:v>0.004836649023544443</c:v>
                </c:pt>
                <c:pt idx="45">
                  <c:v>0.003727266885161622</c:v>
                </c:pt>
                <c:pt idx="46">
                  <c:v>0.004059328649492584</c:v>
                </c:pt>
                <c:pt idx="47">
                  <c:v>0.004209474885844749</c:v>
                </c:pt>
                <c:pt idx="48">
                  <c:v>0.004558910597986974</c:v>
                </c:pt>
                <c:pt idx="49">
                  <c:v>0.004214621494569622</c:v>
                </c:pt>
                <c:pt idx="50">
                  <c:v>0.0034938857000249564</c:v>
                </c:pt>
                <c:pt idx="51">
                  <c:v>0.00401427297056199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2203405999686533</c:v>
                </c:pt>
              </c:numCache>
            </c:numRef>
          </c:xVal>
          <c:yVal>
            <c:numRef>
              <c:f>Sheet1!$B$163:$B$164</c:f>
              <c:numCache>
                <c:formatCode>General</c:formatCode>
                <c:ptCount val="2"/>
                <c:pt idx="0">
                  <c:v>0.008150826200142696</c:v>
                </c:pt>
                <c:pt idx="1">
                  <c:v>0.00815082620014269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2203405999686533</c:v>
                </c:pt>
                <c:pt idx="1">
                  <c:v>0.42203405999686533</c:v>
                </c:pt>
              </c:numCache>
            </c:numRef>
          </c:xVal>
          <c:yVal>
            <c:numRef>
              <c:f>Sheet1!$B$167:$B$168</c:f>
              <c:numCache>
                <c:formatCode>General</c:formatCode>
                <c:ptCount val="2"/>
                <c:pt idx="0">
                  <c:v>0.00815082620014269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2203405999686533</c:v>
                </c:pt>
              </c:numCache>
            </c:numRef>
          </c:xVal>
          <c:yVal>
            <c:numRef>
              <c:f>Sheet1!$B$171:$B$172</c:f>
              <c:numCache>
                <c:formatCode>General</c:formatCode>
                <c:ptCount val="2"/>
                <c:pt idx="0">
                  <c:v>0.008150826200142696</c:v>
                </c:pt>
                <c:pt idx="1">
                  <c:v>0.00815082620014269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2203405999686533</c:v>
                </c:pt>
                <c:pt idx="1">
                  <c:v>0.42203405999686533</c:v>
                </c:pt>
              </c:numCache>
            </c:numRef>
          </c:xVal>
          <c:yVal>
            <c:numRef>
              <c:f>Sheet1!$B$175:$B$176</c:f>
              <c:numCache>
                <c:formatCode>General</c:formatCode>
                <c:ptCount val="2"/>
                <c:pt idx="0">
                  <c:v>0.00815082620014269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322578027138137</c:v>
                </c:pt>
              </c:numCache>
            </c:numRef>
          </c:xVal>
          <c:yVal>
            <c:numRef>
              <c:f>Sheet1!$B$179:$B$180</c:f>
              <c:numCache>
                <c:formatCode>General</c:formatCode>
                <c:ptCount val="2"/>
                <c:pt idx="0">
                  <c:v>0.00576238188243105</c:v>
                </c:pt>
                <c:pt idx="1">
                  <c:v>0.005762381882431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322578027138137</c:v>
                </c:pt>
                <c:pt idx="1">
                  <c:v>0.5322578027138137</c:v>
                </c:pt>
              </c:numCache>
            </c:numRef>
          </c:xVal>
          <c:yVal>
            <c:numRef>
              <c:f>Sheet1!$B$183:$B$184</c:f>
              <c:numCache>
                <c:formatCode>General</c:formatCode>
                <c:ptCount val="2"/>
                <c:pt idx="0">
                  <c:v>0.005762381882431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657001650239654</c:v>
                </c:pt>
                <c:pt idx="1">
                  <c:v>0.42187277424622144</c:v>
                </c:pt>
                <c:pt idx="2">
                  <c:v>0.5057354962588929</c:v>
                </c:pt>
                <c:pt idx="3">
                  <c:v>0.44425561579667316</c:v>
                </c:pt>
                <c:pt idx="4">
                  <c:v>0.5728410675508577</c:v>
                </c:pt>
                <c:pt idx="5">
                  <c:v>0.6246023815687289</c:v>
                </c:pt>
                <c:pt idx="6">
                  <c:v>0.5775151843248224</c:v>
                </c:pt>
                <c:pt idx="7">
                  <c:v>0.5261332638431706</c:v>
                </c:pt>
                <c:pt idx="8">
                  <c:v>0.5682987781042609</c:v>
                </c:pt>
                <c:pt idx="9">
                  <c:v>0.5226273622925985</c:v>
                </c:pt>
                <c:pt idx="10">
                  <c:v>0.5585835353768424</c:v>
                </c:pt>
                <c:pt idx="11">
                  <c:v>0.5429799904394298</c:v>
                </c:pt>
                <c:pt idx="12">
                  <c:v>0.5592400104168229</c:v>
                </c:pt>
                <c:pt idx="13">
                  <c:v>0.42657042997174766</c:v>
                </c:pt>
                <c:pt idx="14">
                  <c:v>0.41656261155865715</c:v>
                </c:pt>
                <c:pt idx="15">
                  <c:v>0.44159167624915496</c:v>
                </c:pt>
                <c:pt idx="16">
                  <c:v>0.5121569845402564</c:v>
                </c:pt>
                <c:pt idx="17">
                  <c:v>0.30743197867773386</c:v>
                </c:pt>
                <c:pt idx="18">
                  <c:v>0.4723109368483486</c:v>
                </c:pt>
                <c:pt idx="19">
                  <c:v>0.5472514744800389</c:v>
                </c:pt>
                <c:pt idx="20">
                  <c:v>0.5086328705254901</c:v>
                </c:pt>
                <c:pt idx="21">
                  <c:v>0.3785020168583426</c:v>
                </c:pt>
                <c:pt idx="22">
                  <c:v>0.4408539219864201</c:v>
                </c:pt>
                <c:pt idx="23">
                  <c:v>0.3671009980974944</c:v>
                </c:pt>
                <c:pt idx="24">
                  <c:v>0.44725366271380096</c:v>
                </c:pt>
                <c:pt idx="25">
                  <c:v>0.43733388410477425</c:v>
                </c:pt>
                <c:pt idx="26">
                  <c:v>0.41954767875465093</c:v>
                </c:pt>
                <c:pt idx="27">
                  <c:v>0.4587856192672714</c:v>
                </c:pt>
                <c:pt idx="28">
                  <c:v>0.47242359412067114</c:v>
                </c:pt>
                <c:pt idx="29">
                  <c:v>0.41616837357289815</c:v>
                </c:pt>
                <c:pt idx="30">
                  <c:v>0.4523758721169227</c:v>
                </c:pt>
                <c:pt idx="31">
                  <c:v>0.4285338724014513</c:v>
                </c:pt>
                <c:pt idx="32">
                  <c:v>0.5046085199825443</c:v>
                </c:pt>
                <c:pt idx="33">
                  <c:v>0.5101439223823234</c:v>
                </c:pt>
                <c:pt idx="34">
                  <c:v>0.46365724388092366</c:v>
                </c:pt>
                <c:pt idx="35">
                  <c:v>0.4645459077607886</c:v>
                </c:pt>
                <c:pt idx="36">
                  <c:v>0.4564228801343627</c:v>
                </c:pt>
                <c:pt idx="37">
                  <c:v>0.46985255594904385</c:v>
                </c:pt>
                <c:pt idx="38">
                  <c:v>0.38060587907987287</c:v>
                </c:pt>
                <c:pt idx="39">
                  <c:v>0.382864239370475</c:v>
                </c:pt>
                <c:pt idx="40">
                  <c:v>0.38116917865763844</c:v>
                </c:pt>
                <c:pt idx="41">
                  <c:v>0.3990430400899833</c:v>
                </c:pt>
                <c:pt idx="42">
                  <c:v>0.38422625338783184</c:v>
                </c:pt>
                <c:pt idx="43">
                  <c:v>0.4624451077107332</c:v>
                </c:pt>
                <c:pt idx="44">
                  <c:v>0.5486004195164795</c:v>
                </c:pt>
                <c:pt idx="45">
                  <c:v>0.5759500726576093</c:v>
                </c:pt>
                <c:pt idx="46">
                  <c:v>0.5522055136945878</c:v>
                </c:pt>
                <c:pt idx="47">
                  <c:v>0.5414670422268495</c:v>
                </c:pt>
                <c:pt idx="48">
                  <c:v>0.5211420420644637</c:v>
                </c:pt>
                <c:pt idx="49">
                  <c:v>0.5122493911387913</c:v>
                </c:pt>
                <c:pt idx="50">
                  <c:v>0.6374272912515775</c:v>
                </c:pt>
                <c:pt idx="51">
                  <c:v>0.6132650607878607</c:v>
                </c:pt>
                <c:pt idx="52">
                  <c:v>0.42203405999686533</c:v>
                </c:pt>
                <c:pt idx="53">
                  <c:v>0.42203405999686533</c:v>
                </c:pt>
                <c:pt idx="54">
                  <c:v>0.5322578027138137</c:v>
                </c:pt>
              </c:numCache>
            </c:numRef>
          </c:xVal>
          <c:yVal>
            <c:numRef>
              <c:f>Sheet1!$B$187:$B$241</c:f>
              <c:numCache>
                <c:formatCode>General</c:formatCode>
                <c:ptCount val="55"/>
                <c:pt idx="0">
                  <c:v>0.007204622978787734</c:v>
                </c:pt>
                <c:pt idx="1">
                  <c:v>0.008154321109906762</c:v>
                </c:pt>
                <c:pt idx="2">
                  <c:v>0.006337095193587031</c:v>
                </c:pt>
                <c:pt idx="3">
                  <c:v>0.007669306090477591</c:v>
                </c:pt>
                <c:pt idx="4">
                  <c:v>0.0048829808939966374</c:v>
                </c:pt>
                <c:pt idx="5">
                  <c:v>0.0037613621456590064</c:v>
                </c:pt>
                <c:pt idx="6">
                  <c:v>0.004781697201627697</c:v>
                </c:pt>
                <c:pt idx="7">
                  <c:v>0.005895094850650212</c:v>
                </c:pt>
                <c:pt idx="8">
                  <c:v>0.004981408012788872</c:v>
                </c:pt>
                <c:pt idx="9">
                  <c:v>0.0059710644233621785</c:v>
                </c:pt>
                <c:pt idx="10">
                  <c:v>0.005191928139537609</c:v>
                </c:pt>
                <c:pt idx="11">
                  <c:v>0.005530042209367602</c:v>
                </c:pt>
                <c:pt idx="12">
                  <c:v>0.005177702945942183</c:v>
                </c:pt>
                <c:pt idx="13">
                  <c:v>0.008052527350707243</c:v>
                </c:pt>
                <c:pt idx="14">
                  <c:v>0.008269387316012709</c:v>
                </c:pt>
                <c:pt idx="15">
                  <c:v>0.007727031142432471</c:v>
                </c:pt>
                <c:pt idx="16">
                  <c:v>0.006197947612323524</c:v>
                </c:pt>
                <c:pt idx="17">
                  <c:v>0.010634144976819651</c:v>
                </c:pt>
                <c:pt idx="18">
                  <c:v>0.007061373802063774</c:v>
                </c:pt>
                <c:pt idx="19">
                  <c:v>0.005437483187749295</c:v>
                </c:pt>
                <c:pt idx="20">
                  <c:v>0.006274311831919581</c:v>
                </c:pt>
                <c:pt idx="21">
                  <c:v>0.00909412442709172</c:v>
                </c:pt>
                <c:pt idx="22">
                  <c:v>0.007743017579957294</c:v>
                </c:pt>
                <c:pt idx="23">
                  <c:v>0.009341173727036103</c:v>
                </c:pt>
                <c:pt idx="24">
                  <c:v>0.007604341247632113</c:v>
                </c:pt>
                <c:pt idx="25">
                  <c:v>0.007819293473601522</c:v>
                </c:pt>
                <c:pt idx="26">
                  <c:v>0.008204703731455364</c:v>
                </c:pt>
                <c:pt idx="27">
                  <c:v>0.007354454649488147</c:v>
                </c:pt>
                <c:pt idx="28">
                  <c:v>0.007058932625459759</c:v>
                </c:pt>
                <c:pt idx="29">
                  <c:v>0.008277930080517904</c:v>
                </c:pt>
                <c:pt idx="30">
                  <c:v>0.007493347811540653</c:v>
                </c:pt>
                <c:pt idx="31">
                  <c:v>0.008009981409163393</c:v>
                </c:pt>
                <c:pt idx="32">
                  <c:v>0.006361515704241918</c:v>
                </c:pt>
                <c:pt idx="33">
                  <c:v>0.006241568766475967</c:v>
                </c:pt>
                <c:pt idx="34">
                  <c:v>0.0072488911489238285</c:v>
                </c:pt>
                <c:pt idx="35">
                  <c:v>0.0072296346426403355</c:v>
                </c:pt>
                <c:pt idx="36">
                  <c:v>0.007405652973162589</c:v>
                </c:pt>
                <c:pt idx="37">
                  <c:v>0.0071146445924123985</c:v>
                </c:pt>
                <c:pt idx="38">
                  <c:v>0.009048535721388213</c:v>
                </c:pt>
                <c:pt idx="39">
                  <c:v>0.008999599188564375</c:v>
                </c:pt>
                <c:pt idx="40">
                  <c:v>0.009036329551986593</c:v>
                </c:pt>
                <c:pt idx="41">
                  <c:v>0.00864901986968631</c:v>
                </c:pt>
                <c:pt idx="42">
                  <c:v>0.008970085632226938</c:v>
                </c:pt>
                <c:pt idx="43">
                  <c:v>0.007275156993982445</c:v>
                </c:pt>
                <c:pt idx="44">
                  <c:v>0.005408252823875099</c:v>
                </c:pt>
                <c:pt idx="45">
                  <c:v>0.004815611692063199</c:v>
                </c:pt>
                <c:pt idx="46">
                  <c:v>0.005330133840684429</c:v>
                </c:pt>
                <c:pt idx="47">
                  <c:v>0.005562826367047758</c:v>
                </c:pt>
                <c:pt idx="48">
                  <c:v>0.006003249908734246</c:v>
                </c:pt>
                <c:pt idx="49">
                  <c:v>0.006195945248678909</c:v>
                </c:pt>
                <c:pt idx="50">
                  <c:v>0.00348345847534157</c:v>
                </c:pt>
                <c:pt idx="51">
                  <c:v>0.004007031170586565</c:v>
                </c:pt>
                <c:pt idx="52">
                  <c:v>0.008150826200142696</c:v>
                </c:pt>
                <c:pt idx="53">
                  <c:v>0.008150826200142696</c:v>
                </c:pt>
                <c:pt idx="54">
                  <c:v>0.00576238188243104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4522205731247857"/>
          <c:min val="0.0001178897730621868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34.3125</c:v>
                </c:pt>
                <c:pt idx="1">
                  <c:v>3740.2</c:v>
                </c:pt>
                <c:pt idx="2">
                  <c:v>3175.8333</c:v>
                </c:pt>
                <c:pt idx="3">
                  <c:v>3027.4</c:v>
                </c:pt>
                <c:pt idx="4">
                  <c:v>3982.3333</c:v>
                </c:pt>
                <c:pt idx="5">
                  <c:v>3848.6667</c:v>
                </c:pt>
                <c:pt idx="6">
                  <c:v>3216.6364</c:v>
                </c:pt>
                <c:pt idx="7">
                  <c:v>3208.875</c:v>
                </c:pt>
                <c:pt idx="8">
                  <c:v>3023.0</c:v>
                </c:pt>
                <c:pt idx="9">
                  <c:v>3233.3333</c:v>
                </c:pt>
                <c:pt idx="10">
                  <c:v>3528.3333</c:v>
                </c:pt>
                <c:pt idx="11">
                  <c:v>3129.7</c:v>
                </c:pt>
                <c:pt idx="12">
                  <c:v>3208.4545</c:v>
                </c:pt>
                <c:pt idx="13">
                  <c:v>3153.0</c:v>
                </c:pt>
                <c:pt idx="14">
                  <c:v>3951.0</c:v>
                </c:pt>
                <c:pt idx="15">
                  <c:v>3128.3333</c:v>
                </c:pt>
                <c:pt idx="16">
                  <c:v>4342.0</c:v>
                </c:pt>
                <c:pt idx="17">
                  <c:v>3291.5</c:v>
                </c:pt>
                <c:pt idx="18">
                  <c:v>4434.0</c:v>
                </c:pt>
                <c:pt idx="19">
                  <c:v>3808.0</c:v>
                </c:pt>
                <c:pt idx="20">
                  <c:v>3044.2</c:v>
                </c:pt>
                <c:pt idx="21">
                  <c:v>6720.0</c:v>
                </c:pt>
                <c:pt idx="22">
                  <c:v>3122.1429</c:v>
                </c:pt>
                <c:pt idx="23">
                  <c:v>3924.6</c:v>
                </c:pt>
                <c:pt idx="24">
                  <c:v>2808.3333</c:v>
                </c:pt>
                <c:pt idx="25">
                  <c:v>2765.0</c:v>
                </c:pt>
                <c:pt idx="26">
                  <c:v>3202.0</c:v>
                </c:pt>
                <c:pt idx="27">
                  <c:v>3106.4</c:v>
                </c:pt>
                <c:pt idx="28">
                  <c:v>3346.6</c:v>
                </c:pt>
                <c:pt idx="29">
                  <c:v>3119.6667</c:v>
                </c:pt>
                <c:pt idx="30">
                  <c:v>3099.8</c:v>
                </c:pt>
                <c:pt idx="31">
                  <c:v>3342.0</c:v>
                </c:pt>
                <c:pt idx="32">
                  <c:v>4329.0</c:v>
                </c:pt>
                <c:pt idx="33">
                  <c:v>2663.4615</c:v>
                </c:pt>
                <c:pt idx="34">
                  <c:v>3005.3571</c:v>
                </c:pt>
                <c:pt idx="35">
                  <c:v>2884.4444</c:v>
                </c:pt>
                <c:pt idx="36">
                  <c:v>2882.1111</c:v>
                </c:pt>
                <c:pt idx="37">
                  <c:v>3050.0</c:v>
                </c:pt>
                <c:pt idx="38">
                  <c:v>3066.2</c:v>
                </c:pt>
                <c:pt idx="39">
                  <c:v>3735.1667</c:v>
                </c:pt>
                <c:pt idx="40">
                  <c:v>4272.75</c:v>
                </c:pt>
                <c:pt idx="41">
                  <c:v>4003.25</c:v>
                </c:pt>
                <c:pt idx="42">
                  <c:v>3549.6667</c:v>
                </c:pt>
                <c:pt idx="43">
                  <c:v>3104.1429</c:v>
                </c:pt>
                <c:pt idx="44">
                  <c:v>3004.2222</c:v>
                </c:pt>
                <c:pt idx="45">
                  <c:v>3138.1429</c:v>
                </c:pt>
                <c:pt idx="46">
                  <c:v>2995.8667</c:v>
                </c:pt>
                <c:pt idx="47">
                  <c:v>2660.1667</c:v>
                </c:pt>
                <c:pt idx="48">
                  <c:v>3669.0</c:v>
                </c:pt>
                <c:pt idx="49">
                  <c:v>3025.0556</c:v>
                </c:pt>
                <c:pt idx="50">
                  <c:v>3099.3571</c:v>
                </c:pt>
                <c:pt idx="51">
                  <c:v>2739.4667</c:v>
                </c:pt>
                <c:pt idx="52">
                  <c:v>3202.5</c:v>
                </c:pt>
                <c:pt idx="53">
                  <c:v>3334.5</c:v>
                </c:pt>
                <c:pt idx="54">
                  <c:v>2909.6923</c:v>
                </c:pt>
                <c:pt idx="55">
                  <c:v>3116.0</c:v>
                </c:pt>
                <c:pt idx="56">
                  <c:v>2599.75</c:v>
                </c:pt>
                <c:pt idx="57">
                  <c:v>2696.8333</c:v>
                </c:pt>
                <c:pt idx="58">
                  <c:v>2451.5714</c:v>
                </c:pt>
                <c:pt idx="59">
                  <c:v>2641.6154</c:v>
                </c:pt>
                <c:pt idx="60">
                  <c:v>2559.1905</c:v>
                </c:pt>
                <c:pt idx="61">
                  <c:v>2616.8125</c:v>
                </c:pt>
                <c:pt idx="62">
                  <c:v>2355.3889</c:v>
                </c:pt>
                <c:pt idx="63">
                  <c:v>2616.8235</c:v>
                </c:pt>
                <c:pt idx="64">
                  <c:v>2307.1667</c:v>
                </c:pt>
                <c:pt idx="65">
                  <c:v>2335.0625</c:v>
                </c:pt>
                <c:pt idx="66">
                  <c:v>2205.0588</c:v>
                </c:pt>
                <c:pt idx="67">
                  <c:v>2366.9167</c:v>
                </c:pt>
                <c:pt idx="68">
                  <c:v>1907.25</c:v>
                </c:pt>
                <c:pt idx="69">
                  <c:v>1806.8462</c:v>
                </c:pt>
                <c:pt idx="70">
                  <c:v>2093.8182</c:v>
                </c:pt>
                <c:pt idx="71">
                  <c:v>1689.1818</c:v>
                </c:pt>
                <c:pt idx="72">
                  <c:v>2030.4375</c:v>
                </c:pt>
                <c:pt idx="73">
                  <c:v>1540.12</c:v>
                </c:pt>
                <c:pt idx="74">
                  <c:v>1899.0714</c:v>
                </c:pt>
                <c:pt idx="75">
                  <c:v>2853.48</c:v>
                </c:pt>
                <c:pt idx="76">
                  <c:v>2875.1212</c:v>
                </c:pt>
                <c:pt idx="77">
                  <c:v>3425.6333</c:v>
                </c:pt>
                <c:pt idx="78">
                  <c:v>2855.7568</c:v>
                </c:pt>
                <c:pt idx="79">
                  <c:v>3978.3</c:v>
                </c:pt>
                <c:pt idx="80">
                  <c:v>3440.1333</c:v>
                </c:pt>
                <c:pt idx="81">
                  <c:v>3386.2927</c:v>
                </c:pt>
                <c:pt idx="82">
                  <c:v>3334.303</c:v>
                </c:pt>
                <c:pt idx="83">
                  <c:v>3918.6087</c:v>
                </c:pt>
                <c:pt idx="84">
                  <c:v>3499.875</c:v>
                </c:pt>
                <c:pt idx="85">
                  <c:v>3327.3478</c:v>
                </c:pt>
                <c:pt idx="86">
                  <c:v>4500.5714</c:v>
                </c:pt>
                <c:pt idx="87">
                  <c:v>4381.2143</c:v>
                </c:pt>
                <c:pt idx="88">
                  <c:v>3936.9063</c:v>
                </c:pt>
                <c:pt idx="89">
                  <c:v>3929.9118</c:v>
                </c:pt>
                <c:pt idx="90">
                  <c:v>4465.6207</c:v>
                </c:pt>
                <c:pt idx="91">
                  <c:v>3604.8857</c:v>
                </c:pt>
                <c:pt idx="92">
                  <c:v>4148.6286</c:v>
                </c:pt>
                <c:pt idx="93">
                  <c:v>4459.8824</c:v>
                </c:pt>
                <c:pt idx="94">
                  <c:v>4274.8824</c:v>
                </c:pt>
                <c:pt idx="95">
                  <c:v>4202.5714</c:v>
                </c:pt>
                <c:pt idx="96">
                  <c:v>3518.4405</c:v>
                </c:pt>
                <c:pt idx="97">
                  <c:v>3508.6293</c:v>
                </c:pt>
                <c:pt idx="98">
                  <c:v>3336.811</c:v>
                </c:pt>
                <c:pt idx="99">
                  <c:v>3491.1985</c:v>
                </c:pt>
                <c:pt idx="100">
                  <c:v>3901.069</c:v>
                </c:pt>
                <c:pt idx="101">
                  <c:v>3699.9652</c:v>
                </c:pt>
                <c:pt idx="102">
                  <c:v>3851.6974</c:v>
                </c:pt>
                <c:pt idx="103">
                  <c:v>3939.1392</c:v>
                </c:pt>
                <c:pt idx="104">
                  <c:v>4226.3208</c:v>
                </c:pt>
              </c:numCache>
            </c:numRef>
          </c:xVal>
          <c:yVal>
            <c:numRef>
              <c:f>Sheet1!$B$2:$B$106</c:f>
              <c:numCache>
                <c:formatCode>General</c:formatCode>
                <c:ptCount val="105"/>
                <c:pt idx="0">
                  <c:v>0.0010362023185026877</c:v>
                </c:pt>
                <c:pt idx="1">
                  <c:v>0.000357347055460263</c:v>
                </c:pt>
                <c:pt idx="2">
                  <c:v>0.00044375416019525185</c:v>
                </c:pt>
                <c:pt idx="3">
                  <c:v>0.00039295818924866394</c:v>
                </c:pt>
                <c:pt idx="4">
                  <c:v>0.0002694207453973956</c:v>
                </c:pt>
                <c:pt idx="5">
                  <c:v>0.0005267778753292362</c:v>
                </c:pt>
                <c:pt idx="6">
                  <c:v>0.0009097675957323629</c:v>
                </c:pt>
                <c:pt idx="7">
                  <c:v>0.0007708614376565812</c:v>
                </c:pt>
                <c:pt idx="8">
                  <c:v>0.0006978367062107466</c:v>
                </c:pt>
                <c:pt idx="9">
                  <c:v>0.0006936416184971098</c:v>
                </c:pt>
                <c:pt idx="10">
                  <c:v>0.0004585052728106373</c:v>
                </c:pt>
                <c:pt idx="11">
                  <c:v>0.000777302759424796</c:v>
                </c:pt>
                <c:pt idx="12">
                  <c:v>0.0007654303806276529</c:v>
                </c:pt>
                <c:pt idx="13">
                  <c:v>0.0007547739452034116</c:v>
                </c:pt>
                <c:pt idx="14">
                  <c:v>0.00022914757103574703</c:v>
                </c:pt>
                <c:pt idx="15">
                  <c:v>0.0005456033463671911</c:v>
                </c:pt>
                <c:pt idx="16">
                  <c:v>0.0002097095522701059</c:v>
                </c:pt>
                <c:pt idx="17">
                  <c:v>0.0004609356994699239</c:v>
                </c:pt>
                <c:pt idx="18">
                  <c:v>0.00026441036488630354</c:v>
                </c:pt>
                <c:pt idx="19">
                  <c:v>0.00045454545454545455</c:v>
                </c:pt>
                <c:pt idx="20">
                  <c:v>0.0006240639041437844</c:v>
                </c:pt>
                <c:pt idx="21">
                  <c:v>0.00014736221632773356</c:v>
                </c:pt>
                <c:pt idx="22">
                  <c:v>0.0010554885404101327</c:v>
                </c:pt>
                <c:pt idx="23">
                  <c:v>0.0008086689309396733</c:v>
                </c:pt>
                <c:pt idx="24">
                  <c:v>0.0013370970138166691</c:v>
                </c:pt>
                <c:pt idx="25">
                  <c:v>0.0016837851490149856</c:v>
                </c:pt>
                <c:pt idx="26">
                  <c:v>0.001392369813422445</c:v>
                </c:pt>
                <c:pt idx="27">
                  <c:v>0.0006650704974727321</c:v>
                </c:pt>
                <c:pt idx="28">
                  <c:v>0.0006960879855213699</c:v>
                </c:pt>
                <c:pt idx="29">
                  <c:v>0.0011367942402425162</c:v>
                </c:pt>
                <c:pt idx="30">
                  <c:v>0.0007944073721004131</c:v>
                </c:pt>
                <c:pt idx="31">
                  <c:v>0.0009315323707498836</c:v>
                </c:pt>
                <c:pt idx="32">
                  <c:v>0.0006216006216006216</c:v>
                </c:pt>
                <c:pt idx="33">
                  <c:v>0.0016091100383710856</c:v>
                </c:pt>
                <c:pt idx="34">
                  <c:v>0.0015503875968992248</c:v>
                </c:pt>
                <c:pt idx="35">
                  <c:v>0.0015457277801631602</c:v>
                </c:pt>
                <c:pt idx="36">
                  <c:v>0.0009611277231952157</c:v>
                </c:pt>
                <c:pt idx="37">
                  <c:v>0.0007739938080495357</c:v>
                </c:pt>
                <c:pt idx="38">
                  <c:v>0.0006829668078131403</c:v>
                </c:pt>
                <c:pt idx="39">
                  <c:v>0.0008798944126704796</c:v>
                </c:pt>
                <c:pt idx="40">
                  <c:v>0.0004822182037371911</c:v>
                </c:pt>
                <c:pt idx="41">
                  <c:v>0.0005220569042025581</c:v>
                </c:pt>
                <c:pt idx="42">
                  <c:v>0.0003325942350332594</c:v>
                </c:pt>
                <c:pt idx="43">
                  <c:v>0.0006925892945483328</c:v>
                </c:pt>
                <c:pt idx="44">
                  <c:v>0.0005979669124975084</c:v>
                </c:pt>
                <c:pt idx="45">
                  <c:v>0.0004204456724127575</c:v>
                </c:pt>
                <c:pt idx="46">
                  <c:v>0.0008858442095316837</c:v>
                </c:pt>
                <c:pt idx="47">
                  <c:v>0.0010699001426533524</c:v>
                </c:pt>
                <c:pt idx="48">
                  <c:v>0.000531632110579479</c:v>
                </c:pt>
                <c:pt idx="49">
                  <c:v>0.0005390028447372361</c:v>
                </c:pt>
                <c:pt idx="50">
                  <c:v>0.0008016491067338525</c:v>
                </c:pt>
                <c:pt idx="51">
                  <c:v>0.0010760401721664275</c:v>
                </c:pt>
                <c:pt idx="52">
                  <c:v>0.00036480817170304614</c:v>
                </c:pt>
                <c:pt idx="53">
                  <c:v>0.0004734848484848485</c:v>
                </c:pt>
                <c:pt idx="54">
                  <c:v>0.0011134903640256958</c:v>
                </c:pt>
                <c:pt idx="55">
                  <c:v>0.000715307582260372</c:v>
                </c:pt>
                <c:pt idx="56">
                  <c:v>0.0007297938332421091</c:v>
                </c:pt>
                <c:pt idx="57">
                  <c:v>0.00048088482808367395</c:v>
                </c:pt>
                <c:pt idx="58">
                  <c:v>0.0004991799187049847</c:v>
                </c:pt>
                <c:pt idx="59">
                  <c:v>0.0005967408767500573</c:v>
                </c:pt>
                <c:pt idx="60">
                  <c:v>0.0010290082320658564</c:v>
                </c:pt>
                <c:pt idx="61">
                  <c:v>0.0011176306230790724</c:v>
                </c:pt>
                <c:pt idx="62">
                  <c:v>0.0012251565477811054</c:v>
                </c:pt>
                <c:pt idx="63">
                  <c:v>0.0010281221651043241</c:v>
                </c:pt>
                <c:pt idx="64">
                  <c:v>0.0013947811937002382</c:v>
                </c:pt>
                <c:pt idx="65">
                  <c:v>0.0010165830103564394</c:v>
                </c:pt>
                <c:pt idx="66">
                  <c:v>0.0011519956630751508</c:v>
                </c:pt>
                <c:pt idx="67">
                  <c:v>0.0008489564909798373</c:v>
                </c:pt>
                <c:pt idx="68">
                  <c:v>0.0014316392269148174</c:v>
                </c:pt>
                <c:pt idx="69">
                  <c:v>0.0014657796820385612</c:v>
                </c:pt>
                <c:pt idx="70">
                  <c:v>0.0012130569033965593</c:v>
                </c:pt>
                <c:pt idx="71">
                  <c:v>0.0013112409107164144</c:v>
                </c:pt>
                <c:pt idx="72">
                  <c:v>0.001763279700242451</c:v>
                </c:pt>
                <c:pt idx="73">
                  <c:v>0.002972651605231867</c:v>
                </c:pt>
                <c:pt idx="74">
                  <c:v>0.0032265498962894676</c:v>
                </c:pt>
                <c:pt idx="75">
                  <c:v>0.003306003702724147</c:v>
                </c:pt>
                <c:pt idx="76">
                  <c:v>0.004521167283189478</c:v>
                </c:pt>
                <c:pt idx="77">
                  <c:v>0.0043846828412744815</c:v>
                </c:pt>
                <c:pt idx="78">
                  <c:v>0.006234203875315923</c:v>
                </c:pt>
                <c:pt idx="79">
                  <c:v>0.004583651642475172</c:v>
                </c:pt>
                <c:pt idx="80">
                  <c:v>0.004645401052957572</c:v>
                </c:pt>
                <c:pt idx="81">
                  <c:v>0.005054240631163708</c:v>
                </c:pt>
                <c:pt idx="82">
                  <c:v>0.005147402901263453</c:v>
                </c:pt>
                <c:pt idx="83">
                  <c:v>0.00407873736478099</c:v>
                </c:pt>
                <c:pt idx="84">
                  <c:v>0.00448011946985253</c:v>
                </c:pt>
                <c:pt idx="85">
                  <c:v>0.0039049235993208827</c:v>
                </c:pt>
                <c:pt idx="86">
                  <c:v>0.003433897473632573</c:v>
                </c:pt>
                <c:pt idx="87">
                  <c:v>0.0030375352571056628</c:v>
                </c:pt>
                <c:pt idx="88">
                  <c:v>0.004483048472961614</c:v>
                </c:pt>
                <c:pt idx="89">
                  <c:v>0.005447844896651178</c:v>
                </c:pt>
                <c:pt idx="90">
                  <c:v>0.004794973544973545</c:v>
                </c:pt>
                <c:pt idx="91">
                  <c:v>0.005311883442100471</c:v>
                </c:pt>
                <c:pt idx="92">
                  <c:v>0.00437172120909318</c:v>
                </c:pt>
                <c:pt idx="93">
                  <c:v>0.004066985645933014</c:v>
                </c:pt>
                <c:pt idx="94">
                  <c:v>0.0045045045045045045</c:v>
                </c:pt>
                <c:pt idx="95">
                  <c:v>0.0045207122428268295</c:v>
                </c:pt>
                <c:pt idx="96">
                  <c:v>0.005967180507210343</c:v>
                </c:pt>
                <c:pt idx="97">
                  <c:v>0.006957356204642236</c:v>
                </c:pt>
                <c:pt idx="98">
                  <c:v>0.006597059892992572</c:v>
                </c:pt>
                <c:pt idx="99">
                  <c:v>0.00621486999040351</c:v>
                </c:pt>
                <c:pt idx="100">
                  <c:v>0.004655941945220435</c:v>
                </c:pt>
                <c:pt idx="101">
                  <c:v>0.00659063556650811</c:v>
                </c:pt>
                <c:pt idx="102">
                  <c:v>0.005459377918252999</c:v>
                </c:pt>
                <c:pt idx="103">
                  <c:v>0.005118901056178319</c:v>
                </c:pt>
                <c:pt idx="104">
                  <c:v>0.00404982043249025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109:$B$160</c:f>
              <c:numCache>
                <c:formatCode>General</c:formatCode>
                <c:ptCount val="52"/>
                <c:pt idx="0">
                  <c:v>0.003990368077055384</c:v>
                </c:pt>
                <c:pt idx="1">
                  <c:v>0.00472115668338743</c:v>
                </c:pt>
                <c:pt idx="2">
                  <c:v>0.0045263710312254</c:v>
                </c:pt>
                <c:pt idx="3">
                  <c:v>0.004841347726529277</c:v>
                </c:pt>
                <c:pt idx="4">
                  <c:v>0.004864091559370529</c:v>
                </c:pt>
                <c:pt idx="5">
                  <c:v>0.00402757867431224</c:v>
                </c:pt>
                <c:pt idx="6">
                  <c:v>0.004804764160519726</c:v>
                </c:pt>
                <c:pt idx="7">
                  <c:v>0.005543942561119695</c:v>
                </c:pt>
                <c:pt idx="8">
                  <c:v>0.006833473507148864</c:v>
                </c:pt>
                <c:pt idx="9">
                  <c:v>0.006844819503047351</c:v>
                </c:pt>
                <c:pt idx="10">
                  <c:v>0.0064940921800306665</c:v>
                </c:pt>
                <c:pt idx="11">
                  <c:v>0.006501608984041505</c:v>
                </c:pt>
                <c:pt idx="12">
                  <c:v>0.006690488861856611</c:v>
                </c:pt>
                <c:pt idx="13">
                  <c:v>0.009964923469387755</c:v>
                </c:pt>
                <c:pt idx="14">
                  <c:v>0.009934065934065935</c:v>
                </c:pt>
                <c:pt idx="15">
                  <c:v>0.009705993215228043</c:v>
                </c:pt>
                <c:pt idx="16">
                  <c:v>0.009223090277777778</c:v>
                </c:pt>
                <c:pt idx="17">
                  <c:v>0.012101838109373216</c:v>
                </c:pt>
                <c:pt idx="18">
                  <c:v>0.0064856100526955816</c:v>
                </c:pt>
                <c:pt idx="19">
                  <c:v>0.005777442853554383</c:v>
                </c:pt>
                <c:pt idx="20">
                  <c:v>0.006987024098103522</c:v>
                </c:pt>
                <c:pt idx="21">
                  <c:v>0.009249743062692703</c:v>
                </c:pt>
                <c:pt idx="22">
                  <c:v>0.008047945205479452</c:v>
                </c:pt>
                <c:pt idx="23">
                  <c:v>0.007758475290942824</c:v>
                </c:pt>
                <c:pt idx="24">
                  <c:v>0.007328990228013029</c:v>
                </c:pt>
                <c:pt idx="25">
                  <c:v>0.008060536272413226</c:v>
                </c:pt>
                <c:pt idx="26">
                  <c:v>0.008222643896268185</c:v>
                </c:pt>
                <c:pt idx="27">
                  <c:v>0.007835455435847209</c:v>
                </c:pt>
                <c:pt idx="28">
                  <c:v>0.006755861703536892</c:v>
                </c:pt>
                <c:pt idx="29">
                  <c:v>0.008077288565093443</c:v>
                </c:pt>
                <c:pt idx="30">
                  <c:v>0.00747574359790043</c:v>
                </c:pt>
                <c:pt idx="31">
                  <c:v>0.00815418828762046</c:v>
                </c:pt>
                <c:pt idx="32">
                  <c:v>0.006991842850008324</c:v>
                </c:pt>
                <c:pt idx="33">
                  <c:v>0.0066518847006651885</c:v>
                </c:pt>
                <c:pt idx="34">
                  <c:v>0.005906093119401516</c:v>
                </c:pt>
                <c:pt idx="35">
                  <c:v>0.007034944066428324</c:v>
                </c:pt>
                <c:pt idx="36">
                  <c:v>0.008754331570308225</c:v>
                </c:pt>
                <c:pt idx="37">
                  <c:v>0.009024064171122994</c:v>
                </c:pt>
                <c:pt idx="38">
                  <c:v>0.010476190476190476</c:v>
                </c:pt>
                <c:pt idx="39">
                  <c:v>0.009722222222222222</c:v>
                </c:pt>
                <c:pt idx="40">
                  <c:v>0.009455263900649167</c:v>
                </c:pt>
                <c:pt idx="41">
                  <c:v>0.007480975106410422</c:v>
                </c:pt>
                <c:pt idx="42">
                  <c:v>0.008769365682548963</c:v>
                </c:pt>
                <c:pt idx="43">
                  <c:v>0.0063687273525859225</c:v>
                </c:pt>
                <c:pt idx="44">
                  <c:v>0.004836649023544443</c:v>
                </c:pt>
                <c:pt idx="45">
                  <c:v>0.003727266885161622</c:v>
                </c:pt>
                <c:pt idx="46">
                  <c:v>0.004059328649492584</c:v>
                </c:pt>
                <c:pt idx="47">
                  <c:v>0.004209474885844749</c:v>
                </c:pt>
                <c:pt idx="48">
                  <c:v>0.004558910597986974</c:v>
                </c:pt>
                <c:pt idx="49">
                  <c:v>0.004214621494569622</c:v>
                </c:pt>
                <c:pt idx="50">
                  <c:v>0.0034938857000249564</c:v>
                </c:pt>
                <c:pt idx="51">
                  <c:v>0.00401427297056199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92.7101333724936</c:v>
                </c:pt>
              </c:numCache>
            </c:numRef>
          </c:xVal>
          <c:yVal>
            <c:numRef>
              <c:f>Sheet1!$B$163:$B$164</c:f>
              <c:numCache>
                <c:formatCode>General</c:formatCode>
                <c:ptCount val="2"/>
                <c:pt idx="0">
                  <c:v>0.008150826200142696</c:v>
                </c:pt>
                <c:pt idx="1">
                  <c:v>0.00815082620014269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92.7101333724936</c:v>
                </c:pt>
                <c:pt idx="1">
                  <c:v>3592.7101333724936</c:v>
                </c:pt>
              </c:numCache>
            </c:numRef>
          </c:xVal>
          <c:yVal>
            <c:numRef>
              <c:f>Sheet1!$B$167:$B$168</c:f>
              <c:numCache>
                <c:formatCode>General</c:formatCode>
                <c:ptCount val="2"/>
                <c:pt idx="0">
                  <c:v>0.00815082620014269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92.7101333724936</c:v>
                </c:pt>
              </c:numCache>
            </c:numRef>
          </c:xVal>
          <c:yVal>
            <c:numRef>
              <c:f>Sheet1!$B$171:$B$172</c:f>
              <c:numCache>
                <c:formatCode>General</c:formatCode>
                <c:ptCount val="2"/>
                <c:pt idx="0">
                  <c:v>0.008150826200142696</c:v>
                </c:pt>
                <c:pt idx="1">
                  <c:v>0.00815082620014269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92.7101333724936</c:v>
                </c:pt>
                <c:pt idx="1">
                  <c:v>3592.7101333724936</c:v>
                </c:pt>
              </c:numCache>
            </c:numRef>
          </c:xVal>
          <c:yVal>
            <c:numRef>
              <c:f>Sheet1!$B$175:$B$176</c:f>
              <c:numCache>
                <c:formatCode>General</c:formatCode>
                <c:ptCount val="2"/>
                <c:pt idx="0">
                  <c:v>0.00815082620014269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33.471666008143</c:v>
                </c:pt>
              </c:numCache>
            </c:numRef>
          </c:xVal>
          <c:yVal>
            <c:numRef>
              <c:f>Sheet1!$B$179:$B$180</c:f>
              <c:numCache>
                <c:formatCode>General</c:formatCode>
                <c:ptCount val="2"/>
                <c:pt idx="0">
                  <c:v>0.00576238188243105</c:v>
                </c:pt>
                <c:pt idx="1">
                  <c:v>0.005762381882431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33.471666008143</c:v>
                </c:pt>
                <c:pt idx="1">
                  <c:v>4233.471666008143</c:v>
                </c:pt>
              </c:numCache>
            </c:numRef>
          </c:xVal>
          <c:yVal>
            <c:numRef>
              <c:f>Sheet1!$B$183:$B$184</c:f>
              <c:numCache>
                <c:formatCode>General</c:formatCode>
                <c:ptCount val="2"/>
                <c:pt idx="0">
                  <c:v>0.005762381882431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592.7101333724936</c:v>
                </c:pt>
                <c:pt idx="53">
                  <c:v>3592.7101333724936</c:v>
                </c:pt>
                <c:pt idx="54">
                  <c:v>4233.471666008143</c:v>
                </c:pt>
              </c:numCache>
            </c:numRef>
          </c:xVal>
          <c:yVal>
            <c:numRef>
              <c:f>Sheet1!$B$187:$B$241</c:f>
              <c:numCache>
                <c:formatCode>General</c:formatCode>
                <c:ptCount val="55"/>
                <c:pt idx="0">
                  <c:v>0.005120180802075623</c:v>
                </c:pt>
                <c:pt idx="1">
                  <c:v>0.006975172625733701</c:v>
                </c:pt>
                <c:pt idx="2">
                  <c:v>0.005527092074985418</c:v>
                </c:pt>
                <c:pt idx="3">
                  <c:v>0.007774677809856188</c:v>
                </c:pt>
                <c:pt idx="4">
                  <c:v>0.004668745926320966</c:v>
                </c:pt>
                <c:pt idx="5">
                  <c:v>0.003554927499959587</c:v>
                </c:pt>
                <c:pt idx="6">
                  <c:v>0.005100433578159272</c:v>
                </c:pt>
                <c:pt idx="7">
                  <c:v>0.0055734261289045565</c:v>
                </c:pt>
                <c:pt idx="8">
                  <c:v>0.006000120037065281</c:v>
                </c:pt>
                <c:pt idx="9">
                  <c:v>0.006266894121756635</c:v>
                </c:pt>
                <c:pt idx="10">
                  <c:v>0.005884766310042276</c:v>
                </c:pt>
                <c:pt idx="11">
                  <c:v>0.006311368521483982</c:v>
                </c:pt>
                <c:pt idx="12">
                  <c:v>0.007204779719151493</c:v>
                </c:pt>
                <c:pt idx="13">
                  <c:v>0.008819772900071503</c:v>
                </c:pt>
                <c:pt idx="14">
                  <c:v>0.008662756433286817</c:v>
                </c:pt>
                <c:pt idx="15">
                  <c:v>0.00796612080336882</c:v>
                </c:pt>
                <c:pt idx="16">
                  <c:v>0.007098851371141057</c:v>
                </c:pt>
                <c:pt idx="17">
                  <c:v>0.010698412412962214</c:v>
                </c:pt>
                <c:pt idx="18">
                  <c:v>0.006293057879498912</c:v>
                </c:pt>
                <c:pt idx="19">
                  <c:v>0.005124953131724359</c:v>
                </c:pt>
                <c:pt idx="20">
                  <c:v>0.005673386735161011</c:v>
                </c:pt>
                <c:pt idx="21">
                  <c:v>0.00784733441339688</c:v>
                </c:pt>
                <c:pt idx="22">
                  <c:v>0.007082171141550237</c:v>
                </c:pt>
                <c:pt idx="23">
                  <c:v>0.009820966135927001</c:v>
                </c:pt>
                <c:pt idx="24">
                  <c:v>0.006419187462010107</c:v>
                </c:pt>
                <c:pt idx="25">
                  <c:v>0.008090257659620377</c:v>
                </c:pt>
                <c:pt idx="26">
                  <c:v>0.00730876230751447</c:v>
                </c:pt>
                <c:pt idx="27">
                  <c:v>0.007708767997430241</c:v>
                </c:pt>
                <c:pt idx="28">
                  <c:v>0.007327574299447017</c:v>
                </c:pt>
                <c:pt idx="29">
                  <c:v>0.008185705370847757</c:v>
                </c:pt>
                <c:pt idx="30">
                  <c:v>0.008243805679370659</c:v>
                </c:pt>
                <c:pt idx="31">
                  <c:v>0.007073681740023256</c:v>
                </c:pt>
                <c:pt idx="32">
                  <c:v>0.004923409334585904</c:v>
                </c:pt>
                <c:pt idx="33">
                  <c:v>0.005983185964118154</c:v>
                </c:pt>
                <c:pt idx="34">
                  <c:v>0.00548880123977755</c:v>
                </c:pt>
                <c:pt idx="35">
                  <c:v>0.0065742317038341245</c:v>
                </c:pt>
                <c:pt idx="36">
                  <c:v>0.005982432261817933</c:v>
                </c:pt>
                <c:pt idx="37">
                  <c:v>0.006107484967007</c:v>
                </c:pt>
                <c:pt idx="38">
                  <c:v>0.008109556464215677</c:v>
                </c:pt>
                <c:pt idx="39">
                  <c:v>0.009296434065079292</c:v>
                </c:pt>
                <c:pt idx="40">
                  <c:v>0.0095340981689913</c:v>
                </c:pt>
                <c:pt idx="41">
                  <c:v>0.008378087696603989</c:v>
                </c:pt>
                <c:pt idx="42">
                  <c:v>0.009216186016906392</c:v>
                </c:pt>
                <c:pt idx="43">
                  <c:v>0.007869539929434876</c:v>
                </c:pt>
                <c:pt idx="44">
                  <c:v>0.006154332671652996</c:v>
                </c:pt>
                <c:pt idx="45">
                  <c:v>0.005524037008688372</c:v>
                </c:pt>
                <c:pt idx="46">
                  <c:v>0.005240926743477963</c:v>
                </c:pt>
                <c:pt idx="47">
                  <c:v>0.005546870609976554</c:v>
                </c:pt>
                <c:pt idx="48">
                  <c:v>0.0067908510379805845</c:v>
                </c:pt>
                <c:pt idx="49">
                  <c:v>0.007111013114439447</c:v>
                </c:pt>
                <c:pt idx="50">
                  <c:v>0.006586778498802213</c:v>
                </c:pt>
                <c:pt idx="51">
                  <c:v>0.005754909964129685</c:v>
                </c:pt>
                <c:pt idx="52">
                  <c:v>0.008150826200142696</c:v>
                </c:pt>
                <c:pt idx="53">
                  <c:v>0.008150826200142696</c:v>
                </c:pt>
                <c:pt idx="54">
                  <c:v>0.00576238188243104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64.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4522205731247857"/>
          <c:min val="0.0001178897730621868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9</c:f>
              <c:numCache>
                <c:formatCode>General</c:formatCode>
                <c:ptCount val="68"/>
                <c:pt idx="0">
                  <c:v>0.6152294503277862</c:v>
                </c:pt>
                <c:pt idx="1">
                  <c:v>0.4426679592998414</c:v>
                </c:pt>
                <c:pt idx="2">
                  <c:v>0.5172384201787043</c:v>
                </c:pt>
                <c:pt idx="3">
                  <c:v>0.5788163576327152</c:v>
                </c:pt>
                <c:pt idx="4">
                  <c:v>0.5637911064556613</c:v>
                </c:pt>
                <c:pt idx="5">
                  <c:v>0.4884521478149849</c:v>
                </c:pt>
                <c:pt idx="6">
                  <c:v>0.4128921583311071</c:v>
                </c:pt>
                <c:pt idx="7">
                  <c:v>0.4232838970832867</c:v>
                </c:pt>
                <c:pt idx="8">
                  <c:v>0.4333927736634039</c:v>
                </c:pt>
                <c:pt idx="9">
                  <c:v>0.41519876654424503</c:v>
                </c:pt>
                <c:pt idx="10">
                  <c:v>0.36995230153417535</c:v>
                </c:pt>
                <c:pt idx="11">
                  <c:v>0.5268319352854527</c:v>
                </c:pt>
                <c:pt idx="12">
                  <c:v>0.4197012032092054</c:v>
                </c:pt>
                <c:pt idx="13">
                  <c:v>0.43513759286340886</c:v>
                </c:pt>
                <c:pt idx="14">
                  <c:v>0.37618989610180276</c:v>
                </c:pt>
                <c:pt idx="15">
                  <c:v>0.4821686650230424</c:v>
                </c:pt>
                <c:pt idx="16">
                  <c:v>0.5214004103559613</c:v>
                </c:pt>
                <c:pt idx="17">
                  <c:v>0.45160914567668814</c:v>
                </c:pt>
                <c:pt idx="18">
                  <c:v>0.4362097244278664</c:v>
                </c:pt>
                <c:pt idx="19">
                  <c:v>0.36278487386557073</c:v>
                </c:pt>
                <c:pt idx="20">
                  <c:v>0.408828906563389</c:v>
                </c:pt>
                <c:pt idx="21">
                  <c:v>0.34637070096931377</c:v>
                </c:pt>
                <c:pt idx="22">
                  <c:v>0.3738752246833204</c:v>
                </c:pt>
                <c:pt idx="23">
                  <c:v>0.38421304013569896</c:v>
                </c:pt>
                <c:pt idx="24">
                  <c:v>0.37709942668566043</c:v>
                </c:pt>
                <c:pt idx="25">
                  <c:v>0.36053710393387417</c:v>
                </c:pt>
                <c:pt idx="26">
                  <c:v>0.4022837700341068</c:v>
                </c:pt>
                <c:pt idx="27">
                  <c:v>0.3534051689131676</c:v>
                </c:pt>
                <c:pt idx="28">
                  <c:v>0.36485632045796357</c:v>
                </c:pt>
                <c:pt idx="29">
                  <c:v>0.34066389002358954</c:v>
                </c:pt>
                <c:pt idx="30">
                  <c:v>0.3499878194924939</c:v>
                </c:pt>
                <c:pt idx="31">
                  <c:v>0.26361504863557705</c:v>
                </c:pt>
                <c:pt idx="32">
                  <c:v>0.24276722841765777</c:v>
                </c:pt>
                <c:pt idx="33">
                  <c:v>0.30938775476429803</c:v>
                </c:pt>
                <c:pt idx="34">
                  <c:v>0.26396979310417895</c:v>
                </c:pt>
                <c:pt idx="35">
                  <c:v>0.3075990235365717</c:v>
                </c:pt>
                <c:pt idx="36">
                  <c:v>0.22971619373577548</c:v>
                </c:pt>
                <c:pt idx="37">
                  <c:v>0.3139141453454134</c:v>
                </c:pt>
                <c:pt idx="38">
                  <c:v>0.42185669101778245</c:v>
                </c:pt>
                <c:pt idx="39">
                  <c:v>0.41279282198618483</c:v>
                </c:pt>
                <c:pt idx="40">
                  <c:v>0.4661743741119404</c:v>
                </c:pt>
                <c:pt idx="41">
                  <c:v>0.37682037985435896</c:v>
                </c:pt>
                <c:pt idx="42">
                  <c:v>0.542747442314786</c:v>
                </c:pt>
                <c:pt idx="43">
                  <c:v>0.49206765467829855</c:v>
                </c:pt>
                <c:pt idx="44">
                  <c:v>0.5644921455940454</c:v>
                </c:pt>
                <c:pt idx="45">
                  <c:v>0.5442167333070281</c:v>
                </c:pt>
                <c:pt idx="46">
                  <c:v>0.6572782010107798</c:v>
                </c:pt>
                <c:pt idx="47">
                  <c:v>0.6731890370981377</c:v>
                </c:pt>
                <c:pt idx="48">
                  <c:v>0.5697307023898022</c:v>
                </c:pt>
                <c:pt idx="49">
                  <c:v>0.7973569025731426</c:v>
                </c:pt>
                <c:pt idx="50">
                  <c:v>0.7754106736704246</c:v>
                </c:pt>
                <c:pt idx="51">
                  <c:v>0.5855628446668568</c:v>
                </c:pt>
                <c:pt idx="52">
                  <c:v>0.6190952348635379</c:v>
                </c:pt>
                <c:pt idx="53">
                  <c:v>0.7596443174535757</c:v>
                </c:pt>
                <c:pt idx="54">
                  <c:v>0.6059591288199854</c:v>
                </c:pt>
                <c:pt idx="55">
                  <c:v>0.7446458642437346</c:v>
                </c:pt>
                <c:pt idx="56">
                  <c:v>0.757835735350802</c:v>
                </c:pt>
                <c:pt idx="57">
                  <c:v>0.720781520642992</c:v>
                </c:pt>
                <c:pt idx="58">
                  <c:v>0.7094218962213666</c:v>
                </c:pt>
                <c:pt idx="59">
                  <c:v>0.5939411007423014</c:v>
                </c:pt>
                <c:pt idx="60">
                  <c:v>0.593154804571274</c:v>
                </c:pt>
                <c:pt idx="61">
                  <c:v>0.5867290065939451</c:v>
                </c:pt>
                <c:pt idx="62">
                  <c:v>0.6247351490994814</c:v>
                </c:pt>
                <c:pt idx="63">
                  <c:v>0.7243007247130917</c:v>
                </c:pt>
                <c:pt idx="64">
                  <c:v>0.6222363428222858</c:v>
                </c:pt>
                <c:pt idx="65">
                  <c:v>0.6147094940690236</c:v>
                </c:pt>
                <c:pt idx="66">
                  <c:v>0.6775067353554071</c:v>
                </c:pt>
                <c:pt idx="67">
                  <c:v>0.7366867443596626</c:v>
                </c:pt>
              </c:numCache>
            </c:numRef>
          </c:xVal>
          <c:yVal>
            <c:numRef>
              <c:f>Sheet1!$B$2:$B$69</c:f>
              <c:numCache>
                <c:formatCode>General</c:formatCode>
                <c:ptCount val="68"/>
                <c:pt idx="0">
                  <c:v>0.0007739938080495357</c:v>
                </c:pt>
                <c:pt idx="1">
                  <c:v>0.0006829668078131403</c:v>
                </c:pt>
                <c:pt idx="2">
                  <c:v>0.0008798944126704796</c:v>
                </c:pt>
                <c:pt idx="3">
                  <c:v>0.0004822182037371911</c:v>
                </c:pt>
                <c:pt idx="4">
                  <c:v>0.0005220569042025581</c:v>
                </c:pt>
                <c:pt idx="5">
                  <c:v>0.0003325942350332594</c:v>
                </c:pt>
                <c:pt idx="6">
                  <c:v>0.0006925892945483328</c:v>
                </c:pt>
                <c:pt idx="7">
                  <c:v>0.0005979669124975084</c:v>
                </c:pt>
                <c:pt idx="8">
                  <c:v>0.0004204456724127575</c:v>
                </c:pt>
                <c:pt idx="9">
                  <c:v>0.0008858442095316837</c:v>
                </c:pt>
                <c:pt idx="10">
                  <c:v>0.0010699001426533524</c:v>
                </c:pt>
                <c:pt idx="11">
                  <c:v>0.000531632110579479</c:v>
                </c:pt>
                <c:pt idx="12">
                  <c:v>0.0005390028447372361</c:v>
                </c:pt>
                <c:pt idx="13">
                  <c:v>0.0008016491067338525</c:v>
                </c:pt>
                <c:pt idx="14">
                  <c:v>0.0010760401721664275</c:v>
                </c:pt>
                <c:pt idx="15">
                  <c:v>0.00036480817170304614</c:v>
                </c:pt>
                <c:pt idx="16">
                  <c:v>0.0004734848484848485</c:v>
                </c:pt>
                <c:pt idx="17">
                  <c:v>0.0011134903640256958</c:v>
                </c:pt>
                <c:pt idx="18">
                  <c:v>0.000715307582260372</c:v>
                </c:pt>
                <c:pt idx="19">
                  <c:v>0.0007297938332421091</c:v>
                </c:pt>
                <c:pt idx="20">
                  <c:v>0.00048088482808367395</c:v>
                </c:pt>
                <c:pt idx="21">
                  <c:v>0.0004991799187049847</c:v>
                </c:pt>
                <c:pt idx="22">
                  <c:v>0.0005967408767500573</c:v>
                </c:pt>
                <c:pt idx="23">
                  <c:v>0.0010290082320658564</c:v>
                </c:pt>
                <c:pt idx="24">
                  <c:v>0.0011176306230790724</c:v>
                </c:pt>
                <c:pt idx="25">
                  <c:v>0.0012251565477811054</c:v>
                </c:pt>
                <c:pt idx="26">
                  <c:v>0.0010281221651043241</c:v>
                </c:pt>
                <c:pt idx="27">
                  <c:v>0.0013947811937002382</c:v>
                </c:pt>
                <c:pt idx="28">
                  <c:v>0.0010165830103564394</c:v>
                </c:pt>
                <c:pt idx="29">
                  <c:v>0.0011519956630751508</c:v>
                </c:pt>
                <c:pt idx="30">
                  <c:v>0.0008489564909798373</c:v>
                </c:pt>
                <c:pt idx="31">
                  <c:v>0.0014316392269148174</c:v>
                </c:pt>
                <c:pt idx="32">
                  <c:v>0.0014657796820385612</c:v>
                </c:pt>
                <c:pt idx="33">
                  <c:v>0.0012130569033965593</c:v>
                </c:pt>
                <c:pt idx="34">
                  <c:v>0.0013112409107164144</c:v>
                </c:pt>
                <c:pt idx="35">
                  <c:v>0.001763279700242451</c:v>
                </c:pt>
                <c:pt idx="36">
                  <c:v>0.002972651605231867</c:v>
                </c:pt>
                <c:pt idx="37">
                  <c:v>0.0032265498962894676</c:v>
                </c:pt>
                <c:pt idx="38">
                  <c:v>0.003306003702724147</c:v>
                </c:pt>
                <c:pt idx="39">
                  <c:v>0.004521167283189478</c:v>
                </c:pt>
                <c:pt idx="40">
                  <c:v>0.0043846828412744815</c:v>
                </c:pt>
                <c:pt idx="41">
                  <c:v>0.006234203875315923</c:v>
                </c:pt>
                <c:pt idx="42">
                  <c:v>0.004583651642475172</c:v>
                </c:pt>
                <c:pt idx="43">
                  <c:v>0.004645401052957572</c:v>
                </c:pt>
                <c:pt idx="44">
                  <c:v>0.005054240631163708</c:v>
                </c:pt>
                <c:pt idx="45">
                  <c:v>0.005147402901263453</c:v>
                </c:pt>
                <c:pt idx="46">
                  <c:v>0.00407873736478099</c:v>
                </c:pt>
                <c:pt idx="47">
                  <c:v>0.00448011946985253</c:v>
                </c:pt>
                <c:pt idx="48">
                  <c:v>0.0039049235993208827</c:v>
                </c:pt>
                <c:pt idx="49">
                  <c:v>0.003433897473632573</c:v>
                </c:pt>
                <c:pt idx="50">
                  <c:v>0.0030375352571056628</c:v>
                </c:pt>
                <c:pt idx="51">
                  <c:v>0.004483048472961614</c:v>
                </c:pt>
                <c:pt idx="52">
                  <c:v>0.005447844896651178</c:v>
                </c:pt>
                <c:pt idx="53">
                  <c:v>0.004794973544973545</c:v>
                </c:pt>
                <c:pt idx="54">
                  <c:v>0.005311883442100471</c:v>
                </c:pt>
                <c:pt idx="55">
                  <c:v>0.00437172120909318</c:v>
                </c:pt>
                <c:pt idx="56">
                  <c:v>0.004066985645933014</c:v>
                </c:pt>
                <c:pt idx="57">
                  <c:v>0.0045045045045045045</c:v>
                </c:pt>
                <c:pt idx="58">
                  <c:v>0.0045207122428268295</c:v>
                </c:pt>
                <c:pt idx="59">
                  <c:v>0.005967180507210343</c:v>
                </c:pt>
                <c:pt idx="60">
                  <c:v>0.006957356204642236</c:v>
                </c:pt>
                <c:pt idx="61">
                  <c:v>0.006597059892992572</c:v>
                </c:pt>
                <c:pt idx="62">
                  <c:v>0.00621486999040351</c:v>
                </c:pt>
                <c:pt idx="63">
                  <c:v>0.004655941945220435</c:v>
                </c:pt>
                <c:pt idx="64">
                  <c:v>0.00659063556650811</c:v>
                </c:pt>
                <c:pt idx="65">
                  <c:v>0.005459377918252999</c:v>
                </c:pt>
                <c:pt idx="66">
                  <c:v>0.005118901056178319</c:v>
                </c:pt>
                <c:pt idx="67">
                  <c:v>0.004049820432490257</c:v>
                </c:pt>
              </c:numCache>
            </c:numRef>
          </c:yVal>
          <c:smooth val="0"/>
          <c:extLst>
            <c:ext xmlns:c16="http://schemas.microsoft.com/office/drawing/2014/chart" uri="{C3380CC4-5D6E-409C-BE32-E72D297353CC}">
              <c16:uniqueId val="{00000000-096C-4121-9522-6AB7243CCAAE}"/>
            </c:ext>
          </c:extLst>
        </c:ser>
        <c:ser>
          <c:idx val="1"/>
          <c:order val="1"/>
          <c:tx>
            <c:strRef>
              <c:f>Sheet1!$B$7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2:$A$123</c:f>
              <c:numCache>
                <c:formatCode>General</c:formatCode>
                <c:ptCount val="52"/>
                <c:pt idx="0">
                  <c:v>0.7617761159105694</c:v>
                </c:pt>
                <c:pt idx="1">
                  <c:v>0.6714078738648899</c:v>
                </c:pt>
                <c:pt idx="2">
                  <c:v>0.743961237222748</c:v>
                </c:pt>
                <c:pt idx="3">
                  <c:v>0.6993613801559375</c:v>
                </c:pt>
                <c:pt idx="4">
                  <c:v>0.8428896233454222</c:v>
                </c:pt>
                <c:pt idx="5">
                  <c:v>0.8976494524233389</c:v>
                </c:pt>
                <c:pt idx="6">
                  <c:v>0.7991408846925622</c:v>
                </c:pt>
                <c:pt idx="7">
                  <c:v>0.727446868525563</c:v>
                </c:pt>
                <c:pt idx="8">
                  <c:v>0.6989355615992893</c:v>
                </c:pt>
                <c:pt idx="9">
                  <c:v>0.7137699870701444</c:v>
                </c:pt>
                <c:pt idx="10">
                  <c:v>0.7663508887287459</c:v>
                </c:pt>
                <c:pt idx="11">
                  <c:v>0.7258440591769958</c:v>
                </c:pt>
                <c:pt idx="12">
                  <c:v>0.6481937582150922</c:v>
                </c:pt>
                <c:pt idx="13">
                  <c:v>0.5646588203928301</c:v>
                </c:pt>
                <c:pt idx="14">
                  <c:v>0.5722778672446577</c:v>
                </c:pt>
                <c:pt idx="15">
                  <c:v>0.5701222437582759</c:v>
                </c:pt>
                <c:pt idx="16">
                  <c:v>0.5877379253868656</c:v>
                </c:pt>
                <c:pt idx="17">
                  <c:v>0.43824976950215855</c:v>
                </c:pt>
                <c:pt idx="18">
                  <c:v>0.6515806831682108</c:v>
                </c:pt>
                <c:pt idx="19">
                  <c:v>0.6938239690370096</c:v>
                </c:pt>
                <c:pt idx="20">
                  <c:v>0.6513463626057716</c:v>
                </c:pt>
                <c:pt idx="21">
                  <c:v>0.564168138470661</c:v>
                </c:pt>
                <c:pt idx="22">
                  <c:v>0.6537366957635402</c:v>
                </c:pt>
                <c:pt idx="23">
                  <c:v>0.49143567299619867</c:v>
                </c:pt>
                <c:pt idx="24">
                  <c:v>0.557909947922798</c:v>
                </c:pt>
                <c:pt idx="25">
                  <c:v>0.5124835531958546</c:v>
                </c:pt>
                <c:pt idx="26">
                  <c:v>0.6092373610999541</c:v>
                </c:pt>
                <c:pt idx="27">
                  <c:v>0.6108652533422633</c:v>
                </c:pt>
                <c:pt idx="28">
                  <c:v>0.649422663675238</c:v>
                </c:pt>
                <c:pt idx="29">
                  <c:v>0.5301659028004073</c:v>
                </c:pt>
                <c:pt idx="30">
                  <c:v>0.5466548413138326</c:v>
                </c:pt>
                <c:pt idx="31">
                  <c:v>0.6144308945856286</c:v>
                </c:pt>
                <c:pt idx="32">
                  <c:v>0.6861297893167754</c:v>
                </c:pt>
                <c:pt idx="33">
                  <c:v>0.5553686277653361</c:v>
                </c:pt>
                <c:pt idx="34">
                  <c:v>0.573162154961041</c:v>
                </c:pt>
                <c:pt idx="35">
                  <c:v>0.5268637223539437</c:v>
                </c:pt>
                <c:pt idx="36">
                  <c:v>0.5345722644569163</c:v>
                </c:pt>
                <c:pt idx="37">
                  <c:v>0.5730590528910608</c:v>
                </c:pt>
                <c:pt idx="38">
                  <c:v>0.49801356699285726</c:v>
                </c:pt>
                <c:pt idx="39">
                  <c:v>0.47507683083311625</c:v>
                </c:pt>
                <c:pt idx="40">
                  <c:v>0.5168953693463374</c:v>
                </c:pt>
                <c:pt idx="41">
                  <c:v>0.5620925724118007</c:v>
                </c:pt>
                <c:pt idx="42">
                  <c:v>0.48972172302432854</c:v>
                </c:pt>
                <c:pt idx="43">
                  <c:v>0.5414037668300691</c:v>
                </c:pt>
                <c:pt idx="44">
                  <c:v>0.662043095463975</c:v>
                </c:pt>
                <c:pt idx="45">
                  <c:v>0.7261100155364472</c:v>
                </c:pt>
                <c:pt idx="46">
                  <c:v>0.6609725807711891</c:v>
                </c:pt>
                <c:pt idx="47">
                  <c:v>0.7153075421740999</c:v>
                </c:pt>
                <c:pt idx="48">
                  <c:v>0.8618908043695291</c:v>
                </c:pt>
                <c:pt idx="49">
                  <c:v>0.703673756759789</c:v>
                </c:pt>
                <c:pt idx="50">
                  <c:v>0.6849996570994891</c:v>
                </c:pt>
                <c:pt idx="51">
                  <c:v>0.7680129468616553</c:v>
                </c:pt>
              </c:numCache>
            </c:numRef>
          </c:xVal>
          <c:yVal>
            <c:numRef>
              <c:f>Sheet1!$B$72:$B$123</c:f>
              <c:numCache>
                <c:formatCode>General</c:formatCode>
                <c:ptCount val="52"/>
                <c:pt idx="0">
                  <c:v>0.003990368077055384</c:v>
                </c:pt>
                <c:pt idx="1">
                  <c:v>0.00472115668338743</c:v>
                </c:pt>
                <c:pt idx="2">
                  <c:v>0.0045263710312254</c:v>
                </c:pt>
                <c:pt idx="3">
                  <c:v>0.004841347726529277</c:v>
                </c:pt>
                <c:pt idx="4">
                  <c:v>0.004864091559370529</c:v>
                </c:pt>
                <c:pt idx="5">
                  <c:v>0.00402757867431224</c:v>
                </c:pt>
                <c:pt idx="6">
                  <c:v>0.004804764160519726</c:v>
                </c:pt>
                <c:pt idx="7">
                  <c:v>0.005543942561119695</c:v>
                </c:pt>
                <c:pt idx="8">
                  <c:v>0.006833473507148864</c:v>
                </c:pt>
                <c:pt idx="9">
                  <c:v>0.006844819503047351</c:v>
                </c:pt>
                <c:pt idx="10">
                  <c:v>0.0064940921800306665</c:v>
                </c:pt>
                <c:pt idx="11">
                  <c:v>0.006501608984041505</c:v>
                </c:pt>
                <c:pt idx="12">
                  <c:v>0.006690488861856611</c:v>
                </c:pt>
                <c:pt idx="13">
                  <c:v>0.009964923469387755</c:v>
                </c:pt>
                <c:pt idx="14">
                  <c:v>0.009934065934065935</c:v>
                </c:pt>
                <c:pt idx="15">
                  <c:v>0.009705993215228043</c:v>
                </c:pt>
                <c:pt idx="16">
                  <c:v>0.009223090277777778</c:v>
                </c:pt>
                <c:pt idx="17">
                  <c:v>0.012101838109373216</c:v>
                </c:pt>
                <c:pt idx="18">
                  <c:v>0.0064856100526955816</c:v>
                </c:pt>
                <c:pt idx="19">
                  <c:v>0.005777442853554383</c:v>
                </c:pt>
                <c:pt idx="20">
                  <c:v>0.006987024098103522</c:v>
                </c:pt>
                <c:pt idx="21">
                  <c:v>0.009249743062692703</c:v>
                </c:pt>
                <c:pt idx="22">
                  <c:v>0.008047945205479452</c:v>
                </c:pt>
                <c:pt idx="23">
                  <c:v>0.007758475290942824</c:v>
                </c:pt>
                <c:pt idx="24">
                  <c:v>0.007328990228013029</c:v>
                </c:pt>
                <c:pt idx="25">
                  <c:v>0.008060536272413226</c:v>
                </c:pt>
                <c:pt idx="26">
                  <c:v>0.008222643896268185</c:v>
                </c:pt>
                <c:pt idx="27">
                  <c:v>0.007835455435847209</c:v>
                </c:pt>
                <c:pt idx="28">
                  <c:v>0.006755861703536892</c:v>
                </c:pt>
                <c:pt idx="29">
                  <c:v>0.008077288565093443</c:v>
                </c:pt>
                <c:pt idx="30">
                  <c:v>0.00747574359790043</c:v>
                </c:pt>
                <c:pt idx="31">
                  <c:v>0.00815418828762046</c:v>
                </c:pt>
                <c:pt idx="32">
                  <c:v>0.006991842850008324</c:v>
                </c:pt>
                <c:pt idx="33">
                  <c:v>0.0066518847006651885</c:v>
                </c:pt>
                <c:pt idx="34">
                  <c:v>0.005906093119401516</c:v>
                </c:pt>
                <c:pt idx="35">
                  <c:v>0.007034944066428324</c:v>
                </c:pt>
                <c:pt idx="36">
                  <c:v>0.008754331570308225</c:v>
                </c:pt>
                <c:pt idx="37">
                  <c:v>0.009024064171122994</c:v>
                </c:pt>
                <c:pt idx="38">
                  <c:v>0.010476190476190476</c:v>
                </c:pt>
                <c:pt idx="39">
                  <c:v>0.009722222222222222</c:v>
                </c:pt>
                <c:pt idx="40">
                  <c:v>0.009455263900649167</c:v>
                </c:pt>
                <c:pt idx="41">
                  <c:v>0.007480975106410422</c:v>
                </c:pt>
                <c:pt idx="42">
                  <c:v>0.008769365682548963</c:v>
                </c:pt>
                <c:pt idx="43">
                  <c:v>0.0063687273525859225</c:v>
                </c:pt>
                <c:pt idx="44">
                  <c:v>0.004836649023544443</c:v>
                </c:pt>
                <c:pt idx="45">
                  <c:v>0.003727266885161622</c:v>
                </c:pt>
                <c:pt idx="46">
                  <c:v>0.004059328649492584</c:v>
                </c:pt>
                <c:pt idx="47">
                  <c:v>0.004209474885844749</c:v>
                </c:pt>
                <c:pt idx="48">
                  <c:v>0.004558910597986974</c:v>
                </c:pt>
                <c:pt idx="49">
                  <c:v>0.004214621494569622</c:v>
                </c:pt>
                <c:pt idx="50">
                  <c:v>0.0034938857000249564</c:v>
                </c:pt>
                <c:pt idx="51">
                  <c:v>0.004014272970561998</c:v>
                </c:pt>
              </c:numCache>
            </c:numRef>
          </c:yVal>
          <c:smooth val="0"/>
          <c:extLst>
            <c:ext xmlns:c16="http://schemas.microsoft.com/office/drawing/2014/chart" uri="{C3380CC4-5D6E-409C-BE32-E72D297353CC}">
              <c16:uniqueId val="{00000002-096C-4121-9522-6AB7243CCAAE}"/>
            </c:ext>
          </c:extLst>
        </c:ser>
        <c:ser>
          <c:idx val="2"/>
          <c:order val="2"/>
          <c:tx>
            <c:strRef>
              <c:f>Sheet1!$B$12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6:$A$127</c:f>
              <c:numCache>
                <c:formatCode>General</c:formatCode>
                <c:ptCount val="2"/>
                <c:pt idx="0">
                  <c:v>0</c:v>
                </c:pt>
                <c:pt idx="1">
                  <c:v>0.5535138349243045</c:v>
                </c:pt>
              </c:numCache>
            </c:numRef>
          </c:xVal>
          <c:yVal>
            <c:numRef>
              <c:f>Sheet1!$B$126:$B$127</c:f>
              <c:numCache>
                <c:formatCode>General</c:formatCode>
                <c:ptCount val="2"/>
                <c:pt idx="0">
                  <c:v>0.008150826200142696</c:v>
                </c:pt>
                <c:pt idx="1">
                  <c:v>0.008150826200142696</c:v>
                </c:pt>
              </c:numCache>
            </c:numRef>
          </c:yVal>
          <c:smooth val="0"/>
          <c:extLst>
            <c:ext xmlns:c16="http://schemas.microsoft.com/office/drawing/2014/chart" uri="{C3380CC4-5D6E-409C-BE32-E72D297353CC}">
              <c16:uniqueId val="{00000005-096C-4121-9522-6AB7243CCAAE}"/>
            </c:ext>
          </c:extLst>
        </c:ser>
        <c:ser>
          <c:idx val="3"/>
          <c:order val="3"/>
          <c:tx>
            <c:strRef>
              <c:f>Sheet1!$B$12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0:$A$131</c:f>
              <c:numCache>
                <c:formatCode>General</c:formatCode>
                <c:ptCount val="2"/>
                <c:pt idx="0">
                  <c:v>0.5535138349243045</c:v>
                </c:pt>
                <c:pt idx="1">
                  <c:v>0.5535138349243045</c:v>
                </c:pt>
              </c:numCache>
            </c:numRef>
          </c:xVal>
          <c:yVal>
            <c:numRef>
              <c:f>Sheet1!$B$130:$B$131</c:f>
              <c:numCache>
                <c:formatCode>General</c:formatCode>
                <c:ptCount val="2"/>
                <c:pt idx="0">
                  <c:v>0.00815082620014269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4:$A$135</c:f>
              <c:numCache>
                <c:formatCode>General</c:formatCode>
                <c:ptCount val="2"/>
                <c:pt idx="0">
                  <c:v>0</c:v>
                </c:pt>
                <c:pt idx="1">
                  <c:v>0.5535138349243045</c:v>
                </c:pt>
              </c:numCache>
            </c:numRef>
          </c:xVal>
          <c:yVal>
            <c:numRef>
              <c:f>Sheet1!$B$134:$B$135</c:f>
              <c:numCache>
                <c:formatCode>General</c:formatCode>
                <c:ptCount val="2"/>
                <c:pt idx="0">
                  <c:v>0.008150826200142696</c:v>
                </c:pt>
                <c:pt idx="1">
                  <c:v>0.008150826200142696</c:v>
                </c:pt>
              </c:numCache>
            </c:numRef>
          </c:yVal>
          <c:smooth val="0"/>
          <c:extLst>
            <c:ext xmlns:c16="http://schemas.microsoft.com/office/drawing/2014/chart" uri="{C3380CC4-5D6E-409C-BE32-E72D297353CC}">
              <c16:uniqueId val="{0000000D-096C-4121-9522-6AB7243CCAAE}"/>
            </c:ext>
          </c:extLst>
        </c:ser>
        <c:ser>
          <c:idx val="5"/>
          <c:order val="5"/>
          <c:tx>
            <c:strRef>
              <c:f>Sheet1!$B$13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8:$A$139</c:f>
              <c:numCache>
                <c:formatCode>General</c:formatCode>
                <c:ptCount val="2"/>
                <c:pt idx="0">
                  <c:v>0.5535138349243045</c:v>
                </c:pt>
                <c:pt idx="1">
                  <c:v>0.5535138349243045</c:v>
                </c:pt>
              </c:numCache>
            </c:numRef>
          </c:xVal>
          <c:yVal>
            <c:numRef>
              <c:f>Sheet1!$B$138:$B$139</c:f>
              <c:numCache>
                <c:formatCode>General</c:formatCode>
                <c:ptCount val="2"/>
                <c:pt idx="0">
                  <c:v>0.00815082620014269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4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42:$A$143</c:f>
              <c:numCache>
                <c:formatCode>General</c:formatCode>
                <c:ptCount val="2"/>
                <c:pt idx="0">
                  <c:v>0</c:v>
                </c:pt>
                <c:pt idx="1">
                  <c:v>0.7084987615829735</c:v>
                </c:pt>
              </c:numCache>
            </c:numRef>
          </c:xVal>
          <c:yVal>
            <c:numRef>
              <c:f>Sheet1!$B$142:$B$143</c:f>
              <c:numCache>
                <c:formatCode>General</c:formatCode>
                <c:ptCount val="2"/>
                <c:pt idx="0">
                  <c:v>0.00576238188243105</c:v>
                </c:pt>
                <c:pt idx="1">
                  <c:v>0.00576238188243105</c:v>
                </c:pt>
              </c:numCache>
            </c:numRef>
          </c:yVal>
          <c:smooth val="0"/>
          <c:extLst>
            <c:ext xmlns:c16="http://schemas.microsoft.com/office/drawing/2014/chart" uri="{C3380CC4-5D6E-409C-BE32-E72D297353CC}">
              <c16:uniqueId val="{00000015-096C-4121-9522-6AB7243CCAAE}"/>
            </c:ext>
          </c:extLst>
        </c:ser>
        <c:ser>
          <c:idx val="7"/>
          <c:order val="7"/>
          <c:tx>
            <c:strRef>
              <c:f>Sheet1!$B$14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6:$A$147</c:f>
              <c:numCache>
                <c:formatCode>General</c:formatCode>
                <c:ptCount val="2"/>
                <c:pt idx="0">
                  <c:v>0.7084987615829735</c:v>
                </c:pt>
                <c:pt idx="1">
                  <c:v>0.7084987615829735</c:v>
                </c:pt>
              </c:numCache>
            </c:numRef>
          </c:xVal>
          <c:yVal>
            <c:numRef>
              <c:f>Sheet1!$B$146:$B$147</c:f>
              <c:numCache>
                <c:formatCode>General</c:formatCode>
                <c:ptCount val="2"/>
                <c:pt idx="0">
                  <c:v>0.005762381882431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50:$A$204</c:f>
              <c:numCache>
                <c:formatCode>General</c:formatCode>
                <c:ptCount val="55"/>
                <c:pt idx="0">
                  <c:v>0.7617761159105694</c:v>
                </c:pt>
                <c:pt idx="1">
                  <c:v>0.6714078738648899</c:v>
                </c:pt>
                <c:pt idx="2">
                  <c:v>0.743961237222748</c:v>
                </c:pt>
                <c:pt idx="3">
                  <c:v>0.6993613801559375</c:v>
                </c:pt>
                <c:pt idx="4">
                  <c:v>0.8428896233454222</c:v>
                </c:pt>
                <c:pt idx="5">
                  <c:v>0.8976494524233389</c:v>
                </c:pt>
                <c:pt idx="6">
                  <c:v>0.7991408846925622</c:v>
                </c:pt>
                <c:pt idx="7">
                  <c:v>0.727446868525563</c:v>
                </c:pt>
                <c:pt idx="8">
                  <c:v>0.6989355615992893</c:v>
                </c:pt>
                <c:pt idx="9">
                  <c:v>0.7137699870701444</c:v>
                </c:pt>
                <c:pt idx="10">
                  <c:v>0.7663508887287459</c:v>
                </c:pt>
                <c:pt idx="11">
                  <c:v>0.7258440591769958</c:v>
                </c:pt>
                <c:pt idx="12">
                  <c:v>0.6481937582150922</c:v>
                </c:pt>
                <c:pt idx="13">
                  <c:v>0.5646588203928301</c:v>
                </c:pt>
                <c:pt idx="14">
                  <c:v>0.5722778672446577</c:v>
                </c:pt>
                <c:pt idx="15">
                  <c:v>0.5701222437582759</c:v>
                </c:pt>
                <c:pt idx="16">
                  <c:v>0.5877379253868656</c:v>
                </c:pt>
                <c:pt idx="17">
                  <c:v>0.43824976950215855</c:v>
                </c:pt>
                <c:pt idx="18">
                  <c:v>0.6515806831682108</c:v>
                </c:pt>
                <c:pt idx="19">
                  <c:v>0.6938239690370096</c:v>
                </c:pt>
                <c:pt idx="20">
                  <c:v>0.6513463626057716</c:v>
                </c:pt>
                <c:pt idx="21">
                  <c:v>0.564168138470661</c:v>
                </c:pt>
                <c:pt idx="22">
                  <c:v>0.6537366957635402</c:v>
                </c:pt>
                <c:pt idx="23">
                  <c:v>0.49143567299619867</c:v>
                </c:pt>
                <c:pt idx="24">
                  <c:v>0.557909947922798</c:v>
                </c:pt>
                <c:pt idx="25">
                  <c:v>0.5124835531958546</c:v>
                </c:pt>
                <c:pt idx="26">
                  <c:v>0.6092373610999541</c:v>
                </c:pt>
                <c:pt idx="27">
                  <c:v>0.6108652533422633</c:v>
                </c:pt>
                <c:pt idx="28">
                  <c:v>0.649422663675238</c:v>
                </c:pt>
                <c:pt idx="29">
                  <c:v>0.5301659028004073</c:v>
                </c:pt>
                <c:pt idx="30">
                  <c:v>0.5466548413138326</c:v>
                </c:pt>
                <c:pt idx="31">
                  <c:v>0.6144308945856286</c:v>
                </c:pt>
                <c:pt idx="32">
                  <c:v>0.6861297893167754</c:v>
                </c:pt>
                <c:pt idx="33">
                  <c:v>0.5553686277653361</c:v>
                </c:pt>
                <c:pt idx="34">
                  <c:v>0.573162154961041</c:v>
                </c:pt>
                <c:pt idx="35">
                  <c:v>0.5268637223539437</c:v>
                </c:pt>
                <c:pt idx="36">
                  <c:v>0.5345722644569163</c:v>
                </c:pt>
                <c:pt idx="37">
                  <c:v>0.5730590528910608</c:v>
                </c:pt>
                <c:pt idx="38">
                  <c:v>0.49801356699285726</c:v>
                </c:pt>
                <c:pt idx="39">
                  <c:v>0.47507683083311625</c:v>
                </c:pt>
                <c:pt idx="40">
                  <c:v>0.5168953693463374</c:v>
                </c:pt>
                <c:pt idx="41">
                  <c:v>0.5620925724118007</c:v>
                </c:pt>
                <c:pt idx="42">
                  <c:v>0.48972172302432854</c:v>
                </c:pt>
                <c:pt idx="43">
                  <c:v>0.5414037668300691</c:v>
                </c:pt>
                <c:pt idx="44">
                  <c:v>0.662043095463975</c:v>
                </c:pt>
                <c:pt idx="45">
                  <c:v>0.7261100155364472</c:v>
                </c:pt>
                <c:pt idx="46">
                  <c:v>0.6609725807711891</c:v>
                </c:pt>
                <c:pt idx="47">
                  <c:v>0.7153075421740999</c:v>
                </c:pt>
                <c:pt idx="48">
                  <c:v>0.8618908043695291</c:v>
                </c:pt>
                <c:pt idx="49">
                  <c:v>0.703673756759789</c:v>
                </c:pt>
                <c:pt idx="50">
                  <c:v>0.6849996570994891</c:v>
                </c:pt>
                <c:pt idx="51">
                  <c:v>0.7680129468616553</c:v>
                </c:pt>
                <c:pt idx="52">
                  <c:v>0.5535138349243045</c:v>
                </c:pt>
                <c:pt idx="53">
                  <c:v>0.5535138349243045</c:v>
                </c:pt>
                <c:pt idx="54">
                  <c:v>0.7084987615829735</c:v>
                </c:pt>
              </c:numCache>
            </c:numRef>
          </c:xVal>
          <c:yVal>
            <c:numRef>
              <c:f>Sheet1!$B$150:$B$204</c:f>
              <c:numCache>
                <c:formatCode>General</c:formatCode>
                <c:ptCount val="55"/>
                <c:pt idx="0">
                  <c:v>0.004941334333163853</c:v>
                </c:pt>
                <c:pt idx="1">
                  <c:v>0.006333982759490807</c:v>
                </c:pt>
                <c:pt idx="2">
                  <c:v>0.005215876165650304</c:v>
                </c:pt>
                <c:pt idx="3">
                  <c:v>0.005903196394001147</c:v>
                </c:pt>
                <c:pt idx="4">
                  <c:v>0.0036913089268279953</c:v>
                </c:pt>
                <c:pt idx="5">
                  <c:v>0.0028474152307135445</c:v>
                </c:pt>
                <c:pt idx="6">
                  <c:v>0.004365512725192221</c:v>
                </c:pt>
                <c:pt idx="7">
                  <c:v>0.005470376076872351</c:v>
                </c:pt>
                <c:pt idx="8">
                  <c:v>0.005909758605784765</c:v>
                </c:pt>
                <c:pt idx="9">
                  <c:v>0.00568114799192544</c:v>
                </c:pt>
                <c:pt idx="10">
                  <c:v>0.004870833347177908</c:v>
                </c:pt>
                <c:pt idx="11">
                  <c:v>0.0054950766781727035</c:v>
                </c:pt>
                <c:pt idx="12">
                  <c:v>0.006691731243874524</c:v>
                </c:pt>
                <c:pt idx="13">
                  <c:v>0.007979072870401773</c:v>
                </c:pt>
                <c:pt idx="14">
                  <c:v>0.007861657134872189</c:v>
                </c:pt>
                <c:pt idx="15">
                  <c:v>0.007894877053597017</c:v>
                </c:pt>
                <c:pt idx="16">
                  <c:v>0.007623405010505468</c:v>
                </c:pt>
                <c:pt idx="17">
                  <c:v>0.009927139600607624</c:v>
                </c:pt>
                <c:pt idx="18">
                  <c:v>0.006639535963770879</c:v>
                </c:pt>
                <c:pt idx="19">
                  <c:v>0.005988532422523228</c:v>
                </c:pt>
                <c:pt idx="20">
                  <c:v>0.006643147035040497</c:v>
                </c:pt>
                <c:pt idx="21">
                  <c:v>0.007986634679631064</c:v>
                </c:pt>
                <c:pt idx="22">
                  <c:v>0.006606310048559329</c:v>
                </c:pt>
                <c:pt idx="23">
                  <c:v>0.00910750138338623</c:v>
                </c:pt>
                <c:pt idx="24">
                  <c:v>0.00808307850791457</c:v>
                </c:pt>
                <c:pt idx="25">
                  <c:v>0.008783136356757159</c:v>
                </c:pt>
                <c:pt idx="26">
                  <c:v>0.0072920811445657575</c:v>
                </c:pt>
                <c:pt idx="27">
                  <c:v>0.007266993995384125</c:v>
                </c:pt>
                <c:pt idx="28">
                  <c:v>0.006672792806914428</c:v>
                </c:pt>
                <c:pt idx="29">
                  <c:v>0.008510636905698947</c:v>
                </c:pt>
                <c:pt idx="30">
                  <c:v>0.00825652889438103</c:v>
                </c:pt>
                <c:pt idx="31">
                  <c:v>0.007212044551265149</c:v>
                </c:pt>
                <c:pt idx="32">
                  <c:v>0.006107106016926498</c:v>
                </c:pt>
                <c:pt idx="33">
                  <c:v>0.008122242327393244</c:v>
                </c:pt>
                <c:pt idx="34">
                  <c:v>0.007848029538841065</c:v>
                </c:pt>
                <c:pt idx="35">
                  <c:v>0.008561526203732326</c:v>
                </c:pt>
                <c:pt idx="36">
                  <c:v>0.008442731273279287</c:v>
                </c:pt>
                <c:pt idx="37">
                  <c:v>0.007849618425957362</c:v>
                </c:pt>
                <c:pt idx="38">
                  <c:v>0.009006130663810192</c:v>
                </c:pt>
                <c:pt idx="39">
                  <c:v>0.009359604503677448</c:v>
                </c:pt>
                <c:pt idx="40">
                  <c:v>0.008715146666129915</c:v>
                </c:pt>
                <c:pt idx="41">
                  <c:v>0.008018620848003671</c:v>
                </c:pt>
                <c:pt idx="42">
                  <c:v>0.009133914752475799</c:v>
                </c:pt>
                <c:pt idx="43">
                  <c:v>0.008337452241463985</c:v>
                </c:pt>
                <c:pt idx="44">
                  <c:v>0.006478301644175344</c:v>
                </c:pt>
                <c:pt idx="45">
                  <c:v>0.005490978073429742</c:v>
                </c:pt>
                <c:pt idx="46">
                  <c:v>0.006494799150030492</c:v>
                </c:pt>
                <c:pt idx="47">
                  <c:v>0.005657453011836835</c:v>
                </c:pt>
                <c:pt idx="48">
                  <c:v>0.0033984852063200753</c:v>
                </c:pt>
                <c:pt idx="49">
                  <c:v>0.005836739148013699</c:v>
                </c:pt>
                <c:pt idx="50">
                  <c:v>0.006124522277532183</c:v>
                </c:pt>
                <c:pt idx="51">
                  <c:v>0.004845219673714058</c:v>
                </c:pt>
                <c:pt idx="52">
                  <c:v>0.008150826200142696</c:v>
                </c:pt>
                <c:pt idx="53">
                  <c:v>0.008150826200142696</c:v>
                </c:pt>
                <c:pt idx="54">
                  <c:v>0.00576238188243104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oreal Pari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4522205731247857"/>
          <c:min val="0.0002660753880266075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9235886210320149</c:v>
                </c:pt>
                <c:pt idx="1">
                  <c:v>0.10579759339199883</c:v>
                </c:pt>
                <c:pt idx="2">
                  <c:v>0.10818789193993752</c:v>
                </c:pt>
                <c:pt idx="3">
                  <c:v>0.1038384511656061</c:v>
                </c:pt>
                <c:pt idx="4">
                  <c:v>0.09966258969948223</c:v>
                </c:pt>
                <c:pt idx="5">
                  <c:v>0.09761830688059751</c:v>
                </c:pt>
                <c:pt idx="6">
                  <c:v>0.09795021668029996</c:v>
                </c:pt>
                <c:pt idx="7">
                  <c:v>0.09716629325235512</c:v>
                </c:pt>
                <c:pt idx="8">
                  <c:v>0.09417523531749797</c:v>
                </c:pt>
                <c:pt idx="9">
                  <c:v>0.09189665588714215</c:v>
                </c:pt>
                <c:pt idx="10">
                  <c:v>0.09258614099104347</c:v>
                </c:pt>
                <c:pt idx="11">
                  <c:v>0.09622425085179438</c:v>
                </c:pt>
                <c:pt idx="12">
                  <c:v>0.09563691196733755</c:v>
                </c:pt>
                <c:pt idx="13">
                  <c:v>0.0940227738914938</c:v>
                </c:pt>
                <c:pt idx="14">
                  <c:v>0.09436060799181838</c:v>
                </c:pt>
                <c:pt idx="15">
                  <c:v>0.09431372773197037</c:v>
                </c:pt>
                <c:pt idx="16">
                  <c:v>0.09264643056978274</c:v>
                </c:pt>
                <c:pt idx="17">
                  <c:v>0.08433985839042744</c:v>
                </c:pt>
                <c:pt idx="18">
                  <c:v>0.0923102713735525</c:v>
                </c:pt>
                <c:pt idx="19">
                  <c:v>0.09195027935849992</c:v>
                </c:pt>
                <c:pt idx="20">
                  <c:v>0.09480480997799677</c:v>
                </c:pt>
                <c:pt idx="21">
                  <c:v>0.09434479143907622</c:v>
                </c:pt>
                <c:pt idx="22">
                  <c:v>0.08971794658688412</c:v>
                </c:pt>
                <c:pt idx="23">
                  <c:v>0.0906009542524116</c:v>
                </c:pt>
                <c:pt idx="24">
                  <c:v>0.08787628766088776</c:v>
                </c:pt>
                <c:pt idx="25">
                  <c:v>0.09087622498301173</c:v>
                </c:pt>
                <c:pt idx="26">
                  <c:v>0.09430712705438059</c:v>
                </c:pt>
                <c:pt idx="27">
                  <c:v>0.09408172449271</c:v>
                </c:pt>
                <c:pt idx="28">
                  <c:v>0.09576722547201552</c:v>
                </c:pt>
                <c:pt idx="29">
                  <c:v>0.09753355598087408</c:v>
                </c:pt>
                <c:pt idx="30">
                  <c:v>0.09549356542022171</c:v>
                </c:pt>
                <c:pt idx="31">
                  <c:v>0.09331465353894886</c:v>
                </c:pt>
                <c:pt idx="32">
                  <c:v>0.09080178759339425</c:v>
                </c:pt>
                <c:pt idx="33">
                  <c:v>0.09022375106731771</c:v>
                </c:pt>
                <c:pt idx="34">
                  <c:v>0.09218878154805002</c:v>
                </c:pt>
                <c:pt idx="35">
                  <c:v>0.09729856027159833</c:v>
                </c:pt>
                <c:pt idx="36">
                  <c:v>0.09824579108350594</c:v>
                </c:pt>
                <c:pt idx="37">
                  <c:v>0.09980434800850395</c:v>
                </c:pt>
                <c:pt idx="38">
                  <c:v>0.10447198084481961</c:v>
                </c:pt>
                <c:pt idx="39">
                  <c:v>0.11066504611601302</c:v>
                </c:pt>
                <c:pt idx="40">
                  <c:v>0.11269811442460823</c:v>
                </c:pt>
                <c:pt idx="41">
                  <c:v>0.11289366699357806</c:v>
                </c:pt>
                <c:pt idx="42">
                  <c:v>0.11258465118847413</c:v>
                </c:pt>
                <c:pt idx="43">
                  <c:v>0.11278719026946453</c:v>
                </c:pt>
                <c:pt idx="44">
                  <c:v>0.11120177192198988</c:v>
                </c:pt>
                <c:pt idx="45">
                  <c:v>0.11089298553658439</c:v>
                </c:pt>
                <c:pt idx="46">
                  <c:v>0.10903573182976217</c:v>
                </c:pt>
                <c:pt idx="47">
                  <c:v>0.10623548864520593</c:v>
                </c:pt>
                <c:pt idx="48">
                  <c:v>0.11279835625798261</c:v>
                </c:pt>
                <c:pt idx="49">
                  <c:v>0.12003562759303821</c:v>
                </c:pt>
                <c:pt idx="50">
                  <c:v>0.10706805679364031</c:v>
                </c:pt>
                <c:pt idx="51">
                  <c:v>0.10580185784200488</c:v>
                </c:pt>
                <c:pt idx="52">
                  <c:v>0.10869384411938897</c:v>
                </c:pt>
                <c:pt idx="53">
                  <c:v>0.12119410621835082</c:v>
                </c:pt>
                <c:pt idx="54">
                  <c:v>0.11673311304299308</c:v>
                </c:pt>
                <c:pt idx="55">
                  <c:v>0.11327301591320531</c:v>
                </c:pt>
                <c:pt idx="56">
                  <c:v>0.11371037153611613</c:v>
                </c:pt>
                <c:pt idx="57">
                  <c:v>0.11123833721551993</c:v>
                </c:pt>
                <c:pt idx="58">
                  <c:v>0.11112722575312088</c:v>
                </c:pt>
                <c:pt idx="59">
                  <c:v>0.11346778359016156</c:v>
                </c:pt>
                <c:pt idx="60">
                  <c:v>0.11299160352553052</c:v>
                </c:pt>
                <c:pt idx="61">
                  <c:v>0.11439725332510235</c:v>
                </c:pt>
                <c:pt idx="62">
                  <c:v>0.10271868167837747</c:v>
                </c:pt>
                <c:pt idx="63">
                  <c:v>0.10719806763432425</c:v>
                </c:pt>
                <c:pt idx="64">
                  <c:v>0.11238329065981967</c:v>
                </c:pt>
                <c:pt idx="65">
                  <c:v>0.10695086344595973</c:v>
                </c:pt>
                <c:pt idx="66">
                  <c:v>0.11086425747896184</c:v>
                </c:pt>
                <c:pt idx="67">
                  <c:v>0.11171942612959906</c:v>
                </c:pt>
                <c:pt idx="68">
                  <c:v>0.11162701304453307</c:v>
                </c:pt>
                <c:pt idx="69">
                  <c:v>0.10854780297682001</c:v>
                </c:pt>
                <c:pt idx="70">
                  <c:v>0.10535253594412691</c:v>
                </c:pt>
                <c:pt idx="71">
                  <c:v>0.1100164077500242</c:v>
                </c:pt>
                <c:pt idx="72">
                  <c:v>0.11669480952054437</c:v>
                </c:pt>
                <c:pt idx="73">
                  <c:v>0.11473777668479472</c:v>
                </c:pt>
                <c:pt idx="74">
                  <c:v>0.11237370108094157</c:v>
                </c:pt>
                <c:pt idx="75">
                  <c:v>0.10686305876260457</c:v>
                </c:pt>
                <c:pt idx="76">
                  <c:v>0.10531918485786482</c:v>
                </c:pt>
                <c:pt idx="77">
                  <c:v>0.10521870287830525</c:v>
                </c:pt>
                <c:pt idx="78">
                  <c:v>0.10880724334389187</c:v>
                </c:pt>
                <c:pt idx="79">
                  <c:v>0.10553669360620523</c:v>
                </c:pt>
                <c:pt idx="80">
                  <c:v>0.10636129129309647</c:v>
                </c:pt>
                <c:pt idx="81">
                  <c:v>0.1108415246020458</c:v>
                </c:pt>
                <c:pt idx="82">
                  <c:v>0.1113394595111223</c:v>
                </c:pt>
                <c:pt idx="83">
                  <c:v>0.10366136752285293</c:v>
                </c:pt>
                <c:pt idx="84">
                  <c:v>0.10600820095883186</c:v>
                </c:pt>
                <c:pt idx="85">
                  <c:v>0.1019746102387871</c:v>
                </c:pt>
                <c:pt idx="86">
                  <c:v>0.10590406302091644</c:v>
                </c:pt>
                <c:pt idx="87">
                  <c:v>0.10298140200795008</c:v>
                </c:pt>
                <c:pt idx="88">
                  <c:v>0.10662476640636862</c:v>
                </c:pt>
                <c:pt idx="89">
                  <c:v>0.10430103826849425</c:v>
                </c:pt>
                <c:pt idx="90">
                  <c:v>0.109626585930031</c:v>
                </c:pt>
                <c:pt idx="91">
                  <c:v>0.11433176427873634</c:v>
                </c:pt>
                <c:pt idx="92">
                  <c:v>0.10934872293377043</c:v>
                </c:pt>
                <c:pt idx="93">
                  <c:v>0.11180404905598318</c:v>
                </c:pt>
                <c:pt idx="94">
                  <c:v>0.10740795965680026</c:v>
                </c:pt>
                <c:pt idx="95">
                  <c:v>0.10459600684043578</c:v>
                </c:pt>
                <c:pt idx="96">
                  <c:v>0.10580641387816735</c:v>
                </c:pt>
                <c:pt idx="97">
                  <c:v>0.10415268064531086</c:v>
                </c:pt>
                <c:pt idx="98">
                  <c:v>0.10509315418946535</c:v>
                </c:pt>
                <c:pt idx="99">
                  <c:v>0.10398522323680737</c:v>
                </c:pt>
                <c:pt idx="100">
                  <c:v>0.10700501167487357</c:v>
                </c:pt>
                <c:pt idx="101">
                  <c:v>0.10831206069069807</c:v>
                </c:pt>
                <c:pt idx="102">
                  <c:v>0.10750228624399737</c:v>
                </c:pt>
                <c:pt idx="103">
                  <c:v>0.10533838693498071</c:v>
                </c:pt>
                <c:pt idx="104">
                  <c:v>0.10728739227970298</c:v>
                </c:pt>
              </c:numCache>
            </c:numRef>
          </c:xVal>
          <c:yVal>
            <c:numRef>
              <c:f>Sheet1!$B$2:$B$106</c:f>
              <c:numCache>
                <c:formatCode>General</c:formatCode>
                <c:ptCount val="105"/>
                <c:pt idx="0">
                  <c:v>0.23418296003728872</c:v>
                </c:pt>
                <c:pt idx="1">
                  <c:v>0.23165931366074022</c:v>
                </c:pt>
                <c:pt idx="2">
                  <c:v>0.23278705032349017</c:v>
                </c:pt>
                <c:pt idx="3">
                  <c:v>0.2333306651724966</c:v>
                </c:pt>
                <c:pt idx="4">
                  <c:v>0.24390852650297945</c:v>
                </c:pt>
                <c:pt idx="5">
                  <c:v>0.24503670603255664</c:v>
                </c:pt>
                <c:pt idx="6">
                  <c:v>0.2710683172856488</c:v>
                </c:pt>
                <c:pt idx="7">
                  <c:v>0.27163461538461536</c:v>
                </c:pt>
                <c:pt idx="8">
                  <c:v>0.2694881600235329</c:v>
                </c:pt>
                <c:pt idx="9">
                  <c:v>0.26030640668523675</c:v>
                </c:pt>
                <c:pt idx="10">
                  <c:v>0.25559079668852813</c:v>
                </c:pt>
                <c:pt idx="11">
                  <c:v>0.23839553955666223</c:v>
                </c:pt>
                <c:pt idx="12">
                  <c:v>0.22530389481518234</c:v>
                </c:pt>
                <c:pt idx="13">
                  <c:v>0.2139519185835194</c:v>
                </c:pt>
                <c:pt idx="14">
                  <c:v>0.19948627892957305</c:v>
                </c:pt>
                <c:pt idx="15">
                  <c:v>0.19059006211180124</c:v>
                </c:pt>
                <c:pt idx="16">
                  <c:v>0.18442418631151627</c:v>
                </c:pt>
                <c:pt idx="17">
                  <c:v>0.18214480981020073</c:v>
                </c:pt>
                <c:pt idx="18">
                  <c:v>0.16781849002477506</c:v>
                </c:pt>
                <c:pt idx="19">
                  <c:v>0.1664623557053836</c:v>
                </c:pt>
                <c:pt idx="20">
                  <c:v>0.1770842061164642</c:v>
                </c:pt>
                <c:pt idx="21">
                  <c:v>0.18134497081865503</c:v>
                </c:pt>
                <c:pt idx="22">
                  <c:v>0.1921511324496399</c:v>
                </c:pt>
                <c:pt idx="23">
                  <c:v>0.20127326150832517</c:v>
                </c:pt>
                <c:pt idx="24">
                  <c:v>0.20410230438085591</c:v>
                </c:pt>
                <c:pt idx="25">
                  <c:v>0.20850965161439916</c:v>
                </c:pt>
                <c:pt idx="26">
                  <c:v>0.2231766279189384</c:v>
                </c:pt>
                <c:pt idx="27">
                  <c:v>0.22059716599190282</c:v>
                </c:pt>
                <c:pt idx="28">
                  <c:v>0.2278031977790345</c:v>
                </c:pt>
                <c:pt idx="29">
                  <c:v>0.22411392120749293</c:v>
                </c:pt>
                <c:pt idx="30">
                  <c:v>0.22836372028617585</c:v>
                </c:pt>
                <c:pt idx="31">
                  <c:v>0.23155645524066576</c:v>
                </c:pt>
                <c:pt idx="32">
                  <c:v>0.2391124358337473</c:v>
                </c:pt>
                <c:pt idx="33">
                  <c:v>0.23732728936930655</c:v>
                </c:pt>
                <c:pt idx="34">
                  <c:v>0.2376046610332986</c:v>
                </c:pt>
                <c:pt idx="35">
                  <c:v>0.25597164957235835</c:v>
                </c:pt>
                <c:pt idx="36">
                  <c:v>0.2249256444150694</c:v>
                </c:pt>
                <c:pt idx="37">
                  <c:v>0.21881479338444476</c:v>
                </c:pt>
                <c:pt idx="38">
                  <c:v>0.20735478882767952</c:v>
                </c:pt>
                <c:pt idx="39">
                  <c:v>0.20157617317435136</c:v>
                </c:pt>
                <c:pt idx="40">
                  <c:v>0.2043353918846106</c:v>
                </c:pt>
                <c:pt idx="41">
                  <c:v>0.19930262433474033</c:v>
                </c:pt>
                <c:pt idx="42">
                  <c:v>0.19792563600782778</c:v>
                </c:pt>
                <c:pt idx="43">
                  <c:v>0.19148566463944397</c:v>
                </c:pt>
                <c:pt idx="44">
                  <c:v>0.18882872746876686</c:v>
                </c:pt>
                <c:pt idx="45">
                  <c:v>0.20146325946347152</c:v>
                </c:pt>
                <c:pt idx="46">
                  <c:v>0.20674221893734088</c:v>
                </c:pt>
                <c:pt idx="47">
                  <c:v>0.20248705097825404</c:v>
                </c:pt>
                <c:pt idx="48">
                  <c:v>0.20068823124569857</c:v>
                </c:pt>
                <c:pt idx="49">
                  <c:v>0.21421377913941334</c:v>
                </c:pt>
                <c:pt idx="50">
                  <c:v>0.20370295834171864</c:v>
                </c:pt>
                <c:pt idx="51">
                  <c:v>0.19657907167540958</c:v>
                </c:pt>
                <c:pt idx="52">
                  <c:v>0.1990873753591347</c:v>
                </c:pt>
                <c:pt idx="53">
                  <c:v>0.1924849250862364</c:v>
                </c:pt>
                <c:pt idx="54">
                  <c:v>0.19632599504300918</c:v>
                </c:pt>
                <c:pt idx="55">
                  <c:v>0.1932637372498579</c:v>
                </c:pt>
                <c:pt idx="56">
                  <c:v>0.1963961784980046</c:v>
                </c:pt>
                <c:pt idx="57">
                  <c:v>0.1902930783620869</c:v>
                </c:pt>
                <c:pt idx="58">
                  <c:v>0.2004390569819605</c:v>
                </c:pt>
                <c:pt idx="59">
                  <c:v>0.19565183241961073</c:v>
                </c:pt>
                <c:pt idx="60">
                  <c:v>0.1985710596539554</c:v>
                </c:pt>
                <c:pt idx="61">
                  <c:v>0.19782154510669264</c:v>
                </c:pt>
                <c:pt idx="62">
                  <c:v>0.21214106590154305</c:v>
                </c:pt>
                <c:pt idx="63">
                  <c:v>0.2160689782292584</c:v>
                </c:pt>
                <c:pt idx="64">
                  <c:v>0.2057314629258517</c:v>
                </c:pt>
                <c:pt idx="65">
                  <c:v>0.20019627085377822</c:v>
                </c:pt>
                <c:pt idx="66">
                  <c:v>0.1993405749644317</c:v>
                </c:pt>
                <c:pt idx="67">
                  <c:v>0.18906573406609092</c:v>
                </c:pt>
                <c:pt idx="68">
                  <c:v>0.1790146244498083</c:v>
                </c:pt>
                <c:pt idx="69">
                  <c:v>0.17184334908845375</c:v>
                </c:pt>
                <c:pt idx="70">
                  <c:v>0.17183179516644523</c:v>
                </c:pt>
                <c:pt idx="71">
                  <c:v>0.1720010810393421</c:v>
                </c:pt>
                <c:pt idx="72">
                  <c:v>0.1703549517966696</c:v>
                </c:pt>
                <c:pt idx="73">
                  <c:v>0.17289084055492948</c:v>
                </c:pt>
                <c:pt idx="74">
                  <c:v>0.1736186858238989</c:v>
                </c:pt>
                <c:pt idx="75">
                  <c:v>0.18380130535722108</c:v>
                </c:pt>
                <c:pt idx="76">
                  <c:v>0.1867787900023359</c:v>
                </c:pt>
                <c:pt idx="77">
                  <c:v>0.17921302316620913</c:v>
                </c:pt>
                <c:pt idx="78">
                  <c:v>0.183714055361462</c:v>
                </c:pt>
                <c:pt idx="79">
                  <c:v>0.16925569427237205</c:v>
                </c:pt>
                <c:pt idx="80">
                  <c:v>0.1642047079005051</c:v>
                </c:pt>
                <c:pt idx="81">
                  <c:v>0.1722029753413491</c:v>
                </c:pt>
                <c:pt idx="82">
                  <c:v>0.17136125654450263</c:v>
                </c:pt>
                <c:pt idx="83">
                  <c:v>0.17091711623344777</c:v>
                </c:pt>
                <c:pt idx="84">
                  <c:v>0.1731971525843392</c:v>
                </c:pt>
                <c:pt idx="85">
                  <c:v>0.1781016320069865</c:v>
                </c:pt>
                <c:pt idx="86">
                  <c:v>0.18914164143687096</c:v>
                </c:pt>
                <c:pt idx="87">
                  <c:v>0.20626872551279096</c:v>
                </c:pt>
                <c:pt idx="88">
                  <c:v>0.19925086345283846</c:v>
                </c:pt>
                <c:pt idx="89">
                  <c:v>0.18920077137347333</c:v>
                </c:pt>
                <c:pt idx="90">
                  <c:v>0.17882288228822882</c:v>
                </c:pt>
                <c:pt idx="91">
                  <c:v>0.17116303770578864</c:v>
                </c:pt>
                <c:pt idx="92">
                  <c:v>0.18376905390445372</c:v>
                </c:pt>
                <c:pt idx="93">
                  <c:v>0.17386494017374202</c:v>
                </c:pt>
                <c:pt idx="94">
                  <c:v>0.17872005918801442</c:v>
                </c:pt>
                <c:pt idx="95">
                  <c:v>0.18349928876244664</c:v>
                </c:pt>
                <c:pt idx="96">
                  <c:v>0.1838017571962526</c:v>
                </c:pt>
                <c:pt idx="97">
                  <c:v>0.18564141638622558</c:v>
                </c:pt>
                <c:pt idx="98">
                  <c:v>0.19047008859925313</c:v>
                </c:pt>
                <c:pt idx="99">
                  <c:v>0.19314582541492462</c:v>
                </c:pt>
                <c:pt idx="100">
                  <c:v>0.19683051921857891</c:v>
                </c:pt>
                <c:pt idx="101">
                  <c:v>0.19314315106433488</c:v>
                </c:pt>
                <c:pt idx="102">
                  <c:v>0.17887716504081227</c:v>
                </c:pt>
                <c:pt idx="103">
                  <c:v>0.1841797332085186</c:v>
                </c:pt>
                <c:pt idx="104">
                  <c:v>0.1828788495455162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395718491124027</c:v>
                </c:pt>
                <c:pt idx="1">
                  <c:v>0.11809226741590716</c:v>
                </c:pt>
                <c:pt idx="2">
                  <c:v>0.11613644253274039</c:v>
                </c:pt>
                <c:pt idx="3">
                  <c:v>0.11426800831350072</c:v>
                </c:pt>
                <c:pt idx="4">
                  <c:v>0.11551021590848355</c:v>
                </c:pt>
                <c:pt idx="5">
                  <c:v>0.10853553584599042</c:v>
                </c:pt>
                <c:pt idx="6">
                  <c:v>0.10230012060780835</c:v>
                </c:pt>
                <c:pt idx="7">
                  <c:v>0.10526396141265837</c:v>
                </c:pt>
                <c:pt idx="8">
                  <c:v>0.11505464369188305</c:v>
                </c:pt>
                <c:pt idx="9">
                  <c:v>0.10988198538394948</c:v>
                </c:pt>
                <c:pt idx="10">
                  <c:v>0.11220849593685386</c:v>
                </c:pt>
                <c:pt idx="11">
                  <c:v>0.10330046171080437</c:v>
                </c:pt>
                <c:pt idx="12">
                  <c:v>0.10567171573216295</c:v>
                </c:pt>
                <c:pt idx="13">
                  <c:v>0.10715721052570115</c:v>
                </c:pt>
                <c:pt idx="14">
                  <c:v>0.10652981665465902</c:v>
                </c:pt>
                <c:pt idx="15">
                  <c:v>0.10483685876235989</c:v>
                </c:pt>
                <c:pt idx="16">
                  <c:v>0.10810400054350423</c:v>
                </c:pt>
                <c:pt idx="17">
                  <c:v>0.10309814118737129</c:v>
                </c:pt>
                <c:pt idx="18">
                  <c:v>0.10295065360612995</c:v>
                </c:pt>
                <c:pt idx="19">
                  <c:v>0.11209111734074834</c:v>
                </c:pt>
                <c:pt idx="20">
                  <c:v>0.10853312782274326</c:v>
                </c:pt>
                <c:pt idx="21">
                  <c:v>0.10582288202371942</c:v>
                </c:pt>
                <c:pt idx="22">
                  <c:v>0.10860850632354213</c:v>
                </c:pt>
                <c:pt idx="23">
                  <c:v>0.10939503756257588</c:v>
                </c:pt>
                <c:pt idx="24">
                  <c:v>0.10751170327043671</c:v>
                </c:pt>
                <c:pt idx="25">
                  <c:v>0.1046210791561086</c:v>
                </c:pt>
                <c:pt idx="26">
                  <c:v>0.1051390268941942</c:v>
                </c:pt>
                <c:pt idx="27">
                  <c:v>0.10433674488295579</c:v>
                </c:pt>
                <c:pt idx="28">
                  <c:v>0.11214674214513504</c:v>
                </c:pt>
                <c:pt idx="29">
                  <c:v>0.1128595005812639</c:v>
                </c:pt>
                <c:pt idx="30">
                  <c:v>0.11078585719630858</c:v>
                </c:pt>
                <c:pt idx="31">
                  <c:v>0.10700964850464598</c:v>
                </c:pt>
                <c:pt idx="32">
                  <c:v>0.11152183989364199</c:v>
                </c:pt>
                <c:pt idx="33">
                  <c:v>0.11429716126478778</c:v>
                </c:pt>
                <c:pt idx="34">
                  <c:v>0.11367287654381072</c:v>
                </c:pt>
                <c:pt idx="35">
                  <c:v>0.11301467532076227</c:v>
                </c:pt>
                <c:pt idx="36">
                  <c:v>0.11502041398542234</c:v>
                </c:pt>
                <c:pt idx="37">
                  <c:v>0.11371339592487842</c:v>
                </c:pt>
                <c:pt idx="38">
                  <c:v>0.1136216558665603</c:v>
                </c:pt>
                <c:pt idx="39">
                  <c:v>0.11358489535991291</c:v>
                </c:pt>
                <c:pt idx="40">
                  <c:v>0.11516375925263587</c:v>
                </c:pt>
                <c:pt idx="41">
                  <c:v>0.11869125076122217</c:v>
                </c:pt>
                <c:pt idx="42">
                  <c:v>0.1185144515097262</c:v>
                </c:pt>
                <c:pt idx="43">
                  <c:v>0.1211535205088923</c:v>
                </c:pt>
                <c:pt idx="44">
                  <c:v>0.11854936344339254</c:v>
                </c:pt>
                <c:pt idx="45">
                  <c:v>0.11872076209409116</c:v>
                </c:pt>
                <c:pt idx="46">
                  <c:v>0.11749596455661486</c:v>
                </c:pt>
                <c:pt idx="47">
                  <c:v>0.11172424387392074</c:v>
                </c:pt>
                <c:pt idx="48">
                  <c:v>0.11262500341009206</c:v>
                </c:pt>
                <c:pt idx="49">
                  <c:v>0.11858957582674472</c:v>
                </c:pt>
                <c:pt idx="50">
                  <c:v>0.11860402335885258</c:v>
                </c:pt>
                <c:pt idx="51">
                  <c:v>0.11002313077975111</c:v>
                </c:pt>
              </c:numCache>
            </c:numRef>
          </c:xVal>
          <c:yVal>
            <c:numRef>
              <c:f>Sheet1!$B$109:$B$160</c:f>
              <c:numCache>
                <c:formatCode>General</c:formatCode>
                <c:ptCount val="52"/>
                <c:pt idx="0">
                  <c:v>0.1894963069094143</c:v>
                </c:pt>
                <c:pt idx="1">
                  <c:v>0.18750654793085386</c:v>
                </c:pt>
                <c:pt idx="2">
                  <c:v>0.20014538973829848</c:v>
                </c:pt>
                <c:pt idx="3">
                  <c:v>0.21038936683935394</c:v>
                </c:pt>
                <c:pt idx="4">
                  <c:v>0.1959896821920475</c:v>
                </c:pt>
                <c:pt idx="5">
                  <c:v>0.19458164213408968</c:v>
                </c:pt>
                <c:pt idx="6">
                  <c:v>0.20185614849187936</c:v>
                </c:pt>
                <c:pt idx="7">
                  <c:v>0.19727827016154378</c:v>
                </c:pt>
                <c:pt idx="8">
                  <c:v>0.18963312016156175</c:v>
                </c:pt>
                <c:pt idx="9">
                  <c:v>0.19934265604167312</c:v>
                </c:pt>
                <c:pt idx="10">
                  <c:v>0.20140063503368053</c:v>
                </c:pt>
                <c:pt idx="11">
                  <c:v>0.20503451986012733</c:v>
                </c:pt>
                <c:pt idx="12">
                  <c:v>0.2040353661301292</c:v>
                </c:pt>
                <c:pt idx="13">
                  <c:v>0.2056782334384858</c:v>
                </c:pt>
                <c:pt idx="14">
                  <c:v>0.20327488769743515</c:v>
                </c:pt>
                <c:pt idx="15">
                  <c:v>0.20087417464893517</c:v>
                </c:pt>
                <c:pt idx="16">
                  <c:v>0.1910104279036318</c:v>
                </c:pt>
                <c:pt idx="17">
                  <c:v>0.1925306829305022</c:v>
                </c:pt>
                <c:pt idx="18">
                  <c:v>0.196917183509668</c:v>
                </c:pt>
                <c:pt idx="19">
                  <c:v>0.19663485685585133</c:v>
                </c:pt>
                <c:pt idx="20">
                  <c:v>0.1837483739081955</c:v>
                </c:pt>
                <c:pt idx="21">
                  <c:v>0.1940855584266437</c:v>
                </c:pt>
                <c:pt idx="22">
                  <c:v>0.19056251062142412</c:v>
                </c:pt>
                <c:pt idx="23">
                  <c:v>0.1984478935698448</c:v>
                </c:pt>
                <c:pt idx="24">
                  <c:v>0.19864755206924534</c:v>
                </c:pt>
                <c:pt idx="25">
                  <c:v>0.19644681575661255</c:v>
                </c:pt>
                <c:pt idx="26">
                  <c:v>0.19033461268176657</c:v>
                </c:pt>
                <c:pt idx="27">
                  <c:v>0.19085876647234606</c:v>
                </c:pt>
                <c:pt idx="28">
                  <c:v>0.1812658003282033</c:v>
                </c:pt>
                <c:pt idx="29">
                  <c:v>0.18279283123533177</c:v>
                </c:pt>
                <c:pt idx="30">
                  <c:v>0.19084139157496943</c:v>
                </c:pt>
                <c:pt idx="31">
                  <c:v>0.1821759399406672</c:v>
                </c:pt>
                <c:pt idx="32">
                  <c:v>0.17766712575484692</c:v>
                </c:pt>
                <c:pt idx="33">
                  <c:v>0.1963195611784482</c:v>
                </c:pt>
                <c:pt idx="34">
                  <c:v>0.21426120376089494</c:v>
                </c:pt>
                <c:pt idx="35">
                  <c:v>0.2104092893024788</c:v>
                </c:pt>
                <c:pt idx="36">
                  <c:v>0.19495100266078266</c:v>
                </c:pt>
                <c:pt idx="37">
                  <c:v>0.1963151207115629</c:v>
                </c:pt>
                <c:pt idx="38">
                  <c:v>0.1955647775904552</c:v>
                </c:pt>
                <c:pt idx="39">
                  <c:v>0.20316422718014304</c:v>
                </c:pt>
                <c:pt idx="40">
                  <c:v>0.18989506772061202</c:v>
                </c:pt>
                <c:pt idx="41">
                  <c:v>0.1931857638888889</c:v>
                </c:pt>
                <c:pt idx="42">
                  <c:v>0.19118435808669365</c:v>
                </c:pt>
                <c:pt idx="43">
                  <c:v>0.1848424212106053</c:v>
                </c:pt>
                <c:pt idx="44">
                  <c:v>0.18245932342268523</c:v>
                </c:pt>
                <c:pt idx="45">
                  <c:v>0.19764369081700067</c:v>
                </c:pt>
                <c:pt idx="46">
                  <c:v>0.20973189782562804</c:v>
                </c:pt>
                <c:pt idx="47">
                  <c:v>0.2101964475933312</c:v>
                </c:pt>
                <c:pt idx="48">
                  <c:v>0.2043618236577007</c:v>
                </c:pt>
                <c:pt idx="49">
                  <c:v>0.21280588500225192</c:v>
                </c:pt>
                <c:pt idx="50">
                  <c:v>0.21910028766987402</c:v>
                </c:pt>
                <c:pt idx="51">
                  <c:v>0.2106088600524212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9430214448122918</c:v>
                </c:pt>
              </c:numCache>
            </c:numRef>
          </c:xVal>
          <c:yVal>
            <c:numRef>
              <c:f>Sheet1!$B$163:$B$164</c:f>
              <c:numCache>
                <c:formatCode>General</c:formatCode>
                <c:ptCount val="2"/>
                <c:pt idx="0">
                  <c:v>0.24812181271370543</c:v>
                </c:pt>
                <c:pt idx="1">
                  <c:v>0.248121812713705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9430214448122918</c:v>
                </c:pt>
                <c:pt idx="1">
                  <c:v>1.9430214448122918</c:v>
                </c:pt>
              </c:numCache>
            </c:numRef>
          </c:xVal>
          <c:yVal>
            <c:numRef>
              <c:f>Sheet1!$B$167:$B$168</c:f>
              <c:numCache>
                <c:formatCode>General</c:formatCode>
                <c:ptCount val="2"/>
                <c:pt idx="0">
                  <c:v>0.248121812713705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414299971882764</c:v>
                </c:pt>
              </c:numCache>
            </c:numRef>
          </c:xVal>
          <c:yVal>
            <c:numRef>
              <c:f>Sheet1!$B$171:$B$172</c:f>
              <c:numCache>
                <c:formatCode>General</c:formatCode>
                <c:ptCount val="2"/>
                <c:pt idx="0">
                  <c:v>0.211719214095562</c:v>
                </c:pt>
                <c:pt idx="1">
                  <c:v>0.21171921409556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414299971882764</c:v>
                </c:pt>
                <c:pt idx="1">
                  <c:v>0.6414299971882764</c:v>
                </c:pt>
              </c:numCache>
            </c:numRef>
          </c:xVal>
          <c:yVal>
            <c:numRef>
              <c:f>Sheet1!$B$175:$B$176</c:f>
              <c:numCache>
                <c:formatCode>General</c:formatCode>
                <c:ptCount val="2"/>
                <c:pt idx="0">
                  <c:v>0.2117192140955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4765317472145137</c:v>
                </c:pt>
              </c:numCache>
            </c:numRef>
          </c:xVal>
          <c:yVal>
            <c:numRef>
              <c:f>Sheet1!$B$179:$B$180</c:f>
              <c:numCache>
                <c:formatCode>General</c:formatCode>
                <c:ptCount val="2"/>
                <c:pt idx="0">
                  <c:v>0.20070615800983355</c:v>
                </c:pt>
                <c:pt idx="1">
                  <c:v>0.2007061580098335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4765317472145137</c:v>
                </c:pt>
                <c:pt idx="1">
                  <c:v>0.24765317472145137</c:v>
                </c:pt>
              </c:numCache>
            </c:numRef>
          </c:xVal>
          <c:yVal>
            <c:numRef>
              <c:f>Sheet1!$B$183:$B$184</c:f>
              <c:numCache>
                <c:formatCode>General</c:formatCode>
                <c:ptCount val="2"/>
                <c:pt idx="0">
                  <c:v>0.200706158009833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395718491124027</c:v>
                </c:pt>
                <c:pt idx="1">
                  <c:v>0.11809226741590716</c:v>
                </c:pt>
                <c:pt idx="2">
                  <c:v>0.11613644253274039</c:v>
                </c:pt>
                <c:pt idx="3">
                  <c:v>0.11426800831350072</c:v>
                </c:pt>
                <c:pt idx="4">
                  <c:v>0.11551021590848355</c:v>
                </c:pt>
                <c:pt idx="5">
                  <c:v>0.10853553584599042</c:v>
                </c:pt>
                <c:pt idx="6">
                  <c:v>0.10230012060780835</c:v>
                </c:pt>
                <c:pt idx="7">
                  <c:v>0.10526396141265837</c:v>
                </c:pt>
                <c:pt idx="8">
                  <c:v>0.11505464369188305</c:v>
                </c:pt>
                <c:pt idx="9">
                  <c:v>0.10988198538394948</c:v>
                </c:pt>
                <c:pt idx="10">
                  <c:v>0.11220849593685386</c:v>
                </c:pt>
                <c:pt idx="11">
                  <c:v>0.10330046171080437</c:v>
                </c:pt>
                <c:pt idx="12">
                  <c:v>0.10567171573216295</c:v>
                </c:pt>
                <c:pt idx="13">
                  <c:v>0.10715721052570115</c:v>
                </c:pt>
                <c:pt idx="14">
                  <c:v>0.10652981665465902</c:v>
                </c:pt>
                <c:pt idx="15">
                  <c:v>0.10483685876235989</c:v>
                </c:pt>
                <c:pt idx="16">
                  <c:v>0.10810400054350423</c:v>
                </c:pt>
                <c:pt idx="17">
                  <c:v>0.10309814118737129</c:v>
                </c:pt>
                <c:pt idx="18">
                  <c:v>0.10295065360612995</c:v>
                </c:pt>
                <c:pt idx="19">
                  <c:v>0.11209111734074834</c:v>
                </c:pt>
                <c:pt idx="20">
                  <c:v>0.10853312782274326</c:v>
                </c:pt>
                <c:pt idx="21">
                  <c:v>0.10582288202371942</c:v>
                </c:pt>
                <c:pt idx="22">
                  <c:v>0.10860850632354213</c:v>
                </c:pt>
                <c:pt idx="23">
                  <c:v>0.10939503756257588</c:v>
                </c:pt>
                <c:pt idx="24">
                  <c:v>0.10751170327043671</c:v>
                </c:pt>
                <c:pt idx="25">
                  <c:v>0.1046210791561086</c:v>
                </c:pt>
                <c:pt idx="26">
                  <c:v>0.1051390268941942</c:v>
                </c:pt>
                <c:pt idx="27">
                  <c:v>0.10433674488295579</c:v>
                </c:pt>
                <c:pt idx="28">
                  <c:v>0.11214674214513504</c:v>
                </c:pt>
                <c:pt idx="29">
                  <c:v>0.1128595005812639</c:v>
                </c:pt>
                <c:pt idx="30">
                  <c:v>0.11078585719630858</c:v>
                </c:pt>
                <c:pt idx="31">
                  <c:v>0.10700964850464598</c:v>
                </c:pt>
                <c:pt idx="32">
                  <c:v>0.11152183989364199</c:v>
                </c:pt>
                <c:pt idx="33">
                  <c:v>0.11429716126478778</c:v>
                </c:pt>
                <c:pt idx="34">
                  <c:v>0.11367287654381072</c:v>
                </c:pt>
                <c:pt idx="35">
                  <c:v>0.11301467532076227</c:v>
                </c:pt>
                <c:pt idx="36">
                  <c:v>0.11502041398542234</c:v>
                </c:pt>
                <c:pt idx="37">
                  <c:v>0.11371339592487842</c:v>
                </c:pt>
                <c:pt idx="38">
                  <c:v>0.1136216558665603</c:v>
                </c:pt>
                <c:pt idx="39">
                  <c:v>0.11358489535991291</c:v>
                </c:pt>
                <c:pt idx="40">
                  <c:v>0.11516375925263587</c:v>
                </c:pt>
                <c:pt idx="41">
                  <c:v>0.11869125076122217</c:v>
                </c:pt>
                <c:pt idx="42">
                  <c:v>0.1185144515097262</c:v>
                </c:pt>
                <c:pt idx="43">
                  <c:v>0.1211535205088923</c:v>
                </c:pt>
                <c:pt idx="44">
                  <c:v>0.11854936344339254</c:v>
                </c:pt>
                <c:pt idx="45">
                  <c:v>0.11872076209409116</c:v>
                </c:pt>
                <c:pt idx="46">
                  <c:v>0.11749596455661486</c:v>
                </c:pt>
                <c:pt idx="47">
                  <c:v>0.11172424387392074</c:v>
                </c:pt>
                <c:pt idx="48">
                  <c:v>0.11262500341009206</c:v>
                </c:pt>
                <c:pt idx="49">
                  <c:v>0.11858957582674472</c:v>
                </c:pt>
                <c:pt idx="50">
                  <c:v>0.11860402335885258</c:v>
                </c:pt>
                <c:pt idx="51">
                  <c:v>0.11002313077975111</c:v>
                </c:pt>
                <c:pt idx="52">
                  <c:v>0.6414299971882764</c:v>
                </c:pt>
                <c:pt idx="53">
                  <c:v>1.9430214448122918</c:v>
                </c:pt>
                <c:pt idx="54">
                  <c:v>0.24765317472145137</c:v>
                </c:pt>
              </c:numCache>
            </c:numRef>
          </c:xVal>
          <c:yVal>
            <c:numRef>
              <c:f>Sheet1!$B$187:$B$241</c:f>
              <c:numCache>
                <c:formatCode>General</c:formatCode>
                <c:ptCount val="55"/>
                <c:pt idx="0">
                  <c:v>0.1969669805107798</c:v>
                </c:pt>
                <c:pt idx="1">
                  <c:v>0.19708262951027583</c:v>
                </c:pt>
                <c:pt idx="2">
                  <c:v>0.1970279294672483</c:v>
                </c:pt>
                <c:pt idx="3">
                  <c:v>0.19697567354542925</c:v>
                </c:pt>
                <c:pt idx="4">
                  <c:v>0.19701041531064528</c:v>
                </c:pt>
                <c:pt idx="5">
                  <c:v>0.1968153491251165</c:v>
                </c:pt>
                <c:pt idx="6">
                  <c:v>0.19664095852156166</c:v>
                </c:pt>
                <c:pt idx="7">
                  <c:v>0.19672385051304175</c:v>
                </c:pt>
                <c:pt idx="8">
                  <c:v>0.1969976739757412</c:v>
                </c:pt>
                <c:pt idx="9">
                  <c:v>0.1968530063040872</c:v>
                </c:pt>
                <c:pt idx="10">
                  <c:v>0.1969180735953581</c:v>
                </c:pt>
                <c:pt idx="11">
                  <c:v>0.19666893582251893</c:v>
                </c:pt>
                <c:pt idx="12">
                  <c:v>0.196735254488425</c:v>
                </c:pt>
                <c:pt idx="13">
                  <c:v>0.19677680045188167</c:v>
                </c:pt>
                <c:pt idx="14">
                  <c:v>0.19675925364999947</c:v>
                </c:pt>
                <c:pt idx="15">
                  <c:v>0.19671190540816577</c:v>
                </c:pt>
                <c:pt idx="16">
                  <c:v>0.19680328004888323</c:v>
                </c:pt>
                <c:pt idx="17">
                  <c:v>0.19666327737045997</c:v>
                </c:pt>
                <c:pt idx="18">
                  <c:v>0.19665915247302698</c:v>
                </c:pt>
                <c:pt idx="19">
                  <c:v>0.19691479077882745</c:v>
                </c:pt>
                <c:pt idx="20">
                  <c:v>0.19681528177809768</c:v>
                </c:pt>
                <c:pt idx="21">
                  <c:v>0.19673948227114912</c:v>
                </c:pt>
                <c:pt idx="22">
                  <c:v>0.19681738994599784</c:v>
                </c:pt>
                <c:pt idx="23">
                  <c:v>0.1968393874637654</c:v>
                </c:pt>
                <c:pt idx="24">
                  <c:v>0.19678671482026755</c:v>
                </c:pt>
                <c:pt idx="25">
                  <c:v>0.1967058705356943</c:v>
                </c:pt>
                <c:pt idx="26">
                  <c:v>0.19672035637427993</c:v>
                </c:pt>
                <c:pt idx="27">
                  <c:v>0.19669791834267872</c:v>
                </c:pt>
                <c:pt idx="28">
                  <c:v>0.19691634648006612</c:v>
                </c:pt>
                <c:pt idx="29">
                  <c:v>0.19693628073770852</c:v>
                </c:pt>
                <c:pt idx="30">
                  <c:v>0.19687828557497333</c:v>
                </c:pt>
                <c:pt idx="31">
                  <c:v>0.19677267347253377</c:v>
                </c:pt>
                <c:pt idx="32">
                  <c:v>0.19689886936320414</c:v>
                </c:pt>
                <c:pt idx="33">
                  <c:v>0.19697648888820532</c:v>
                </c:pt>
                <c:pt idx="34">
                  <c:v>0.1969590290422893</c:v>
                </c:pt>
                <c:pt idx="35">
                  <c:v>0.19694062062774695</c:v>
                </c:pt>
                <c:pt idx="36">
                  <c:v>0.1969967166474894</c:v>
                </c:pt>
                <c:pt idx="37">
                  <c:v>0.1969601622786577</c:v>
                </c:pt>
                <c:pt idx="38">
                  <c:v>0.19695759651462608</c:v>
                </c:pt>
                <c:pt idx="39">
                  <c:v>0.19695656840555936</c:v>
                </c:pt>
                <c:pt idx="40">
                  <c:v>0.19700072569367336</c:v>
                </c:pt>
                <c:pt idx="41">
                  <c:v>0.1970993817333626</c:v>
                </c:pt>
                <c:pt idx="42">
                  <c:v>0.1970944370541394</c:v>
                </c:pt>
                <c:pt idx="43">
                  <c:v>0.19716824590535578</c:v>
                </c:pt>
                <c:pt idx="44">
                  <c:v>0.19709541346275866</c:v>
                </c:pt>
                <c:pt idx="45">
                  <c:v>0.19710020709926915</c:v>
                </c:pt>
                <c:pt idx="46">
                  <c:v>0.19706595225438167</c:v>
                </c:pt>
                <c:pt idx="47">
                  <c:v>0.19690453014936424</c:v>
                </c:pt>
                <c:pt idx="48">
                  <c:v>0.19692972237685358</c:v>
                </c:pt>
                <c:pt idx="49">
                  <c:v>0.19709653811308833</c:v>
                </c:pt>
                <c:pt idx="50">
                  <c:v>0.19709694217821436</c:v>
                </c:pt>
                <c:pt idx="51">
                  <c:v>0.19685695382479315</c:v>
                </c:pt>
                <c:pt idx="52">
                  <c:v>0.211719214095562</c:v>
                </c:pt>
                <c:pt idx="53">
                  <c:v>0.24812181271370543</c:v>
                </c:pt>
                <c:pt idx="54">
                  <c:v>0.2007061580098335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59615384615384"/>
          <c:min val="0.1313637663204040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9</c:f>
              <c:numCache>
                <c:formatCode>General</c:formatCode>
                <c:ptCount val="68"/>
                <c:pt idx="0">
                  <c:v>3050.0</c:v>
                </c:pt>
                <c:pt idx="1">
                  <c:v>3066.2</c:v>
                </c:pt>
                <c:pt idx="2">
                  <c:v>3735.1667</c:v>
                </c:pt>
                <c:pt idx="3">
                  <c:v>4272.75</c:v>
                </c:pt>
                <c:pt idx="4">
                  <c:v>4003.25</c:v>
                </c:pt>
                <c:pt idx="5">
                  <c:v>3549.6667</c:v>
                </c:pt>
                <c:pt idx="6">
                  <c:v>3104.1429</c:v>
                </c:pt>
                <c:pt idx="7">
                  <c:v>3004.2222</c:v>
                </c:pt>
                <c:pt idx="8">
                  <c:v>3138.1429</c:v>
                </c:pt>
                <c:pt idx="9">
                  <c:v>2995.8667</c:v>
                </c:pt>
                <c:pt idx="10">
                  <c:v>2660.1667</c:v>
                </c:pt>
                <c:pt idx="11">
                  <c:v>3669.0</c:v>
                </c:pt>
                <c:pt idx="12">
                  <c:v>3025.0556</c:v>
                </c:pt>
                <c:pt idx="13">
                  <c:v>3099.3571</c:v>
                </c:pt>
                <c:pt idx="14">
                  <c:v>2739.4667</c:v>
                </c:pt>
                <c:pt idx="15">
                  <c:v>3202.5</c:v>
                </c:pt>
                <c:pt idx="16">
                  <c:v>3334.5</c:v>
                </c:pt>
                <c:pt idx="17">
                  <c:v>2909.6923</c:v>
                </c:pt>
                <c:pt idx="18">
                  <c:v>3116.0</c:v>
                </c:pt>
                <c:pt idx="19">
                  <c:v>2599.75</c:v>
                </c:pt>
                <c:pt idx="20">
                  <c:v>2696.8333</c:v>
                </c:pt>
                <c:pt idx="21">
                  <c:v>2451.5714</c:v>
                </c:pt>
                <c:pt idx="22">
                  <c:v>2641.6154</c:v>
                </c:pt>
                <c:pt idx="23">
                  <c:v>2559.1905</c:v>
                </c:pt>
                <c:pt idx="24">
                  <c:v>2616.8125</c:v>
                </c:pt>
                <c:pt idx="25">
                  <c:v>2355.3889</c:v>
                </c:pt>
                <c:pt idx="26">
                  <c:v>2616.8235</c:v>
                </c:pt>
                <c:pt idx="27">
                  <c:v>2307.1667</c:v>
                </c:pt>
                <c:pt idx="28">
                  <c:v>2335.0625</c:v>
                </c:pt>
                <c:pt idx="29">
                  <c:v>2205.0588</c:v>
                </c:pt>
                <c:pt idx="30">
                  <c:v>2366.9167</c:v>
                </c:pt>
                <c:pt idx="31">
                  <c:v>1907.25</c:v>
                </c:pt>
                <c:pt idx="32">
                  <c:v>1806.8462</c:v>
                </c:pt>
                <c:pt idx="33">
                  <c:v>2093.8182</c:v>
                </c:pt>
                <c:pt idx="34">
                  <c:v>1689.1818</c:v>
                </c:pt>
                <c:pt idx="35">
                  <c:v>2030.4375</c:v>
                </c:pt>
                <c:pt idx="36">
                  <c:v>1540.12</c:v>
                </c:pt>
                <c:pt idx="37">
                  <c:v>1899.0714</c:v>
                </c:pt>
                <c:pt idx="38">
                  <c:v>2853.48</c:v>
                </c:pt>
                <c:pt idx="39">
                  <c:v>2875.1212</c:v>
                </c:pt>
                <c:pt idx="40">
                  <c:v>3425.6333</c:v>
                </c:pt>
                <c:pt idx="41">
                  <c:v>2855.7568</c:v>
                </c:pt>
                <c:pt idx="42">
                  <c:v>3978.3</c:v>
                </c:pt>
                <c:pt idx="43">
                  <c:v>3440.1333</c:v>
                </c:pt>
                <c:pt idx="44">
                  <c:v>3386.2927</c:v>
                </c:pt>
                <c:pt idx="45">
                  <c:v>3334.303</c:v>
                </c:pt>
                <c:pt idx="46">
                  <c:v>3918.6087</c:v>
                </c:pt>
                <c:pt idx="47">
                  <c:v>3499.875</c:v>
                </c:pt>
                <c:pt idx="48">
                  <c:v>3327.3478</c:v>
                </c:pt>
                <c:pt idx="49">
                  <c:v>4500.5714</c:v>
                </c:pt>
                <c:pt idx="50">
                  <c:v>4381.2143</c:v>
                </c:pt>
                <c:pt idx="51">
                  <c:v>3936.9063</c:v>
                </c:pt>
                <c:pt idx="52">
                  <c:v>3929.9118</c:v>
                </c:pt>
                <c:pt idx="53">
                  <c:v>4465.6207</c:v>
                </c:pt>
                <c:pt idx="54">
                  <c:v>3604.8857</c:v>
                </c:pt>
                <c:pt idx="55">
                  <c:v>4148.6286</c:v>
                </c:pt>
                <c:pt idx="56">
                  <c:v>4459.8824</c:v>
                </c:pt>
                <c:pt idx="57">
                  <c:v>4274.8824</c:v>
                </c:pt>
                <c:pt idx="58">
                  <c:v>4202.5714</c:v>
                </c:pt>
                <c:pt idx="59">
                  <c:v>3518.4405</c:v>
                </c:pt>
                <c:pt idx="60">
                  <c:v>3508.6293</c:v>
                </c:pt>
                <c:pt idx="61">
                  <c:v>3336.811</c:v>
                </c:pt>
                <c:pt idx="62">
                  <c:v>3491.1985</c:v>
                </c:pt>
                <c:pt idx="63">
                  <c:v>3901.069</c:v>
                </c:pt>
                <c:pt idx="64">
                  <c:v>3699.9652</c:v>
                </c:pt>
                <c:pt idx="65">
                  <c:v>3851.6974</c:v>
                </c:pt>
                <c:pt idx="66">
                  <c:v>3939.1392</c:v>
                </c:pt>
                <c:pt idx="67">
                  <c:v>4226.3208</c:v>
                </c:pt>
              </c:numCache>
            </c:numRef>
          </c:xVal>
          <c:yVal>
            <c:numRef>
              <c:f>Sheet1!$B$2:$B$69</c:f>
              <c:numCache>
                <c:formatCode>General</c:formatCode>
                <c:ptCount val="68"/>
                <c:pt idx="0">
                  <c:v>0.0007739938080495357</c:v>
                </c:pt>
                <c:pt idx="1">
                  <c:v>0.0006829668078131403</c:v>
                </c:pt>
                <c:pt idx="2">
                  <c:v>0.0008798944126704796</c:v>
                </c:pt>
                <c:pt idx="3">
                  <c:v>0.0004822182037371911</c:v>
                </c:pt>
                <c:pt idx="4">
                  <c:v>0.0005220569042025581</c:v>
                </c:pt>
                <c:pt idx="5">
                  <c:v>0.0003325942350332594</c:v>
                </c:pt>
                <c:pt idx="6">
                  <c:v>0.0006925892945483328</c:v>
                </c:pt>
                <c:pt idx="7">
                  <c:v>0.0005979669124975084</c:v>
                </c:pt>
                <c:pt idx="8">
                  <c:v>0.0004204456724127575</c:v>
                </c:pt>
                <c:pt idx="9">
                  <c:v>0.0008858442095316837</c:v>
                </c:pt>
                <c:pt idx="10">
                  <c:v>0.0010699001426533524</c:v>
                </c:pt>
                <c:pt idx="11">
                  <c:v>0.000531632110579479</c:v>
                </c:pt>
                <c:pt idx="12">
                  <c:v>0.0005390028447372361</c:v>
                </c:pt>
                <c:pt idx="13">
                  <c:v>0.0008016491067338525</c:v>
                </c:pt>
                <c:pt idx="14">
                  <c:v>0.0010760401721664275</c:v>
                </c:pt>
                <c:pt idx="15">
                  <c:v>0.00036480817170304614</c:v>
                </c:pt>
                <c:pt idx="16">
                  <c:v>0.0004734848484848485</c:v>
                </c:pt>
                <c:pt idx="17">
                  <c:v>0.0011134903640256958</c:v>
                </c:pt>
                <c:pt idx="18">
                  <c:v>0.000715307582260372</c:v>
                </c:pt>
                <c:pt idx="19">
                  <c:v>0.0007297938332421091</c:v>
                </c:pt>
                <c:pt idx="20">
                  <c:v>0.00048088482808367395</c:v>
                </c:pt>
                <c:pt idx="21">
                  <c:v>0.0004991799187049847</c:v>
                </c:pt>
                <c:pt idx="22">
                  <c:v>0.0005967408767500573</c:v>
                </c:pt>
                <c:pt idx="23">
                  <c:v>0.0010290082320658564</c:v>
                </c:pt>
                <c:pt idx="24">
                  <c:v>0.0011176306230790724</c:v>
                </c:pt>
                <c:pt idx="25">
                  <c:v>0.0012251565477811054</c:v>
                </c:pt>
                <c:pt idx="26">
                  <c:v>0.0010281221651043241</c:v>
                </c:pt>
                <c:pt idx="27">
                  <c:v>0.0013947811937002382</c:v>
                </c:pt>
                <c:pt idx="28">
                  <c:v>0.0010165830103564394</c:v>
                </c:pt>
                <c:pt idx="29">
                  <c:v>0.0011519956630751508</c:v>
                </c:pt>
                <c:pt idx="30">
                  <c:v>0.0008489564909798373</c:v>
                </c:pt>
                <c:pt idx="31">
                  <c:v>0.0014316392269148174</c:v>
                </c:pt>
                <c:pt idx="32">
                  <c:v>0.0014657796820385612</c:v>
                </c:pt>
                <c:pt idx="33">
                  <c:v>0.0012130569033965593</c:v>
                </c:pt>
                <c:pt idx="34">
                  <c:v>0.0013112409107164144</c:v>
                </c:pt>
                <c:pt idx="35">
                  <c:v>0.001763279700242451</c:v>
                </c:pt>
                <c:pt idx="36">
                  <c:v>0.002972651605231867</c:v>
                </c:pt>
                <c:pt idx="37">
                  <c:v>0.0032265498962894676</c:v>
                </c:pt>
                <c:pt idx="38">
                  <c:v>0.003306003702724147</c:v>
                </c:pt>
                <c:pt idx="39">
                  <c:v>0.004521167283189478</c:v>
                </c:pt>
                <c:pt idx="40">
                  <c:v>0.0043846828412744815</c:v>
                </c:pt>
                <c:pt idx="41">
                  <c:v>0.006234203875315923</c:v>
                </c:pt>
                <c:pt idx="42">
                  <c:v>0.004583651642475172</c:v>
                </c:pt>
                <c:pt idx="43">
                  <c:v>0.004645401052957572</c:v>
                </c:pt>
                <c:pt idx="44">
                  <c:v>0.005054240631163708</c:v>
                </c:pt>
                <c:pt idx="45">
                  <c:v>0.005147402901263453</c:v>
                </c:pt>
                <c:pt idx="46">
                  <c:v>0.00407873736478099</c:v>
                </c:pt>
                <c:pt idx="47">
                  <c:v>0.00448011946985253</c:v>
                </c:pt>
                <c:pt idx="48">
                  <c:v>0.0039049235993208827</c:v>
                </c:pt>
                <c:pt idx="49">
                  <c:v>0.003433897473632573</c:v>
                </c:pt>
                <c:pt idx="50">
                  <c:v>0.0030375352571056628</c:v>
                </c:pt>
                <c:pt idx="51">
                  <c:v>0.004483048472961614</c:v>
                </c:pt>
                <c:pt idx="52">
                  <c:v>0.005447844896651178</c:v>
                </c:pt>
                <c:pt idx="53">
                  <c:v>0.004794973544973545</c:v>
                </c:pt>
                <c:pt idx="54">
                  <c:v>0.005311883442100471</c:v>
                </c:pt>
                <c:pt idx="55">
                  <c:v>0.00437172120909318</c:v>
                </c:pt>
                <c:pt idx="56">
                  <c:v>0.004066985645933014</c:v>
                </c:pt>
                <c:pt idx="57">
                  <c:v>0.0045045045045045045</c:v>
                </c:pt>
                <c:pt idx="58">
                  <c:v>0.0045207122428268295</c:v>
                </c:pt>
                <c:pt idx="59">
                  <c:v>0.005967180507210343</c:v>
                </c:pt>
                <c:pt idx="60">
                  <c:v>0.006957356204642236</c:v>
                </c:pt>
                <c:pt idx="61">
                  <c:v>0.006597059892992572</c:v>
                </c:pt>
                <c:pt idx="62">
                  <c:v>0.00621486999040351</c:v>
                </c:pt>
                <c:pt idx="63">
                  <c:v>0.004655941945220435</c:v>
                </c:pt>
                <c:pt idx="64">
                  <c:v>0.00659063556650811</c:v>
                </c:pt>
                <c:pt idx="65">
                  <c:v>0.005459377918252999</c:v>
                </c:pt>
                <c:pt idx="66">
                  <c:v>0.005118901056178319</c:v>
                </c:pt>
                <c:pt idx="67">
                  <c:v>0.004049820432490257</c:v>
                </c:pt>
              </c:numCache>
            </c:numRef>
          </c:yVal>
          <c:smooth val="0"/>
          <c:extLst>
            <c:ext xmlns:c16="http://schemas.microsoft.com/office/drawing/2014/chart" uri="{C3380CC4-5D6E-409C-BE32-E72D297353CC}">
              <c16:uniqueId val="{00000000-F32D-48B7-BC20-E66FC6253BAD}"/>
            </c:ext>
          </c:extLst>
        </c:ser>
        <c:ser>
          <c:idx val="1"/>
          <c:order val="1"/>
          <c:tx>
            <c:strRef>
              <c:f>Sheet1!$B$7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2:$A$123</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72:$B$123</c:f>
              <c:numCache>
                <c:formatCode>General</c:formatCode>
                <c:ptCount val="52"/>
                <c:pt idx="0">
                  <c:v>0.003990368077055384</c:v>
                </c:pt>
                <c:pt idx="1">
                  <c:v>0.00472115668338743</c:v>
                </c:pt>
                <c:pt idx="2">
                  <c:v>0.0045263710312254</c:v>
                </c:pt>
                <c:pt idx="3">
                  <c:v>0.004841347726529277</c:v>
                </c:pt>
                <c:pt idx="4">
                  <c:v>0.004864091559370529</c:v>
                </c:pt>
                <c:pt idx="5">
                  <c:v>0.00402757867431224</c:v>
                </c:pt>
                <c:pt idx="6">
                  <c:v>0.004804764160519726</c:v>
                </c:pt>
                <c:pt idx="7">
                  <c:v>0.005543942561119695</c:v>
                </c:pt>
                <c:pt idx="8">
                  <c:v>0.006833473507148864</c:v>
                </c:pt>
                <c:pt idx="9">
                  <c:v>0.006844819503047351</c:v>
                </c:pt>
                <c:pt idx="10">
                  <c:v>0.0064940921800306665</c:v>
                </c:pt>
                <c:pt idx="11">
                  <c:v>0.006501608984041505</c:v>
                </c:pt>
                <c:pt idx="12">
                  <c:v>0.006690488861856611</c:v>
                </c:pt>
                <c:pt idx="13">
                  <c:v>0.009964923469387755</c:v>
                </c:pt>
                <c:pt idx="14">
                  <c:v>0.009934065934065935</c:v>
                </c:pt>
                <c:pt idx="15">
                  <c:v>0.009705993215228043</c:v>
                </c:pt>
                <c:pt idx="16">
                  <c:v>0.009223090277777778</c:v>
                </c:pt>
                <c:pt idx="17">
                  <c:v>0.012101838109373216</c:v>
                </c:pt>
                <c:pt idx="18">
                  <c:v>0.0064856100526955816</c:v>
                </c:pt>
                <c:pt idx="19">
                  <c:v>0.005777442853554383</c:v>
                </c:pt>
                <c:pt idx="20">
                  <c:v>0.006987024098103522</c:v>
                </c:pt>
                <c:pt idx="21">
                  <c:v>0.009249743062692703</c:v>
                </c:pt>
                <c:pt idx="22">
                  <c:v>0.008047945205479452</c:v>
                </c:pt>
                <c:pt idx="23">
                  <c:v>0.007758475290942824</c:v>
                </c:pt>
                <c:pt idx="24">
                  <c:v>0.007328990228013029</c:v>
                </c:pt>
                <c:pt idx="25">
                  <c:v>0.008060536272413226</c:v>
                </c:pt>
                <c:pt idx="26">
                  <c:v>0.008222643896268185</c:v>
                </c:pt>
                <c:pt idx="27">
                  <c:v>0.007835455435847209</c:v>
                </c:pt>
                <c:pt idx="28">
                  <c:v>0.006755861703536892</c:v>
                </c:pt>
                <c:pt idx="29">
                  <c:v>0.008077288565093443</c:v>
                </c:pt>
                <c:pt idx="30">
                  <c:v>0.00747574359790043</c:v>
                </c:pt>
                <c:pt idx="31">
                  <c:v>0.00815418828762046</c:v>
                </c:pt>
                <c:pt idx="32">
                  <c:v>0.006991842850008324</c:v>
                </c:pt>
                <c:pt idx="33">
                  <c:v>0.0066518847006651885</c:v>
                </c:pt>
                <c:pt idx="34">
                  <c:v>0.005906093119401516</c:v>
                </c:pt>
                <c:pt idx="35">
                  <c:v>0.007034944066428324</c:v>
                </c:pt>
                <c:pt idx="36">
                  <c:v>0.008754331570308225</c:v>
                </c:pt>
                <c:pt idx="37">
                  <c:v>0.009024064171122994</c:v>
                </c:pt>
                <c:pt idx="38">
                  <c:v>0.010476190476190476</c:v>
                </c:pt>
                <c:pt idx="39">
                  <c:v>0.009722222222222222</c:v>
                </c:pt>
                <c:pt idx="40">
                  <c:v>0.009455263900649167</c:v>
                </c:pt>
                <c:pt idx="41">
                  <c:v>0.007480975106410422</c:v>
                </c:pt>
                <c:pt idx="42">
                  <c:v>0.008769365682548963</c:v>
                </c:pt>
                <c:pt idx="43">
                  <c:v>0.0063687273525859225</c:v>
                </c:pt>
                <c:pt idx="44">
                  <c:v>0.004836649023544443</c:v>
                </c:pt>
                <c:pt idx="45">
                  <c:v>0.003727266885161622</c:v>
                </c:pt>
                <c:pt idx="46">
                  <c:v>0.004059328649492584</c:v>
                </c:pt>
                <c:pt idx="47">
                  <c:v>0.004209474885844749</c:v>
                </c:pt>
                <c:pt idx="48">
                  <c:v>0.004558910597986974</c:v>
                </c:pt>
                <c:pt idx="49">
                  <c:v>0.004214621494569622</c:v>
                </c:pt>
                <c:pt idx="50">
                  <c:v>0.0034938857000249564</c:v>
                </c:pt>
                <c:pt idx="51">
                  <c:v>0.004014272970561998</c:v>
                </c:pt>
              </c:numCache>
            </c:numRef>
          </c:yVal>
          <c:smooth val="0"/>
          <c:extLst>
            <c:ext xmlns:c16="http://schemas.microsoft.com/office/drawing/2014/chart" uri="{C3380CC4-5D6E-409C-BE32-E72D297353CC}">
              <c16:uniqueId val="{00000002-F32D-48B7-BC20-E66FC6253BAD}"/>
            </c:ext>
          </c:extLst>
        </c:ser>
        <c:ser>
          <c:idx val="2"/>
          <c:order val="2"/>
          <c:tx>
            <c:strRef>
              <c:f>Sheet1!$B$125</c:f>
              <c:strCache>
                <c:ptCount val="1"/>
                <c:pt idx="0">
                  <c:v>Custom Linep3yQ</c:v>
                </c:pt>
              </c:strCache>
            </c:strRef>
          </c:tx>
          <c:spPr>
            <a:ln w="19050" cap="rnd">
              <a:solidFill>
                <a:srgbClr val="C00000"/>
              </a:solidFill>
              <a:prstDash val="sysDot"/>
              <a:round/>
            </a:ln>
            <a:effectLst/>
          </c:spPr>
          <c:marker>
            <c:symbol val="none"/>
          </c:marker>
          <c:xVal>
            <c:numRef>
              <c:f>Sheet1!$A$126:$A$127</c:f>
              <c:numCache>
                <c:formatCode>General</c:formatCode>
                <c:ptCount val="2"/>
                <c:pt idx="0">
                  <c:v>0</c:v>
                </c:pt>
                <c:pt idx="1">
                  <c:v>3592.7101333724936</c:v>
                </c:pt>
              </c:numCache>
            </c:numRef>
          </c:xVal>
          <c:yVal>
            <c:numRef>
              <c:f>Sheet1!$B$126:$B$127</c:f>
              <c:numCache>
                <c:formatCode>General</c:formatCode>
                <c:ptCount val="2"/>
                <c:pt idx="0">
                  <c:v>0.008150826200142696</c:v>
                </c:pt>
                <c:pt idx="1">
                  <c:v>0.008150826200142696</c:v>
                </c:pt>
              </c:numCache>
            </c:numRef>
          </c:yVal>
          <c:smooth val="0"/>
          <c:extLst>
            <c:ext xmlns:c16="http://schemas.microsoft.com/office/drawing/2014/chart" uri="{C3380CC4-5D6E-409C-BE32-E72D297353CC}">
              <c16:uniqueId val="{00000003-F32D-48B7-BC20-E66FC6253BAD}"/>
            </c:ext>
          </c:extLst>
        </c:ser>
        <c:ser>
          <c:idx val="3"/>
          <c:order val="3"/>
          <c:tx>
            <c:strRef>
              <c:f>Sheet1!$B$12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0:$A$131</c:f>
              <c:numCache>
                <c:formatCode>General</c:formatCode>
                <c:ptCount val="2"/>
                <c:pt idx="0">
                  <c:v>3592.7101333724936</c:v>
                </c:pt>
                <c:pt idx="1">
                  <c:v>3592.7101333724936</c:v>
                </c:pt>
              </c:numCache>
            </c:numRef>
          </c:xVal>
          <c:yVal>
            <c:numRef>
              <c:f>Sheet1!$B$130:$B$131</c:f>
              <c:numCache>
                <c:formatCode>General</c:formatCode>
                <c:ptCount val="2"/>
                <c:pt idx="0">
                  <c:v>0.00815082620014269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4:$A$135</c:f>
              <c:numCache>
                <c:formatCode>General</c:formatCode>
                <c:ptCount val="2"/>
                <c:pt idx="0">
                  <c:v>0</c:v>
                </c:pt>
                <c:pt idx="1">
                  <c:v>3592.7101333724936</c:v>
                </c:pt>
              </c:numCache>
            </c:numRef>
          </c:xVal>
          <c:yVal>
            <c:numRef>
              <c:f>Sheet1!$B$134:$B$135</c:f>
              <c:numCache>
                <c:formatCode>General</c:formatCode>
                <c:ptCount val="2"/>
                <c:pt idx="0">
                  <c:v>0.008150826200142696</c:v>
                </c:pt>
                <c:pt idx="1">
                  <c:v>0.008150826200142696</c:v>
                </c:pt>
              </c:numCache>
            </c:numRef>
          </c:yVal>
          <c:smooth val="0"/>
          <c:extLst>
            <c:ext xmlns:c16="http://schemas.microsoft.com/office/drawing/2014/chart" uri="{C3380CC4-5D6E-409C-BE32-E72D297353CC}">
              <c16:uniqueId val="{0000000A-F32D-48B7-BC20-E66FC6253BAD}"/>
            </c:ext>
          </c:extLst>
        </c:ser>
        <c:ser>
          <c:idx val="5"/>
          <c:order val="5"/>
          <c:tx>
            <c:strRef>
              <c:f>Sheet1!$B$13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8:$A$139</c:f>
              <c:numCache>
                <c:formatCode>General</c:formatCode>
                <c:ptCount val="2"/>
                <c:pt idx="0">
                  <c:v>3592.7101333724936</c:v>
                </c:pt>
                <c:pt idx="1">
                  <c:v>3592.7101333724936</c:v>
                </c:pt>
              </c:numCache>
            </c:numRef>
          </c:xVal>
          <c:yVal>
            <c:numRef>
              <c:f>Sheet1!$B$138:$B$139</c:f>
              <c:numCache>
                <c:formatCode>General</c:formatCode>
                <c:ptCount val="2"/>
                <c:pt idx="0">
                  <c:v>0.00815082620014269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4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42:$A$143</c:f>
              <c:numCache>
                <c:formatCode>General</c:formatCode>
                <c:ptCount val="2"/>
                <c:pt idx="0">
                  <c:v>0</c:v>
                </c:pt>
                <c:pt idx="1">
                  <c:v>4233.471666008143</c:v>
                </c:pt>
              </c:numCache>
            </c:numRef>
          </c:xVal>
          <c:yVal>
            <c:numRef>
              <c:f>Sheet1!$B$142:$B$143</c:f>
              <c:numCache>
                <c:formatCode>General</c:formatCode>
                <c:ptCount val="2"/>
                <c:pt idx="0">
                  <c:v>0.00576238188243105</c:v>
                </c:pt>
                <c:pt idx="1">
                  <c:v>0.00576238188243105</c:v>
                </c:pt>
              </c:numCache>
            </c:numRef>
          </c:yVal>
          <c:smooth val="0"/>
          <c:extLst>
            <c:ext xmlns:c16="http://schemas.microsoft.com/office/drawing/2014/chart" uri="{C3380CC4-5D6E-409C-BE32-E72D297353CC}">
              <c16:uniqueId val="{00000011-F32D-48B7-BC20-E66FC6253BAD}"/>
            </c:ext>
          </c:extLst>
        </c:ser>
        <c:ser>
          <c:idx val="7"/>
          <c:order val="7"/>
          <c:tx>
            <c:strRef>
              <c:f>Sheet1!$B$14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6:$A$147</c:f>
              <c:numCache>
                <c:formatCode>General</c:formatCode>
                <c:ptCount val="2"/>
                <c:pt idx="0">
                  <c:v>4233.471666008143</c:v>
                </c:pt>
                <c:pt idx="1">
                  <c:v>4233.471666008143</c:v>
                </c:pt>
              </c:numCache>
            </c:numRef>
          </c:xVal>
          <c:yVal>
            <c:numRef>
              <c:f>Sheet1!$B$146:$B$147</c:f>
              <c:numCache>
                <c:formatCode>General</c:formatCode>
                <c:ptCount val="2"/>
                <c:pt idx="0">
                  <c:v>0.005762381882431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50:$A$204</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592.7101333724936</c:v>
                </c:pt>
                <c:pt idx="53">
                  <c:v>3592.7101333724936</c:v>
                </c:pt>
                <c:pt idx="54">
                  <c:v>4233.471666008143</c:v>
                </c:pt>
              </c:numCache>
            </c:numRef>
          </c:xVal>
          <c:yVal>
            <c:numRef>
              <c:f>Sheet1!$B$150:$B$204</c:f>
              <c:numCache>
                <c:formatCode>General</c:formatCode>
                <c:ptCount val="55"/>
                <c:pt idx="0">
                  <c:v>0.005120180802075623</c:v>
                </c:pt>
                <c:pt idx="1">
                  <c:v>0.006975172625733701</c:v>
                </c:pt>
                <c:pt idx="2">
                  <c:v>0.005527092074985418</c:v>
                </c:pt>
                <c:pt idx="3">
                  <c:v>0.007774677809856188</c:v>
                </c:pt>
                <c:pt idx="4">
                  <c:v>0.004668745926320966</c:v>
                </c:pt>
                <c:pt idx="5">
                  <c:v>0.003554927499959587</c:v>
                </c:pt>
                <c:pt idx="6">
                  <c:v>0.005100433578159272</c:v>
                </c:pt>
                <c:pt idx="7">
                  <c:v>0.0055734261289045565</c:v>
                </c:pt>
                <c:pt idx="8">
                  <c:v>0.006000120037065281</c:v>
                </c:pt>
                <c:pt idx="9">
                  <c:v>0.006266894121756635</c:v>
                </c:pt>
                <c:pt idx="10">
                  <c:v>0.005884766310042276</c:v>
                </c:pt>
                <c:pt idx="11">
                  <c:v>0.006311368521483982</c:v>
                </c:pt>
                <c:pt idx="12">
                  <c:v>0.007204779719151493</c:v>
                </c:pt>
                <c:pt idx="13">
                  <c:v>0.008819772900071503</c:v>
                </c:pt>
                <c:pt idx="14">
                  <c:v>0.008662756433286817</c:v>
                </c:pt>
                <c:pt idx="15">
                  <c:v>0.00796612080336882</c:v>
                </c:pt>
                <c:pt idx="16">
                  <c:v>0.007098851371141057</c:v>
                </c:pt>
                <c:pt idx="17">
                  <c:v>0.010698412412962214</c:v>
                </c:pt>
                <c:pt idx="18">
                  <c:v>0.006293057879498912</c:v>
                </c:pt>
                <c:pt idx="19">
                  <c:v>0.005124953131724359</c:v>
                </c:pt>
                <c:pt idx="20">
                  <c:v>0.005673386735161011</c:v>
                </c:pt>
                <c:pt idx="21">
                  <c:v>0.00784733441339688</c:v>
                </c:pt>
                <c:pt idx="22">
                  <c:v>0.007082171141550237</c:v>
                </c:pt>
                <c:pt idx="23">
                  <c:v>0.009820966135927001</c:v>
                </c:pt>
                <c:pt idx="24">
                  <c:v>0.006419187462010107</c:v>
                </c:pt>
                <c:pt idx="25">
                  <c:v>0.008090257659620377</c:v>
                </c:pt>
                <c:pt idx="26">
                  <c:v>0.00730876230751447</c:v>
                </c:pt>
                <c:pt idx="27">
                  <c:v>0.007708767997430241</c:v>
                </c:pt>
                <c:pt idx="28">
                  <c:v>0.007327574299447017</c:v>
                </c:pt>
                <c:pt idx="29">
                  <c:v>0.008185705370847757</c:v>
                </c:pt>
                <c:pt idx="30">
                  <c:v>0.008243805679370659</c:v>
                </c:pt>
                <c:pt idx="31">
                  <c:v>0.007073681740023256</c:v>
                </c:pt>
                <c:pt idx="32">
                  <c:v>0.004923409334585904</c:v>
                </c:pt>
                <c:pt idx="33">
                  <c:v>0.005983185964118154</c:v>
                </c:pt>
                <c:pt idx="34">
                  <c:v>0.00548880123977755</c:v>
                </c:pt>
                <c:pt idx="35">
                  <c:v>0.0065742317038341245</c:v>
                </c:pt>
                <c:pt idx="36">
                  <c:v>0.005982432261817933</c:v>
                </c:pt>
                <c:pt idx="37">
                  <c:v>0.006107484967007</c:v>
                </c:pt>
                <c:pt idx="38">
                  <c:v>0.008109556464215677</c:v>
                </c:pt>
                <c:pt idx="39">
                  <c:v>0.009296434065079292</c:v>
                </c:pt>
                <c:pt idx="40">
                  <c:v>0.0095340981689913</c:v>
                </c:pt>
                <c:pt idx="41">
                  <c:v>0.008378087696603989</c:v>
                </c:pt>
                <c:pt idx="42">
                  <c:v>0.009216186016906392</c:v>
                </c:pt>
                <c:pt idx="43">
                  <c:v>0.007869539929434876</c:v>
                </c:pt>
                <c:pt idx="44">
                  <c:v>0.006154332671652996</c:v>
                </c:pt>
                <c:pt idx="45">
                  <c:v>0.005524037008688372</c:v>
                </c:pt>
                <c:pt idx="46">
                  <c:v>0.005240926743477963</c:v>
                </c:pt>
                <c:pt idx="47">
                  <c:v>0.005546870609976554</c:v>
                </c:pt>
                <c:pt idx="48">
                  <c:v>0.0067908510379805845</c:v>
                </c:pt>
                <c:pt idx="49">
                  <c:v>0.007111013114439447</c:v>
                </c:pt>
                <c:pt idx="50">
                  <c:v>0.006586778498802213</c:v>
                </c:pt>
                <c:pt idx="51">
                  <c:v>0.005754909964129685</c:v>
                </c:pt>
                <c:pt idx="52">
                  <c:v>0.008150826200142696</c:v>
                </c:pt>
                <c:pt idx="53">
                  <c:v>0.008150826200142696</c:v>
                </c:pt>
                <c:pt idx="54">
                  <c:v>0.00576238188243104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791.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4522205731247857"/>
          <c:min val="0.0002660753880266075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4418458889367196</c:v>
                </c:pt>
                <c:pt idx="1">
                  <c:v>0.4886591668283011</c:v>
                </c:pt>
                <c:pt idx="2">
                  <c:v>0.4915295188383002</c:v>
                </c:pt>
                <c:pt idx="3">
                  <c:v>0.4936169350782112</c:v>
                </c:pt>
                <c:pt idx="4">
                  <c:v>0.4861594186554681</c:v>
                </c:pt>
                <c:pt idx="5">
                  <c:v>0.4941357060232314</c:v>
                </c:pt>
                <c:pt idx="6">
                  <c:v>0.47885108181161085</c:v>
                </c:pt>
                <c:pt idx="7">
                  <c:v>0.49402696405551466</c:v>
                </c:pt>
                <c:pt idx="8">
                  <c:v>0.49876386460941824</c:v>
                </c:pt>
                <c:pt idx="9">
                  <c:v>0.5051441539137321</c:v>
                </c:pt>
                <c:pt idx="10">
                  <c:v>0.4871377416413545</c:v>
                </c:pt>
                <c:pt idx="11">
                  <c:v>0.5029910409692858</c:v>
                </c:pt>
                <c:pt idx="12">
                  <c:v>0.5065518793212467</c:v>
                </c:pt>
                <c:pt idx="13">
                  <c:v>0.4649604374707914</c:v>
                </c:pt>
                <c:pt idx="14">
                  <c:v>0.5090780199062437</c:v>
                </c:pt>
                <c:pt idx="15">
                  <c:v>0.513524050868868</c:v>
                </c:pt>
                <c:pt idx="16">
                  <c:v>0.5394677620728774</c:v>
                </c:pt>
                <c:pt idx="17">
                  <c:v>0.5062615241864846</c:v>
                </c:pt>
                <c:pt idx="18">
                  <c:v>0.5495767492572721</c:v>
                </c:pt>
                <c:pt idx="19">
                  <c:v>0.5779225081276351</c:v>
                </c:pt>
                <c:pt idx="20">
                  <c:v>0.5337681638616798</c:v>
                </c:pt>
                <c:pt idx="21">
                  <c:v>0.5290587732268491</c:v>
                </c:pt>
                <c:pt idx="22">
                  <c:v>0.5462799664710813</c:v>
                </c:pt>
                <c:pt idx="23">
                  <c:v>0.5387252793863808</c:v>
                </c:pt>
                <c:pt idx="24">
                  <c:v>0.501485431965246</c:v>
                </c:pt>
                <c:pt idx="25">
                  <c:v>0.4954360987115417</c:v>
                </c:pt>
                <c:pt idx="26">
                  <c:v>0.4671655714008971</c:v>
                </c:pt>
                <c:pt idx="27">
                  <c:v>0.513833575369145</c:v>
                </c:pt>
                <c:pt idx="28">
                  <c:v>0.46707560378682966</c:v>
                </c:pt>
                <c:pt idx="29">
                  <c:v>0.4632110112925937</c:v>
                </c:pt>
                <c:pt idx="30">
                  <c:v>0.45746229480036776</c:v>
                </c:pt>
                <c:pt idx="31">
                  <c:v>0.46147289301298805</c:v>
                </c:pt>
                <c:pt idx="32">
                  <c:v>0.43739988719684153</c:v>
                </c:pt>
                <c:pt idx="33">
                  <c:v>0.4598811881283193</c:v>
                </c:pt>
                <c:pt idx="34">
                  <c:v>0.44608312020460356</c:v>
                </c:pt>
                <c:pt idx="35">
                  <c:v>0.4272859623766253</c:v>
                </c:pt>
                <c:pt idx="36">
                  <c:v>0.5098083088379385</c:v>
                </c:pt>
                <c:pt idx="37">
                  <c:v>0.48040710402071846</c:v>
                </c:pt>
                <c:pt idx="38">
                  <c:v>0.4973299807832182</c:v>
                </c:pt>
                <c:pt idx="39">
                  <c:v>0.5298829094402554</c:v>
                </c:pt>
                <c:pt idx="40">
                  <c:v>0.5384148999777708</c:v>
                </c:pt>
                <c:pt idx="41">
                  <c:v>0.5429277612618583</c:v>
                </c:pt>
                <c:pt idx="42">
                  <c:v>0.5550705034000822</c:v>
                </c:pt>
                <c:pt idx="43">
                  <c:v>0.6035270793462347</c:v>
                </c:pt>
                <c:pt idx="44">
                  <c:v>0.4851988355031341</c:v>
                </c:pt>
                <c:pt idx="45">
                  <c:v>0.466394578313253</c:v>
                </c:pt>
                <c:pt idx="46">
                  <c:v>0.4405033671411197</c:v>
                </c:pt>
                <c:pt idx="47">
                  <c:v>0.41682245680685637</c:v>
                </c:pt>
                <c:pt idx="48">
                  <c:v>0.4296846398122497</c:v>
                </c:pt>
                <c:pt idx="49">
                  <c:v>0.42786564822736434</c:v>
                </c:pt>
                <c:pt idx="50">
                  <c:v>0.41735125655790134</c:v>
                </c:pt>
                <c:pt idx="51">
                  <c:v>0.43899326271516476</c:v>
                </c:pt>
                <c:pt idx="52">
                  <c:v>0.4483133804061947</c:v>
                </c:pt>
                <c:pt idx="53">
                  <c:v>0.4752375988666596</c:v>
                </c:pt>
                <c:pt idx="54">
                  <c:v>0.4545133356773707</c:v>
                </c:pt>
                <c:pt idx="55">
                  <c:v>0.4760025159063658</c:v>
                </c:pt>
                <c:pt idx="56">
                  <c:v>0.4776023290282766</c:v>
                </c:pt>
                <c:pt idx="57">
                  <c:v>0.46483770188615153</c:v>
                </c:pt>
                <c:pt idx="58">
                  <c:v>0.4743357452519091</c:v>
                </c:pt>
                <c:pt idx="59">
                  <c:v>0.4662032952336087</c:v>
                </c:pt>
                <c:pt idx="60">
                  <c:v>0.4688160219500274</c:v>
                </c:pt>
                <c:pt idx="61">
                  <c:v>0.46472189245510853</c:v>
                </c:pt>
                <c:pt idx="62">
                  <c:v>0.48737730522946093</c:v>
                </c:pt>
                <c:pt idx="63">
                  <c:v>0.4879207093899031</c:v>
                </c:pt>
                <c:pt idx="64">
                  <c:v>0.5003540847714217</c:v>
                </c:pt>
                <c:pt idx="65">
                  <c:v>0.45839308426284064</c:v>
                </c:pt>
                <c:pt idx="66">
                  <c:v>0.4410802967495194</c:v>
                </c:pt>
                <c:pt idx="67">
                  <c:v>0.41398214155939167</c:v>
                </c:pt>
                <c:pt idx="68">
                  <c:v>0.415219838296194</c:v>
                </c:pt>
                <c:pt idx="69">
                  <c:v>0.3850700832379982</c:v>
                </c:pt>
                <c:pt idx="70">
                  <c:v>0.3804839966204766</c:v>
                </c:pt>
                <c:pt idx="71">
                  <c:v>0.4140558650212832</c:v>
                </c:pt>
                <c:pt idx="72">
                  <c:v>0.4197058608834511</c:v>
                </c:pt>
                <c:pt idx="73">
                  <c:v>0.43344923950683295</c:v>
                </c:pt>
                <c:pt idx="74">
                  <c:v>0.39659906336185635</c:v>
                </c:pt>
                <c:pt idx="75">
                  <c:v>0.4196560439130293</c:v>
                </c:pt>
                <c:pt idx="76">
                  <c:v>0.39875477106589335</c:v>
                </c:pt>
                <c:pt idx="77">
                  <c:v>0.37338042747578454</c:v>
                </c:pt>
                <c:pt idx="78">
                  <c:v>0.4019485974445587</c:v>
                </c:pt>
                <c:pt idx="79">
                  <c:v>0.2111036441276093</c:v>
                </c:pt>
                <c:pt idx="80">
                  <c:v>0.19679464849116954</c:v>
                </c:pt>
                <c:pt idx="81">
                  <c:v>0.32672030313151074</c:v>
                </c:pt>
                <c:pt idx="82">
                  <c:v>0.33342063452824616</c:v>
                </c:pt>
                <c:pt idx="83">
                  <c:v>0.36291981349525493</c:v>
                </c:pt>
                <c:pt idx="84">
                  <c:v>0.3399835482610395</c:v>
                </c:pt>
                <c:pt idx="85">
                  <c:v>0.36934849677317805</c:v>
                </c:pt>
                <c:pt idx="86">
                  <c:v>0.4732564639548933</c:v>
                </c:pt>
                <c:pt idx="87">
                  <c:v>0.4643202577262117</c:v>
                </c:pt>
                <c:pt idx="88">
                  <c:v>0.45666152816179395</c:v>
                </c:pt>
                <c:pt idx="89">
                  <c:v>0.4382707487034623</c:v>
                </c:pt>
                <c:pt idx="90">
                  <c:v>0.4758698945094165</c:v>
                </c:pt>
                <c:pt idx="91">
                  <c:v>0.495290486873219</c:v>
                </c:pt>
                <c:pt idx="92">
                  <c:v>0.5214803490240439</c:v>
                </c:pt>
                <c:pt idx="93">
                  <c:v>0.526625820896294</c:v>
                </c:pt>
                <c:pt idx="94">
                  <c:v>0.4846149574150907</c:v>
                </c:pt>
                <c:pt idx="95">
                  <c:v>0.5349026812179478</c:v>
                </c:pt>
                <c:pt idx="96">
                  <c:v>0.5041928948600062</c:v>
                </c:pt>
                <c:pt idx="97">
                  <c:v>0.5085832674768473</c:v>
                </c:pt>
                <c:pt idx="98">
                  <c:v>0.5374169529090038</c:v>
                </c:pt>
                <c:pt idx="99">
                  <c:v>0.5095979325365232</c:v>
                </c:pt>
                <c:pt idx="100">
                  <c:v>0.4972130038888775</c:v>
                </c:pt>
                <c:pt idx="101">
                  <c:v>0.5261492640948697</c:v>
                </c:pt>
                <c:pt idx="102">
                  <c:v>0.5447651500920465</c:v>
                </c:pt>
                <c:pt idx="103">
                  <c:v>0.5107859240965088</c:v>
                </c:pt>
                <c:pt idx="104">
                  <c:v>0.5530736242371965</c:v>
                </c:pt>
              </c:numCache>
            </c:numRef>
          </c:xVal>
          <c:yVal>
            <c:numRef>
              <c:f>Sheet1!$B$2:$B$106</c:f>
              <c:numCache>
                <c:formatCode>General</c:formatCode>
                <c:ptCount val="105"/>
                <c:pt idx="0">
                  <c:v>0.9340511440107672</c:v>
                </c:pt>
                <c:pt idx="1">
                  <c:v>0.9234095120444719</c:v>
                </c:pt>
                <c:pt idx="2">
                  <c:v>0.9182156133828996</c:v>
                </c:pt>
                <c:pt idx="3">
                  <c:v>0.9294911097486205</c:v>
                </c:pt>
                <c:pt idx="4">
                  <c:v>0.9098474341192788</c:v>
                </c:pt>
                <c:pt idx="5">
                  <c:v>0.9089615931721194</c:v>
                </c:pt>
                <c:pt idx="6">
                  <c:v>0.8979974968710889</c:v>
                </c:pt>
                <c:pt idx="7">
                  <c:v>0.9006526468455403</c:v>
                </c:pt>
                <c:pt idx="8">
                  <c:v>0.906055900621118</c:v>
                </c:pt>
                <c:pt idx="9">
                  <c:v>0.9134007585335019</c:v>
                </c:pt>
                <c:pt idx="10">
                  <c:v>0.9178470254957507</c:v>
                </c:pt>
                <c:pt idx="11">
                  <c:v>0.9182242990654206</c:v>
                </c:pt>
                <c:pt idx="12">
                  <c:v>0.912485414235706</c:v>
                </c:pt>
                <c:pt idx="13">
                  <c:v>0.9290519877675841</c:v>
                </c:pt>
                <c:pt idx="14">
                  <c:v>0.9200492004920049</c:v>
                </c:pt>
                <c:pt idx="15">
                  <c:v>0.9249431387414708</c:v>
                </c:pt>
                <c:pt idx="16">
                  <c:v>0.9109535066981875</c:v>
                </c:pt>
                <c:pt idx="17">
                  <c:v>0.916955017301038</c:v>
                </c:pt>
                <c:pt idx="18">
                  <c:v>0.900593471810089</c:v>
                </c:pt>
                <c:pt idx="19">
                  <c:v>0.8962962962962963</c:v>
                </c:pt>
                <c:pt idx="20">
                  <c:v>0.9061624649859944</c:v>
                </c:pt>
                <c:pt idx="21">
                  <c:v>0.9090909090909091</c:v>
                </c:pt>
                <c:pt idx="22">
                  <c:v>0.9350877192982456</c:v>
                </c:pt>
                <c:pt idx="23">
                  <c:v>0.9284403669724771</c:v>
                </c:pt>
                <c:pt idx="24">
                  <c:v>0.921875</c:v>
                </c:pt>
                <c:pt idx="25">
                  <c:v>0.9381818181818182</c:v>
                </c:pt>
                <c:pt idx="26">
                  <c:v>0.9424242424242424</c:v>
                </c:pt>
                <c:pt idx="27">
                  <c:v>0.9596577017114915</c:v>
                </c:pt>
                <c:pt idx="28">
                  <c:v>0.9504643962848297</c:v>
                </c:pt>
                <c:pt idx="29">
                  <c:v>0.9650112866817155</c:v>
                </c:pt>
                <c:pt idx="30">
                  <c:v>0.9584717607973422</c:v>
                </c:pt>
                <c:pt idx="31">
                  <c:v>0.9497645211930926</c:v>
                </c:pt>
                <c:pt idx="32">
                  <c:v>0.9594383775351014</c:v>
                </c:pt>
                <c:pt idx="33">
                  <c:v>0.9574468085106383</c:v>
                </c:pt>
                <c:pt idx="34">
                  <c:v>0.9628942486085343</c:v>
                </c:pt>
                <c:pt idx="35">
                  <c:v>0.9677206851119895</c:v>
                </c:pt>
                <c:pt idx="36">
                  <c:v>0.9337748344370861</c:v>
                </c:pt>
                <c:pt idx="37">
                  <c:v>0.9551971326164874</c:v>
                </c:pt>
                <c:pt idx="38">
                  <c:v>0.9550173010380623</c:v>
                </c:pt>
                <c:pt idx="39">
                  <c:v>0.947069943289225</c:v>
                </c:pt>
                <c:pt idx="40">
                  <c:v>0.9300291545189504</c:v>
                </c:pt>
                <c:pt idx="41">
                  <c:v>0.9483648881239243</c:v>
                </c:pt>
                <c:pt idx="42">
                  <c:v>0.9588652482269504</c:v>
                </c:pt>
                <c:pt idx="43">
                  <c:v>0.9214916584887144</c:v>
                </c:pt>
                <c:pt idx="44">
                  <c:v>0.9435294117647058</c:v>
                </c:pt>
                <c:pt idx="45">
                  <c:v>0.9566170026292725</c:v>
                </c:pt>
                <c:pt idx="46">
                  <c:v>0.961462839166339</c:v>
                </c:pt>
                <c:pt idx="47">
                  <c:v>0.9610705596107056</c:v>
                </c:pt>
                <c:pt idx="48">
                  <c:v>0.9732142857142857</c:v>
                </c:pt>
                <c:pt idx="49">
                  <c:v>0.9790233837689133</c:v>
                </c:pt>
                <c:pt idx="50">
                  <c:v>0.9700374531835206</c:v>
                </c:pt>
                <c:pt idx="51">
                  <c:v>0.9722382880277617</c:v>
                </c:pt>
                <c:pt idx="52">
                  <c:v>0.9652022618529795</c:v>
                </c:pt>
                <c:pt idx="53">
                  <c:v>0.9575952764358562</c:v>
                </c:pt>
                <c:pt idx="54">
                  <c:v>0.9585201793721974</c:v>
                </c:pt>
                <c:pt idx="55">
                  <c:v>0.9652271452607964</c:v>
                </c:pt>
                <c:pt idx="56">
                  <c:v>0.9686204854943754</c:v>
                </c:pt>
                <c:pt idx="57">
                  <c:v>0.9611324376199616</c:v>
                </c:pt>
                <c:pt idx="58">
                  <c:v>0.9593908629441624</c:v>
                </c:pt>
                <c:pt idx="59">
                  <c:v>0.9608307045215563</c:v>
                </c:pt>
                <c:pt idx="60">
                  <c:v>0.9560185185185185</c:v>
                </c:pt>
                <c:pt idx="61">
                  <c:v>0.9352703199705774</c:v>
                </c:pt>
                <c:pt idx="62">
                  <c:v>0.9363081617086194</c:v>
                </c:pt>
                <c:pt idx="63">
                  <c:v>0.9389819791337338</c:v>
                </c:pt>
                <c:pt idx="64">
                  <c:v>0.9265125118783656</c:v>
                </c:pt>
                <c:pt idx="65">
                  <c:v>0.94670245398773</c:v>
                </c:pt>
                <c:pt idx="66">
                  <c:v>0.9504587155963303</c:v>
                </c:pt>
                <c:pt idx="67">
                  <c:v>0.9546279491833031</c:v>
                </c:pt>
                <c:pt idx="68">
                  <c:v>0.9569798068481123</c:v>
                </c:pt>
                <c:pt idx="69">
                  <c:v>0.9554020100502513</c:v>
                </c:pt>
                <c:pt idx="70">
                  <c:v>0.8624514697726012</c:v>
                </c:pt>
                <c:pt idx="71">
                  <c:v>0.9473684210526315</c:v>
                </c:pt>
                <c:pt idx="72">
                  <c:v>0.9482645710543549</c:v>
                </c:pt>
                <c:pt idx="73">
                  <c:v>0.9394473838918284</c:v>
                </c:pt>
                <c:pt idx="74">
                  <c:v>0.9502724795640327</c:v>
                </c:pt>
                <c:pt idx="75">
                  <c:v>0.96</c:v>
                </c:pt>
                <c:pt idx="76">
                  <c:v>0.9580184718723762</c:v>
                </c:pt>
                <c:pt idx="77">
                  <c:v>0.7512853470437018</c:v>
                </c:pt>
                <c:pt idx="78">
                  <c:v>0.9200415368639667</c:v>
                </c:pt>
                <c:pt idx="79">
                  <c:v>0.9050456893126738</c:v>
                </c:pt>
                <c:pt idx="80">
                  <c:v>0.8945981554677207</c:v>
                </c:pt>
                <c:pt idx="81">
                  <c:v>0.9523269012485811</c:v>
                </c:pt>
                <c:pt idx="82">
                  <c:v>0.9666666666666667</c:v>
                </c:pt>
                <c:pt idx="83">
                  <c:v>0.9553805774278216</c:v>
                </c:pt>
                <c:pt idx="84">
                  <c:v>0.9624060150375939</c:v>
                </c:pt>
                <c:pt idx="85">
                  <c:v>0.9523346303501945</c:v>
                </c:pt>
                <c:pt idx="86">
                  <c:v>0.9315424610051993</c:v>
                </c:pt>
                <c:pt idx="87">
                  <c:v>0.941397445529677</c:v>
                </c:pt>
                <c:pt idx="88">
                  <c:v>0.9395833333333333</c:v>
                </c:pt>
                <c:pt idx="89">
                  <c:v>0.9398410896708286</c:v>
                </c:pt>
                <c:pt idx="90">
                  <c:v>0.9375</c:v>
                </c:pt>
                <c:pt idx="91">
                  <c:v>0.9382093316519546</c:v>
                </c:pt>
                <c:pt idx="92">
                  <c:v>0.9294605809128631</c:v>
                </c:pt>
                <c:pt idx="93">
                  <c:v>0.9361233480176211</c:v>
                </c:pt>
                <c:pt idx="94">
                  <c:v>0.9464285714285714</c:v>
                </c:pt>
                <c:pt idx="95">
                  <c:v>0.9389799635701275</c:v>
                </c:pt>
                <c:pt idx="96">
                  <c:v>0.9387387387387387</c:v>
                </c:pt>
                <c:pt idx="97">
                  <c:v>0.944935064935065</c:v>
                </c:pt>
                <c:pt idx="98">
                  <c:v>0.93375</c:v>
                </c:pt>
                <c:pt idx="99">
                  <c:v>0.9344900849858357</c:v>
                </c:pt>
                <c:pt idx="100">
                  <c:v>0.9429193899782136</c:v>
                </c:pt>
                <c:pt idx="101">
                  <c:v>0.9307467667918231</c:v>
                </c:pt>
                <c:pt idx="102">
                  <c:v>0.9022741241548863</c:v>
                </c:pt>
                <c:pt idx="103">
                  <c:v>0.9129451667608819</c:v>
                </c:pt>
                <c:pt idx="104">
                  <c:v>0.911051212938005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5449959925246166</c:v>
                </c:pt>
                <c:pt idx="1">
                  <c:v>0.5679503697108126</c:v>
                </c:pt>
                <c:pt idx="2">
                  <c:v>0.5458603446968457</c:v>
                </c:pt>
                <c:pt idx="3">
                  <c:v>0.5620218799288318</c:v>
                </c:pt>
                <c:pt idx="4">
                  <c:v>0.5526689187295866</c:v>
                </c:pt>
                <c:pt idx="5">
                  <c:v>0.5682827172172719</c:v>
                </c:pt>
                <c:pt idx="6">
                  <c:v>0.540146345429231</c:v>
                </c:pt>
                <c:pt idx="7">
                  <c:v>0.5480642546628542</c:v>
                </c:pt>
                <c:pt idx="8">
                  <c:v>0.5908168163369011</c:v>
                </c:pt>
                <c:pt idx="9">
                  <c:v>0.550372128565806</c:v>
                </c:pt>
                <c:pt idx="10">
                  <c:v>0.5559400360993124</c:v>
                </c:pt>
                <c:pt idx="11">
                  <c:v>0.5126493126071217</c:v>
                </c:pt>
                <c:pt idx="12">
                  <c:v>0.5137722885333309</c:v>
                </c:pt>
                <c:pt idx="13">
                  <c:v>0.5373616805133204</c:v>
                </c:pt>
                <c:pt idx="14">
                  <c:v>0.539212107753936</c:v>
                </c:pt>
                <c:pt idx="15">
                  <c:v>0.5446662585665634</c:v>
                </c:pt>
                <c:pt idx="16">
                  <c:v>0.5702036841209386</c:v>
                </c:pt>
                <c:pt idx="17">
                  <c:v>0.5597687607339249</c:v>
                </c:pt>
                <c:pt idx="18">
                  <c:v>0.5678557907471463</c:v>
                </c:pt>
                <c:pt idx="19">
                  <c:v>0.6102401978235459</c:v>
                </c:pt>
                <c:pt idx="20">
                  <c:v>0.5931654873241612</c:v>
                </c:pt>
                <c:pt idx="21">
                  <c:v>0.5718465727268011</c:v>
                </c:pt>
                <c:pt idx="22">
                  <c:v>0.5888524980664551</c:v>
                </c:pt>
                <c:pt idx="23">
                  <c:v>0.49664806858401905</c:v>
                </c:pt>
                <c:pt idx="24">
                  <c:v>0.47320867666867944</c:v>
                </c:pt>
                <c:pt idx="25">
                  <c:v>0.438504000428877</c:v>
                </c:pt>
                <c:pt idx="26">
                  <c:v>0.48231961812055407</c:v>
                </c:pt>
                <c:pt idx="27">
                  <c:v>0.5457811645292652</c:v>
                </c:pt>
                <c:pt idx="28">
                  <c:v>0.5777424448576786</c:v>
                </c:pt>
                <c:pt idx="29">
                  <c:v>0.5806509057529832</c:v>
                </c:pt>
                <c:pt idx="30">
                  <c:v>0.530392530861608</c:v>
                </c:pt>
                <c:pt idx="31">
                  <c:v>0.4862036725379565</c:v>
                </c:pt>
                <c:pt idx="32">
                  <c:v>0.519320648673905</c:v>
                </c:pt>
                <c:pt idx="33">
                  <c:v>0.5510265510054159</c:v>
                </c:pt>
                <c:pt idx="34">
                  <c:v>0.5705462906029763</c:v>
                </c:pt>
                <c:pt idx="35">
                  <c:v>0.5618016787494908</c:v>
                </c:pt>
                <c:pt idx="36">
                  <c:v>0.5288201145311382</c:v>
                </c:pt>
                <c:pt idx="37">
                  <c:v>0.5460559138787163</c:v>
                </c:pt>
                <c:pt idx="38">
                  <c:v>0.5490707971626981</c:v>
                </c:pt>
                <c:pt idx="39">
                  <c:v>0.5431679996432182</c:v>
                </c:pt>
                <c:pt idx="40">
                  <c:v>0.5372868660361518</c:v>
                </c:pt>
                <c:pt idx="41">
                  <c:v>0.5837394998428703</c:v>
                </c:pt>
                <c:pt idx="42">
                  <c:v>0.5857276390729026</c:v>
                </c:pt>
                <c:pt idx="43">
                  <c:v>0.5597288739952132</c:v>
                </c:pt>
                <c:pt idx="44">
                  <c:v>0.5598361876396128</c:v>
                </c:pt>
                <c:pt idx="45">
                  <c:v>0.5489932892508375</c:v>
                </c:pt>
                <c:pt idx="46">
                  <c:v>0.5448414133303768</c:v>
                </c:pt>
                <c:pt idx="47">
                  <c:v>0.5491645823731791</c:v>
                </c:pt>
                <c:pt idx="48">
                  <c:v>0.5146306019914131</c:v>
                </c:pt>
                <c:pt idx="49">
                  <c:v>0.5252090845969494</c:v>
                </c:pt>
                <c:pt idx="50">
                  <c:v>0.4970246831395907</c:v>
                </c:pt>
                <c:pt idx="51">
                  <c:v>0.4926174379545117</c:v>
                </c:pt>
              </c:numCache>
            </c:numRef>
          </c:xVal>
          <c:yVal>
            <c:numRef>
              <c:f>Sheet1!$B$109:$B$160</c:f>
              <c:numCache>
                <c:formatCode>General</c:formatCode>
                <c:ptCount val="52"/>
                <c:pt idx="0">
                  <c:v>0.9124513618677043</c:v>
                </c:pt>
                <c:pt idx="1">
                  <c:v>0.8898876404494382</c:v>
                </c:pt>
                <c:pt idx="2">
                  <c:v>0.9036964980544747</c:v>
                </c:pt>
                <c:pt idx="3">
                  <c:v>0.9015080113100848</c:v>
                </c:pt>
                <c:pt idx="4">
                  <c:v>0.8985801217038539</c:v>
                </c:pt>
                <c:pt idx="5">
                  <c:v>0.8918495297805643</c:v>
                </c:pt>
                <c:pt idx="6">
                  <c:v>0.9110779930452062</c:v>
                </c:pt>
                <c:pt idx="7">
                  <c:v>0.9057315233785822</c:v>
                </c:pt>
                <c:pt idx="8">
                  <c:v>0.8738872403560831</c:v>
                </c:pt>
                <c:pt idx="9">
                  <c:v>0.8785714285714286</c:v>
                </c:pt>
                <c:pt idx="10">
                  <c:v>0.8751515151515151</c:v>
                </c:pt>
                <c:pt idx="11">
                  <c:v>0.9029045643153527</c:v>
                </c:pt>
                <c:pt idx="12">
                  <c:v>0.8831583751711547</c:v>
                </c:pt>
                <c:pt idx="13">
                  <c:v>0.8964646464646465</c:v>
                </c:pt>
                <c:pt idx="14">
                  <c:v>0.90463645943098</c:v>
                </c:pt>
                <c:pt idx="15">
                  <c:v>0.8749266001174398</c:v>
                </c:pt>
                <c:pt idx="16">
                  <c:v>0.8835978835978836</c:v>
                </c:pt>
                <c:pt idx="17">
                  <c:v>0.8717948717948718</c:v>
                </c:pt>
                <c:pt idx="18">
                  <c:v>0.8744493392070485</c:v>
                </c:pt>
                <c:pt idx="19">
                  <c:v>0.8623518687329079</c:v>
                </c:pt>
                <c:pt idx="20">
                  <c:v>0.8658536585365854</c:v>
                </c:pt>
                <c:pt idx="21">
                  <c:v>0.8882921589688507</c:v>
                </c:pt>
                <c:pt idx="22">
                  <c:v>0.8626309662398137</c:v>
                </c:pt>
                <c:pt idx="23">
                  <c:v>0.8855054811205847</c:v>
                </c:pt>
                <c:pt idx="24">
                  <c:v>0.9040404040404041</c:v>
                </c:pt>
                <c:pt idx="25">
                  <c:v>0.8896484375</c:v>
                </c:pt>
                <c:pt idx="26">
                  <c:v>0.8895966029723992</c:v>
                </c:pt>
                <c:pt idx="27">
                  <c:v>0.8554216867469879</c:v>
                </c:pt>
                <c:pt idx="28">
                  <c:v>0.8647887323943662</c:v>
                </c:pt>
                <c:pt idx="29">
                  <c:v>0.8764331210191083</c:v>
                </c:pt>
                <c:pt idx="30">
                  <c:v>0.9016064257028112</c:v>
                </c:pt>
                <c:pt idx="31">
                  <c:v>0.8758526603001364</c:v>
                </c:pt>
                <c:pt idx="32">
                  <c:v>0.868421052631579</c:v>
                </c:pt>
                <c:pt idx="33">
                  <c:v>0.8731009830205541</c:v>
                </c:pt>
                <c:pt idx="34">
                  <c:v>0.8833732057416268</c:v>
                </c:pt>
                <c:pt idx="35">
                  <c:v>0.8636363636363636</c:v>
                </c:pt>
                <c:pt idx="36">
                  <c:v>0.8311688311688312</c:v>
                </c:pt>
                <c:pt idx="37">
                  <c:v>0.8365508365508365</c:v>
                </c:pt>
                <c:pt idx="38">
                  <c:v>0.8393939393939394</c:v>
                </c:pt>
                <c:pt idx="39">
                  <c:v>0.8444656488549618</c:v>
                </c:pt>
                <c:pt idx="40">
                  <c:v>0.7282051282051282</c:v>
                </c:pt>
                <c:pt idx="41">
                  <c:v>0.7897977132805629</c:v>
                </c:pt>
                <c:pt idx="42">
                  <c:v>0.8132530120481928</c:v>
                </c:pt>
                <c:pt idx="43">
                  <c:v>0.8099301784328937</c:v>
                </c:pt>
                <c:pt idx="44">
                  <c:v>0.8409556313993174</c:v>
                </c:pt>
                <c:pt idx="45">
                  <c:v>0.8696479543292103</c:v>
                </c:pt>
                <c:pt idx="46">
                  <c:v>0.8763906056860321</c:v>
                </c:pt>
                <c:pt idx="47">
                  <c:v>0.8796241926012919</c:v>
                </c:pt>
                <c:pt idx="48">
                  <c:v>0.8632521133764296</c:v>
                </c:pt>
                <c:pt idx="49">
                  <c:v>0.8616274266831888</c:v>
                </c:pt>
                <c:pt idx="50">
                  <c:v>0.888130968622101</c:v>
                </c:pt>
                <c:pt idx="51">
                  <c:v>0.86748518204911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1051168158791255</c:v>
                </c:pt>
              </c:numCache>
            </c:numRef>
          </c:xVal>
          <c:yVal>
            <c:numRef>
              <c:f>Sheet1!$B$163:$B$164</c:f>
              <c:numCache>
                <c:formatCode>General</c:formatCode>
                <c:ptCount val="2"/>
                <c:pt idx="0">
                  <c:v>0.9651577909780682</c:v>
                </c:pt>
                <c:pt idx="1">
                  <c:v>0.965157790978068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1051168158791255</c:v>
                </c:pt>
                <c:pt idx="1">
                  <c:v>0.11051168158791255</c:v>
                </c:pt>
              </c:numCache>
            </c:numRef>
          </c:xVal>
          <c:yVal>
            <c:numRef>
              <c:f>Sheet1!$B$167:$B$168</c:f>
              <c:numCache>
                <c:formatCode>General</c:formatCode>
                <c:ptCount val="2"/>
                <c:pt idx="0">
                  <c:v>0.965157790978068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1622234517382484</c:v>
                </c:pt>
              </c:numCache>
            </c:numRef>
          </c:xVal>
          <c:yVal>
            <c:numRef>
              <c:f>Sheet1!$B$171:$B$172</c:f>
              <c:numCache>
                <c:formatCode>General</c:formatCode>
                <c:ptCount val="2"/>
                <c:pt idx="0">
                  <c:v>0.8987411022162214</c:v>
                </c:pt>
                <c:pt idx="1">
                  <c:v>0.898741102216221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1622234517382484</c:v>
                </c:pt>
                <c:pt idx="1">
                  <c:v>0.41622234517382484</c:v>
                </c:pt>
              </c:numCache>
            </c:numRef>
          </c:xVal>
          <c:yVal>
            <c:numRef>
              <c:f>Sheet1!$B$175:$B$176</c:f>
              <c:numCache>
                <c:formatCode>General</c:formatCode>
                <c:ptCount val="2"/>
                <c:pt idx="0">
                  <c:v>0.898741102216221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82082922446297</c:v>
                </c:pt>
              </c:numCache>
            </c:numRef>
          </c:xVal>
          <c:yVal>
            <c:numRef>
              <c:f>Sheet1!$B$179:$B$180</c:f>
              <c:numCache>
                <c:formatCode>General</c:formatCode>
                <c:ptCount val="2"/>
                <c:pt idx="0">
                  <c:v>0.8409819811975707</c:v>
                </c:pt>
                <c:pt idx="1">
                  <c:v>0.840981981197570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82082922446297</c:v>
                </c:pt>
                <c:pt idx="1">
                  <c:v>0.682082922446297</c:v>
                </c:pt>
              </c:numCache>
            </c:numRef>
          </c:xVal>
          <c:yVal>
            <c:numRef>
              <c:f>Sheet1!$B$183:$B$184</c:f>
              <c:numCache>
                <c:formatCode>General</c:formatCode>
                <c:ptCount val="2"/>
                <c:pt idx="0">
                  <c:v>0.84098198119757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5449959925246166</c:v>
                </c:pt>
                <c:pt idx="1">
                  <c:v>0.5679503697108126</c:v>
                </c:pt>
                <c:pt idx="2">
                  <c:v>0.5458603446968457</c:v>
                </c:pt>
                <c:pt idx="3">
                  <c:v>0.5620218799288318</c:v>
                </c:pt>
                <c:pt idx="4">
                  <c:v>0.5526689187295866</c:v>
                </c:pt>
                <c:pt idx="5">
                  <c:v>0.5682827172172719</c:v>
                </c:pt>
                <c:pt idx="6">
                  <c:v>0.540146345429231</c:v>
                </c:pt>
                <c:pt idx="7">
                  <c:v>0.5480642546628542</c:v>
                </c:pt>
                <c:pt idx="8">
                  <c:v>0.5908168163369011</c:v>
                </c:pt>
                <c:pt idx="9">
                  <c:v>0.550372128565806</c:v>
                </c:pt>
                <c:pt idx="10">
                  <c:v>0.5559400360993124</c:v>
                </c:pt>
                <c:pt idx="11">
                  <c:v>0.5126493126071217</c:v>
                </c:pt>
                <c:pt idx="12">
                  <c:v>0.5137722885333309</c:v>
                </c:pt>
                <c:pt idx="13">
                  <c:v>0.5373616805133204</c:v>
                </c:pt>
                <c:pt idx="14">
                  <c:v>0.539212107753936</c:v>
                </c:pt>
                <c:pt idx="15">
                  <c:v>0.5446662585665634</c:v>
                </c:pt>
                <c:pt idx="16">
                  <c:v>0.5702036841209386</c:v>
                </c:pt>
                <c:pt idx="17">
                  <c:v>0.5597687607339249</c:v>
                </c:pt>
                <c:pt idx="18">
                  <c:v>0.5678557907471463</c:v>
                </c:pt>
                <c:pt idx="19">
                  <c:v>0.6102401978235459</c:v>
                </c:pt>
                <c:pt idx="20">
                  <c:v>0.5931654873241612</c:v>
                </c:pt>
                <c:pt idx="21">
                  <c:v>0.5718465727268011</c:v>
                </c:pt>
                <c:pt idx="22">
                  <c:v>0.5888524980664551</c:v>
                </c:pt>
                <c:pt idx="23">
                  <c:v>0.49664806858401905</c:v>
                </c:pt>
                <c:pt idx="24">
                  <c:v>0.47320867666867944</c:v>
                </c:pt>
                <c:pt idx="25">
                  <c:v>0.438504000428877</c:v>
                </c:pt>
                <c:pt idx="26">
                  <c:v>0.48231961812055407</c:v>
                </c:pt>
                <c:pt idx="27">
                  <c:v>0.5457811645292652</c:v>
                </c:pt>
                <c:pt idx="28">
                  <c:v>0.5777424448576786</c:v>
                </c:pt>
                <c:pt idx="29">
                  <c:v>0.5806509057529832</c:v>
                </c:pt>
                <c:pt idx="30">
                  <c:v>0.530392530861608</c:v>
                </c:pt>
                <c:pt idx="31">
                  <c:v>0.4862036725379565</c:v>
                </c:pt>
                <c:pt idx="32">
                  <c:v>0.519320648673905</c:v>
                </c:pt>
                <c:pt idx="33">
                  <c:v>0.5510265510054159</c:v>
                </c:pt>
                <c:pt idx="34">
                  <c:v>0.5705462906029763</c:v>
                </c:pt>
                <c:pt idx="35">
                  <c:v>0.5618016787494908</c:v>
                </c:pt>
                <c:pt idx="36">
                  <c:v>0.5288201145311382</c:v>
                </c:pt>
                <c:pt idx="37">
                  <c:v>0.5460559138787163</c:v>
                </c:pt>
                <c:pt idx="38">
                  <c:v>0.5490707971626981</c:v>
                </c:pt>
                <c:pt idx="39">
                  <c:v>0.5431679996432182</c:v>
                </c:pt>
                <c:pt idx="40">
                  <c:v>0.5372868660361518</c:v>
                </c:pt>
                <c:pt idx="41">
                  <c:v>0.5837394998428703</c:v>
                </c:pt>
                <c:pt idx="42">
                  <c:v>0.5857276390729026</c:v>
                </c:pt>
                <c:pt idx="43">
                  <c:v>0.5597288739952132</c:v>
                </c:pt>
                <c:pt idx="44">
                  <c:v>0.5598361876396128</c:v>
                </c:pt>
                <c:pt idx="45">
                  <c:v>0.5489932892508375</c:v>
                </c:pt>
                <c:pt idx="46">
                  <c:v>0.5448414133303768</c:v>
                </c:pt>
                <c:pt idx="47">
                  <c:v>0.5491645823731791</c:v>
                </c:pt>
                <c:pt idx="48">
                  <c:v>0.5146306019914131</c:v>
                </c:pt>
                <c:pt idx="49">
                  <c:v>0.5252090845969494</c:v>
                </c:pt>
                <c:pt idx="50">
                  <c:v>0.4970246831395907</c:v>
                </c:pt>
                <c:pt idx="51">
                  <c:v>0.4926174379545117</c:v>
                </c:pt>
                <c:pt idx="52">
                  <c:v>0.41622234517382484</c:v>
                </c:pt>
                <c:pt idx="53">
                  <c:v>0.11051168158791255</c:v>
                </c:pt>
                <c:pt idx="54">
                  <c:v>0.682082922446297</c:v>
                </c:pt>
              </c:numCache>
            </c:numRef>
          </c:xVal>
          <c:yVal>
            <c:numRef>
              <c:f>Sheet1!$B$187:$B$241</c:f>
              <c:numCache>
                <c:formatCode>General</c:formatCode>
                <c:ptCount val="55"/>
                <c:pt idx="0">
                  <c:v>0.8707645862631825</c:v>
                </c:pt>
                <c:pt idx="1">
                  <c:v>0.8657776691978275</c:v>
                </c:pt>
                <c:pt idx="2">
                  <c:v>0.8705768027932499</c:v>
                </c:pt>
                <c:pt idx="3">
                  <c:v>0.8670656539087924</c:v>
                </c:pt>
                <c:pt idx="4">
                  <c:v>0.8690976167644071</c:v>
                </c:pt>
                <c:pt idx="5">
                  <c:v>0.8657054655637169</c:v>
                </c:pt>
                <c:pt idx="6">
                  <c:v>0.8718181887053117</c:v>
                </c:pt>
                <c:pt idx="7">
                  <c:v>0.8700979958044633</c:v>
                </c:pt>
                <c:pt idx="8">
                  <c:v>0.8608098553478291</c:v>
                </c:pt>
                <c:pt idx="9">
                  <c:v>0.8695966022942861</c:v>
                </c:pt>
                <c:pt idx="10">
                  <c:v>0.8683869553118422</c:v>
                </c:pt>
                <c:pt idx="11">
                  <c:v>0.8777920132667408</c:v>
                </c:pt>
                <c:pt idx="12">
                  <c:v>0.8775480429004369</c:v>
                </c:pt>
                <c:pt idx="13">
                  <c:v>0.8724231666961239</c:v>
                </c:pt>
                <c:pt idx="14">
                  <c:v>0.8720211550401521</c:v>
                </c:pt>
                <c:pt idx="15">
                  <c:v>0.8708362220949503</c:v>
                </c:pt>
                <c:pt idx="16">
                  <c:v>0.8652881289243399</c:v>
                </c:pt>
                <c:pt idx="17">
                  <c:v>0.8675551517711051</c:v>
                </c:pt>
                <c:pt idx="18">
                  <c:v>0.8657982168016289</c:v>
                </c:pt>
                <c:pt idx="19">
                  <c:v>0.8565900591923097</c:v>
                </c:pt>
                <c:pt idx="20">
                  <c:v>0.8602995985313507</c:v>
                </c:pt>
                <c:pt idx="21">
                  <c:v>0.8649312057476144</c:v>
                </c:pt>
                <c:pt idx="22">
                  <c:v>0.8612366102201228</c:v>
                </c:pt>
                <c:pt idx="23">
                  <c:v>0.8812683383370506</c:v>
                </c:pt>
                <c:pt idx="24">
                  <c:v>0.8863606265135492</c:v>
                </c:pt>
                <c:pt idx="25">
                  <c:v>0.8939003362945652</c:v>
                </c:pt>
                <c:pt idx="26">
                  <c:v>0.8843812432769991</c:v>
                </c:pt>
                <c:pt idx="27">
                  <c:v>0.8705940049558589</c:v>
                </c:pt>
                <c:pt idx="28">
                  <c:v>0.8636503073330712</c:v>
                </c:pt>
                <c:pt idx="29">
                  <c:v>0.8630184342417186</c:v>
                </c:pt>
                <c:pt idx="30">
                  <c:v>0.87393723832818</c:v>
                </c:pt>
                <c:pt idx="31">
                  <c:v>0.8835374191514392</c:v>
                </c:pt>
                <c:pt idx="32">
                  <c:v>0.8763426426560597</c:v>
                </c:pt>
                <c:pt idx="33">
                  <c:v>0.869454426777801</c:v>
                </c:pt>
                <c:pt idx="34">
                  <c:v>0.8652136964926466</c:v>
                </c:pt>
                <c:pt idx="35">
                  <c:v>0.8671134933692213</c:v>
                </c:pt>
                <c:pt idx="36">
                  <c:v>0.8742788511617001</c:v>
                </c:pt>
                <c:pt idx="37">
                  <c:v>0.8705343147186393</c:v>
                </c:pt>
                <c:pt idx="38">
                  <c:v>0.8698793209988365</c:v>
                </c:pt>
                <c:pt idx="39">
                  <c:v>0.8711617239777739</c:v>
                </c:pt>
                <c:pt idx="40">
                  <c:v>0.8724394203975379</c:v>
                </c:pt>
                <c:pt idx="41">
                  <c:v>0.8623474265968641</c:v>
                </c:pt>
                <c:pt idx="42">
                  <c:v>0.8619154965395105</c:v>
                </c:pt>
                <c:pt idx="43">
                  <c:v>0.8675638173017073</c:v>
                </c:pt>
                <c:pt idx="44">
                  <c:v>0.8675405030448986</c:v>
                </c:pt>
                <c:pt idx="45">
                  <c:v>0.8698961598581627</c:v>
                </c:pt>
                <c:pt idx="46">
                  <c:v>0.8707981691225846</c:v>
                </c:pt>
                <c:pt idx="47">
                  <c:v>0.8698589458406333</c:v>
                </c:pt>
                <c:pt idx="48">
                  <c:v>0.877361571361836</c:v>
                </c:pt>
                <c:pt idx="49">
                  <c:v>0.8750633597831382</c:v>
                </c:pt>
                <c:pt idx="50">
                  <c:v>0.8811865175349001</c:v>
                </c:pt>
                <c:pt idx="51">
                  <c:v>0.8821440066467324</c:v>
                </c:pt>
                <c:pt idx="52">
                  <c:v>0.8987411022162214</c:v>
                </c:pt>
                <c:pt idx="53">
                  <c:v>0.9651577909780682</c:v>
                </c:pt>
                <c:pt idx="54">
                  <c:v>0.84098198119757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4828060522696"/>
          <c:min val="0.582564102564102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31.8408</c:v>
                </c:pt>
                <c:pt idx="1">
                  <c:v>1133.7137</c:v>
                </c:pt>
                <c:pt idx="2">
                  <c:v>1146.78</c:v>
                </c:pt>
                <c:pt idx="3">
                  <c:v>1162.3621</c:v>
                </c:pt>
                <c:pt idx="4">
                  <c:v>1168.2721</c:v>
                </c:pt>
                <c:pt idx="5">
                  <c:v>1177.1283</c:v>
                </c:pt>
                <c:pt idx="6">
                  <c:v>1125.361</c:v>
                </c:pt>
                <c:pt idx="7">
                  <c:v>1156.6224</c:v>
                </c:pt>
                <c:pt idx="8">
                  <c:v>1160.9717</c:v>
                </c:pt>
                <c:pt idx="9">
                  <c:v>1142.9772</c:v>
                </c:pt>
                <c:pt idx="10">
                  <c:v>1116.6543</c:v>
                </c:pt>
                <c:pt idx="11">
                  <c:v>1158.2341</c:v>
                </c:pt>
                <c:pt idx="12">
                  <c:v>1156.0953</c:v>
                </c:pt>
                <c:pt idx="13">
                  <c:v>1125.2475</c:v>
                </c:pt>
                <c:pt idx="14">
                  <c:v>1198.8991</c:v>
                </c:pt>
                <c:pt idx="15">
                  <c:v>1158.1492</c:v>
                </c:pt>
                <c:pt idx="16">
                  <c:v>1303.4749</c:v>
                </c:pt>
                <c:pt idx="17">
                  <c:v>1192.4893</c:v>
                </c:pt>
                <c:pt idx="18">
                  <c:v>1277.827</c:v>
                </c:pt>
                <c:pt idx="19">
                  <c:v>1321.5558</c:v>
                </c:pt>
                <c:pt idx="20">
                  <c:v>1310.0216</c:v>
                </c:pt>
                <c:pt idx="21">
                  <c:v>1303.9264</c:v>
                </c:pt>
                <c:pt idx="22">
                  <c:v>1303.424</c:v>
                </c:pt>
                <c:pt idx="23">
                  <c:v>1298.5474</c:v>
                </c:pt>
                <c:pt idx="24">
                  <c:v>1328.7525</c:v>
                </c:pt>
                <c:pt idx="25">
                  <c:v>1262.6512</c:v>
                </c:pt>
                <c:pt idx="26">
                  <c:v>1254.0032</c:v>
                </c:pt>
                <c:pt idx="27">
                  <c:v>1375.8229</c:v>
                </c:pt>
                <c:pt idx="28">
                  <c:v>1230.9544</c:v>
                </c:pt>
                <c:pt idx="29">
                  <c:v>1193.6737</c:v>
                </c:pt>
                <c:pt idx="30">
                  <c:v>1200.5425</c:v>
                </c:pt>
                <c:pt idx="31">
                  <c:v>1174.6463</c:v>
                </c:pt>
                <c:pt idx="32">
                  <c:v>1163.265</c:v>
                </c:pt>
                <c:pt idx="33">
                  <c:v>1149.4023</c:v>
                </c:pt>
                <c:pt idx="34">
                  <c:v>1116.2784</c:v>
                </c:pt>
                <c:pt idx="35">
                  <c:v>1094.7897</c:v>
                </c:pt>
                <c:pt idx="36">
                  <c:v>1300.7759</c:v>
                </c:pt>
                <c:pt idx="37">
                  <c:v>1303.985</c:v>
                </c:pt>
                <c:pt idx="38">
                  <c:v>1346.6649</c:v>
                </c:pt>
                <c:pt idx="39">
                  <c:v>1418.9381</c:v>
                </c:pt>
                <c:pt idx="40">
                  <c:v>1399.0078</c:v>
                </c:pt>
                <c:pt idx="41">
                  <c:v>1433.6279</c:v>
                </c:pt>
                <c:pt idx="42">
                  <c:v>1492.426</c:v>
                </c:pt>
                <c:pt idx="43">
                  <c:v>1553.8445</c:v>
                </c:pt>
                <c:pt idx="44">
                  <c:v>1204.313</c:v>
                </c:pt>
                <c:pt idx="45">
                  <c:v>1161.3225</c:v>
                </c:pt>
                <c:pt idx="46">
                  <c:v>1108.9963</c:v>
                </c:pt>
                <c:pt idx="47">
                  <c:v>1045.5557</c:v>
                </c:pt>
                <c:pt idx="48">
                  <c:v>1059.2355</c:v>
                </c:pt>
                <c:pt idx="49">
                  <c:v>1043.3402</c:v>
                </c:pt>
                <c:pt idx="50">
                  <c:v>1066.3921</c:v>
                </c:pt>
                <c:pt idx="51">
                  <c:v>1127.2469</c:v>
                </c:pt>
                <c:pt idx="52">
                  <c:v>1144.8963</c:v>
                </c:pt>
                <c:pt idx="53">
                  <c:v>1164.6827</c:v>
                </c:pt>
                <c:pt idx="54">
                  <c:v>1175.0456</c:v>
                </c:pt>
                <c:pt idx="55">
                  <c:v>1260.9617</c:v>
                </c:pt>
                <c:pt idx="56">
                  <c:v>1250.011</c:v>
                </c:pt>
                <c:pt idx="57">
                  <c:v>1239.8537</c:v>
                </c:pt>
                <c:pt idx="58">
                  <c:v>1217.6274</c:v>
                </c:pt>
                <c:pt idx="59">
                  <c:v>1191.1152</c:v>
                </c:pt>
                <c:pt idx="60">
                  <c:v>1223.132</c:v>
                </c:pt>
                <c:pt idx="61">
                  <c:v>1203.963</c:v>
                </c:pt>
                <c:pt idx="62">
                  <c:v>1208.7234</c:v>
                </c:pt>
                <c:pt idx="63">
                  <c:v>1235.0471</c:v>
                </c:pt>
                <c:pt idx="64">
                  <c:v>1245.3573</c:v>
                </c:pt>
                <c:pt idx="65">
                  <c:v>1217.8554</c:v>
                </c:pt>
                <c:pt idx="66">
                  <c:v>1143.4544</c:v>
                </c:pt>
                <c:pt idx="67">
                  <c:v>1068.0791</c:v>
                </c:pt>
                <c:pt idx="68">
                  <c:v>1052.7899</c:v>
                </c:pt>
                <c:pt idx="69">
                  <c:v>1059.3938</c:v>
                </c:pt>
                <c:pt idx="70">
                  <c:v>1017.1839</c:v>
                </c:pt>
                <c:pt idx="71">
                  <c:v>1066.5405</c:v>
                </c:pt>
                <c:pt idx="72">
                  <c:v>1112.5649</c:v>
                </c:pt>
                <c:pt idx="73">
                  <c:v>1150.0814</c:v>
                </c:pt>
                <c:pt idx="74">
                  <c:v>1067.0731</c:v>
                </c:pt>
                <c:pt idx="75">
                  <c:v>1088.1826</c:v>
                </c:pt>
                <c:pt idx="76">
                  <c:v>1009.0964</c:v>
                </c:pt>
                <c:pt idx="77">
                  <c:v>977.5697</c:v>
                </c:pt>
                <c:pt idx="78">
                  <c:v>1094.7472</c:v>
                </c:pt>
                <c:pt idx="79">
                  <c:v>562.7621</c:v>
                </c:pt>
                <c:pt idx="80">
                  <c:v>546.6804</c:v>
                </c:pt>
                <c:pt idx="81">
                  <c:v>821.7277</c:v>
                </c:pt>
                <c:pt idx="82">
                  <c:v>823.4193</c:v>
                </c:pt>
                <c:pt idx="83">
                  <c:v>896.9982</c:v>
                </c:pt>
                <c:pt idx="84">
                  <c:v>870.0179</c:v>
                </c:pt>
                <c:pt idx="85">
                  <c:v>938.5884</c:v>
                </c:pt>
                <c:pt idx="86">
                  <c:v>1175.0958</c:v>
                </c:pt>
                <c:pt idx="87">
                  <c:v>1212.2913</c:v>
                </c:pt>
                <c:pt idx="88">
                  <c:v>1220.6364</c:v>
                </c:pt>
                <c:pt idx="89">
                  <c:v>1114.3973</c:v>
                </c:pt>
                <c:pt idx="90">
                  <c:v>1160.1255</c:v>
                </c:pt>
                <c:pt idx="91">
                  <c:v>1225.3239</c:v>
                </c:pt>
                <c:pt idx="92">
                  <c:v>1307.7109</c:v>
                </c:pt>
                <c:pt idx="93">
                  <c:v>1385.5024</c:v>
                </c:pt>
                <c:pt idx="94">
                  <c:v>1320.2642</c:v>
                </c:pt>
                <c:pt idx="95">
                  <c:v>1447.3278</c:v>
                </c:pt>
                <c:pt idx="96">
                  <c:v>1333.89</c:v>
                </c:pt>
                <c:pt idx="97">
                  <c:v>1368.6377</c:v>
                </c:pt>
                <c:pt idx="98">
                  <c:v>1372.257</c:v>
                </c:pt>
                <c:pt idx="99">
                  <c:v>1340.0481</c:v>
                </c:pt>
                <c:pt idx="100">
                  <c:v>1287.5908</c:v>
                </c:pt>
                <c:pt idx="101">
                  <c:v>1374.8637</c:v>
                </c:pt>
                <c:pt idx="102">
                  <c:v>1450.0014</c:v>
                </c:pt>
                <c:pt idx="103">
                  <c:v>1398.1028</c:v>
                </c:pt>
                <c:pt idx="104">
                  <c:v>1437.3107</c:v>
                </c:pt>
              </c:numCache>
            </c:numRef>
          </c:xVal>
          <c:yVal>
            <c:numRef>
              <c:f>Sheet1!$B$2:$B$106</c:f>
              <c:numCache>
                <c:formatCode>General</c:formatCode>
                <c:ptCount val="105"/>
                <c:pt idx="0">
                  <c:v>0.9340511440107672</c:v>
                </c:pt>
                <c:pt idx="1">
                  <c:v>0.9234095120444719</c:v>
                </c:pt>
                <c:pt idx="2">
                  <c:v>0.9182156133828996</c:v>
                </c:pt>
                <c:pt idx="3">
                  <c:v>0.9294911097486205</c:v>
                </c:pt>
                <c:pt idx="4">
                  <c:v>0.9098474341192788</c:v>
                </c:pt>
                <c:pt idx="5">
                  <c:v>0.9089615931721194</c:v>
                </c:pt>
                <c:pt idx="6">
                  <c:v>0.8979974968710889</c:v>
                </c:pt>
                <c:pt idx="7">
                  <c:v>0.9006526468455403</c:v>
                </c:pt>
                <c:pt idx="8">
                  <c:v>0.906055900621118</c:v>
                </c:pt>
                <c:pt idx="9">
                  <c:v>0.9134007585335019</c:v>
                </c:pt>
                <c:pt idx="10">
                  <c:v>0.9178470254957507</c:v>
                </c:pt>
                <c:pt idx="11">
                  <c:v>0.9182242990654206</c:v>
                </c:pt>
                <c:pt idx="12">
                  <c:v>0.912485414235706</c:v>
                </c:pt>
                <c:pt idx="13">
                  <c:v>0.9290519877675841</c:v>
                </c:pt>
                <c:pt idx="14">
                  <c:v>0.9200492004920049</c:v>
                </c:pt>
                <c:pt idx="15">
                  <c:v>0.9249431387414708</c:v>
                </c:pt>
                <c:pt idx="16">
                  <c:v>0.9109535066981875</c:v>
                </c:pt>
                <c:pt idx="17">
                  <c:v>0.916955017301038</c:v>
                </c:pt>
                <c:pt idx="18">
                  <c:v>0.900593471810089</c:v>
                </c:pt>
                <c:pt idx="19">
                  <c:v>0.8962962962962963</c:v>
                </c:pt>
                <c:pt idx="20">
                  <c:v>0.9061624649859944</c:v>
                </c:pt>
                <c:pt idx="21">
                  <c:v>0.9090909090909091</c:v>
                </c:pt>
                <c:pt idx="22">
                  <c:v>0.9350877192982456</c:v>
                </c:pt>
                <c:pt idx="23">
                  <c:v>0.9284403669724771</c:v>
                </c:pt>
                <c:pt idx="24">
                  <c:v>0.921875</c:v>
                </c:pt>
                <c:pt idx="25">
                  <c:v>0.9381818181818182</c:v>
                </c:pt>
                <c:pt idx="26">
                  <c:v>0.9424242424242424</c:v>
                </c:pt>
                <c:pt idx="27">
                  <c:v>0.9596577017114915</c:v>
                </c:pt>
                <c:pt idx="28">
                  <c:v>0.9504643962848297</c:v>
                </c:pt>
                <c:pt idx="29">
                  <c:v>0.9650112866817155</c:v>
                </c:pt>
                <c:pt idx="30">
                  <c:v>0.9584717607973422</c:v>
                </c:pt>
                <c:pt idx="31">
                  <c:v>0.9497645211930926</c:v>
                </c:pt>
                <c:pt idx="32">
                  <c:v>0.9594383775351014</c:v>
                </c:pt>
                <c:pt idx="33">
                  <c:v>0.9574468085106383</c:v>
                </c:pt>
                <c:pt idx="34">
                  <c:v>0.9628942486085343</c:v>
                </c:pt>
                <c:pt idx="35">
                  <c:v>0.9677206851119895</c:v>
                </c:pt>
                <c:pt idx="36">
                  <c:v>0.9337748344370861</c:v>
                </c:pt>
                <c:pt idx="37">
                  <c:v>0.9551971326164874</c:v>
                </c:pt>
                <c:pt idx="38">
                  <c:v>0.9550173010380623</c:v>
                </c:pt>
                <c:pt idx="39">
                  <c:v>0.947069943289225</c:v>
                </c:pt>
                <c:pt idx="40">
                  <c:v>0.9300291545189504</c:v>
                </c:pt>
                <c:pt idx="41">
                  <c:v>0.9483648881239243</c:v>
                </c:pt>
                <c:pt idx="42">
                  <c:v>0.9588652482269504</c:v>
                </c:pt>
                <c:pt idx="43">
                  <c:v>0.9214916584887144</c:v>
                </c:pt>
                <c:pt idx="44">
                  <c:v>0.9435294117647058</c:v>
                </c:pt>
                <c:pt idx="45">
                  <c:v>0.9566170026292725</c:v>
                </c:pt>
                <c:pt idx="46">
                  <c:v>0.961462839166339</c:v>
                </c:pt>
                <c:pt idx="47">
                  <c:v>0.9610705596107056</c:v>
                </c:pt>
                <c:pt idx="48">
                  <c:v>0.9732142857142857</c:v>
                </c:pt>
                <c:pt idx="49">
                  <c:v>0.9790233837689133</c:v>
                </c:pt>
                <c:pt idx="50">
                  <c:v>0.9700374531835206</c:v>
                </c:pt>
                <c:pt idx="51">
                  <c:v>0.9722382880277617</c:v>
                </c:pt>
                <c:pt idx="52">
                  <c:v>0.9652022618529795</c:v>
                </c:pt>
                <c:pt idx="53">
                  <c:v>0.9575952764358562</c:v>
                </c:pt>
                <c:pt idx="54">
                  <c:v>0.9585201793721974</c:v>
                </c:pt>
                <c:pt idx="55">
                  <c:v>0.9652271452607964</c:v>
                </c:pt>
                <c:pt idx="56">
                  <c:v>0.9686204854943754</c:v>
                </c:pt>
                <c:pt idx="57">
                  <c:v>0.9611324376199616</c:v>
                </c:pt>
                <c:pt idx="58">
                  <c:v>0.9593908629441624</c:v>
                </c:pt>
                <c:pt idx="59">
                  <c:v>0.9608307045215563</c:v>
                </c:pt>
                <c:pt idx="60">
                  <c:v>0.9560185185185185</c:v>
                </c:pt>
                <c:pt idx="61">
                  <c:v>0.9352703199705774</c:v>
                </c:pt>
                <c:pt idx="62">
                  <c:v>0.9363081617086194</c:v>
                </c:pt>
                <c:pt idx="63">
                  <c:v>0.9389819791337338</c:v>
                </c:pt>
                <c:pt idx="64">
                  <c:v>0.9265125118783656</c:v>
                </c:pt>
                <c:pt idx="65">
                  <c:v>0.94670245398773</c:v>
                </c:pt>
                <c:pt idx="66">
                  <c:v>0.9504587155963303</c:v>
                </c:pt>
                <c:pt idx="67">
                  <c:v>0.9546279491833031</c:v>
                </c:pt>
                <c:pt idx="68">
                  <c:v>0.9569798068481123</c:v>
                </c:pt>
                <c:pt idx="69">
                  <c:v>0.9554020100502513</c:v>
                </c:pt>
                <c:pt idx="70">
                  <c:v>0.8624514697726012</c:v>
                </c:pt>
                <c:pt idx="71">
                  <c:v>0.9473684210526315</c:v>
                </c:pt>
                <c:pt idx="72">
                  <c:v>0.9482645710543549</c:v>
                </c:pt>
                <c:pt idx="73">
                  <c:v>0.9394473838918284</c:v>
                </c:pt>
                <c:pt idx="74">
                  <c:v>0.9502724795640327</c:v>
                </c:pt>
                <c:pt idx="75">
                  <c:v>0.96</c:v>
                </c:pt>
                <c:pt idx="76">
                  <c:v>0.9580184718723762</c:v>
                </c:pt>
                <c:pt idx="77">
                  <c:v>0.7512853470437018</c:v>
                </c:pt>
                <c:pt idx="78">
                  <c:v>0.9200415368639667</c:v>
                </c:pt>
                <c:pt idx="79">
                  <c:v>0.9050456893126738</c:v>
                </c:pt>
                <c:pt idx="80">
                  <c:v>0.8945981554677207</c:v>
                </c:pt>
                <c:pt idx="81">
                  <c:v>0.9523269012485811</c:v>
                </c:pt>
                <c:pt idx="82">
                  <c:v>0.9666666666666667</c:v>
                </c:pt>
                <c:pt idx="83">
                  <c:v>0.9553805774278216</c:v>
                </c:pt>
                <c:pt idx="84">
                  <c:v>0.9624060150375939</c:v>
                </c:pt>
                <c:pt idx="85">
                  <c:v>0.9523346303501945</c:v>
                </c:pt>
                <c:pt idx="86">
                  <c:v>0.9315424610051993</c:v>
                </c:pt>
                <c:pt idx="87">
                  <c:v>0.941397445529677</c:v>
                </c:pt>
                <c:pt idx="88">
                  <c:v>0.9395833333333333</c:v>
                </c:pt>
                <c:pt idx="89">
                  <c:v>0.9398410896708286</c:v>
                </c:pt>
                <c:pt idx="90">
                  <c:v>0.9375</c:v>
                </c:pt>
                <c:pt idx="91">
                  <c:v>0.9382093316519546</c:v>
                </c:pt>
                <c:pt idx="92">
                  <c:v>0.9294605809128631</c:v>
                </c:pt>
                <c:pt idx="93">
                  <c:v>0.9361233480176211</c:v>
                </c:pt>
                <c:pt idx="94">
                  <c:v>0.9464285714285714</c:v>
                </c:pt>
                <c:pt idx="95">
                  <c:v>0.9389799635701275</c:v>
                </c:pt>
                <c:pt idx="96">
                  <c:v>0.9387387387387387</c:v>
                </c:pt>
                <c:pt idx="97">
                  <c:v>0.944935064935065</c:v>
                </c:pt>
                <c:pt idx="98">
                  <c:v>0.93375</c:v>
                </c:pt>
                <c:pt idx="99">
                  <c:v>0.9344900849858357</c:v>
                </c:pt>
                <c:pt idx="100">
                  <c:v>0.9429193899782136</c:v>
                </c:pt>
                <c:pt idx="101">
                  <c:v>0.9307467667918231</c:v>
                </c:pt>
                <c:pt idx="102">
                  <c:v>0.9022741241548863</c:v>
                </c:pt>
                <c:pt idx="103">
                  <c:v>0.9129451667608819</c:v>
                </c:pt>
                <c:pt idx="104">
                  <c:v>0.911051212938005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42.9733</c:v>
                </c:pt>
                <c:pt idx="1">
                  <c:v>1467.0726</c:v>
                </c:pt>
                <c:pt idx="2">
                  <c:v>1463.4607</c:v>
                </c:pt>
                <c:pt idx="3">
                  <c:v>1517.0633</c:v>
                </c:pt>
                <c:pt idx="4">
                  <c:v>1489.105</c:v>
                </c:pt>
                <c:pt idx="5">
                  <c:v>1515.4564</c:v>
                </c:pt>
                <c:pt idx="6">
                  <c:v>1429.1091</c:v>
                </c:pt>
                <c:pt idx="7">
                  <c:v>1481.4829</c:v>
                </c:pt>
                <c:pt idx="8">
                  <c:v>1543.107</c:v>
                </c:pt>
                <c:pt idx="9">
                  <c:v>1469.119</c:v>
                </c:pt>
                <c:pt idx="10">
                  <c:v>1486.036</c:v>
                </c:pt>
                <c:pt idx="11">
                  <c:v>1356.2601</c:v>
                </c:pt>
                <c:pt idx="12">
                  <c:v>1377.9437</c:v>
                </c:pt>
                <c:pt idx="13">
                  <c:v>1420.5882</c:v>
                </c:pt>
                <c:pt idx="14">
                  <c:v>1433.3821</c:v>
                </c:pt>
                <c:pt idx="15">
                  <c:v>1439.0966</c:v>
                </c:pt>
                <c:pt idx="16">
                  <c:v>1533.9059</c:v>
                </c:pt>
                <c:pt idx="17">
                  <c:v>1504.0892</c:v>
                </c:pt>
                <c:pt idx="18">
                  <c:v>1488.3703</c:v>
                </c:pt>
                <c:pt idx="19">
                  <c:v>1618.4926</c:v>
                </c:pt>
                <c:pt idx="20">
                  <c:v>1599.8662</c:v>
                </c:pt>
                <c:pt idx="21">
                  <c:v>1530.0073</c:v>
                </c:pt>
                <c:pt idx="22">
                  <c:v>1571.2267</c:v>
                </c:pt>
                <c:pt idx="23">
                  <c:v>1378.5007</c:v>
                </c:pt>
                <c:pt idx="24">
                  <c:v>1273.4637</c:v>
                </c:pt>
                <c:pt idx="25">
                  <c:v>1212.213</c:v>
                </c:pt>
                <c:pt idx="26">
                  <c:v>1288.2757</c:v>
                </c:pt>
                <c:pt idx="27">
                  <c:v>1436.758</c:v>
                </c:pt>
                <c:pt idx="28">
                  <c:v>1555.0901</c:v>
                </c:pt>
                <c:pt idx="29">
                  <c:v>1549.7863</c:v>
                </c:pt>
                <c:pt idx="30">
                  <c:v>1405.931</c:v>
                </c:pt>
                <c:pt idx="31">
                  <c:v>1283.0031</c:v>
                </c:pt>
                <c:pt idx="32">
                  <c:v>1416.4358</c:v>
                </c:pt>
                <c:pt idx="33">
                  <c:v>1478.2559</c:v>
                </c:pt>
                <c:pt idx="34">
                  <c:v>1528.1598</c:v>
                </c:pt>
                <c:pt idx="35">
                  <c:v>1493.2233</c:v>
                </c:pt>
                <c:pt idx="36">
                  <c:v>1477.5234</c:v>
                </c:pt>
                <c:pt idx="37">
                  <c:v>1534.7062</c:v>
                </c:pt>
                <c:pt idx="38">
                  <c:v>1462.8538</c:v>
                </c:pt>
                <c:pt idx="39">
                  <c:v>1461.513</c:v>
                </c:pt>
                <c:pt idx="40">
                  <c:v>1471.4014</c:v>
                </c:pt>
                <c:pt idx="41">
                  <c:v>1548.7906</c:v>
                </c:pt>
                <c:pt idx="42">
                  <c:v>1513.5481</c:v>
                </c:pt>
                <c:pt idx="43">
                  <c:v>1505.454</c:v>
                </c:pt>
                <c:pt idx="44">
                  <c:v>1503.72</c:v>
                </c:pt>
                <c:pt idx="45">
                  <c:v>1450.9639</c:v>
                </c:pt>
                <c:pt idx="46">
                  <c:v>1473.7842</c:v>
                </c:pt>
                <c:pt idx="47">
                  <c:v>1440.0147</c:v>
                </c:pt>
                <c:pt idx="48">
                  <c:v>1408.4153</c:v>
                </c:pt>
                <c:pt idx="49">
                  <c:v>1406.9406</c:v>
                </c:pt>
                <c:pt idx="50">
                  <c:v>1287.7081</c:v>
                </c:pt>
                <c:pt idx="51">
                  <c:v>1281.8155</c:v>
                </c:pt>
              </c:numCache>
            </c:numRef>
          </c:xVal>
          <c:yVal>
            <c:numRef>
              <c:f>Sheet1!$B$109:$B$160</c:f>
              <c:numCache>
                <c:formatCode>General</c:formatCode>
                <c:ptCount val="52"/>
                <c:pt idx="0">
                  <c:v>0.9124513618677043</c:v>
                </c:pt>
                <c:pt idx="1">
                  <c:v>0.8898876404494382</c:v>
                </c:pt>
                <c:pt idx="2">
                  <c:v>0.9036964980544747</c:v>
                </c:pt>
                <c:pt idx="3">
                  <c:v>0.9015080113100848</c:v>
                </c:pt>
                <c:pt idx="4">
                  <c:v>0.8985801217038539</c:v>
                </c:pt>
                <c:pt idx="5">
                  <c:v>0.8918495297805643</c:v>
                </c:pt>
                <c:pt idx="6">
                  <c:v>0.9110779930452062</c:v>
                </c:pt>
                <c:pt idx="7">
                  <c:v>0.9057315233785822</c:v>
                </c:pt>
                <c:pt idx="8">
                  <c:v>0.8738872403560831</c:v>
                </c:pt>
                <c:pt idx="9">
                  <c:v>0.8785714285714286</c:v>
                </c:pt>
                <c:pt idx="10">
                  <c:v>0.8751515151515151</c:v>
                </c:pt>
                <c:pt idx="11">
                  <c:v>0.9029045643153527</c:v>
                </c:pt>
                <c:pt idx="12">
                  <c:v>0.8831583751711547</c:v>
                </c:pt>
                <c:pt idx="13">
                  <c:v>0.8964646464646465</c:v>
                </c:pt>
                <c:pt idx="14">
                  <c:v>0.90463645943098</c:v>
                </c:pt>
                <c:pt idx="15">
                  <c:v>0.8749266001174398</c:v>
                </c:pt>
                <c:pt idx="16">
                  <c:v>0.8835978835978836</c:v>
                </c:pt>
                <c:pt idx="17">
                  <c:v>0.8717948717948718</c:v>
                </c:pt>
                <c:pt idx="18">
                  <c:v>0.8744493392070485</c:v>
                </c:pt>
                <c:pt idx="19">
                  <c:v>0.8623518687329079</c:v>
                </c:pt>
                <c:pt idx="20">
                  <c:v>0.8658536585365854</c:v>
                </c:pt>
                <c:pt idx="21">
                  <c:v>0.8882921589688507</c:v>
                </c:pt>
                <c:pt idx="22">
                  <c:v>0.8626309662398137</c:v>
                </c:pt>
                <c:pt idx="23">
                  <c:v>0.8855054811205847</c:v>
                </c:pt>
                <c:pt idx="24">
                  <c:v>0.9040404040404041</c:v>
                </c:pt>
                <c:pt idx="25">
                  <c:v>0.8896484375</c:v>
                </c:pt>
                <c:pt idx="26">
                  <c:v>0.8895966029723992</c:v>
                </c:pt>
                <c:pt idx="27">
                  <c:v>0.8554216867469879</c:v>
                </c:pt>
                <c:pt idx="28">
                  <c:v>0.8647887323943662</c:v>
                </c:pt>
                <c:pt idx="29">
                  <c:v>0.8764331210191083</c:v>
                </c:pt>
                <c:pt idx="30">
                  <c:v>0.9016064257028112</c:v>
                </c:pt>
                <c:pt idx="31">
                  <c:v>0.8758526603001364</c:v>
                </c:pt>
                <c:pt idx="32">
                  <c:v>0.868421052631579</c:v>
                </c:pt>
                <c:pt idx="33">
                  <c:v>0.8731009830205541</c:v>
                </c:pt>
                <c:pt idx="34">
                  <c:v>0.8833732057416268</c:v>
                </c:pt>
                <c:pt idx="35">
                  <c:v>0.8636363636363636</c:v>
                </c:pt>
                <c:pt idx="36">
                  <c:v>0.8311688311688312</c:v>
                </c:pt>
                <c:pt idx="37">
                  <c:v>0.8365508365508365</c:v>
                </c:pt>
                <c:pt idx="38">
                  <c:v>0.8393939393939394</c:v>
                </c:pt>
                <c:pt idx="39">
                  <c:v>0.8444656488549618</c:v>
                </c:pt>
                <c:pt idx="40">
                  <c:v>0.7282051282051282</c:v>
                </c:pt>
                <c:pt idx="41">
                  <c:v>0.7897977132805629</c:v>
                </c:pt>
                <c:pt idx="42">
                  <c:v>0.8132530120481928</c:v>
                </c:pt>
                <c:pt idx="43">
                  <c:v>0.8099301784328937</c:v>
                </c:pt>
                <c:pt idx="44">
                  <c:v>0.8409556313993174</c:v>
                </c:pt>
                <c:pt idx="45">
                  <c:v>0.8696479543292103</c:v>
                </c:pt>
                <c:pt idx="46">
                  <c:v>0.8763906056860321</c:v>
                </c:pt>
                <c:pt idx="47">
                  <c:v>0.8796241926012919</c:v>
                </c:pt>
                <c:pt idx="48">
                  <c:v>0.8632521133764296</c:v>
                </c:pt>
                <c:pt idx="49">
                  <c:v>0.8616274266831888</c:v>
                </c:pt>
                <c:pt idx="50">
                  <c:v>0.888130968622101</c:v>
                </c:pt>
                <c:pt idx="51">
                  <c:v>0.86748518204911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77.362407224349</c:v>
                </c:pt>
              </c:numCache>
            </c:numRef>
          </c:xVal>
          <c:yVal>
            <c:numRef>
              <c:f>Sheet1!$B$163:$B$164</c:f>
              <c:numCache>
                <c:formatCode>General</c:formatCode>
                <c:ptCount val="2"/>
                <c:pt idx="0">
                  <c:v>0.9651577909780682</c:v>
                </c:pt>
                <c:pt idx="1">
                  <c:v>0.965157790978068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77.362407224349</c:v>
                </c:pt>
                <c:pt idx="1">
                  <c:v>577.362407224349</c:v>
                </c:pt>
              </c:numCache>
            </c:numRef>
          </c:xVal>
          <c:yVal>
            <c:numRef>
              <c:f>Sheet1!$B$167:$B$168</c:f>
              <c:numCache>
                <c:formatCode>General</c:formatCode>
                <c:ptCount val="2"/>
                <c:pt idx="0">
                  <c:v>0.965157790978068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96.1288862893387</c:v>
                </c:pt>
              </c:numCache>
            </c:numRef>
          </c:xVal>
          <c:yVal>
            <c:numRef>
              <c:f>Sheet1!$B$171:$B$172</c:f>
              <c:numCache>
                <c:formatCode>General</c:formatCode>
                <c:ptCount val="2"/>
                <c:pt idx="0">
                  <c:v>0.8987411022162214</c:v>
                </c:pt>
                <c:pt idx="1">
                  <c:v>0.898741102216221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96.1288862893387</c:v>
                </c:pt>
                <c:pt idx="1">
                  <c:v>1196.1288862893387</c:v>
                </c:pt>
              </c:numCache>
            </c:numRef>
          </c:xVal>
          <c:yVal>
            <c:numRef>
              <c:f>Sheet1!$B$175:$B$176</c:f>
              <c:numCache>
                <c:formatCode>General</c:formatCode>
                <c:ptCount val="2"/>
                <c:pt idx="0">
                  <c:v>0.898741102216221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734.2377353280413</c:v>
                </c:pt>
              </c:numCache>
            </c:numRef>
          </c:xVal>
          <c:yVal>
            <c:numRef>
              <c:f>Sheet1!$B$179:$B$180</c:f>
              <c:numCache>
                <c:formatCode>General</c:formatCode>
                <c:ptCount val="2"/>
                <c:pt idx="0">
                  <c:v>0.8409819811975707</c:v>
                </c:pt>
                <c:pt idx="1">
                  <c:v>0.840981981197570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734.2377353280413</c:v>
                </c:pt>
                <c:pt idx="1">
                  <c:v>1734.2377353280413</c:v>
                </c:pt>
              </c:numCache>
            </c:numRef>
          </c:xVal>
          <c:yVal>
            <c:numRef>
              <c:f>Sheet1!$B$183:$B$184</c:f>
              <c:numCache>
                <c:formatCode>General</c:formatCode>
                <c:ptCount val="2"/>
                <c:pt idx="0">
                  <c:v>0.84098198119757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42.9733</c:v>
                </c:pt>
                <c:pt idx="1">
                  <c:v>1467.0726</c:v>
                </c:pt>
                <c:pt idx="2">
                  <c:v>1463.4607</c:v>
                </c:pt>
                <c:pt idx="3">
                  <c:v>1517.0633</c:v>
                </c:pt>
                <c:pt idx="4">
                  <c:v>1489.105</c:v>
                </c:pt>
                <c:pt idx="5">
                  <c:v>1515.4564</c:v>
                </c:pt>
                <c:pt idx="6">
                  <c:v>1429.1091</c:v>
                </c:pt>
                <c:pt idx="7">
                  <c:v>1481.4829</c:v>
                </c:pt>
                <c:pt idx="8">
                  <c:v>1543.107</c:v>
                </c:pt>
                <c:pt idx="9">
                  <c:v>1469.119</c:v>
                </c:pt>
                <c:pt idx="10">
                  <c:v>1486.036</c:v>
                </c:pt>
                <c:pt idx="11">
                  <c:v>1356.2601</c:v>
                </c:pt>
                <c:pt idx="12">
                  <c:v>1377.9437</c:v>
                </c:pt>
                <c:pt idx="13">
                  <c:v>1420.5882</c:v>
                </c:pt>
                <c:pt idx="14">
                  <c:v>1433.3821</c:v>
                </c:pt>
                <c:pt idx="15">
                  <c:v>1439.0966</c:v>
                </c:pt>
                <c:pt idx="16">
                  <c:v>1533.9059</c:v>
                </c:pt>
                <c:pt idx="17">
                  <c:v>1504.0892</c:v>
                </c:pt>
                <c:pt idx="18">
                  <c:v>1488.3703</c:v>
                </c:pt>
                <c:pt idx="19">
                  <c:v>1618.4926</c:v>
                </c:pt>
                <c:pt idx="20">
                  <c:v>1599.8662</c:v>
                </c:pt>
                <c:pt idx="21">
                  <c:v>1530.0073</c:v>
                </c:pt>
                <c:pt idx="22">
                  <c:v>1571.2267</c:v>
                </c:pt>
                <c:pt idx="23">
                  <c:v>1378.5007</c:v>
                </c:pt>
                <c:pt idx="24">
                  <c:v>1273.4637</c:v>
                </c:pt>
                <c:pt idx="25">
                  <c:v>1212.213</c:v>
                </c:pt>
                <c:pt idx="26">
                  <c:v>1288.2757</c:v>
                </c:pt>
                <c:pt idx="27">
                  <c:v>1436.758</c:v>
                </c:pt>
                <c:pt idx="28">
                  <c:v>1555.0901</c:v>
                </c:pt>
                <c:pt idx="29">
                  <c:v>1549.7863</c:v>
                </c:pt>
                <c:pt idx="30">
                  <c:v>1405.931</c:v>
                </c:pt>
                <c:pt idx="31">
                  <c:v>1283.0031</c:v>
                </c:pt>
                <c:pt idx="32">
                  <c:v>1416.4358</c:v>
                </c:pt>
                <c:pt idx="33">
                  <c:v>1478.2559</c:v>
                </c:pt>
                <c:pt idx="34">
                  <c:v>1528.1598</c:v>
                </c:pt>
                <c:pt idx="35">
                  <c:v>1493.2233</c:v>
                </c:pt>
                <c:pt idx="36">
                  <c:v>1477.5234</c:v>
                </c:pt>
                <c:pt idx="37">
                  <c:v>1534.7062</c:v>
                </c:pt>
                <c:pt idx="38">
                  <c:v>1462.8538</c:v>
                </c:pt>
                <c:pt idx="39">
                  <c:v>1461.513</c:v>
                </c:pt>
                <c:pt idx="40">
                  <c:v>1471.4014</c:v>
                </c:pt>
                <c:pt idx="41">
                  <c:v>1548.7906</c:v>
                </c:pt>
                <c:pt idx="42">
                  <c:v>1513.5481</c:v>
                </c:pt>
                <c:pt idx="43">
                  <c:v>1505.454</c:v>
                </c:pt>
                <c:pt idx="44">
                  <c:v>1503.72</c:v>
                </c:pt>
                <c:pt idx="45">
                  <c:v>1450.9639</c:v>
                </c:pt>
                <c:pt idx="46">
                  <c:v>1473.7842</c:v>
                </c:pt>
                <c:pt idx="47">
                  <c:v>1440.0147</c:v>
                </c:pt>
                <c:pt idx="48">
                  <c:v>1408.4153</c:v>
                </c:pt>
                <c:pt idx="49">
                  <c:v>1406.9406</c:v>
                </c:pt>
                <c:pt idx="50">
                  <c:v>1287.7081</c:v>
                </c:pt>
                <c:pt idx="51">
                  <c:v>1281.8155</c:v>
                </c:pt>
                <c:pt idx="52">
                  <c:v>1196.1288862893387</c:v>
                </c:pt>
                <c:pt idx="53">
                  <c:v>577.362407224349</c:v>
                </c:pt>
                <c:pt idx="54">
                  <c:v>1734.2377353280413</c:v>
                </c:pt>
              </c:numCache>
            </c:numRef>
          </c:xVal>
          <c:yVal>
            <c:numRef>
              <c:f>Sheet1!$B$187:$B$241</c:f>
              <c:numCache>
                <c:formatCode>General</c:formatCode>
                <c:ptCount val="55"/>
                <c:pt idx="0">
                  <c:v>0.8722455030641871</c:v>
                </c:pt>
                <c:pt idx="1">
                  <c:v>0.8696587506113118</c:v>
                </c:pt>
                <c:pt idx="2">
                  <c:v>0.8700464420041963</c:v>
                </c:pt>
                <c:pt idx="3">
                  <c:v>0.8642928866299533</c:v>
                </c:pt>
                <c:pt idx="4">
                  <c:v>0.8672938535087932</c:v>
                </c:pt>
                <c:pt idx="5">
                  <c:v>0.8644653668479068</c:v>
                </c:pt>
                <c:pt idx="6">
                  <c:v>0.8737336480873685</c:v>
                </c:pt>
                <c:pt idx="7">
                  <c:v>0.8681119887189885</c:v>
                </c:pt>
                <c:pt idx="8">
                  <c:v>0.8614974276391549</c:v>
                </c:pt>
                <c:pt idx="9">
                  <c:v>0.8694390956744646</c:v>
                </c:pt>
                <c:pt idx="10">
                  <c:v>0.8676232715117175</c:v>
                </c:pt>
                <c:pt idx="11">
                  <c:v>0.8815530590013583</c:v>
                </c:pt>
                <c:pt idx="12">
                  <c:v>0.8792256011296704</c:v>
                </c:pt>
                <c:pt idx="13">
                  <c:v>0.8746482580127898</c:v>
                </c:pt>
                <c:pt idx="14">
                  <c:v>0.8732749960422412</c:v>
                </c:pt>
                <c:pt idx="15">
                  <c:v>0.8726616173593768</c:v>
                </c:pt>
                <c:pt idx="16">
                  <c:v>0.8624850483581863</c:v>
                </c:pt>
                <c:pt idx="17">
                  <c:v>0.8656854907719347</c:v>
                </c:pt>
                <c:pt idx="18">
                  <c:v>0.8673727141822205</c:v>
                </c:pt>
                <c:pt idx="19">
                  <c:v>0.8534057450711353</c:v>
                </c:pt>
                <c:pt idx="20">
                  <c:v>0.8554050515193822</c:v>
                </c:pt>
                <c:pt idx="21">
                  <c:v>0.8629035133390272</c:v>
                </c:pt>
                <c:pt idx="22">
                  <c:v>0.8584791365290764</c:v>
                </c:pt>
                <c:pt idx="23">
                  <c:v>0.8791658142845649</c:v>
                </c:pt>
                <c:pt idx="24">
                  <c:v>0.8904401964198411</c:v>
                </c:pt>
                <c:pt idx="25">
                  <c:v>0.8970146777726327</c:v>
                </c:pt>
                <c:pt idx="26">
                  <c:v>0.8888503171564605</c:v>
                </c:pt>
                <c:pt idx="27">
                  <c:v>0.8729126362390245</c:v>
                </c:pt>
                <c:pt idx="28">
                  <c:v>0.8602111947063291</c:v>
                </c:pt>
                <c:pt idx="29">
                  <c:v>0.8607804899829371</c:v>
                </c:pt>
                <c:pt idx="30">
                  <c:v>0.8762215214707443</c:v>
                </c:pt>
                <c:pt idx="31">
                  <c:v>0.8894162635110446</c:v>
                </c:pt>
                <c:pt idx="32">
                  <c:v>0.8750939651862479</c:v>
                </c:pt>
                <c:pt idx="33">
                  <c:v>0.8684583660065208</c:v>
                </c:pt>
                <c:pt idx="34">
                  <c:v>0.8631018188979723</c:v>
                </c:pt>
                <c:pt idx="35">
                  <c:v>0.8668518065353675</c:v>
                </c:pt>
                <c:pt idx="36">
                  <c:v>0.8685369905380106</c:v>
                </c:pt>
                <c:pt idx="37">
                  <c:v>0.8623991463615293</c:v>
                </c:pt>
                <c:pt idx="38">
                  <c:v>0.8701115849777952</c:v>
                </c:pt>
                <c:pt idx="39">
                  <c:v>0.8702555027550258</c:v>
                </c:pt>
                <c:pt idx="40">
                  <c:v>0.8691941091479496</c:v>
                </c:pt>
                <c:pt idx="41">
                  <c:v>0.860887365677141</c:v>
                </c:pt>
                <c:pt idx="42">
                  <c:v>0.8646701985113088</c:v>
                </c:pt>
                <c:pt idx="43">
                  <c:v>0.8655389969008395</c:v>
                </c:pt>
                <c:pt idx="44">
                  <c:v>0.8657251196825504</c:v>
                </c:pt>
                <c:pt idx="45">
                  <c:v>0.8713878140794471</c:v>
                </c:pt>
                <c:pt idx="46">
                  <c:v>0.8689383459621014</c:v>
                </c:pt>
                <c:pt idx="47">
                  <c:v>0.8725630710353347</c:v>
                </c:pt>
                <c:pt idx="48">
                  <c:v>0.8759548635545942</c:v>
                </c:pt>
                <c:pt idx="49">
                  <c:v>0.8761131537888439</c:v>
                </c:pt>
                <c:pt idx="50">
                  <c:v>0.8889112417763562</c:v>
                </c:pt>
                <c:pt idx="51">
                  <c:v>0.8895437372224402</c:v>
                </c:pt>
                <c:pt idx="52">
                  <c:v>0.8987411022162214</c:v>
                </c:pt>
                <c:pt idx="53">
                  <c:v>0.9651577909780682</c:v>
                </c:pt>
                <c:pt idx="54">
                  <c:v>0.84098198119757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81.0"/>
          <c:min val="43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4828060522696"/>
          <c:min val="0.582564102564102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6</c:f>
              <c:numCache>
                <c:formatCode>General</c:formatCode>
                <c:ptCount val="45"/>
                <c:pt idx="0">
                  <c:v>0.0</c:v>
                </c:pt>
                <c:pt idx="1">
                  <c:v>0.2095215140308897</c:v>
                </c:pt>
                <c:pt idx="2">
                  <c:v>0.189678054138878</c:v>
                </c:pt>
                <c:pt idx="3">
                  <c:v>0.24698966082713386</c:v>
                </c:pt>
                <c:pt idx="4">
                  <c:v>0.29373506995033194</c:v>
                </c:pt>
                <c:pt idx="5">
                  <c:v>0.28750316161187267</c:v>
                </c:pt>
                <c:pt idx="6">
                  <c:v>0.27287140125899556</c:v>
                </c:pt>
                <c:pt idx="7">
                  <c:v>0.25100648968228223</c:v>
                </c:pt>
                <c:pt idx="8">
                  <c:v>0.25021854522711506</c:v>
                </c:pt>
                <c:pt idx="9">
                  <c:v>0.26035437549174617</c:v>
                </c:pt>
                <c:pt idx="10">
                  <c:v>0.2350964311625853</c:v>
                </c:pt>
                <c:pt idx="11">
                  <c:v>0.2361460488697702</c:v>
                </c:pt>
                <c:pt idx="12">
                  <c:v>0.26404022290577295</c:v>
                </c:pt>
                <c:pt idx="13">
                  <c:v>0.27553789575821463</c:v>
                </c:pt>
                <c:pt idx="14">
                  <c:v>0.247936880105869</c:v>
                </c:pt>
                <c:pt idx="15">
                  <c:v>0.24878431641518065</c:v>
                </c:pt>
                <c:pt idx="16">
                  <c:v>0.2443205913068482</c:v>
                </c:pt>
                <c:pt idx="17">
                  <c:v>0.21964820864997683</c:v>
                </c:pt>
                <c:pt idx="18">
                  <c:v>0.2429532179316467</c:v>
                </c:pt>
                <c:pt idx="19">
                  <c:v>0.12771905815602838</c:v>
                </c:pt>
                <c:pt idx="20">
                  <c:v>0.12325113290497125</c:v>
                </c:pt>
                <c:pt idx="21">
                  <c:v>0.20474857662551235</c:v>
                </c:pt>
                <c:pt idx="22">
                  <c:v>0.1977501583537217</c:v>
                </c:pt>
                <c:pt idx="23">
                  <c:v>0.21198114143920596</c:v>
                </c:pt>
                <c:pt idx="24">
                  <c:v>0.2039559705158876</c:v>
                </c:pt>
                <c:pt idx="25">
                  <c:v>0.22949493862780573</c:v>
                </c:pt>
                <c:pt idx="26">
                  <c:v>0.3015844287740548</c:v>
                </c:pt>
                <c:pt idx="27">
                  <c:v>0.3053697398406464</c:v>
                </c:pt>
                <c:pt idx="28">
                  <c:v>0.27768663763108653</c:v>
                </c:pt>
                <c:pt idx="29">
                  <c:v>0.2460087554516271</c:v>
                </c:pt>
                <c:pt idx="30">
                  <c:v>0.26747120834062077</c:v>
                </c:pt>
                <c:pt idx="31">
                  <c:v>0.2981044401538484</c:v>
                </c:pt>
                <c:pt idx="32">
                  <c:v>0.3067008067920634</c:v>
                </c:pt>
                <c:pt idx="33">
                  <c:v>0.33066419020181775</c:v>
                </c:pt>
                <c:pt idx="34">
                  <c:v>0.2885688217926754</c:v>
                </c:pt>
                <c:pt idx="35">
                  <c:v>0.3276432826641096</c:v>
                </c:pt>
                <c:pt idx="36">
                  <c:v>0.31170856388485585</c:v>
                </c:pt>
                <c:pt idx="37">
                  <c:v>0.33877815644560166</c:v>
                </c:pt>
                <c:pt idx="38">
                  <c:v>0.3438846642405954</c:v>
                </c:pt>
                <c:pt idx="39">
                  <c:v>0.32931732168070255</c:v>
                </c:pt>
                <c:pt idx="40">
                  <c:v>0.33192272899145603</c:v>
                </c:pt>
                <c:pt idx="41">
                  <c:v>0.336807266978288</c:v>
                </c:pt>
                <c:pt idx="42">
                  <c:v>0.35080325399945567</c:v>
                </c:pt>
                <c:pt idx="43">
                  <c:v>0.3322728951037889</c:v>
                </c:pt>
                <c:pt idx="44">
                  <c:v>0.35790846949362864</c:v>
                </c:pt>
              </c:numCache>
            </c:numRef>
          </c:xVal>
          <c:yVal>
            <c:numRef>
              <c:f>Sheet1!$B$2:$B$46</c:f>
              <c:numCache>
                <c:formatCode>General</c:formatCode>
                <c:ptCount val="45"/>
                <c:pt idx="0">
                  <c:v>0.9560185185185185</c:v>
                </c:pt>
                <c:pt idx="1">
                  <c:v>0.9352703199705774</c:v>
                </c:pt>
                <c:pt idx="2">
                  <c:v>0.9363081617086194</c:v>
                </c:pt>
                <c:pt idx="3">
                  <c:v>0.9389819791337338</c:v>
                </c:pt>
                <c:pt idx="4">
                  <c:v>0.9265125118783656</c:v>
                </c:pt>
                <c:pt idx="5">
                  <c:v>0.94670245398773</c:v>
                </c:pt>
                <c:pt idx="6">
                  <c:v>0.9504587155963303</c:v>
                </c:pt>
                <c:pt idx="7">
                  <c:v>0.9546279491833031</c:v>
                </c:pt>
                <c:pt idx="8">
                  <c:v>0.9569798068481123</c:v>
                </c:pt>
                <c:pt idx="9">
                  <c:v>0.9554020100502513</c:v>
                </c:pt>
                <c:pt idx="10">
                  <c:v>0.8624514697726012</c:v>
                </c:pt>
                <c:pt idx="11">
                  <c:v>0.9473684210526315</c:v>
                </c:pt>
                <c:pt idx="12">
                  <c:v>0.9482645710543549</c:v>
                </c:pt>
                <c:pt idx="13">
                  <c:v>0.9394473838918284</c:v>
                </c:pt>
                <c:pt idx="14">
                  <c:v>0.9502724795640327</c:v>
                </c:pt>
                <c:pt idx="15">
                  <c:v>0.96</c:v>
                </c:pt>
                <c:pt idx="16">
                  <c:v>0.9580184718723762</c:v>
                </c:pt>
                <c:pt idx="17">
                  <c:v>0.7512853470437018</c:v>
                </c:pt>
                <c:pt idx="18">
                  <c:v>0.9200415368639667</c:v>
                </c:pt>
                <c:pt idx="19">
                  <c:v>0.9050456893126738</c:v>
                </c:pt>
                <c:pt idx="20">
                  <c:v>0.8945981554677207</c:v>
                </c:pt>
                <c:pt idx="21">
                  <c:v>0.9523269012485811</c:v>
                </c:pt>
                <c:pt idx="22">
                  <c:v>0.9666666666666667</c:v>
                </c:pt>
                <c:pt idx="23">
                  <c:v>0.9553805774278216</c:v>
                </c:pt>
                <c:pt idx="24">
                  <c:v>0.9624060150375939</c:v>
                </c:pt>
                <c:pt idx="25">
                  <c:v>0.9523346303501945</c:v>
                </c:pt>
                <c:pt idx="26">
                  <c:v>0.9315424610051993</c:v>
                </c:pt>
                <c:pt idx="27">
                  <c:v>0.941397445529677</c:v>
                </c:pt>
                <c:pt idx="28">
                  <c:v>0.9395833333333333</c:v>
                </c:pt>
                <c:pt idx="29">
                  <c:v>0.9398410896708286</c:v>
                </c:pt>
                <c:pt idx="30">
                  <c:v>0.9375</c:v>
                </c:pt>
                <c:pt idx="31">
                  <c:v>0.9382093316519546</c:v>
                </c:pt>
                <c:pt idx="32">
                  <c:v>0.9294605809128631</c:v>
                </c:pt>
                <c:pt idx="33">
                  <c:v>0.9361233480176211</c:v>
                </c:pt>
                <c:pt idx="34">
                  <c:v>0.9464285714285714</c:v>
                </c:pt>
                <c:pt idx="35">
                  <c:v>0.9389799635701275</c:v>
                </c:pt>
                <c:pt idx="36">
                  <c:v>0.9387387387387387</c:v>
                </c:pt>
                <c:pt idx="37">
                  <c:v>0.944935064935065</c:v>
                </c:pt>
                <c:pt idx="38">
                  <c:v>0.93375</c:v>
                </c:pt>
                <c:pt idx="39">
                  <c:v>0.9344900849858357</c:v>
                </c:pt>
                <c:pt idx="40">
                  <c:v>0.9429193899782136</c:v>
                </c:pt>
                <c:pt idx="41">
                  <c:v>0.9307467667918231</c:v>
                </c:pt>
                <c:pt idx="42">
                  <c:v>0.9022741241548863</c:v>
                </c:pt>
                <c:pt idx="43">
                  <c:v>0.9129451667608819</c:v>
                </c:pt>
                <c:pt idx="44">
                  <c:v>0.9110512129380054</c:v>
                </c:pt>
              </c:numCache>
            </c:numRef>
          </c:yVal>
          <c:smooth val="0"/>
          <c:extLst>
            <c:ext xmlns:c16="http://schemas.microsoft.com/office/drawing/2014/chart" uri="{C3380CC4-5D6E-409C-BE32-E72D297353CC}">
              <c16:uniqueId val="{00000000-096C-4121-9522-6AB7243CCAAE}"/>
            </c:ext>
          </c:extLst>
        </c:ser>
        <c:ser>
          <c:idx val="1"/>
          <c:order val="1"/>
          <c:tx>
            <c:strRef>
              <c:f>Sheet1!$B$4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9:$A$100</c:f>
              <c:numCache>
                <c:formatCode>General</c:formatCode>
                <c:ptCount val="52"/>
                <c:pt idx="0">
                  <c:v>0.36020944057764787</c:v>
                </c:pt>
                <c:pt idx="1">
                  <c:v>0.37122834722338477</c:v>
                </c:pt>
                <c:pt idx="2">
                  <c:v>0.3445869319519661</c:v>
                </c:pt>
                <c:pt idx="3">
                  <c:v>0.3612148446011194</c:v>
                </c:pt>
                <c:pt idx="4">
                  <c:v>0.3523230255869509</c:v>
                </c:pt>
                <c:pt idx="5">
                  <c:v>0.36546192593485766</c:v>
                </c:pt>
                <c:pt idx="6">
                  <c:v>0.3423305169914841</c:v>
                </c:pt>
                <c:pt idx="7">
                  <c:v>0.3673433110201414</c:v>
                </c:pt>
                <c:pt idx="8">
                  <c:v>0.37273437357901856</c:v>
                </c:pt>
                <c:pt idx="9">
                  <c:v>0.36632258571578324</c:v>
                </c:pt>
                <c:pt idx="10">
                  <c:v>0.38234475551613506</c:v>
                </c:pt>
                <c:pt idx="11">
                  <c:v>0.3540472698727504</c:v>
                </c:pt>
                <c:pt idx="12">
                  <c:v>0.3331466861998211</c:v>
                </c:pt>
                <c:pt idx="13">
                  <c:v>0.3512259372941033</c:v>
                </c:pt>
                <c:pt idx="14">
                  <c:v>0.3666163907759044</c:v>
                </c:pt>
                <c:pt idx="15">
                  <c:v>0.34117014214863495</c:v>
                </c:pt>
                <c:pt idx="16">
                  <c:v>0.3540915339830765</c:v>
                </c:pt>
                <c:pt idx="17">
                  <c:v>0.3364727315426514</c:v>
                </c:pt>
                <c:pt idx="18">
                  <c:v>0.33374025462485796</c:v>
                </c:pt>
                <c:pt idx="19">
                  <c:v>0.3531342207235774</c:v>
                </c:pt>
                <c:pt idx="20">
                  <c:v>0.33302793505412154</c:v>
                </c:pt>
                <c:pt idx="21">
                  <c:v>0.3282120344310372</c:v>
                </c:pt>
                <c:pt idx="22">
                  <c:v>0.3218458520987354</c:v>
                </c:pt>
                <c:pt idx="23">
                  <c:v>0.3182417118565051</c:v>
                </c:pt>
                <c:pt idx="24">
                  <c:v>0.25802834465934793</c:v>
                </c:pt>
                <c:pt idx="25">
                  <c:v>0.28473528253002883</c:v>
                </c:pt>
                <c:pt idx="26">
                  <c:v>0.2606262795872952</c:v>
                </c:pt>
                <c:pt idx="27">
                  <c:v>0.35342737036027844</c:v>
                </c:pt>
                <c:pt idx="28">
                  <c:v>0.3636186673486245</c:v>
                </c:pt>
                <c:pt idx="29">
                  <c:v>0.3950177518693097</c:v>
                </c:pt>
                <c:pt idx="30">
                  <c:v>0.3239379050142565</c:v>
                </c:pt>
                <c:pt idx="31">
                  <c:v>0.2879674774850602</c:v>
                </c:pt>
                <c:pt idx="32">
                  <c:v>0.3242013733119707</c:v>
                </c:pt>
                <c:pt idx="33">
                  <c:v>0.3428960173398339</c:v>
                </c:pt>
                <c:pt idx="34">
                  <c:v>0.34578966922454113</c:v>
                </c:pt>
                <c:pt idx="35">
                  <c:v>0.329048765976201</c:v>
                </c:pt>
                <c:pt idx="36">
                  <c:v>0.31577760205172045</c:v>
                </c:pt>
                <c:pt idx="37">
                  <c:v>0.33031072370191017</c:v>
                </c:pt>
                <c:pt idx="38">
                  <c:v>0.27687211128986466</c:v>
                </c:pt>
                <c:pt idx="39">
                  <c:v>0.32525882605286</c:v>
                </c:pt>
                <c:pt idx="40">
                  <c:v>0.31370077336739677</c:v>
                </c:pt>
                <c:pt idx="41">
                  <c:v>0.3617160475826709</c:v>
                </c:pt>
                <c:pt idx="42">
                  <c:v>0.34869023691683126</c:v>
                </c:pt>
                <c:pt idx="43">
                  <c:v>0.3518064839296875</c:v>
                </c:pt>
                <c:pt idx="44">
                  <c:v>0.39993112669608094</c:v>
                </c:pt>
                <c:pt idx="45">
                  <c:v>0.36806593206556537</c:v>
                </c:pt>
                <c:pt idx="46">
                  <c:v>0.3502851153659687</c:v>
                </c:pt>
                <c:pt idx="47">
                  <c:v>0.33755178905778915</c:v>
                </c:pt>
                <c:pt idx="48">
                  <c:v>0.2913520618157792</c:v>
                </c:pt>
                <c:pt idx="49">
                  <c:v>0.3258381074375514</c:v>
                </c:pt>
                <c:pt idx="50">
                  <c:v>0.3097925588954604</c:v>
                </c:pt>
                <c:pt idx="51">
                  <c:v>0.31057374765279544</c:v>
                </c:pt>
              </c:numCache>
            </c:numRef>
          </c:xVal>
          <c:yVal>
            <c:numRef>
              <c:f>Sheet1!$B$49:$B$100</c:f>
              <c:numCache>
                <c:formatCode>General</c:formatCode>
                <c:ptCount val="52"/>
                <c:pt idx="0">
                  <c:v>0.9124513618677043</c:v>
                </c:pt>
                <c:pt idx="1">
                  <c:v>0.8898876404494382</c:v>
                </c:pt>
                <c:pt idx="2">
                  <c:v>0.9036964980544747</c:v>
                </c:pt>
                <c:pt idx="3">
                  <c:v>0.9015080113100848</c:v>
                </c:pt>
                <c:pt idx="4">
                  <c:v>0.8985801217038539</c:v>
                </c:pt>
                <c:pt idx="5">
                  <c:v>0.8918495297805643</c:v>
                </c:pt>
                <c:pt idx="6">
                  <c:v>0.9110779930452062</c:v>
                </c:pt>
                <c:pt idx="7">
                  <c:v>0.9057315233785822</c:v>
                </c:pt>
                <c:pt idx="8">
                  <c:v>0.8738872403560831</c:v>
                </c:pt>
                <c:pt idx="9">
                  <c:v>0.8785714285714286</c:v>
                </c:pt>
                <c:pt idx="10">
                  <c:v>0.8751515151515151</c:v>
                </c:pt>
                <c:pt idx="11">
                  <c:v>0.9029045643153527</c:v>
                </c:pt>
                <c:pt idx="12">
                  <c:v>0.8831583751711547</c:v>
                </c:pt>
                <c:pt idx="13">
                  <c:v>0.8964646464646465</c:v>
                </c:pt>
                <c:pt idx="14">
                  <c:v>0.90463645943098</c:v>
                </c:pt>
                <c:pt idx="15">
                  <c:v>0.8749266001174398</c:v>
                </c:pt>
                <c:pt idx="16">
                  <c:v>0.8835978835978836</c:v>
                </c:pt>
                <c:pt idx="17">
                  <c:v>0.8717948717948718</c:v>
                </c:pt>
                <c:pt idx="18">
                  <c:v>0.8744493392070485</c:v>
                </c:pt>
                <c:pt idx="19">
                  <c:v>0.8623518687329079</c:v>
                </c:pt>
                <c:pt idx="20">
                  <c:v>0.8658536585365854</c:v>
                </c:pt>
                <c:pt idx="21">
                  <c:v>0.8882921589688507</c:v>
                </c:pt>
                <c:pt idx="22">
                  <c:v>0.8626309662398137</c:v>
                </c:pt>
                <c:pt idx="23">
                  <c:v>0.8855054811205847</c:v>
                </c:pt>
                <c:pt idx="24">
                  <c:v>0.9040404040404041</c:v>
                </c:pt>
                <c:pt idx="25">
                  <c:v>0.8896484375</c:v>
                </c:pt>
                <c:pt idx="26">
                  <c:v>0.8895966029723992</c:v>
                </c:pt>
                <c:pt idx="27">
                  <c:v>0.8554216867469879</c:v>
                </c:pt>
                <c:pt idx="28">
                  <c:v>0.8647887323943662</c:v>
                </c:pt>
                <c:pt idx="29">
                  <c:v>0.8764331210191083</c:v>
                </c:pt>
                <c:pt idx="30">
                  <c:v>0.9016064257028112</c:v>
                </c:pt>
                <c:pt idx="31">
                  <c:v>0.8758526603001364</c:v>
                </c:pt>
                <c:pt idx="32">
                  <c:v>0.868421052631579</c:v>
                </c:pt>
                <c:pt idx="33">
                  <c:v>0.8731009830205541</c:v>
                </c:pt>
                <c:pt idx="34">
                  <c:v>0.8833732057416268</c:v>
                </c:pt>
                <c:pt idx="35">
                  <c:v>0.8636363636363636</c:v>
                </c:pt>
                <c:pt idx="36">
                  <c:v>0.8311688311688312</c:v>
                </c:pt>
                <c:pt idx="37">
                  <c:v>0.8365508365508365</c:v>
                </c:pt>
                <c:pt idx="38">
                  <c:v>0.8393939393939394</c:v>
                </c:pt>
                <c:pt idx="39">
                  <c:v>0.8444656488549618</c:v>
                </c:pt>
                <c:pt idx="40">
                  <c:v>0.7282051282051282</c:v>
                </c:pt>
                <c:pt idx="41">
                  <c:v>0.7897977132805629</c:v>
                </c:pt>
                <c:pt idx="42">
                  <c:v>0.8132530120481928</c:v>
                </c:pt>
                <c:pt idx="43">
                  <c:v>0.8099301784328937</c:v>
                </c:pt>
                <c:pt idx="44">
                  <c:v>0.8409556313993174</c:v>
                </c:pt>
                <c:pt idx="45">
                  <c:v>0.8696479543292103</c:v>
                </c:pt>
                <c:pt idx="46">
                  <c:v>0.8763906056860321</c:v>
                </c:pt>
                <c:pt idx="47">
                  <c:v>0.8796241926012919</c:v>
                </c:pt>
                <c:pt idx="48">
                  <c:v>0.8632521133764296</c:v>
                </c:pt>
                <c:pt idx="49">
                  <c:v>0.8616274266831888</c:v>
                </c:pt>
                <c:pt idx="50">
                  <c:v>0.888130968622101</c:v>
                </c:pt>
                <c:pt idx="51">
                  <c:v>0.867485182049111</c:v>
                </c:pt>
              </c:numCache>
            </c:numRef>
          </c:yVal>
          <c:smooth val="0"/>
          <c:extLst>
            <c:ext xmlns:c16="http://schemas.microsoft.com/office/drawing/2014/chart" uri="{C3380CC4-5D6E-409C-BE32-E72D297353CC}">
              <c16:uniqueId val="{00000002-096C-4121-9522-6AB7243CCAAE}"/>
            </c:ext>
          </c:extLst>
        </c:ser>
        <c:ser>
          <c:idx val="2"/>
          <c:order val="2"/>
          <c:tx>
            <c:strRef>
              <c:f>Sheet1!$B$10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3:$A$104</c:f>
              <c:numCache>
                <c:formatCode>General</c:formatCode>
                <c:ptCount val="2"/>
                <c:pt idx="0">
                  <c:v>0</c:v>
                </c:pt>
                <c:pt idx="1">
                  <c:v>1.7958885215946079</c:v>
                </c:pt>
              </c:numCache>
            </c:numRef>
          </c:xVal>
          <c:yVal>
            <c:numRef>
              <c:f>Sheet1!$B$103:$B$104</c:f>
              <c:numCache>
                <c:formatCode>General</c:formatCode>
                <c:ptCount val="2"/>
                <c:pt idx="0">
                  <c:v>0.9560185185185185</c:v>
                </c:pt>
                <c:pt idx="1">
                  <c:v>0.9560185185185185</c:v>
                </c:pt>
              </c:numCache>
            </c:numRef>
          </c:yVal>
          <c:smooth val="0"/>
          <c:extLst>
            <c:ext xmlns:c16="http://schemas.microsoft.com/office/drawing/2014/chart" uri="{C3380CC4-5D6E-409C-BE32-E72D297353CC}">
              <c16:uniqueId val="{00000005-096C-4121-9522-6AB7243CCAAE}"/>
            </c:ext>
          </c:extLst>
        </c:ser>
        <c:ser>
          <c:idx val="3"/>
          <c:order val="3"/>
          <c:tx>
            <c:strRef>
              <c:f>Sheet1!$B$10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7:$A$108</c:f>
              <c:numCache>
                <c:formatCode>General</c:formatCode>
                <c:ptCount val="2"/>
                <c:pt idx="0">
                  <c:v>1.7958885215946079</c:v>
                </c:pt>
                <c:pt idx="1">
                  <c:v>1.7958885215946079</c:v>
                </c:pt>
              </c:numCache>
            </c:numRef>
          </c:xVal>
          <c:yVal>
            <c:numRef>
              <c:f>Sheet1!$B$107:$B$108</c:f>
              <c:numCache>
                <c:formatCode>General</c:formatCode>
                <c:ptCount val="2"/>
                <c:pt idx="0">
                  <c:v>0.95601851851851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1:$A$112</c:f>
              <c:numCache>
                <c:formatCode>General</c:formatCode>
                <c:ptCount val="2"/>
                <c:pt idx="0">
                  <c:v>0</c:v>
                </c:pt>
                <c:pt idx="1">
                  <c:v>0.8155907471312973</c:v>
                </c:pt>
              </c:numCache>
            </c:numRef>
          </c:xVal>
          <c:yVal>
            <c:numRef>
              <c:f>Sheet1!$B$111:$B$112</c:f>
              <c:numCache>
                <c:formatCode>General</c:formatCode>
                <c:ptCount val="2"/>
                <c:pt idx="0">
                  <c:v>0.8987411022162214</c:v>
                </c:pt>
                <c:pt idx="1">
                  <c:v>0.8987411022162214</c:v>
                </c:pt>
              </c:numCache>
            </c:numRef>
          </c:yVal>
          <c:smooth val="0"/>
          <c:extLst>
            <c:ext xmlns:c16="http://schemas.microsoft.com/office/drawing/2014/chart" uri="{C3380CC4-5D6E-409C-BE32-E72D297353CC}">
              <c16:uniqueId val="{0000000D-096C-4121-9522-6AB7243CCAAE}"/>
            </c:ext>
          </c:extLst>
        </c:ser>
        <c:ser>
          <c:idx val="5"/>
          <c:order val="5"/>
          <c:tx>
            <c:strRef>
              <c:f>Sheet1!$B$11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0.8155907471312973</c:v>
                </c:pt>
                <c:pt idx="1">
                  <c:v>0.8155907471312973</c:v>
                </c:pt>
              </c:numCache>
            </c:numRef>
          </c:xVal>
          <c:yVal>
            <c:numRef>
              <c:f>Sheet1!$B$115:$B$116</c:f>
              <c:numCache>
                <c:formatCode>General</c:formatCode>
                <c:ptCount val="2"/>
                <c:pt idx="0">
                  <c:v>0.898741102216221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9:$A$120</c:f>
              <c:numCache>
                <c:formatCode>General</c:formatCode>
                <c:ptCount val="2"/>
                <c:pt idx="0">
                  <c:v>0</c:v>
                </c:pt>
                <c:pt idx="1">
                  <c:v>-0.17295135977357506</c:v>
                </c:pt>
              </c:numCache>
            </c:numRef>
          </c:xVal>
          <c:yVal>
            <c:numRef>
              <c:f>Sheet1!$B$119:$B$120</c:f>
              <c:numCache>
                <c:formatCode>General</c:formatCode>
                <c:ptCount val="2"/>
                <c:pt idx="0">
                  <c:v>0.8409819811975707</c:v>
                </c:pt>
                <c:pt idx="1">
                  <c:v>0.8409819811975707</c:v>
                </c:pt>
              </c:numCache>
            </c:numRef>
          </c:yVal>
          <c:smooth val="0"/>
          <c:extLst>
            <c:ext xmlns:c16="http://schemas.microsoft.com/office/drawing/2014/chart" uri="{C3380CC4-5D6E-409C-BE32-E72D297353CC}">
              <c16:uniqueId val="{00000015-096C-4121-9522-6AB7243CCAAE}"/>
            </c:ext>
          </c:extLst>
        </c:ser>
        <c:ser>
          <c:idx val="7"/>
          <c:order val="7"/>
          <c:tx>
            <c:strRef>
              <c:f>Sheet1!$B$12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17295135977357506</c:v>
                </c:pt>
                <c:pt idx="1">
                  <c:v>-0.17295135977357506</c:v>
                </c:pt>
              </c:numCache>
            </c:numRef>
          </c:xVal>
          <c:yVal>
            <c:numRef>
              <c:f>Sheet1!$B$123:$B$124</c:f>
              <c:numCache>
                <c:formatCode>General</c:formatCode>
                <c:ptCount val="2"/>
                <c:pt idx="0">
                  <c:v>0.84098198119757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7:$A$181</c:f>
              <c:numCache>
                <c:formatCode>General</c:formatCode>
                <c:ptCount val="55"/>
                <c:pt idx="0">
                  <c:v>0.36020944057764787</c:v>
                </c:pt>
                <c:pt idx="1">
                  <c:v>0.37122834722338477</c:v>
                </c:pt>
                <c:pt idx="2">
                  <c:v>0.3445869319519661</c:v>
                </c:pt>
                <c:pt idx="3">
                  <c:v>0.3612148446011194</c:v>
                </c:pt>
                <c:pt idx="4">
                  <c:v>0.3523230255869509</c:v>
                </c:pt>
                <c:pt idx="5">
                  <c:v>0.36546192593485766</c:v>
                </c:pt>
                <c:pt idx="6">
                  <c:v>0.3423305169914841</c:v>
                </c:pt>
                <c:pt idx="7">
                  <c:v>0.3673433110201414</c:v>
                </c:pt>
                <c:pt idx="8">
                  <c:v>0.37273437357901856</c:v>
                </c:pt>
                <c:pt idx="9">
                  <c:v>0.36632258571578324</c:v>
                </c:pt>
                <c:pt idx="10">
                  <c:v>0.38234475551613506</c:v>
                </c:pt>
                <c:pt idx="11">
                  <c:v>0.3540472698727504</c:v>
                </c:pt>
                <c:pt idx="12">
                  <c:v>0.3331466861998211</c:v>
                </c:pt>
                <c:pt idx="13">
                  <c:v>0.3512259372941033</c:v>
                </c:pt>
                <c:pt idx="14">
                  <c:v>0.3666163907759044</c:v>
                </c:pt>
                <c:pt idx="15">
                  <c:v>0.34117014214863495</c:v>
                </c:pt>
                <c:pt idx="16">
                  <c:v>0.3540915339830765</c:v>
                </c:pt>
                <c:pt idx="17">
                  <c:v>0.3364727315426514</c:v>
                </c:pt>
                <c:pt idx="18">
                  <c:v>0.33374025462485796</c:v>
                </c:pt>
                <c:pt idx="19">
                  <c:v>0.3531342207235774</c:v>
                </c:pt>
                <c:pt idx="20">
                  <c:v>0.33302793505412154</c:v>
                </c:pt>
                <c:pt idx="21">
                  <c:v>0.3282120344310372</c:v>
                </c:pt>
                <c:pt idx="22">
                  <c:v>0.3218458520987354</c:v>
                </c:pt>
                <c:pt idx="23">
                  <c:v>0.3182417118565051</c:v>
                </c:pt>
                <c:pt idx="24">
                  <c:v>0.25802834465934793</c:v>
                </c:pt>
                <c:pt idx="25">
                  <c:v>0.28473528253002883</c:v>
                </c:pt>
                <c:pt idx="26">
                  <c:v>0.2606262795872952</c:v>
                </c:pt>
                <c:pt idx="27">
                  <c:v>0.35342737036027844</c:v>
                </c:pt>
                <c:pt idx="28">
                  <c:v>0.3636186673486245</c:v>
                </c:pt>
                <c:pt idx="29">
                  <c:v>0.3950177518693097</c:v>
                </c:pt>
                <c:pt idx="30">
                  <c:v>0.3239379050142565</c:v>
                </c:pt>
                <c:pt idx="31">
                  <c:v>0.2879674774850602</c:v>
                </c:pt>
                <c:pt idx="32">
                  <c:v>0.3242013733119707</c:v>
                </c:pt>
                <c:pt idx="33">
                  <c:v>0.3428960173398339</c:v>
                </c:pt>
                <c:pt idx="34">
                  <c:v>0.34578966922454113</c:v>
                </c:pt>
                <c:pt idx="35">
                  <c:v>0.329048765976201</c:v>
                </c:pt>
                <c:pt idx="36">
                  <c:v>0.31577760205172045</c:v>
                </c:pt>
                <c:pt idx="37">
                  <c:v>0.33031072370191017</c:v>
                </c:pt>
                <c:pt idx="38">
                  <c:v>0.27687211128986466</c:v>
                </c:pt>
                <c:pt idx="39">
                  <c:v>0.32525882605286</c:v>
                </c:pt>
                <c:pt idx="40">
                  <c:v>0.31370077336739677</c:v>
                </c:pt>
                <c:pt idx="41">
                  <c:v>0.3617160475826709</c:v>
                </c:pt>
                <c:pt idx="42">
                  <c:v>0.34869023691683126</c:v>
                </c:pt>
                <c:pt idx="43">
                  <c:v>0.3518064839296875</c:v>
                </c:pt>
                <c:pt idx="44">
                  <c:v>0.39993112669608094</c:v>
                </c:pt>
                <c:pt idx="45">
                  <c:v>0.36806593206556537</c:v>
                </c:pt>
                <c:pt idx="46">
                  <c:v>0.3502851153659687</c:v>
                </c:pt>
                <c:pt idx="47">
                  <c:v>0.33755178905778915</c:v>
                </c:pt>
                <c:pt idx="48">
                  <c:v>0.2913520618157792</c:v>
                </c:pt>
                <c:pt idx="49">
                  <c:v>0.3258381074375514</c:v>
                </c:pt>
                <c:pt idx="50">
                  <c:v>0.3097925588954604</c:v>
                </c:pt>
                <c:pt idx="51">
                  <c:v>0.31057374765279544</c:v>
                </c:pt>
                <c:pt idx="52">
                  <c:v>0.8155907471312973</c:v>
                </c:pt>
                <c:pt idx="53">
                  <c:v>1.7958885215946079</c:v>
                </c:pt>
                <c:pt idx="54">
                  <c:v>-0.17295135977357506</c:v>
                </c:pt>
              </c:numCache>
            </c:numRef>
          </c:xVal>
          <c:yVal>
            <c:numRef>
              <c:f>Sheet1!$B$127:$B$181</c:f>
              <c:numCache>
                <c:formatCode>General</c:formatCode>
                <c:ptCount val="55"/>
                <c:pt idx="0">
                  <c:v>0.8721338147662042</c:v>
                </c:pt>
                <c:pt idx="1">
                  <c:v>0.8727776339399136</c:v>
                </c:pt>
                <c:pt idx="2">
                  <c:v>0.8712210136219506</c:v>
                </c:pt>
                <c:pt idx="3">
                  <c:v>0.8721925591052251</c:v>
                </c:pt>
                <c:pt idx="4">
                  <c:v>0.8716730226616806</c:v>
                </c:pt>
                <c:pt idx="5">
                  <c:v>0.8724407100772655</c:v>
                </c:pt>
                <c:pt idx="6">
                  <c:v>0.8710891744783669</c:v>
                </c:pt>
                <c:pt idx="7">
                  <c:v>0.8725506367542017</c:v>
                </c:pt>
                <c:pt idx="8">
                  <c:v>0.8728656289357005</c:v>
                </c:pt>
                <c:pt idx="9">
                  <c:v>0.8724909972143488</c:v>
                </c:pt>
                <c:pt idx="10">
                  <c:v>0.8734271499973367</c:v>
                </c:pt>
                <c:pt idx="11">
                  <c:v>0.8717737678233419</c:v>
                </c:pt>
                <c:pt idx="12">
                  <c:v>0.8705525761985311</c:v>
                </c:pt>
                <c:pt idx="13">
                  <c:v>0.8716089213401161</c:v>
                </c:pt>
                <c:pt idx="14">
                  <c:v>0.8725081638296146</c:v>
                </c:pt>
                <c:pt idx="15">
                  <c:v>0.8710213754129483</c:v>
                </c:pt>
                <c:pt idx="16">
                  <c:v>0.871776354112876</c:v>
                </c:pt>
                <c:pt idx="17">
                  <c:v>0.8707469123366968</c:v>
                </c:pt>
                <c:pt idx="18">
                  <c:v>0.8705872575644082</c:v>
                </c:pt>
                <c:pt idx="19">
                  <c:v>0.8717204196493646</c:v>
                </c:pt>
                <c:pt idx="20">
                  <c:v>0.8705456377365802</c:v>
                </c:pt>
                <c:pt idx="21">
                  <c:v>0.8702642514557536</c:v>
                </c:pt>
                <c:pt idx="22">
                  <c:v>0.8698922844012499</c:v>
                </c:pt>
                <c:pt idx="23">
                  <c:v>0.8696816995703509</c:v>
                </c:pt>
                <c:pt idx="24">
                  <c:v>0.8661635174528786</c:v>
                </c:pt>
                <c:pt idx="25">
                  <c:v>0.8677239661639001</c:v>
                </c:pt>
                <c:pt idx="26">
                  <c:v>0.866315311126465</c:v>
                </c:pt>
                <c:pt idx="27">
                  <c:v>0.8717375479691646</c:v>
                </c:pt>
                <c:pt idx="28">
                  <c:v>0.8723330110778934</c:v>
                </c:pt>
                <c:pt idx="29">
                  <c:v>0.8741676152996432</c:v>
                </c:pt>
                <c:pt idx="30">
                  <c:v>0.8700145201023708</c:v>
                </c:pt>
                <c:pt idx="31">
                  <c:v>0.8679128187562779</c:v>
                </c:pt>
                <c:pt idx="32">
                  <c:v>0.8700299141833977</c:v>
                </c:pt>
                <c:pt idx="33">
                  <c:v>0.8711222158661118</c:v>
                </c:pt>
                <c:pt idx="34">
                  <c:v>0.8712912878643881</c:v>
                </c:pt>
                <c:pt idx="35">
                  <c:v>0.8703131404997706</c:v>
                </c:pt>
                <c:pt idx="36">
                  <c:v>0.8695377251099574</c:v>
                </c:pt>
                <c:pt idx="37">
                  <c:v>0.8703868749097574</c:v>
                </c:pt>
                <c:pt idx="38">
                  <c:v>0.8672645321589361</c:v>
                </c:pt>
                <c:pt idx="39">
                  <c:v>0.8700916996555652</c:v>
                </c:pt>
                <c:pt idx="40">
                  <c:v>0.8694163789391924</c:v>
                </c:pt>
                <c:pt idx="41">
                  <c:v>0.8722218436885161</c:v>
                </c:pt>
                <c:pt idx="42">
                  <c:v>0.8714607639435471</c:v>
                </c:pt>
                <c:pt idx="43">
                  <c:v>0.8716428418612021</c:v>
                </c:pt>
                <c:pt idx="44">
                  <c:v>0.874454696860709</c:v>
                </c:pt>
                <c:pt idx="45">
                  <c:v>0.8725928584826661</c:v>
                </c:pt>
                <c:pt idx="46">
                  <c:v>0.8715539504418361</c:v>
                </c:pt>
                <c:pt idx="47">
                  <c:v>0.8708099601453511</c:v>
                </c:pt>
                <c:pt idx="48">
                  <c:v>0.8681105752449397</c:v>
                </c:pt>
                <c:pt idx="49">
                  <c:v>0.8701255462498261</c:v>
                </c:pt>
                <c:pt idx="50">
                  <c:v>0.8691880274799327</c:v>
                </c:pt>
                <c:pt idx="51">
                  <c:v>0.8692336712371972</c:v>
                </c:pt>
                <c:pt idx="52">
                  <c:v>0.8987411022162214</c:v>
                </c:pt>
                <c:pt idx="53">
                  <c:v>0.9560185185185185</c:v>
                </c:pt>
                <c:pt idx="54">
                  <c:v>0.84098198119757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6"/>
          <c:min val="0.582564102564102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6</c:f>
              <c:numCache>
                <c:formatCode>General</c:formatCode>
                <c:ptCount val="45"/>
                <c:pt idx="0">
                  <c:v>1223.132</c:v>
                </c:pt>
                <c:pt idx="1">
                  <c:v>1203.963</c:v>
                </c:pt>
                <c:pt idx="2">
                  <c:v>1208.7234</c:v>
                </c:pt>
                <c:pt idx="3">
                  <c:v>1235.0471</c:v>
                </c:pt>
                <c:pt idx="4">
                  <c:v>1245.3573</c:v>
                </c:pt>
                <c:pt idx="5">
                  <c:v>1217.8554</c:v>
                </c:pt>
                <c:pt idx="6">
                  <c:v>1143.4544</c:v>
                </c:pt>
                <c:pt idx="7">
                  <c:v>1068.0791</c:v>
                </c:pt>
                <c:pt idx="8">
                  <c:v>1052.7899</c:v>
                </c:pt>
                <c:pt idx="9">
                  <c:v>1059.3938</c:v>
                </c:pt>
                <c:pt idx="10">
                  <c:v>1017.1839</c:v>
                </c:pt>
                <c:pt idx="11">
                  <c:v>1066.5405</c:v>
                </c:pt>
                <c:pt idx="12">
                  <c:v>1112.5649</c:v>
                </c:pt>
                <c:pt idx="13">
                  <c:v>1150.0814</c:v>
                </c:pt>
                <c:pt idx="14">
                  <c:v>1067.0731</c:v>
                </c:pt>
                <c:pt idx="15">
                  <c:v>1088.1826</c:v>
                </c:pt>
                <c:pt idx="16">
                  <c:v>1009.0964</c:v>
                </c:pt>
                <c:pt idx="17">
                  <c:v>977.5697</c:v>
                </c:pt>
                <c:pt idx="18">
                  <c:v>1094.7472</c:v>
                </c:pt>
                <c:pt idx="19">
                  <c:v>562.7621</c:v>
                </c:pt>
                <c:pt idx="20">
                  <c:v>546.6804</c:v>
                </c:pt>
                <c:pt idx="21">
                  <c:v>821.7277</c:v>
                </c:pt>
                <c:pt idx="22">
                  <c:v>823.4193</c:v>
                </c:pt>
                <c:pt idx="23">
                  <c:v>896.9982</c:v>
                </c:pt>
                <c:pt idx="24">
                  <c:v>870.0179</c:v>
                </c:pt>
                <c:pt idx="25">
                  <c:v>938.5884</c:v>
                </c:pt>
                <c:pt idx="26">
                  <c:v>1175.0958</c:v>
                </c:pt>
                <c:pt idx="27">
                  <c:v>1212.2913</c:v>
                </c:pt>
                <c:pt idx="28">
                  <c:v>1220.6364</c:v>
                </c:pt>
                <c:pt idx="29">
                  <c:v>1114.3973</c:v>
                </c:pt>
                <c:pt idx="30">
                  <c:v>1160.1255</c:v>
                </c:pt>
                <c:pt idx="31">
                  <c:v>1225.3239</c:v>
                </c:pt>
                <c:pt idx="32">
                  <c:v>1307.7109</c:v>
                </c:pt>
                <c:pt idx="33">
                  <c:v>1385.5024</c:v>
                </c:pt>
                <c:pt idx="34">
                  <c:v>1320.2642</c:v>
                </c:pt>
                <c:pt idx="35">
                  <c:v>1447.3278</c:v>
                </c:pt>
                <c:pt idx="36">
                  <c:v>1333.89</c:v>
                </c:pt>
                <c:pt idx="37">
                  <c:v>1368.6377</c:v>
                </c:pt>
                <c:pt idx="38">
                  <c:v>1372.257</c:v>
                </c:pt>
                <c:pt idx="39">
                  <c:v>1340.0481</c:v>
                </c:pt>
                <c:pt idx="40">
                  <c:v>1287.5908</c:v>
                </c:pt>
                <c:pt idx="41">
                  <c:v>1374.8637</c:v>
                </c:pt>
                <c:pt idx="42">
                  <c:v>1450.0014</c:v>
                </c:pt>
                <c:pt idx="43">
                  <c:v>1398.1028</c:v>
                </c:pt>
                <c:pt idx="44">
                  <c:v>1437.3107</c:v>
                </c:pt>
              </c:numCache>
            </c:numRef>
          </c:xVal>
          <c:yVal>
            <c:numRef>
              <c:f>Sheet1!$B$2:$B$46</c:f>
              <c:numCache>
                <c:formatCode>General</c:formatCode>
                <c:ptCount val="45"/>
                <c:pt idx="0">
                  <c:v>0.9560185185185185</c:v>
                </c:pt>
                <c:pt idx="1">
                  <c:v>0.9352703199705774</c:v>
                </c:pt>
                <c:pt idx="2">
                  <c:v>0.9363081617086194</c:v>
                </c:pt>
                <c:pt idx="3">
                  <c:v>0.9389819791337338</c:v>
                </c:pt>
                <c:pt idx="4">
                  <c:v>0.9265125118783656</c:v>
                </c:pt>
                <c:pt idx="5">
                  <c:v>0.94670245398773</c:v>
                </c:pt>
                <c:pt idx="6">
                  <c:v>0.9504587155963303</c:v>
                </c:pt>
                <c:pt idx="7">
                  <c:v>0.9546279491833031</c:v>
                </c:pt>
                <c:pt idx="8">
                  <c:v>0.9569798068481123</c:v>
                </c:pt>
                <c:pt idx="9">
                  <c:v>0.9554020100502513</c:v>
                </c:pt>
                <c:pt idx="10">
                  <c:v>0.8624514697726012</c:v>
                </c:pt>
                <c:pt idx="11">
                  <c:v>0.9473684210526315</c:v>
                </c:pt>
                <c:pt idx="12">
                  <c:v>0.9482645710543549</c:v>
                </c:pt>
                <c:pt idx="13">
                  <c:v>0.9394473838918284</c:v>
                </c:pt>
                <c:pt idx="14">
                  <c:v>0.9502724795640327</c:v>
                </c:pt>
                <c:pt idx="15">
                  <c:v>0.96</c:v>
                </c:pt>
                <c:pt idx="16">
                  <c:v>0.9580184718723762</c:v>
                </c:pt>
                <c:pt idx="17">
                  <c:v>0.7512853470437018</c:v>
                </c:pt>
                <c:pt idx="18">
                  <c:v>0.9200415368639667</c:v>
                </c:pt>
                <c:pt idx="19">
                  <c:v>0.9050456893126738</c:v>
                </c:pt>
                <c:pt idx="20">
                  <c:v>0.8945981554677207</c:v>
                </c:pt>
                <c:pt idx="21">
                  <c:v>0.9523269012485811</c:v>
                </c:pt>
                <c:pt idx="22">
                  <c:v>0.9666666666666667</c:v>
                </c:pt>
                <c:pt idx="23">
                  <c:v>0.9553805774278216</c:v>
                </c:pt>
                <c:pt idx="24">
                  <c:v>0.9624060150375939</c:v>
                </c:pt>
                <c:pt idx="25">
                  <c:v>0.9523346303501945</c:v>
                </c:pt>
                <c:pt idx="26">
                  <c:v>0.9315424610051993</c:v>
                </c:pt>
                <c:pt idx="27">
                  <c:v>0.941397445529677</c:v>
                </c:pt>
                <c:pt idx="28">
                  <c:v>0.9395833333333333</c:v>
                </c:pt>
                <c:pt idx="29">
                  <c:v>0.9398410896708286</c:v>
                </c:pt>
                <c:pt idx="30">
                  <c:v>0.9375</c:v>
                </c:pt>
                <c:pt idx="31">
                  <c:v>0.9382093316519546</c:v>
                </c:pt>
                <c:pt idx="32">
                  <c:v>0.9294605809128631</c:v>
                </c:pt>
                <c:pt idx="33">
                  <c:v>0.9361233480176211</c:v>
                </c:pt>
                <c:pt idx="34">
                  <c:v>0.9464285714285714</c:v>
                </c:pt>
                <c:pt idx="35">
                  <c:v>0.9389799635701275</c:v>
                </c:pt>
                <c:pt idx="36">
                  <c:v>0.9387387387387387</c:v>
                </c:pt>
                <c:pt idx="37">
                  <c:v>0.944935064935065</c:v>
                </c:pt>
                <c:pt idx="38">
                  <c:v>0.93375</c:v>
                </c:pt>
                <c:pt idx="39">
                  <c:v>0.9344900849858357</c:v>
                </c:pt>
                <c:pt idx="40">
                  <c:v>0.9429193899782136</c:v>
                </c:pt>
                <c:pt idx="41">
                  <c:v>0.9307467667918231</c:v>
                </c:pt>
                <c:pt idx="42">
                  <c:v>0.9022741241548863</c:v>
                </c:pt>
                <c:pt idx="43">
                  <c:v>0.9129451667608819</c:v>
                </c:pt>
                <c:pt idx="44">
                  <c:v>0.9110512129380054</c:v>
                </c:pt>
              </c:numCache>
            </c:numRef>
          </c:yVal>
          <c:smooth val="0"/>
          <c:extLst>
            <c:ext xmlns:c16="http://schemas.microsoft.com/office/drawing/2014/chart" uri="{C3380CC4-5D6E-409C-BE32-E72D297353CC}">
              <c16:uniqueId val="{00000000-F32D-48B7-BC20-E66FC6253BAD}"/>
            </c:ext>
          </c:extLst>
        </c:ser>
        <c:ser>
          <c:idx val="1"/>
          <c:order val="1"/>
          <c:tx>
            <c:strRef>
              <c:f>Sheet1!$B$4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9:$A$100</c:f>
              <c:numCache>
                <c:formatCode>General</c:formatCode>
                <c:ptCount val="52"/>
                <c:pt idx="0">
                  <c:v>1442.9733</c:v>
                </c:pt>
                <c:pt idx="1">
                  <c:v>1467.0726</c:v>
                </c:pt>
                <c:pt idx="2">
                  <c:v>1463.4607</c:v>
                </c:pt>
                <c:pt idx="3">
                  <c:v>1517.0633</c:v>
                </c:pt>
                <c:pt idx="4">
                  <c:v>1489.105</c:v>
                </c:pt>
                <c:pt idx="5">
                  <c:v>1515.4564</c:v>
                </c:pt>
                <c:pt idx="6">
                  <c:v>1429.1091</c:v>
                </c:pt>
                <c:pt idx="7">
                  <c:v>1481.4829</c:v>
                </c:pt>
                <c:pt idx="8">
                  <c:v>1543.107</c:v>
                </c:pt>
                <c:pt idx="9">
                  <c:v>1469.119</c:v>
                </c:pt>
                <c:pt idx="10">
                  <c:v>1486.036</c:v>
                </c:pt>
                <c:pt idx="11">
                  <c:v>1356.2601</c:v>
                </c:pt>
                <c:pt idx="12">
                  <c:v>1377.9437</c:v>
                </c:pt>
                <c:pt idx="13">
                  <c:v>1420.5882</c:v>
                </c:pt>
                <c:pt idx="14">
                  <c:v>1433.3821</c:v>
                </c:pt>
                <c:pt idx="15">
                  <c:v>1439.0966</c:v>
                </c:pt>
                <c:pt idx="16">
                  <c:v>1533.9059</c:v>
                </c:pt>
                <c:pt idx="17">
                  <c:v>1504.0892</c:v>
                </c:pt>
                <c:pt idx="18">
                  <c:v>1488.3703</c:v>
                </c:pt>
                <c:pt idx="19">
                  <c:v>1618.4926</c:v>
                </c:pt>
                <c:pt idx="20">
                  <c:v>1599.8662</c:v>
                </c:pt>
                <c:pt idx="21">
                  <c:v>1530.0073</c:v>
                </c:pt>
                <c:pt idx="22">
                  <c:v>1571.2267</c:v>
                </c:pt>
                <c:pt idx="23">
                  <c:v>1378.5007</c:v>
                </c:pt>
                <c:pt idx="24">
                  <c:v>1273.4637</c:v>
                </c:pt>
                <c:pt idx="25">
                  <c:v>1212.213</c:v>
                </c:pt>
                <c:pt idx="26">
                  <c:v>1288.2757</c:v>
                </c:pt>
                <c:pt idx="27">
                  <c:v>1436.758</c:v>
                </c:pt>
                <c:pt idx="28">
                  <c:v>1555.0901</c:v>
                </c:pt>
                <c:pt idx="29">
                  <c:v>1549.7863</c:v>
                </c:pt>
                <c:pt idx="30">
                  <c:v>1405.931</c:v>
                </c:pt>
                <c:pt idx="31">
                  <c:v>1283.0031</c:v>
                </c:pt>
                <c:pt idx="32">
                  <c:v>1416.4358</c:v>
                </c:pt>
                <c:pt idx="33">
                  <c:v>1478.2559</c:v>
                </c:pt>
                <c:pt idx="34">
                  <c:v>1528.1598</c:v>
                </c:pt>
                <c:pt idx="35">
                  <c:v>1493.2233</c:v>
                </c:pt>
                <c:pt idx="36">
                  <c:v>1477.5234</c:v>
                </c:pt>
                <c:pt idx="37">
                  <c:v>1534.7062</c:v>
                </c:pt>
                <c:pt idx="38">
                  <c:v>1462.8538</c:v>
                </c:pt>
                <c:pt idx="39">
                  <c:v>1461.513</c:v>
                </c:pt>
                <c:pt idx="40">
                  <c:v>1471.4014</c:v>
                </c:pt>
                <c:pt idx="41">
                  <c:v>1548.7906</c:v>
                </c:pt>
                <c:pt idx="42">
                  <c:v>1513.5481</c:v>
                </c:pt>
                <c:pt idx="43">
                  <c:v>1505.454</c:v>
                </c:pt>
                <c:pt idx="44">
                  <c:v>1503.72</c:v>
                </c:pt>
                <c:pt idx="45">
                  <c:v>1450.9639</c:v>
                </c:pt>
                <c:pt idx="46">
                  <c:v>1473.7842</c:v>
                </c:pt>
                <c:pt idx="47">
                  <c:v>1440.0147</c:v>
                </c:pt>
                <c:pt idx="48">
                  <c:v>1408.4153</c:v>
                </c:pt>
                <c:pt idx="49">
                  <c:v>1406.9406</c:v>
                </c:pt>
                <c:pt idx="50">
                  <c:v>1287.7081</c:v>
                </c:pt>
                <c:pt idx="51">
                  <c:v>1281.8155</c:v>
                </c:pt>
              </c:numCache>
            </c:numRef>
          </c:xVal>
          <c:yVal>
            <c:numRef>
              <c:f>Sheet1!$B$49:$B$100</c:f>
              <c:numCache>
                <c:formatCode>General</c:formatCode>
                <c:ptCount val="52"/>
                <c:pt idx="0">
                  <c:v>0.9124513618677043</c:v>
                </c:pt>
                <c:pt idx="1">
                  <c:v>0.8898876404494382</c:v>
                </c:pt>
                <c:pt idx="2">
                  <c:v>0.9036964980544747</c:v>
                </c:pt>
                <c:pt idx="3">
                  <c:v>0.9015080113100848</c:v>
                </c:pt>
                <c:pt idx="4">
                  <c:v>0.8985801217038539</c:v>
                </c:pt>
                <c:pt idx="5">
                  <c:v>0.8918495297805643</c:v>
                </c:pt>
                <c:pt idx="6">
                  <c:v>0.9110779930452062</c:v>
                </c:pt>
                <c:pt idx="7">
                  <c:v>0.9057315233785822</c:v>
                </c:pt>
                <c:pt idx="8">
                  <c:v>0.8738872403560831</c:v>
                </c:pt>
                <c:pt idx="9">
                  <c:v>0.8785714285714286</c:v>
                </c:pt>
                <c:pt idx="10">
                  <c:v>0.8751515151515151</c:v>
                </c:pt>
                <c:pt idx="11">
                  <c:v>0.9029045643153527</c:v>
                </c:pt>
                <c:pt idx="12">
                  <c:v>0.8831583751711547</c:v>
                </c:pt>
                <c:pt idx="13">
                  <c:v>0.8964646464646465</c:v>
                </c:pt>
                <c:pt idx="14">
                  <c:v>0.90463645943098</c:v>
                </c:pt>
                <c:pt idx="15">
                  <c:v>0.8749266001174398</c:v>
                </c:pt>
                <c:pt idx="16">
                  <c:v>0.8835978835978836</c:v>
                </c:pt>
                <c:pt idx="17">
                  <c:v>0.8717948717948718</c:v>
                </c:pt>
                <c:pt idx="18">
                  <c:v>0.8744493392070485</c:v>
                </c:pt>
                <c:pt idx="19">
                  <c:v>0.8623518687329079</c:v>
                </c:pt>
                <c:pt idx="20">
                  <c:v>0.8658536585365854</c:v>
                </c:pt>
                <c:pt idx="21">
                  <c:v>0.8882921589688507</c:v>
                </c:pt>
                <c:pt idx="22">
                  <c:v>0.8626309662398137</c:v>
                </c:pt>
                <c:pt idx="23">
                  <c:v>0.8855054811205847</c:v>
                </c:pt>
                <c:pt idx="24">
                  <c:v>0.9040404040404041</c:v>
                </c:pt>
                <c:pt idx="25">
                  <c:v>0.8896484375</c:v>
                </c:pt>
                <c:pt idx="26">
                  <c:v>0.8895966029723992</c:v>
                </c:pt>
                <c:pt idx="27">
                  <c:v>0.8554216867469879</c:v>
                </c:pt>
                <c:pt idx="28">
                  <c:v>0.8647887323943662</c:v>
                </c:pt>
                <c:pt idx="29">
                  <c:v>0.8764331210191083</c:v>
                </c:pt>
                <c:pt idx="30">
                  <c:v>0.9016064257028112</c:v>
                </c:pt>
                <c:pt idx="31">
                  <c:v>0.8758526603001364</c:v>
                </c:pt>
                <c:pt idx="32">
                  <c:v>0.868421052631579</c:v>
                </c:pt>
                <c:pt idx="33">
                  <c:v>0.8731009830205541</c:v>
                </c:pt>
                <c:pt idx="34">
                  <c:v>0.8833732057416268</c:v>
                </c:pt>
                <c:pt idx="35">
                  <c:v>0.8636363636363636</c:v>
                </c:pt>
                <c:pt idx="36">
                  <c:v>0.8311688311688312</c:v>
                </c:pt>
                <c:pt idx="37">
                  <c:v>0.8365508365508365</c:v>
                </c:pt>
                <c:pt idx="38">
                  <c:v>0.8393939393939394</c:v>
                </c:pt>
                <c:pt idx="39">
                  <c:v>0.8444656488549618</c:v>
                </c:pt>
                <c:pt idx="40">
                  <c:v>0.7282051282051282</c:v>
                </c:pt>
                <c:pt idx="41">
                  <c:v>0.7897977132805629</c:v>
                </c:pt>
                <c:pt idx="42">
                  <c:v>0.8132530120481928</c:v>
                </c:pt>
                <c:pt idx="43">
                  <c:v>0.8099301784328937</c:v>
                </c:pt>
                <c:pt idx="44">
                  <c:v>0.8409556313993174</c:v>
                </c:pt>
                <c:pt idx="45">
                  <c:v>0.8696479543292103</c:v>
                </c:pt>
                <c:pt idx="46">
                  <c:v>0.8763906056860321</c:v>
                </c:pt>
                <c:pt idx="47">
                  <c:v>0.8796241926012919</c:v>
                </c:pt>
                <c:pt idx="48">
                  <c:v>0.8632521133764296</c:v>
                </c:pt>
                <c:pt idx="49">
                  <c:v>0.8616274266831888</c:v>
                </c:pt>
                <c:pt idx="50">
                  <c:v>0.888130968622101</c:v>
                </c:pt>
                <c:pt idx="51">
                  <c:v>0.867485182049111</c:v>
                </c:pt>
              </c:numCache>
            </c:numRef>
          </c:yVal>
          <c:smooth val="0"/>
          <c:extLst>
            <c:ext xmlns:c16="http://schemas.microsoft.com/office/drawing/2014/chart" uri="{C3380CC4-5D6E-409C-BE32-E72D297353CC}">
              <c16:uniqueId val="{00000002-F32D-48B7-BC20-E66FC6253BAD}"/>
            </c:ext>
          </c:extLst>
        </c:ser>
        <c:ser>
          <c:idx val="2"/>
          <c:order val="2"/>
          <c:tx>
            <c:strRef>
              <c:f>Sheet1!$B$102</c:f>
              <c:strCache>
                <c:ptCount val="1"/>
                <c:pt idx="0">
                  <c:v>Custom Linep3yQ</c:v>
                </c:pt>
              </c:strCache>
            </c:strRef>
          </c:tx>
          <c:spPr>
            <a:ln w="19050" cap="rnd">
              <a:solidFill>
                <a:srgbClr val="C00000"/>
              </a:solidFill>
              <a:prstDash val="sysDot"/>
              <a:round/>
            </a:ln>
            <a:effectLst/>
          </c:spPr>
          <c:marker>
            <c:symbol val="none"/>
          </c:marker>
          <c:xVal>
            <c:numRef>
              <c:f>Sheet1!$A$103:$A$104</c:f>
              <c:numCache>
                <c:formatCode>General</c:formatCode>
                <c:ptCount val="2"/>
                <c:pt idx="0">
                  <c:v>0</c:v>
                </c:pt>
                <c:pt idx="1">
                  <c:v>662.5078058648752</c:v>
                </c:pt>
              </c:numCache>
            </c:numRef>
          </c:xVal>
          <c:yVal>
            <c:numRef>
              <c:f>Sheet1!$B$103:$B$104</c:f>
              <c:numCache>
                <c:formatCode>General</c:formatCode>
                <c:ptCount val="2"/>
                <c:pt idx="0">
                  <c:v>0.9560185185185185</c:v>
                </c:pt>
                <c:pt idx="1">
                  <c:v>0.9560185185185185</c:v>
                </c:pt>
              </c:numCache>
            </c:numRef>
          </c:yVal>
          <c:smooth val="0"/>
          <c:extLst>
            <c:ext xmlns:c16="http://schemas.microsoft.com/office/drawing/2014/chart" uri="{C3380CC4-5D6E-409C-BE32-E72D297353CC}">
              <c16:uniqueId val="{00000003-F32D-48B7-BC20-E66FC6253BAD}"/>
            </c:ext>
          </c:extLst>
        </c:ser>
        <c:ser>
          <c:idx val="3"/>
          <c:order val="3"/>
          <c:tx>
            <c:strRef>
              <c:f>Sheet1!$B$10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7:$A$108</c:f>
              <c:numCache>
                <c:formatCode>General</c:formatCode>
                <c:ptCount val="2"/>
                <c:pt idx="0">
                  <c:v>662.5078058648752</c:v>
                </c:pt>
                <c:pt idx="1">
                  <c:v>662.5078058648752</c:v>
                </c:pt>
              </c:numCache>
            </c:numRef>
          </c:xVal>
          <c:yVal>
            <c:numRef>
              <c:f>Sheet1!$B$107:$B$108</c:f>
              <c:numCache>
                <c:formatCode>General</c:formatCode>
                <c:ptCount val="2"/>
                <c:pt idx="0">
                  <c:v>0.95601851851851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1:$A$112</c:f>
              <c:numCache>
                <c:formatCode>General</c:formatCode>
                <c:ptCount val="2"/>
                <c:pt idx="0">
                  <c:v>0</c:v>
                </c:pt>
                <c:pt idx="1">
                  <c:v>1196.1288862893387</c:v>
                </c:pt>
              </c:numCache>
            </c:numRef>
          </c:xVal>
          <c:yVal>
            <c:numRef>
              <c:f>Sheet1!$B$111:$B$112</c:f>
              <c:numCache>
                <c:formatCode>General</c:formatCode>
                <c:ptCount val="2"/>
                <c:pt idx="0">
                  <c:v>0.8987411022162214</c:v>
                </c:pt>
                <c:pt idx="1">
                  <c:v>0.8987411022162214</c:v>
                </c:pt>
              </c:numCache>
            </c:numRef>
          </c:yVal>
          <c:smooth val="0"/>
          <c:extLst>
            <c:ext xmlns:c16="http://schemas.microsoft.com/office/drawing/2014/chart" uri="{C3380CC4-5D6E-409C-BE32-E72D297353CC}">
              <c16:uniqueId val="{0000000A-F32D-48B7-BC20-E66FC6253BAD}"/>
            </c:ext>
          </c:extLst>
        </c:ser>
        <c:ser>
          <c:idx val="5"/>
          <c:order val="5"/>
          <c:tx>
            <c:strRef>
              <c:f>Sheet1!$B$11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1196.1288862893387</c:v>
                </c:pt>
                <c:pt idx="1">
                  <c:v>1196.1288862893387</c:v>
                </c:pt>
              </c:numCache>
            </c:numRef>
          </c:xVal>
          <c:yVal>
            <c:numRef>
              <c:f>Sheet1!$B$115:$B$116</c:f>
              <c:numCache>
                <c:formatCode>General</c:formatCode>
                <c:ptCount val="2"/>
                <c:pt idx="0">
                  <c:v>0.898741102216221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9:$A$120</c:f>
              <c:numCache>
                <c:formatCode>General</c:formatCode>
                <c:ptCount val="2"/>
                <c:pt idx="0">
                  <c:v>0</c:v>
                </c:pt>
                <c:pt idx="1">
                  <c:v>1734.2377353280413</c:v>
                </c:pt>
              </c:numCache>
            </c:numRef>
          </c:xVal>
          <c:yVal>
            <c:numRef>
              <c:f>Sheet1!$B$119:$B$120</c:f>
              <c:numCache>
                <c:formatCode>General</c:formatCode>
                <c:ptCount val="2"/>
                <c:pt idx="0">
                  <c:v>0.8409819811975707</c:v>
                </c:pt>
                <c:pt idx="1">
                  <c:v>0.8409819811975707</c:v>
                </c:pt>
              </c:numCache>
            </c:numRef>
          </c:yVal>
          <c:smooth val="0"/>
          <c:extLst>
            <c:ext xmlns:c16="http://schemas.microsoft.com/office/drawing/2014/chart" uri="{C3380CC4-5D6E-409C-BE32-E72D297353CC}">
              <c16:uniqueId val="{00000011-F32D-48B7-BC20-E66FC6253BAD}"/>
            </c:ext>
          </c:extLst>
        </c:ser>
        <c:ser>
          <c:idx val="7"/>
          <c:order val="7"/>
          <c:tx>
            <c:strRef>
              <c:f>Sheet1!$B$12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1734.2377353280413</c:v>
                </c:pt>
                <c:pt idx="1">
                  <c:v>1734.2377353280413</c:v>
                </c:pt>
              </c:numCache>
            </c:numRef>
          </c:xVal>
          <c:yVal>
            <c:numRef>
              <c:f>Sheet1!$B$123:$B$124</c:f>
              <c:numCache>
                <c:formatCode>General</c:formatCode>
                <c:ptCount val="2"/>
                <c:pt idx="0">
                  <c:v>0.84098198119757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7:$A$181</c:f>
              <c:numCache>
                <c:formatCode>General</c:formatCode>
                <c:ptCount val="55"/>
                <c:pt idx="0">
                  <c:v>1442.9733</c:v>
                </c:pt>
                <c:pt idx="1">
                  <c:v>1467.0726</c:v>
                </c:pt>
                <c:pt idx="2">
                  <c:v>1463.4607</c:v>
                </c:pt>
                <c:pt idx="3">
                  <c:v>1517.0633</c:v>
                </c:pt>
                <c:pt idx="4">
                  <c:v>1489.105</c:v>
                </c:pt>
                <c:pt idx="5">
                  <c:v>1515.4564</c:v>
                </c:pt>
                <c:pt idx="6">
                  <c:v>1429.1091</c:v>
                </c:pt>
                <c:pt idx="7">
                  <c:v>1481.4829</c:v>
                </c:pt>
                <c:pt idx="8">
                  <c:v>1543.107</c:v>
                </c:pt>
                <c:pt idx="9">
                  <c:v>1469.119</c:v>
                </c:pt>
                <c:pt idx="10">
                  <c:v>1486.036</c:v>
                </c:pt>
                <c:pt idx="11">
                  <c:v>1356.2601</c:v>
                </c:pt>
                <c:pt idx="12">
                  <c:v>1377.9437</c:v>
                </c:pt>
                <c:pt idx="13">
                  <c:v>1420.5882</c:v>
                </c:pt>
                <c:pt idx="14">
                  <c:v>1433.3821</c:v>
                </c:pt>
                <c:pt idx="15">
                  <c:v>1439.0966</c:v>
                </c:pt>
                <c:pt idx="16">
                  <c:v>1533.9059</c:v>
                </c:pt>
                <c:pt idx="17">
                  <c:v>1504.0892</c:v>
                </c:pt>
                <c:pt idx="18">
                  <c:v>1488.3703</c:v>
                </c:pt>
                <c:pt idx="19">
                  <c:v>1618.4926</c:v>
                </c:pt>
                <c:pt idx="20">
                  <c:v>1599.8662</c:v>
                </c:pt>
                <c:pt idx="21">
                  <c:v>1530.0073</c:v>
                </c:pt>
                <c:pt idx="22">
                  <c:v>1571.2267</c:v>
                </c:pt>
                <c:pt idx="23">
                  <c:v>1378.5007</c:v>
                </c:pt>
                <c:pt idx="24">
                  <c:v>1273.4637</c:v>
                </c:pt>
                <c:pt idx="25">
                  <c:v>1212.213</c:v>
                </c:pt>
                <c:pt idx="26">
                  <c:v>1288.2757</c:v>
                </c:pt>
                <c:pt idx="27">
                  <c:v>1436.758</c:v>
                </c:pt>
                <c:pt idx="28">
                  <c:v>1555.0901</c:v>
                </c:pt>
                <c:pt idx="29">
                  <c:v>1549.7863</c:v>
                </c:pt>
                <c:pt idx="30">
                  <c:v>1405.931</c:v>
                </c:pt>
                <c:pt idx="31">
                  <c:v>1283.0031</c:v>
                </c:pt>
                <c:pt idx="32">
                  <c:v>1416.4358</c:v>
                </c:pt>
                <c:pt idx="33">
                  <c:v>1478.2559</c:v>
                </c:pt>
                <c:pt idx="34">
                  <c:v>1528.1598</c:v>
                </c:pt>
                <c:pt idx="35">
                  <c:v>1493.2233</c:v>
                </c:pt>
                <c:pt idx="36">
                  <c:v>1477.5234</c:v>
                </c:pt>
                <c:pt idx="37">
                  <c:v>1534.7062</c:v>
                </c:pt>
                <c:pt idx="38">
                  <c:v>1462.8538</c:v>
                </c:pt>
                <c:pt idx="39">
                  <c:v>1461.513</c:v>
                </c:pt>
                <c:pt idx="40">
                  <c:v>1471.4014</c:v>
                </c:pt>
                <c:pt idx="41">
                  <c:v>1548.7906</c:v>
                </c:pt>
                <c:pt idx="42">
                  <c:v>1513.5481</c:v>
                </c:pt>
                <c:pt idx="43">
                  <c:v>1505.454</c:v>
                </c:pt>
                <c:pt idx="44">
                  <c:v>1503.72</c:v>
                </c:pt>
                <c:pt idx="45">
                  <c:v>1450.9639</c:v>
                </c:pt>
                <c:pt idx="46">
                  <c:v>1473.7842</c:v>
                </c:pt>
                <c:pt idx="47">
                  <c:v>1440.0147</c:v>
                </c:pt>
                <c:pt idx="48">
                  <c:v>1408.4153</c:v>
                </c:pt>
                <c:pt idx="49">
                  <c:v>1406.9406</c:v>
                </c:pt>
                <c:pt idx="50">
                  <c:v>1287.7081</c:v>
                </c:pt>
                <c:pt idx="51">
                  <c:v>1281.8155</c:v>
                </c:pt>
                <c:pt idx="52">
                  <c:v>1196.1288862893387</c:v>
                </c:pt>
                <c:pt idx="53">
                  <c:v>662.5078058648752</c:v>
                </c:pt>
                <c:pt idx="54">
                  <c:v>1734.2377353280413</c:v>
                </c:pt>
              </c:numCache>
            </c:numRef>
          </c:xVal>
          <c:yVal>
            <c:numRef>
              <c:f>Sheet1!$B$127:$B$181</c:f>
              <c:numCache>
                <c:formatCode>General</c:formatCode>
                <c:ptCount val="55"/>
                <c:pt idx="0">
                  <c:v>0.8722455030641871</c:v>
                </c:pt>
                <c:pt idx="1">
                  <c:v>0.8696587506113118</c:v>
                </c:pt>
                <c:pt idx="2">
                  <c:v>0.8700464420041963</c:v>
                </c:pt>
                <c:pt idx="3">
                  <c:v>0.8642928866299533</c:v>
                </c:pt>
                <c:pt idx="4">
                  <c:v>0.8672938535087932</c:v>
                </c:pt>
                <c:pt idx="5">
                  <c:v>0.8644653668479068</c:v>
                </c:pt>
                <c:pt idx="6">
                  <c:v>0.8737336480873685</c:v>
                </c:pt>
                <c:pt idx="7">
                  <c:v>0.8681119887189885</c:v>
                </c:pt>
                <c:pt idx="8">
                  <c:v>0.8614974276391549</c:v>
                </c:pt>
                <c:pt idx="9">
                  <c:v>0.8694390956744646</c:v>
                </c:pt>
                <c:pt idx="10">
                  <c:v>0.8676232715117175</c:v>
                </c:pt>
                <c:pt idx="11">
                  <c:v>0.8815530590013583</c:v>
                </c:pt>
                <c:pt idx="12">
                  <c:v>0.8792256011296704</c:v>
                </c:pt>
                <c:pt idx="13">
                  <c:v>0.8746482580127898</c:v>
                </c:pt>
                <c:pt idx="14">
                  <c:v>0.8732749960422412</c:v>
                </c:pt>
                <c:pt idx="15">
                  <c:v>0.8726616173593768</c:v>
                </c:pt>
                <c:pt idx="16">
                  <c:v>0.8624850483581863</c:v>
                </c:pt>
                <c:pt idx="17">
                  <c:v>0.8656854907719347</c:v>
                </c:pt>
                <c:pt idx="18">
                  <c:v>0.8673727141822205</c:v>
                </c:pt>
                <c:pt idx="19">
                  <c:v>0.8534057450711353</c:v>
                </c:pt>
                <c:pt idx="20">
                  <c:v>0.8554050515193822</c:v>
                </c:pt>
                <c:pt idx="21">
                  <c:v>0.8629035133390272</c:v>
                </c:pt>
                <c:pt idx="22">
                  <c:v>0.8584791365290764</c:v>
                </c:pt>
                <c:pt idx="23">
                  <c:v>0.8791658142845649</c:v>
                </c:pt>
                <c:pt idx="24">
                  <c:v>0.8904401964198411</c:v>
                </c:pt>
                <c:pt idx="25">
                  <c:v>0.8970146777726327</c:v>
                </c:pt>
                <c:pt idx="26">
                  <c:v>0.8888503171564605</c:v>
                </c:pt>
                <c:pt idx="27">
                  <c:v>0.8729126362390245</c:v>
                </c:pt>
                <c:pt idx="28">
                  <c:v>0.8602111947063291</c:v>
                </c:pt>
                <c:pt idx="29">
                  <c:v>0.8607804899829371</c:v>
                </c:pt>
                <c:pt idx="30">
                  <c:v>0.8762215214707443</c:v>
                </c:pt>
                <c:pt idx="31">
                  <c:v>0.8894162635110446</c:v>
                </c:pt>
                <c:pt idx="32">
                  <c:v>0.8750939651862479</c:v>
                </c:pt>
                <c:pt idx="33">
                  <c:v>0.8684583660065208</c:v>
                </c:pt>
                <c:pt idx="34">
                  <c:v>0.8631018188979723</c:v>
                </c:pt>
                <c:pt idx="35">
                  <c:v>0.8668518065353675</c:v>
                </c:pt>
                <c:pt idx="36">
                  <c:v>0.8685369905380106</c:v>
                </c:pt>
                <c:pt idx="37">
                  <c:v>0.8623991463615293</c:v>
                </c:pt>
                <c:pt idx="38">
                  <c:v>0.8701115849777952</c:v>
                </c:pt>
                <c:pt idx="39">
                  <c:v>0.8702555027550258</c:v>
                </c:pt>
                <c:pt idx="40">
                  <c:v>0.8691941091479496</c:v>
                </c:pt>
                <c:pt idx="41">
                  <c:v>0.860887365677141</c:v>
                </c:pt>
                <c:pt idx="42">
                  <c:v>0.8646701985113088</c:v>
                </c:pt>
                <c:pt idx="43">
                  <c:v>0.8655389969008395</c:v>
                </c:pt>
                <c:pt idx="44">
                  <c:v>0.8657251196825504</c:v>
                </c:pt>
                <c:pt idx="45">
                  <c:v>0.8713878140794471</c:v>
                </c:pt>
                <c:pt idx="46">
                  <c:v>0.8689383459621014</c:v>
                </c:pt>
                <c:pt idx="47">
                  <c:v>0.8725630710353347</c:v>
                </c:pt>
                <c:pt idx="48">
                  <c:v>0.8759548635545942</c:v>
                </c:pt>
                <c:pt idx="49">
                  <c:v>0.8761131537888439</c:v>
                </c:pt>
                <c:pt idx="50">
                  <c:v>0.8889112417763562</c:v>
                </c:pt>
                <c:pt idx="51">
                  <c:v>0.8895437372224402</c:v>
                </c:pt>
                <c:pt idx="52">
                  <c:v>0.8987411022162214</c:v>
                </c:pt>
                <c:pt idx="53">
                  <c:v>0.9560185185185185</c:v>
                </c:pt>
                <c:pt idx="54">
                  <c:v>0.84098198119757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81.0"/>
          <c:min val="43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6"/>
          <c:min val="0.582564102564102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3</c:f>
              <c:numCache>
                <c:formatCode>General</c:formatCode>
                <c:ptCount val="52"/>
                <c:pt idx="0">
                  <c:v>0.3530768052437671</c:v>
                </c:pt>
                <c:pt idx="1">
                  <c:v>0.41686022420888313</c:v>
                </c:pt>
                <c:pt idx="2">
                  <c:v>0.37375670989255283</c:v>
                </c:pt>
                <c:pt idx="3">
                  <c:v>0.3595429495729343</c:v>
                </c:pt>
                <c:pt idx="4">
                  <c:v>0.4060588043838303</c:v>
                </c:pt>
                <c:pt idx="5">
                  <c:v>0.40351448702386794</c:v>
                </c:pt>
                <c:pt idx="6">
                  <c:v>0.4103697114842484</c:v>
                </c:pt>
                <c:pt idx="7">
                  <c:v>0.4213779625608017</c:v>
                </c:pt>
                <c:pt idx="8">
                  <c:v>0.4104186125788307</c:v>
                </c:pt>
                <c:pt idx="9">
                  <c:v>0.41765628765792034</c:v>
                </c:pt>
                <c:pt idx="10">
                  <c:v>0.41120263026469117</c:v>
                </c:pt>
                <c:pt idx="11">
                  <c:v>0.41163976973164584</c:v>
                </c:pt>
                <c:pt idx="12">
                  <c:v>0.41802382648015507</c:v>
                </c:pt>
                <c:pt idx="13">
                  <c:v>0.38866566961250854</c:v>
                </c:pt>
                <c:pt idx="14">
                  <c:v>0.3820571970238947</c:v>
                </c:pt>
                <c:pt idx="15">
                  <c:v>0.32493515432098763</c:v>
                </c:pt>
                <c:pt idx="16">
                  <c:v>0.40398899712710057</c:v>
                </c:pt>
                <c:pt idx="17">
                  <c:v>0.3149501154407047</c:v>
                </c:pt>
                <c:pt idx="18">
                  <c:v>0.3255021973997437</c:v>
                </c:pt>
                <c:pt idx="19">
                  <c:v>0.407607583806558</c:v>
                </c:pt>
                <c:pt idx="20">
                  <c:v>0.36041410216233155</c:v>
                </c:pt>
                <c:pt idx="21">
                  <c:v>0.3380156325480103</c:v>
                </c:pt>
                <c:pt idx="22">
                  <c:v>0.30546905872058633</c:v>
                </c:pt>
                <c:pt idx="23">
                  <c:v>0.3206025099285147</c:v>
                </c:pt>
                <c:pt idx="24">
                  <c:v>0.2915072908901148</c:v>
                </c:pt>
                <c:pt idx="25">
                  <c:v>0.34201943600124385</c:v>
                </c:pt>
                <c:pt idx="26">
                  <c:v>0.215177966035916</c:v>
                </c:pt>
                <c:pt idx="27">
                  <c:v>0.1857982574577802</c:v>
                </c:pt>
                <c:pt idx="28">
                  <c:v>0.28542122264675235</c:v>
                </c:pt>
                <c:pt idx="29">
                  <c:v>0.22333043124491456</c:v>
                </c:pt>
                <c:pt idx="30">
                  <c:v>0.2753639907904835</c:v>
                </c:pt>
                <c:pt idx="31">
                  <c:v>0.36586118587047944</c:v>
                </c:pt>
                <c:pt idx="32">
                  <c:v>0.28598062157221205</c:v>
                </c:pt>
                <c:pt idx="33">
                  <c:v>0.3776014781491003</c:v>
                </c:pt>
                <c:pt idx="34">
                  <c:v>0.45954939347990903</c:v>
                </c:pt>
                <c:pt idx="35">
                  <c:v>0.2561348833305355</c:v>
                </c:pt>
                <c:pt idx="36">
                  <c:v>0.24224523707299309</c:v>
                </c:pt>
                <c:pt idx="37">
                  <c:v>0.2576993170218575</c:v>
                </c:pt>
                <c:pt idx="38">
                  <c:v>0.2498621329526917</c:v>
                </c:pt>
                <c:pt idx="39">
                  <c:v>0.27736590487300494</c:v>
                </c:pt>
                <c:pt idx="40">
                  <c:v>0.31230129568635456</c:v>
                </c:pt>
                <c:pt idx="41">
                  <c:v>0.31054079736563567</c:v>
                </c:pt>
                <c:pt idx="42">
                  <c:v>0.35216502019562995</c:v>
                </c:pt>
                <c:pt idx="43">
                  <c:v>0.312063989716667</c:v>
                </c:pt>
                <c:pt idx="44">
                  <c:v>0.2999579838074929</c:v>
                </c:pt>
                <c:pt idx="45">
                  <c:v>0.2827384643913093</c:v>
                </c:pt>
                <c:pt idx="46">
                  <c:v>0.2876403921823092</c:v>
                </c:pt>
                <c:pt idx="47">
                  <c:v>0.28695389004033783</c:v>
                </c:pt>
                <c:pt idx="48">
                  <c:v>0.2944332276273934</c:v>
                </c:pt>
                <c:pt idx="49">
                  <c:v>0.3000062008118326</c:v>
                </c:pt>
                <c:pt idx="50">
                  <c:v>0.3040704713061117</c:v>
                </c:pt>
                <c:pt idx="51">
                  <c:v>0.29814265952639707</c:v>
                </c:pt>
              </c:numCache>
            </c:numRef>
          </c:xVal>
          <c:yVal>
            <c:numRef>
              <c:f>Sheet1!$B$2:$B$53</c:f>
              <c:numCache>
                <c:formatCode>General</c:formatCode>
                <c:ptCount val="52"/>
                <c:pt idx="0">
                  <c:v>0.9575952764358562</c:v>
                </c:pt>
                <c:pt idx="1">
                  <c:v>0.9585201793721974</c:v>
                </c:pt>
                <c:pt idx="2">
                  <c:v>0.9652271452607964</c:v>
                </c:pt>
                <c:pt idx="3">
                  <c:v>0.9686204854943754</c:v>
                </c:pt>
                <c:pt idx="4">
                  <c:v>0.9611324376199616</c:v>
                </c:pt>
                <c:pt idx="5">
                  <c:v>0.9593908629441624</c:v>
                </c:pt>
                <c:pt idx="6">
                  <c:v>0.9608307045215563</c:v>
                </c:pt>
                <c:pt idx="7">
                  <c:v>0.9560185185185185</c:v>
                </c:pt>
                <c:pt idx="8">
                  <c:v>0.9352703199705774</c:v>
                </c:pt>
                <c:pt idx="9">
                  <c:v>0.9363081617086194</c:v>
                </c:pt>
                <c:pt idx="10">
                  <c:v>0.9389819791337338</c:v>
                </c:pt>
                <c:pt idx="11">
                  <c:v>0.9265125118783656</c:v>
                </c:pt>
                <c:pt idx="12">
                  <c:v>0.94670245398773</c:v>
                </c:pt>
                <c:pt idx="13">
                  <c:v>0.9504587155963303</c:v>
                </c:pt>
                <c:pt idx="14">
                  <c:v>0.9546279491833031</c:v>
                </c:pt>
                <c:pt idx="15">
                  <c:v>0.9569798068481123</c:v>
                </c:pt>
                <c:pt idx="16">
                  <c:v>0.9554020100502513</c:v>
                </c:pt>
                <c:pt idx="17">
                  <c:v>0.8624514697726012</c:v>
                </c:pt>
                <c:pt idx="18">
                  <c:v>0.9473684210526315</c:v>
                </c:pt>
                <c:pt idx="19">
                  <c:v>0.9482645710543549</c:v>
                </c:pt>
                <c:pt idx="20">
                  <c:v>0.9394473838918284</c:v>
                </c:pt>
                <c:pt idx="21">
                  <c:v>0.9502724795640327</c:v>
                </c:pt>
                <c:pt idx="22">
                  <c:v>0.96</c:v>
                </c:pt>
                <c:pt idx="23">
                  <c:v>0.9580184718723762</c:v>
                </c:pt>
                <c:pt idx="24">
                  <c:v>0.7512853470437018</c:v>
                </c:pt>
                <c:pt idx="25">
                  <c:v>0.9200415368639667</c:v>
                </c:pt>
                <c:pt idx="26">
                  <c:v>0.9050456893126738</c:v>
                </c:pt>
                <c:pt idx="27">
                  <c:v>0.8945981554677207</c:v>
                </c:pt>
                <c:pt idx="28">
                  <c:v>0.9523269012485811</c:v>
                </c:pt>
                <c:pt idx="29">
                  <c:v>0.9666666666666667</c:v>
                </c:pt>
                <c:pt idx="30">
                  <c:v>0.9553805774278216</c:v>
                </c:pt>
                <c:pt idx="31">
                  <c:v>0.9624060150375939</c:v>
                </c:pt>
                <c:pt idx="32">
                  <c:v>0.9523346303501945</c:v>
                </c:pt>
                <c:pt idx="33">
                  <c:v>0.9315424610051993</c:v>
                </c:pt>
                <c:pt idx="34">
                  <c:v>0.941397445529677</c:v>
                </c:pt>
                <c:pt idx="35">
                  <c:v>0.9395833333333333</c:v>
                </c:pt>
                <c:pt idx="36">
                  <c:v>0.9398410896708286</c:v>
                </c:pt>
                <c:pt idx="37">
                  <c:v>0.9375</c:v>
                </c:pt>
                <c:pt idx="38">
                  <c:v>0.9382093316519546</c:v>
                </c:pt>
                <c:pt idx="39">
                  <c:v>0.9294605809128631</c:v>
                </c:pt>
                <c:pt idx="40">
                  <c:v>0.9361233480176211</c:v>
                </c:pt>
                <c:pt idx="41">
                  <c:v>0.9464285714285714</c:v>
                </c:pt>
                <c:pt idx="42">
                  <c:v>0.9389799635701275</c:v>
                </c:pt>
                <c:pt idx="43">
                  <c:v>0.9387387387387387</c:v>
                </c:pt>
                <c:pt idx="44">
                  <c:v>0.944935064935065</c:v>
                </c:pt>
                <c:pt idx="45">
                  <c:v>0.93375</c:v>
                </c:pt>
                <c:pt idx="46">
                  <c:v>0.9344900849858357</c:v>
                </c:pt>
                <c:pt idx="47">
                  <c:v>0.9429193899782136</c:v>
                </c:pt>
                <c:pt idx="48">
                  <c:v>0.9307467667918231</c:v>
                </c:pt>
                <c:pt idx="49">
                  <c:v>0.9022741241548863</c:v>
                </c:pt>
                <c:pt idx="50">
                  <c:v>0.9129451667608819</c:v>
                </c:pt>
                <c:pt idx="51">
                  <c:v>0.9110512129380054</c:v>
                </c:pt>
              </c:numCache>
            </c:numRef>
          </c:yVal>
          <c:smooth val="0"/>
          <c:extLst>
            <c:ext xmlns:c16="http://schemas.microsoft.com/office/drawing/2014/chart" uri="{C3380CC4-5D6E-409C-BE32-E72D297353CC}">
              <c16:uniqueId val="{00000000-096C-4121-9522-6AB7243CCAAE}"/>
            </c:ext>
          </c:extLst>
        </c:ser>
        <c:ser>
          <c:idx val="1"/>
          <c:order val="1"/>
          <c:tx>
            <c:strRef>
              <c:f>Sheet1!$B$5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6:$A$107</c:f>
              <c:numCache>
                <c:formatCode>General</c:formatCode>
                <c:ptCount val="52"/>
                <c:pt idx="0">
                  <c:v>0.31248406691570574</c:v>
                </c:pt>
                <c:pt idx="1">
                  <c:v>0.325044611106803</c:v>
                </c:pt>
                <c:pt idx="2">
                  <c:v>0.335413502957425</c:v>
                </c:pt>
                <c:pt idx="3">
                  <c:v>0.33525668054487434</c:v>
                </c:pt>
                <c:pt idx="4">
                  <c:v>0.3739676026255848</c:v>
                </c:pt>
                <c:pt idx="5">
                  <c:v>0.32559783997055675</c:v>
                </c:pt>
                <c:pt idx="6">
                  <c:v>0.3109172847806229</c:v>
                </c:pt>
                <c:pt idx="7">
                  <c:v>0.29558717079010377</c:v>
                </c:pt>
                <c:pt idx="8">
                  <c:v>0.3511803255796213</c:v>
                </c:pt>
                <c:pt idx="9">
                  <c:v>0.32234015708081504</c:v>
                </c:pt>
                <c:pt idx="10">
                  <c:v>0.32968720541575547</c:v>
                </c:pt>
                <c:pt idx="11">
                  <c:v>0.2992400759712218</c:v>
                </c:pt>
                <c:pt idx="12">
                  <c:v>0.31175611566959305</c:v>
                </c:pt>
                <c:pt idx="13">
                  <c:v>0.3098203349908401</c:v>
                </c:pt>
                <c:pt idx="14">
                  <c:v>0.30932595298087534</c:v>
                </c:pt>
                <c:pt idx="15">
                  <c:v>0.299859563043304</c:v>
                </c:pt>
                <c:pt idx="16">
                  <c:v>0.3313448828581861</c:v>
                </c:pt>
                <c:pt idx="17">
                  <c:v>0.32874919333907077</c:v>
                </c:pt>
                <c:pt idx="18">
                  <c:v>0.3431288223380491</c:v>
                </c:pt>
                <c:pt idx="19">
                  <c:v>0.3295826714922596</c:v>
                </c:pt>
                <c:pt idx="20">
                  <c:v>0.33563291175223153</c:v>
                </c:pt>
                <c:pt idx="21">
                  <c:v>0.2936157663007739</c:v>
                </c:pt>
                <c:pt idx="22">
                  <c:v>0.3307436119173621</c:v>
                </c:pt>
                <c:pt idx="23">
                  <c:v>0.29424963712431695</c:v>
                </c:pt>
                <c:pt idx="24">
                  <c:v>0.2388397514945493</c:v>
                </c:pt>
                <c:pt idx="25">
                  <c:v>0.2510371999509114</c:v>
                </c:pt>
                <c:pt idx="26">
                  <c:v>0.2738826893436088</c:v>
                </c:pt>
                <c:pt idx="27">
                  <c:v>0.29647818889122274</c:v>
                </c:pt>
                <c:pt idx="28">
                  <c:v>0.32975844292801576</c:v>
                </c:pt>
                <c:pt idx="29">
                  <c:v>0.32873457916171733</c:v>
                </c:pt>
                <c:pt idx="30">
                  <c:v>0.2825495013439847</c:v>
                </c:pt>
                <c:pt idx="31">
                  <c:v>0.32309320070511205</c:v>
                </c:pt>
                <c:pt idx="32">
                  <c:v>0.31916083821541236</c:v>
                </c:pt>
                <c:pt idx="33">
                  <c:v>0.3188587875459442</c:v>
                </c:pt>
                <c:pt idx="34">
                  <c:v>0.3306383929434952</c:v>
                </c:pt>
                <c:pt idx="35">
                  <c:v>0.3158088722043039</c:v>
                </c:pt>
                <c:pt idx="36">
                  <c:v>0.3088396922889186</c:v>
                </c:pt>
                <c:pt idx="37">
                  <c:v>0.3174696905275677</c:v>
                </c:pt>
                <c:pt idx="38">
                  <c:v>0.33928041798700836</c:v>
                </c:pt>
                <c:pt idx="39">
                  <c:v>0.3035228250768556</c:v>
                </c:pt>
                <c:pt idx="40">
                  <c:v>0.29371732375425313</c:v>
                </c:pt>
                <c:pt idx="41">
                  <c:v>0.3399045614709652</c:v>
                </c:pt>
                <c:pt idx="42">
                  <c:v>0.32829768667349185</c:v>
                </c:pt>
                <c:pt idx="43">
                  <c:v>0.3342041628703569</c:v>
                </c:pt>
                <c:pt idx="44">
                  <c:v>0.3445979168477059</c:v>
                </c:pt>
                <c:pt idx="45">
                  <c:v>0.32977201754585334</c:v>
                </c:pt>
                <c:pt idx="46">
                  <c:v>0.33779381965453487</c:v>
                </c:pt>
                <c:pt idx="47">
                  <c:v>0.32248520597423724</c:v>
                </c:pt>
                <c:pt idx="48">
                  <c:v>0.32290142717945775</c:v>
                </c:pt>
                <c:pt idx="49">
                  <c:v>0.30730673243555934</c:v>
                </c:pt>
                <c:pt idx="50">
                  <c:v>0.2911256344693658</c:v>
                </c:pt>
                <c:pt idx="51">
                  <c:v>0.29306262307629677</c:v>
                </c:pt>
              </c:numCache>
            </c:numRef>
          </c:xVal>
          <c:yVal>
            <c:numRef>
              <c:f>Sheet1!$B$56:$B$107</c:f>
              <c:numCache>
                <c:formatCode>General</c:formatCode>
                <c:ptCount val="52"/>
                <c:pt idx="0">
                  <c:v>0.9124513618677043</c:v>
                </c:pt>
                <c:pt idx="1">
                  <c:v>0.8898876404494382</c:v>
                </c:pt>
                <c:pt idx="2">
                  <c:v>0.9036964980544747</c:v>
                </c:pt>
                <c:pt idx="3">
                  <c:v>0.9015080113100848</c:v>
                </c:pt>
                <c:pt idx="4">
                  <c:v>0.8985801217038539</c:v>
                </c:pt>
                <c:pt idx="5">
                  <c:v>0.8918495297805643</c:v>
                </c:pt>
                <c:pt idx="6">
                  <c:v>0.9110779930452062</c:v>
                </c:pt>
                <c:pt idx="7">
                  <c:v>0.9057315233785822</c:v>
                </c:pt>
                <c:pt idx="8">
                  <c:v>0.8738872403560831</c:v>
                </c:pt>
                <c:pt idx="9">
                  <c:v>0.8785714285714286</c:v>
                </c:pt>
                <c:pt idx="10">
                  <c:v>0.8751515151515151</c:v>
                </c:pt>
                <c:pt idx="11">
                  <c:v>0.9029045643153527</c:v>
                </c:pt>
                <c:pt idx="12">
                  <c:v>0.8831583751711547</c:v>
                </c:pt>
                <c:pt idx="13">
                  <c:v>0.8964646464646465</c:v>
                </c:pt>
                <c:pt idx="14">
                  <c:v>0.90463645943098</c:v>
                </c:pt>
                <c:pt idx="15">
                  <c:v>0.8749266001174398</c:v>
                </c:pt>
                <c:pt idx="16">
                  <c:v>0.8835978835978836</c:v>
                </c:pt>
                <c:pt idx="17">
                  <c:v>0.8717948717948718</c:v>
                </c:pt>
                <c:pt idx="18">
                  <c:v>0.8744493392070485</c:v>
                </c:pt>
                <c:pt idx="19">
                  <c:v>0.8623518687329079</c:v>
                </c:pt>
                <c:pt idx="20">
                  <c:v>0.8658536585365854</c:v>
                </c:pt>
                <c:pt idx="21">
                  <c:v>0.8882921589688507</c:v>
                </c:pt>
                <c:pt idx="22">
                  <c:v>0.8626309662398137</c:v>
                </c:pt>
                <c:pt idx="23">
                  <c:v>0.8855054811205847</c:v>
                </c:pt>
                <c:pt idx="24">
                  <c:v>0.9040404040404041</c:v>
                </c:pt>
                <c:pt idx="25">
                  <c:v>0.8896484375</c:v>
                </c:pt>
                <c:pt idx="26">
                  <c:v>0.8895966029723992</c:v>
                </c:pt>
                <c:pt idx="27">
                  <c:v>0.8554216867469879</c:v>
                </c:pt>
                <c:pt idx="28">
                  <c:v>0.8647887323943662</c:v>
                </c:pt>
                <c:pt idx="29">
                  <c:v>0.8764331210191083</c:v>
                </c:pt>
                <c:pt idx="30">
                  <c:v>0.9016064257028112</c:v>
                </c:pt>
                <c:pt idx="31">
                  <c:v>0.8758526603001364</c:v>
                </c:pt>
                <c:pt idx="32">
                  <c:v>0.868421052631579</c:v>
                </c:pt>
                <c:pt idx="33">
                  <c:v>0.8731009830205541</c:v>
                </c:pt>
                <c:pt idx="34">
                  <c:v>0.8833732057416268</c:v>
                </c:pt>
                <c:pt idx="35">
                  <c:v>0.8636363636363636</c:v>
                </c:pt>
                <c:pt idx="36">
                  <c:v>0.8311688311688312</c:v>
                </c:pt>
                <c:pt idx="37">
                  <c:v>0.8365508365508365</c:v>
                </c:pt>
                <c:pt idx="38">
                  <c:v>0.8393939393939394</c:v>
                </c:pt>
                <c:pt idx="39">
                  <c:v>0.8444656488549618</c:v>
                </c:pt>
                <c:pt idx="40">
                  <c:v>0.7282051282051282</c:v>
                </c:pt>
                <c:pt idx="41">
                  <c:v>0.7897977132805629</c:v>
                </c:pt>
                <c:pt idx="42">
                  <c:v>0.8132530120481928</c:v>
                </c:pt>
                <c:pt idx="43">
                  <c:v>0.8099301784328937</c:v>
                </c:pt>
                <c:pt idx="44">
                  <c:v>0.8409556313993174</c:v>
                </c:pt>
                <c:pt idx="45">
                  <c:v>0.8696479543292103</c:v>
                </c:pt>
                <c:pt idx="46">
                  <c:v>0.8763906056860321</c:v>
                </c:pt>
                <c:pt idx="47">
                  <c:v>0.8796241926012919</c:v>
                </c:pt>
                <c:pt idx="48">
                  <c:v>0.8632521133764296</c:v>
                </c:pt>
                <c:pt idx="49">
                  <c:v>0.8616274266831888</c:v>
                </c:pt>
                <c:pt idx="50">
                  <c:v>0.888130968622101</c:v>
                </c:pt>
                <c:pt idx="51">
                  <c:v>0.867485182049111</c:v>
                </c:pt>
              </c:numCache>
            </c:numRef>
          </c:yVal>
          <c:smooth val="0"/>
          <c:extLst>
            <c:ext xmlns:c16="http://schemas.microsoft.com/office/drawing/2014/chart" uri="{C3380CC4-5D6E-409C-BE32-E72D297353CC}">
              <c16:uniqueId val="{00000002-096C-4121-9522-6AB7243CCAAE}"/>
            </c:ext>
          </c:extLst>
        </c:ser>
        <c:ser>
          <c:idx val="2"/>
          <c:order val="2"/>
          <c:tx>
            <c:strRef>
              <c:f>Sheet1!$B$10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0:$A$111</c:f>
              <c:numCache>
                <c:formatCode>General</c:formatCode>
                <c:ptCount val="2"/>
                <c:pt idx="0">
                  <c:v>0</c:v>
                </c:pt>
                <c:pt idx="1">
                  <c:v>-0.09838308665748083</c:v>
                </c:pt>
              </c:numCache>
            </c:numRef>
          </c:xVal>
          <c:yVal>
            <c:numRef>
              <c:f>Sheet1!$B$110:$B$111</c:f>
              <c:numCache>
                <c:formatCode>General</c:formatCode>
                <c:ptCount val="2"/>
                <c:pt idx="0">
                  <c:v>0.960916951270928</c:v>
                </c:pt>
                <c:pt idx="1">
                  <c:v>0.960916951270928</c:v>
                </c:pt>
              </c:numCache>
            </c:numRef>
          </c:yVal>
          <c:smooth val="0"/>
          <c:extLst>
            <c:ext xmlns:c16="http://schemas.microsoft.com/office/drawing/2014/chart" uri="{C3380CC4-5D6E-409C-BE32-E72D297353CC}">
              <c16:uniqueId val="{00000005-096C-4121-9522-6AB7243CCAAE}"/>
            </c:ext>
          </c:extLst>
        </c:ser>
        <c:ser>
          <c:idx val="3"/>
          <c:order val="3"/>
          <c:tx>
            <c:strRef>
              <c:f>Sheet1!$B$1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09838308665748083</c:v>
                </c:pt>
                <c:pt idx="1">
                  <c:v>-0.09838308665748083</c:v>
                </c:pt>
              </c:numCache>
            </c:numRef>
          </c:xVal>
          <c:yVal>
            <c:numRef>
              <c:f>Sheet1!$B$114:$B$115</c:f>
              <c:numCache>
                <c:formatCode>General</c:formatCode>
                <c:ptCount val="2"/>
                <c:pt idx="0">
                  <c:v>0.96091695127092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8:$A$119</c:f>
              <c:numCache>
                <c:formatCode>General</c:formatCode>
                <c:ptCount val="2"/>
                <c:pt idx="0">
                  <c:v>0</c:v>
                </c:pt>
                <c:pt idx="1">
                  <c:v>0.18805233803097743</c:v>
                </c:pt>
              </c:numCache>
            </c:numRef>
          </c:xVal>
          <c:yVal>
            <c:numRef>
              <c:f>Sheet1!$B$118:$B$119</c:f>
              <c:numCache>
                <c:formatCode>General</c:formatCode>
                <c:ptCount val="2"/>
                <c:pt idx="0">
                  <c:v>0.8987411022162214</c:v>
                </c:pt>
                <c:pt idx="1">
                  <c:v>0.8987411022162214</c:v>
                </c:pt>
              </c:numCache>
            </c:numRef>
          </c:yVal>
          <c:smooth val="0"/>
          <c:extLst>
            <c:ext xmlns:c16="http://schemas.microsoft.com/office/drawing/2014/chart" uri="{C3380CC4-5D6E-409C-BE32-E72D297353CC}">
              <c16:uniqueId val="{0000000D-096C-4121-9522-6AB7243CCAAE}"/>
            </c:ext>
          </c:extLst>
        </c:ser>
        <c:ser>
          <c:idx val="5"/>
          <c:order val="5"/>
          <c:tx>
            <c:strRef>
              <c:f>Sheet1!$B$1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18805233803097743</c:v>
                </c:pt>
                <c:pt idx="1">
                  <c:v>0.18805233803097743</c:v>
                </c:pt>
              </c:numCache>
            </c:numRef>
          </c:xVal>
          <c:yVal>
            <c:numRef>
              <c:f>Sheet1!$B$122:$B$123</c:f>
              <c:numCache>
                <c:formatCode>General</c:formatCode>
                <c:ptCount val="2"/>
                <c:pt idx="0">
                  <c:v>0.898741102216221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6:$A$127</c:f>
              <c:numCache>
                <c:formatCode>General</c:formatCode>
                <c:ptCount val="2"/>
                <c:pt idx="0">
                  <c:v>0</c:v>
                </c:pt>
                <c:pt idx="1">
                  <c:v>0.45414051551694096</c:v>
                </c:pt>
              </c:numCache>
            </c:numRef>
          </c:xVal>
          <c:yVal>
            <c:numRef>
              <c:f>Sheet1!$B$126:$B$127</c:f>
              <c:numCache>
                <c:formatCode>General</c:formatCode>
                <c:ptCount val="2"/>
                <c:pt idx="0">
                  <c:v>0.8409819811975707</c:v>
                </c:pt>
                <c:pt idx="1">
                  <c:v>0.8409819811975707</c:v>
                </c:pt>
              </c:numCache>
            </c:numRef>
          </c:yVal>
          <c:smooth val="0"/>
          <c:extLst>
            <c:ext xmlns:c16="http://schemas.microsoft.com/office/drawing/2014/chart" uri="{C3380CC4-5D6E-409C-BE32-E72D297353CC}">
              <c16:uniqueId val="{00000015-096C-4121-9522-6AB7243CCAAE}"/>
            </c:ext>
          </c:extLst>
        </c:ser>
        <c:ser>
          <c:idx val="7"/>
          <c:order val="7"/>
          <c:tx>
            <c:strRef>
              <c:f>Sheet1!$B$1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0:$A$131</c:f>
              <c:numCache>
                <c:formatCode>General</c:formatCode>
                <c:ptCount val="2"/>
                <c:pt idx="0">
                  <c:v>0.45414051551694096</c:v>
                </c:pt>
                <c:pt idx="1">
                  <c:v>0.45414051551694096</c:v>
                </c:pt>
              </c:numCache>
            </c:numRef>
          </c:xVal>
          <c:yVal>
            <c:numRef>
              <c:f>Sheet1!$B$130:$B$131</c:f>
              <c:numCache>
                <c:formatCode>General</c:formatCode>
                <c:ptCount val="2"/>
                <c:pt idx="0">
                  <c:v>0.84098198119757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4:$A$188</c:f>
              <c:numCache>
                <c:formatCode>General</c:formatCode>
                <c:ptCount val="55"/>
                <c:pt idx="0">
                  <c:v>0.31248406691570574</c:v>
                </c:pt>
                <c:pt idx="1">
                  <c:v>0.325044611106803</c:v>
                </c:pt>
                <c:pt idx="2">
                  <c:v>0.335413502957425</c:v>
                </c:pt>
                <c:pt idx="3">
                  <c:v>0.33525668054487434</c:v>
                </c:pt>
                <c:pt idx="4">
                  <c:v>0.3739676026255848</c:v>
                </c:pt>
                <c:pt idx="5">
                  <c:v>0.32559783997055675</c:v>
                </c:pt>
                <c:pt idx="6">
                  <c:v>0.3109172847806229</c:v>
                </c:pt>
                <c:pt idx="7">
                  <c:v>0.29558717079010377</c:v>
                </c:pt>
                <c:pt idx="8">
                  <c:v>0.3511803255796213</c:v>
                </c:pt>
                <c:pt idx="9">
                  <c:v>0.32234015708081504</c:v>
                </c:pt>
                <c:pt idx="10">
                  <c:v>0.32968720541575547</c:v>
                </c:pt>
                <c:pt idx="11">
                  <c:v>0.2992400759712218</c:v>
                </c:pt>
                <c:pt idx="12">
                  <c:v>0.31175611566959305</c:v>
                </c:pt>
                <c:pt idx="13">
                  <c:v>0.3098203349908401</c:v>
                </c:pt>
                <c:pt idx="14">
                  <c:v>0.30932595298087534</c:v>
                </c:pt>
                <c:pt idx="15">
                  <c:v>0.299859563043304</c:v>
                </c:pt>
                <c:pt idx="16">
                  <c:v>0.3313448828581861</c:v>
                </c:pt>
                <c:pt idx="17">
                  <c:v>0.32874919333907077</c:v>
                </c:pt>
                <c:pt idx="18">
                  <c:v>0.3431288223380491</c:v>
                </c:pt>
                <c:pt idx="19">
                  <c:v>0.3295826714922596</c:v>
                </c:pt>
                <c:pt idx="20">
                  <c:v>0.33563291175223153</c:v>
                </c:pt>
                <c:pt idx="21">
                  <c:v>0.2936157663007739</c:v>
                </c:pt>
                <c:pt idx="22">
                  <c:v>0.3307436119173621</c:v>
                </c:pt>
                <c:pt idx="23">
                  <c:v>0.29424963712431695</c:v>
                </c:pt>
                <c:pt idx="24">
                  <c:v>0.2388397514945493</c:v>
                </c:pt>
                <c:pt idx="25">
                  <c:v>0.2510371999509114</c:v>
                </c:pt>
                <c:pt idx="26">
                  <c:v>0.2738826893436088</c:v>
                </c:pt>
                <c:pt idx="27">
                  <c:v>0.29647818889122274</c:v>
                </c:pt>
                <c:pt idx="28">
                  <c:v>0.32975844292801576</c:v>
                </c:pt>
                <c:pt idx="29">
                  <c:v>0.32873457916171733</c:v>
                </c:pt>
                <c:pt idx="30">
                  <c:v>0.2825495013439847</c:v>
                </c:pt>
                <c:pt idx="31">
                  <c:v>0.32309320070511205</c:v>
                </c:pt>
                <c:pt idx="32">
                  <c:v>0.31916083821541236</c:v>
                </c:pt>
                <c:pt idx="33">
                  <c:v>0.3188587875459442</c:v>
                </c:pt>
                <c:pt idx="34">
                  <c:v>0.3306383929434952</c:v>
                </c:pt>
                <c:pt idx="35">
                  <c:v>0.3158088722043039</c:v>
                </c:pt>
                <c:pt idx="36">
                  <c:v>0.3088396922889186</c:v>
                </c:pt>
                <c:pt idx="37">
                  <c:v>0.3174696905275677</c:v>
                </c:pt>
                <c:pt idx="38">
                  <c:v>0.33928041798700836</c:v>
                </c:pt>
                <c:pt idx="39">
                  <c:v>0.3035228250768556</c:v>
                </c:pt>
                <c:pt idx="40">
                  <c:v>0.29371732375425313</c:v>
                </c:pt>
                <c:pt idx="41">
                  <c:v>0.3399045614709652</c:v>
                </c:pt>
                <c:pt idx="42">
                  <c:v>0.32829768667349185</c:v>
                </c:pt>
                <c:pt idx="43">
                  <c:v>0.3342041628703569</c:v>
                </c:pt>
                <c:pt idx="44">
                  <c:v>0.3445979168477059</c:v>
                </c:pt>
                <c:pt idx="45">
                  <c:v>0.32977201754585334</c:v>
                </c:pt>
                <c:pt idx="46">
                  <c:v>0.33779381965453487</c:v>
                </c:pt>
                <c:pt idx="47">
                  <c:v>0.32248520597423724</c:v>
                </c:pt>
                <c:pt idx="48">
                  <c:v>0.32290142717945775</c:v>
                </c:pt>
                <c:pt idx="49">
                  <c:v>0.30730673243555934</c:v>
                </c:pt>
                <c:pt idx="50">
                  <c:v>0.2911256344693658</c:v>
                </c:pt>
                <c:pt idx="51">
                  <c:v>0.29306262307629677</c:v>
                </c:pt>
                <c:pt idx="52">
                  <c:v>0.18805233803097743</c:v>
                </c:pt>
                <c:pt idx="53">
                  <c:v>-0.09838308665748083</c:v>
                </c:pt>
                <c:pt idx="54">
                  <c:v>0.45414051551694096</c:v>
                </c:pt>
              </c:numCache>
            </c:numRef>
          </c:xVal>
          <c:yVal>
            <c:numRef>
              <c:f>Sheet1!$B$134:$B$188</c:f>
              <c:numCache>
                <c:formatCode>General</c:formatCode>
                <c:ptCount val="55"/>
                <c:pt idx="0">
                  <c:v>0.8717310059574649</c:v>
                </c:pt>
                <c:pt idx="1">
                  <c:v>0.8690045188250858</c:v>
                </c:pt>
                <c:pt idx="2">
                  <c:v>0.8667537683975852</c:v>
                </c:pt>
                <c:pt idx="3">
                  <c:v>0.8667878094616811</c:v>
                </c:pt>
                <c:pt idx="4">
                  <c:v>0.8583849226655502</c:v>
                </c:pt>
                <c:pt idx="5">
                  <c:v>0.8688844307655769</c:v>
                </c:pt>
                <c:pt idx="6">
                  <c:v>0.8720711035890287</c:v>
                </c:pt>
                <c:pt idx="7">
                  <c:v>0.8753987745798033</c:v>
                </c:pt>
                <c:pt idx="8">
                  <c:v>0.8633313021139674</c:v>
                </c:pt>
                <c:pt idx="9">
                  <c:v>0.8695915681590782</c:v>
                </c:pt>
                <c:pt idx="10">
                  <c:v>0.8679967620391029</c:v>
                </c:pt>
                <c:pt idx="11">
                  <c:v>0.8746058472336156</c:v>
                </c:pt>
                <c:pt idx="12">
                  <c:v>0.871889020584485</c:v>
                </c:pt>
                <c:pt idx="13">
                  <c:v>0.8723092158428616</c:v>
                </c:pt>
                <c:pt idx="14">
                  <c:v>0.8724165301572846</c:v>
                </c:pt>
                <c:pt idx="15">
                  <c:v>0.8744713766641076</c:v>
                </c:pt>
                <c:pt idx="16">
                  <c:v>0.8676369339816828</c:v>
                </c:pt>
                <c:pt idx="17">
                  <c:v>0.8682003740656352</c:v>
                </c:pt>
                <c:pt idx="18">
                  <c:v>0.8650790225670362</c:v>
                </c:pt>
                <c:pt idx="19">
                  <c:v>0.8680194529665797</c:v>
                </c:pt>
                <c:pt idx="20">
                  <c:v>0.8667061418579489</c:v>
                </c:pt>
                <c:pt idx="21">
                  <c:v>0.8758267026131031</c:v>
                </c:pt>
                <c:pt idx="22">
                  <c:v>0.8677674504193696</c:v>
                </c:pt>
                <c:pt idx="23">
                  <c:v>0.8756891097972437</c:v>
                </c:pt>
                <c:pt idx="24">
                  <c:v>0.8877168004671463</c:v>
                </c:pt>
                <c:pt idx="25">
                  <c:v>0.8850691296530346</c:v>
                </c:pt>
                <c:pt idx="26">
                  <c:v>0.8801101141904528</c:v>
                </c:pt>
                <c:pt idx="27">
                  <c:v>0.8752053634225749</c:v>
                </c:pt>
                <c:pt idx="28">
                  <c:v>0.8679812986835695</c:v>
                </c:pt>
                <c:pt idx="29">
                  <c:v>0.8682035463299812</c:v>
                </c:pt>
                <c:pt idx="30">
                  <c:v>0.8782288301442948</c:v>
                </c:pt>
                <c:pt idx="31">
                  <c:v>0.869428106789847</c:v>
                </c:pt>
                <c:pt idx="32">
                  <c:v>0.8702816952622013</c:v>
                </c:pt>
                <c:pt idx="33">
                  <c:v>0.8703472606749018</c:v>
                </c:pt>
                <c:pt idx="34">
                  <c:v>0.8677902900490836</c:v>
                </c:pt>
                <c:pt idx="35">
                  <c:v>0.871009298466204</c:v>
                </c:pt>
                <c:pt idx="36">
                  <c:v>0.8725220815967312</c:v>
                </c:pt>
                <c:pt idx="37">
                  <c:v>0.870648788625332</c:v>
                </c:pt>
                <c:pt idx="38">
                  <c:v>0.8659143864480646</c:v>
                </c:pt>
                <c:pt idx="39">
                  <c:v>0.8736762011808598</c:v>
                </c:pt>
                <c:pt idx="40">
                  <c:v>0.8758046577808175</c:v>
                </c:pt>
                <c:pt idx="41">
                  <c:v>0.865778905122425</c:v>
                </c:pt>
                <c:pt idx="42">
                  <c:v>0.8682983815321235</c:v>
                </c:pt>
                <c:pt idx="43">
                  <c:v>0.8670162769430667</c:v>
                </c:pt>
                <c:pt idx="44">
                  <c:v>0.8647601297534854</c:v>
                </c:pt>
                <c:pt idx="45">
                  <c:v>0.8679783520739085</c:v>
                </c:pt>
                <c:pt idx="46">
                  <c:v>0.8662370787743556</c:v>
                </c:pt>
                <c:pt idx="47">
                  <c:v>0.8695600827444765</c:v>
                </c:pt>
                <c:pt idx="48">
                  <c:v>0.8694697346080429</c:v>
                </c:pt>
                <c:pt idx="49">
                  <c:v>0.8728548375069091</c:v>
                </c:pt>
                <c:pt idx="50">
                  <c:v>0.8763672295435425</c:v>
                </c:pt>
                <c:pt idx="51">
                  <c:v>0.8759467720831002</c:v>
                </c:pt>
                <c:pt idx="52">
                  <c:v>0.8987411022162214</c:v>
                </c:pt>
                <c:pt idx="53">
                  <c:v>0.960916951270928</c:v>
                </c:pt>
                <c:pt idx="54">
                  <c:v>0.84098198119757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clipso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623445825932504"/>
          <c:min val="0.582564102564102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3</c:f>
              <c:numCache>
                <c:formatCode>General</c:formatCode>
                <c:ptCount val="52"/>
                <c:pt idx="0">
                  <c:v>1164.6827</c:v>
                </c:pt>
                <c:pt idx="1">
                  <c:v>1175.0456</c:v>
                </c:pt>
                <c:pt idx="2">
                  <c:v>1260.9617</c:v>
                </c:pt>
                <c:pt idx="3">
                  <c:v>1250.011</c:v>
                </c:pt>
                <c:pt idx="4">
                  <c:v>1239.8537</c:v>
                </c:pt>
                <c:pt idx="5">
                  <c:v>1217.6274</c:v>
                </c:pt>
                <c:pt idx="6">
                  <c:v>1191.1152</c:v>
                </c:pt>
                <c:pt idx="7">
                  <c:v>1223.132</c:v>
                </c:pt>
                <c:pt idx="8">
                  <c:v>1203.963</c:v>
                </c:pt>
                <c:pt idx="9">
                  <c:v>1208.7234</c:v>
                </c:pt>
                <c:pt idx="10">
                  <c:v>1235.0471</c:v>
                </c:pt>
                <c:pt idx="11">
                  <c:v>1245.3573</c:v>
                </c:pt>
                <c:pt idx="12">
                  <c:v>1217.8554</c:v>
                </c:pt>
                <c:pt idx="13">
                  <c:v>1143.4544</c:v>
                </c:pt>
                <c:pt idx="14">
                  <c:v>1068.0791</c:v>
                </c:pt>
                <c:pt idx="15">
                  <c:v>1052.7899</c:v>
                </c:pt>
                <c:pt idx="16">
                  <c:v>1059.3938</c:v>
                </c:pt>
                <c:pt idx="17">
                  <c:v>1017.1839</c:v>
                </c:pt>
                <c:pt idx="18">
                  <c:v>1066.5405</c:v>
                </c:pt>
                <c:pt idx="19">
                  <c:v>1112.5649</c:v>
                </c:pt>
                <c:pt idx="20">
                  <c:v>1150.0814</c:v>
                </c:pt>
                <c:pt idx="21">
                  <c:v>1067.0731</c:v>
                </c:pt>
                <c:pt idx="22">
                  <c:v>1088.1826</c:v>
                </c:pt>
                <c:pt idx="23">
                  <c:v>1009.0964</c:v>
                </c:pt>
                <c:pt idx="24">
                  <c:v>977.5697</c:v>
                </c:pt>
                <c:pt idx="25">
                  <c:v>1094.7472</c:v>
                </c:pt>
                <c:pt idx="26">
                  <c:v>562.7621</c:v>
                </c:pt>
                <c:pt idx="27">
                  <c:v>546.6804</c:v>
                </c:pt>
                <c:pt idx="28">
                  <c:v>821.7277</c:v>
                </c:pt>
                <c:pt idx="29">
                  <c:v>823.4193</c:v>
                </c:pt>
                <c:pt idx="30">
                  <c:v>896.9982</c:v>
                </c:pt>
                <c:pt idx="31">
                  <c:v>870.0179</c:v>
                </c:pt>
                <c:pt idx="32">
                  <c:v>938.5884</c:v>
                </c:pt>
                <c:pt idx="33">
                  <c:v>1175.0958</c:v>
                </c:pt>
                <c:pt idx="34">
                  <c:v>1212.2913</c:v>
                </c:pt>
                <c:pt idx="35">
                  <c:v>1220.6364</c:v>
                </c:pt>
                <c:pt idx="36">
                  <c:v>1114.3973</c:v>
                </c:pt>
                <c:pt idx="37">
                  <c:v>1160.1255</c:v>
                </c:pt>
                <c:pt idx="38">
                  <c:v>1225.3239</c:v>
                </c:pt>
                <c:pt idx="39">
                  <c:v>1307.7109</c:v>
                </c:pt>
                <c:pt idx="40">
                  <c:v>1385.5024</c:v>
                </c:pt>
                <c:pt idx="41">
                  <c:v>1320.2642</c:v>
                </c:pt>
                <c:pt idx="42">
                  <c:v>1447.3278</c:v>
                </c:pt>
                <c:pt idx="43">
                  <c:v>1333.89</c:v>
                </c:pt>
                <c:pt idx="44">
                  <c:v>1368.6377</c:v>
                </c:pt>
                <c:pt idx="45">
                  <c:v>1372.257</c:v>
                </c:pt>
                <c:pt idx="46">
                  <c:v>1340.0481</c:v>
                </c:pt>
                <c:pt idx="47">
                  <c:v>1287.5908</c:v>
                </c:pt>
                <c:pt idx="48">
                  <c:v>1374.8637</c:v>
                </c:pt>
                <c:pt idx="49">
                  <c:v>1450.0014</c:v>
                </c:pt>
                <c:pt idx="50">
                  <c:v>1398.1028</c:v>
                </c:pt>
                <c:pt idx="51">
                  <c:v>1437.3107</c:v>
                </c:pt>
              </c:numCache>
            </c:numRef>
          </c:xVal>
          <c:yVal>
            <c:numRef>
              <c:f>Sheet1!$B$2:$B$53</c:f>
              <c:numCache>
                <c:formatCode>General</c:formatCode>
                <c:ptCount val="52"/>
                <c:pt idx="0">
                  <c:v>0.9575952764358562</c:v>
                </c:pt>
                <c:pt idx="1">
                  <c:v>0.9585201793721974</c:v>
                </c:pt>
                <c:pt idx="2">
                  <c:v>0.9652271452607964</c:v>
                </c:pt>
                <c:pt idx="3">
                  <c:v>0.9686204854943754</c:v>
                </c:pt>
                <c:pt idx="4">
                  <c:v>0.9611324376199616</c:v>
                </c:pt>
                <c:pt idx="5">
                  <c:v>0.9593908629441624</c:v>
                </c:pt>
                <c:pt idx="6">
                  <c:v>0.9608307045215563</c:v>
                </c:pt>
                <c:pt idx="7">
                  <c:v>0.9560185185185185</c:v>
                </c:pt>
                <c:pt idx="8">
                  <c:v>0.9352703199705774</c:v>
                </c:pt>
                <c:pt idx="9">
                  <c:v>0.9363081617086194</c:v>
                </c:pt>
                <c:pt idx="10">
                  <c:v>0.9389819791337338</c:v>
                </c:pt>
                <c:pt idx="11">
                  <c:v>0.9265125118783656</c:v>
                </c:pt>
                <c:pt idx="12">
                  <c:v>0.94670245398773</c:v>
                </c:pt>
                <c:pt idx="13">
                  <c:v>0.9504587155963303</c:v>
                </c:pt>
                <c:pt idx="14">
                  <c:v>0.9546279491833031</c:v>
                </c:pt>
                <c:pt idx="15">
                  <c:v>0.9569798068481123</c:v>
                </c:pt>
                <c:pt idx="16">
                  <c:v>0.9554020100502513</c:v>
                </c:pt>
                <c:pt idx="17">
                  <c:v>0.8624514697726012</c:v>
                </c:pt>
                <c:pt idx="18">
                  <c:v>0.9473684210526315</c:v>
                </c:pt>
                <c:pt idx="19">
                  <c:v>0.9482645710543549</c:v>
                </c:pt>
                <c:pt idx="20">
                  <c:v>0.9394473838918284</c:v>
                </c:pt>
                <c:pt idx="21">
                  <c:v>0.9502724795640327</c:v>
                </c:pt>
                <c:pt idx="22">
                  <c:v>0.96</c:v>
                </c:pt>
                <c:pt idx="23">
                  <c:v>0.9580184718723762</c:v>
                </c:pt>
                <c:pt idx="24">
                  <c:v>0.7512853470437018</c:v>
                </c:pt>
                <c:pt idx="25">
                  <c:v>0.9200415368639667</c:v>
                </c:pt>
                <c:pt idx="26">
                  <c:v>0.9050456893126738</c:v>
                </c:pt>
                <c:pt idx="27">
                  <c:v>0.8945981554677207</c:v>
                </c:pt>
                <c:pt idx="28">
                  <c:v>0.9523269012485811</c:v>
                </c:pt>
                <c:pt idx="29">
                  <c:v>0.9666666666666667</c:v>
                </c:pt>
                <c:pt idx="30">
                  <c:v>0.9553805774278216</c:v>
                </c:pt>
                <c:pt idx="31">
                  <c:v>0.9624060150375939</c:v>
                </c:pt>
                <c:pt idx="32">
                  <c:v>0.9523346303501945</c:v>
                </c:pt>
                <c:pt idx="33">
                  <c:v>0.9315424610051993</c:v>
                </c:pt>
                <c:pt idx="34">
                  <c:v>0.941397445529677</c:v>
                </c:pt>
                <c:pt idx="35">
                  <c:v>0.9395833333333333</c:v>
                </c:pt>
                <c:pt idx="36">
                  <c:v>0.9398410896708286</c:v>
                </c:pt>
                <c:pt idx="37">
                  <c:v>0.9375</c:v>
                </c:pt>
                <c:pt idx="38">
                  <c:v>0.9382093316519546</c:v>
                </c:pt>
                <c:pt idx="39">
                  <c:v>0.9294605809128631</c:v>
                </c:pt>
                <c:pt idx="40">
                  <c:v>0.9361233480176211</c:v>
                </c:pt>
                <c:pt idx="41">
                  <c:v>0.9464285714285714</c:v>
                </c:pt>
                <c:pt idx="42">
                  <c:v>0.9389799635701275</c:v>
                </c:pt>
                <c:pt idx="43">
                  <c:v>0.9387387387387387</c:v>
                </c:pt>
                <c:pt idx="44">
                  <c:v>0.944935064935065</c:v>
                </c:pt>
                <c:pt idx="45">
                  <c:v>0.93375</c:v>
                </c:pt>
                <c:pt idx="46">
                  <c:v>0.9344900849858357</c:v>
                </c:pt>
                <c:pt idx="47">
                  <c:v>0.9429193899782136</c:v>
                </c:pt>
                <c:pt idx="48">
                  <c:v>0.9307467667918231</c:v>
                </c:pt>
                <c:pt idx="49">
                  <c:v>0.9022741241548863</c:v>
                </c:pt>
                <c:pt idx="50">
                  <c:v>0.9129451667608819</c:v>
                </c:pt>
                <c:pt idx="51">
                  <c:v>0.9110512129380054</c:v>
                </c:pt>
              </c:numCache>
            </c:numRef>
          </c:yVal>
          <c:smooth val="0"/>
          <c:extLst>
            <c:ext xmlns:c16="http://schemas.microsoft.com/office/drawing/2014/chart" uri="{C3380CC4-5D6E-409C-BE32-E72D297353CC}">
              <c16:uniqueId val="{00000000-F32D-48B7-BC20-E66FC6253BAD}"/>
            </c:ext>
          </c:extLst>
        </c:ser>
        <c:ser>
          <c:idx val="1"/>
          <c:order val="1"/>
          <c:tx>
            <c:strRef>
              <c:f>Sheet1!$B$5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6:$A$107</c:f>
              <c:numCache>
                <c:formatCode>General</c:formatCode>
                <c:ptCount val="52"/>
                <c:pt idx="0">
                  <c:v>1442.9733</c:v>
                </c:pt>
                <c:pt idx="1">
                  <c:v>1467.0726</c:v>
                </c:pt>
                <c:pt idx="2">
                  <c:v>1463.4607</c:v>
                </c:pt>
                <c:pt idx="3">
                  <c:v>1517.0633</c:v>
                </c:pt>
                <c:pt idx="4">
                  <c:v>1489.105</c:v>
                </c:pt>
                <c:pt idx="5">
                  <c:v>1515.4564</c:v>
                </c:pt>
                <c:pt idx="6">
                  <c:v>1429.1091</c:v>
                </c:pt>
                <c:pt idx="7">
                  <c:v>1481.4829</c:v>
                </c:pt>
                <c:pt idx="8">
                  <c:v>1543.107</c:v>
                </c:pt>
                <c:pt idx="9">
                  <c:v>1469.119</c:v>
                </c:pt>
                <c:pt idx="10">
                  <c:v>1486.036</c:v>
                </c:pt>
                <c:pt idx="11">
                  <c:v>1356.2601</c:v>
                </c:pt>
                <c:pt idx="12">
                  <c:v>1377.9437</c:v>
                </c:pt>
                <c:pt idx="13">
                  <c:v>1420.5882</c:v>
                </c:pt>
                <c:pt idx="14">
                  <c:v>1433.3821</c:v>
                </c:pt>
                <c:pt idx="15">
                  <c:v>1439.0966</c:v>
                </c:pt>
                <c:pt idx="16">
                  <c:v>1533.9059</c:v>
                </c:pt>
                <c:pt idx="17">
                  <c:v>1504.0892</c:v>
                </c:pt>
                <c:pt idx="18">
                  <c:v>1488.3703</c:v>
                </c:pt>
                <c:pt idx="19">
                  <c:v>1618.4926</c:v>
                </c:pt>
                <c:pt idx="20">
                  <c:v>1599.8662</c:v>
                </c:pt>
                <c:pt idx="21">
                  <c:v>1530.0073</c:v>
                </c:pt>
                <c:pt idx="22">
                  <c:v>1571.2267</c:v>
                </c:pt>
                <c:pt idx="23">
                  <c:v>1378.5007</c:v>
                </c:pt>
                <c:pt idx="24">
                  <c:v>1273.4637</c:v>
                </c:pt>
                <c:pt idx="25">
                  <c:v>1212.213</c:v>
                </c:pt>
                <c:pt idx="26">
                  <c:v>1288.2757</c:v>
                </c:pt>
                <c:pt idx="27">
                  <c:v>1436.758</c:v>
                </c:pt>
                <c:pt idx="28">
                  <c:v>1555.0901</c:v>
                </c:pt>
                <c:pt idx="29">
                  <c:v>1549.7863</c:v>
                </c:pt>
                <c:pt idx="30">
                  <c:v>1405.931</c:v>
                </c:pt>
                <c:pt idx="31">
                  <c:v>1283.0031</c:v>
                </c:pt>
                <c:pt idx="32">
                  <c:v>1416.4358</c:v>
                </c:pt>
                <c:pt idx="33">
                  <c:v>1478.2559</c:v>
                </c:pt>
                <c:pt idx="34">
                  <c:v>1528.1598</c:v>
                </c:pt>
                <c:pt idx="35">
                  <c:v>1493.2233</c:v>
                </c:pt>
                <c:pt idx="36">
                  <c:v>1477.5234</c:v>
                </c:pt>
                <c:pt idx="37">
                  <c:v>1534.7062</c:v>
                </c:pt>
                <c:pt idx="38">
                  <c:v>1462.8538</c:v>
                </c:pt>
                <c:pt idx="39">
                  <c:v>1461.513</c:v>
                </c:pt>
                <c:pt idx="40">
                  <c:v>1471.4014</c:v>
                </c:pt>
                <c:pt idx="41">
                  <c:v>1548.7906</c:v>
                </c:pt>
                <c:pt idx="42">
                  <c:v>1513.5481</c:v>
                </c:pt>
                <c:pt idx="43">
                  <c:v>1505.454</c:v>
                </c:pt>
                <c:pt idx="44">
                  <c:v>1503.72</c:v>
                </c:pt>
                <c:pt idx="45">
                  <c:v>1450.9639</c:v>
                </c:pt>
                <c:pt idx="46">
                  <c:v>1473.7842</c:v>
                </c:pt>
                <c:pt idx="47">
                  <c:v>1440.0147</c:v>
                </c:pt>
                <c:pt idx="48">
                  <c:v>1408.4153</c:v>
                </c:pt>
                <c:pt idx="49">
                  <c:v>1406.9406</c:v>
                </c:pt>
                <c:pt idx="50">
                  <c:v>1287.7081</c:v>
                </c:pt>
                <c:pt idx="51">
                  <c:v>1281.8155</c:v>
                </c:pt>
              </c:numCache>
            </c:numRef>
          </c:xVal>
          <c:yVal>
            <c:numRef>
              <c:f>Sheet1!$B$56:$B$107</c:f>
              <c:numCache>
                <c:formatCode>General</c:formatCode>
                <c:ptCount val="52"/>
                <c:pt idx="0">
                  <c:v>0.9124513618677043</c:v>
                </c:pt>
                <c:pt idx="1">
                  <c:v>0.8898876404494382</c:v>
                </c:pt>
                <c:pt idx="2">
                  <c:v>0.9036964980544747</c:v>
                </c:pt>
                <c:pt idx="3">
                  <c:v>0.9015080113100848</c:v>
                </c:pt>
                <c:pt idx="4">
                  <c:v>0.8985801217038539</c:v>
                </c:pt>
                <c:pt idx="5">
                  <c:v>0.8918495297805643</c:v>
                </c:pt>
                <c:pt idx="6">
                  <c:v>0.9110779930452062</c:v>
                </c:pt>
                <c:pt idx="7">
                  <c:v>0.9057315233785822</c:v>
                </c:pt>
                <c:pt idx="8">
                  <c:v>0.8738872403560831</c:v>
                </c:pt>
                <c:pt idx="9">
                  <c:v>0.8785714285714286</c:v>
                </c:pt>
                <c:pt idx="10">
                  <c:v>0.8751515151515151</c:v>
                </c:pt>
                <c:pt idx="11">
                  <c:v>0.9029045643153527</c:v>
                </c:pt>
                <c:pt idx="12">
                  <c:v>0.8831583751711547</c:v>
                </c:pt>
                <c:pt idx="13">
                  <c:v>0.8964646464646465</c:v>
                </c:pt>
                <c:pt idx="14">
                  <c:v>0.90463645943098</c:v>
                </c:pt>
                <c:pt idx="15">
                  <c:v>0.8749266001174398</c:v>
                </c:pt>
                <c:pt idx="16">
                  <c:v>0.8835978835978836</c:v>
                </c:pt>
                <c:pt idx="17">
                  <c:v>0.8717948717948718</c:v>
                </c:pt>
                <c:pt idx="18">
                  <c:v>0.8744493392070485</c:v>
                </c:pt>
                <c:pt idx="19">
                  <c:v>0.8623518687329079</c:v>
                </c:pt>
                <c:pt idx="20">
                  <c:v>0.8658536585365854</c:v>
                </c:pt>
                <c:pt idx="21">
                  <c:v>0.8882921589688507</c:v>
                </c:pt>
                <c:pt idx="22">
                  <c:v>0.8626309662398137</c:v>
                </c:pt>
                <c:pt idx="23">
                  <c:v>0.8855054811205847</c:v>
                </c:pt>
                <c:pt idx="24">
                  <c:v>0.9040404040404041</c:v>
                </c:pt>
                <c:pt idx="25">
                  <c:v>0.8896484375</c:v>
                </c:pt>
                <c:pt idx="26">
                  <c:v>0.8895966029723992</c:v>
                </c:pt>
                <c:pt idx="27">
                  <c:v>0.8554216867469879</c:v>
                </c:pt>
                <c:pt idx="28">
                  <c:v>0.8647887323943662</c:v>
                </c:pt>
                <c:pt idx="29">
                  <c:v>0.8764331210191083</c:v>
                </c:pt>
                <c:pt idx="30">
                  <c:v>0.9016064257028112</c:v>
                </c:pt>
                <c:pt idx="31">
                  <c:v>0.8758526603001364</c:v>
                </c:pt>
                <c:pt idx="32">
                  <c:v>0.868421052631579</c:v>
                </c:pt>
                <c:pt idx="33">
                  <c:v>0.8731009830205541</c:v>
                </c:pt>
                <c:pt idx="34">
                  <c:v>0.8833732057416268</c:v>
                </c:pt>
                <c:pt idx="35">
                  <c:v>0.8636363636363636</c:v>
                </c:pt>
                <c:pt idx="36">
                  <c:v>0.8311688311688312</c:v>
                </c:pt>
                <c:pt idx="37">
                  <c:v>0.8365508365508365</c:v>
                </c:pt>
                <c:pt idx="38">
                  <c:v>0.8393939393939394</c:v>
                </c:pt>
                <c:pt idx="39">
                  <c:v>0.8444656488549618</c:v>
                </c:pt>
                <c:pt idx="40">
                  <c:v>0.7282051282051282</c:v>
                </c:pt>
                <c:pt idx="41">
                  <c:v>0.7897977132805629</c:v>
                </c:pt>
                <c:pt idx="42">
                  <c:v>0.8132530120481928</c:v>
                </c:pt>
                <c:pt idx="43">
                  <c:v>0.8099301784328937</c:v>
                </c:pt>
                <c:pt idx="44">
                  <c:v>0.8409556313993174</c:v>
                </c:pt>
                <c:pt idx="45">
                  <c:v>0.8696479543292103</c:v>
                </c:pt>
                <c:pt idx="46">
                  <c:v>0.8763906056860321</c:v>
                </c:pt>
                <c:pt idx="47">
                  <c:v>0.8796241926012919</c:v>
                </c:pt>
                <c:pt idx="48">
                  <c:v>0.8632521133764296</c:v>
                </c:pt>
                <c:pt idx="49">
                  <c:v>0.8616274266831888</c:v>
                </c:pt>
                <c:pt idx="50">
                  <c:v>0.888130968622101</c:v>
                </c:pt>
                <c:pt idx="51">
                  <c:v>0.867485182049111</c:v>
                </c:pt>
              </c:numCache>
            </c:numRef>
          </c:yVal>
          <c:smooth val="0"/>
          <c:extLst>
            <c:ext xmlns:c16="http://schemas.microsoft.com/office/drawing/2014/chart" uri="{C3380CC4-5D6E-409C-BE32-E72D297353CC}">
              <c16:uniqueId val="{00000002-F32D-48B7-BC20-E66FC6253BAD}"/>
            </c:ext>
          </c:extLst>
        </c:ser>
        <c:ser>
          <c:idx val="2"/>
          <c:order val="2"/>
          <c:tx>
            <c:strRef>
              <c:f>Sheet1!$B$109</c:f>
              <c:strCache>
                <c:ptCount val="1"/>
                <c:pt idx="0">
                  <c:v>Custom Linep3yQ</c:v>
                </c:pt>
              </c:strCache>
            </c:strRef>
          </c:tx>
          <c:spPr>
            <a:ln w="19050" cap="rnd">
              <a:solidFill>
                <a:srgbClr val="C00000"/>
              </a:solidFill>
              <a:prstDash val="sysDot"/>
              <a:round/>
            </a:ln>
            <a:effectLst/>
          </c:spPr>
          <c:marker>
            <c:symbol val="none"/>
          </c:marker>
          <c:xVal>
            <c:numRef>
              <c:f>Sheet1!$A$110:$A$111</c:f>
              <c:numCache>
                <c:formatCode>General</c:formatCode>
                <c:ptCount val="2"/>
                <c:pt idx="0">
                  <c:v>0</c:v>
                </c:pt>
                <c:pt idx="1">
                  <c:v>616.8718965226703</c:v>
                </c:pt>
              </c:numCache>
            </c:numRef>
          </c:xVal>
          <c:yVal>
            <c:numRef>
              <c:f>Sheet1!$B$110:$B$111</c:f>
              <c:numCache>
                <c:formatCode>General</c:formatCode>
                <c:ptCount val="2"/>
                <c:pt idx="0">
                  <c:v>0.960916951270928</c:v>
                </c:pt>
                <c:pt idx="1">
                  <c:v>0.960916951270928</c:v>
                </c:pt>
              </c:numCache>
            </c:numRef>
          </c:yVal>
          <c:smooth val="0"/>
          <c:extLst>
            <c:ext xmlns:c16="http://schemas.microsoft.com/office/drawing/2014/chart" uri="{C3380CC4-5D6E-409C-BE32-E72D297353CC}">
              <c16:uniqueId val="{00000003-F32D-48B7-BC20-E66FC6253BAD}"/>
            </c:ext>
          </c:extLst>
        </c:ser>
        <c:ser>
          <c:idx val="3"/>
          <c:order val="3"/>
          <c:tx>
            <c:strRef>
              <c:f>Sheet1!$B$1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616.8718965226703</c:v>
                </c:pt>
                <c:pt idx="1">
                  <c:v>616.8718965226703</c:v>
                </c:pt>
              </c:numCache>
            </c:numRef>
          </c:xVal>
          <c:yVal>
            <c:numRef>
              <c:f>Sheet1!$B$114:$B$115</c:f>
              <c:numCache>
                <c:formatCode>General</c:formatCode>
                <c:ptCount val="2"/>
                <c:pt idx="0">
                  <c:v>0.96091695127092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8:$A$119</c:f>
              <c:numCache>
                <c:formatCode>General</c:formatCode>
                <c:ptCount val="2"/>
                <c:pt idx="0">
                  <c:v>0</c:v>
                </c:pt>
                <c:pt idx="1">
                  <c:v>1196.1288862893387</c:v>
                </c:pt>
              </c:numCache>
            </c:numRef>
          </c:xVal>
          <c:yVal>
            <c:numRef>
              <c:f>Sheet1!$B$118:$B$119</c:f>
              <c:numCache>
                <c:formatCode>General</c:formatCode>
                <c:ptCount val="2"/>
                <c:pt idx="0">
                  <c:v>0.8987411022162214</c:v>
                </c:pt>
                <c:pt idx="1">
                  <c:v>0.8987411022162214</c:v>
                </c:pt>
              </c:numCache>
            </c:numRef>
          </c:yVal>
          <c:smooth val="0"/>
          <c:extLst>
            <c:ext xmlns:c16="http://schemas.microsoft.com/office/drawing/2014/chart" uri="{C3380CC4-5D6E-409C-BE32-E72D297353CC}">
              <c16:uniqueId val="{0000000A-F32D-48B7-BC20-E66FC6253BAD}"/>
            </c:ext>
          </c:extLst>
        </c:ser>
        <c:ser>
          <c:idx val="5"/>
          <c:order val="5"/>
          <c:tx>
            <c:strRef>
              <c:f>Sheet1!$B$1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196.1288862893387</c:v>
                </c:pt>
                <c:pt idx="1">
                  <c:v>1196.1288862893387</c:v>
                </c:pt>
              </c:numCache>
            </c:numRef>
          </c:xVal>
          <c:yVal>
            <c:numRef>
              <c:f>Sheet1!$B$122:$B$123</c:f>
              <c:numCache>
                <c:formatCode>General</c:formatCode>
                <c:ptCount val="2"/>
                <c:pt idx="0">
                  <c:v>0.898741102216221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6:$A$127</c:f>
              <c:numCache>
                <c:formatCode>General</c:formatCode>
                <c:ptCount val="2"/>
                <c:pt idx="0">
                  <c:v>0</c:v>
                </c:pt>
                <c:pt idx="1">
                  <c:v>1734.2377353280413</c:v>
                </c:pt>
              </c:numCache>
            </c:numRef>
          </c:xVal>
          <c:yVal>
            <c:numRef>
              <c:f>Sheet1!$B$126:$B$127</c:f>
              <c:numCache>
                <c:formatCode>General</c:formatCode>
                <c:ptCount val="2"/>
                <c:pt idx="0">
                  <c:v>0.8409819811975707</c:v>
                </c:pt>
                <c:pt idx="1">
                  <c:v>0.8409819811975707</c:v>
                </c:pt>
              </c:numCache>
            </c:numRef>
          </c:yVal>
          <c:smooth val="0"/>
          <c:extLst>
            <c:ext xmlns:c16="http://schemas.microsoft.com/office/drawing/2014/chart" uri="{C3380CC4-5D6E-409C-BE32-E72D297353CC}">
              <c16:uniqueId val="{00000011-F32D-48B7-BC20-E66FC6253BAD}"/>
            </c:ext>
          </c:extLst>
        </c:ser>
        <c:ser>
          <c:idx val="7"/>
          <c:order val="7"/>
          <c:tx>
            <c:strRef>
              <c:f>Sheet1!$B$1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0:$A$131</c:f>
              <c:numCache>
                <c:formatCode>General</c:formatCode>
                <c:ptCount val="2"/>
                <c:pt idx="0">
                  <c:v>1734.2377353280413</c:v>
                </c:pt>
                <c:pt idx="1">
                  <c:v>1734.2377353280413</c:v>
                </c:pt>
              </c:numCache>
            </c:numRef>
          </c:xVal>
          <c:yVal>
            <c:numRef>
              <c:f>Sheet1!$B$130:$B$131</c:f>
              <c:numCache>
                <c:formatCode>General</c:formatCode>
                <c:ptCount val="2"/>
                <c:pt idx="0">
                  <c:v>0.84098198119757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4:$A$188</c:f>
              <c:numCache>
                <c:formatCode>General</c:formatCode>
                <c:ptCount val="55"/>
                <c:pt idx="0">
                  <c:v>1442.9733</c:v>
                </c:pt>
                <c:pt idx="1">
                  <c:v>1467.0726</c:v>
                </c:pt>
                <c:pt idx="2">
                  <c:v>1463.4607</c:v>
                </c:pt>
                <c:pt idx="3">
                  <c:v>1517.0633</c:v>
                </c:pt>
                <c:pt idx="4">
                  <c:v>1489.105</c:v>
                </c:pt>
                <c:pt idx="5">
                  <c:v>1515.4564</c:v>
                </c:pt>
                <c:pt idx="6">
                  <c:v>1429.1091</c:v>
                </c:pt>
                <c:pt idx="7">
                  <c:v>1481.4829</c:v>
                </c:pt>
                <c:pt idx="8">
                  <c:v>1543.107</c:v>
                </c:pt>
                <c:pt idx="9">
                  <c:v>1469.119</c:v>
                </c:pt>
                <c:pt idx="10">
                  <c:v>1486.036</c:v>
                </c:pt>
                <c:pt idx="11">
                  <c:v>1356.2601</c:v>
                </c:pt>
                <c:pt idx="12">
                  <c:v>1377.9437</c:v>
                </c:pt>
                <c:pt idx="13">
                  <c:v>1420.5882</c:v>
                </c:pt>
                <c:pt idx="14">
                  <c:v>1433.3821</c:v>
                </c:pt>
                <c:pt idx="15">
                  <c:v>1439.0966</c:v>
                </c:pt>
                <c:pt idx="16">
                  <c:v>1533.9059</c:v>
                </c:pt>
                <c:pt idx="17">
                  <c:v>1504.0892</c:v>
                </c:pt>
                <c:pt idx="18">
                  <c:v>1488.3703</c:v>
                </c:pt>
                <c:pt idx="19">
                  <c:v>1618.4926</c:v>
                </c:pt>
                <c:pt idx="20">
                  <c:v>1599.8662</c:v>
                </c:pt>
                <c:pt idx="21">
                  <c:v>1530.0073</c:v>
                </c:pt>
                <c:pt idx="22">
                  <c:v>1571.2267</c:v>
                </c:pt>
                <c:pt idx="23">
                  <c:v>1378.5007</c:v>
                </c:pt>
                <c:pt idx="24">
                  <c:v>1273.4637</c:v>
                </c:pt>
                <c:pt idx="25">
                  <c:v>1212.213</c:v>
                </c:pt>
                <c:pt idx="26">
                  <c:v>1288.2757</c:v>
                </c:pt>
                <c:pt idx="27">
                  <c:v>1436.758</c:v>
                </c:pt>
                <c:pt idx="28">
                  <c:v>1555.0901</c:v>
                </c:pt>
                <c:pt idx="29">
                  <c:v>1549.7863</c:v>
                </c:pt>
                <c:pt idx="30">
                  <c:v>1405.931</c:v>
                </c:pt>
                <c:pt idx="31">
                  <c:v>1283.0031</c:v>
                </c:pt>
                <c:pt idx="32">
                  <c:v>1416.4358</c:v>
                </c:pt>
                <c:pt idx="33">
                  <c:v>1478.2559</c:v>
                </c:pt>
                <c:pt idx="34">
                  <c:v>1528.1598</c:v>
                </c:pt>
                <c:pt idx="35">
                  <c:v>1493.2233</c:v>
                </c:pt>
                <c:pt idx="36">
                  <c:v>1477.5234</c:v>
                </c:pt>
                <c:pt idx="37">
                  <c:v>1534.7062</c:v>
                </c:pt>
                <c:pt idx="38">
                  <c:v>1462.8538</c:v>
                </c:pt>
                <c:pt idx="39">
                  <c:v>1461.513</c:v>
                </c:pt>
                <c:pt idx="40">
                  <c:v>1471.4014</c:v>
                </c:pt>
                <c:pt idx="41">
                  <c:v>1548.7906</c:v>
                </c:pt>
                <c:pt idx="42">
                  <c:v>1513.5481</c:v>
                </c:pt>
                <c:pt idx="43">
                  <c:v>1505.454</c:v>
                </c:pt>
                <c:pt idx="44">
                  <c:v>1503.72</c:v>
                </c:pt>
                <c:pt idx="45">
                  <c:v>1450.9639</c:v>
                </c:pt>
                <c:pt idx="46">
                  <c:v>1473.7842</c:v>
                </c:pt>
                <c:pt idx="47">
                  <c:v>1440.0147</c:v>
                </c:pt>
                <c:pt idx="48">
                  <c:v>1408.4153</c:v>
                </c:pt>
                <c:pt idx="49">
                  <c:v>1406.9406</c:v>
                </c:pt>
                <c:pt idx="50">
                  <c:v>1287.7081</c:v>
                </c:pt>
                <c:pt idx="51">
                  <c:v>1281.8155</c:v>
                </c:pt>
                <c:pt idx="52">
                  <c:v>1196.1288862893387</c:v>
                </c:pt>
                <c:pt idx="53">
                  <c:v>616.8718965226703</c:v>
                </c:pt>
                <c:pt idx="54">
                  <c:v>1734.2377353280413</c:v>
                </c:pt>
              </c:numCache>
            </c:numRef>
          </c:xVal>
          <c:yVal>
            <c:numRef>
              <c:f>Sheet1!$B$134:$B$188</c:f>
              <c:numCache>
                <c:formatCode>General</c:formatCode>
                <c:ptCount val="55"/>
                <c:pt idx="0">
                  <c:v>0.8722455030641871</c:v>
                </c:pt>
                <c:pt idx="1">
                  <c:v>0.8696587506113118</c:v>
                </c:pt>
                <c:pt idx="2">
                  <c:v>0.8700464420041963</c:v>
                </c:pt>
                <c:pt idx="3">
                  <c:v>0.8642928866299533</c:v>
                </c:pt>
                <c:pt idx="4">
                  <c:v>0.8672938535087932</c:v>
                </c:pt>
                <c:pt idx="5">
                  <c:v>0.8644653668479068</c:v>
                </c:pt>
                <c:pt idx="6">
                  <c:v>0.8737336480873685</c:v>
                </c:pt>
                <c:pt idx="7">
                  <c:v>0.8681119887189885</c:v>
                </c:pt>
                <c:pt idx="8">
                  <c:v>0.8614974276391549</c:v>
                </c:pt>
                <c:pt idx="9">
                  <c:v>0.8694390956744646</c:v>
                </c:pt>
                <c:pt idx="10">
                  <c:v>0.8676232715117175</c:v>
                </c:pt>
                <c:pt idx="11">
                  <c:v>0.8815530590013583</c:v>
                </c:pt>
                <c:pt idx="12">
                  <c:v>0.8792256011296704</c:v>
                </c:pt>
                <c:pt idx="13">
                  <c:v>0.8746482580127898</c:v>
                </c:pt>
                <c:pt idx="14">
                  <c:v>0.8732749960422412</c:v>
                </c:pt>
                <c:pt idx="15">
                  <c:v>0.8726616173593768</c:v>
                </c:pt>
                <c:pt idx="16">
                  <c:v>0.8624850483581863</c:v>
                </c:pt>
                <c:pt idx="17">
                  <c:v>0.8656854907719347</c:v>
                </c:pt>
                <c:pt idx="18">
                  <c:v>0.8673727141822205</c:v>
                </c:pt>
                <c:pt idx="19">
                  <c:v>0.8534057450711353</c:v>
                </c:pt>
                <c:pt idx="20">
                  <c:v>0.8554050515193822</c:v>
                </c:pt>
                <c:pt idx="21">
                  <c:v>0.8629035133390272</c:v>
                </c:pt>
                <c:pt idx="22">
                  <c:v>0.8584791365290764</c:v>
                </c:pt>
                <c:pt idx="23">
                  <c:v>0.8791658142845649</c:v>
                </c:pt>
                <c:pt idx="24">
                  <c:v>0.8904401964198411</c:v>
                </c:pt>
                <c:pt idx="25">
                  <c:v>0.8970146777726327</c:v>
                </c:pt>
                <c:pt idx="26">
                  <c:v>0.8888503171564605</c:v>
                </c:pt>
                <c:pt idx="27">
                  <c:v>0.8729126362390245</c:v>
                </c:pt>
                <c:pt idx="28">
                  <c:v>0.8602111947063291</c:v>
                </c:pt>
                <c:pt idx="29">
                  <c:v>0.8607804899829371</c:v>
                </c:pt>
                <c:pt idx="30">
                  <c:v>0.8762215214707443</c:v>
                </c:pt>
                <c:pt idx="31">
                  <c:v>0.8894162635110446</c:v>
                </c:pt>
                <c:pt idx="32">
                  <c:v>0.8750939651862479</c:v>
                </c:pt>
                <c:pt idx="33">
                  <c:v>0.8684583660065208</c:v>
                </c:pt>
                <c:pt idx="34">
                  <c:v>0.8631018188979723</c:v>
                </c:pt>
                <c:pt idx="35">
                  <c:v>0.8668518065353675</c:v>
                </c:pt>
                <c:pt idx="36">
                  <c:v>0.8685369905380106</c:v>
                </c:pt>
                <c:pt idx="37">
                  <c:v>0.8623991463615293</c:v>
                </c:pt>
                <c:pt idx="38">
                  <c:v>0.8701115849777952</c:v>
                </c:pt>
                <c:pt idx="39">
                  <c:v>0.8702555027550258</c:v>
                </c:pt>
                <c:pt idx="40">
                  <c:v>0.8691941091479496</c:v>
                </c:pt>
                <c:pt idx="41">
                  <c:v>0.860887365677141</c:v>
                </c:pt>
                <c:pt idx="42">
                  <c:v>0.8646701985113088</c:v>
                </c:pt>
                <c:pt idx="43">
                  <c:v>0.8655389969008395</c:v>
                </c:pt>
                <c:pt idx="44">
                  <c:v>0.8657251196825504</c:v>
                </c:pt>
                <c:pt idx="45">
                  <c:v>0.8713878140794471</c:v>
                </c:pt>
                <c:pt idx="46">
                  <c:v>0.8689383459621014</c:v>
                </c:pt>
                <c:pt idx="47">
                  <c:v>0.8725630710353347</c:v>
                </c:pt>
                <c:pt idx="48">
                  <c:v>0.8759548635545942</c:v>
                </c:pt>
                <c:pt idx="49">
                  <c:v>0.8761131537888439</c:v>
                </c:pt>
                <c:pt idx="50">
                  <c:v>0.8889112417763562</c:v>
                </c:pt>
                <c:pt idx="51">
                  <c:v>0.8895437372224402</c:v>
                </c:pt>
                <c:pt idx="52">
                  <c:v>0.8987411022162214</c:v>
                </c:pt>
                <c:pt idx="53">
                  <c:v>0.960916951270928</c:v>
                </c:pt>
                <c:pt idx="54">
                  <c:v>0.84098198119757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81.0"/>
          <c:min val="43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623445825932504"/>
          <c:min val="0.582564102564102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336712940446271</c:v>
                </c:pt>
                <c:pt idx="1">
                  <c:v>0.6597460598607005</c:v>
                </c:pt>
                <c:pt idx="2">
                  <c:v>0.6418414206686961</c:v>
                </c:pt>
                <c:pt idx="3">
                  <c:v>0.5909221333266799</c:v>
                </c:pt>
                <c:pt idx="4">
                  <c:v>0.5013727770773542</c:v>
                </c:pt>
                <c:pt idx="5">
                  <c:v>0.568784045504048</c:v>
                </c:pt>
                <c:pt idx="6">
                  <c:v>0.466796435367538</c:v>
                </c:pt>
                <c:pt idx="7">
                  <c:v>0.5081566416160782</c:v>
                </c:pt>
                <c:pt idx="8">
                  <c:v>0.5434544078802704</c:v>
                </c:pt>
                <c:pt idx="9">
                  <c:v>0.5484085335200156</c:v>
                </c:pt>
                <c:pt idx="10">
                  <c:v>0.5062462119089058</c:v>
                </c:pt>
                <c:pt idx="11">
                  <c:v>0.5543275681776964</c:v>
                </c:pt>
                <c:pt idx="12">
                  <c:v>0.5482143754403748</c:v>
                </c:pt>
                <c:pt idx="13">
                  <c:v>0.4953650654874171</c:v>
                </c:pt>
                <c:pt idx="14">
                  <c:v>0.5352420341114916</c:v>
                </c:pt>
                <c:pt idx="15">
                  <c:v>0.5721420785130735</c:v>
                </c:pt>
                <c:pt idx="16">
                  <c:v>0.5820960863654812</c:v>
                </c:pt>
                <c:pt idx="17">
                  <c:v>0.532049423351372</c:v>
                </c:pt>
                <c:pt idx="18">
                  <c:v>0.48222973498514526</c:v>
                </c:pt>
                <c:pt idx="19">
                  <c:v>0.5630599074044292</c:v>
                </c:pt>
                <c:pt idx="20">
                  <c:v>0.5622897523049751</c:v>
                </c:pt>
                <c:pt idx="21">
                  <c:v>0.4599630967318073</c:v>
                </c:pt>
                <c:pt idx="22">
                  <c:v>0.5238015199452847</c:v>
                </c:pt>
                <c:pt idx="23">
                  <c:v>0.5696031314881146</c:v>
                </c:pt>
                <c:pt idx="24">
                  <c:v>0.5410922235460417</c:v>
                </c:pt>
                <c:pt idx="25">
                  <c:v>0.46184905006434784</c:v>
                </c:pt>
                <c:pt idx="26">
                  <c:v>0.43152570698693526</c:v>
                </c:pt>
                <c:pt idx="27">
                  <c:v>0.5888205610777624</c:v>
                </c:pt>
                <c:pt idx="28">
                  <c:v>0.5769726526330405</c:v>
                </c:pt>
                <c:pt idx="29">
                  <c:v>0.5270956623212255</c:v>
                </c:pt>
                <c:pt idx="30">
                  <c:v>0.48309132535497035</c:v>
                </c:pt>
                <c:pt idx="31">
                  <c:v>0.4928728300131165</c:v>
                </c:pt>
                <c:pt idx="32">
                  <c:v>0.481677271702445</c:v>
                </c:pt>
                <c:pt idx="33">
                  <c:v>0.4776124461826229</c:v>
                </c:pt>
                <c:pt idx="34">
                  <c:v>0.4911905154862522</c:v>
                </c:pt>
                <c:pt idx="35">
                  <c:v>0.5724214352448921</c:v>
                </c:pt>
                <c:pt idx="36">
                  <c:v>0.42763800312980466</c:v>
                </c:pt>
                <c:pt idx="37">
                  <c:v>0.3619170992802887</c:v>
                </c:pt>
                <c:pt idx="38">
                  <c:v>0.44076914456088906</c:v>
                </c:pt>
                <c:pt idx="39">
                  <c:v>0.4119728761019925</c:v>
                </c:pt>
                <c:pt idx="40">
                  <c:v>0.48425193898549757</c:v>
                </c:pt>
                <c:pt idx="41">
                  <c:v>0.38236548520019387</c:v>
                </c:pt>
                <c:pt idx="42">
                  <c:v>0.4724526984019693</c:v>
                </c:pt>
                <c:pt idx="43">
                  <c:v>0.443376193537314</c:v>
                </c:pt>
                <c:pt idx="44">
                  <c:v>0.39713386328197714</c:v>
                </c:pt>
                <c:pt idx="45">
                  <c:v>0.45148267277592136</c:v>
                </c:pt>
                <c:pt idx="46">
                  <c:v>0.45007480588036364</c:v>
                </c:pt>
                <c:pt idx="47">
                  <c:v>0.40630044385360925</c:v>
                </c:pt>
                <c:pt idx="48">
                  <c:v>0.4950491656354538</c:v>
                </c:pt>
                <c:pt idx="49">
                  <c:v>0.3296534966081712</c:v>
                </c:pt>
                <c:pt idx="50">
                  <c:v>0.3465170124673282</c:v>
                </c:pt>
                <c:pt idx="51">
                  <c:v>0.34186211613930684</c:v>
                </c:pt>
                <c:pt idx="52">
                  <c:v>0.34654416854828946</c:v>
                </c:pt>
                <c:pt idx="53">
                  <c:v>0.3668077288731198</c:v>
                </c:pt>
                <c:pt idx="54">
                  <c:v>0.35248738224753406</c:v>
                </c:pt>
                <c:pt idx="55">
                  <c:v>0.348480788264754</c:v>
                </c:pt>
                <c:pt idx="56">
                  <c:v>0.3412669477077206</c:v>
                </c:pt>
                <c:pt idx="57">
                  <c:v>0.3342204333869382</c:v>
                </c:pt>
                <c:pt idx="58">
                  <c:v>0.35170684095736415</c:v>
                </c:pt>
                <c:pt idx="59">
                  <c:v>0.321659126828664</c:v>
                </c:pt>
                <c:pt idx="60">
                  <c:v>0.32086502484908147</c:v>
                </c:pt>
                <c:pt idx="61">
                  <c:v>0.3672812124172806</c:v>
                </c:pt>
                <c:pt idx="62">
                  <c:v>0.3659749275328983</c:v>
                </c:pt>
                <c:pt idx="63">
                  <c:v>0.3640612313215747</c:v>
                </c:pt>
                <c:pt idx="64">
                  <c:v>0.3665545857979044</c:v>
                </c:pt>
                <c:pt idx="65">
                  <c:v>0.364734800938222</c:v>
                </c:pt>
                <c:pt idx="66">
                  <c:v>0.35741714901906</c:v>
                </c:pt>
                <c:pt idx="67">
                  <c:v>0.36807476378870113</c:v>
                </c:pt>
                <c:pt idx="68">
                  <c:v>0.37092557447856594</c:v>
                </c:pt>
                <c:pt idx="69">
                  <c:v>0.36098246566085535</c:v>
                </c:pt>
                <c:pt idx="70">
                  <c:v>0.3398137612769325</c:v>
                </c:pt>
                <c:pt idx="71">
                  <c:v>0.31865175359490683</c:v>
                </c:pt>
                <c:pt idx="72">
                  <c:v>0.3063837775536936</c:v>
                </c:pt>
                <c:pt idx="73">
                  <c:v>0.24439605799873437</c:v>
                </c:pt>
                <c:pt idx="74">
                  <c:v>0.15855613263075433</c:v>
                </c:pt>
                <c:pt idx="75">
                  <c:v>0.26283544611015675</c:v>
                </c:pt>
                <c:pt idx="76">
                  <c:v>0.27399844591623607</c:v>
                </c:pt>
                <c:pt idx="77">
                  <c:v>0.30612331179086266</c:v>
                </c:pt>
                <c:pt idx="78">
                  <c:v>0.34091776202935664</c:v>
                </c:pt>
                <c:pt idx="79">
                  <c:v>0.37738595293668425</c:v>
                </c:pt>
                <c:pt idx="80">
                  <c:v>0.31784621869995994</c:v>
                </c:pt>
                <c:pt idx="81">
                  <c:v>0.4088395022968043</c:v>
                </c:pt>
                <c:pt idx="82">
                  <c:v>0.4309814562850319</c:v>
                </c:pt>
                <c:pt idx="83">
                  <c:v>0.4118409599218714</c:v>
                </c:pt>
                <c:pt idx="84">
                  <c:v>0.40649433283371755</c:v>
                </c:pt>
                <c:pt idx="85">
                  <c:v>0.39533499362577207</c:v>
                </c:pt>
                <c:pt idx="86">
                  <c:v>0.394244059070352</c:v>
                </c:pt>
                <c:pt idx="87">
                  <c:v>0.3444076945334462</c:v>
                </c:pt>
                <c:pt idx="88">
                  <c:v>0.40708534546868996</c:v>
                </c:pt>
                <c:pt idx="89">
                  <c:v>0.4840209398867583</c:v>
                </c:pt>
                <c:pt idx="90">
                  <c:v>0.49114684431964234</c:v>
                </c:pt>
                <c:pt idx="91">
                  <c:v>0.6918390132005356</c:v>
                </c:pt>
                <c:pt idx="92">
                  <c:v>0.5414663443386265</c:v>
                </c:pt>
                <c:pt idx="93">
                  <c:v>0.41527103126456427</c:v>
                </c:pt>
                <c:pt idx="94">
                  <c:v>0.5066106729433055</c:v>
                </c:pt>
                <c:pt idx="95">
                  <c:v>0.6408640092111678</c:v>
                </c:pt>
                <c:pt idx="96">
                  <c:v>0.422233052909541</c:v>
                </c:pt>
                <c:pt idx="97">
                  <c:v>0.4168205591178607</c:v>
                </c:pt>
                <c:pt idx="98">
                  <c:v>0.3688042146941902</c:v>
                </c:pt>
                <c:pt idx="99">
                  <c:v>0.3066425515950602</c:v>
                </c:pt>
                <c:pt idx="100">
                  <c:v>0.3441619010025452</c:v>
                </c:pt>
                <c:pt idx="101">
                  <c:v>0.3183647410785134</c:v>
                </c:pt>
                <c:pt idx="102">
                  <c:v>0.342281079337669</c:v>
                </c:pt>
                <c:pt idx="103">
                  <c:v>0.38490471585148794</c:v>
                </c:pt>
                <c:pt idx="104">
                  <c:v>0.4221625520346647</c:v>
                </c:pt>
              </c:numCache>
            </c:numRef>
          </c:xVal>
          <c:yVal>
            <c:numRef>
              <c:f>Sheet1!$B$2:$B$106</c:f>
              <c:numCache>
                <c:formatCode>General</c:formatCode>
                <c:ptCount val="105"/>
                <c:pt idx="0">
                  <c:v>0.0625</c:v>
                </c:pt>
                <c:pt idx="1">
                  <c:v>0.08</c:v>
                </c:pt>
                <c:pt idx="2">
                  <c:v>0.08405797101449275</c:v>
                </c:pt>
                <c:pt idx="3">
                  <c:v>0.06563706563706563</c:v>
                </c:pt>
                <c:pt idx="4">
                  <c:v>0.25475285171102663</c:v>
                </c:pt>
                <c:pt idx="5">
                  <c:v>0.1520912547528517</c:v>
                </c:pt>
                <c:pt idx="6">
                  <c:v>0.13309352517985612</c:v>
                </c:pt>
                <c:pt idx="7">
                  <c:v>0.09881422924901186</c:v>
                </c:pt>
                <c:pt idx="8">
                  <c:v>0.13839285714285715</c:v>
                </c:pt>
                <c:pt idx="9">
                  <c:v>0.08196721311475409</c:v>
                </c:pt>
                <c:pt idx="10">
                  <c:v>0.14186851211072665</c:v>
                </c:pt>
                <c:pt idx="11">
                  <c:v>0.0880503144654088</c:v>
                </c:pt>
                <c:pt idx="12">
                  <c:v>0.09141274238227147</c:v>
                </c:pt>
                <c:pt idx="13">
                  <c:v>0.13357400722021662</c:v>
                </c:pt>
                <c:pt idx="14">
                  <c:v>0.13716814159292035</c:v>
                </c:pt>
                <c:pt idx="15">
                  <c:v>0.16759776536312848</c:v>
                </c:pt>
                <c:pt idx="16">
                  <c:v>0.06796116504854369</c:v>
                </c:pt>
                <c:pt idx="17">
                  <c:v>0.09917355371900827</c:v>
                </c:pt>
                <c:pt idx="18">
                  <c:v>0.09302325581395349</c:v>
                </c:pt>
                <c:pt idx="19">
                  <c:v>0.056</c:v>
                </c:pt>
                <c:pt idx="20">
                  <c:v>0.07216494845360824</c:v>
                </c:pt>
                <c:pt idx="21">
                  <c:v>0.22099447513812154</c:v>
                </c:pt>
                <c:pt idx="22">
                  <c:v>0.04580152671755725</c:v>
                </c:pt>
                <c:pt idx="23">
                  <c:v>0.09523809523809523</c:v>
                </c:pt>
                <c:pt idx="24">
                  <c:v>0.08396946564885496</c:v>
                </c:pt>
                <c:pt idx="25">
                  <c:v>0.10869565217391304</c:v>
                </c:pt>
                <c:pt idx="26">
                  <c:v>0.06666666666666667</c:v>
                </c:pt>
                <c:pt idx="27">
                  <c:v>0.08333333333333333</c:v>
                </c:pt>
                <c:pt idx="28">
                  <c:v>0.11009174311926606</c:v>
                </c:pt>
                <c:pt idx="29">
                  <c:v>0.1391304347826087</c:v>
                </c:pt>
                <c:pt idx="30">
                  <c:v>0.22641509433962265</c:v>
                </c:pt>
                <c:pt idx="31">
                  <c:v>0.152317880794702</c:v>
                </c:pt>
                <c:pt idx="32">
                  <c:v>0.205607476635514</c:v>
                </c:pt>
                <c:pt idx="33">
                  <c:v>0.24347826086956523</c:v>
                </c:pt>
                <c:pt idx="34">
                  <c:v>0.19135802469135801</c:v>
                </c:pt>
                <c:pt idx="35">
                  <c:v>0.09923664122137404</c:v>
                </c:pt>
                <c:pt idx="36">
                  <c:v>0.13636363636363635</c:v>
                </c:pt>
                <c:pt idx="37">
                  <c:v>0.16666666666666666</c:v>
                </c:pt>
                <c:pt idx="38">
                  <c:v>0.11904761904761904</c:v>
                </c:pt>
                <c:pt idx="39">
                  <c:v>0.12389380530973451</c:v>
                </c:pt>
                <c:pt idx="40">
                  <c:v>0.1259259259259259</c:v>
                </c:pt>
                <c:pt idx="41">
                  <c:v>0.10569105691056911</c:v>
                </c:pt>
                <c:pt idx="42">
                  <c:v>0.10457516339869281</c:v>
                </c:pt>
                <c:pt idx="43">
                  <c:v>0.06936416184971098</c:v>
                </c:pt>
                <c:pt idx="44">
                  <c:v>0.3346456692913386</c:v>
                </c:pt>
                <c:pt idx="45">
                  <c:v>0.11494252873563218</c:v>
                </c:pt>
                <c:pt idx="46">
                  <c:v>0.11578947368421053</c:v>
                </c:pt>
                <c:pt idx="47">
                  <c:v>0.12626262626262627</c:v>
                </c:pt>
                <c:pt idx="48">
                  <c:v>0.09826589595375723</c:v>
                </c:pt>
                <c:pt idx="49">
                  <c:v>0.6660550458715596</c:v>
                </c:pt>
                <c:pt idx="50">
                  <c:v>0.5630252100840336</c:v>
                </c:pt>
                <c:pt idx="51">
                  <c:v>0.4793388429752066</c:v>
                </c:pt>
                <c:pt idx="52">
                  <c:v>0.5230496453900709</c:v>
                </c:pt>
                <c:pt idx="53">
                  <c:v>0.5529157667386609</c:v>
                </c:pt>
                <c:pt idx="54">
                  <c:v>0.5764705882352941</c:v>
                </c:pt>
                <c:pt idx="55">
                  <c:v>0.5358255451713395</c:v>
                </c:pt>
                <c:pt idx="56">
                  <c:v>0.5707070707070707</c:v>
                </c:pt>
                <c:pt idx="57">
                  <c:v>0.5590717299578059</c:v>
                </c:pt>
                <c:pt idx="58">
                  <c:v>0.5082508250825083</c:v>
                </c:pt>
                <c:pt idx="59">
                  <c:v>0.5597345132743363</c:v>
                </c:pt>
                <c:pt idx="60">
                  <c:v>0.5691158156911582</c:v>
                </c:pt>
                <c:pt idx="61">
                  <c:v>0.44101633393829404</c:v>
                </c:pt>
                <c:pt idx="62">
                  <c:v>0.4280442804428044</c:v>
                </c:pt>
                <c:pt idx="63">
                  <c:v>0.45233968804159447</c:v>
                </c:pt>
                <c:pt idx="64">
                  <c:v>0.39232053422370616</c:v>
                </c:pt>
                <c:pt idx="65">
                  <c:v>0.3806818181818182</c:v>
                </c:pt>
                <c:pt idx="66">
                  <c:v>0.4470588235294118</c:v>
                </c:pt>
                <c:pt idx="67">
                  <c:v>0.35073068893528186</c:v>
                </c:pt>
                <c:pt idx="68">
                  <c:v>0.3743718592964824</c:v>
                </c:pt>
                <c:pt idx="69">
                  <c:v>0.3176895306859206</c:v>
                </c:pt>
                <c:pt idx="70">
                  <c:v>0.2637795275590551</c:v>
                </c:pt>
                <c:pt idx="71">
                  <c:v>0.3069306930693069</c:v>
                </c:pt>
                <c:pt idx="72">
                  <c:v>0.3512658227848101</c:v>
                </c:pt>
                <c:pt idx="73">
                  <c:v>0.3186119873817035</c:v>
                </c:pt>
                <c:pt idx="74">
                  <c:v>0.5336927223719676</c:v>
                </c:pt>
                <c:pt idx="75">
                  <c:v>0.4030612244897959</c:v>
                </c:pt>
                <c:pt idx="76">
                  <c:v>0.3709677419354839</c:v>
                </c:pt>
                <c:pt idx="77">
                  <c:v>0.3352601156069364</c:v>
                </c:pt>
                <c:pt idx="78">
                  <c:v>0.4111111111111111</c:v>
                </c:pt>
                <c:pt idx="79">
                  <c:v>0.19083969465648856</c:v>
                </c:pt>
                <c:pt idx="80">
                  <c:v>0.20754716981132076</c:v>
                </c:pt>
                <c:pt idx="81">
                  <c:v>0.13930348258706468</c:v>
                </c:pt>
                <c:pt idx="82">
                  <c:v>0.13815789473684212</c:v>
                </c:pt>
                <c:pt idx="83">
                  <c:v>0.14545454545454545</c:v>
                </c:pt>
                <c:pt idx="84">
                  <c:v>0.12264150943396226</c:v>
                </c:pt>
                <c:pt idx="85">
                  <c:v>0.19402985074626866</c:v>
                </c:pt>
                <c:pt idx="86">
                  <c:v>0.21019108280254778</c:v>
                </c:pt>
                <c:pt idx="87">
                  <c:v>0.36585365853658536</c:v>
                </c:pt>
                <c:pt idx="88">
                  <c:v>0.23026315789473684</c:v>
                </c:pt>
                <c:pt idx="89">
                  <c:v>0.19718309859154928</c:v>
                </c:pt>
                <c:pt idx="90">
                  <c:v>0.23125</c:v>
                </c:pt>
                <c:pt idx="91">
                  <c:v>0.11557788944723618</c:v>
                </c:pt>
                <c:pt idx="92">
                  <c:v>0.16037735849056603</c:v>
                </c:pt>
                <c:pt idx="93">
                  <c:v>0.21578947368421053</c:v>
                </c:pt>
                <c:pt idx="94">
                  <c:v>0.16292134831460675</c:v>
                </c:pt>
                <c:pt idx="95">
                  <c:v>0.2846715328467153</c:v>
                </c:pt>
                <c:pt idx="96">
                  <c:v>0.12345679012345678</c:v>
                </c:pt>
                <c:pt idx="97">
                  <c:v>0.1393939393939394</c:v>
                </c:pt>
                <c:pt idx="98">
                  <c:v>0.17297297297297298</c:v>
                </c:pt>
                <c:pt idx="99">
                  <c:v>0.2635814889336016</c:v>
                </c:pt>
                <c:pt idx="100">
                  <c:v>0.3695652173913043</c:v>
                </c:pt>
                <c:pt idx="101">
                  <c:v>0.1925754060324826</c:v>
                </c:pt>
                <c:pt idx="102">
                  <c:v>0.23542600896860988</c:v>
                </c:pt>
                <c:pt idx="103">
                  <c:v>0.14933333333333335</c:v>
                </c:pt>
                <c:pt idx="104">
                  <c:v>0.0892307692307692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135554282016518</c:v>
                </c:pt>
                <c:pt idx="1">
                  <c:v>0.2883021516102939</c:v>
                </c:pt>
                <c:pt idx="2">
                  <c:v>0.2754199846476188</c:v>
                </c:pt>
                <c:pt idx="3">
                  <c:v>0.2790857512845587</c:v>
                </c:pt>
                <c:pt idx="4">
                  <c:v>0.2852509897151629</c:v>
                </c:pt>
                <c:pt idx="5">
                  <c:v>0.2999365215506514</c:v>
                </c:pt>
                <c:pt idx="6">
                  <c:v>0.29100026397725676</c:v>
                </c:pt>
                <c:pt idx="7">
                  <c:v>0.33125358352500106</c:v>
                </c:pt>
                <c:pt idx="8">
                  <c:v>0.31181582099731564</c:v>
                </c:pt>
                <c:pt idx="9">
                  <c:v>0.3092715525586375</c:v>
                </c:pt>
                <c:pt idx="10">
                  <c:v>0.31255739071605204</c:v>
                </c:pt>
                <c:pt idx="11">
                  <c:v>0.21574045041803463</c:v>
                </c:pt>
                <c:pt idx="12">
                  <c:v>0.18748087172488823</c:v>
                </c:pt>
                <c:pt idx="13">
                  <c:v>0.20028281969217387</c:v>
                </c:pt>
                <c:pt idx="14">
                  <c:v>0.1900656411769926</c:v>
                </c:pt>
                <c:pt idx="15">
                  <c:v>0.1871831682549546</c:v>
                </c:pt>
                <c:pt idx="16">
                  <c:v>0.19297098998755002</c:v>
                </c:pt>
                <c:pt idx="17">
                  <c:v>0.18601214688056952</c:v>
                </c:pt>
                <c:pt idx="18">
                  <c:v>0.1880535395286608</c:v>
                </c:pt>
                <c:pt idx="19">
                  <c:v>0.18770497065516828</c:v>
                </c:pt>
                <c:pt idx="20">
                  <c:v>0.18978548743779175</c:v>
                </c:pt>
                <c:pt idx="21">
                  <c:v>0.2194291371258151</c:v>
                </c:pt>
                <c:pt idx="22">
                  <c:v>0.1568796398317527</c:v>
                </c:pt>
                <c:pt idx="23">
                  <c:v>0.1531067781110214</c:v>
                </c:pt>
                <c:pt idx="24">
                  <c:v>0.15936823053938776</c:v>
                </c:pt>
                <c:pt idx="25">
                  <c:v>0.16974530908632418</c:v>
                </c:pt>
                <c:pt idx="26">
                  <c:v>0.1890219976063979</c:v>
                </c:pt>
                <c:pt idx="27">
                  <c:v>0.1898315659994689</c:v>
                </c:pt>
                <c:pt idx="28">
                  <c:v>0.21638320043494022</c:v>
                </c:pt>
                <c:pt idx="29">
                  <c:v>0.18602031262030352</c:v>
                </c:pt>
                <c:pt idx="30">
                  <c:v>0.27027423931596756</c:v>
                </c:pt>
                <c:pt idx="31">
                  <c:v>0.22923694097599362</c:v>
                </c:pt>
                <c:pt idx="32">
                  <c:v>0.2290007444801387</c:v>
                </c:pt>
                <c:pt idx="33">
                  <c:v>0.25669659557592395</c:v>
                </c:pt>
                <c:pt idx="34">
                  <c:v>0.4491098757893726</c:v>
                </c:pt>
                <c:pt idx="35">
                  <c:v>0.24332505738990287</c:v>
                </c:pt>
                <c:pt idx="36">
                  <c:v>0.2543279842132698</c:v>
                </c:pt>
                <c:pt idx="37">
                  <c:v>0.148480312772147</c:v>
                </c:pt>
                <c:pt idx="38">
                  <c:v>0.14186322886297376</c:v>
                </c:pt>
                <c:pt idx="39">
                  <c:v>0.17642381670014912</c:v>
                </c:pt>
                <c:pt idx="40">
                  <c:v>0.1631474522423477</c:v>
                </c:pt>
                <c:pt idx="41">
                  <c:v>0.19036127825219648</c:v>
                </c:pt>
                <c:pt idx="42">
                  <c:v>0.20961625216252386</c:v>
                </c:pt>
                <c:pt idx="43">
                  <c:v>0.1916235694712197</c:v>
                </c:pt>
                <c:pt idx="44">
                  <c:v>0.18528375411106993</c:v>
                </c:pt>
                <c:pt idx="45">
                  <c:v>0.20955000155260828</c:v>
                </c:pt>
                <c:pt idx="46">
                  <c:v>0.18814793690289489</c:v>
                </c:pt>
                <c:pt idx="47">
                  <c:v>0.1417687944650281</c:v>
                </c:pt>
                <c:pt idx="48">
                  <c:v>0.20631945216387623</c:v>
                </c:pt>
                <c:pt idx="49">
                  <c:v>0.28297504755472175</c:v>
                </c:pt>
                <c:pt idx="50">
                  <c:v>0.26771583531359583</c:v>
                </c:pt>
                <c:pt idx="51">
                  <c:v>0.30007328767998437</c:v>
                </c:pt>
              </c:numCache>
            </c:numRef>
          </c:xVal>
          <c:yVal>
            <c:numRef>
              <c:f>Sheet1!$B$109:$B$160</c:f>
              <c:numCache>
                <c:formatCode>General</c:formatCode>
                <c:ptCount val="52"/>
                <c:pt idx="0">
                  <c:v>0.10397553516819572</c:v>
                </c:pt>
                <c:pt idx="1">
                  <c:v>0.35475578406169667</c:v>
                </c:pt>
                <c:pt idx="2">
                  <c:v>0.464354527938343</c:v>
                </c:pt>
                <c:pt idx="3">
                  <c:v>0.5048732943469786</c:v>
                </c:pt>
                <c:pt idx="4">
                  <c:v>0.4367816091954023</c:v>
                </c:pt>
                <c:pt idx="5">
                  <c:v>0.3701492537313433</c:v>
                </c:pt>
                <c:pt idx="6">
                  <c:v>0.3220338983050847</c:v>
                </c:pt>
                <c:pt idx="7">
                  <c:v>0.39823008849557523</c:v>
                </c:pt>
                <c:pt idx="8">
                  <c:v>0.2764227642276423</c:v>
                </c:pt>
                <c:pt idx="9">
                  <c:v>0.27884615384615385</c:v>
                </c:pt>
                <c:pt idx="10">
                  <c:v>0.27682403433476394</c:v>
                </c:pt>
                <c:pt idx="11">
                  <c:v>0.39497041420118345</c:v>
                </c:pt>
                <c:pt idx="12">
                  <c:v>0.42128935532233885</c:v>
                </c:pt>
                <c:pt idx="13">
                  <c:v>0.41134751773049644</c:v>
                </c:pt>
                <c:pt idx="14">
                  <c:v>0.4170305676855895</c:v>
                </c:pt>
                <c:pt idx="15">
                  <c:v>0.3583138173302108</c:v>
                </c:pt>
                <c:pt idx="16">
                  <c:v>0.38055555555555554</c:v>
                </c:pt>
                <c:pt idx="17">
                  <c:v>0.3281733746130031</c:v>
                </c:pt>
                <c:pt idx="18">
                  <c:v>0.3640552995391705</c:v>
                </c:pt>
                <c:pt idx="19">
                  <c:v>0.3418181818181818</c:v>
                </c:pt>
                <c:pt idx="20">
                  <c:v>0.3222748815165877</c:v>
                </c:pt>
                <c:pt idx="21">
                  <c:v>0.21014492753623187</c:v>
                </c:pt>
                <c:pt idx="22">
                  <c:v>0.4579831932773109</c:v>
                </c:pt>
                <c:pt idx="23">
                  <c:v>0.5193798449612403</c:v>
                </c:pt>
                <c:pt idx="24">
                  <c:v>0.3609271523178808</c:v>
                </c:pt>
                <c:pt idx="25">
                  <c:v>0.34497816593886466</c:v>
                </c:pt>
                <c:pt idx="26">
                  <c:v>0.18652849740932642</c:v>
                </c:pt>
                <c:pt idx="27">
                  <c:v>0.18</c:v>
                </c:pt>
                <c:pt idx="28">
                  <c:v>0.17010309278350516</c:v>
                </c:pt>
                <c:pt idx="29">
                  <c:v>0.1694915254237288</c:v>
                </c:pt>
                <c:pt idx="30">
                  <c:v>0.12087912087912088</c:v>
                </c:pt>
                <c:pt idx="31">
                  <c:v>0.09803921568627451</c:v>
                </c:pt>
                <c:pt idx="32">
                  <c:v>0.14563106796116504</c:v>
                </c:pt>
                <c:pt idx="33">
                  <c:v>0.20657276995305165</c:v>
                </c:pt>
                <c:pt idx="34">
                  <c:v>0.15306122448979592</c:v>
                </c:pt>
                <c:pt idx="35">
                  <c:v>0.1700404858299595</c:v>
                </c:pt>
                <c:pt idx="36">
                  <c:v>0.14285714285714285</c:v>
                </c:pt>
                <c:pt idx="37">
                  <c:v>0.3446808510638298</c:v>
                </c:pt>
                <c:pt idx="38">
                  <c:v>0.3289036544850498</c:v>
                </c:pt>
                <c:pt idx="39">
                  <c:v>0.32459016393442625</c:v>
                </c:pt>
                <c:pt idx="40">
                  <c:v>0.2268041237113402</c:v>
                </c:pt>
                <c:pt idx="41">
                  <c:v>0.183206106870229</c:v>
                </c:pt>
                <c:pt idx="42">
                  <c:v>0.12234042553191489</c:v>
                </c:pt>
                <c:pt idx="43">
                  <c:v>0.10677618069815195</c:v>
                </c:pt>
                <c:pt idx="44">
                  <c:v>0.0840064620355412</c:v>
                </c:pt>
                <c:pt idx="45">
                  <c:v>0.13908872901678657</c:v>
                </c:pt>
                <c:pt idx="46">
                  <c:v>0.15675675675675677</c:v>
                </c:pt>
                <c:pt idx="47">
                  <c:v>0.1634349030470914</c:v>
                </c:pt>
                <c:pt idx="48">
                  <c:v>0.12806539509536785</c:v>
                </c:pt>
                <c:pt idx="49">
                  <c:v>0.09812108559498957</c:v>
                </c:pt>
                <c:pt idx="50">
                  <c:v>0.08459214501510574</c:v>
                </c:pt>
                <c:pt idx="51">
                  <c:v>0.0745920745920745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076524207083537</c:v>
                </c:pt>
              </c:numCache>
            </c:numRef>
          </c:xVal>
          <c:yVal>
            <c:numRef>
              <c:f>Sheet1!$B$163:$B$164</c:f>
              <c:numCache>
                <c:formatCode>General</c:formatCode>
                <c:ptCount val="2"/>
                <c:pt idx="0">
                  <c:v>0.5201404996256002</c:v>
                </c:pt>
                <c:pt idx="1">
                  <c:v>0.520140499625600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076524207083537</c:v>
                </c:pt>
                <c:pt idx="1">
                  <c:v>-0.5076524207083537</c:v>
                </c:pt>
              </c:numCache>
            </c:numRef>
          </c:xVal>
          <c:yVal>
            <c:numRef>
              <c:f>Sheet1!$B$167:$B$168</c:f>
              <c:numCache>
                <c:formatCode>General</c:formatCode>
                <c:ptCount val="2"/>
                <c:pt idx="0">
                  <c:v>0.52014049962560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4446690498127916</c:v>
                </c:pt>
              </c:numCache>
            </c:numRef>
          </c:xVal>
          <c:yVal>
            <c:numRef>
              <c:f>Sheet1!$B$171:$B$172</c:f>
              <c:numCache>
                <c:formatCode>General</c:formatCode>
                <c:ptCount val="2"/>
                <c:pt idx="0">
                  <c:v>0.3590640839411402</c:v>
                </c:pt>
                <c:pt idx="1">
                  <c:v>0.359064083941140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4446690498127916</c:v>
                </c:pt>
                <c:pt idx="1">
                  <c:v>-0.04446690498127916</c:v>
                </c:pt>
              </c:numCache>
            </c:numRef>
          </c:xVal>
          <c:yVal>
            <c:numRef>
              <c:f>Sheet1!$B$175:$B$176</c:f>
              <c:numCache>
                <c:formatCode>General</c:formatCode>
                <c:ptCount val="2"/>
                <c:pt idx="0">
                  <c:v>0.35906408394114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694568029577978</c:v>
                </c:pt>
              </c:numCache>
            </c:numRef>
          </c:xVal>
          <c:yVal>
            <c:numRef>
              <c:f>Sheet1!$B$179:$B$180</c:f>
              <c:numCache>
                <c:formatCode>General</c:formatCode>
                <c:ptCount val="2"/>
                <c:pt idx="0">
                  <c:v>0.14556727322305968</c:v>
                </c:pt>
                <c:pt idx="1">
                  <c:v>0.1455672732230596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694568029577978</c:v>
                </c:pt>
                <c:pt idx="1">
                  <c:v>0.5694568029577978</c:v>
                </c:pt>
              </c:numCache>
            </c:numRef>
          </c:xVal>
          <c:yVal>
            <c:numRef>
              <c:f>Sheet1!$B$183:$B$184</c:f>
              <c:numCache>
                <c:formatCode>General</c:formatCode>
                <c:ptCount val="2"/>
                <c:pt idx="0">
                  <c:v>0.145567273223059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135554282016518</c:v>
                </c:pt>
                <c:pt idx="1">
                  <c:v>0.2883021516102939</c:v>
                </c:pt>
                <c:pt idx="2">
                  <c:v>0.2754199846476188</c:v>
                </c:pt>
                <c:pt idx="3">
                  <c:v>0.2790857512845587</c:v>
                </c:pt>
                <c:pt idx="4">
                  <c:v>0.2852509897151629</c:v>
                </c:pt>
                <c:pt idx="5">
                  <c:v>0.2999365215506514</c:v>
                </c:pt>
                <c:pt idx="6">
                  <c:v>0.29100026397725676</c:v>
                </c:pt>
                <c:pt idx="7">
                  <c:v>0.33125358352500106</c:v>
                </c:pt>
                <c:pt idx="8">
                  <c:v>0.31181582099731564</c:v>
                </c:pt>
                <c:pt idx="9">
                  <c:v>0.3092715525586375</c:v>
                </c:pt>
                <c:pt idx="10">
                  <c:v>0.31255739071605204</c:v>
                </c:pt>
                <c:pt idx="11">
                  <c:v>0.21574045041803463</c:v>
                </c:pt>
                <c:pt idx="12">
                  <c:v>0.18748087172488823</c:v>
                </c:pt>
                <c:pt idx="13">
                  <c:v>0.20028281969217387</c:v>
                </c:pt>
                <c:pt idx="14">
                  <c:v>0.1900656411769926</c:v>
                </c:pt>
                <c:pt idx="15">
                  <c:v>0.1871831682549546</c:v>
                </c:pt>
                <c:pt idx="16">
                  <c:v>0.19297098998755002</c:v>
                </c:pt>
                <c:pt idx="17">
                  <c:v>0.18601214688056952</c:v>
                </c:pt>
                <c:pt idx="18">
                  <c:v>0.1880535395286608</c:v>
                </c:pt>
                <c:pt idx="19">
                  <c:v>0.18770497065516828</c:v>
                </c:pt>
                <c:pt idx="20">
                  <c:v>0.18978548743779175</c:v>
                </c:pt>
                <c:pt idx="21">
                  <c:v>0.2194291371258151</c:v>
                </c:pt>
                <c:pt idx="22">
                  <c:v>0.1568796398317527</c:v>
                </c:pt>
                <c:pt idx="23">
                  <c:v>0.1531067781110214</c:v>
                </c:pt>
                <c:pt idx="24">
                  <c:v>0.15936823053938776</c:v>
                </c:pt>
                <c:pt idx="25">
                  <c:v>0.16974530908632418</c:v>
                </c:pt>
                <c:pt idx="26">
                  <c:v>0.1890219976063979</c:v>
                </c:pt>
                <c:pt idx="27">
                  <c:v>0.1898315659994689</c:v>
                </c:pt>
                <c:pt idx="28">
                  <c:v>0.21638320043494022</c:v>
                </c:pt>
                <c:pt idx="29">
                  <c:v>0.18602031262030352</c:v>
                </c:pt>
                <c:pt idx="30">
                  <c:v>0.27027423931596756</c:v>
                </c:pt>
                <c:pt idx="31">
                  <c:v>0.22923694097599362</c:v>
                </c:pt>
                <c:pt idx="32">
                  <c:v>0.2290007444801387</c:v>
                </c:pt>
                <c:pt idx="33">
                  <c:v>0.25669659557592395</c:v>
                </c:pt>
                <c:pt idx="34">
                  <c:v>0.4491098757893726</c:v>
                </c:pt>
                <c:pt idx="35">
                  <c:v>0.24332505738990287</c:v>
                </c:pt>
                <c:pt idx="36">
                  <c:v>0.2543279842132698</c:v>
                </c:pt>
                <c:pt idx="37">
                  <c:v>0.148480312772147</c:v>
                </c:pt>
                <c:pt idx="38">
                  <c:v>0.14186322886297376</c:v>
                </c:pt>
                <c:pt idx="39">
                  <c:v>0.17642381670014912</c:v>
                </c:pt>
                <c:pt idx="40">
                  <c:v>0.1631474522423477</c:v>
                </c:pt>
                <c:pt idx="41">
                  <c:v>0.19036127825219648</c:v>
                </c:pt>
                <c:pt idx="42">
                  <c:v>0.20961625216252386</c:v>
                </c:pt>
                <c:pt idx="43">
                  <c:v>0.1916235694712197</c:v>
                </c:pt>
                <c:pt idx="44">
                  <c:v>0.18528375411106993</c:v>
                </c:pt>
                <c:pt idx="45">
                  <c:v>0.20955000155260828</c:v>
                </c:pt>
                <c:pt idx="46">
                  <c:v>0.18814793690289489</c:v>
                </c:pt>
                <c:pt idx="47">
                  <c:v>0.1417687944650281</c:v>
                </c:pt>
                <c:pt idx="48">
                  <c:v>0.20631945216387623</c:v>
                </c:pt>
                <c:pt idx="49">
                  <c:v>0.28297504755472175</c:v>
                </c:pt>
                <c:pt idx="50">
                  <c:v>0.26771583531359583</c:v>
                </c:pt>
                <c:pt idx="51">
                  <c:v>0.30007328767998437</c:v>
                </c:pt>
                <c:pt idx="52">
                  <c:v>-0.04446690498127916</c:v>
                </c:pt>
                <c:pt idx="53">
                  <c:v>-0.5076524207083537</c:v>
                </c:pt>
                <c:pt idx="54">
                  <c:v>0.5694568029577978</c:v>
                </c:pt>
              </c:numCache>
            </c:numRef>
          </c:xVal>
          <c:yVal>
            <c:numRef>
              <c:f>Sheet1!$B$187:$B$241</c:f>
              <c:numCache>
                <c:formatCode>General</c:formatCode>
                <c:ptCount val="55"/>
                <c:pt idx="0">
                  <c:v>0.19978320570225372</c:v>
                </c:pt>
                <c:pt idx="1">
                  <c:v>0.24334102035973587</c:v>
                </c:pt>
                <c:pt idx="2">
                  <c:v>0.24782089550725483</c:v>
                </c:pt>
                <c:pt idx="3">
                  <c:v>0.24654609625174037</c:v>
                </c:pt>
                <c:pt idx="4">
                  <c:v>0.24440208596963353</c:v>
                </c:pt>
                <c:pt idx="5">
                  <c:v>0.23929507646661108</c:v>
                </c:pt>
                <c:pt idx="6">
                  <c:v>0.2424027305073382</c:v>
                </c:pt>
                <c:pt idx="7">
                  <c:v>0.22840432120480644</c:v>
                </c:pt>
                <c:pt idx="8">
                  <c:v>0.23516395640620197</c:v>
                </c:pt>
                <c:pt idx="9">
                  <c:v>0.2360487458193555</c:v>
                </c:pt>
                <c:pt idx="10">
                  <c:v>0.23490606968863764</c:v>
                </c:pt>
                <c:pt idx="11">
                  <c:v>0.2685749241567253</c:v>
                </c:pt>
                <c:pt idx="12">
                  <c:v>0.27840241549677647</c:v>
                </c:pt>
                <c:pt idx="13">
                  <c:v>0.2739504371374955</c:v>
                </c:pt>
                <c:pt idx="14">
                  <c:v>0.2775035415368209</c:v>
                </c:pt>
                <c:pt idx="15">
                  <c:v>0.2785059442260772</c:v>
                </c:pt>
                <c:pt idx="16">
                  <c:v>0.2764931835769372</c:v>
                </c:pt>
                <c:pt idx="17">
                  <c:v>0.2789131761434651</c:v>
                </c:pt>
                <c:pt idx="18">
                  <c:v>0.2782032657520683</c:v>
                </c:pt>
                <c:pt idx="19">
                  <c:v>0.2783244833265712</c:v>
                </c:pt>
                <c:pt idx="20">
                  <c:v>0.27760096720886557</c:v>
                </c:pt>
                <c:pt idx="21">
                  <c:v>0.26729215426583286</c:v>
                </c:pt>
                <c:pt idx="22">
                  <c:v>0.2890442352029429</c:v>
                </c:pt>
                <c:pt idx="23">
                  <c:v>0.2903562776183767</c:v>
                </c:pt>
                <c:pt idx="24">
                  <c:v>0.28817880815982333</c:v>
                </c:pt>
                <c:pt idx="25">
                  <c:v>0.2845700972635147</c:v>
                </c:pt>
                <c:pt idx="26">
                  <c:v>0.2778664768184642</c:v>
                </c:pt>
                <c:pt idx="27">
                  <c:v>0.2775849430256758</c:v>
                </c:pt>
                <c:pt idx="28">
                  <c:v>0.26835140276974545</c:v>
                </c:pt>
                <c:pt idx="29">
                  <c:v>0.27891033644307917</c:v>
                </c:pt>
                <c:pt idx="30">
                  <c:v>0.24961036902467765</c:v>
                </c:pt>
                <c:pt idx="31">
                  <c:v>0.26388141313451063</c:v>
                </c:pt>
                <c:pt idx="32">
                  <c:v>0.26396355232854357</c:v>
                </c:pt>
                <c:pt idx="33">
                  <c:v>0.2543321017059203</c:v>
                </c:pt>
                <c:pt idx="34">
                  <c:v>0.1874188661782052</c:v>
                </c:pt>
                <c:pt idx="35">
                  <c:v>0.25898215955544357</c:v>
                </c:pt>
                <c:pt idx="36">
                  <c:v>0.2551558049856891</c:v>
                </c:pt>
                <c:pt idx="37">
                  <c:v>0.2919651674233709</c:v>
                </c:pt>
                <c:pt idx="38">
                  <c:v>0.2942663105338152</c:v>
                </c:pt>
                <c:pt idx="39">
                  <c:v>0.28224759357540247</c:v>
                </c:pt>
                <c:pt idx="40">
                  <c:v>0.28686455401041594</c:v>
                </c:pt>
                <c:pt idx="41">
                  <c:v>0.2774007314125826</c:v>
                </c:pt>
                <c:pt idx="42">
                  <c:v>0.2707046623943086</c:v>
                </c:pt>
                <c:pt idx="43">
                  <c:v>0.27696175968698566</c:v>
                </c:pt>
                <c:pt idx="44">
                  <c:v>0.2791664804730215</c:v>
                </c:pt>
                <c:pt idx="45">
                  <c:v>0.27072770156634607</c:v>
                </c:pt>
                <c:pt idx="46">
                  <c:v>0.27817043832077915</c:v>
                </c:pt>
                <c:pt idx="47">
                  <c:v>0.294299150840392</c:v>
                </c:pt>
                <c:pt idx="48">
                  <c:v>0.2718511505917582</c:v>
                </c:pt>
                <c:pt idx="49">
                  <c:v>0.24519356280356158</c:v>
                </c:pt>
                <c:pt idx="50">
                  <c:v>0.2505000741915759</c:v>
                </c:pt>
                <c:pt idx="51">
                  <c:v>0.2392475149666246</c:v>
                </c:pt>
                <c:pt idx="52">
                  <c:v>0.3590640839411402</c:v>
                </c:pt>
                <c:pt idx="53">
                  <c:v>0.5201404996256002</c:v>
                </c:pt>
                <c:pt idx="54">
                  <c:v>0.1455672732230596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Photoderm</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92660550458716"/>
          <c:min val="0.036641221374045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4.1047</c:v>
                </c:pt>
                <c:pt idx="1">
                  <c:v>871.9001</c:v>
                </c:pt>
                <c:pt idx="2">
                  <c:v>898.2265</c:v>
                </c:pt>
                <c:pt idx="3">
                  <c:v>910.7331</c:v>
                </c:pt>
                <c:pt idx="4">
                  <c:v>904.1224</c:v>
                </c:pt>
                <c:pt idx="5">
                  <c:v>893.8169</c:v>
                </c:pt>
                <c:pt idx="6">
                  <c:v>858.8036</c:v>
                </c:pt>
                <c:pt idx="7">
                  <c:v>867.0558</c:v>
                </c:pt>
                <c:pt idx="8">
                  <c:v>868.809</c:v>
                </c:pt>
                <c:pt idx="9">
                  <c:v>842.1731</c:v>
                </c:pt>
                <c:pt idx="10">
                  <c:v>826.7434</c:v>
                </c:pt>
                <c:pt idx="11">
                  <c:v>861.1664</c:v>
                </c:pt>
                <c:pt idx="12">
                  <c:v>867.1068</c:v>
                </c:pt>
                <c:pt idx="13">
                  <c:v>868.5584</c:v>
                </c:pt>
                <c:pt idx="14">
                  <c:v>895.9741</c:v>
                </c:pt>
                <c:pt idx="15">
                  <c:v>914.0135</c:v>
                </c:pt>
                <c:pt idx="16">
                  <c:v>930.0587</c:v>
                </c:pt>
                <c:pt idx="17">
                  <c:v>919.9987</c:v>
                </c:pt>
                <c:pt idx="18">
                  <c:v>972.0593</c:v>
                </c:pt>
                <c:pt idx="19">
                  <c:v>990.7156</c:v>
                </c:pt>
                <c:pt idx="20">
                  <c:v>1014.1583</c:v>
                </c:pt>
                <c:pt idx="21">
                  <c:v>1027.6645</c:v>
                </c:pt>
                <c:pt idx="22">
                  <c:v>1008.3504</c:v>
                </c:pt>
                <c:pt idx="23">
                  <c:v>1004.1741</c:v>
                </c:pt>
                <c:pt idx="24">
                  <c:v>1013.5886</c:v>
                </c:pt>
                <c:pt idx="25">
                  <c:v>990.419</c:v>
                </c:pt>
                <c:pt idx="26">
                  <c:v>979.0327</c:v>
                </c:pt>
                <c:pt idx="27">
                  <c:v>996.4611</c:v>
                </c:pt>
                <c:pt idx="28">
                  <c:v>998.4049</c:v>
                </c:pt>
                <c:pt idx="29">
                  <c:v>987.1565</c:v>
                </c:pt>
                <c:pt idx="30">
                  <c:v>989.7549</c:v>
                </c:pt>
                <c:pt idx="31">
                  <c:v>975.2188</c:v>
                </c:pt>
                <c:pt idx="32">
                  <c:v>964.5709</c:v>
                </c:pt>
                <c:pt idx="33">
                  <c:v>921.5912</c:v>
                </c:pt>
                <c:pt idx="34">
                  <c:v>934.5094</c:v>
                </c:pt>
                <c:pt idx="35">
                  <c:v>965.3223</c:v>
                </c:pt>
                <c:pt idx="36">
                  <c:v>1025.9005</c:v>
                </c:pt>
                <c:pt idx="37">
                  <c:v>1045.4788</c:v>
                </c:pt>
                <c:pt idx="38">
                  <c:v>1082.9511</c:v>
                </c:pt>
                <c:pt idx="39">
                  <c:v>1108.7055</c:v>
                </c:pt>
                <c:pt idx="40">
                  <c:v>1106.815</c:v>
                </c:pt>
                <c:pt idx="41">
                  <c:v>1131.6485</c:v>
                </c:pt>
                <c:pt idx="42">
                  <c:v>1148.8976</c:v>
                </c:pt>
                <c:pt idx="43">
                  <c:v>1154.9292</c:v>
                </c:pt>
                <c:pt idx="44">
                  <c:v>1113.0708</c:v>
                </c:pt>
                <c:pt idx="45">
                  <c:v>1078.0761</c:v>
                </c:pt>
                <c:pt idx="46">
                  <c:v>1061.4059</c:v>
                </c:pt>
                <c:pt idx="47">
                  <c:v>1047.8382</c:v>
                </c:pt>
                <c:pt idx="48">
                  <c:v>1044.792</c:v>
                </c:pt>
                <c:pt idx="49">
                  <c:v>999.338</c:v>
                </c:pt>
                <c:pt idx="50">
                  <c:v>1004.3309</c:v>
                </c:pt>
                <c:pt idx="51">
                  <c:v>1014.8195</c:v>
                </c:pt>
                <c:pt idx="52">
                  <c:v>1016.3603</c:v>
                </c:pt>
                <c:pt idx="53">
                  <c:v>1111.8357</c:v>
                </c:pt>
                <c:pt idx="54">
                  <c:v>1105.4646</c:v>
                </c:pt>
                <c:pt idx="55">
                  <c:v>1118.4436</c:v>
                </c:pt>
                <c:pt idx="56">
                  <c:v>1124.8373</c:v>
                </c:pt>
                <c:pt idx="57">
                  <c:v>1102.1197</c:v>
                </c:pt>
                <c:pt idx="58">
                  <c:v>1081.0693</c:v>
                </c:pt>
                <c:pt idx="59">
                  <c:v>1077.478</c:v>
                </c:pt>
                <c:pt idx="60">
                  <c:v>1092.2519</c:v>
                </c:pt>
                <c:pt idx="61">
                  <c:v>1097.7472</c:v>
                </c:pt>
                <c:pt idx="62">
                  <c:v>1033.3266</c:v>
                </c:pt>
                <c:pt idx="63">
                  <c:v>1053.9903</c:v>
                </c:pt>
                <c:pt idx="64">
                  <c:v>1060.6227</c:v>
                </c:pt>
                <c:pt idx="65">
                  <c:v>1053.3096</c:v>
                </c:pt>
                <c:pt idx="66">
                  <c:v>1083.3464</c:v>
                </c:pt>
                <c:pt idx="67">
                  <c:v>1105.0394</c:v>
                </c:pt>
                <c:pt idx="68">
                  <c:v>1116.0063</c:v>
                </c:pt>
                <c:pt idx="69">
                  <c:v>1146.5405</c:v>
                </c:pt>
                <c:pt idx="70">
                  <c:v>1135.5569</c:v>
                </c:pt>
                <c:pt idx="71">
                  <c:v>1184.6456</c:v>
                </c:pt>
                <c:pt idx="72">
                  <c:v>1253.7753</c:v>
                </c:pt>
                <c:pt idx="73">
                  <c:v>1235.0861</c:v>
                </c:pt>
                <c:pt idx="74">
                  <c:v>1227.9679</c:v>
                </c:pt>
                <c:pt idx="75">
                  <c:v>1196.1969</c:v>
                </c:pt>
                <c:pt idx="76">
                  <c:v>1160.9117</c:v>
                </c:pt>
                <c:pt idx="77">
                  <c:v>1163.9833</c:v>
                </c:pt>
                <c:pt idx="78">
                  <c:v>1207.1764</c:v>
                </c:pt>
                <c:pt idx="79">
                  <c:v>1195.5859</c:v>
                </c:pt>
                <c:pt idx="80">
                  <c:v>1214.1439</c:v>
                </c:pt>
                <c:pt idx="81">
                  <c:v>1212.0495</c:v>
                </c:pt>
                <c:pt idx="82">
                  <c:v>1220.6117</c:v>
                </c:pt>
                <c:pt idx="83">
                  <c:v>1184.5929</c:v>
                </c:pt>
                <c:pt idx="84">
                  <c:v>1204.6501</c:v>
                </c:pt>
                <c:pt idx="85">
                  <c:v>1185.7867</c:v>
                </c:pt>
                <c:pt idx="86">
                  <c:v>1181.1099</c:v>
                </c:pt>
                <c:pt idx="87">
                  <c:v>1181.1963</c:v>
                </c:pt>
                <c:pt idx="88">
                  <c:v>1222.5552</c:v>
                </c:pt>
                <c:pt idx="89">
                  <c:v>1217.5926</c:v>
                </c:pt>
                <c:pt idx="90">
                  <c:v>1271.0298</c:v>
                </c:pt>
                <c:pt idx="91">
                  <c:v>1268.4142</c:v>
                </c:pt>
                <c:pt idx="92">
                  <c:v>1222.2023</c:v>
                </c:pt>
                <c:pt idx="93">
                  <c:v>1248.6531</c:v>
                </c:pt>
                <c:pt idx="94">
                  <c:v>1233.51</c:v>
                </c:pt>
                <c:pt idx="95">
                  <c:v>1198.1168</c:v>
                </c:pt>
                <c:pt idx="96">
                  <c:v>1150.1633</c:v>
                </c:pt>
                <c:pt idx="97">
                  <c:v>1148.0502</c:v>
                </c:pt>
                <c:pt idx="98">
                  <c:v>1130.0131</c:v>
                </c:pt>
                <c:pt idx="99">
                  <c:v>1100.8128</c:v>
                </c:pt>
                <c:pt idx="100">
                  <c:v>1087.9755</c:v>
                </c:pt>
                <c:pt idx="101">
                  <c:v>1123.3286</c:v>
                </c:pt>
                <c:pt idx="102">
                  <c:v>1145.7458</c:v>
                </c:pt>
                <c:pt idx="103">
                  <c:v>1119.9822</c:v>
                </c:pt>
                <c:pt idx="104">
                  <c:v>1148.4012</c:v>
                </c:pt>
              </c:numCache>
            </c:numRef>
          </c:xVal>
          <c:yVal>
            <c:numRef>
              <c:f>Sheet1!$B$2:$B$106</c:f>
              <c:numCache>
                <c:formatCode>General</c:formatCode>
                <c:ptCount val="105"/>
                <c:pt idx="0">
                  <c:v>0.23418296003728872</c:v>
                </c:pt>
                <c:pt idx="1">
                  <c:v>0.23165931366074022</c:v>
                </c:pt>
                <c:pt idx="2">
                  <c:v>0.23278705032349017</c:v>
                </c:pt>
                <c:pt idx="3">
                  <c:v>0.2333306651724966</c:v>
                </c:pt>
                <c:pt idx="4">
                  <c:v>0.24390852650297945</c:v>
                </c:pt>
                <c:pt idx="5">
                  <c:v>0.24503670603255664</c:v>
                </c:pt>
                <c:pt idx="6">
                  <c:v>0.2710683172856488</c:v>
                </c:pt>
                <c:pt idx="7">
                  <c:v>0.27163461538461536</c:v>
                </c:pt>
                <c:pt idx="8">
                  <c:v>0.2694881600235329</c:v>
                </c:pt>
                <c:pt idx="9">
                  <c:v>0.26030640668523675</c:v>
                </c:pt>
                <c:pt idx="10">
                  <c:v>0.25559079668852813</c:v>
                </c:pt>
                <c:pt idx="11">
                  <c:v>0.23839553955666223</c:v>
                </c:pt>
                <c:pt idx="12">
                  <c:v>0.22530389481518234</c:v>
                </c:pt>
                <c:pt idx="13">
                  <c:v>0.2139519185835194</c:v>
                </c:pt>
                <c:pt idx="14">
                  <c:v>0.19948627892957305</c:v>
                </c:pt>
                <c:pt idx="15">
                  <c:v>0.19059006211180124</c:v>
                </c:pt>
                <c:pt idx="16">
                  <c:v>0.18442418631151627</c:v>
                </c:pt>
                <c:pt idx="17">
                  <c:v>0.18214480981020073</c:v>
                </c:pt>
                <c:pt idx="18">
                  <c:v>0.16781849002477506</c:v>
                </c:pt>
                <c:pt idx="19">
                  <c:v>0.1664623557053836</c:v>
                </c:pt>
                <c:pt idx="20">
                  <c:v>0.1770842061164642</c:v>
                </c:pt>
                <c:pt idx="21">
                  <c:v>0.18134497081865503</c:v>
                </c:pt>
                <c:pt idx="22">
                  <c:v>0.1921511324496399</c:v>
                </c:pt>
                <c:pt idx="23">
                  <c:v>0.20127326150832517</c:v>
                </c:pt>
                <c:pt idx="24">
                  <c:v>0.20410230438085591</c:v>
                </c:pt>
                <c:pt idx="25">
                  <c:v>0.20850965161439916</c:v>
                </c:pt>
                <c:pt idx="26">
                  <c:v>0.2231766279189384</c:v>
                </c:pt>
                <c:pt idx="27">
                  <c:v>0.22059716599190282</c:v>
                </c:pt>
                <c:pt idx="28">
                  <c:v>0.2278031977790345</c:v>
                </c:pt>
                <c:pt idx="29">
                  <c:v>0.22411392120749293</c:v>
                </c:pt>
                <c:pt idx="30">
                  <c:v>0.22836372028617585</c:v>
                </c:pt>
                <c:pt idx="31">
                  <c:v>0.23155645524066576</c:v>
                </c:pt>
                <c:pt idx="32">
                  <c:v>0.2391124358337473</c:v>
                </c:pt>
                <c:pt idx="33">
                  <c:v>0.23732728936930655</c:v>
                </c:pt>
                <c:pt idx="34">
                  <c:v>0.2376046610332986</c:v>
                </c:pt>
                <c:pt idx="35">
                  <c:v>0.25597164957235835</c:v>
                </c:pt>
                <c:pt idx="36">
                  <c:v>0.2249256444150694</c:v>
                </c:pt>
                <c:pt idx="37">
                  <c:v>0.21881479338444476</c:v>
                </c:pt>
                <c:pt idx="38">
                  <c:v>0.20735478882767952</c:v>
                </c:pt>
                <c:pt idx="39">
                  <c:v>0.20157617317435136</c:v>
                </c:pt>
                <c:pt idx="40">
                  <c:v>0.2043353918846106</c:v>
                </c:pt>
                <c:pt idx="41">
                  <c:v>0.19930262433474033</c:v>
                </c:pt>
                <c:pt idx="42">
                  <c:v>0.19792563600782778</c:v>
                </c:pt>
                <c:pt idx="43">
                  <c:v>0.19148566463944397</c:v>
                </c:pt>
                <c:pt idx="44">
                  <c:v>0.18882872746876686</c:v>
                </c:pt>
                <c:pt idx="45">
                  <c:v>0.20146325946347152</c:v>
                </c:pt>
                <c:pt idx="46">
                  <c:v>0.20674221893734088</c:v>
                </c:pt>
                <c:pt idx="47">
                  <c:v>0.20248705097825404</c:v>
                </c:pt>
                <c:pt idx="48">
                  <c:v>0.20068823124569857</c:v>
                </c:pt>
                <c:pt idx="49">
                  <c:v>0.21421377913941334</c:v>
                </c:pt>
                <c:pt idx="50">
                  <c:v>0.20370295834171864</c:v>
                </c:pt>
                <c:pt idx="51">
                  <c:v>0.19657907167540958</c:v>
                </c:pt>
                <c:pt idx="52">
                  <c:v>0.1990873753591347</c:v>
                </c:pt>
                <c:pt idx="53">
                  <c:v>0.1924849250862364</c:v>
                </c:pt>
                <c:pt idx="54">
                  <c:v>0.19632599504300918</c:v>
                </c:pt>
                <c:pt idx="55">
                  <c:v>0.1932637372498579</c:v>
                </c:pt>
                <c:pt idx="56">
                  <c:v>0.1963961784980046</c:v>
                </c:pt>
                <c:pt idx="57">
                  <c:v>0.1902930783620869</c:v>
                </c:pt>
                <c:pt idx="58">
                  <c:v>0.2004390569819605</c:v>
                </c:pt>
                <c:pt idx="59">
                  <c:v>0.19565183241961073</c:v>
                </c:pt>
                <c:pt idx="60">
                  <c:v>0.1985710596539554</c:v>
                </c:pt>
                <c:pt idx="61">
                  <c:v>0.19782154510669264</c:v>
                </c:pt>
                <c:pt idx="62">
                  <c:v>0.21214106590154305</c:v>
                </c:pt>
                <c:pt idx="63">
                  <c:v>0.2160689782292584</c:v>
                </c:pt>
                <c:pt idx="64">
                  <c:v>0.2057314629258517</c:v>
                </c:pt>
                <c:pt idx="65">
                  <c:v>0.20019627085377822</c:v>
                </c:pt>
                <c:pt idx="66">
                  <c:v>0.1993405749644317</c:v>
                </c:pt>
                <c:pt idx="67">
                  <c:v>0.18906573406609092</c:v>
                </c:pt>
                <c:pt idx="68">
                  <c:v>0.1790146244498083</c:v>
                </c:pt>
                <c:pt idx="69">
                  <c:v>0.17184334908845375</c:v>
                </c:pt>
                <c:pt idx="70">
                  <c:v>0.17183179516644523</c:v>
                </c:pt>
                <c:pt idx="71">
                  <c:v>0.1720010810393421</c:v>
                </c:pt>
                <c:pt idx="72">
                  <c:v>0.1703549517966696</c:v>
                </c:pt>
                <c:pt idx="73">
                  <c:v>0.17289084055492948</c:v>
                </c:pt>
                <c:pt idx="74">
                  <c:v>0.1736186858238989</c:v>
                </c:pt>
                <c:pt idx="75">
                  <c:v>0.18380130535722108</c:v>
                </c:pt>
                <c:pt idx="76">
                  <c:v>0.1867787900023359</c:v>
                </c:pt>
                <c:pt idx="77">
                  <c:v>0.17921302316620913</c:v>
                </c:pt>
                <c:pt idx="78">
                  <c:v>0.183714055361462</c:v>
                </c:pt>
                <c:pt idx="79">
                  <c:v>0.16925569427237205</c:v>
                </c:pt>
                <c:pt idx="80">
                  <c:v>0.1642047079005051</c:v>
                </c:pt>
                <c:pt idx="81">
                  <c:v>0.1722029753413491</c:v>
                </c:pt>
                <c:pt idx="82">
                  <c:v>0.17136125654450263</c:v>
                </c:pt>
                <c:pt idx="83">
                  <c:v>0.17091711623344777</c:v>
                </c:pt>
                <c:pt idx="84">
                  <c:v>0.1731971525843392</c:v>
                </c:pt>
                <c:pt idx="85">
                  <c:v>0.1781016320069865</c:v>
                </c:pt>
                <c:pt idx="86">
                  <c:v>0.18914164143687096</c:v>
                </c:pt>
                <c:pt idx="87">
                  <c:v>0.20626872551279096</c:v>
                </c:pt>
                <c:pt idx="88">
                  <c:v>0.19925086345283846</c:v>
                </c:pt>
                <c:pt idx="89">
                  <c:v>0.18920077137347333</c:v>
                </c:pt>
                <c:pt idx="90">
                  <c:v>0.17882288228822882</c:v>
                </c:pt>
                <c:pt idx="91">
                  <c:v>0.17116303770578864</c:v>
                </c:pt>
                <c:pt idx="92">
                  <c:v>0.18376905390445372</c:v>
                </c:pt>
                <c:pt idx="93">
                  <c:v>0.17386494017374202</c:v>
                </c:pt>
                <c:pt idx="94">
                  <c:v>0.17872005918801442</c:v>
                </c:pt>
                <c:pt idx="95">
                  <c:v>0.18349928876244664</c:v>
                </c:pt>
                <c:pt idx="96">
                  <c:v>0.1838017571962526</c:v>
                </c:pt>
                <c:pt idx="97">
                  <c:v>0.18564141638622558</c:v>
                </c:pt>
                <c:pt idx="98">
                  <c:v>0.19047008859925313</c:v>
                </c:pt>
                <c:pt idx="99">
                  <c:v>0.19314582541492462</c:v>
                </c:pt>
                <c:pt idx="100">
                  <c:v>0.19683051921857891</c:v>
                </c:pt>
                <c:pt idx="101">
                  <c:v>0.19314315106433488</c:v>
                </c:pt>
                <c:pt idx="102">
                  <c:v>0.17887716504081227</c:v>
                </c:pt>
                <c:pt idx="103">
                  <c:v>0.1841797332085186</c:v>
                </c:pt>
                <c:pt idx="104">
                  <c:v>0.1828788495455162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95.6848</c:v>
                </c:pt>
                <c:pt idx="1">
                  <c:v>1198.9994</c:v>
                </c:pt>
                <c:pt idx="2">
                  <c:v>1210.5629</c:v>
                </c:pt>
                <c:pt idx="3">
                  <c:v>1199.603</c:v>
                </c:pt>
                <c:pt idx="4">
                  <c:v>1217.8573</c:v>
                </c:pt>
                <c:pt idx="5">
                  <c:v>1213.9471</c:v>
                </c:pt>
                <c:pt idx="6">
                  <c:v>1133.9565</c:v>
                </c:pt>
                <c:pt idx="7">
                  <c:v>1164.5555</c:v>
                </c:pt>
                <c:pt idx="8">
                  <c:v>1201.2923</c:v>
                </c:pt>
                <c:pt idx="9">
                  <c:v>1136.7634</c:v>
                </c:pt>
                <c:pt idx="10">
                  <c:v>1160.9751</c:v>
                </c:pt>
                <c:pt idx="11">
                  <c:v>1076.0515</c:v>
                </c:pt>
                <c:pt idx="12">
                  <c:v>1107.9836</c:v>
                </c:pt>
                <c:pt idx="13">
                  <c:v>1135.0708</c:v>
                </c:pt>
                <c:pt idx="14">
                  <c:v>1145.0448</c:v>
                </c:pt>
                <c:pt idx="15">
                  <c:v>1152.681</c:v>
                </c:pt>
                <c:pt idx="16">
                  <c:v>1202.9584</c:v>
                </c:pt>
                <c:pt idx="17">
                  <c:v>1161.3676</c:v>
                </c:pt>
                <c:pt idx="18">
                  <c:v>1174.7117</c:v>
                </c:pt>
                <c:pt idx="19">
                  <c:v>1255.5536</c:v>
                </c:pt>
                <c:pt idx="20">
                  <c:v>1241.1818</c:v>
                </c:pt>
                <c:pt idx="21">
                  <c:v>1182.4799</c:v>
                </c:pt>
                <c:pt idx="22">
                  <c:v>1207.6495</c:v>
                </c:pt>
                <c:pt idx="23">
                  <c:v>1197.7542</c:v>
                </c:pt>
                <c:pt idx="24">
                  <c:v>1194.7574</c:v>
                </c:pt>
                <c:pt idx="25">
                  <c:v>1180.9858</c:v>
                </c:pt>
                <c:pt idx="26">
                  <c:v>1195.4343</c:v>
                </c:pt>
                <c:pt idx="27">
                  <c:v>1200.8557</c:v>
                </c:pt>
                <c:pt idx="28">
                  <c:v>1239.3249</c:v>
                </c:pt>
                <c:pt idx="29">
                  <c:v>1245.4634</c:v>
                </c:pt>
                <c:pt idx="30">
                  <c:v>1236.1846</c:v>
                </c:pt>
                <c:pt idx="31">
                  <c:v>1222.3516</c:v>
                </c:pt>
                <c:pt idx="32">
                  <c:v>1238.381</c:v>
                </c:pt>
                <c:pt idx="33">
                  <c:v>1235.9333</c:v>
                </c:pt>
                <c:pt idx="34">
                  <c:v>1249.3299</c:v>
                </c:pt>
                <c:pt idx="35">
                  <c:v>1268.9072</c:v>
                </c:pt>
                <c:pt idx="36">
                  <c:v>1290.0027</c:v>
                </c:pt>
                <c:pt idx="37">
                  <c:v>1273.1904</c:v>
                </c:pt>
                <c:pt idx="38">
                  <c:v>1281.431</c:v>
                </c:pt>
                <c:pt idx="39">
                  <c:v>1247.9419</c:v>
                </c:pt>
                <c:pt idx="40">
                  <c:v>1274.4374</c:v>
                </c:pt>
                <c:pt idx="41">
                  <c:v>1296.8614</c:v>
                </c:pt>
                <c:pt idx="42">
                  <c:v>1292.6702</c:v>
                </c:pt>
                <c:pt idx="43">
                  <c:v>1302.0746</c:v>
                </c:pt>
                <c:pt idx="44">
                  <c:v>1228.3732</c:v>
                </c:pt>
                <c:pt idx="45">
                  <c:v>1191.7719</c:v>
                </c:pt>
                <c:pt idx="46">
                  <c:v>1187.7071</c:v>
                </c:pt>
                <c:pt idx="47">
                  <c:v>1166.1368</c:v>
                </c:pt>
                <c:pt idx="48">
                  <c:v>1151.4027</c:v>
                </c:pt>
                <c:pt idx="49">
                  <c:v>1160.7003</c:v>
                </c:pt>
                <c:pt idx="50">
                  <c:v>1117.3454</c:v>
                </c:pt>
                <c:pt idx="51">
                  <c:v>1097.8635</c:v>
                </c:pt>
              </c:numCache>
            </c:numRef>
          </c:xVal>
          <c:yVal>
            <c:numRef>
              <c:f>Sheet1!$B$109:$B$160</c:f>
              <c:numCache>
                <c:formatCode>General</c:formatCode>
                <c:ptCount val="52"/>
                <c:pt idx="0">
                  <c:v>0.1894963069094143</c:v>
                </c:pt>
                <c:pt idx="1">
                  <c:v>0.18750654793085386</c:v>
                </c:pt>
                <c:pt idx="2">
                  <c:v>0.20014538973829848</c:v>
                </c:pt>
                <c:pt idx="3">
                  <c:v>0.21038936683935394</c:v>
                </c:pt>
                <c:pt idx="4">
                  <c:v>0.1959896821920475</c:v>
                </c:pt>
                <c:pt idx="5">
                  <c:v>0.19458164213408968</c:v>
                </c:pt>
                <c:pt idx="6">
                  <c:v>0.20185614849187936</c:v>
                </c:pt>
                <c:pt idx="7">
                  <c:v>0.19727827016154378</c:v>
                </c:pt>
                <c:pt idx="8">
                  <c:v>0.18963312016156175</c:v>
                </c:pt>
                <c:pt idx="9">
                  <c:v>0.19934265604167312</c:v>
                </c:pt>
                <c:pt idx="10">
                  <c:v>0.20140063503368053</c:v>
                </c:pt>
                <c:pt idx="11">
                  <c:v>0.20503451986012733</c:v>
                </c:pt>
                <c:pt idx="12">
                  <c:v>0.2040353661301292</c:v>
                </c:pt>
                <c:pt idx="13">
                  <c:v>0.2056782334384858</c:v>
                </c:pt>
                <c:pt idx="14">
                  <c:v>0.20327488769743515</c:v>
                </c:pt>
                <c:pt idx="15">
                  <c:v>0.20087417464893517</c:v>
                </c:pt>
                <c:pt idx="16">
                  <c:v>0.1910104279036318</c:v>
                </c:pt>
                <c:pt idx="17">
                  <c:v>0.1925306829305022</c:v>
                </c:pt>
                <c:pt idx="18">
                  <c:v>0.196917183509668</c:v>
                </c:pt>
                <c:pt idx="19">
                  <c:v>0.19663485685585133</c:v>
                </c:pt>
                <c:pt idx="20">
                  <c:v>0.1837483739081955</c:v>
                </c:pt>
                <c:pt idx="21">
                  <c:v>0.1940855584266437</c:v>
                </c:pt>
                <c:pt idx="22">
                  <c:v>0.19056251062142412</c:v>
                </c:pt>
                <c:pt idx="23">
                  <c:v>0.1984478935698448</c:v>
                </c:pt>
                <c:pt idx="24">
                  <c:v>0.19864755206924534</c:v>
                </c:pt>
                <c:pt idx="25">
                  <c:v>0.19644681575661255</c:v>
                </c:pt>
                <c:pt idx="26">
                  <c:v>0.19033461268176657</c:v>
                </c:pt>
                <c:pt idx="27">
                  <c:v>0.19085876647234606</c:v>
                </c:pt>
                <c:pt idx="28">
                  <c:v>0.1812658003282033</c:v>
                </c:pt>
                <c:pt idx="29">
                  <c:v>0.18279283123533177</c:v>
                </c:pt>
                <c:pt idx="30">
                  <c:v>0.19084139157496943</c:v>
                </c:pt>
                <c:pt idx="31">
                  <c:v>0.1821759399406672</c:v>
                </c:pt>
                <c:pt idx="32">
                  <c:v>0.17766712575484692</c:v>
                </c:pt>
                <c:pt idx="33">
                  <c:v>0.1963195611784482</c:v>
                </c:pt>
                <c:pt idx="34">
                  <c:v>0.21426120376089494</c:v>
                </c:pt>
                <c:pt idx="35">
                  <c:v>0.2104092893024788</c:v>
                </c:pt>
                <c:pt idx="36">
                  <c:v>0.19495100266078266</c:v>
                </c:pt>
                <c:pt idx="37">
                  <c:v>0.1963151207115629</c:v>
                </c:pt>
                <c:pt idx="38">
                  <c:v>0.1955647775904552</c:v>
                </c:pt>
                <c:pt idx="39">
                  <c:v>0.20316422718014304</c:v>
                </c:pt>
                <c:pt idx="40">
                  <c:v>0.18989506772061202</c:v>
                </c:pt>
                <c:pt idx="41">
                  <c:v>0.1931857638888889</c:v>
                </c:pt>
                <c:pt idx="42">
                  <c:v>0.19118435808669365</c:v>
                </c:pt>
                <c:pt idx="43">
                  <c:v>0.1848424212106053</c:v>
                </c:pt>
                <c:pt idx="44">
                  <c:v>0.18245932342268523</c:v>
                </c:pt>
                <c:pt idx="45">
                  <c:v>0.19764369081700067</c:v>
                </c:pt>
                <c:pt idx="46">
                  <c:v>0.20973189782562804</c:v>
                </c:pt>
                <c:pt idx="47">
                  <c:v>0.2101964475933312</c:v>
                </c:pt>
                <c:pt idx="48">
                  <c:v>0.2043618236577007</c:v>
                </c:pt>
                <c:pt idx="49">
                  <c:v>0.21280588500225192</c:v>
                </c:pt>
                <c:pt idx="50">
                  <c:v>0.21910028766987402</c:v>
                </c:pt>
                <c:pt idx="51">
                  <c:v>0.2106088600524212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98.8196222714489</c:v>
                </c:pt>
              </c:numCache>
            </c:numRef>
          </c:xVal>
          <c:yVal>
            <c:numRef>
              <c:f>Sheet1!$B$163:$B$164</c:f>
              <c:numCache>
                <c:formatCode>General</c:formatCode>
                <c:ptCount val="2"/>
                <c:pt idx="0">
                  <c:v>0.24812181271370543</c:v>
                </c:pt>
                <c:pt idx="1">
                  <c:v>0.248121812713705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98.8196222714489</c:v>
                </c:pt>
                <c:pt idx="1">
                  <c:v>598.8196222714489</c:v>
                </c:pt>
              </c:numCache>
            </c:numRef>
          </c:xVal>
          <c:yVal>
            <c:numRef>
              <c:f>Sheet1!$B$167:$B$168</c:f>
              <c:numCache>
                <c:formatCode>General</c:formatCode>
                <c:ptCount val="2"/>
                <c:pt idx="0">
                  <c:v>0.248121812713705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27.9668659640793</c:v>
                </c:pt>
              </c:numCache>
            </c:numRef>
          </c:xVal>
          <c:yVal>
            <c:numRef>
              <c:f>Sheet1!$B$171:$B$172</c:f>
              <c:numCache>
                <c:formatCode>General</c:formatCode>
                <c:ptCount val="2"/>
                <c:pt idx="0">
                  <c:v>0.211719214095562</c:v>
                </c:pt>
                <c:pt idx="1">
                  <c:v>0.21171921409556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27.9668659640793</c:v>
                </c:pt>
                <c:pt idx="1">
                  <c:v>1027.9668659640793</c:v>
                </c:pt>
              </c:numCache>
            </c:numRef>
          </c:xVal>
          <c:yVal>
            <c:numRef>
              <c:f>Sheet1!$B$175:$B$176</c:f>
              <c:numCache>
                <c:formatCode>General</c:formatCode>
                <c:ptCount val="2"/>
                <c:pt idx="0">
                  <c:v>0.2117192140955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7.7988791508278</c:v>
                </c:pt>
              </c:numCache>
            </c:numRef>
          </c:xVal>
          <c:yVal>
            <c:numRef>
              <c:f>Sheet1!$B$179:$B$180</c:f>
              <c:numCache>
                <c:formatCode>General</c:formatCode>
                <c:ptCount val="2"/>
                <c:pt idx="0">
                  <c:v>0.20070615800983355</c:v>
                </c:pt>
                <c:pt idx="1">
                  <c:v>0.2007061580098335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7.7988791508278</c:v>
                </c:pt>
                <c:pt idx="1">
                  <c:v>1157.7988791508278</c:v>
                </c:pt>
              </c:numCache>
            </c:numRef>
          </c:xVal>
          <c:yVal>
            <c:numRef>
              <c:f>Sheet1!$B$183:$B$184</c:f>
              <c:numCache>
                <c:formatCode>General</c:formatCode>
                <c:ptCount val="2"/>
                <c:pt idx="0">
                  <c:v>0.200706158009833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95.6848</c:v>
                </c:pt>
                <c:pt idx="1">
                  <c:v>1198.9994</c:v>
                </c:pt>
                <c:pt idx="2">
                  <c:v>1210.5629</c:v>
                </c:pt>
                <c:pt idx="3">
                  <c:v>1199.603</c:v>
                </c:pt>
                <c:pt idx="4">
                  <c:v>1217.8573</c:v>
                </c:pt>
                <c:pt idx="5">
                  <c:v>1213.9471</c:v>
                </c:pt>
                <c:pt idx="6">
                  <c:v>1133.9565</c:v>
                </c:pt>
                <c:pt idx="7">
                  <c:v>1164.5555</c:v>
                </c:pt>
                <c:pt idx="8">
                  <c:v>1201.2923</c:v>
                </c:pt>
                <c:pt idx="9">
                  <c:v>1136.7634</c:v>
                </c:pt>
                <c:pt idx="10">
                  <c:v>1160.9751</c:v>
                </c:pt>
                <c:pt idx="11">
                  <c:v>1076.0515</c:v>
                </c:pt>
                <c:pt idx="12">
                  <c:v>1107.9836</c:v>
                </c:pt>
                <c:pt idx="13">
                  <c:v>1135.0708</c:v>
                </c:pt>
                <c:pt idx="14">
                  <c:v>1145.0448</c:v>
                </c:pt>
                <c:pt idx="15">
                  <c:v>1152.681</c:v>
                </c:pt>
                <c:pt idx="16">
                  <c:v>1202.9584</c:v>
                </c:pt>
                <c:pt idx="17">
                  <c:v>1161.3676</c:v>
                </c:pt>
                <c:pt idx="18">
                  <c:v>1174.7117</c:v>
                </c:pt>
                <c:pt idx="19">
                  <c:v>1255.5536</c:v>
                </c:pt>
                <c:pt idx="20">
                  <c:v>1241.1818</c:v>
                </c:pt>
                <c:pt idx="21">
                  <c:v>1182.4799</c:v>
                </c:pt>
                <c:pt idx="22">
                  <c:v>1207.6495</c:v>
                </c:pt>
                <c:pt idx="23">
                  <c:v>1197.7542</c:v>
                </c:pt>
                <c:pt idx="24">
                  <c:v>1194.7574</c:v>
                </c:pt>
                <c:pt idx="25">
                  <c:v>1180.9858</c:v>
                </c:pt>
                <c:pt idx="26">
                  <c:v>1195.4343</c:v>
                </c:pt>
                <c:pt idx="27">
                  <c:v>1200.8557</c:v>
                </c:pt>
                <c:pt idx="28">
                  <c:v>1239.3249</c:v>
                </c:pt>
                <c:pt idx="29">
                  <c:v>1245.4634</c:v>
                </c:pt>
                <c:pt idx="30">
                  <c:v>1236.1846</c:v>
                </c:pt>
                <c:pt idx="31">
                  <c:v>1222.3516</c:v>
                </c:pt>
                <c:pt idx="32">
                  <c:v>1238.381</c:v>
                </c:pt>
                <c:pt idx="33">
                  <c:v>1235.9333</c:v>
                </c:pt>
                <c:pt idx="34">
                  <c:v>1249.3299</c:v>
                </c:pt>
                <c:pt idx="35">
                  <c:v>1268.9072</c:v>
                </c:pt>
                <c:pt idx="36">
                  <c:v>1290.0027</c:v>
                </c:pt>
                <c:pt idx="37">
                  <c:v>1273.1904</c:v>
                </c:pt>
                <c:pt idx="38">
                  <c:v>1281.431</c:v>
                </c:pt>
                <c:pt idx="39">
                  <c:v>1247.9419</c:v>
                </c:pt>
                <c:pt idx="40">
                  <c:v>1274.4374</c:v>
                </c:pt>
                <c:pt idx="41">
                  <c:v>1296.8614</c:v>
                </c:pt>
                <c:pt idx="42">
                  <c:v>1292.6702</c:v>
                </c:pt>
                <c:pt idx="43">
                  <c:v>1302.0746</c:v>
                </c:pt>
                <c:pt idx="44">
                  <c:v>1228.3732</c:v>
                </c:pt>
                <c:pt idx="45">
                  <c:v>1191.7719</c:v>
                </c:pt>
                <c:pt idx="46">
                  <c:v>1187.7071</c:v>
                </c:pt>
                <c:pt idx="47">
                  <c:v>1166.1368</c:v>
                </c:pt>
                <c:pt idx="48">
                  <c:v>1151.4027</c:v>
                </c:pt>
                <c:pt idx="49">
                  <c:v>1160.7003</c:v>
                </c:pt>
                <c:pt idx="50">
                  <c:v>1117.3454</c:v>
                </c:pt>
                <c:pt idx="51">
                  <c:v>1097.8635</c:v>
                </c:pt>
                <c:pt idx="52">
                  <c:v>1027.9668659640793</c:v>
                </c:pt>
                <c:pt idx="53">
                  <c:v>598.8196222714489</c:v>
                </c:pt>
                <c:pt idx="54">
                  <c:v>1157.7988791508278</c:v>
                </c:pt>
              </c:numCache>
            </c:numRef>
          </c:xVal>
          <c:yVal>
            <c:numRef>
              <c:f>Sheet1!$B$187:$B$241</c:f>
              <c:numCache>
                <c:formatCode>General</c:formatCode>
                <c:ptCount val="55"/>
                <c:pt idx="0">
                  <c:v>0.19749246855890246</c:v>
                </c:pt>
                <c:pt idx="1">
                  <c:v>0.1972113061952776</c:v>
                </c:pt>
                <c:pt idx="2">
                  <c:v>0.19623042735868326</c:v>
                </c:pt>
                <c:pt idx="3">
                  <c:v>0.1971601055669412</c:v>
                </c:pt>
                <c:pt idx="4">
                  <c:v>0.19561167675673283</c:v>
                </c:pt>
                <c:pt idx="5">
                  <c:v>0.1959433611452701</c:v>
                </c:pt>
                <c:pt idx="6">
                  <c:v>0.20272859802566834</c:v>
                </c:pt>
                <c:pt idx="7">
                  <c:v>0.20013302475451766</c:v>
                </c:pt>
                <c:pt idx="8">
                  <c:v>0.197016809971433</c:v>
                </c:pt>
                <c:pt idx="9">
                  <c:v>0.20249050153183543</c:v>
                </c:pt>
                <c:pt idx="10">
                  <c:v>0.20043673371690296</c:v>
                </c:pt>
                <c:pt idx="11">
                  <c:v>0.20764041443358947</c:v>
                </c:pt>
                <c:pt idx="12">
                  <c:v>0.20493176038438166</c:v>
                </c:pt>
                <c:pt idx="13">
                  <c:v>0.20263407705125597</c:v>
                </c:pt>
                <c:pt idx="14">
                  <c:v>0.20178802823245615</c:v>
                </c:pt>
                <c:pt idx="15">
                  <c:v>0.20114028429921776</c:v>
                </c:pt>
                <c:pt idx="16">
                  <c:v>0.19687548232585425</c:v>
                </c:pt>
                <c:pt idx="17">
                  <c:v>0.2004034397364158</c:v>
                </c:pt>
                <c:pt idx="18">
                  <c:v>0.19927152074273752</c:v>
                </c:pt>
                <c:pt idx="19">
                  <c:v>0.1924140719754891</c:v>
                </c:pt>
                <c:pt idx="20">
                  <c:v>0.19363316606151554</c:v>
                </c:pt>
                <c:pt idx="21">
                  <c:v>0.19861257985300412</c:v>
                </c:pt>
                <c:pt idx="22">
                  <c:v>0.1964775577605974</c:v>
                </c:pt>
                <c:pt idx="23">
                  <c:v>0.1973169308182142</c:v>
                </c:pt>
                <c:pt idx="24">
                  <c:v>0.19757113566082293</c:v>
                </c:pt>
                <c:pt idx="25">
                  <c:v>0.19873931752496812</c:v>
                </c:pt>
                <c:pt idx="26">
                  <c:v>0.1975137173286146</c:v>
                </c:pt>
                <c:pt idx="27">
                  <c:v>0.19705384475329463</c:v>
                </c:pt>
                <c:pt idx="28">
                  <c:v>0.1937906783987553</c:v>
                </c:pt>
                <c:pt idx="29">
                  <c:v>0.1932699775090217</c:v>
                </c:pt>
                <c:pt idx="30">
                  <c:v>0.19405705569028098</c:v>
                </c:pt>
                <c:pt idx="31">
                  <c:v>0.19523044583570492</c:v>
                </c:pt>
                <c:pt idx="32">
                  <c:v>0.19387074512023766</c:v>
                </c:pt>
                <c:pt idx="33">
                  <c:v>0.1940783723203356</c:v>
                </c:pt>
                <c:pt idx="34">
                  <c:v>0.19294199999168768</c:v>
                </c:pt>
                <c:pt idx="35">
                  <c:v>0.19128134714024486</c:v>
                </c:pt>
                <c:pt idx="36">
                  <c:v>0.1894919123240235</c:v>
                </c:pt>
                <c:pt idx="37">
                  <c:v>0.19091802286706627</c:v>
                </c:pt>
                <c:pt idx="38">
                  <c:v>0.19021901044514908</c:v>
                </c:pt>
                <c:pt idx="39">
                  <c:v>0.19305973768574164</c:v>
                </c:pt>
                <c:pt idx="40">
                  <c:v>0.1908122455583593</c:v>
                </c:pt>
                <c:pt idx="41">
                  <c:v>0.1889101201610495</c:v>
                </c:pt>
                <c:pt idx="42">
                  <c:v>0.18926564049485278</c:v>
                </c:pt>
                <c:pt idx="43">
                  <c:v>0.1884679082398376</c:v>
                </c:pt>
                <c:pt idx="44">
                  <c:v>0.1947196610385037</c:v>
                </c:pt>
                <c:pt idx="45">
                  <c:v>0.19782438197609534</c:v>
                </c:pt>
                <c:pt idx="46">
                  <c:v>0.19816918037580034</c:v>
                </c:pt>
                <c:pt idx="47">
                  <c:v>0.1999988903052327</c:v>
                </c:pt>
                <c:pt idx="48">
                  <c:v>0.2012487166438209</c:v>
                </c:pt>
                <c:pt idx="49">
                  <c:v>0.20046004374451537</c:v>
                </c:pt>
                <c:pt idx="50">
                  <c:v>0.20413764169259896</c:v>
                </c:pt>
                <c:pt idx="51">
                  <c:v>0.20579020219821126</c:v>
                </c:pt>
                <c:pt idx="52">
                  <c:v>0.211719214095562</c:v>
                </c:pt>
                <c:pt idx="53">
                  <c:v>0.24812181271370543</c:v>
                </c:pt>
                <c:pt idx="54">
                  <c:v>0.200706158009833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2.0"/>
          <c:min val="47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59615384615384"/>
          <c:min val="0.1313637663204040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313.9583</c:v>
                </c:pt>
                <c:pt idx="1">
                  <c:v>1360.0</c:v>
                </c:pt>
                <c:pt idx="2">
                  <c:v>1342.6207</c:v>
                </c:pt>
                <c:pt idx="3">
                  <c:v>1274.1765</c:v>
                </c:pt>
                <c:pt idx="4">
                  <c:v>1090.3433</c:v>
                </c:pt>
                <c:pt idx="5">
                  <c:v>1202.425</c:v>
                </c:pt>
                <c:pt idx="6">
                  <c:v>981.3243</c:v>
                </c:pt>
                <c:pt idx="7">
                  <c:v>1065.88</c:v>
                </c:pt>
                <c:pt idx="8">
                  <c:v>1183.3548</c:v>
                </c:pt>
                <c:pt idx="9">
                  <c:v>1188.85</c:v>
                </c:pt>
                <c:pt idx="10">
                  <c:v>1095.6098</c:v>
                </c:pt>
                <c:pt idx="11">
                  <c:v>1223.5357</c:v>
                </c:pt>
                <c:pt idx="12">
                  <c:v>1194.697</c:v>
                </c:pt>
                <c:pt idx="13">
                  <c:v>1092.8378</c:v>
                </c:pt>
                <c:pt idx="14">
                  <c:v>1180.6129</c:v>
                </c:pt>
                <c:pt idx="15">
                  <c:v>1270.9</c:v>
                </c:pt>
                <c:pt idx="16">
                  <c:v>1311.2857</c:v>
                </c:pt>
                <c:pt idx="17">
                  <c:v>1249.5833</c:v>
                </c:pt>
                <c:pt idx="18">
                  <c:v>1119.0833</c:v>
                </c:pt>
                <c:pt idx="19">
                  <c:v>1246.4286</c:v>
                </c:pt>
                <c:pt idx="20">
                  <c:v>1289.2857</c:v>
                </c:pt>
                <c:pt idx="21">
                  <c:v>1047.925</c:v>
                </c:pt>
                <c:pt idx="22">
                  <c:v>1240.0</c:v>
                </c:pt>
                <c:pt idx="23">
                  <c:v>1369.25</c:v>
                </c:pt>
                <c:pt idx="24">
                  <c:v>1255.0909</c:v>
                </c:pt>
                <c:pt idx="25">
                  <c:v>1138.8</c:v>
                </c:pt>
                <c:pt idx="26">
                  <c:v>1015.125</c:v>
                </c:pt>
                <c:pt idx="27">
                  <c:v>1360.3333</c:v>
                </c:pt>
                <c:pt idx="28">
                  <c:v>1318.8333</c:v>
                </c:pt>
                <c:pt idx="29">
                  <c:v>1208.0</c:v>
                </c:pt>
                <c:pt idx="30">
                  <c:v>1070.2083</c:v>
                </c:pt>
                <c:pt idx="31">
                  <c:v>1098.6957</c:v>
                </c:pt>
                <c:pt idx="32">
                  <c:v>1065.6364</c:v>
                </c:pt>
                <c:pt idx="33">
                  <c:v>1045.5714</c:v>
                </c:pt>
                <c:pt idx="34">
                  <c:v>1075.5806</c:v>
                </c:pt>
                <c:pt idx="35">
                  <c:v>1287.9231</c:v>
                </c:pt>
                <c:pt idx="36">
                  <c:v>952.4762</c:v>
                </c:pt>
                <c:pt idx="37">
                  <c:v>842.4737</c:v>
                </c:pt>
                <c:pt idx="38">
                  <c:v>1028.4667</c:v>
                </c:pt>
                <c:pt idx="39">
                  <c:v>947.8571</c:v>
                </c:pt>
                <c:pt idx="40">
                  <c:v>1117.3529</c:v>
                </c:pt>
                <c:pt idx="41">
                  <c:v>833.7692</c:v>
                </c:pt>
                <c:pt idx="42">
                  <c:v>1090.375</c:v>
                </c:pt>
                <c:pt idx="43">
                  <c:v>1023.75</c:v>
                </c:pt>
                <c:pt idx="44">
                  <c:v>913.7412</c:v>
                </c:pt>
                <c:pt idx="45">
                  <c:v>1202.8</c:v>
                </c:pt>
                <c:pt idx="46">
                  <c:v>1213.0909</c:v>
                </c:pt>
                <c:pt idx="47">
                  <c:v>1087.56</c:v>
                </c:pt>
                <c:pt idx="48">
                  <c:v>1295.7353</c:v>
                </c:pt>
                <c:pt idx="49">
                  <c:v>848.6625</c:v>
                </c:pt>
                <c:pt idx="50">
                  <c:v>898.8582</c:v>
                </c:pt>
                <c:pt idx="51">
                  <c:v>896.8621</c:v>
                </c:pt>
                <c:pt idx="52">
                  <c:v>901.2814</c:v>
                </c:pt>
                <c:pt idx="53">
                  <c:v>906.543</c:v>
                </c:pt>
                <c:pt idx="54">
                  <c:v>904.0663</c:v>
                </c:pt>
                <c:pt idx="55">
                  <c:v>930.064</c:v>
                </c:pt>
                <c:pt idx="56">
                  <c:v>890.354</c:v>
                </c:pt>
                <c:pt idx="57">
                  <c:v>866.2755</c:v>
                </c:pt>
                <c:pt idx="58">
                  <c:v>878.9091</c:v>
                </c:pt>
                <c:pt idx="59">
                  <c:v>811.6877</c:v>
                </c:pt>
                <c:pt idx="60">
                  <c:v>840.1422</c:v>
                </c:pt>
                <c:pt idx="61">
                  <c:v>938.1399</c:v>
                </c:pt>
                <c:pt idx="62">
                  <c:v>924.4052</c:v>
                </c:pt>
                <c:pt idx="63">
                  <c:v>931.3678</c:v>
                </c:pt>
                <c:pt idx="64">
                  <c:v>945.1702</c:v>
                </c:pt>
                <c:pt idx="65">
                  <c:v>940.0</c:v>
                </c:pt>
                <c:pt idx="66">
                  <c:v>927.2719</c:v>
                </c:pt>
                <c:pt idx="67">
                  <c:v>936.1071</c:v>
                </c:pt>
                <c:pt idx="68">
                  <c:v>956.604</c:v>
                </c:pt>
                <c:pt idx="69">
                  <c:v>951.5</c:v>
                </c:pt>
                <c:pt idx="70">
                  <c:v>887.4776</c:v>
                </c:pt>
                <c:pt idx="71">
                  <c:v>818.1075</c:v>
                </c:pt>
                <c:pt idx="72">
                  <c:v>785.3604</c:v>
                </c:pt>
                <c:pt idx="73">
                  <c:v>638.6832</c:v>
                </c:pt>
                <c:pt idx="74">
                  <c:v>419.9343</c:v>
                </c:pt>
                <c:pt idx="75">
                  <c:v>706.519</c:v>
                </c:pt>
                <c:pt idx="76">
                  <c:v>726.1449</c:v>
                </c:pt>
                <c:pt idx="77">
                  <c:v>813.8621</c:v>
                </c:pt>
                <c:pt idx="78">
                  <c:v>895.4324</c:v>
                </c:pt>
                <c:pt idx="79">
                  <c:v>1010.68</c:v>
                </c:pt>
                <c:pt idx="80">
                  <c:v>848.5455</c:v>
                </c:pt>
                <c:pt idx="81">
                  <c:v>1063.6429</c:v>
                </c:pt>
                <c:pt idx="82">
                  <c:v>1092.9048</c:v>
                </c:pt>
                <c:pt idx="83">
                  <c:v>1105.375</c:v>
                </c:pt>
                <c:pt idx="84">
                  <c:v>1088.6154</c:v>
                </c:pt>
                <c:pt idx="85">
                  <c:v>1035.5</c:v>
                </c:pt>
                <c:pt idx="86">
                  <c:v>1042.2424</c:v>
                </c:pt>
                <c:pt idx="87">
                  <c:v>927.7111</c:v>
                </c:pt>
                <c:pt idx="88">
                  <c:v>1158.2286</c:v>
                </c:pt>
                <c:pt idx="89">
                  <c:v>1251.7857</c:v>
                </c:pt>
                <c:pt idx="90">
                  <c:v>1189.2973</c:v>
                </c:pt>
                <c:pt idx="91">
                  <c:v>1225.8261</c:v>
                </c:pt>
                <c:pt idx="92">
                  <c:v>1093.5</c:v>
                </c:pt>
                <c:pt idx="93">
                  <c:v>985.6585</c:v>
                </c:pt>
                <c:pt idx="94">
                  <c:v>1189.6552</c:v>
                </c:pt>
                <c:pt idx="95">
                  <c:v>1525.0769</c:v>
                </c:pt>
                <c:pt idx="96">
                  <c:v>1100.0667</c:v>
                </c:pt>
                <c:pt idx="97">
                  <c:v>1088.8696</c:v>
                </c:pt>
                <c:pt idx="98">
                  <c:v>956.2969</c:v>
                </c:pt>
                <c:pt idx="99">
                  <c:v>792.9237</c:v>
                </c:pt>
                <c:pt idx="100">
                  <c:v>887.4926</c:v>
                </c:pt>
                <c:pt idx="101">
                  <c:v>840.747</c:v>
                </c:pt>
                <c:pt idx="102">
                  <c:v>927.9429</c:v>
                </c:pt>
                <c:pt idx="103">
                  <c:v>1022.1607</c:v>
                </c:pt>
                <c:pt idx="104">
                  <c:v>1112.9655</c:v>
                </c:pt>
              </c:numCache>
            </c:numRef>
          </c:xVal>
          <c:yVal>
            <c:numRef>
              <c:f>Sheet1!$B$2:$B$106</c:f>
              <c:numCache>
                <c:formatCode>General</c:formatCode>
                <c:ptCount val="105"/>
                <c:pt idx="0">
                  <c:v>0.0625</c:v>
                </c:pt>
                <c:pt idx="1">
                  <c:v>0.08</c:v>
                </c:pt>
                <c:pt idx="2">
                  <c:v>0.08405797101449275</c:v>
                </c:pt>
                <c:pt idx="3">
                  <c:v>0.06563706563706563</c:v>
                </c:pt>
                <c:pt idx="4">
                  <c:v>0.25475285171102663</c:v>
                </c:pt>
                <c:pt idx="5">
                  <c:v>0.1520912547528517</c:v>
                </c:pt>
                <c:pt idx="6">
                  <c:v>0.13309352517985612</c:v>
                </c:pt>
                <c:pt idx="7">
                  <c:v>0.09881422924901186</c:v>
                </c:pt>
                <c:pt idx="8">
                  <c:v>0.13839285714285715</c:v>
                </c:pt>
                <c:pt idx="9">
                  <c:v>0.08196721311475409</c:v>
                </c:pt>
                <c:pt idx="10">
                  <c:v>0.14186851211072665</c:v>
                </c:pt>
                <c:pt idx="11">
                  <c:v>0.0880503144654088</c:v>
                </c:pt>
                <c:pt idx="12">
                  <c:v>0.09141274238227147</c:v>
                </c:pt>
                <c:pt idx="13">
                  <c:v>0.13357400722021662</c:v>
                </c:pt>
                <c:pt idx="14">
                  <c:v>0.13716814159292035</c:v>
                </c:pt>
                <c:pt idx="15">
                  <c:v>0.16759776536312848</c:v>
                </c:pt>
                <c:pt idx="16">
                  <c:v>0.06796116504854369</c:v>
                </c:pt>
                <c:pt idx="17">
                  <c:v>0.09917355371900827</c:v>
                </c:pt>
                <c:pt idx="18">
                  <c:v>0.09302325581395349</c:v>
                </c:pt>
                <c:pt idx="19">
                  <c:v>0.056</c:v>
                </c:pt>
                <c:pt idx="20">
                  <c:v>0.07216494845360824</c:v>
                </c:pt>
                <c:pt idx="21">
                  <c:v>0.22099447513812154</c:v>
                </c:pt>
                <c:pt idx="22">
                  <c:v>0.04580152671755725</c:v>
                </c:pt>
                <c:pt idx="23">
                  <c:v>0.09523809523809523</c:v>
                </c:pt>
                <c:pt idx="24">
                  <c:v>0.08396946564885496</c:v>
                </c:pt>
                <c:pt idx="25">
                  <c:v>0.10869565217391304</c:v>
                </c:pt>
                <c:pt idx="26">
                  <c:v>0.06666666666666667</c:v>
                </c:pt>
                <c:pt idx="27">
                  <c:v>0.08333333333333333</c:v>
                </c:pt>
                <c:pt idx="28">
                  <c:v>0.11009174311926606</c:v>
                </c:pt>
                <c:pt idx="29">
                  <c:v>0.1391304347826087</c:v>
                </c:pt>
                <c:pt idx="30">
                  <c:v>0.22641509433962265</c:v>
                </c:pt>
                <c:pt idx="31">
                  <c:v>0.152317880794702</c:v>
                </c:pt>
                <c:pt idx="32">
                  <c:v>0.205607476635514</c:v>
                </c:pt>
                <c:pt idx="33">
                  <c:v>0.24347826086956523</c:v>
                </c:pt>
                <c:pt idx="34">
                  <c:v>0.19135802469135801</c:v>
                </c:pt>
                <c:pt idx="35">
                  <c:v>0.09923664122137404</c:v>
                </c:pt>
                <c:pt idx="36">
                  <c:v>0.13636363636363635</c:v>
                </c:pt>
                <c:pt idx="37">
                  <c:v>0.16666666666666666</c:v>
                </c:pt>
                <c:pt idx="38">
                  <c:v>0.11904761904761904</c:v>
                </c:pt>
                <c:pt idx="39">
                  <c:v>0.12389380530973451</c:v>
                </c:pt>
                <c:pt idx="40">
                  <c:v>0.1259259259259259</c:v>
                </c:pt>
                <c:pt idx="41">
                  <c:v>0.10569105691056911</c:v>
                </c:pt>
                <c:pt idx="42">
                  <c:v>0.10457516339869281</c:v>
                </c:pt>
                <c:pt idx="43">
                  <c:v>0.06936416184971098</c:v>
                </c:pt>
                <c:pt idx="44">
                  <c:v>0.3346456692913386</c:v>
                </c:pt>
                <c:pt idx="45">
                  <c:v>0.11494252873563218</c:v>
                </c:pt>
                <c:pt idx="46">
                  <c:v>0.11578947368421053</c:v>
                </c:pt>
                <c:pt idx="47">
                  <c:v>0.12626262626262627</c:v>
                </c:pt>
                <c:pt idx="48">
                  <c:v>0.09826589595375723</c:v>
                </c:pt>
                <c:pt idx="49">
                  <c:v>0.6660550458715596</c:v>
                </c:pt>
                <c:pt idx="50">
                  <c:v>0.5630252100840336</c:v>
                </c:pt>
                <c:pt idx="51">
                  <c:v>0.4793388429752066</c:v>
                </c:pt>
                <c:pt idx="52">
                  <c:v>0.5230496453900709</c:v>
                </c:pt>
                <c:pt idx="53">
                  <c:v>0.5529157667386609</c:v>
                </c:pt>
                <c:pt idx="54">
                  <c:v>0.5764705882352941</c:v>
                </c:pt>
                <c:pt idx="55">
                  <c:v>0.5358255451713395</c:v>
                </c:pt>
                <c:pt idx="56">
                  <c:v>0.5707070707070707</c:v>
                </c:pt>
                <c:pt idx="57">
                  <c:v>0.5590717299578059</c:v>
                </c:pt>
                <c:pt idx="58">
                  <c:v>0.5082508250825083</c:v>
                </c:pt>
                <c:pt idx="59">
                  <c:v>0.5597345132743363</c:v>
                </c:pt>
                <c:pt idx="60">
                  <c:v>0.5691158156911582</c:v>
                </c:pt>
                <c:pt idx="61">
                  <c:v>0.44101633393829404</c:v>
                </c:pt>
                <c:pt idx="62">
                  <c:v>0.4280442804428044</c:v>
                </c:pt>
                <c:pt idx="63">
                  <c:v>0.45233968804159447</c:v>
                </c:pt>
                <c:pt idx="64">
                  <c:v>0.39232053422370616</c:v>
                </c:pt>
                <c:pt idx="65">
                  <c:v>0.3806818181818182</c:v>
                </c:pt>
                <c:pt idx="66">
                  <c:v>0.4470588235294118</c:v>
                </c:pt>
                <c:pt idx="67">
                  <c:v>0.35073068893528186</c:v>
                </c:pt>
                <c:pt idx="68">
                  <c:v>0.3743718592964824</c:v>
                </c:pt>
                <c:pt idx="69">
                  <c:v>0.3176895306859206</c:v>
                </c:pt>
                <c:pt idx="70">
                  <c:v>0.2637795275590551</c:v>
                </c:pt>
                <c:pt idx="71">
                  <c:v>0.3069306930693069</c:v>
                </c:pt>
                <c:pt idx="72">
                  <c:v>0.3512658227848101</c:v>
                </c:pt>
                <c:pt idx="73">
                  <c:v>0.3186119873817035</c:v>
                </c:pt>
                <c:pt idx="74">
                  <c:v>0.5336927223719676</c:v>
                </c:pt>
                <c:pt idx="75">
                  <c:v>0.4030612244897959</c:v>
                </c:pt>
                <c:pt idx="76">
                  <c:v>0.3709677419354839</c:v>
                </c:pt>
                <c:pt idx="77">
                  <c:v>0.3352601156069364</c:v>
                </c:pt>
                <c:pt idx="78">
                  <c:v>0.4111111111111111</c:v>
                </c:pt>
                <c:pt idx="79">
                  <c:v>0.19083969465648856</c:v>
                </c:pt>
                <c:pt idx="80">
                  <c:v>0.20754716981132076</c:v>
                </c:pt>
                <c:pt idx="81">
                  <c:v>0.13930348258706468</c:v>
                </c:pt>
                <c:pt idx="82">
                  <c:v>0.13815789473684212</c:v>
                </c:pt>
                <c:pt idx="83">
                  <c:v>0.14545454545454545</c:v>
                </c:pt>
                <c:pt idx="84">
                  <c:v>0.12264150943396226</c:v>
                </c:pt>
                <c:pt idx="85">
                  <c:v>0.19402985074626866</c:v>
                </c:pt>
                <c:pt idx="86">
                  <c:v>0.21019108280254778</c:v>
                </c:pt>
                <c:pt idx="87">
                  <c:v>0.36585365853658536</c:v>
                </c:pt>
                <c:pt idx="88">
                  <c:v>0.23026315789473684</c:v>
                </c:pt>
                <c:pt idx="89">
                  <c:v>0.19718309859154928</c:v>
                </c:pt>
                <c:pt idx="90">
                  <c:v>0.23125</c:v>
                </c:pt>
                <c:pt idx="91">
                  <c:v>0.11557788944723618</c:v>
                </c:pt>
                <c:pt idx="92">
                  <c:v>0.16037735849056603</c:v>
                </c:pt>
                <c:pt idx="93">
                  <c:v>0.21578947368421053</c:v>
                </c:pt>
                <c:pt idx="94">
                  <c:v>0.16292134831460675</c:v>
                </c:pt>
                <c:pt idx="95">
                  <c:v>0.2846715328467153</c:v>
                </c:pt>
                <c:pt idx="96">
                  <c:v>0.12345679012345678</c:v>
                </c:pt>
                <c:pt idx="97">
                  <c:v>0.1393939393939394</c:v>
                </c:pt>
                <c:pt idx="98">
                  <c:v>0.17297297297297298</c:v>
                </c:pt>
                <c:pt idx="99">
                  <c:v>0.2635814889336016</c:v>
                </c:pt>
                <c:pt idx="100">
                  <c:v>0.3695652173913043</c:v>
                </c:pt>
                <c:pt idx="101">
                  <c:v>0.1925754060324826</c:v>
                </c:pt>
                <c:pt idx="102">
                  <c:v>0.23542600896860988</c:v>
                </c:pt>
                <c:pt idx="103">
                  <c:v>0.14933333333333335</c:v>
                </c:pt>
                <c:pt idx="104">
                  <c:v>0.0892307692307692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77.2353</c:v>
                </c:pt>
                <c:pt idx="1">
                  <c:v>732.8261</c:v>
                </c:pt>
                <c:pt idx="2">
                  <c:v>705.1452</c:v>
                </c:pt>
                <c:pt idx="3">
                  <c:v>706.3784</c:v>
                </c:pt>
                <c:pt idx="4">
                  <c:v>712.3816</c:v>
                </c:pt>
                <c:pt idx="5">
                  <c:v>760.1129</c:v>
                </c:pt>
                <c:pt idx="6">
                  <c:v>721.1696</c:v>
                </c:pt>
                <c:pt idx="7">
                  <c:v>818.4222</c:v>
                </c:pt>
                <c:pt idx="8">
                  <c:v>802.3824</c:v>
                </c:pt>
                <c:pt idx="9">
                  <c:v>802.3966</c:v>
                </c:pt>
                <c:pt idx="10">
                  <c:v>820.0853</c:v>
                </c:pt>
                <c:pt idx="11">
                  <c:v>562.3521</c:v>
                </c:pt>
                <c:pt idx="12">
                  <c:v>497.9644</c:v>
                </c:pt>
                <c:pt idx="13">
                  <c:v>516.6767</c:v>
                </c:pt>
                <c:pt idx="14">
                  <c:v>487.8901</c:v>
                </c:pt>
                <c:pt idx="15">
                  <c:v>482.2157</c:v>
                </c:pt>
                <c:pt idx="16">
                  <c:v>490.6277</c:v>
                </c:pt>
                <c:pt idx="17">
                  <c:v>476.5094</c:v>
                </c:pt>
                <c:pt idx="18">
                  <c:v>503.1899</c:v>
                </c:pt>
                <c:pt idx="19">
                  <c:v>489.734</c:v>
                </c:pt>
                <c:pt idx="20">
                  <c:v>503.7647</c:v>
                </c:pt>
                <c:pt idx="21">
                  <c:v>579.931</c:v>
                </c:pt>
                <c:pt idx="22">
                  <c:v>412.4495</c:v>
                </c:pt>
                <c:pt idx="23">
                  <c:v>416.7463</c:v>
                </c:pt>
                <c:pt idx="24">
                  <c:v>416.5872</c:v>
                </c:pt>
                <c:pt idx="25">
                  <c:v>443.7342</c:v>
                </c:pt>
                <c:pt idx="26">
                  <c:v>500.8889</c:v>
                </c:pt>
                <c:pt idx="27">
                  <c:v>523.8519</c:v>
                </c:pt>
                <c:pt idx="28">
                  <c:v>573.1212</c:v>
                </c:pt>
                <c:pt idx="29">
                  <c:v>504.4667</c:v>
                </c:pt>
                <c:pt idx="30">
                  <c:v>726.0455</c:v>
                </c:pt>
                <c:pt idx="31">
                  <c:v>621.9333</c:v>
                </c:pt>
                <c:pt idx="32">
                  <c:v>561.3667</c:v>
                </c:pt>
                <c:pt idx="33">
                  <c:v>652.9091</c:v>
                </c:pt>
                <c:pt idx="34">
                  <c:v>1110.8444</c:v>
                </c:pt>
                <c:pt idx="35">
                  <c:v>685.3095</c:v>
                </c:pt>
                <c:pt idx="36">
                  <c:v>683.0741</c:v>
                </c:pt>
                <c:pt idx="37">
                  <c:v>400.6667</c:v>
                </c:pt>
                <c:pt idx="38">
                  <c:v>389.2727</c:v>
                </c:pt>
                <c:pt idx="39">
                  <c:v>481.5556</c:v>
                </c:pt>
                <c:pt idx="40">
                  <c:v>435.2273</c:v>
                </c:pt>
                <c:pt idx="41">
                  <c:v>527.8889</c:v>
                </c:pt>
                <c:pt idx="42">
                  <c:v>567.1087</c:v>
                </c:pt>
                <c:pt idx="43">
                  <c:v>506.8462</c:v>
                </c:pt>
                <c:pt idx="44">
                  <c:v>492.5192</c:v>
                </c:pt>
                <c:pt idx="45">
                  <c:v>558.0862</c:v>
                </c:pt>
                <c:pt idx="46">
                  <c:v>489.1379</c:v>
                </c:pt>
                <c:pt idx="47">
                  <c:v>377.1525</c:v>
                </c:pt>
                <c:pt idx="48">
                  <c:v>561.8298</c:v>
                </c:pt>
                <c:pt idx="49">
                  <c:v>754.2128</c:v>
                </c:pt>
                <c:pt idx="50">
                  <c:v>704.5536</c:v>
                </c:pt>
                <c:pt idx="51">
                  <c:v>786.75</c:v>
                </c:pt>
              </c:numCache>
            </c:numRef>
          </c:xVal>
          <c:yVal>
            <c:numRef>
              <c:f>Sheet1!$B$109:$B$160</c:f>
              <c:numCache>
                <c:formatCode>General</c:formatCode>
                <c:ptCount val="52"/>
                <c:pt idx="0">
                  <c:v>0.10397553516819572</c:v>
                </c:pt>
                <c:pt idx="1">
                  <c:v>0.35475578406169667</c:v>
                </c:pt>
                <c:pt idx="2">
                  <c:v>0.464354527938343</c:v>
                </c:pt>
                <c:pt idx="3">
                  <c:v>0.5048732943469786</c:v>
                </c:pt>
                <c:pt idx="4">
                  <c:v>0.4367816091954023</c:v>
                </c:pt>
                <c:pt idx="5">
                  <c:v>0.3701492537313433</c:v>
                </c:pt>
                <c:pt idx="6">
                  <c:v>0.3220338983050847</c:v>
                </c:pt>
                <c:pt idx="7">
                  <c:v>0.39823008849557523</c:v>
                </c:pt>
                <c:pt idx="8">
                  <c:v>0.2764227642276423</c:v>
                </c:pt>
                <c:pt idx="9">
                  <c:v>0.27884615384615385</c:v>
                </c:pt>
                <c:pt idx="10">
                  <c:v>0.27682403433476394</c:v>
                </c:pt>
                <c:pt idx="11">
                  <c:v>0.39497041420118345</c:v>
                </c:pt>
                <c:pt idx="12">
                  <c:v>0.42128935532233885</c:v>
                </c:pt>
                <c:pt idx="13">
                  <c:v>0.41134751773049644</c:v>
                </c:pt>
                <c:pt idx="14">
                  <c:v>0.4170305676855895</c:v>
                </c:pt>
                <c:pt idx="15">
                  <c:v>0.3583138173302108</c:v>
                </c:pt>
                <c:pt idx="16">
                  <c:v>0.38055555555555554</c:v>
                </c:pt>
                <c:pt idx="17">
                  <c:v>0.3281733746130031</c:v>
                </c:pt>
                <c:pt idx="18">
                  <c:v>0.3640552995391705</c:v>
                </c:pt>
                <c:pt idx="19">
                  <c:v>0.3418181818181818</c:v>
                </c:pt>
                <c:pt idx="20">
                  <c:v>0.3222748815165877</c:v>
                </c:pt>
                <c:pt idx="21">
                  <c:v>0.21014492753623187</c:v>
                </c:pt>
                <c:pt idx="22">
                  <c:v>0.4579831932773109</c:v>
                </c:pt>
                <c:pt idx="23">
                  <c:v>0.5193798449612403</c:v>
                </c:pt>
                <c:pt idx="24">
                  <c:v>0.3609271523178808</c:v>
                </c:pt>
                <c:pt idx="25">
                  <c:v>0.34497816593886466</c:v>
                </c:pt>
                <c:pt idx="26">
                  <c:v>0.18652849740932642</c:v>
                </c:pt>
                <c:pt idx="27">
                  <c:v>0.18</c:v>
                </c:pt>
                <c:pt idx="28">
                  <c:v>0.17010309278350516</c:v>
                </c:pt>
                <c:pt idx="29">
                  <c:v>0.1694915254237288</c:v>
                </c:pt>
                <c:pt idx="30">
                  <c:v>0.12087912087912088</c:v>
                </c:pt>
                <c:pt idx="31">
                  <c:v>0.09803921568627451</c:v>
                </c:pt>
                <c:pt idx="32">
                  <c:v>0.14563106796116504</c:v>
                </c:pt>
                <c:pt idx="33">
                  <c:v>0.20657276995305165</c:v>
                </c:pt>
                <c:pt idx="34">
                  <c:v>0.15306122448979592</c:v>
                </c:pt>
                <c:pt idx="35">
                  <c:v>0.1700404858299595</c:v>
                </c:pt>
                <c:pt idx="36">
                  <c:v>0.14285714285714285</c:v>
                </c:pt>
                <c:pt idx="37">
                  <c:v>0.3446808510638298</c:v>
                </c:pt>
                <c:pt idx="38">
                  <c:v>0.3289036544850498</c:v>
                </c:pt>
                <c:pt idx="39">
                  <c:v>0.32459016393442625</c:v>
                </c:pt>
                <c:pt idx="40">
                  <c:v>0.2268041237113402</c:v>
                </c:pt>
                <c:pt idx="41">
                  <c:v>0.183206106870229</c:v>
                </c:pt>
                <c:pt idx="42">
                  <c:v>0.12234042553191489</c:v>
                </c:pt>
                <c:pt idx="43">
                  <c:v>0.10677618069815195</c:v>
                </c:pt>
                <c:pt idx="44">
                  <c:v>0.0840064620355412</c:v>
                </c:pt>
                <c:pt idx="45">
                  <c:v>0.13908872901678657</c:v>
                </c:pt>
                <c:pt idx="46">
                  <c:v>0.15675675675675677</c:v>
                </c:pt>
                <c:pt idx="47">
                  <c:v>0.1634349030470914</c:v>
                </c:pt>
                <c:pt idx="48">
                  <c:v>0.12806539509536785</c:v>
                </c:pt>
                <c:pt idx="49">
                  <c:v>0.09812108559498957</c:v>
                </c:pt>
                <c:pt idx="50">
                  <c:v>0.08459214501510574</c:v>
                </c:pt>
                <c:pt idx="51">
                  <c:v>0.0745920745920745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95.1773549514012</c:v>
                </c:pt>
              </c:numCache>
            </c:numRef>
          </c:xVal>
          <c:yVal>
            <c:numRef>
              <c:f>Sheet1!$B$163:$B$164</c:f>
              <c:numCache>
                <c:formatCode>General</c:formatCode>
                <c:ptCount val="2"/>
                <c:pt idx="0">
                  <c:v>0.5201404996256002</c:v>
                </c:pt>
                <c:pt idx="1">
                  <c:v>0.520140499625600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95.1773549514012</c:v>
                </c:pt>
                <c:pt idx="1">
                  <c:v>-795.1773549514012</c:v>
                </c:pt>
              </c:numCache>
            </c:numRef>
          </c:xVal>
          <c:yVal>
            <c:numRef>
              <c:f>Sheet1!$B$167:$B$168</c:f>
              <c:numCache>
                <c:formatCode>General</c:formatCode>
                <c:ptCount val="2"/>
                <c:pt idx="0">
                  <c:v>0.52014049962560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81.28051166614583</c:v>
                </c:pt>
              </c:numCache>
            </c:numRef>
          </c:xVal>
          <c:yVal>
            <c:numRef>
              <c:f>Sheet1!$B$171:$B$172</c:f>
              <c:numCache>
                <c:formatCode>General</c:formatCode>
                <c:ptCount val="2"/>
                <c:pt idx="0">
                  <c:v>0.3590640839411402</c:v>
                </c:pt>
                <c:pt idx="1">
                  <c:v>0.359064083941140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81.28051166614583</c:v>
                </c:pt>
                <c:pt idx="1">
                  <c:v>81.28051166614583</c:v>
                </c:pt>
              </c:numCache>
            </c:numRef>
          </c:xVal>
          <c:yVal>
            <c:numRef>
              <c:f>Sheet1!$B$175:$B$176</c:f>
              <c:numCache>
                <c:formatCode>General</c:formatCode>
                <c:ptCount val="2"/>
                <c:pt idx="0">
                  <c:v>0.35906408394114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42.9711195461907</c:v>
                </c:pt>
              </c:numCache>
            </c:numRef>
          </c:xVal>
          <c:yVal>
            <c:numRef>
              <c:f>Sheet1!$B$179:$B$180</c:f>
              <c:numCache>
                <c:formatCode>General</c:formatCode>
                <c:ptCount val="2"/>
                <c:pt idx="0">
                  <c:v>0.14556727322305968</c:v>
                </c:pt>
                <c:pt idx="1">
                  <c:v>0.1455672732230596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42.9711195461907</c:v>
                </c:pt>
                <c:pt idx="1">
                  <c:v>1242.9711195461907</c:v>
                </c:pt>
              </c:numCache>
            </c:numRef>
          </c:xVal>
          <c:yVal>
            <c:numRef>
              <c:f>Sheet1!$B$183:$B$184</c:f>
              <c:numCache>
                <c:formatCode>General</c:formatCode>
                <c:ptCount val="2"/>
                <c:pt idx="0">
                  <c:v>0.145567273223059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77.2353</c:v>
                </c:pt>
                <c:pt idx="1">
                  <c:v>732.8261</c:v>
                </c:pt>
                <c:pt idx="2">
                  <c:v>705.1452</c:v>
                </c:pt>
                <c:pt idx="3">
                  <c:v>706.3784</c:v>
                </c:pt>
                <c:pt idx="4">
                  <c:v>712.3816</c:v>
                </c:pt>
                <c:pt idx="5">
                  <c:v>760.1129</c:v>
                </c:pt>
                <c:pt idx="6">
                  <c:v>721.1696</c:v>
                </c:pt>
                <c:pt idx="7">
                  <c:v>818.4222</c:v>
                </c:pt>
                <c:pt idx="8">
                  <c:v>802.3824</c:v>
                </c:pt>
                <c:pt idx="9">
                  <c:v>802.3966</c:v>
                </c:pt>
                <c:pt idx="10">
                  <c:v>820.0853</c:v>
                </c:pt>
                <c:pt idx="11">
                  <c:v>562.3521</c:v>
                </c:pt>
                <c:pt idx="12">
                  <c:v>497.9644</c:v>
                </c:pt>
                <c:pt idx="13">
                  <c:v>516.6767</c:v>
                </c:pt>
                <c:pt idx="14">
                  <c:v>487.8901</c:v>
                </c:pt>
                <c:pt idx="15">
                  <c:v>482.2157</c:v>
                </c:pt>
                <c:pt idx="16">
                  <c:v>490.6277</c:v>
                </c:pt>
                <c:pt idx="17">
                  <c:v>476.5094</c:v>
                </c:pt>
                <c:pt idx="18">
                  <c:v>503.1899</c:v>
                </c:pt>
                <c:pt idx="19">
                  <c:v>489.734</c:v>
                </c:pt>
                <c:pt idx="20">
                  <c:v>503.7647</c:v>
                </c:pt>
                <c:pt idx="21">
                  <c:v>579.931</c:v>
                </c:pt>
                <c:pt idx="22">
                  <c:v>412.4495</c:v>
                </c:pt>
                <c:pt idx="23">
                  <c:v>416.7463</c:v>
                </c:pt>
                <c:pt idx="24">
                  <c:v>416.5872</c:v>
                </c:pt>
                <c:pt idx="25">
                  <c:v>443.7342</c:v>
                </c:pt>
                <c:pt idx="26">
                  <c:v>500.8889</c:v>
                </c:pt>
                <c:pt idx="27">
                  <c:v>523.8519</c:v>
                </c:pt>
                <c:pt idx="28">
                  <c:v>573.1212</c:v>
                </c:pt>
                <c:pt idx="29">
                  <c:v>504.4667</c:v>
                </c:pt>
                <c:pt idx="30">
                  <c:v>726.0455</c:v>
                </c:pt>
                <c:pt idx="31">
                  <c:v>621.9333</c:v>
                </c:pt>
                <c:pt idx="32">
                  <c:v>561.3667</c:v>
                </c:pt>
                <c:pt idx="33">
                  <c:v>652.9091</c:v>
                </c:pt>
                <c:pt idx="34">
                  <c:v>1110.8444</c:v>
                </c:pt>
                <c:pt idx="35">
                  <c:v>685.3095</c:v>
                </c:pt>
                <c:pt idx="36">
                  <c:v>683.0741</c:v>
                </c:pt>
                <c:pt idx="37">
                  <c:v>400.6667</c:v>
                </c:pt>
                <c:pt idx="38">
                  <c:v>389.2727</c:v>
                </c:pt>
                <c:pt idx="39">
                  <c:v>481.5556</c:v>
                </c:pt>
                <c:pt idx="40">
                  <c:v>435.2273</c:v>
                </c:pt>
                <c:pt idx="41">
                  <c:v>527.8889</c:v>
                </c:pt>
                <c:pt idx="42">
                  <c:v>567.1087</c:v>
                </c:pt>
                <c:pt idx="43">
                  <c:v>506.8462</c:v>
                </c:pt>
                <c:pt idx="44">
                  <c:v>492.5192</c:v>
                </c:pt>
                <c:pt idx="45">
                  <c:v>558.0862</c:v>
                </c:pt>
                <c:pt idx="46">
                  <c:v>489.1379</c:v>
                </c:pt>
                <c:pt idx="47">
                  <c:v>377.1525</c:v>
                </c:pt>
                <c:pt idx="48">
                  <c:v>561.8298</c:v>
                </c:pt>
                <c:pt idx="49">
                  <c:v>754.2128</c:v>
                </c:pt>
                <c:pt idx="50">
                  <c:v>704.5536</c:v>
                </c:pt>
                <c:pt idx="51">
                  <c:v>786.75</c:v>
                </c:pt>
                <c:pt idx="52">
                  <c:v>81.28051166614583</c:v>
                </c:pt>
                <c:pt idx="53">
                  <c:v>-795.1773549514012</c:v>
                </c:pt>
                <c:pt idx="54">
                  <c:v>1242.9711195461907</c:v>
                </c:pt>
              </c:numCache>
            </c:numRef>
          </c:xVal>
          <c:yVal>
            <c:numRef>
              <c:f>Sheet1!$B$187:$B$241</c:f>
              <c:numCache>
                <c:formatCode>General</c:formatCode>
                <c:ptCount val="55"/>
                <c:pt idx="0">
                  <c:v>0.1760263891484531</c:v>
                </c:pt>
                <c:pt idx="1">
                  <c:v>0.2393223005410312</c:v>
                </c:pt>
                <c:pt idx="2">
                  <c:v>0.2444095275769722</c:v>
                </c:pt>
                <c:pt idx="3">
                  <c:v>0.2441828886894822</c:v>
                </c:pt>
                <c:pt idx="4">
                  <c:v>0.24307961381972865</c:v>
                </c:pt>
                <c:pt idx="5">
                  <c:v>0.23430750164777575</c:v>
                </c:pt>
                <c:pt idx="6">
                  <c:v>0.24146454526372615</c:v>
                </c:pt>
                <c:pt idx="7">
                  <c:v>0.22359135270006106</c:v>
                </c:pt>
                <c:pt idx="8">
                  <c:v>0.22653916524268383</c:v>
                </c:pt>
                <c:pt idx="9">
                  <c:v>0.22653655555066116</c:v>
                </c:pt>
                <c:pt idx="10">
                  <c:v>0.22328570630549033</c:v>
                </c:pt>
                <c:pt idx="11">
                  <c:v>0.27065220461658546</c:v>
                </c:pt>
                <c:pt idx="12">
                  <c:v>0.2824854487749061</c:v>
                </c:pt>
                <c:pt idx="13">
                  <c:v>0.2790464811667489</c:v>
                </c:pt>
                <c:pt idx="14">
                  <c:v>0.2843369149963144</c:v>
                </c:pt>
                <c:pt idx="15">
                  <c:v>0.2853797626310641</c:v>
                </c:pt>
                <c:pt idx="16">
                  <c:v>0.2838337957793239</c:v>
                </c:pt>
                <c:pt idx="17">
                  <c:v>0.28642847288380846</c:v>
                </c:pt>
                <c:pt idx="18">
                  <c:v>0.2815251004886759</c:v>
                </c:pt>
                <c:pt idx="19">
                  <c:v>0.28399804097373665</c:v>
                </c:pt>
                <c:pt idx="20">
                  <c:v>0.2814194630960962</c:v>
                </c:pt>
                <c:pt idx="21">
                  <c:v>0.26742153453930817</c:v>
                </c:pt>
                <c:pt idx="22">
                  <c:v>0.29820147358825366</c:v>
                </c:pt>
                <c:pt idx="23">
                  <c:v>0.2974118028359287</c:v>
                </c:pt>
                <c:pt idx="24">
                  <c:v>0.2974410424134504</c:v>
                </c:pt>
                <c:pt idx="25">
                  <c:v>0.2924519361219392</c:v>
                </c:pt>
                <c:pt idx="26">
                  <c:v>0.28194798086502565</c:v>
                </c:pt>
                <c:pt idx="27">
                  <c:v>0.27772781481456077</c:v>
                </c:pt>
                <c:pt idx="28">
                  <c:v>0.2686730472671946</c:v>
                </c:pt>
                <c:pt idx="29">
                  <c:v>0.2812904487439895</c:v>
                </c:pt>
                <c:pt idx="30">
                  <c:v>0.24056844685996961</c:v>
                </c:pt>
                <c:pt idx="31">
                  <c:v>0.2597023044517133</c:v>
                </c:pt>
                <c:pt idx="32">
                  <c:v>0.27083330254046856</c:v>
                </c:pt>
                <c:pt idx="33">
                  <c:v>0.25400953697594836</c:v>
                </c:pt>
                <c:pt idx="34">
                  <c:v>0.1698496708273853</c:v>
                </c:pt>
                <c:pt idx="35">
                  <c:v>0.24805495490472584</c:v>
                </c:pt>
                <c:pt idx="36">
                  <c:v>0.24846577923905538</c:v>
                </c:pt>
                <c:pt idx="37">
                  <c:v>0.3003669298674601</c:v>
                </c:pt>
                <c:pt idx="38">
                  <c:v>0.3024609320439613</c:v>
                </c:pt>
                <c:pt idx="39">
                  <c:v>0.2855010765538927</c:v>
                </c:pt>
                <c:pt idx="40">
                  <c:v>0.2940153438027605</c:v>
                </c:pt>
                <c:pt idx="41">
                  <c:v>0.27698589039938304</c:v>
                </c:pt>
                <c:pt idx="42">
                  <c:v>0.26977803130144185</c:v>
                </c:pt>
                <c:pt idx="43">
                  <c:v>0.2808531415490637</c:v>
                </c:pt>
                <c:pt idx="44">
                  <c:v>0.2834861737750364</c:v>
                </c:pt>
                <c:pt idx="45">
                  <c:v>0.2714361965320441</c:v>
                </c:pt>
                <c:pt idx="46">
                  <c:v>0.28410759290435034</c:v>
                </c:pt>
                <c:pt idx="47">
                  <c:v>0.30468839607587545</c:v>
                </c:pt>
                <c:pt idx="48">
                  <c:v>0.27074819349992635</c:v>
                </c:pt>
                <c:pt idx="49">
                  <c:v>0.23539182868319566</c:v>
                </c:pt>
                <c:pt idx="50">
                  <c:v>0.2445182524925083</c:v>
                </c:pt>
                <c:pt idx="51">
                  <c:v>0.2294121053536139</c:v>
                </c:pt>
                <c:pt idx="52">
                  <c:v>0.3590640839411402</c:v>
                </c:pt>
                <c:pt idx="53">
                  <c:v>0.5201404996256002</c:v>
                </c:pt>
                <c:pt idx="54">
                  <c:v>0.1455672732230596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3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92660550458716"/>
          <c:min val="0.036641221374045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7</c:f>
              <c:numCache>
                <c:formatCode>General</c:formatCode>
                <c:ptCount val="56"/>
                <c:pt idx="0">
                  <c:v>0.0</c:v>
                </c:pt>
                <c:pt idx="1">
                  <c:v>0.44104916584887144</c:v>
                </c:pt>
                <c:pt idx="2">
                  <c:v>0.43581657882502794</c:v>
                </c:pt>
                <c:pt idx="3">
                  <c:v>0.4556738224218696</c:v>
                </c:pt>
                <c:pt idx="4">
                  <c:v>0.43598936130612276</c:v>
                </c:pt>
                <c:pt idx="5">
                  <c:v>0.4175311521670748</c:v>
                </c:pt>
                <c:pt idx="6">
                  <c:v>0.425478828601061</c:v>
                </c:pt>
                <c:pt idx="7">
                  <c:v>0.4370908198330879</c:v>
                </c:pt>
                <c:pt idx="8">
                  <c:v>0.40403191695223245</c:v>
                </c:pt>
                <c:pt idx="9">
                  <c:v>0.41338926157608463</c:v>
                </c:pt>
                <c:pt idx="10">
                  <c:v>0.39723705378853263</c:v>
                </c:pt>
                <c:pt idx="11">
                  <c:v>0.44123333464105363</c:v>
                </c:pt>
                <c:pt idx="12">
                  <c:v>0.4889783617122615</c:v>
                </c:pt>
                <c:pt idx="13">
                  <c:v>0.4497364672971083</c:v>
                </c:pt>
                <c:pt idx="14">
                  <c:v>0.446312230877814</c:v>
                </c:pt>
                <c:pt idx="15">
                  <c:v>0.4512672357816737</c:v>
                </c:pt>
                <c:pt idx="16">
                  <c:v>0.4572429224632746</c:v>
                </c:pt>
                <c:pt idx="17">
                  <c:v>0.4183286368998152</c:v>
                </c:pt>
                <c:pt idx="18">
                  <c:v>0.4240519288214236</c:v>
                </c:pt>
                <c:pt idx="19">
                  <c:v>0.4586087882998582</c:v>
                </c:pt>
                <c:pt idx="20">
                  <c:v>0.47946586041824135</c:v>
                </c:pt>
                <c:pt idx="21">
                  <c:v>0.43875296487074655</c:v>
                </c:pt>
                <c:pt idx="22">
                  <c:v>0.3999547787826937</c:v>
                </c:pt>
                <c:pt idx="23">
                  <c:v>0.39120097132716913</c:v>
                </c:pt>
                <c:pt idx="24">
                  <c:v>0.31630342651249094</c:v>
                </c:pt>
                <c:pt idx="25">
                  <c:v>0.19747947608586736</c:v>
                </c:pt>
                <c:pt idx="26">
                  <c:v>0.3212308854576483</c:v>
                </c:pt>
                <c:pt idx="27">
                  <c:v>0.33114100321448214</c:v>
                </c:pt>
                <c:pt idx="28">
                  <c:v>0.3881818658780884</c:v>
                </c:pt>
                <c:pt idx="29">
                  <c:v>0.44268852007423887</c:v>
                </c:pt>
                <c:pt idx="30">
                  <c:v>0.5260305434772822</c:v>
                </c:pt>
                <c:pt idx="31">
                  <c:v>0.3998047022238974</c:v>
                </c:pt>
                <c:pt idx="32">
                  <c:v>0.5187978345014838</c:v>
                </c:pt>
                <c:pt idx="33">
                  <c:v>0.5090380996739636</c:v>
                </c:pt>
                <c:pt idx="34">
                  <c:v>0.5370545404970339</c:v>
                </c:pt>
                <c:pt idx="35">
                  <c:v>0.5597138229774544</c:v>
                </c:pt>
                <c:pt idx="36">
                  <c:v>0.48267022772106327</c:v>
                </c:pt>
                <c:pt idx="37">
                  <c:v>0.5032990290712662</c:v>
                </c:pt>
                <c:pt idx="38">
                  <c:v>0.4403883555059754</c:v>
                </c:pt>
                <c:pt idx="39">
                  <c:v>0.5799234962504931</c:v>
                </c:pt>
                <c:pt idx="40">
                  <c:v>0.6141723834463589</c:v>
                </c:pt>
                <c:pt idx="41">
                  <c:v>0.5675435639468863</c:v>
                </c:pt>
                <c:pt idx="42">
                  <c:v>0.593074701243408</c:v>
                </c:pt>
                <c:pt idx="43">
                  <c:v>0.5529441634607114</c:v>
                </c:pt>
                <c:pt idx="44">
                  <c:v>0.46403036544459486</c:v>
                </c:pt>
                <c:pt idx="45">
                  <c:v>0.5248581788354495</c:v>
                </c:pt>
                <c:pt idx="46">
                  <c:v>0.6075263904123864</c:v>
                </c:pt>
                <c:pt idx="47">
                  <c:v>0.4426827766599598</c:v>
                </c:pt>
                <c:pt idx="48">
                  <c:v>0.4395979970178848</c:v>
                </c:pt>
                <c:pt idx="49">
                  <c:v>0.46398716726595096</c:v>
                </c:pt>
                <c:pt idx="50">
                  <c:v>0.38076584421653714</c:v>
                </c:pt>
                <c:pt idx="51">
                  <c:v>0.4203272621941389</c:v>
                </c:pt>
                <c:pt idx="52">
                  <c:v>0.41377525360711676</c:v>
                </c:pt>
                <c:pt idx="53">
                  <c:v>0.4540622008564982</c:v>
                </c:pt>
                <c:pt idx="54">
                  <c:v>0.5095185736679929</c:v>
                </c:pt>
                <c:pt idx="55">
                  <c:v>0.531481006510104</c:v>
                </c:pt>
              </c:numCache>
            </c:numRef>
          </c:xVal>
          <c:yVal>
            <c:numRef>
              <c:f>Sheet1!$B$2:$B$57</c:f>
              <c:numCache>
                <c:formatCode>General</c:formatCode>
                <c:ptCount val="56"/>
                <c:pt idx="0">
                  <c:v>0.6660550458715596</c:v>
                </c:pt>
                <c:pt idx="1">
                  <c:v>0.5630252100840336</c:v>
                </c:pt>
                <c:pt idx="2">
                  <c:v>0.4793388429752066</c:v>
                </c:pt>
                <c:pt idx="3">
                  <c:v>0.5230496453900709</c:v>
                </c:pt>
                <c:pt idx="4">
                  <c:v>0.5529157667386609</c:v>
                </c:pt>
                <c:pt idx="5">
                  <c:v>0.5764705882352941</c:v>
                </c:pt>
                <c:pt idx="6">
                  <c:v>0.5358255451713395</c:v>
                </c:pt>
                <c:pt idx="7">
                  <c:v>0.5707070707070707</c:v>
                </c:pt>
                <c:pt idx="8">
                  <c:v>0.5590717299578059</c:v>
                </c:pt>
                <c:pt idx="9">
                  <c:v>0.5082508250825083</c:v>
                </c:pt>
                <c:pt idx="10">
                  <c:v>0.5597345132743363</c:v>
                </c:pt>
                <c:pt idx="11">
                  <c:v>0.5691158156911582</c:v>
                </c:pt>
                <c:pt idx="12">
                  <c:v>0.44101633393829404</c:v>
                </c:pt>
                <c:pt idx="13">
                  <c:v>0.4280442804428044</c:v>
                </c:pt>
                <c:pt idx="14">
                  <c:v>0.45233968804159447</c:v>
                </c:pt>
                <c:pt idx="15">
                  <c:v>0.39232053422370616</c:v>
                </c:pt>
                <c:pt idx="16">
                  <c:v>0.3806818181818182</c:v>
                </c:pt>
                <c:pt idx="17">
                  <c:v>0.4470588235294118</c:v>
                </c:pt>
                <c:pt idx="18">
                  <c:v>0.35073068893528186</c:v>
                </c:pt>
                <c:pt idx="19">
                  <c:v>0.3743718592964824</c:v>
                </c:pt>
                <c:pt idx="20">
                  <c:v>0.3176895306859206</c:v>
                </c:pt>
                <c:pt idx="21">
                  <c:v>0.2637795275590551</c:v>
                </c:pt>
                <c:pt idx="22">
                  <c:v>0.3069306930693069</c:v>
                </c:pt>
                <c:pt idx="23">
                  <c:v>0.3512658227848101</c:v>
                </c:pt>
                <c:pt idx="24">
                  <c:v>0.3186119873817035</c:v>
                </c:pt>
                <c:pt idx="25">
                  <c:v>0.5336927223719676</c:v>
                </c:pt>
                <c:pt idx="26">
                  <c:v>0.4030612244897959</c:v>
                </c:pt>
                <c:pt idx="27">
                  <c:v>0.3709677419354839</c:v>
                </c:pt>
                <c:pt idx="28">
                  <c:v>0.3352601156069364</c:v>
                </c:pt>
                <c:pt idx="29">
                  <c:v>0.4111111111111111</c:v>
                </c:pt>
                <c:pt idx="30">
                  <c:v>0.19083969465648856</c:v>
                </c:pt>
                <c:pt idx="31">
                  <c:v>0.20754716981132076</c:v>
                </c:pt>
                <c:pt idx="32">
                  <c:v>0.13930348258706468</c:v>
                </c:pt>
                <c:pt idx="33">
                  <c:v>0.13815789473684212</c:v>
                </c:pt>
                <c:pt idx="34">
                  <c:v>0.14545454545454545</c:v>
                </c:pt>
                <c:pt idx="35">
                  <c:v>0.12264150943396226</c:v>
                </c:pt>
                <c:pt idx="36">
                  <c:v>0.19402985074626866</c:v>
                </c:pt>
                <c:pt idx="37">
                  <c:v>0.21019108280254778</c:v>
                </c:pt>
                <c:pt idx="38">
                  <c:v>0.36585365853658536</c:v>
                </c:pt>
                <c:pt idx="39">
                  <c:v>0.23026315789473684</c:v>
                </c:pt>
                <c:pt idx="40">
                  <c:v>0.19718309859154928</c:v>
                </c:pt>
                <c:pt idx="41">
                  <c:v>0.23125</c:v>
                </c:pt>
                <c:pt idx="42">
                  <c:v>0.11557788944723618</c:v>
                </c:pt>
                <c:pt idx="43">
                  <c:v>0.16037735849056603</c:v>
                </c:pt>
                <c:pt idx="44">
                  <c:v>0.21578947368421053</c:v>
                </c:pt>
                <c:pt idx="45">
                  <c:v>0.16292134831460675</c:v>
                </c:pt>
                <c:pt idx="46">
                  <c:v>0.2846715328467153</c:v>
                </c:pt>
                <c:pt idx="47">
                  <c:v>0.12345679012345678</c:v>
                </c:pt>
                <c:pt idx="48">
                  <c:v>0.1393939393939394</c:v>
                </c:pt>
                <c:pt idx="49">
                  <c:v>0.17297297297297298</c:v>
                </c:pt>
                <c:pt idx="50">
                  <c:v>0.2635814889336016</c:v>
                </c:pt>
                <c:pt idx="51">
                  <c:v>0.3695652173913043</c:v>
                </c:pt>
                <c:pt idx="52">
                  <c:v>0.1925754060324826</c:v>
                </c:pt>
                <c:pt idx="53">
                  <c:v>0.23542600896860988</c:v>
                </c:pt>
                <c:pt idx="54">
                  <c:v>0.14933333333333335</c:v>
                </c:pt>
                <c:pt idx="55">
                  <c:v>0.08923076923076922</c:v>
                </c:pt>
              </c:numCache>
            </c:numRef>
          </c:yVal>
          <c:smooth val="0"/>
          <c:extLst>
            <c:ext xmlns:c16="http://schemas.microsoft.com/office/drawing/2014/chart" uri="{C3380CC4-5D6E-409C-BE32-E72D297353CC}">
              <c16:uniqueId val="{00000000-096C-4121-9522-6AB7243CCAAE}"/>
            </c:ext>
          </c:extLst>
        </c:ser>
        <c:ser>
          <c:idx val="1"/>
          <c:order val="1"/>
          <c:tx>
            <c:strRef>
              <c:f>Sheet1!$B$5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0:$A$111</c:f>
              <c:numCache>
                <c:formatCode>General</c:formatCode>
                <c:ptCount val="52"/>
                <c:pt idx="0">
                  <c:v>0.5499278230621818</c:v>
                </c:pt>
                <c:pt idx="1">
                  <c:v>0.3325208612201375</c:v>
                </c:pt>
                <c:pt idx="2">
                  <c:v>0.3527980026438892</c:v>
                </c:pt>
                <c:pt idx="3">
                  <c:v>0.33946219739292366</c:v>
                </c:pt>
                <c:pt idx="4">
                  <c:v>0.33450104949832465</c:v>
                </c:pt>
                <c:pt idx="5">
                  <c:v>0.3863808869092859</c:v>
                </c:pt>
                <c:pt idx="6">
                  <c:v>0.3820043370867424</c:v>
                </c:pt>
                <c:pt idx="7">
                  <c:v>0.4098258387581372</c:v>
                </c:pt>
                <c:pt idx="8">
                  <c:v>0.3944572429006831</c:v>
                </c:pt>
                <c:pt idx="9">
                  <c:v>0.39701638743540724</c:v>
                </c:pt>
                <c:pt idx="10">
                  <c:v>0.38634671189782166</c:v>
                </c:pt>
                <c:pt idx="11">
                  <c:v>0.2721337924449825</c:v>
                </c:pt>
                <c:pt idx="12">
                  <c:v>0.24470496520739515</c:v>
                </c:pt>
                <c:pt idx="13">
                  <c:v>0.2472513757836241</c:v>
                </c:pt>
                <c:pt idx="14">
                  <c:v>0.23637322379165365</c:v>
                </c:pt>
                <c:pt idx="15">
                  <c:v>0.23672837506136477</c:v>
                </c:pt>
                <c:pt idx="16">
                  <c:v>0.23301768169995465</c:v>
                </c:pt>
                <c:pt idx="17">
                  <c:v>0.23151191546216449</c:v>
                </c:pt>
                <c:pt idx="18">
                  <c:v>0.23637255730928222</c:v>
                </c:pt>
                <c:pt idx="19">
                  <c:v>0.2390043662973459</c:v>
                </c:pt>
                <c:pt idx="20">
                  <c:v>0.24458554386493697</c:v>
                </c:pt>
                <c:pt idx="21">
                  <c:v>0.2522292103825372</c:v>
                </c:pt>
                <c:pt idx="22">
                  <c:v>0.19556638217164532</c:v>
                </c:pt>
                <c:pt idx="23">
                  <c:v>0.20603187587372754</c:v>
                </c:pt>
                <c:pt idx="24">
                  <c:v>0.220241712926249</c:v>
                </c:pt>
                <c:pt idx="25">
                  <c:v>0.24033885979835082</c:v>
                </c:pt>
                <c:pt idx="26">
                  <c:v>0.29076769189946444</c:v>
                </c:pt>
                <c:pt idx="27">
                  <c:v>0.2590852614676898</c:v>
                </c:pt>
                <c:pt idx="28">
                  <c:v>0.2930508109629367</c:v>
                </c:pt>
                <c:pt idx="29">
                  <c:v>0.26441184215547037</c:v>
                </c:pt>
                <c:pt idx="30">
                  <c:v>0.4027991678224688</c:v>
                </c:pt>
                <c:pt idx="31">
                  <c:v>0.3663819145802651</c:v>
                </c:pt>
                <c:pt idx="32">
                  <c:v>0.3542304464426566</c:v>
                </c:pt>
                <c:pt idx="33">
                  <c:v>0.33784266892919956</c:v>
                </c:pt>
                <c:pt idx="34">
                  <c:v>0.552098566628894</c:v>
                </c:pt>
                <c:pt idx="35">
                  <c:v>0.34570082366758215</c:v>
                </c:pt>
                <c:pt idx="36">
                  <c:v>0.3268974854930451</c:v>
                </c:pt>
                <c:pt idx="37">
                  <c:v>0.18339043915842654</c:v>
                </c:pt>
                <c:pt idx="38">
                  <c:v>0.1727183867246428</c:v>
                </c:pt>
                <c:pt idx="39">
                  <c:v>0.221976399004333</c:v>
                </c:pt>
                <c:pt idx="40">
                  <c:v>0.2051942669904057</c:v>
                </c:pt>
                <c:pt idx="41">
                  <c:v>0.23607645120305823</c:v>
                </c:pt>
                <c:pt idx="42">
                  <c:v>0.2530444176495841</c:v>
                </c:pt>
                <c:pt idx="43">
                  <c:v>0.2283685366398516</c:v>
                </c:pt>
                <c:pt idx="44">
                  <c:v>0.22307457796727784</c:v>
                </c:pt>
                <c:pt idx="45">
                  <c:v>0.24835335562116176</c:v>
                </c:pt>
                <c:pt idx="46">
                  <c:v>0.22049860559299994</c:v>
                </c:pt>
                <c:pt idx="47">
                  <c:v>0.17246184624178335</c:v>
                </c:pt>
                <c:pt idx="48">
                  <c:v>0.2537016668191445</c:v>
                </c:pt>
                <c:pt idx="49">
                  <c:v>0.34921301076513483</c:v>
                </c:pt>
                <c:pt idx="50">
                  <c:v>0.32130003838889937</c:v>
                </c:pt>
                <c:pt idx="51">
                  <c:v>0.37810167727201627</c:v>
                </c:pt>
              </c:numCache>
            </c:numRef>
          </c:xVal>
          <c:yVal>
            <c:numRef>
              <c:f>Sheet1!$B$60:$B$111</c:f>
              <c:numCache>
                <c:formatCode>General</c:formatCode>
                <c:ptCount val="52"/>
                <c:pt idx="0">
                  <c:v>0.10397553516819572</c:v>
                </c:pt>
                <c:pt idx="1">
                  <c:v>0.35475578406169667</c:v>
                </c:pt>
                <c:pt idx="2">
                  <c:v>0.464354527938343</c:v>
                </c:pt>
                <c:pt idx="3">
                  <c:v>0.5048732943469786</c:v>
                </c:pt>
                <c:pt idx="4">
                  <c:v>0.4367816091954023</c:v>
                </c:pt>
                <c:pt idx="5">
                  <c:v>0.3701492537313433</c:v>
                </c:pt>
                <c:pt idx="6">
                  <c:v>0.3220338983050847</c:v>
                </c:pt>
                <c:pt idx="7">
                  <c:v>0.39823008849557523</c:v>
                </c:pt>
                <c:pt idx="8">
                  <c:v>0.2764227642276423</c:v>
                </c:pt>
                <c:pt idx="9">
                  <c:v>0.27884615384615385</c:v>
                </c:pt>
                <c:pt idx="10">
                  <c:v>0.27682403433476394</c:v>
                </c:pt>
                <c:pt idx="11">
                  <c:v>0.39497041420118345</c:v>
                </c:pt>
                <c:pt idx="12">
                  <c:v>0.42128935532233885</c:v>
                </c:pt>
                <c:pt idx="13">
                  <c:v>0.41134751773049644</c:v>
                </c:pt>
                <c:pt idx="14">
                  <c:v>0.4170305676855895</c:v>
                </c:pt>
                <c:pt idx="15">
                  <c:v>0.3583138173302108</c:v>
                </c:pt>
                <c:pt idx="16">
                  <c:v>0.38055555555555554</c:v>
                </c:pt>
                <c:pt idx="17">
                  <c:v>0.3281733746130031</c:v>
                </c:pt>
                <c:pt idx="18">
                  <c:v>0.3640552995391705</c:v>
                </c:pt>
                <c:pt idx="19">
                  <c:v>0.3418181818181818</c:v>
                </c:pt>
                <c:pt idx="20">
                  <c:v>0.3222748815165877</c:v>
                </c:pt>
                <c:pt idx="21">
                  <c:v>0.21014492753623187</c:v>
                </c:pt>
                <c:pt idx="22">
                  <c:v>0.4579831932773109</c:v>
                </c:pt>
                <c:pt idx="23">
                  <c:v>0.5193798449612403</c:v>
                </c:pt>
                <c:pt idx="24">
                  <c:v>0.3609271523178808</c:v>
                </c:pt>
                <c:pt idx="25">
                  <c:v>0.34497816593886466</c:v>
                </c:pt>
                <c:pt idx="26">
                  <c:v>0.18652849740932642</c:v>
                </c:pt>
                <c:pt idx="27">
                  <c:v>0.18</c:v>
                </c:pt>
                <c:pt idx="28">
                  <c:v>0.17010309278350516</c:v>
                </c:pt>
                <c:pt idx="29">
                  <c:v>0.1694915254237288</c:v>
                </c:pt>
                <c:pt idx="30">
                  <c:v>0.12087912087912088</c:v>
                </c:pt>
                <c:pt idx="31">
                  <c:v>0.09803921568627451</c:v>
                </c:pt>
                <c:pt idx="32">
                  <c:v>0.14563106796116504</c:v>
                </c:pt>
                <c:pt idx="33">
                  <c:v>0.20657276995305165</c:v>
                </c:pt>
                <c:pt idx="34">
                  <c:v>0.15306122448979592</c:v>
                </c:pt>
                <c:pt idx="35">
                  <c:v>0.1700404858299595</c:v>
                </c:pt>
                <c:pt idx="36">
                  <c:v>0.14285714285714285</c:v>
                </c:pt>
                <c:pt idx="37">
                  <c:v>0.3446808510638298</c:v>
                </c:pt>
                <c:pt idx="38">
                  <c:v>0.3289036544850498</c:v>
                </c:pt>
                <c:pt idx="39">
                  <c:v>0.32459016393442625</c:v>
                </c:pt>
                <c:pt idx="40">
                  <c:v>0.2268041237113402</c:v>
                </c:pt>
                <c:pt idx="41">
                  <c:v>0.183206106870229</c:v>
                </c:pt>
                <c:pt idx="42">
                  <c:v>0.12234042553191489</c:v>
                </c:pt>
                <c:pt idx="43">
                  <c:v>0.10677618069815195</c:v>
                </c:pt>
                <c:pt idx="44">
                  <c:v>0.0840064620355412</c:v>
                </c:pt>
                <c:pt idx="45">
                  <c:v>0.13908872901678657</c:v>
                </c:pt>
                <c:pt idx="46">
                  <c:v>0.15675675675675677</c:v>
                </c:pt>
                <c:pt idx="47">
                  <c:v>0.1634349030470914</c:v>
                </c:pt>
                <c:pt idx="48">
                  <c:v>0.12806539509536785</c:v>
                </c:pt>
                <c:pt idx="49">
                  <c:v>0.09812108559498957</c:v>
                </c:pt>
                <c:pt idx="50">
                  <c:v>0.08459214501510574</c:v>
                </c:pt>
                <c:pt idx="51">
                  <c:v>0.07459207459207459</c:v>
                </c:pt>
              </c:numCache>
            </c:numRef>
          </c:yVal>
          <c:smooth val="0"/>
          <c:extLst>
            <c:ext xmlns:c16="http://schemas.microsoft.com/office/drawing/2014/chart" uri="{C3380CC4-5D6E-409C-BE32-E72D297353CC}">
              <c16:uniqueId val="{00000002-096C-4121-9522-6AB7243CCAAE}"/>
            </c:ext>
          </c:extLst>
        </c:ser>
        <c:ser>
          <c:idx val="2"/>
          <c:order val="2"/>
          <c:tx>
            <c:strRef>
              <c:f>Sheet1!$B$1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4:$A$115</c:f>
              <c:numCache>
                <c:formatCode>General</c:formatCode>
                <c:ptCount val="2"/>
                <c:pt idx="0">
                  <c:v>0</c:v>
                </c:pt>
                <c:pt idx="1">
                  <c:v>-0.5323797621219546</c:v>
                </c:pt>
              </c:numCache>
            </c:numRef>
          </c:xVal>
          <c:yVal>
            <c:numRef>
              <c:f>Sheet1!$B$114:$B$115</c:f>
              <c:numCache>
                <c:formatCode>General</c:formatCode>
                <c:ptCount val="2"/>
                <c:pt idx="0">
                  <c:v>0.5552967165982537</c:v>
                </c:pt>
                <c:pt idx="1">
                  <c:v>0.5552967165982537</c:v>
                </c:pt>
              </c:numCache>
            </c:numRef>
          </c:yVal>
          <c:smooth val="0"/>
          <c:extLst>
            <c:ext xmlns:c16="http://schemas.microsoft.com/office/drawing/2014/chart" uri="{C3380CC4-5D6E-409C-BE32-E72D297353CC}">
              <c16:uniqueId val="{00000005-096C-4121-9522-6AB7243CCAAE}"/>
            </c:ext>
          </c:extLst>
        </c:ser>
        <c:ser>
          <c:idx val="3"/>
          <c:order val="3"/>
          <c:tx>
            <c:strRef>
              <c:f>Sheet1!$B$1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8:$A$119</c:f>
              <c:numCache>
                <c:formatCode>General</c:formatCode>
                <c:ptCount val="2"/>
                <c:pt idx="0">
                  <c:v>-0.5323797621219546</c:v>
                </c:pt>
                <c:pt idx="1">
                  <c:v>-0.5323797621219546</c:v>
                </c:pt>
              </c:numCache>
            </c:numRef>
          </c:xVal>
          <c:yVal>
            <c:numRef>
              <c:f>Sheet1!$B$118:$B$119</c:f>
              <c:numCache>
                <c:formatCode>General</c:formatCode>
                <c:ptCount val="2"/>
                <c:pt idx="0">
                  <c:v>0.555296716598253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2:$A$123</c:f>
              <c:numCache>
                <c:formatCode>General</c:formatCode>
                <c:ptCount val="2"/>
                <c:pt idx="0">
                  <c:v>0</c:v>
                </c:pt>
                <c:pt idx="1">
                  <c:v>0.024037490104217473</c:v>
                </c:pt>
              </c:numCache>
            </c:numRef>
          </c:xVal>
          <c:yVal>
            <c:numRef>
              <c:f>Sheet1!$B$122:$B$123</c:f>
              <c:numCache>
                <c:formatCode>General</c:formatCode>
                <c:ptCount val="2"/>
                <c:pt idx="0">
                  <c:v>0.3590640839411402</c:v>
                </c:pt>
                <c:pt idx="1">
                  <c:v>0.3590640839411402</c:v>
                </c:pt>
              </c:numCache>
            </c:numRef>
          </c:yVal>
          <c:smooth val="0"/>
          <c:extLst>
            <c:ext xmlns:c16="http://schemas.microsoft.com/office/drawing/2014/chart" uri="{C3380CC4-5D6E-409C-BE32-E72D297353CC}">
              <c16:uniqueId val="{0000000D-096C-4121-9522-6AB7243CCAAE}"/>
            </c:ext>
          </c:extLst>
        </c:ser>
        <c:ser>
          <c:idx val="5"/>
          <c:order val="5"/>
          <c:tx>
            <c:strRef>
              <c:f>Sheet1!$B$1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0.024037490104217473</c:v>
                </c:pt>
                <c:pt idx="1">
                  <c:v>0.024037490104217473</c:v>
                </c:pt>
              </c:numCache>
            </c:numRef>
          </c:xVal>
          <c:yVal>
            <c:numRef>
              <c:f>Sheet1!$B$126:$B$127</c:f>
              <c:numCache>
                <c:formatCode>General</c:formatCode>
                <c:ptCount val="2"/>
                <c:pt idx="0">
                  <c:v>0.35906408394114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9</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0:$A$131</c:f>
              <c:numCache>
                <c:formatCode>General</c:formatCode>
                <c:ptCount val="2"/>
                <c:pt idx="0">
                  <c:v>0</c:v>
                </c:pt>
                <c:pt idx="1">
                  <c:v>0.6294072859952945</c:v>
                </c:pt>
              </c:numCache>
            </c:numRef>
          </c:xVal>
          <c:yVal>
            <c:numRef>
              <c:f>Sheet1!$B$130:$B$131</c:f>
              <c:numCache>
                <c:formatCode>General</c:formatCode>
                <c:ptCount val="2"/>
                <c:pt idx="0">
                  <c:v>0.14556727322305968</c:v>
                </c:pt>
                <c:pt idx="1">
                  <c:v>0.14556727322305968</c:v>
                </c:pt>
              </c:numCache>
            </c:numRef>
          </c:yVal>
          <c:smooth val="0"/>
          <c:extLst>
            <c:ext xmlns:c16="http://schemas.microsoft.com/office/drawing/2014/chart" uri="{C3380CC4-5D6E-409C-BE32-E72D297353CC}">
              <c16:uniqueId val="{00000015-096C-4121-9522-6AB7243CCAAE}"/>
            </c:ext>
          </c:extLst>
        </c:ser>
        <c:ser>
          <c:idx val="7"/>
          <c:order val="7"/>
          <c:tx>
            <c:strRef>
              <c:f>Sheet1!$B$133</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0.6294072859952945</c:v>
                </c:pt>
                <c:pt idx="1">
                  <c:v>0.6294072859952945</c:v>
                </c:pt>
              </c:numCache>
            </c:numRef>
          </c:xVal>
          <c:yVal>
            <c:numRef>
              <c:f>Sheet1!$B$134:$B$135</c:f>
              <c:numCache>
                <c:formatCode>General</c:formatCode>
                <c:ptCount val="2"/>
                <c:pt idx="0">
                  <c:v>0.145567273223059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7</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8:$A$192</c:f>
              <c:numCache>
                <c:formatCode>General</c:formatCode>
                <c:ptCount val="55"/>
                <c:pt idx="0">
                  <c:v>0.5499278230621818</c:v>
                </c:pt>
                <c:pt idx="1">
                  <c:v>0.3325208612201375</c:v>
                </c:pt>
                <c:pt idx="2">
                  <c:v>0.3527980026438892</c:v>
                </c:pt>
                <c:pt idx="3">
                  <c:v>0.33946219739292366</c:v>
                </c:pt>
                <c:pt idx="4">
                  <c:v>0.33450104949832465</c:v>
                </c:pt>
                <c:pt idx="5">
                  <c:v>0.3863808869092859</c:v>
                </c:pt>
                <c:pt idx="6">
                  <c:v>0.3820043370867424</c:v>
                </c:pt>
                <c:pt idx="7">
                  <c:v>0.4098258387581372</c:v>
                </c:pt>
                <c:pt idx="8">
                  <c:v>0.3944572429006831</c:v>
                </c:pt>
                <c:pt idx="9">
                  <c:v>0.39701638743540724</c:v>
                </c:pt>
                <c:pt idx="10">
                  <c:v>0.38634671189782166</c:v>
                </c:pt>
                <c:pt idx="11">
                  <c:v>0.2721337924449825</c:v>
                </c:pt>
                <c:pt idx="12">
                  <c:v>0.24470496520739515</c:v>
                </c:pt>
                <c:pt idx="13">
                  <c:v>0.2472513757836241</c:v>
                </c:pt>
                <c:pt idx="14">
                  <c:v>0.23637322379165365</c:v>
                </c:pt>
                <c:pt idx="15">
                  <c:v>0.23672837506136477</c:v>
                </c:pt>
                <c:pt idx="16">
                  <c:v>0.23301768169995465</c:v>
                </c:pt>
                <c:pt idx="17">
                  <c:v>0.23151191546216449</c:v>
                </c:pt>
                <c:pt idx="18">
                  <c:v>0.23637255730928222</c:v>
                </c:pt>
                <c:pt idx="19">
                  <c:v>0.2390043662973459</c:v>
                </c:pt>
                <c:pt idx="20">
                  <c:v>0.24458554386493697</c:v>
                </c:pt>
                <c:pt idx="21">
                  <c:v>0.2522292103825372</c:v>
                </c:pt>
                <c:pt idx="22">
                  <c:v>0.19556638217164532</c:v>
                </c:pt>
                <c:pt idx="23">
                  <c:v>0.20603187587372754</c:v>
                </c:pt>
                <c:pt idx="24">
                  <c:v>0.220241712926249</c:v>
                </c:pt>
                <c:pt idx="25">
                  <c:v>0.24033885979835082</c:v>
                </c:pt>
                <c:pt idx="26">
                  <c:v>0.29076769189946444</c:v>
                </c:pt>
                <c:pt idx="27">
                  <c:v>0.2590852614676898</c:v>
                </c:pt>
                <c:pt idx="28">
                  <c:v>0.2930508109629367</c:v>
                </c:pt>
                <c:pt idx="29">
                  <c:v>0.26441184215547037</c:v>
                </c:pt>
                <c:pt idx="30">
                  <c:v>0.4027991678224688</c:v>
                </c:pt>
                <c:pt idx="31">
                  <c:v>0.3663819145802651</c:v>
                </c:pt>
                <c:pt idx="32">
                  <c:v>0.3542304464426566</c:v>
                </c:pt>
                <c:pt idx="33">
                  <c:v>0.33784266892919956</c:v>
                </c:pt>
                <c:pt idx="34">
                  <c:v>0.552098566628894</c:v>
                </c:pt>
                <c:pt idx="35">
                  <c:v>0.34570082366758215</c:v>
                </c:pt>
                <c:pt idx="36">
                  <c:v>0.3268974854930451</c:v>
                </c:pt>
                <c:pt idx="37">
                  <c:v>0.18339043915842654</c:v>
                </c:pt>
                <c:pt idx="38">
                  <c:v>0.1727183867246428</c:v>
                </c:pt>
                <c:pt idx="39">
                  <c:v>0.221976399004333</c:v>
                </c:pt>
                <c:pt idx="40">
                  <c:v>0.2051942669904057</c:v>
                </c:pt>
                <c:pt idx="41">
                  <c:v>0.23607645120305823</c:v>
                </c:pt>
                <c:pt idx="42">
                  <c:v>0.2530444176495841</c:v>
                </c:pt>
                <c:pt idx="43">
                  <c:v>0.2283685366398516</c:v>
                </c:pt>
                <c:pt idx="44">
                  <c:v>0.22307457796727784</c:v>
                </c:pt>
                <c:pt idx="45">
                  <c:v>0.24835335562116176</c:v>
                </c:pt>
                <c:pt idx="46">
                  <c:v>0.22049860559299994</c:v>
                </c:pt>
                <c:pt idx="47">
                  <c:v>0.17246184624178335</c:v>
                </c:pt>
                <c:pt idx="48">
                  <c:v>0.2537016668191445</c:v>
                </c:pt>
                <c:pt idx="49">
                  <c:v>0.34921301076513483</c:v>
                </c:pt>
                <c:pt idx="50">
                  <c:v>0.32130003838889937</c:v>
                </c:pt>
                <c:pt idx="51">
                  <c:v>0.37810167727201627</c:v>
                </c:pt>
                <c:pt idx="52">
                  <c:v>0.024037490104217473</c:v>
                </c:pt>
                <c:pt idx="53">
                  <c:v>-0.5323797621219546</c:v>
                </c:pt>
                <c:pt idx="54">
                  <c:v>0.6294072859952945</c:v>
                </c:pt>
              </c:numCache>
            </c:numRef>
          </c:xVal>
          <c:yVal>
            <c:numRef>
              <c:f>Sheet1!$B$138:$B$192</c:f>
              <c:numCache>
                <c:formatCode>General</c:formatCode>
                <c:ptCount val="55"/>
                <c:pt idx="0">
                  <c:v>0.17359743258842483</c:v>
                </c:pt>
                <c:pt idx="1">
                  <c:v>0.25027072104157944</c:v>
                </c:pt>
                <c:pt idx="2">
                  <c:v>0.24311954657956614</c:v>
                </c:pt>
                <c:pt idx="3">
                  <c:v>0.24782270803354603</c:v>
                </c:pt>
                <c:pt idx="4">
                  <c:v>0.24957236462392568</c:v>
                </c:pt>
                <c:pt idx="5">
                  <c:v>0.23127581282535248</c:v>
                </c:pt>
                <c:pt idx="6">
                  <c:v>0.2328192982047088</c:v>
                </c:pt>
                <c:pt idx="7">
                  <c:v>0.2230074411934296</c:v>
                </c:pt>
                <c:pt idx="8">
                  <c:v>0.22842751041897108</c:v>
                </c:pt>
                <c:pt idx="9">
                  <c:v>0.22752497249911008</c:v>
                </c:pt>
                <c:pt idx="10">
                  <c:v>0.23128786538562784</c:v>
                </c:pt>
                <c:pt idx="11">
                  <c:v>0.27156753280790136</c:v>
                </c:pt>
                <c:pt idx="12">
                  <c:v>0.28124090464889717</c:v>
                </c:pt>
                <c:pt idx="13">
                  <c:v>0.2803428576361561</c:v>
                </c:pt>
                <c:pt idx="14">
                  <c:v>0.284179274273649</c:v>
                </c:pt>
                <c:pt idx="15">
                  <c:v>0.28405402246240824</c:v>
                </c:pt>
                <c:pt idx="16">
                  <c:v>0.2853626790944222</c:v>
                </c:pt>
                <c:pt idx="17">
                  <c:v>0.2858937202722893</c:v>
                </c:pt>
                <c:pt idx="18">
                  <c:v>0.2841795093231372</c:v>
                </c:pt>
                <c:pt idx="19">
                  <c:v>0.28325134470510616</c:v>
                </c:pt>
                <c:pt idx="20">
                  <c:v>0.2812830211798499</c:v>
                </c:pt>
                <c:pt idx="21">
                  <c:v>0.2785873161169665</c:v>
                </c:pt>
                <c:pt idx="22">
                  <c:v>0.2985706935358633</c:v>
                </c:pt>
                <c:pt idx="23">
                  <c:v>0.29487980980966777</c:v>
                </c:pt>
                <c:pt idx="24">
                  <c:v>0.28986840205175113</c:v>
                </c:pt>
                <c:pt idx="25">
                  <c:v>0.28278070657891885</c:v>
                </c:pt>
                <c:pt idx="26">
                  <c:v>0.26499588332724394</c:v>
                </c:pt>
                <c:pt idx="27">
                  <c:v>0.2761693807479815</c:v>
                </c:pt>
                <c:pt idx="28">
                  <c:v>0.2641906917867187</c:v>
                </c:pt>
                <c:pt idx="29">
                  <c:v>0.27429084634373396</c:v>
                </c:pt>
                <c:pt idx="30">
                  <c:v>0.22548554935956705</c:v>
                </c:pt>
                <c:pt idx="31">
                  <c:v>0.23832888491263798</c:v>
                </c:pt>
                <c:pt idx="32">
                  <c:v>0.24261436415281562</c:v>
                </c:pt>
                <c:pt idx="33">
                  <c:v>0.24839386993197426</c:v>
                </c:pt>
                <c:pt idx="34">
                  <c:v>0.17283187270828962</c:v>
                </c:pt>
                <c:pt idx="35">
                  <c:v>0.2456225209380847</c:v>
                </c:pt>
                <c:pt idx="36">
                  <c:v>0.2522539266645764</c:v>
                </c:pt>
                <c:pt idx="37">
                  <c:v>0.3028648043726634</c:v>
                </c:pt>
                <c:pt idx="38">
                  <c:v>0.3066285355232656</c:v>
                </c:pt>
                <c:pt idx="39">
                  <c:v>0.2892566273187173</c:v>
                </c:pt>
                <c:pt idx="40">
                  <c:v>0.29517521078016895</c:v>
                </c:pt>
                <c:pt idx="41">
                  <c:v>0.2842839375746655</c:v>
                </c:pt>
                <c:pt idx="42">
                  <c:v>0.27829981556313976</c:v>
                </c:pt>
                <c:pt idx="43">
                  <c:v>0.28700230110667785</c:v>
                </c:pt>
                <c:pt idx="44">
                  <c:v>0.2888693306485204</c:v>
                </c:pt>
                <c:pt idx="45">
                  <c:v>0.27995422050495655</c:v>
                </c:pt>
                <c:pt idx="46">
                  <c:v>0.2897778032715998</c:v>
                </c:pt>
                <c:pt idx="47">
                  <c:v>0.3067190100981161</c:v>
                </c:pt>
                <c:pt idx="48">
                  <c:v>0.2780680223641716</c:v>
                </c:pt>
                <c:pt idx="49">
                  <c:v>0.24438387185274513</c:v>
                </c:pt>
                <c:pt idx="50">
                  <c:v>0.25422798799536883</c:v>
                </c:pt>
                <c:pt idx="51">
                  <c:v>0.2341956559771266</c:v>
                </c:pt>
                <c:pt idx="52">
                  <c:v>0.3590640839411402</c:v>
                </c:pt>
                <c:pt idx="53">
                  <c:v>0.5552967165982537</c:v>
                </c:pt>
                <c:pt idx="54">
                  <c:v>0.1455672732230596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92660550458716"/>
          <c:min val="0.0596736596736596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7</c:f>
              <c:numCache>
                <c:formatCode>General</c:formatCode>
                <c:ptCount val="56"/>
                <c:pt idx="0">
                  <c:v>848.6625</c:v>
                </c:pt>
                <c:pt idx="1">
                  <c:v>898.8582</c:v>
                </c:pt>
                <c:pt idx="2">
                  <c:v>896.8621</c:v>
                </c:pt>
                <c:pt idx="3">
                  <c:v>901.2814</c:v>
                </c:pt>
                <c:pt idx="4">
                  <c:v>906.543</c:v>
                </c:pt>
                <c:pt idx="5">
                  <c:v>904.0663</c:v>
                </c:pt>
                <c:pt idx="6">
                  <c:v>930.064</c:v>
                </c:pt>
                <c:pt idx="7">
                  <c:v>890.354</c:v>
                </c:pt>
                <c:pt idx="8">
                  <c:v>866.2755</c:v>
                </c:pt>
                <c:pt idx="9">
                  <c:v>878.9091</c:v>
                </c:pt>
                <c:pt idx="10">
                  <c:v>811.6877</c:v>
                </c:pt>
                <c:pt idx="11">
                  <c:v>840.1422</c:v>
                </c:pt>
                <c:pt idx="12">
                  <c:v>938.1399</c:v>
                </c:pt>
                <c:pt idx="13">
                  <c:v>924.4052</c:v>
                </c:pt>
                <c:pt idx="14">
                  <c:v>931.3678</c:v>
                </c:pt>
                <c:pt idx="15">
                  <c:v>945.1702</c:v>
                </c:pt>
                <c:pt idx="16">
                  <c:v>940.0</c:v>
                </c:pt>
                <c:pt idx="17">
                  <c:v>927.2719</c:v>
                </c:pt>
                <c:pt idx="18">
                  <c:v>936.1071</c:v>
                </c:pt>
                <c:pt idx="19">
                  <c:v>956.604</c:v>
                </c:pt>
                <c:pt idx="20">
                  <c:v>951.5</c:v>
                </c:pt>
                <c:pt idx="21">
                  <c:v>887.4776</c:v>
                </c:pt>
                <c:pt idx="22">
                  <c:v>818.1075</c:v>
                </c:pt>
                <c:pt idx="23">
                  <c:v>785.3604</c:v>
                </c:pt>
                <c:pt idx="24">
                  <c:v>638.6832</c:v>
                </c:pt>
                <c:pt idx="25">
                  <c:v>419.9343</c:v>
                </c:pt>
                <c:pt idx="26">
                  <c:v>706.519</c:v>
                </c:pt>
                <c:pt idx="27">
                  <c:v>726.1449</c:v>
                </c:pt>
                <c:pt idx="28">
                  <c:v>813.8621</c:v>
                </c:pt>
                <c:pt idx="29">
                  <c:v>895.4324</c:v>
                </c:pt>
                <c:pt idx="30">
                  <c:v>1010.68</c:v>
                </c:pt>
                <c:pt idx="31">
                  <c:v>848.5455</c:v>
                </c:pt>
                <c:pt idx="32">
                  <c:v>1063.6429</c:v>
                </c:pt>
                <c:pt idx="33">
                  <c:v>1092.9048</c:v>
                </c:pt>
                <c:pt idx="34">
                  <c:v>1105.375</c:v>
                </c:pt>
                <c:pt idx="35">
                  <c:v>1088.6154</c:v>
                </c:pt>
                <c:pt idx="36">
                  <c:v>1035.5</c:v>
                </c:pt>
                <c:pt idx="37">
                  <c:v>1042.2424</c:v>
                </c:pt>
                <c:pt idx="38">
                  <c:v>927.7111</c:v>
                </c:pt>
                <c:pt idx="39">
                  <c:v>1158.2286</c:v>
                </c:pt>
                <c:pt idx="40">
                  <c:v>1251.7857</c:v>
                </c:pt>
                <c:pt idx="41">
                  <c:v>1189.2973</c:v>
                </c:pt>
                <c:pt idx="42">
                  <c:v>1225.8261</c:v>
                </c:pt>
                <c:pt idx="43">
                  <c:v>1093.5</c:v>
                </c:pt>
                <c:pt idx="44">
                  <c:v>985.6585</c:v>
                </c:pt>
                <c:pt idx="45">
                  <c:v>1189.6552</c:v>
                </c:pt>
                <c:pt idx="46">
                  <c:v>1525.0769</c:v>
                </c:pt>
                <c:pt idx="47">
                  <c:v>1100.0667</c:v>
                </c:pt>
                <c:pt idx="48">
                  <c:v>1088.8696</c:v>
                </c:pt>
                <c:pt idx="49">
                  <c:v>956.2969</c:v>
                </c:pt>
                <c:pt idx="50">
                  <c:v>792.9237</c:v>
                </c:pt>
                <c:pt idx="51">
                  <c:v>887.4926</c:v>
                </c:pt>
                <c:pt idx="52">
                  <c:v>840.747</c:v>
                </c:pt>
                <c:pt idx="53">
                  <c:v>927.9429</c:v>
                </c:pt>
                <c:pt idx="54">
                  <c:v>1022.1607</c:v>
                </c:pt>
                <c:pt idx="55">
                  <c:v>1112.9655</c:v>
                </c:pt>
              </c:numCache>
            </c:numRef>
          </c:xVal>
          <c:yVal>
            <c:numRef>
              <c:f>Sheet1!$B$2:$B$57</c:f>
              <c:numCache>
                <c:formatCode>General</c:formatCode>
                <c:ptCount val="56"/>
                <c:pt idx="0">
                  <c:v>0.6660550458715596</c:v>
                </c:pt>
                <c:pt idx="1">
                  <c:v>0.5630252100840336</c:v>
                </c:pt>
                <c:pt idx="2">
                  <c:v>0.4793388429752066</c:v>
                </c:pt>
                <c:pt idx="3">
                  <c:v>0.5230496453900709</c:v>
                </c:pt>
                <c:pt idx="4">
                  <c:v>0.5529157667386609</c:v>
                </c:pt>
                <c:pt idx="5">
                  <c:v>0.5764705882352941</c:v>
                </c:pt>
                <c:pt idx="6">
                  <c:v>0.5358255451713395</c:v>
                </c:pt>
                <c:pt idx="7">
                  <c:v>0.5707070707070707</c:v>
                </c:pt>
                <c:pt idx="8">
                  <c:v>0.5590717299578059</c:v>
                </c:pt>
                <c:pt idx="9">
                  <c:v>0.5082508250825083</c:v>
                </c:pt>
                <c:pt idx="10">
                  <c:v>0.5597345132743363</c:v>
                </c:pt>
                <c:pt idx="11">
                  <c:v>0.5691158156911582</c:v>
                </c:pt>
                <c:pt idx="12">
                  <c:v>0.44101633393829404</c:v>
                </c:pt>
                <c:pt idx="13">
                  <c:v>0.4280442804428044</c:v>
                </c:pt>
                <c:pt idx="14">
                  <c:v>0.45233968804159447</c:v>
                </c:pt>
                <c:pt idx="15">
                  <c:v>0.39232053422370616</c:v>
                </c:pt>
                <c:pt idx="16">
                  <c:v>0.3806818181818182</c:v>
                </c:pt>
                <c:pt idx="17">
                  <c:v>0.4470588235294118</c:v>
                </c:pt>
                <c:pt idx="18">
                  <c:v>0.35073068893528186</c:v>
                </c:pt>
                <c:pt idx="19">
                  <c:v>0.3743718592964824</c:v>
                </c:pt>
                <c:pt idx="20">
                  <c:v>0.3176895306859206</c:v>
                </c:pt>
                <c:pt idx="21">
                  <c:v>0.2637795275590551</c:v>
                </c:pt>
                <c:pt idx="22">
                  <c:v>0.3069306930693069</c:v>
                </c:pt>
                <c:pt idx="23">
                  <c:v>0.3512658227848101</c:v>
                </c:pt>
                <c:pt idx="24">
                  <c:v>0.3186119873817035</c:v>
                </c:pt>
                <c:pt idx="25">
                  <c:v>0.5336927223719676</c:v>
                </c:pt>
                <c:pt idx="26">
                  <c:v>0.4030612244897959</c:v>
                </c:pt>
                <c:pt idx="27">
                  <c:v>0.3709677419354839</c:v>
                </c:pt>
                <c:pt idx="28">
                  <c:v>0.3352601156069364</c:v>
                </c:pt>
                <c:pt idx="29">
                  <c:v>0.4111111111111111</c:v>
                </c:pt>
                <c:pt idx="30">
                  <c:v>0.19083969465648856</c:v>
                </c:pt>
                <c:pt idx="31">
                  <c:v>0.20754716981132076</c:v>
                </c:pt>
                <c:pt idx="32">
                  <c:v>0.13930348258706468</c:v>
                </c:pt>
                <c:pt idx="33">
                  <c:v>0.13815789473684212</c:v>
                </c:pt>
                <c:pt idx="34">
                  <c:v>0.14545454545454545</c:v>
                </c:pt>
                <c:pt idx="35">
                  <c:v>0.12264150943396226</c:v>
                </c:pt>
                <c:pt idx="36">
                  <c:v>0.19402985074626866</c:v>
                </c:pt>
                <c:pt idx="37">
                  <c:v>0.21019108280254778</c:v>
                </c:pt>
                <c:pt idx="38">
                  <c:v>0.36585365853658536</c:v>
                </c:pt>
                <c:pt idx="39">
                  <c:v>0.23026315789473684</c:v>
                </c:pt>
                <c:pt idx="40">
                  <c:v>0.19718309859154928</c:v>
                </c:pt>
                <c:pt idx="41">
                  <c:v>0.23125</c:v>
                </c:pt>
                <c:pt idx="42">
                  <c:v>0.11557788944723618</c:v>
                </c:pt>
                <c:pt idx="43">
                  <c:v>0.16037735849056603</c:v>
                </c:pt>
                <c:pt idx="44">
                  <c:v>0.21578947368421053</c:v>
                </c:pt>
                <c:pt idx="45">
                  <c:v>0.16292134831460675</c:v>
                </c:pt>
                <c:pt idx="46">
                  <c:v>0.2846715328467153</c:v>
                </c:pt>
                <c:pt idx="47">
                  <c:v>0.12345679012345678</c:v>
                </c:pt>
                <c:pt idx="48">
                  <c:v>0.1393939393939394</c:v>
                </c:pt>
                <c:pt idx="49">
                  <c:v>0.17297297297297298</c:v>
                </c:pt>
                <c:pt idx="50">
                  <c:v>0.2635814889336016</c:v>
                </c:pt>
                <c:pt idx="51">
                  <c:v>0.3695652173913043</c:v>
                </c:pt>
                <c:pt idx="52">
                  <c:v>0.1925754060324826</c:v>
                </c:pt>
                <c:pt idx="53">
                  <c:v>0.23542600896860988</c:v>
                </c:pt>
                <c:pt idx="54">
                  <c:v>0.14933333333333335</c:v>
                </c:pt>
                <c:pt idx="55">
                  <c:v>0.08923076923076922</c:v>
                </c:pt>
              </c:numCache>
            </c:numRef>
          </c:yVal>
          <c:smooth val="0"/>
          <c:extLst>
            <c:ext xmlns:c16="http://schemas.microsoft.com/office/drawing/2014/chart" uri="{C3380CC4-5D6E-409C-BE32-E72D297353CC}">
              <c16:uniqueId val="{00000000-F32D-48B7-BC20-E66FC6253BAD}"/>
            </c:ext>
          </c:extLst>
        </c:ser>
        <c:ser>
          <c:idx val="1"/>
          <c:order val="1"/>
          <c:tx>
            <c:strRef>
              <c:f>Sheet1!$B$5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0:$A$111</c:f>
              <c:numCache>
                <c:formatCode>General</c:formatCode>
                <c:ptCount val="52"/>
                <c:pt idx="0">
                  <c:v>1077.2353</c:v>
                </c:pt>
                <c:pt idx="1">
                  <c:v>732.8261</c:v>
                </c:pt>
                <c:pt idx="2">
                  <c:v>705.1452</c:v>
                </c:pt>
                <c:pt idx="3">
                  <c:v>706.3784</c:v>
                </c:pt>
                <c:pt idx="4">
                  <c:v>712.3816</c:v>
                </c:pt>
                <c:pt idx="5">
                  <c:v>760.1129</c:v>
                </c:pt>
                <c:pt idx="6">
                  <c:v>721.1696</c:v>
                </c:pt>
                <c:pt idx="7">
                  <c:v>818.4222</c:v>
                </c:pt>
                <c:pt idx="8">
                  <c:v>802.3824</c:v>
                </c:pt>
                <c:pt idx="9">
                  <c:v>802.3966</c:v>
                </c:pt>
                <c:pt idx="10">
                  <c:v>820.0853</c:v>
                </c:pt>
                <c:pt idx="11">
                  <c:v>562.3521</c:v>
                </c:pt>
                <c:pt idx="12">
                  <c:v>497.9644</c:v>
                </c:pt>
                <c:pt idx="13">
                  <c:v>516.6767</c:v>
                </c:pt>
                <c:pt idx="14">
                  <c:v>487.8901</c:v>
                </c:pt>
                <c:pt idx="15">
                  <c:v>482.2157</c:v>
                </c:pt>
                <c:pt idx="16">
                  <c:v>490.6277</c:v>
                </c:pt>
                <c:pt idx="17">
                  <c:v>476.5094</c:v>
                </c:pt>
                <c:pt idx="18">
                  <c:v>503.1899</c:v>
                </c:pt>
                <c:pt idx="19">
                  <c:v>489.734</c:v>
                </c:pt>
                <c:pt idx="20">
                  <c:v>503.7647</c:v>
                </c:pt>
                <c:pt idx="21">
                  <c:v>579.931</c:v>
                </c:pt>
                <c:pt idx="22">
                  <c:v>412.4495</c:v>
                </c:pt>
                <c:pt idx="23">
                  <c:v>416.7463</c:v>
                </c:pt>
                <c:pt idx="24">
                  <c:v>416.5872</c:v>
                </c:pt>
                <c:pt idx="25">
                  <c:v>443.7342</c:v>
                </c:pt>
                <c:pt idx="26">
                  <c:v>500.8889</c:v>
                </c:pt>
                <c:pt idx="27">
                  <c:v>523.8519</c:v>
                </c:pt>
                <c:pt idx="28">
                  <c:v>573.1212</c:v>
                </c:pt>
                <c:pt idx="29">
                  <c:v>504.4667</c:v>
                </c:pt>
                <c:pt idx="30">
                  <c:v>726.0455</c:v>
                </c:pt>
                <c:pt idx="31">
                  <c:v>621.9333</c:v>
                </c:pt>
                <c:pt idx="32">
                  <c:v>561.3667</c:v>
                </c:pt>
                <c:pt idx="33">
                  <c:v>652.9091</c:v>
                </c:pt>
                <c:pt idx="34">
                  <c:v>1110.8444</c:v>
                </c:pt>
                <c:pt idx="35">
                  <c:v>685.3095</c:v>
                </c:pt>
                <c:pt idx="36">
                  <c:v>683.0741</c:v>
                </c:pt>
                <c:pt idx="37">
                  <c:v>400.6667</c:v>
                </c:pt>
                <c:pt idx="38">
                  <c:v>389.2727</c:v>
                </c:pt>
                <c:pt idx="39">
                  <c:v>481.5556</c:v>
                </c:pt>
                <c:pt idx="40">
                  <c:v>435.2273</c:v>
                </c:pt>
                <c:pt idx="41">
                  <c:v>527.8889</c:v>
                </c:pt>
                <c:pt idx="42">
                  <c:v>567.1087</c:v>
                </c:pt>
                <c:pt idx="43">
                  <c:v>506.8462</c:v>
                </c:pt>
                <c:pt idx="44">
                  <c:v>492.5192</c:v>
                </c:pt>
                <c:pt idx="45">
                  <c:v>558.0862</c:v>
                </c:pt>
                <c:pt idx="46">
                  <c:v>489.1379</c:v>
                </c:pt>
                <c:pt idx="47">
                  <c:v>377.1525</c:v>
                </c:pt>
                <c:pt idx="48">
                  <c:v>561.8298</c:v>
                </c:pt>
                <c:pt idx="49">
                  <c:v>754.2128</c:v>
                </c:pt>
                <c:pt idx="50">
                  <c:v>704.5536</c:v>
                </c:pt>
                <c:pt idx="51">
                  <c:v>786.75</c:v>
                </c:pt>
              </c:numCache>
            </c:numRef>
          </c:xVal>
          <c:yVal>
            <c:numRef>
              <c:f>Sheet1!$B$60:$B$111</c:f>
              <c:numCache>
                <c:formatCode>General</c:formatCode>
                <c:ptCount val="52"/>
                <c:pt idx="0">
                  <c:v>0.10397553516819572</c:v>
                </c:pt>
                <c:pt idx="1">
                  <c:v>0.35475578406169667</c:v>
                </c:pt>
                <c:pt idx="2">
                  <c:v>0.464354527938343</c:v>
                </c:pt>
                <c:pt idx="3">
                  <c:v>0.5048732943469786</c:v>
                </c:pt>
                <c:pt idx="4">
                  <c:v>0.4367816091954023</c:v>
                </c:pt>
                <c:pt idx="5">
                  <c:v>0.3701492537313433</c:v>
                </c:pt>
                <c:pt idx="6">
                  <c:v>0.3220338983050847</c:v>
                </c:pt>
                <c:pt idx="7">
                  <c:v>0.39823008849557523</c:v>
                </c:pt>
                <c:pt idx="8">
                  <c:v>0.2764227642276423</c:v>
                </c:pt>
                <c:pt idx="9">
                  <c:v>0.27884615384615385</c:v>
                </c:pt>
                <c:pt idx="10">
                  <c:v>0.27682403433476394</c:v>
                </c:pt>
                <c:pt idx="11">
                  <c:v>0.39497041420118345</c:v>
                </c:pt>
                <c:pt idx="12">
                  <c:v>0.42128935532233885</c:v>
                </c:pt>
                <c:pt idx="13">
                  <c:v>0.41134751773049644</c:v>
                </c:pt>
                <c:pt idx="14">
                  <c:v>0.4170305676855895</c:v>
                </c:pt>
                <c:pt idx="15">
                  <c:v>0.3583138173302108</c:v>
                </c:pt>
                <c:pt idx="16">
                  <c:v>0.38055555555555554</c:v>
                </c:pt>
                <c:pt idx="17">
                  <c:v>0.3281733746130031</c:v>
                </c:pt>
                <c:pt idx="18">
                  <c:v>0.3640552995391705</c:v>
                </c:pt>
                <c:pt idx="19">
                  <c:v>0.3418181818181818</c:v>
                </c:pt>
                <c:pt idx="20">
                  <c:v>0.3222748815165877</c:v>
                </c:pt>
                <c:pt idx="21">
                  <c:v>0.21014492753623187</c:v>
                </c:pt>
                <c:pt idx="22">
                  <c:v>0.4579831932773109</c:v>
                </c:pt>
                <c:pt idx="23">
                  <c:v>0.5193798449612403</c:v>
                </c:pt>
                <c:pt idx="24">
                  <c:v>0.3609271523178808</c:v>
                </c:pt>
                <c:pt idx="25">
                  <c:v>0.34497816593886466</c:v>
                </c:pt>
                <c:pt idx="26">
                  <c:v>0.18652849740932642</c:v>
                </c:pt>
                <c:pt idx="27">
                  <c:v>0.18</c:v>
                </c:pt>
                <c:pt idx="28">
                  <c:v>0.17010309278350516</c:v>
                </c:pt>
                <c:pt idx="29">
                  <c:v>0.1694915254237288</c:v>
                </c:pt>
                <c:pt idx="30">
                  <c:v>0.12087912087912088</c:v>
                </c:pt>
                <c:pt idx="31">
                  <c:v>0.09803921568627451</c:v>
                </c:pt>
                <c:pt idx="32">
                  <c:v>0.14563106796116504</c:v>
                </c:pt>
                <c:pt idx="33">
                  <c:v>0.20657276995305165</c:v>
                </c:pt>
                <c:pt idx="34">
                  <c:v>0.15306122448979592</c:v>
                </c:pt>
                <c:pt idx="35">
                  <c:v>0.1700404858299595</c:v>
                </c:pt>
                <c:pt idx="36">
                  <c:v>0.14285714285714285</c:v>
                </c:pt>
                <c:pt idx="37">
                  <c:v>0.3446808510638298</c:v>
                </c:pt>
                <c:pt idx="38">
                  <c:v>0.3289036544850498</c:v>
                </c:pt>
                <c:pt idx="39">
                  <c:v>0.32459016393442625</c:v>
                </c:pt>
                <c:pt idx="40">
                  <c:v>0.2268041237113402</c:v>
                </c:pt>
                <c:pt idx="41">
                  <c:v>0.183206106870229</c:v>
                </c:pt>
                <c:pt idx="42">
                  <c:v>0.12234042553191489</c:v>
                </c:pt>
                <c:pt idx="43">
                  <c:v>0.10677618069815195</c:v>
                </c:pt>
                <c:pt idx="44">
                  <c:v>0.0840064620355412</c:v>
                </c:pt>
                <c:pt idx="45">
                  <c:v>0.13908872901678657</c:v>
                </c:pt>
                <c:pt idx="46">
                  <c:v>0.15675675675675677</c:v>
                </c:pt>
                <c:pt idx="47">
                  <c:v>0.1634349030470914</c:v>
                </c:pt>
                <c:pt idx="48">
                  <c:v>0.12806539509536785</c:v>
                </c:pt>
                <c:pt idx="49">
                  <c:v>0.09812108559498957</c:v>
                </c:pt>
                <c:pt idx="50">
                  <c:v>0.08459214501510574</c:v>
                </c:pt>
                <c:pt idx="51">
                  <c:v>0.07459207459207459</c:v>
                </c:pt>
              </c:numCache>
            </c:numRef>
          </c:yVal>
          <c:smooth val="0"/>
          <c:extLst>
            <c:ext xmlns:c16="http://schemas.microsoft.com/office/drawing/2014/chart" uri="{C3380CC4-5D6E-409C-BE32-E72D297353CC}">
              <c16:uniqueId val="{00000002-F32D-48B7-BC20-E66FC6253BAD}"/>
            </c:ext>
          </c:extLst>
        </c:ser>
        <c:ser>
          <c:idx val="2"/>
          <c:order val="2"/>
          <c:tx>
            <c:strRef>
              <c:f>Sheet1!$B$113</c:f>
              <c:strCache>
                <c:ptCount val="1"/>
                <c:pt idx="0">
                  <c:v>Custom Linep3yQ</c:v>
                </c:pt>
              </c:strCache>
            </c:strRef>
          </c:tx>
          <c:spPr>
            <a:ln w="19050" cap="rnd">
              <a:solidFill>
                <a:srgbClr val="C00000"/>
              </a:solidFill>
              <a:prstDash val="sysDot"/>
              <a:round/>
            </a:ln>
            <a:effectLst/>
          </c:spPr>
          <c:marker>
            <c:symbol val="none"/>
          </c:marker>
          <c:xVal>
            <c:numRef>
              <c:f>Sheet1!$A$114:$A$115</c:f>
              <c:numCache>
                <c:formatCode>General</c:formatCode>
                <c:ptCount val="2"/>
                <c:pt idx="0">
                  <c:v>0</c:v>
                </c:pt>
                <c:pt idx="1">
                  <c:v>-986.471299476194</c:v>
                </c:pt>
              </c:numCache>
            </c:numRef>
          </c:xVal>
          <c:yVal>
            <c:numRef>
              <c:f>Sheet1!$B$114:$B$115</c:f>
              <c:numCache>
                <c:formatCode>General</c:formatCode>
                <c:ptCount val="2"/>
                <c:pt idx="0">
                  <c:v>0.5552967165982537</c:v>
                </c:pt>
                <c:pt idx="1">
                  <c:v>0.5552967165982537</c:v>
                </c:pt>
              </c:numCache>
            </c:numRef>
          </c:yVal>
          <c:smooth val="0"/>
          <c:extLst>
            <c:ext xmlns:c16="http://schemas.microsoft.com/office/drawing/2014/chart" uri="{C3380CC4-5D6E-409C-BE32-E72D297353CC}">
              <c16:uniqueId val="{00000003-F32D-48B7-BC20-E66FC6253BAD}"/>
            </c:ext>
          </c:extLst>
        </c:ser>
        <c:ser>
          <c:idx val="3"/>
          <c:order val="3"/>
          <c:tx>
            <c:strRef>
              <c:f>Sheet1!$B$1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8:$A$119</c:f>
              <c:numCache>
                <c:formatCode>General</c:formatCode>
                <c:ptCount val="2"/>
                <c:pt idx="0">
                  <c:v>-986.471299476194</c:v>
                </c:pt>
                <c:pt idx="1">
                  <c:v>-986.471299476194</c:v>
                </c:pt>
              </c:numCache>
            </c:numRef>
          </c:xVal>
          <c:yVal>
            <c:numRef>
              <c:f>Sheet1!$B$118:$B$119</c:f>
              <c:numCache>
                <c:formatCode>General</c:formatCode>
                <c:ptCount val="2"/>
                <c:pt idx="0">
                  <c:v>0.555296716598253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2:$A$123</c:f>
              <c:numCache>
                <c:formatCode>General</c:formatCode>
                <c:ptCount val="2"/>
                <c:pt idx="0">
                  <c:v>0</c:v>
                </c:pt>
                <c:pt idx="1">
                  <c:v>81.28051166614583</c:v>
                </c:pt>
              </c:numCache>
            </c:numRef>
          </c:xVal>
          <c:yVal>
            <c:numRef>
              <c:f>Sheet1!$B$122:$B$123</c:f>
              <c:numCache>
                <c:formatCode>General</c:formatCode>
                <c:ptCount val="2"/>
                <c:pt idx="0">
                  <c:v>0.3590640839411402</c:v>
                </c:pt>
                <c:pt idx="1">
                  <c:v>0.3590640839411402</c:v>
                </c:pt>
              </c:numCache>
            </c:numRef>
          </c:yVal>
          <c:smooth val="0"/>
          <c:extLst>
            <c:ext xmlns:c16="http://schemas.microsoft.com/office/drawing/2014/chart" uri="{C3380CC4-5D6E-409C-BE32-E72D297353CC}">
              <c16:uniqueId val="{0000000A-F32D-48B7-BC20-E66FC6253BAD}"/>
            </c:ext>
          </c:extLst>
        </c:ser>
        <c:ser>
          <c:idx val="5"/>
          <c:order val="5"/>
          <c:tx>
            <c:strRef>
              <c:f>Sheet1!$B$1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81.28051166614583</c:v>
                </c:pt>
                <c:pt idx="1">
                  <c:v>81.28051166614583</c:v>
                </c:pt>
              </c:numCache>
            </c:numRef>
          </c:xVal>
          <c:yVal>
            <c:numRef>
              <c:f>Sheet1!$B$126:$B$127</c:f>
              <c:numCache>
                <c:formatCode>General</c:formatCode>
                <c:ptCount val="2"/>
                <c:pt idx="0">
                  <c:v>0.35906408394114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9</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0:$A$131</c:f>
              <c:numCache>
                <c:formatCode>General</c:formatCode>
                <c:ptCount val="2"/>
                <c:pt idx="0">
                  <c:v>0</c:v>
                </c:pt>
                <c:pt idx="1">
                  <c:v>1242.9711195461907</c:v>
                </c:pt>
              </c:numCache>
            </c:numRef>
          </c:xVal>
          <c:yVal>
            <c:numRef>
              <c:f>Sheet1!$B$130:$B$131</c:f>
              <c:numCache>
                <c:formatCode>General</c:formatCode>
                <c:ptCount val="2"/>
                <c:pt idx="0">
                  <c:v>0.14556727322305968</c:v>
                </c:pt>
                <c:pt idx="1">
                  <c:v>0.14556727322305968</c:v>
                </c:pt>
              </c:numCache>
            </c:numRef>
          </c:yVal>
          <c:smooth val="0"/>
          <c:extLst>
            <c:ext xmlns:c16="http://schemas.microsoft.com/office/drawing/2014/chart" uri="{C3380CC4-5D6E-409C-BE32-E72D297353CC}">
              <c16:uniqueId val="{00000011-F32D-48B7-BC20-E66FC6253BAD}"/>
            </c:ext>
          </c:extLst>
        </c:ser>
        <c:ser>
          <c:idx val="7"/>
          <c:order val="7"/>
          <c:tx>
            <c:strRef>
              <c:f>Sheet1!$B$133</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1242.9711195461907</c:v>
                </c:pt>
                <c:pt idx="1">
                  <c:v>1242.9711195461907</c:v>
                </c:pt>
              </c:numCache>
            </c:numRef>
          </c:xVal>
          <c:yVal>
            <c:numRef>
              <c:f>Sheet1!$B$134:$B$135</c:f>
              <c:numCache>
                <c:formatCode>General</c:formatCode>
                <c:ptCount val="2"/>
                <c:pt idx="0">
                  <c:v>0.145567273223059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7</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8:$A$192</c:f>
              <c:numCache>
                <c:formatCode>General</c:formatCode>
                <c:ptCount val="55"/>
                <c:pt idx="0">
                  <c:v>1077.2353</c:v>
                </c:pt>
                <c:pt idx="1">
                  <c:v>732.8261</c:v>
                </c:pt>
                <c:pt idx="2">
                  <c:v>705.1452</c:v>
                </c:pt>
                <c:pt idx="3">
                  <c:v>706.3784</c:v>
                </c:pt>
                <c:pt idx="4">
                  <c:v>712.3816</c:v>
                </c:pt>
                <c:pt idx="5">
                  <c:v>760.1129</c:v>
                </c:pt>
                <c:pt idx="6">
                  <c:v>721.1696</c:v>
                </c:pt>
                <c:pt idx="7">
                  <c:v>818.4222</c:v>
                </c:pt>
                <c:pt idx="8">
                  <c:v>802.3824</c:v>
                </c:pt>
                <c:pt idx="9">
                  <c:v>802.3966</c:v>
                </c:pt>
                <c:pt idx="10">
                  <c:v>820.0853</c:v>
                </c:pt>
                <c:pt idx="11">
                  <c:v>562.3521</c:v>
                </c:pt>
                <c:pt idx="12">
                  <c:v>497.9644</c:v>
                </c:pt>
                <c:pt idx="13">
                  <c:v>516.6767</c:v>
                </c:pt>
                <c:pt idx="14">
                  <c:v>487.8901</c:v>
                </c:pt>
                <c:pt idx="15">
                  <c:v>482.2157</c:v>
                </c:pt>
                <c:pt idx="16">
                  <c:v>490.6277</c:v>
                </c:pt>
                <c:pt idx="17">
                  <c:v>476.5094</c:v>
                </c:pt>
                <c:pt idx="18">
                  <c:v>503.1899</c:v>
                </c:pt>
                <c:pt idx="19">
                  <c:v>489.734</c:v>
                </c:pt>
                <c:pt idx="20">
                  <c:v>503.7647</c:v>
                </c:pt>
                <c:pt idx="21">
                  <c:v>579.931</c:v>
                </c:pt>
                <c:pt idx="22">
                  <c:v>412.4495</c:v>
                </c:pt>
                <c:pt idx="23">
                  <c:v>416.7463</c:v>
                </c:pt>
                <c:pt idx="24">
                  <c:v>416.5872</c:v>
                </c:pt>
                <c:pt idx="25">
                  <c:v>443.7342</c:v>
                </c:pt>
                <c:pt idx="26">
                  <c:v>500.8889</c:v>
                </c:pt>
                <c:pt idx="27">
                  <c:v>523.8519</c:v>
                </c:pt>
                <c:pt idx="28">
                  <c:v>573.1212</c:v>
                </c:pt>
                <c:pt idx="29">
                  <c:v>504.4667</c:v>
                </c:pt>
                <c:pt idx="30">
                  <c:v>726.0455</c:v>
                </c:pt>
                <c:pt idx="31">
                  <c:v>621.9333</c:v>
                </c:pt>
                <c:pt idx="32">
                  <c:v>561.3667</c:v>
                </c:pt>
                <c:pt idx="33">
                  <c:v>652.9091</c:v>
                </c:pt>
                <c:pt idx="34">
                  <c:v>1110.8444</c:v>
                </c:pt>
                <c:pt idx="35">
                  <c:v>685.3095</c:v>
                </c:pt>
                <c:pt idx="36">
                  <c:v>683.0741</c:v>
                </c:pt>
                <c:pt idx="37">
                  <c:v>400.6667</c:v>
                </c:pt>
                <c:pt idx="38">
                  <c:v>389.2727</c:v>
                </c:pt>
                <c:pt idx="39">
                  <c:v>481.5556</c:v>
                </c:pt>
                <c:pt idx="40">
                  <c:v>435.2273</c:v>
                </c:pt>
                <c:pt idx="41">
                  <c:v>527.8889</c:v>
                </c:pt>
                <c:pt idx="42">
                  <c:v>567.1087</c:v>
                </c:pt>
                <c:pt idx="43">
                  <c:v>506.8462</c:v>
                </c:pt>
                <c:pt idx="44">
                  <c:v>492.5192</c:v>
                </c:pt>
                <c:pt idx="45">
                  <c:v>558.0862</c:v>
                </c:pt>
                <c:pt idx="46">
                  <c:v>489.1379</c:v>
                </c:pt>
                <c:pt idx="47">
                  <c:v>377.1525</c:v>
                </c:pt>
                <c:pt idx="48">
                  <c:v>561.8298</c:v>
                </c:pt>
                <c:pt idx="49">
                  <c:v>754.2128</c:v>
                </c:pt>
                <c:pt idx="50">
                  <c:v>704.5536</c:v>
                </c:pt>
                <c:pt idx="51">
                  <c:v>786.75</c:v>
                </c:pt>
                <c:pt idx="52">
                  <c:v>81.28051166614583</c:v>
                </c:pt>
                <c:pt idx="53">
                  <c:v>-986.471299476194</c:v>
                </c:pt>
                <c:pt idx="54">
                  <c:v>1242.9711195461907</c:v>
                </c:pt>
              </c:numCache>
            </c:numRef>
          </c:xVal>
          <c:yVal>
            <c:numRef>
              <c:f>Sheet1!$B$138:$B$192</c:f>
              <c:numCache>
                <c:formatCode>General</c:formatCode>
                <c:ptCount val="55"/>
                <c:pt idx="0">
                  <c:v>0.1760263891484531</c:v>
                </c:pt>
                <c:pt idx="1">
                  <c:v>0.2393223005410312</c:v>
                </c:pt>
                <c:pt idx="2">
                  <c:v>0.2444095275769722</c:v>
                </c:pt>
                <c:pt idx="3">
                  <c:v>0.2441828886894822</c:v>
                </c:pt>
                <c:pt idx="4">
                  <c:v>0.24307961381972865</c:v>
                </c:pt>
                <c:pt idx="5">
                  <c:v>0.23430750164777575</c:v>
                </c:pt>
                <c:pt idx="6">
                  <c:v>0.24146454526372615</c:v>
                </c:pt>
                <c:pt idx="7">
                  <c:v>0.22359135270006106</c:v>
                </c:pt>
                <c:pt idx="8">
                  <c:v>0.22653916524268383</c:v>
                </c:pt>
                <c:pt idx="9">
                  <c:v>0.22653655555066116</c:v>
                </c:pt>
                <c:pt idx="10">
                  <c:v>0.22328570630549033</c:v>
                </c:pt>
                <c:pt idx="11">
                  <c:v>0.27065220461658546</c:v>
                </c:pt>
                <c:pt idx="12">
                  <c:v>0.2824854487749061</c:v>
                </c:pt>
                <c:pt idx="13">
                  <c:v>0.2790464811667489</c:v>
                </c:pt>
                <c:pt idx="14">
                  <c:v>0.2843369149963144</c:v>
                </c:pt>
                <c:pt idx="15">
                  <c:v>0.2853797626310641</c:v>
                </c:pt>
                <c:pt idx="16">
                  <c:v>0.2838337957793239</c:v>
                </c:pt>
                <c:pt idx="17">
                  <c:v>0.28642847288380846</c:v>
                </c:pt>
                <c:pt idx="18">
                  <c:v>0.2815251004886759</c:v>
                </c:pt>
                <c:pt idx="19">
                  <c:v>0.28399804097373665</c:v>
                </c:pt>
                <c:pt idx="20">
                  <c:v>0.2814194630960962</c:v>
                </c:pt>
                <c:pt idx="21">
                  <c:v>0.26742153453930817</c:v>
                </c:pt>
                <c:pt idx="22">
                  <c:v>0.29820147358825366</c:v>
                </c:pt>
                <c:pt idx="23">
                  <c:v>0.2974118028359287</c:v>
                </c:pt>
                <c:pt idx="24">
                  <c:v>0.2974410424134504</c:v>
                </c:pt>
                <c:pt idx="25">
                  <c:v>0.2924519361219392</c:v>
                </c:pt>
                <c:pt idx="26">
                  <c:v>0.28194798086502565</c:v>
                </c:pt>
                <c:pt idx="27">
                  <c:v>0.27772781481456077</c:v>
                </c:pt>
                <c:pt idx="28">
                  <c:v>0.2686730472671946</c:v>
                </c:pt>
                <c:pt idx="29">
                  <c:v>0.2812904487439895</c:v>
                </c:pt>
                <c:pt idx="30">
                  <c:v>0.24056844685996961</c:v>
                </c:pt>
                <c:pt idx="31">
                  <c:v>0.2597023044517133</c:v>
                </c:pt>
                <c:pt idx="32">
                  <c:v>0.27083330254046856</c:v>
                </c:pt>
                <c:pt idx="33">
                  <c:v>0.25400953697594836</c:v>
                </c:pt>
                <c:pt idx="34">
                  <c:v>0.1698496708273853</c:v>
                </c:pt>
                <c:pt idx="35">
                  <c:v>0.24805495490472584</c:v>
                </c:pt>
                <c:pt idx="36">
                  <c:v>0.24846577923905538</c:v>
                </c:pt>
                <c:pt idx="37">
                  <c:v>0.3003669298674601</c:v>
                </c:pt>
                <c:pt idx="38">
                  <c:v>0.3024609320439613</c:v>
                </c:pt>
                <c:pt idx="39">
                  <c:v>0.2855010765538927</c:v>
                </c:pt>
                <c:pt idx="40">
                  <c:v>0.2940153438027605</c:v>
                </c:pt>
                <c:pt idx="41">
                  <c:v>0.27698589039938304</c:v>
                </c:pt>
                <c:pt idx="42">
                  <c:v>0.26977803130144185</c:v>
                </c:pt>
                <c:pt idx="43">
                  <c:v>0.2808531415490637</c:v>
                </c:pt>
                <c:pt idx="44">
                  <c:v>0.2834861737750364</c:v>
                </c:pt>
                <c:pt idx="45">
                  <c:v>0.2714361965320441</c:v>
                </c:pt>
                <c:pt idx="46">
                  <c:v>0.28410759290435034</c:v>
                </c:pt>
                <c:pt idx="47">
                  <c:v>0.30468839607587545</c:v>
                </c:pt>
                <c:pt idx="48">
                  <c:v>0.27074819349992635</c:v>
                </c:pt>
                <c:pt idx="49">
                  <c:v>0.23539182868319566</c:v>
                </c:pt>
                <c:pt idx="50">
                  <c:v>0.2445182524925083</c:v>
                </c:pt>
                <c:pt idx="51">
                  <c:v>0.2294121053536139</c:v>
                </c:pt>
                <c:pt idx="52">
                  <c:v>0.3590640839411402</c:v>
                </c:pt>
                <c:pt idx="53">
                  <c:v>0.5552967165982537</c:v>
                </c:pt>
                <c:pt idx="54">
                  <c:v>0.1455672732230596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3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92660550458716"/>
          <c:min val="0.0596736596736596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55</c:f>
              <c:numCache>
                <c:formatCode>General</c:formatCode>
                <c:ptCount val="52"/>
                <c:pt idx="0">
                  <c:v>0.1772643245022215</c:v>
                </c:pt>
                <c:pt idx="1">
                  <c:v>0.12304772379053416</c:v>
                </c:pt>
                <c:pt idx="2">
                  <c:v>0.12317753564643973</c:v>
                </c:pt>
                <c:pt idx="3">
                  <c:v>0.11604160455291264</c:v>
                </c:pt>
                <c:pt idx="4">
                  <c:v>0.12896585683768422</c:v>
                </c:pt>
                <c:pt idx="5">
                  <c:v>0.13284042292904577</c:v>
                </c:pt>
                <c:pt idx="6">
                  <c:v>0.12366945554302078</c:v>
                </c:pt>
                <c:pt idx="7">
                  <c:v>0.13664409339871322</c:v>
                </c:pt>
                <c:pt idx="8">
                  <c:v>0.13773918417269274</c:v>
                </c:pt>
                <c:pt idx="9">
                  <c:v>0.13333276836158192</c:v>
                </c:pt>
                <c:pt idx="10">
                  <c:v>0.145974599501602</c:v>
                </c:pt>
                <c:pt idx="11">
                  <c:v>0.09614609556241648</c:v>
                </c:pt>
                <c:pt idx="12">
                  <c:v>0.0867469024873857</c:v>
                </c:pt>
                <c:pt idx="13">
                  <c:v>0.0924204811734192</c:v>
                </c:pt>
                <c:pt idx="14">
                  <c:v>0.08762169160565186</c:v>
                </c:pt>
                <c:pt idx="15">
                  <c:v>0.08216784572209562</c:v>
                </c:pt>
                <c:pt idx="16">
                  <c:v>0.09108469321451777</c:v>
                </c:pt>
                <c:pt idx="17">
                  <c:v>0.09371409520491644</c:v>
                </c:pt>
                <c:pt idx="18">
                  <c:v>0.11065479264718449</c:v>
                </c:pt>
                <c:pt idx="19">
                  <c:v>0.10576494471319972</c:v>
                </c:pt>
                <c:pt idx="20">
                  <c:v>0.11695874349925707</c:v>
                </c:pt>
                <c:pt idx="21">
                  <c:v>0.12689493361369072</c:v>
                </c:pt>
                <c:pt idx="22">
                  <c:v>0.09033059570740254</c:v>
                </c:pt>
                <c:pt idx="23">
                  <c:v>0.09316513905034428</c:v>
                </c:pt>
                <c:pt idx="24">
                  <c:v>0.09960640870013875</c:v>
                </c:pt>
                <c:pt idx="25">
                  <c:v>0.10018834951456311</c:v>
                </c:pt>
                <c:pt idx="26">
                  <c:v>0.11757955399061032</c:v>
                </c:pt>
                <c:pt idx="27">
                  <c:v>0.1049768337398428</c:v>
                </c:pt>
                <c:pt idx="28">
                  <c:v>0.12844671177039124</c:v>
                </c:pt>
                <c:pt idx="29">
                  <c:v>0.1193618788501775</c:v>
                </c:pt>
                <c:pt idx="30">
                  <c:v>0.16539429248220475</c:v>
                </c:pt>
                <c:pt idx="31">
                  <c:v>0.13583036855036856</c:v>
                </c:pt>
                <c:pt idx="32">
                  <c:v>0.11845011803197318</c:v>
                </c:pt>
                <c:pt idx="33">
                  <c:v>0.13710049040302594</c:v>
                </c:pt>
                <c:pt idx="34">
                  <c:v>0.23575478712923695</c:v>
                </c:pt>
                <c:pt idx="35">
                  <c:v>0.14094251827615353</c:v>
                </c:pt>
                <c:pt idx="36">
                  <c:v>0.15078010749345067</c:v>
                </c:pt>
                <c:pt idx="37">
                  <c:v>0.08619114128814255</c:v>
                </c:pt>
                <c:pt idx="38">
                  <c:v>0.08579958122107119</c:v>
                </c:pt>
                <c:pt idx="39">
                  <c:v>0.10095081967213115</c:v>
                </c:pt>
                <c:pt idx="40">
                  <c:v>0.08791843910764423</c:v>
                </c:pt>
                <c:pt idx="41">
                  <c:v>0.09952656485671192</c:v>
                </c:pt>
                <c:pt idx="42">
                  <c:v>0.12039842669630575</c:v>
                </c:pt>
                <c:pt idx="43">
                  <c:v>0.1116015042722878</c:v>
                </c:pt>
                <c:pt idx="44">
                  <c:v>0.10804140222050758</c:v>
                </c:pt>
                <c:pt idx="45">
                  <c:v>0.11612038867272839</c:v>
                </c:pt>
                <c:pt idx="46">
                  <c:v>0.10532188965773964</c:v>
                </c:pt>
                <c:pt idx="47">
                  <c:v>0.08013438861149473</c:v>
                </c:pt>
                <c:pt idx="48">
                  <c:v>0.1158365528606441</c:v>
                </c:pt>
                <c:pt idx="49">
                  <c:v>0.16322980550769398</c:v>
                </c:pt>
                <c:pt idx="50">
                  <c:v>0.1587443705518767</c:v>
                </c:pt>
                <c:pt idx="51">
                  <c:v>0.17967831928431963</c:v>
                </c:pt>
              </c:numCache>
            </c:numRef>
          </c:xVal>
          <c:yVal>
            <c:numRef>
              <c:f>Sheet1!$B$4:$B$55</c:f>
              <c:numCache>
                <c:formatCode>General</c:formatCode>
                <c:ptCount val="52"/>
                <c:pt idx="0">
                  <c:v>0.10397553516819572</c:v>
                </c:pt>
                <c:pt idx="1">
                  <c:v>0.35475578406169667</c:v>
                </c:pt>
                <c:pt idx="2">
                  <c:v>0.464354527938343</c:v>
                </c:pt>
                <c:pt idx="3">
                  <c:v>0.5048732943469786</c:v>
                </c:pt>
                <c:pt idx="4">
                  <c:v>0.4367816091954023</c:v>
                </c:pt>
                <c:pt idx="5">
                  <c:v>0.3701492537313433</c:v>
                </c:pt>
                <c:pt idx="6">
                  <c:v>0.3220338983050847</c:v>
                </c:pt>
                <c:pt idx="7">
                  <c:v>0.39823008849557523</c:v>
                </c:pt>
                <c:pt idx="8">
                  <c:v>0.2764227642276423</c:v>
                </c:pt>
                <c:pt idx="9">
                  <c:v>0.27884615384615385</c:v>
                </c:pt>
                <c:pt idx="10">
                  <c:v>0.27682403433476394</c:v>
                </c:pt>
                <c:pt idx="11">
                  <c:v>0.39497041420118345</c:v>
                </c:pt>
                <c:pt idx="12">
                  <c:v>0.42128935532233885</c:v>
                </c:pt>
                <c:pt idx="13">
                  <c:v>0.41134751773049644</c:v>
                </c:pt>
                <c:pt idx="14">
                  <c:v>0.4170305676855895</c:v>
                </c:pt>
                <c:pt idx="15">
                  <c:v>0.3583138173302108</c:v>
                </c:pt>
                <c:pt idx="16">
                  <c:v>0.38055555555555554</c:v>
                </c:pt>
                <c:pt idx="17">
                  <c:v>0.3281733746130031</c:v>
                </c:pt>
                <c:pt idx="18">
                  <c:v>0.3640552995391705</c:v>
                </c:pt>
                <c:pt idx="19">
                  <c:v>0.3418181818181818</c:v>
                </c:pt>
                <c:pt idx="20">
                  <c:v>0.3222748815165877</c:v>
                </c:pt>
                <c:pt idx="21">
                  <c:v>0.21014492753623187</c:v>
                </c:pt>
                <c:pt idx="22">
                  <c:v>0.4579831932773109</c:v>
                </c:pt>
                <c:pt idx="23">
                  <c:v>0.5193798449612403</c:v>
                </c:pt>
                <c:pt idx="24">
                  <c:v>0.3609271523178808</c:v>
                </c:pt>
                <c:pt idx="25">
                  <c:v>0.34497816593886466</c:v>
                </c:pt>
                <c:pt idx="26">
                  <c:v>0.18652849740932642</c:v>
                </c:pt>
                <c:pt idx="27">
                  <c:v>0.18</c:v>
                </c:pt>
                <c:pt idx="28">
                  <c:v>0.17010309278350516</c:v>
                </c:pt>
                <c:pt idx="29">
                  <c:v>0.1694915254237288</c:v>
                </c:pt>
                <c:pt idx="30">
                  <c:v>0.12087912087912088</c:v>
                </c:pt>
                <c:pt idx="31">
                  <c:v>0.09803921568627451</c:v>
                </c:pt>
                <c:pt idx="32">
                  <c:v>0.14563106796116504</c:v>
                </c:pt>
                <c:pt idx="33">
                  <c:v>0.20657276995305165</c:v>
                </c:pt>
                <c:pt idx="34">
                  <c:v>0.15306122448979592</c:v>
                </c:pt>
                <c:pt idx="35">
                  <c:v>0.1700404858299595</c:v>
                </c:pt>
                <c:pt idx="36">
                  <c:v>0.14285714285714285</c:v>
                </c:pt>
                <c:pt idx="37">
                  <c:v>0.3446808510638298</c:v>
                </c:pt>
                <c:pt idx="38">
                  <c:v>0.3289036544850498</c:v>
                </c:pt>
                <c:pt idx="39">
                  <c:v>0.32459016393442625</c:v>
                </c:pt>
                <c:pt idx="40">
                  <c:v>0.2268041237113402</c:v>
                </c:pt>
                <c:pt idx="41">
                  <c:v>0.183206106870229</c:v>
                </c:pt>
                <c:pt idx="42">
                  <c:v>0.12234042553191489</c:v>
                </c:pt>
                <c:pt idx="43">
                  <c:v>0.10677618069815195</c:v>
                </c:pt>
                <c:pt idx="44">
                  <c:v>0.0840064620355412</c:v>
                </c:pt>
                <c:pt idx="45">
                  <c:v>0.13908872901678657</c:v>
                </c:pt>
                <c:pt idx="46">
                  <c:v>0.15675675675675677</c:v>
                </c:pt>
                <c:pt idx="47">
                  <c:v>0.1634349030470914</c:v>
                </c:pt>
                <c:pt idx="48">
                  <c:v>0.12806539509536785</c:v>
                </c:pt>
                <c:pt idx="49">
                  <c:v>0.09812108559498957</c:v>
                </c:pt>
                <c:pt idx="50">
                  <c:v>0.08459214501510574</c:v>
                </c:pt>
                <c:pt idx="51">
                  <c:v>0.07459207459207459</c:v>
                </c:pt>
              </c:numCache>
            </c:numRef>
          </c:yVal>
          <c:smooth val="0"/>
          <c:extLst>
            <c:ext xmlns:c16="http://schemas.microsoft.com/office/drawing/2014/chart" uri="{C3380CC4-5D6E-409C-BE32-E72D297353CC}">
              <c16:uniqueId val="{00000002-096C-4121-9522-6AB7243CCAAE}"/>
            </c:ext>
          </c:extLst>
        </c:ser>
        <c:ser>
          <c:idx val="2"/>
          <c:order val="2"/>
          <c:tx>
            <c:strRef>
              <c:f>Sheet1!$B$5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8:$A$59</c:f>
              <c:numCache>
                <c:formatCode>General</c:formatCode>
                <c:ptCount val="2"/>
                <c:pt idx="0">
                  <c:v>0</c:v>
                </c:pt>
                <c:pt idx="1">
                  <c:v>0.07434847974284929</c:v>
                </c:pt>
              </c:numCache>
            </c:numRef>
          </c:xVal>
          <c:yVal>
            <c:numRef>
              <c:f>Sheet1!$B$58:$B$59</c:f>
              <c:numCache>
                <c:formatCode>General</c:formatCode>
                <c:ptCount val="2"/>
                <c:pt idx="0">
                  <c:v>0.3590640839411402</c:v>
                </c:pt>
                <c:pt idx="1">
                  <c:v>0.3590640839411402</c:v>
                </c:pt>
              </c:numCache>
            </c:numRef>
          </c:yVal>
          <c:smooth val="0"/>
          <c:extLst>
            <c:ext xmlns:c16="http://schemas.microsoft.com/office/drawing/2014/chart" uri="{C3380CC4-5D6E-409C-BE32-E72D297353CC}">
              <c16:uniqueId val="{00000005-096C-4121-9522-6AB7243CCAAE}"/>
            </c:ext>
          </c:extLst>
        </c:ser>
        <c:ser>
          <c:idx val="3"/>
          <c:order val="3"/>
          <c:tx>
            <c:strRef>
              <c:f>Sheet1!$B$6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2:$A$63</c:f>
              <c:numCache>
                <c:formatCode>General</c:formatCode>
                <c:ptCount val="2"/>
                <c:pt idx="0">
                  <c:v>0.07434847974284929</c:v>
                </c:pt>
                <c:pt idx="1">
                  <c:v>0.07434847974284929</c:v>
                </c:pt>
              </c:numCache>
            </c:numRef>
          </c:xVal>
          <c:yVal>
            <c:numRef>
              <c:f>Sheet1!$B$62:$B$63</c:f>
              <c:numCache>
                <c:formatCode>General</c:formatCode>
                <c:ptCount val="2"/>
                <c:pt idx="0">
                  <c:v>0.35906408394114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6:$A$67</c:f>
              <c:numCache>
                <c:formatCode>General</c:formatCode>
                <c:ptCount val="2"/>
                <c:pt idx="0">
                  <c:v>0</c:v>
                </c:pt>
                <c:pt idx="1">
                  <c:v>0.07434847974284929</c:v>
                </c:pt>
              </c:numCache>
            </c:numRef>
          </c:xVal>
          <c:yVal>
            <c:numRef>
              <c:f>Sheet1!$B$66:$B$67</c:f>
              <c:numCache>
                <c:formatCode>General</c:formatCode>
                <c:ptCount val="2"/>
                <c:pt idx="0">
                  <c:v>0.3590640839411402</c:v>
                </c:pt>
                <c:pt idx="1">
                  <c:v>0.3590640839411402</c:v>
                </c:pt>
              </c:numCache>
            </c:numRef>
          </c:yVal>
          <c:smooth val="0"/>
          <c:extLst>
            <c:ext xmlns:c16="http://schemas.microsoft.com/office/drawing/2014/chart" uri="{C3380CC4-5D6E-409C-BE32-E72D297353CC}">
              <c16:uniqueId val="{0000000D-096C-4121-9522-6AB7243CCAAE}"/>
            </c:ext>
          </c:extLst>
        </c:ser>
        <c:ser>
          <c:idx val="5"/>
          <c:order val="5"/>
          <c:tx>
            <c:strRef>
              <c:f>Sheet1!$B$6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0:$A$71</c:f>
              <c:numCache>
                <c:formatCode>General</c:formatCode>
                <c:ptCount val="2"/>
                <c:pt idx="0">
                  <c:v>0.07434847974284929</c:v>
                </c:pt>
                <c:pt idx="1">
                  <c:v>0.07434847974284929</c:v>
                </c:pt>
              </c:numCache>
            </c:numRef>
          </c:xVal>
          <c:yVal>
            <c:numRef>
              <c:f>Sheet1!$B$70:$B$71</c:f>
              <c:numCache>
                <c:formatCode>General</c:formatCode>
                <c:ptCount val="2"/>
                <c:pt idx="0">
                  <c:v>0.35906408394114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7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74:$A$75</c:f>
              <c:numCache>
                <c:formatCode>General</c:formatCode>
                <c:ptCount val="2"/>
                <c:pt idx="0">
                  <c:v>0</c:v>
                </c:pt>
                <c:pt idx="1">
                  <c:v>0.17631486915936653</c:v>
                </c:pt>
              </c:numCache>
            </c:numRef>
          </c:xVal>
          <c:yVal>
            <c:numRef>
              <c:f>Sheet1!$B$74:$B$75</c:f>
              <c:numCache>
                <c:formatCode>General</c:formatCode>
                <c:ptCount val="2"/>
                <c:pt idx="0">
                  <c:v>0.14556727322305968</c:v>
                </c:pt>
                <c:pt idx="1">
                  <c:v>0.14556727322305968</c:v>
                </c:pt>
              </c:numCache>
            </c:numRef>
          </c:yVal>
          <c:smooth val="0"/>
          <c:extLst>
            <c:ext xmlns:c16="http://schemas.microsoft.com/office/drawing/2014/chart" uri="{C3380CC4-5D6E-409C-BE32-E72D297353CC}">
              <c16:uniqueId val="{00000015-096C-4121-9522-6AB7243CCAAE}"/>
            </c:ext>
          </c:extLst>
        </c:ser>
        <c:ser>
          <c:idx val="7"/>
          <c:order val="7"/>
          <c:tx>
            <c:strRef>
              <c:f>Sheet1!$B$7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8:$A$79</c:f>
              <c:numCache>
                <c:formatCode>General</c:formatCode>
                <c:ptCount val="2"/>
                <c:pt idx="0">
                  <c:v>0.17631486915936653</c:v>
                </c:pt>
                <c:pt idx="1">
                  <c:v>0.17631486915936653</c:v>
                </c:pt>
              </c:numCache>
            </c:numRef>
          </c:xVal>
          <c:yVal>
            <c:numRef>
              <c:f>Sheet1!$B$78:$B$79</c:f>
              <c:numCache>
                <c:formatCode>General</c:formatCode>
                <c:ptCount val="2"/>
                <c:pt idx="0">
                  <c:v>0.145567273223059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8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82:$A$136</c:f>
              <c:numCache>
                <c:formatCode>General</c:formatCode>
                <c:ptCount val="55"/>
                <c:pt idx="0">
                  <c:v>0.1772643245022215</c:v>
                </c:pt>
                <c:pt idx="1">
                  <c:v>0.12304772379053416</c:v>
                </c:pt>
                <c:pt idx="2">
                  <c:v>0.12317753564643973</c:v>
                </c:pt>
                <c:pt idx="3">
                  <c:v>0.11604160455291264</c:v>
                </c:pt>
                <c:pt idx="4">
                  <c:v>0.12896585683768422</c:v>
                </c:pt>
                <c:pt idx="5">
                  <c:v>0.13284042292904577</c:v>
                </c:pt>
                <c:pt idx="6">
                  <c:v>0.12366945554302078</c:v>
                </c:pt>
                <c:pt idx="7">
                  <c:v>0.13664409339871322</c:v>
                </c:pt>
                <c:pt idx="8">
                  <c:v>0.13773918417269274</c:v>
                </c:pt>
                <c:pt idx="9">
                  <c:v>0.13333276836158192</c:v>
                </c:pt>
                <c:pt idx="10">
                  <c:v>0.145974599501602</c:v>
                </c:pt>
                <c:pt idx="11">
                  <c:v>0.09614609556241648</c:v>
                </c:pt>
                <c:pt idx="12">
                  <c:v>0.0867469024873857</c:v>
                </c:pt>
                <c:pt idx="13">
                  <c:v>0.0924204811734192</c:v>
                </c:pt>
                <c:pt idx="14">
                  <c:v>0.08762169160565186</c:v>
                </c:pt>
                <c:pt idx="15">
                  <c:v>0.08216784572209562</c:v>
                </c:pt>
                <c:pt idx="16">
                  <c:v>0.09108469321451777</c:v>
                </c:pt>
                <c:pt idx="17">
                  <c:v>0.09371409520491644</c:v>
                </c:pt>
                <c:pt idx="18">
                  <c:v>0.11065479264718449</c:v>
                </c:pt>
                <c:pt idx="19">
                  <c:v>0.10576494471319972</c:v>
                </c:pt>
                <c:pt idx="20">
                  <c:v>0.11695874349925707</c:v>
                </c:pt>
                <c:pt idx="21">
                  <c:v>0.12689493361369072</c:v>
                </c:pt>
                <c:pt idx="22">
                  <c:v>0.09033059570740254</c:v>
                </c:pt>
                <c:pt idx="23">
                  <c:v>0.09316513905034428</c:v>
                </c:pt>
                <c:pt idx="24">
                  <c:v>0.09960640870013875</c:v>
                </c:pt>
                <c:pt idx="25">
                  <c:v>0.10018834951456311</c:v>
                </c:pt>
                <c:pt idx="26">
                  <c:v>0.11757955399061032</c:v>
                </c:pt>
                <c:pt idx="27">
                  <c:v>0.1049768337398428</c:v>
                </c:pt>
                <c:pt idx="28">
                  <c:v>0.12844671177039124</c:v>
                </c:pt>
                <c:pt idx="29">
                  <c:v>0.1193618788501775</c:v>
                </c:pt>
                <c:pt idx="30">
                  <c:v>0.16539429248220475</c:v>
                </c:pt>
                <c:pt idx="31">
                  <c:v>0.13583036855036856</c:v>
                </c:pt>
                <c:pt idx="32">
                  <c:v>0.11845011803197318</c:v>
                </c:pt>
                <c:pt idx="33">
                  <c:v>0.13710049040302594</c:v>
                </c:pt>
                <c:pt idx="34">
                  <c:v>0.23575478712923695</c:v>
                </c:pt>
                <c:pt idx="35">
                  <c:v>0.14094251827615353</c:v>
                </c:pt>
                <c:pt idx="36">
                  <c:v>0.15078010749345067</c:v>
                </c:pt>
                <c:pt idx="37">
                  <c:v>0.08619114128814255</c:v>
                </c:pt>
                <c:pt idx="38">
                  <c:v>0.08579958122107119</c:v>
                </c:pt>
                <c:pt idx="39">
                  <c:v>0.10095081967213115</c:v>
                </c:pt>
                <c:pt idx="40">
                  <c:v>0.08791843910764423</c:v>
                </c:pt>
                <c:pt idx="41">
                  <c:v>0.09952656485671192</c:v>
                </c:pt>
                <c:pt idx="42">
                  <c:v>0.12039842669630575</c:v>
                </c:pt>
                <c:pt idx="43">
                  <c:v>0.1116015042722878</c:v>
                </c:pt>
                <c:pt idx="44">
                  <c:v>0.10804140222050758</c:v>
                </c:pt>
                <c:pt idx="45">
                  <c:v>0.11612038867272839</c:v>
                </c:pt>
                <c:pt idx="46">
                  <c:v>0.10532188965773964</c:v>
                </c:pt>
                <c:pt idx="47">
                  <c:v>0.08013438861149473</c:v>
                </c:pt>
                <c:pt idx="48">
                  <c:v>0.1158365528606441</c:v>
                </c:pt>
                <c:pt idx="49">
                  <c:v>0.16322980550769398</c:v>
                </c:pt>
                <c:pt idx="50">
                  <c:v>0.1587443705518767</c:v>
                </c:pt>
                <c:pt idx="51">
                  <c:v>0.17967831928431963</c:v>
                </c:pt>
                <c:pt idx="52">
                  <c:v>0.07434847974284929</c:v>
                </c:pt>
                <c:pt idx="53">
                  <c:v>0.07434847974284929</c:v>
                </c:pt>
                <c:pt idx="54">
                  <c:v>0.17631486915936653</c:v>
                </c:pt>
              </c:numCache>
            </c:numRef>
          </c:xVal>
          <c:yVal>
            <c:numRef>
              <c:f>Sheet1!$B$82:$B$136</c:f>
              <c:numCache>
                <c:formatCode>General</c:formatCode>
                <c:ptCount val="55"/>
                <c:pt idx="0">
                  <c:v>0.1435793074945611</c:v>
                </c:pt>
                <c:pt idx="1">
                  <c:v>0.25709780516969644</c:v>
                </c:pt>
                <c:pt idx="2">
                  <c:v>0.25682600563469454</c:v>
                </c:pt>
                <c:pt idx="3">
                  <c:v>0.27176718908435815</c:v>
                </c:pt>
                <c:pt idx="4">
                  <c:v>0.24470644230785582</c:v>
                </c:pt>
                <c:pt idx="5">
                  <c:v>0.236593891611929</c:v>
                </c:pt>
                <c:pt idx="6">
                  <c:v>0.2557960257594651</c:v>
                </c:pt>
                <c:pt idx="7">
                  <c:v>0.2286297818798549</c:v>
                </c:pt>
                <c:pt idx="8">
                  <c:v>0.22633688527903095</c:v>
                </c:pt>
                <c:pt idx="9">
                  <c:v>0.23556302075125052</c:v>
                </c:pt>
                <c:pt idx="10">
                  <c:v>0.20909360621695888</c:v>
                </c:pt>
                <c:pt idx="11">
                  <c:v>0.31342432474827686</c:v>
                </c:pt>
                <c:pt idx="12">
                  <c:v>0.3331043169135921</c:v>
                </c:pt>
                <c:pt idx="13">
                  <c:v>0.3212250009766681</c:v>
                </c:pt>
                <c:pt idx="14">
                  <c:v>0.33127268702192453</c:v>
                </c:pt>
                <c:pt idx="15">
                  <c:v>0.3426919273122802</c:v>
                </c:pt>
                <c:pt idx="16">
                  <c:v>0.32402186836260766</c:v>
                </c:pt>
                <c:pt idx="17">
                  <c:v>0.31851643718809797</c:v>
                </c:pt>
                <c:pt idx="18">
                  <c:v>0.2830460739050542</c:v>
                </c:pt>
                <c:pt idx="19">
                  <c:v>0.29328441758649715</c:v>
                </c:pt>
                <c:pt idx="20">
                  <c:v>0.26984688729520645</c:v>
                </c:pt>
                <c:pt idx="21">
                  <c:v>0.2490425329166795</c:v>
                </c:pt>
                <c:pt idx="22">
                  <c:v>0.3256007946505819</c:v>
                </c:pt>
                <c:pt idx="23">
                  <c:v>0.3196658393479261</c:v>
                </c:pt>
                <c:pt idx="24">
                  <c:v>0.3061791351988869</c:v>
                </c:pt>
                <c:pt idx="25">
                  <c:v>0.30496066989264986</c:v>
                </c:pt>
                <c:pt idx="26">
                  <c:v>0.2685470368177826</c:v>
                </c:pt>
                <c:pt idx="27">
                  <c:v>0.29493456113150696</c:v>
                </c:pt>
                <c:pt idx="28">
                  <c:v>0.24579342613459826</c:v>
                </c:pt>
                <c:pt idx="29">
                  <c:v>0.26481521228855687</c:v>
                </c:pt>
                <c:pt idx="30">
                  <c:v>0.16843273217593518</c:v>
                </c:pt>
                <c:pt idx="31">
                  <c:v>0.2303335556519553</c:v>
                </c:pt>
                <c:pt idx="32">
                  <c:v>0.2667242533749209</c:v>
                </c:pt>
                <c:pt idx="33">
                  <c:v>0.22767417969172576</c:v>
                </c:pt>
                <c:pt idx="34">
                  <c:v>0.02111221515413092</c:v>
                </c:pt>
                <c:pt idx="35">
                  <c:v>0.21962975738456658</c:v>
                </c:pt>
                <c:pt idx="36">
                  <c:v>0.19903185316273392</c:v>
                </c:pt>
                <c:pt idx="37">
                  <c:v>0.3342679674482265</c:v>
                </c:pt>
                <c:pt idx="38">
                  <c:v>0.3350878143213252</c:v>
                </c:pt>
                <c:pt idx="39">
                  <c:v>0.30336421298327026</c:v>
                </c:pt>
                <c:pt idx="40">
                  <c:v>0.3306513583112929</c:v>
                </c:pt>
                <c:pt idx="41">
                  <c:v>0.3063463119129458</c:v>
                </c:pt>
                <c:pt idx="42">
                  <c:v>0.2626448926315461</c:v>
                </c:pt>
                <c:pt idx="43">
                  <c:v>0.28106385296160535</c:v>
                </c:pt>
                <c:pt idx="44">
                  <c:v>0.2885179801326793</c:v>
                </c:pt>
                <c:pt idx="45">
                  <c:v>0.2716022312152785</c:v>
                </c:pt>
                <c:pt idx="46">
                  <c:v>0.29421208445647773</c:v>
                </c:pt>
                <c:pt idx="47">
                  <c:v>0.34694957152553085</c:v>
                </c:pt>
                <c:pt idx="48">
                  <c:v>0.27219652548218676</c:v>
                </c:pt>
                <c:pt idx="49">
                  <c:v>0.17296472618438458</c:v>
                </c:pt>
                <c:pt idx="50">
                  <c:v>0.1823563116198424</c:v>
                </c:pt>
                <c:pt idx="51">
                  <c:v>0.1385248950551563</c:v>
                </c:pt>
                <c:pt idx="52">
                  <c:v>0.3590640839411402</c:v>
                </c:pt>
                <c:pt idx="53">
                  <c:v>0.3590640839411402</c:v>
                </c:pt>
                <c:pt idx="54">
                  <c:v>0.1455672732230596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232558139534884"/>
          <c:min val="0.0596736596736596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55</c:f>
              <c:numCache>
                <c:formatCode>General</c:formatCode>
                <c:ptCount val="52"/>
                <c:pt idx="0">
                  <c:v>1077.2353</c:v>
                </c:pt>
                <c:pt idx="1">
                  <c:v>732.8261</c:v>
                </c:pt>
                <c:pt idx="2">
                  <c:v>705.1452</c:v>
                </c:pt>
                <c:pt idx="3">
                  <c:v>706.3784</c:v>
                </c:pt>
                <c:pt idx="4">
                  <c:v>712.3816</c:v>
                </c:pt>
                <c:pt idx="5">
                  <c:v>760.1129</c:v>
                </c:pt>
                <c:pt idx="6">
                  <c:v>721.1696</c:v>
                </c:pt>
                <c:pt idx="7">
                  <c:v>818.4222</c:v>
                </c:pt>
                <c:pt idx="8">
                  <c:v>802.3824</c:v>
                </c:pt>
                <c:pt idx="9">
                  <c:v>802.3966</c:v>
                </c:pt>
                <c:pt idx="10">
                  <c:v>820.0853</c:v>
                </c:pt>
                <c:pt idx="11">
                  <c:v>562.3521</c:v>
                </c:pt>
                <c:pt idx="12">
                  <c:v>497.9644</c:v>
                </c:pt>
                <c:pt idx="13">
                  <c:v>516.6767</c:v>
                </c:pt>
                <c:pt idx="14">
                  <c:v>487.8901</c:v>
                </c:pt>
                <c:pt idx="15">
                  <c:v>482.2157</c:v>
                </c:pt>
                <c:pt idx="16">
                  <c:v>490.6277</c:v>
                </c:pt>
                <c:pt idx="17">
                  <c:v>476.5094</c:v>
                </c:pt>
                <c:pt idx="18">
                  <c:v>503.1899</c:v>
                </c:pt>
                <c:pt idx="19">
                  <c:v>489.734</c:v>
                </c:pt>
                <c:pt idx="20">
                  <c:v>503.7647</c:v>
                </c:pt>
                <c:pt idx="21">
                  <c:v>579.931</c:v>
                </c:pt>
                <c:pt idx="22">
                  <c:v>412.4495</c:v>
                </c:pt>
                <c:pt idx="23">
                  <c:v>416.7463</c:v>
                </c:pt>
                <c:pt idx="24">
                  <c:v>416.5872</c:v>
                </c:pt>
                <c:pt idx="25">
                  <c:v>443.7342</c:v>
                </c:pt>
                <c:pt idx="26">
                  <c:v>500.8889</c:v>
                </c:pt>
                <c:pt idx="27">
                  <c:v>523.8519</c:v>
                </c:pt>
                <c:pt idx="28">
                  <c:v>573.1212</c:v>
                </c:pt>
                <c:pt idx="29">
                  <c:v>504.4667</c:v>
                </c:pt>
                <c:pt idx="30">
                  <c:v>726.0455</c:v>
                </c:pt>
                <c:pt idx="31">
                  <c:v>621.9333</c:v>
                </c:pt>
                <c:pt idx="32">
                  <c:v>561.3667</c:v>
                </c:pt>
                <c:pt idx="33">
                  <c:v>652.9091</c:v>
                </c:pt>
                <c:pt idx="34">
                  <c:v>1110.8444</c:v>
                </c:pt>
                <c:pt idx="35">
                  <c:v>685.3095</c:v>
                </c:pt>
                <c:pt idx="36">
                  <c:v>683.0741</c:v>
                </c:pt>
                <c:pt idx="37">
                  <c:v>400.6667</c:v>
                </c:pt>
                <c:pt idx="38">
                  <c:v>389.2727</c:v>
                </c:pt>
                <c:pt idx="39">
                  <c:v>481.5556</c:v>
                </c:pt>
                <c:pt idx="40">
                  <c:v>435.2273</c:v>
                </c:pt>
                <c:pt idx="41">
                  <c:v>527.8889</c:v>
                </c:pt>
                <c:pt idx="42">
                  <c:v>567.1087</c:v>
                </c:pt>
                <c:pt idx="43">
                  <c:v>506.8462</c:v>
                </c:pt>
                <c:pt idx="44">
                  <c:v>492.5192</c:v>
                </c:pt>
                <c:pt idx="45">
                  <c:v>558.0862</c:v>
                </c:pt>
                <c:pt idx="46">
                  <c:v>489.1379</c:v>
                </c:pt>
                <c:pt idx="47">
                  <c:v>377.1525</c:v>
                </c:pt>
                <c:pt idx="48">
                  <c:v>561.8298</c:v>
                </c:pt>
                <c:pt idx="49">
                  <c:v>754.2128</c:v>
                </c:pt>
                <c:pt idx="50">
                  <c:v>704.5536</c:v>
                </c:pt>
                <c:pt idx="51">
                  <c:v>786.75</c:v>
                </c:pt>
              </c:numCache>
            </c:numRef>
          </c:xVal>
          <c:yVal>
            <c:numRef>
              <c:f>Sheet1!$B$4:$B$55</c:f>
              <c:numCache>
                <c:formatCode>General</c:formatCode>
                <c:ptCount val="52"/>
                <c:pt idx="0">
                  <c:v>0.10397553516819572</c:v>
                </c:pt>
                <c:pt idx="1">
                  <c:v>0.35475578406169667</c:v>
                </c:pt>
                <c:pt idx="2">
                  <c:v>0.464354527938343</c:v>
                </c:pt>
                <c:pt idx="3">
                  <c:v>0.5048732943469786</c:v>
                </c:pt>
                <c:pt idx="4">
                  <c:v>0.4367816091954023</c:v>
                </c:pt>
                <c:pt idx="5">
                  <c:v>0.3701492537313433</c:v>
                </c:pt>
                <c:pt idx="6">
                  <c:v>0.3220338983050847</c:v>
                </c:pt>
                <c:pt idx="7">
                  <c:v>0.39823008849557523</c:v>
                </c:pt>
                <c:pt idx="8">
                  <c:v>0.2764227642276423</c:v>
                </c:pt>
                <c:pt idx="9">
                  <c:v>0.27884615384615385</c:v>
                </c:pt>
                <c:pt idx="10">
                  <c:v>0.27682403433476394</c:v>
                </c:pt>
                <c:pt idx="11">
                  <c:v>0.39497041420118345</c:v>
                </c:pt>
                <c:pt idx="12">
                  <c:v>0.42128935532233885</c:v>
                </c:pt>
                <c:pt idx="13">
                  <c:v>0.41134751773049644</c:v>
                </c:pt>
                <c:pt idx="14">
                  <c:v>0.4170305676855895</c:v>
                </c:pt>
                <c:pt idx="15">
                  <c:v>0.3583138173302108</c:v>
                </c:pt>
                <c:pt idx="16">
                  <c:v>0.38055555555555554</c:v>
                </c:pt>
                <c:pt idx="17">
                  <c:v>0.3281733746130031</c:v>
                </c:pt>
                <c:pt idx="18">
                  <c:v>0.3640552995391705</c:v>
                </c:pt>
                <c:pt idx="19">
                  <c:v>0.3418181818181818</c:v>
                </c:pt>
                <c:pt idx="20">
                  <c:v>0.3222748815165877</c:v>
                </c:pt>
                <c:pt idx="21">
                  <c:v>0.21014492753623187</c:v>
                </c:pt>
                <c:pt idx="22">
                  <c:v>0.4579831932773109</c:v>
                </c:pt>
                <c:pt idx="23">
                  <c:v>0.5193798449612403</c:v>
                </c:pt>
                <c:pt idx="24">
                  <c:v>0.3609271523178808</c:v>
                </c:pt>
                <c:pt idx="25">
                  <c:v>0.34497816593886466</c:v>
                </c:pt>
                <c:pt idx="26">
                  <c:v>0.18652849740932642</c:v>
                </c:pt>
                <c:pt idx="27">
                  <c:v>0.18</c:v>
                </c:pt>
                <c:pt idx="28">
                  <c:v>0.17010309278350516</c:v>
                </c:pt>
                <c:pt idx="29">
                  <c:v>0.1694915254237288</c:v>
                </c:pt>
                <c:pt idx="30">
                  <c:v>0.12087912087912088</c:v>
                </c:pt>
                <c:pt idx="31">
                  <c:v>0.09803921568627451</c:v>
                </c:pt>
                <c:pt idx="32">
                  <c:v>0.14563106796116504</c:v>
                </c:pt>
                <c:pt idx="33">
                  <c:v>0.20657276995305165</c:v>
                </c:pt>
                <c:pt idx="34">
                  <c:v>0.15306122448979592</c:v>
                </c:pt>
                <c:pt idx="35">
                  <c:v>0.1700404858299595</c:v>
                </c:pt>
                <c:pt idx="36">
                  <c:v>0.14285714285714285</c:v>
                </c:pt>
                <c:pt idx="37">
                  <c:v>0.3446808510638298</c:v>
                </c:pt>
                <c:pt idx="38">
                  <c:v>0.3289036544850498</c:v>
                </c:pt>
                <c:pt idx="39">
                  <c:v>0.32459016393442625</c:v>
                </c:pt>
                <c:pt idx="40">
                  <c:v>0.2268041237113402</c:v>
                </c:pt>
                <c:pt idx="41">
                  <c:v>0.183206106870229</c:v>
                </c:pt>
                <c:pt idx="42">
                  <c:v>0.12234042553191489</c:v>
                </c:pt>
                <c:pt idx="43">
                  <c:v>0.10677618069815195</c:v>
                </c:pt>
                <c:pt idx="44">
                  <c:v>0.0840064620355412</c:v>
                </c:pt>
                <c:pt idx="45">
                  <c:v>0.13908872901678657</c:v>
                </c:pt>
                <c:pt idx="46">
                  <c:v>0.15675675675675677</c:v>
                </c:pt>
                <c:pt idx="47">
                  <c:v>0.1634349030470914</c:v>
                </c:pt>
                <c:pt idx="48">
                  <c:v>0.12806539509536785</c:v>
                </c:pt>
                <c:pt idx="49">
                  <c:v>0.09812108559498957</c:v>
                </c:pt>
                <c:pt idx="50">
                  <c:v>0.08459214501510574</c:v>
                </c:pt>
                <c:pt idx="51">
                  <c:v>0.07459207459207459</c:v>
                </c:pt>
              </c:numCache>
            </c:numRef>
          </c:yVal>
          <c:smooth val="0"/>
          <c:extLst>
            <c:ext xmlns:c16="http://schemas.microsoft.com/office/drawing/2014/chart" uri="{C3380CC4-5D6E-409C-BE32-E72D297353CC}">
              <c16:uniqueId val="{00000002-F32D-48B7-BC20-E66FC6253BAD}"/>
            </c:ext>
          </c:extLst>
        </c:ser>
        <c:ser>
          <c:idx val="2"/>
          <c:order val="2"/>
          <c:tx>
            <c:strRef>
              <c:f>Sheet1!$B$57</c:f>
              <c:strCache>
                <c:ptCount val="1"/>
                <c:pt idx="0">
                  <c:v>Custom Linep3yQ</c:v>
                </c:pt>
              </c:strCache>
            </c:strRef>
          </c:tx>
          <c:spPr>
            <a:ln w="19050" cap="rnd">
              <a:solidFill>
                <a:srgbClr val="C00000"/>
              </a:solidFill>
              <a:prstDash val="sysDot"/>
              <a:round/>
            </a:ln>
            <a:effectLst/>
          </c:spPr>
          <c:marker>
            <c:symbol val="none"/>
          </c:marker>
          <c:xVal>
            <c:numRef>
              <c:f>Sheet1!$A$58:$A$59</c:f>
              <c:numCache>
                <c:formatCode>General</c:formatCode>
                <c:ptCount val="2"/>
                <c:pt idx="0">
                  <c:v>0</c:v>
                </c:pt>
                <c:pt idx="1">
                  <c:v>81.28051166614583</c:v>
                </c:pt>
              </c:numCache>
            </c:numRef>
          </c:xVal>
          <c:yVal>
            <c:numRef>
              <c:f>Sheet1!$B$58:$B$59</c:f>
              <c:numCache>
                <c:formatCode>General</c:formatCode>
                <c:ptCount val="2"/>
                <c:pt idx="0">
                  <c:v>0.3590640839411402</c:v>
                </c:pt>
                <c:pt idx="1">
                  <c:v>0.3590640839411402</c:v>
                </c:pt>
              </c:numCache>
            </c:numRef>
          </c:yVal>
          <c:smooth val="0"/>
          <c:extLst>
            <c:ext xmlns:c16="http://schemas.microsoft.com/office/drawing/2014/chart" uri="{C3380CC4-5D6E-409C-BE32-E72D297353CC}">
              <c16:uniqueId val="{00000003-F32D-48B7-BC20-E66FC6253BAD}"/>
            </c:ext>
          </c:extLst>
        </c:ser>
        <c:ser>
          <c:idx val="3"/>
          <c:order val="3"/>
          <c:tx>
            <c:strRef>
              <c:f>Sheet1!$B$6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2:$A$63</c:f>
              <c:numCache>
                <c:formatCode>General</c:formatCode>
                <c:ptCount val="2"/>
                <c:pt idx="0">
                  <c:v>81.28051166614583</c:v>
                </c:pt>
                <c:pt idx="1">
                  <c:v>81.28051166614583</c:v>
                </c:pt>
              </c:numCache>
            </c:numRef>
          </c:xVal>
          <c:yVal>
            <c:numRef>
              <c:f>Sheet1!$B$62:$B$63</c:f>
              <c:numCache>
                <c:formatCode>General</c:formatCode>
                <c:ptCount val="2"/>
                <c:pt idx="0">
                  <c:v>0.35906408394114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6:$A$67</c:f>
              <c:numCache>
                <c:formatCode>General</c:formatCode>
                <c:ptCount val="2"/>
                <c:pt idx="0">
                  <c:v>0</c:v>
                </c:pt>
                <c:pt idx="1">
                  <c:v>81.28051166614583</c:v>
                </c:pt>
              </c:numCache>
            </c:numRef>
          </c:xVal>
          <c:yVal>
            <c:numRef>
              <c:f>Sheet1!$B$66:$B$67</c:f>
              <c:numCache>
                <c:formatCode>General</c:formatCode>
                <c:ptCount val="2"/>
                <c:pt idx="0">
                  <c:v>0.3590640839411402</c:v>
                </c:pt>
                <c:pt idx="1">
                  <c:v>0.3590640839411402</c:v>
                </c:pt>
              </c:numCache>
            </c:numRef>
          </c:yVal>
          <c:smooth val="0"/>
          <c:extLst>
            <c:ext xmlns:c16="http://schemas.microsoft.com/office/drawing/2014/chart" uri="{C3380CC4-5D6E-409C-BE32-E72D297353CC}">
              <c16:uniqueId val="{0000000A-F32D-48B7-BC20-E66FC6253BAD}"/>
            </c:ext>
          </c:extLst>
        </c:ser>
        <c:ser>
          <c:idx val="5"/>
          <c:order val="5"/>
          <c:tx>
            <c:strRef>
              <c:f>Sheet1!$B$6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0:$A$71</c:f>
              <c:numCache>
                <c:formatCode>General</c:formatCode>
                <c:ptCount val="2"/>
                <c:pt idx="0">
                  <c:v>81.28051166614583</c:v>
                </c:pt>
                <c:pt idx="1">
                  <c:v>81.28051166614583</c:v>
                </c:pt>
              </c:numCache>
            </c:numRef>
          </c:xVal>
          <c:yVal>
            <c:numRef>
              <c:f>Sheet1!$B$70:$B$71</c:f>
              <c:numCache>
                <c:formatCode>General</c:formatCode>
                <c:ptCount val="2"/>
                <c:pt idx="0">
                  <c:v>0.35906408394114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7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74:$A$75</c:f>
              <c:numCache>
                <c:formatCode>General</c:formatCode>
                <c:ptCount val="2"/>
                <c:pt idx="0">
                  <c:v>0</c:v>
                </c:pt>
                <c:pt idx="1">
                  <c:v>1242.9711195461907</c:v>
                </c:pt>
              </c:numCache>
            </c:numRef>
          </c:xVal>
          <c:yVal>
            <c:numRef>
              <c:f>Sheet1!$B$74:$B$75</c:f>
              <c:numCache>
                <c:formatCode>General</c:formatCode>
                <c:ptCount val="2"/>
                <c:pt idx="0">
                  <c:v>0.14556727322305968</c:v>
                </c:pt>
                <c:pt idx="1">
                  <c:v>0.14556727322305968</c:v>
                </c:pt>
              </c:numCache>
            </c:numRef>
          </c:yVal>
          <c:smooth val="0"/>
          <c:extLst>
            <c:ext xmlns:c16="http://schemas.microsoft.com/office/drawing/2014/chart" uri="{C3380CC4-5D6E-409C-BE32-E72D297353CC}">
              <c16:uniqueId val="{00000011-F32D-48B7-BC20-E66FC6253BAD}"/>
            </c:ext>
          </c:extLst>
        </c:ser>
        <c:ser>
          <c:idx val="7"/>
          <c:order val="7"/>
          <c:tx>
            <c:strRef>
              <c:f>Sheet1!$B$7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8:$A$79</c:f>
              <c:numCache>
                <c:formatCode>General</c:formatCode>
                <c:ptCount val="2"/>
                <c:pt idx="0">
                  <c:v>1242.9711195461907</c:v>
                </c:pt>
                <c:pt idx="1">
                  <c:v>1242.9711195461907</c:v>
                </c:pt>
              </c:numCache>
            </c:numRef>
          </c:xVal>
          <c:yVal>
            <c:numRef>
              <c:f>Sheet1!$B$78:$B$79</c:f>
              <c:numCache>
                <c:formatCode>General</c:formatCode>
                <c:ptCount val="2"/>
                <c:pt idx="0">
                  <c:v>0.145567273223059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8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82:$A$136</c:f>
              <c:numCache>
                <c:formatCode>General</c:formatCode>
                <c:ptCount val="55"/>
                <c:pt idx="0">
                  <c:v>1077.2353</c:v>
                </c:pt>
                <c:pt idx="1">
                  <c:v>732.8261</c:v>
                </c:pt>
                <c:pt idx="2">
                  <c:v>705.1452</c:v>
                </c:pt>
                <c:pt idx="3">
                  <c:v>706.3784</c:v>
                </c:pt>
                <c:pt idx="4">
                  <c:v>712.3816</c:v>
                </c:pt>
                <c:pt idx="5">
                  <c:v>760.1129</c:v>
                </c:pt>
                <c:pt idx="6">
                  <c:v>721.1696</c:v>
                </c:pt>
                <c:pt idx="7">
                  <c:v>818.4222</c:v>
                </c:pt>
                <c:pt idx="8">
                  <c:v>802.3824</c:v>
                </c:pt>
                <c:pt idx="9">
                  <c:v>802.3966</c:v>
                </c:pt>
                <c:pt idx="10">
                  <c:v>820.0853</c:v>
                </c:pt>
                <c:pt idx="11">
                  <c:v>562.3521</c:v>
                </c:pt>
                <c:pt idx="12">
                  <c:v>497.9644</c:v>
                </c:pt>
                <c:pt idx="13">
                  <c:v>516.6767</c:v>
                </c:pt>
                <c:pt idx="14">
                  <c:v>487.8901</c:v>
                </c:pt>
                <c:pt idx="15">
                  <c:v>482.2157</c:v>
                </c:pt>
                <c:pt idx="16">
                  <c:v>490.6277</c:v>
                </c:pt>
                <c:pt idx="17">
                  <c:v>476.5094</c:v>
                </c:pt>
                <c:pt idx="18">
                  <c:v>503.1899</c:v>
                </c:pt>
                <c:pt idx="19">
                  <c:v>489.734</c:v>
                </c:pt>
                <c:pt idx="20">
                  <c:v>503.7647</c:v>
                </c:pt>
                <c:pt idx="21">
                  <c:v>579.931</c:v>
                </c:pt>
                <c:pt idx="22">
                  <c:v>412.4495</c:v>
                </c:pt>
                <c:pt idx="23">
                  <c:v>416.7463</c:v>
                </c:pt>
                <c:pt idx="24">
                  <c:v>416.5872</c:v>
                </c:pt>
                <c:pt idx="25">
                  <c:v>443.7342</c:v>
                </c:pt>
                <c:pt idx="26">
                  <c:v>500.8889</c:v>
                </c:pt>
                <c:pt idx="27">
                  <c:v>523.8519</c:v>
                </c:pt>
                <c:pt idx="28">
                  <c:v>573.1212</c:v>
                </c:pt>
                <c:pt idx="29">
                  <c:v>504.4667</c:v>
                </c:pt>
                <c:pt idx="30">
                  <c:v>726.0455</c:v>
                </c:pt>
                <c:pt idx="31">
                  <c:v>621.9333</c:v>
                </c:pt>
                <c:pt idx="32">
                  <c:v>561.3667</c:v>
                </c:pt>
                <c:pt idx="33">
                  <c:v>652.9091</c:v>
                </c:pt>
                <c:pt idx="34">
                  <c:v>1110.8444</c:v>
                </c:pt>
                <c:pt idx="35">
                  <c:v>685.3095</c:v>
                </c:pt>
                <c:pt idx="36">
                  <c:v>683.0741</c:v>
                </c:pt>
                <c:pt idx="37">
                  <c:v>400.6667</c:v>
                </c:pt>
                <c:pt idx="38">
                  <c:v>389.2727</c:v>
                </c:pt>
                <c:pt idx="39">
                  <c:v>481.5556</c:v>
                </c:pt>
                <c:pt idx="40">
                  <c:v>435.2273</c:v>
                </c:pt>
                <c:pt idx="41">
                  <c:v>527.8889</c:v>
                </c:pt>
                <c:pt idx="42">
                  <c:v>567.1087</c:v>
                </c:pt>
                <c:pt idx="43">
                  <c:v>506.8462</c:v>
                </c:pt>
                <c:pt idx="44">
                  <c:v>492.5192</c:v>
                </c:pt>
                <c:pt idx="45">
                  <c:v>558.0862</c:v>
                </c:pt>
                <c:pt idx="46">
                  <c:v>489.1379</c:v>
                </c:pt>
                <c:pt idx="47">
                  <c:v>377.1525</c:v>
                </c:pt>
                <c:pt idx="48">
                  <c:v>561.8298</c:v>
                </c:pt>
                <c:pt idx="49">
                  <c:v>754.2128</c:v>
                </c:pt>
                <c:pt idx="50">
                  <c:v>704.5536</c:v>
                </c:pt>
                <c:pt idx="51">
                  <c:v>786.75</c:v>
                </c:pt>
                <c:pt idx="52">
                  <c:v>81.28051166614583</c:v>
                </c:pt>
                <c:pt idx="53">
                  <c:v>81.28051166614583</c:v>
                </c:pt>
                <c:pt idx="54">
                  <c:v>1242.9711195461907</c:v>
                </c:pt>
              </c:numCache>
            </c:numRef>
          </c:xVal>
          <c:yVal>
            <c:numRef>
              <c:f>Sheet1!$B$82:$B$136</c:f>
              <c:numCache>
                <c:formatCode>General</c:formatCode>
                <c:ptCount val="55"/>
                <c:pt idx="0">
                  <c:v>0.1760263891484531</c:v>
                </c:pt>
                <c:pt idx="1">
                  <c:v>0.2393223005410312</c:v>
                </c:pt>
                <c:pt idx="2">
                  <c:v>0.2444095275769722</c:v>
                </c:pt>
                <c:pt idx="3">
                  <c:v>0.2441828886894822</c:v>
                </c:pt>
                <c:pt idx="4">
                  <c:v>0.24307961381972865</c:v>
                </c:pt>
                <c:pt idx="5">
                  <c:v>0.23430750164777575</c:v>
                </c:pt>
                <c:pt idx="6">
                  <c:v>0.24146454526372615</c:v>
                </c:pt>
                <c:pt idx="7">
                  <c:v>0.22359135270006106</c:v>
                </c:pt>
                <c:pt idx="8">
                  <c:v>0.22653916524268383</c:v>
                </c:pt>
                <c:pt idx="9">
                  <c:v>0.22653655555066116</c:v>
                </c:pt>
                <c:pt idx="10">
                  <c:v>0.22328570630549033</c:v>
                </c:pt>
                <c:pt idx="11">
                  <c:v>0.27065220461658546</c:v>
                </c:pt>
                <c:pt idx="12">
                  <c:v>0.2824854487749061</c:v>
                </c:pt>
                <c:pt idx="13">
                  <c:v>0.2790464811667489</c:v>
                </c:pt>
                <c:pt idx="14">
                  <c:v>0.2843369149963144</c:v>
                </c:pt>
                <c:pt idx="15">
                  <c:v>0.2853797626310641</c:v>
                </c:pt>
                <c:pt idx="16">
                  <c:v>0.2838337957793239</c:v>
                </c:pt>
                <c:pt idx="17">
                  <c:v>0.28642847288380846</c:v>
                </c:pt>
                <c:pt idx="18">
                  <c:v>0.2815251004886759</c:v>
                </c:pt>
                <c:pt idx="19">
                  <c:v>0.28399804097373665</c:v>
                </c:pt>
                <c:pt idx="20">
                  <c:v>0.2814194630960962</c:v>
                </c:pt>
                <c:pt idx="21">
                  <c:v>0.26742153453930817</c:v>
                </c:pt>
                <c:pt idx="22">
                  <c:v>0.29820147358825366</c:v>
                </c:pt>
                <c:pt idx="23">
                  <c:v>0.2974118028359287</c:v>
                </c:pt>
                <c:pt idx="24">
                  <c:v>0.2974410424134504</c:v>
                </c:pt>
                <c:pt idx="25">
                  <c:v>0.2924519361219392</c:v>
                </c:pt>
                <c:pt idx="26">
                  <c:v>0.28194798086502565</c:v>
                </c:pt>
                <c:pt idx="27">
                  <c:v>0.27772781481456077</c:v>
                </c:pt>
                <c:pt idx="28">
                  <c:v>0.2686730472671946</c:v>
                </c:pt>
                <c:pt idx="29">
                  <c:v>0.2812904487439895</c:v>
                </c:pt>
                <c:pt idx="30">
                  <c:v>0.24056844685996961</c:v>
                </c:pt>
                <c:pt idx="31">
                  <c:v>0.2597023044517133</c:v>
                </c:pt>
                <c:pt idx="32">
                  <c:v>0.27083330254046856</c:v>
                </c:pt>
                <c:pt idx="33">
                  <c:v>0.25400953697594836</c:v>
                </c:pt>
                <c:pt idx="34">
                  <c:v>0.1698496708273853</c:v>
                </c:pt>
                <c:pt idx="35">
                  <c:v>0.24805495490472584</c:v>
                </c:pt>
                <c:pt idx="36">
                  <c:v>0.24846577923905538</c:v>
                </c:pt>
                <c:pt idx="37">
                  <c:v>0.3003669298674601</c:v>
                </c:pt>
                <c:pt idx="38">
                  <c:v>0.3024609320439613</c:v>
                </c:pt>
                <c:pt idx="39">
                  <c:v>0.2855010765538927</c:v>
                </c:pt>
                <c:pt idx="40">
                  <c:v>0.2940153438027605</c:v>
                </c:pt>
                <c:pt idx="41">
                  <c:v>0.27698589039938304</c:v>
                </c:pt>
                <c:pt idx="42">
                  <c:v>0.26977803130144185</c:v>
                </c:pt>
                <c:pt idx="43">
                  <c:v>0.2808531415490637</c:v>
                </c:pt>
                <c:pt idx="44">
                  <c:v>0.2834861737750364</c:v>
                </c:pt>
                <c:pt idx="45">
                  <c:v>0.2714361965320441</c:v>
                </c:pt>
                <c:pt idx="46">
                  <c:v>0.28410759290435034</c:v>
                </c:pt>
                <c:pt idx="47">
                  <c:v>0.30468839607587545</c:v>
                </c:pt>
                <c:pt idx="48">
                  <c:v>0.27074819349992635</c:v>
                </c:pt>
                <c:pt idx="49">
                  <c:v>0.23539182868319566</c:v>
                </c:pt>
                <c:pt idx="50">
                  <c:v>0.2445182524925083</c:v>
                </c:pt>
                <c:pt idx="51">
                  <c:v>0.2294121053536139</c:v>
                </c:pt>
                <c:pt idx="52">
                  <c:v>0.3590640839411402</c:v>
                </c:pt>
                <c:pt idx="53">
                  <c:v>0.3590640839411402</c:v>
                </c:pt>
                <c:pt idx="54">
                  <c:v>0.1455672732230596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92.0"/>
          <c:min val="6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232558139534884"/>
          <c:min val="0.0596736596736596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0.20356721204430892</c:v>
                </c:pt>
                <c:pt idx="1">
                  <c:v>0.20476432552655355</c:v>
                </c:pt>
                <c:pt idx="2">
                  <c:v>0.20206696935915774</c:v>
                </c:pt>
                <c:pt idx="3">
                  <c:v>0.20140089887969545</c:v>
                </c:pt>
                <c:pt idx="4">
                  <c:v>0.19559619668891048</c:v>
                </c:pt>
                <c:pt idx="5">
                  <c:v>0.19709413352756852</c:v>
                </c:pt>
                <c:pt idx="6">
                  <c:v>0.1954734254533906</c:v>
                </c:pt>
                <c:pt idx="7">
                  <c:v>0.18468797969804562</c:v>
                </c:pt>
                <c:pt idx="8">
                  <c:v>0.1798681752750485</c:v>
                </c:pt>
                <c:pt idx="9">
                  <c:v>0.18021202986378987</c:v>
                </c:pt>
                <c:pt idx="10">
                  <c:v>0.18099597558169242</c:v>
                </c:pt>
                <c:pt idx="11">
                  <c:v>0.1844740525191497</c:v>
                </c:pt>
                <c:pt idx="12">
                  <c:v>0.17431679357369909</c:v>
                </c:pt>
                <c:pt idx="13">
                  <c:v>0.17428270600752105</c:v>
                </c:pt>
                <c:pt idx="14">
                  <c:v>0.18245635051830403</c:v>
                </c:pt>
                <c:pt idx="15">
                  <c:v>0.18727532935517438</c:v>
                </c:pt>
                <c:pt idx="16">
                  <c:v>0.18466773260858704</c:v>
                </c:pt>
                <c:pt idx="17">
                  <c:v>0.18036734504549765</c:v>
                </c:pt>
                <c:pt idx="18">
                  <c:v>0.18133733406704533</c:v>
                </c:pt>
                <c:pt idx="19">
                  <c:v>0.18580129025386433</c:v>
                </c:pt>
                <c:pt idx="20">
                  <c:v>0.1767299315348177</c:v>
                </c:pt>
                <c:pt idx="21">
                  <c:v>0.16981752846110523</c:v>
                </c:pt>
                <c:pt idx="22">
                  <c:v>0.16975401071730675</c:v>
                </c:pt>
                <c:pt idx="23">
                  <c:v>0.15931124187929832</c:v>
                </c:pt>
                <c:pt idx="24">
                  <c:v>0.152588639684941</c:v>
                </c:pt>
                <c:pt idx="25">
                  <c:v>0.15209644638833092</c:v>
                </c:pt>
                <c:pt idx="26">
                  <c:v>0.15384799376018668</c:v>
                </c:pt>
                <c:pt idx="27">
                  <c:v>0.163037552544066</c:v>
                </c:pt>
                <c:pt idx="28">
                  <c:v>0.16966770215655858</c:v>
                </c:pt>
                <c:pt idx="29">
                  <c:v>0.1695166771942447</c:v>
                </c:pt>
                <c:pt idx="30">
                  <c:v>0.1437656712310979</c:v>
                </c:pt>
                <c:pt idx="31">
                  <c:v>0.18737879563790222</c:v>
                </c:pt>
                <c:pt idx="32">
                  <c:v>0.14763791214143948</c:v>
                </c:pt>
                <c:pt idx="33">
                  <c:v>0.1646779117592846</c:v>
                </c:pt>
                <c:pt idx="34">
                  <c:v>0.15800576472989203</c:v>
                </c:pt>
                <c:pt idx="35">
                  <c:v>0.13856709243130316</c:v>
                </c:pt>
                <c:pt idx="36">
                  <c:v>0.15251560218210797</c:v>
                </c:pt>
                <c:pt idx="37">
                  <c:v>0.09819649238777775</c:v>
                </c:pt>
                <c:pt idx="38">
                  <c:v>0.09813363167459385</c:v>
                </c:pt>
                <c:pt idx="39">
                  <c:v>0.07724515415289672</c:v>
                </c:pt>
                <c:pt idx="40">
                  <c:v>0.10478009534303839</c:v>
                </c:pt>
                <c:pt idx="41">
                  <c:v>0.07658599075041456</c:v>
                </c:pt>
                <c:pt idx="42">
                  <c:v>0.07743692484103666</c:v>
                </c:pt>
                <c:pt idx="43">
                  <c:v>0.05003425220637971</c:v>
                </c:pt>
                <c:pt idx="44">
                  <c:v>0.0724935154304984</c:v>
                </c:pt>
                <c:pt idx="45">
                  <c:v>0.051297147275115654</c:v>
                </c:pt>
                <c:pt idx="46">
                  <c:v>0.05123854960745578</c:v>
                </c:pt>
                <c:pt idx="47">
                  <c:v>0.027127964964004457</c:v>
                </c:pt>
                <c:pt idx="48">
                  <c:v>0.02768833278707255</c:v>
                </c:pt>
              </c:numCache>
            </c:numRef>
          </c:xVal>
          <c:yVal>
            <c:numRef>
              <c:f>Sheet1!$B$2:$B$50</c:f>
              <c:numCache>
                <c:formatCode>General</c:formatCode>
                <c:ptCount val="49"/>
                <c:pt idx="0">
                  <c:v>0.14683153013910355</c:v>
                </c:pt>
                <c:pt idx="1">
                  <c:v>0.15070422535211267</c:v>
                </c:pt>
                <c:pt idx="2">
                  <c:v>0.1218872870249017</c:v>
                </c:pt>
                <c:pt idx="3">
                  <c:v>0.12162162162162163</c:v>
                </c:pt>
                <c:pt idx="4">
                  <c:v>0.1232</c:v>
                </c:pt>
                <c:pt idx="5">
                  <c:v>0.08278145695364239</c:v>
                </c:pt>
                <c:pt idx="6">
                  <c:v>0.06998444790046657</c:v>
                </c:pt>
                <c:pt idx="7">
                  <c:v>0.07234726688102894</c:v>
                </c:pt>
                <c:pt idx="8">
                  <c:v>0.07291666666666667</c:v>
                </c:pt>
                <c:pt idx="9">
                  <c:v>0.05697151424287856</c:v>
                </c:pt>
                <c:pt idx="10">
                  <c:v>0.0451527224435591</c:v>
                </c:pt>
                <c:pt idx="11">
                  <c:v>0.029525032092426188</c:v>
                </c:pt>
                <c:pt idx="12">
                  <c:v>0.024783147459727387</c:v>
                </c:pt>
                <c:pt idx="13">
                  <c:v>0.023633677991137372</c:v>
                </c:pt>
                <c:pt idx="14">
                  <c:v>0.22456140350877193</c:v>
                </c:pt>
                <c:pt idx="15">
                  <c:v>0.25390625</c:v>
                </c:pt>
                <c:pt idx="16">
                  <c:v>0.20980091883614088</c:v>
                </c:pt>
                <c:pt idx="17">
                  <c:v>0.16141732283464566</c:v>
                </c:pt>
                <c:pt idx="18">
                  <c:v>0.14541387024608501</c:v>
                </c:pt>
                <c:pt idx="19">
                  <c:v>0.0970873786407767</c:v>
                </c:pt>
                <c:pt idx="20">
                  <c:v>0.08936170212765958</c:v>
                </c:pt>
                <c:pt idx="21">
                  <c:v>0.06406685236768803</c:v>
                </c:pt>
                <c:pt idx="22">
                  <c:v>0.05993690851735016</c:v>
                </c:pt>
                <c:pt idx="23">
                  <c:v>0.06143344709897611</c:v>
                </c:pt>
                <c:pt idx="24">
                  <c:v>0.0728862973760933</c:v>
                </c:pt>
                <c:pt idx="25">
                  <c:v>0.038461538461538464</c:v>
                </c:pt>
                <c:pt idx="26">
                  <c:v>0.03498542274052478</c:v>
                </c:pt>
                <c:pt idx="27">
                  <c:v>0.046296296296296294</c:v>
                </c:pt>
                <c:pt idx="28">
                  <c:v>0.042735042735042736</c:v>
                </c:pt>
                <c:pt idx="29">
                  <c:v>0.034482758620689655</c:v>
                </c:pt>
                <c:pt idx="30">
                  <c:v>0.026578073089700997</c:v>
                </c:pt>
                <c:pt idx="31">
                  <c:v>0.018518518518518517</c:v>
                </c:pt>
                <c:pt idx="32">
                  <c:v>0.024475524475524476</c:v>
                </c:pt>
                <c:pt idx="33">
                  <c:v>0.0345821325648415</c:v>
                </c:pt>
                <c:pt idx="34">
                  <c:v>0.015345268542199489</c:v>
                </c:pt>
                <c:pt idx="35">
                  <c:v>0.004405286343612335</c:v>
                </c:pt>
                <c:pt idx="36">
                  <c:v>0.008982035928143712</c:v>
                </c:pt>
                <c:pt idx="37">
                  <c:v>0.059602649006622516</c:v>
                </c:pt>
                <c:pt idx="38">
                  <c:v>0.04452054794520548</c:v>
                </c:pt>
                <c:pt idx="39">
                  <c:v>0.04983388704318937</c:v>
                </c:pt>
                <c:pt idx="40">
                  <c:v>0.002881844380403458</c:v>
                </c:pt>
                <c:pt idx="41">
                  <c:v>0.006389776357827476</c:v>
                </c:pt>
                <c:pt idx="42">
                  <c:v>0.005813953488372093</c:v>
                </c:pt>
                <c:pt idx="43">
                  <c:v>0.0024813895781637717</c:v>
                </c:pt>
                <c:pt idx="44">
                  <c:v>0.0040650406504065045</c:v>
                </c:pt>
                <c:pt idx="45">
                  <c:v>0.0012515644555694619</c:v>
                </c:pt>
                <c:pt idx="46">
                  <c:v>0.0009487666034155598</c:v>
                </c:pt>
                <c:pt idx="47">
                  <c:v>0.003134796238244514</c:v>
                </c:pt>
                <c:pt idx="48">
                  <c:v>0.0029069767441860465</c:v>
                </c:pt>
              </c:numCache>
            </c:numRef>
          </c:yVal>
          <c:smooth val="0"/>
          <c:extLst>
            <c:ext xmlns:c16="http://schemas.microsoft.com/office/drawing/2014/chart" uri="{C3380CC4-5D6E-409C-BE32-E72D297353CC}">
              <c16:uniqueId val="{00000000-096C-4121-9522-6AB7243CCAAE}"/>
            </c:ext>
          </c:extLst>
        </c:ser>
        <c:ser>
          <c:idx val="1"/>
          <c:order val="1"/>
          <c:tx>
            <c:strRef>
              <c:f>Sheet1!$B$5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5:$A$56</c:f>
              <c:numCache>
                <c:formatCode>General</c:formatCode>
                <c:ptCount val="2"/>
                <c:pt idx="0">
                  <c:v>0</c:v>
                </c:pt>
                <c:pt idx="1">
                  <c:v>0.10966783021473049</c:v>
                </c:pt>
              </c:numCache>
            </c:numRef>
          </c:xVal>
          <c:yVal>
            <c:numRef>
              <c:f>Sheet1!$B$55:$B$56</c:f>
              <c:numCache>
                <c:formatCode>General</c:formatCode>
                <c:ptCount val="2"/>
                <c:pt idx="0">
                  <c:v>0.10966783021473049</c:v>
                </c:pt>
                <c:pt idx="1">
                  <c:v>0.10966783021473049</c:v>
                </c:pt>
              </c:numCache>
            </c:numRef>
          </c:yVal>
          <c:smooth val="0"/>
          <c:extLst>
            <c:ext xmlns:c16="http://schemas.microsoft.com/office/drawing/2014/chart" uri="{C3380CC4-5D6E-409C-BE32-E72D297353CC}">
              <c16:uniqueId val="{00000005-096C-4121-9522-6AB7243CCAAE}"/>
            </c:ext>
          </c:extLst>
        </c:ser>
        <c:ser>
          <c:idx val="3"/>
          <c:order val="3"/>
          <c:tx>
            <c:strRef>
              <c:f>Sheet1!$B$5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0.10966783021473049</c:v>
                </c:pt>
                <c:pt idx="1">
                  <c:v>0.10966783021473049</c:v>
                </c:pt>
              </c:numCache>
            </c:numRef>
          </c:xVal>
          <c:yVal>
            <c:numRef>
              <c:f>Sheet1!$B$59:$B$60</c:f>
              <c:numCache>
                <c:formatCode>General</c:formatCode>
                <c:ptCount val="2"/>
                <c:pt idx="0">
                  <c:v>0.1096678302147304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2</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3:$A$65</c:f>
              <c:numCache>
                <c:formatCode>General</c:formatCode>
                <c:ptCount val="3"/>
                <c:pt idx="0">
                  <c:v>0</c:v>
                </c:pt>
                <c:pt idx="1">
                  <c:v>0.10966783021473049</c:v>
                </c:pt>
                <c:pt idx="2">
                  <c:v>0</c:v>
                </c:pt>
              </c:numCache>
            </c:numRef>
          </c:xVal>
          <c:yVal>
            <c:numRef>
              <c:f>Sheet1!$B$63:$B$65</c:f>
              <c:numCache>
                <c:formatCode>General</c:formatCode>
                <c:ptCount val="3"/>
                <c:pt idx="0">
                  <c:v>0</c:v>
                </c:pt>
                <c:pt idx="1">
                  <c:v>0.10966783021473049</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46875"/>
          <c:min val="0.000759013282732447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550.6842</c:v>
                </c:pt>
                <c:pt idx="1">
                  <c:v>549.8131</c:v>
                </c:pt>
                <c:pt idx="2">
                  <c:v>551.9785</c:v>
                </c:pt>
                <c:pt idx="3">
                  <c:v>552.8444</c:v>
                </c:pt>
                <c:pt idx="4">
                  <c:v>545.3247</c:v>
                </c:pt>
                <c:pt idx="5">
                  <c:v>542.32</c:v>
                </c:pt>
                <c:pt idx="6">
                  <c:v>530.8222</c:v>
                </c:pt>
                <c:pt idx="7">
                  <c:v>511.4</c:v>
                </c:pt>
                <c:pt idx="8">
                  <c:v>500.7857</c:v>
                </c:pt>
                <c:pt idx="9">
                  <c:v>502.0</c:v>
                </c:pt>
                <c:pt idx="10">
                  <c:v>499.4412</c:v>
                </c:pt>
                <c:pt idx="11">
                  <c:v>510.6087</c:v>
                </c:pt>
                <c:pt idx="12">
                  <c:v>482.6</c:v>
                </c:pt>
                <c:pt idx="13">
                  <c:v>483.4375</c:v>
                </c:pt>
                <c:pt idx="14">
                  <c:v>512.3594</c:v>
                </c:pt>
                <c:pt idx="15">
                  <c:v>511.2974</c:v>
                </c:pt>
                <c:pt idx="16">
                  <c:v>512.2701</c:v>
                </c:pt>
                <c:pt idx="17">
                  <c:v>502.0</c:v>
                </c:pt>
                <c:pt idx="18">
                  <c:v>505.0769</c:v>
                </c:pt>
                <c:pt idx="19">
                  <c:v>502.4</c:v>
                </c:pt>
                <c:pt idx="20">
                  <c:v>506.5952</c:v>
                </c:pt>
                <c:pt idx="21">
                  <c:v>489.0</c:v>
                </c:pt>
                <c:pt idx="22">
                  <c:v>492.4737</c:v>
                </c:pt>
                <c:pt idx="23">
                  <c:v>464.6111</c:v>
                </c:pt>
                <c:pt idx="24">
                  <c:v>460.28</c:v>
                </c:pt>
                <c:pt idx="25">
                  <c:v>456.5455</c:v>
                </c:pt>
                <c:pt idx="26">
                  <c:v>459.25</c:v>
                </c:pt>
                <c:pt idx="27">
                  <c:v>481.6667</c:v>
                </c:pt>
                <c:pt idx="28">
                  <c:v>520.8</c:v>
                </c:pt>
                <c:pt idx="29">
                  <c:v>496.0</c:v>
                </c:pt>
                <c:pt idx="30">
                  <c:v>418.5</c:v>
                </c:pt>
                <c:pt idx="31">
                  <c:v>558.0</c:v>
                </c:pt>
                <c:pt idx="32">
                  <c:v>438.4286</c:v>
                </c:pt>
                <c:pt idx="33">
                  <c:v>488.25</c:v>
                </c:pt>
                <c:pt idx="34">
                  <c:v>465.0</c:v>
                </c:pt>
                <c:pt idx="35">
                  <c:v>418.5</c:v>
                </c:pt>
                <c:pt idx="36">
                  <c:v>465.0</c:v>
                </c:pt>
                <c:pt idx="37">
                  <c:v>293.0</c:v>
                </c:pt>
                <c:pt idx="38">
                  <c:v>294.2308</c:v>
                </c:pt>
                <c:pt idx="39">
                  <c:v>234.2</c:v>
                </c:pt>
                <c:pt idx="40">
                  <c:v>306.0</c:v>
                </c:pt>
                <c:pt idx="41">
                  <c:v>229.5</c:v>
                </c:pt>
                <c:pt idx="42">
                  <c:v>229.5</c:v>
                </c:pt>
                <c:pt idx="43">
                  <c:v>153.0</c:v>
                </c:pt>
                <c:pt idx="44">
                  <c:v>221.5</c:v>
                </c:pt>
                <c:pt idx="45">
                  <c:v>153.0</c:v>
                </c:pt>
                <c:pt idx="46">
                  <c:v>153.0</c:v>
                </c:pt>
                <c:pt idx="47">
                  <c:v>83.0</c:v>
                </c:pt>
                <c:pt idx="48">
                  <c:v>83.0</c:v>
                </c:pt>
              </c:numCache>
            </c:numRef>
          </c:xVal>
          <c:yVal>
            <c:numRef>
              <c:f>Sheet1!$B$2:$B$50</c:f>
              <c:numCache>
                <c:formatCode>General</c:formatCode>
                <c:ptCount val="49"/>
                <c:pt idx="0">
                  <c:v>0.14683153013910355</c:v>
                </c:pt>
                <c:pt idx="1">
                  <c:v>0.15070422535211267</c:v>
                </c:pt>
                <c:pt idx="2">
                  <c:v>0.1218872870249017</c:v>
                </c:pt>
                <c:pt idx="3">
                  <c:v>0.12162162162162163</c:v>
                </c:pt>
                <c:pt idx="4">
                  <c:v>0.1232</c:v>
                </c:pt>
                <c:pt idx="5">
                  <c:v>0.08278145695364239</c:v>
                </c:pt>
                <c:pt idx="6">
                  <c:v>0.06998444790046657</c:v>
                </c:pt>
                <c:pt idx="7">
                  <c:v>0.07234726688102894</c:v>
                </c:pt>
                <c:pt idx="8">
                  <c:v>0.07291666666666667</c:v>
                </c:pt>
                <c:pt idx="9">
                  <c:v>0.05697151424287856</c:v>
                </c:pt>
                <c:pt idx="10">
                  <c:v>0.0451527224435591</c:v>
                </c:pt>
                <c:pt idx="11">
                  <c:v>0.029525032092426188</c:v>
                </c:pt>
                <c:pt idx="12">
                  <c:v>0.024783147459727387</c:v>
                </c:pt>
                <c:pt idx="13">
                  <c:v>0.023633677991137372</c:v>
                </c:pt>
                <c:pt idx="14">
                  <c:v>0.22456140350877193</c:v>
                </c:pt>
                <c:pt idx="15">
                  <c:v>0.25390625</c:v>
                </c:pt>
                <c:pt idx="16">
                  <c:v>0.20980091883614088</c:v>
                </c:pt>
                <c:pt idx="17">
                  <c:v>0.16141732283464566</c:v>
                </c:pt>
                <c:pt idx="18">
                  <c:v>0.14541387024608501</c:v>
                </c:pt>
                <c:pt idx="19">
                  <c:v>0.0970873786407767</c:v>
                </c:pt>
                <c:pt idx="20">
                  <c:v>0.08936170212765958</c:v>
                </c:pt>
                <c:pt idx="21">
                  <c:v>0.06406685236768803</c:v>
                </c:pt>
                <c:pt idx="22">
                  <c:v>0.05993690851735016</c:v>
                </c:pt>
                <c:pt idx="23">
                  <c:v>0.06143344709897611</c:v>
                </c:pt>
                <c:pt idx="24">
                  <c:v>0.0728862973760933</c:v>
                </c:pt>
                <c:pt idx="25">
                  <c:v>0.038461538461538464</c:v>
                </c:pt>
                <c:pt idx="26">
                  <c:v>0.03498542274052478</c:v>
                </c:pt>
                <c:pt idx="27">
                  <c:v>0.046296296296296294</c:v>
                </c:pt>
                <c:pt idx="28">
                  <c:v>0.042735042735042736</c:v>
                </c:pt>
                <c:pt idx="29">
                  <c:v>0.034482758620689655</c:v>
                </c:pt>
                <c:pt idx="30">
                  <c:v>0.026578073089700997</c:v>
                </c:pt>
                <c:pt idx="31">
                  <c:v>0.018518518518518517</c:v>
                </c:pt>
                <c:pt idx="32">
                  <c:v>0.024475524475524476</c:v>
                </c:pt>
                <c:pt idx="33">
                  <c:v>0.0345821325648415</c:v>
                </c:pt>
                <c:pt idx="34">
                  <c:v>0.015345268542199489</c:v>
                </c:pt>
                <c:pt idx="35">
                  <c:v>0.004405286343612335</c:v>
                </c:pt>
                <c:pt idx="36">
                  <c:v>0.008982035928143712</c:v>
                </c:pt>
                <c:pt idx="37">
                  <c:v>0.059602649006622516</c:v>
                </c:pt>
                <c:pt idx="38">
                  <c:v>0.04452054794520548</c:v>
                </c:pt>
                <c:pt idx="39">
                  <c:v>0.04983388704318937</c:v>
                </c:pt>
                <c:pt idx="40">
                  <c:v>0.002881844380403458</c:v>
                </c:pt>
                <c:pt idx="41">
                  <c:v>0.006389776357827476</c:v>
                </c:pt>
                <c:pt idx="42">
                  <c:v>0.005813953488372093</c:v>
                </c:pt>
                <c:pt idx="43">
                  <c:v>0.0024813895781637717</c:v>
                </c:pt>
                <c:pt idx="44">
                  <c:v>0.0040650406504065045</c:v>
                </c:pt>
                <c:pt idx="45">
                  <c:v>0.0012515644555694619</c:v>
                </c:pt>
                <c:pt idx="46">
                  <c:v>0.0009487666034155598</c:v>
                </c:pt>
                <c:pt idx="47">
                  <c:v>0.003134796238244514</c:v>
                </c:pt>
                <c:pt idx="48">
                  <c:v>0.0029069767441860465</c:v>
                </c:pt>
              </c:numCache>
            </c:numRef>
          </c:yVal>
          <c:smooth val="0"/>
          <c:extLst>
            <c:ext xmlns:c16="http://schemas.microsoft.com/office/drawing/2014/chart" uri="{C3380CC4-5D6E-409C-BE32-E72D297353CC}">
              <c16:uniqueId val="{00000000-F32D-48B7-BC20-E66FC6253BAD}"/>
            </c:ext>
          </c:extLst>
        </c:ser>
        <c:ser>
          <c:idx val="1"/>
          <c:order val="1"/>
          <c:tx>
            <c:strRef>
              <c:f>Sheet1!$B$5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4</c:f>
              <c:strCache>
                <c:ptCount val="1"/>
                <c:pt idx="0">
                  <c:v>Custom Linep3yQ</c:v>
                </c:pt>
              </c:strCache>
            </c:strRef>
          </c:tx>
          <c:spPr>
            <a:ln w="19050" cap="rnd">
              <a:solidFill>
                <a:srgbClr val="C00000"/>
              </a:solidFill>
              <a:prstDash val="sysDot"/>
              <a:round/>
            </a:ln>
            <a:effectLst/>
          </c:spPr>
          <c:marker>
            <c:symbol val="none"/>
          </c:marker>
          <c:xVal>
            <c:numRef>
              <c:f>Sheet1!$A$55:$A$56</c:f>
              <c:numCache>
                <c:formatCode>General</c:formatCode>
                <c:ptCount val="2"/>
                <c:pt idx="0">
                  <c:v>0</c:v>
                </c:pt>
                <c:pt idx="1">
                  <c:v>0.10966783021473049</c:v>
                </c:pt>
              </c:numCache>
            </c:numRef>
          </c:xVal>
          <c:yVal>
            <c:numRef>
              <c:f>Sheet1!$B$55:$B$56</c:f>
              <c:numCache>
                <c:formatCode>General</c:formatCode>
                <c:ptCount val="2"/>
                <c:pt idx="0">
                  <c:v>0.10966783021473049</c:v>
                </c:pt>
                <c:pt idx="1">
                  <c:v>0.10966783021473049</c:v>
                </c:pt>
              </c:numCache>
            </c:numRef>
          </c:yVal>
          <c:smooth val="0"/>
          <c:extLst>
            <c:ext xmlns:c16="http://schemas.microsoft.com/office/drawing/2014/chart" uri="{C3380CC4-5D6E-409C-BE32-E72D297353CC}">
              <c16:uniqueId val="{00000003-F32D-48B7-BC20-E66FC6253BAD}"/>
            </c:ext>
          </c:extLst>
        </c:ser>
        <c:ser>
          <c:idx val="3"/>
          <c:order val="3"/>
          <c:tx>
            <c:strRef>
              <c:f>Sheet1!$B$5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0.10966783021473049</c:v>
                </c:pt>
                <c:pt idx="1">
                  <c:v>0.10966783021473049</c:v>
                </c:pt>
              </c:numCache>
            </c:numRef>
          </c:xVal>
          <c:yVal>
            <c:numRef>
              <c:f>Sheet1!$B$59:$B$60</c:f>
              <c:numCache>
                <c:formatCode>General</c:formatCode>
                <c:ptCount val="2"/>
                <c:pt idx="0">
                  <c:v>0.1096678302147304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2</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3:$A$65</c:f>
              <c:numCache>
                <c:formatCode>General</c:formatCode>
                <c:ptCount val="3"/>
                <c:pt idx="0">
                  <c:v>0</c:v>
                </c:pt>
                <c:pt idx="1">
                  <c:v>0.10966783021473049</c:v>
                </c:pt>
                <c:pt idx="2">
                  <c:v>0</c:v>
                </c:pt>
              </c:numCache>
            </c:numRef>
          </c:xVal>
          <c:yVal>
            <c:numRef>
              <c:f>Sheet1!$B$63:$B$65</c:f>
              <c:numCache>
                <c:formatCode>General</c:formatCode>
                <c:ptCount val="3"/>
                <c:pt idx="0">
                  <c:v>0</c:v>
                </c:pt>
                <c:pt idx="1">
                  <c:v>0.10966783021473049</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46875"/>
          <c:min val="0.000759013282732447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0.11469473060169455</c:v>
                </c:pt>
                <c:pt idx="1">
                  <c:v>0.12514297323697599</c:v>
                </c:pt>
                <c:pt idx="2">
                  <c:v>0.1261665142857143</c:v>
                </c:pt>
                <c:pt idx="3">
                  <c:v>0.12128299291154768</c:v>
                </c:pt>
                <c:pt idx="4">
                  <c:v>0.11622137581504993</c:v>
                </c:pt>
                <c:pt idx="5">
                  <c:v>0.10968778441698461</c:v>
                </c:pt>
                <c:pt idx="6">
                  <c:v>0.1158944210173908</c:v>
                </c:pt>
                <c:pt idx="7">
                  <c:v>0.1130071793810203</c:v>
                </c:pt>
                <c:pt idx="8">
                  <c:v>0.10670956166922302</c:v>
                </c:pt>
                <c:pt idx="9">
                  <c:v>0.10403077387788096</c:v>
                </c:pt>
                <c:pt idx="10">
                  <c:v>0.1098807032488916</c:v>
                </c:pt>
                <c:pt idx="11">
                  <c:v>0.11159626270352967</c:v>
                </c:pt>
                <c:pt idx="12">
                  <c:v>0.1097869991172907</c:v>
                </c:pt>
                <c:pt idx="13">
                  <c:v>0.10835748157208368</c:v>
                </c:pt>
                <c:pt idx="14">
                  <c:v>0.11682574795437844</c:v>
                </c:pt>
                <c:pt idx="15">
                  <c:v>0.11431553465913497</c:v>
                </c:pt>
                <c:pt idx="16">
                  <c:v>0.1229976244202111</c:v>
                </c:pt>
                <c:pt idx="17">
                  <c:v>0.10649927526394583</c:v>
                </c:pt>
                <c:pt idx="18">
                  <c:v>0.12073120032906555</c:v>
                </c:pt>
                <c:pt idx="19">
                  <c:v>0.11804511278195488</c:v>
                </c:pt>
                <c:pt idx="20">
                  <c:v>0.11811985268220991</c:v>
                </c:pt>
                <c:pt idx="21">
                  <c:v>0.10998364999702888</c:v>
                </c:pt>
                <c:pt idx="22">
                  <c:v>0.11258400186654813</c:v>
                </c:pt>
                <c:pt idx="23">
                  <c:v>0.10067558289520676</c:v>
                </c:pt>
                <c:pt idx="24">
                  <c:v>0.10871471958992811</c:v>
                </c:pt>
                <c:pt idx="25">
                  <c:v>0.08459004818428557</c:v>
                </c:pt>
                <c:pt idx="26">
                  <c:v>0.08214783763101127</c:v>
                </c:pt>
                <c:pt idx="27">
                  <c:v>0.07943510921639607</c:v>
                </c:pt>
                <c:pt idx="28">
                  <c:v>0.09225217585737529</c:v>
                </c:pt>
                <c:pt idx="29">
                  <c:v>0.09083008904187166</c:v>
                </c:pt>
                <c:pt idx="30">
                  <c:v>0.07213686208821271</c:v>
                </c:pt>
                <c:pt idx="31">
                  <c:v>0.09639397398772336</c:v>
                </c:pt>
                <c:pt idx="32">
                  <c:v>0.07658312977418988</c:v>
                </c:pt>
                <c:pt idx="33">
                  <c:v>0.08910430382821106</c:v>
                </c:pt>
                <c:pt idx="34">
                  <c:v>0.0834872266248917</c:v>
                </c:pt>
                <c:pt idx="35">
                  <c:v>0.07420635636931508</c:v>
                </c:pt>
                <c:pt idx="36">
                  <c:v>0.07776524558791353</c:v>
                </c:pt>
                <c:pt idx="37">
                  <c:v>0.05156861882342588</c:v>
                </c:pt>
                <c:pt idx="38">
                  <c:v>0.05140209161552807</c:v>
                </c:pt>
                <c:pt idx="39">
                  <c:v>0.04488140510303108</c:v>
                </c:pt>
                <c:pt idx="40">
                  <c:v>0.0579478386507198</c:v>
                </c:pt>
                <c:pt idx="41">
                  <c:v>0.044364048326308775</c:v>
                </c:pt>
                <c:pt idx="42">
                  <c:v>0.0397619308532226</c:v>
                </c:pt>
                <c:pt idx="43">
                  <c:v>0.026114279226435652</c:v>
                </c:pt>
                <c:pt idx="44">
                  <c:v>0.03807257216664648</c:v>
                </c:pt>
                <c:pt idx="45">
                  <c:v>0.02819734744788112</c:v>
                </c:pt>
                <c:pt idx="46">
                  <c:v>0.029263638490857714</c:v>
                </c:pt>
                <c:pt idx="47">
                  <c:v>0.013820329324793991</c:v>
                </c:pt>
                <c:pt idx="48">
                  <c:v>0.013369072245983197</c:v>
                </c:pt>
              </c:numCache>
            </c:numRef>
          </c:xVal>
          <c:yVal>
            <c:numRef>
              <c:f>Sheet1!$B$2:$B$50</c:f>
              <c:numCache>
                <c:formatCode>General</c:formatCode>
                <c:ptCount val="49"/>
                <c:pt idx="0">
                  <c:v>0.14683153013910355</c:v>
                </c:pt>
                <c:pt idx="1">
                  <c:v>0.15070422535211267</c:v>
                </c:pt>
                <c:pt idx="2">
                  <c:v>0.1218872870249017</c:v>
                </c:pt>
                <c:pt idx="3">
                  <c:v>0.12162162162162163</c:v>
                </c:pt>
                <c:pt idx="4">
                  <c:v>0.1232</c:v>
                </c:pt>
                <c:pt idx="5">
                  <c:v>0.08278145695364239</c:v>
                </c:pt>
                <c:pt idx="6">
                  <c:v>0.06998444790046657</c:v>
                </c:pt>
                <c:pt idx="7">
                  <c:v>0.07234726688102894</c:v>
                </c:pt>
                <c:pt idx="8">
                  <c:v>0.07291666666666667</c:v>
                </c:pt>
                <c:pt idx="9">
                  <c:v>0.05697151424287856</c:v>
                </c:pt>
                <c:pt idx="10">
                  <c:v>0.0451527224435591</c:v>
                </c:pt>
                <c:pt idx="11">
                  <c:v>0.029525032092426188</c:v>
                </c:pt>
                <c:pt idx="12">
                  <c:v>0.024783147459727387</c:v>
                </c:pt>
                <c:pt idx="13">
                  <c:v>0.023633677991137372</c:v>
                </c:pt>
                <c:pt idx="14">
                  <c:v>0.22456140350877193</c:v>
                </c:pt>
                <c:pt idx="15">
                  <c:v>0.25390625</c:v>
                </c:pt>
                <c:pt idx="16">
                  <c:v>0.20980091883614088</c:v>
                </c:pt>
                <c:pt idx="17">
                  <c:v>0.16141732283464566</c:v>
                </c:pt>
                <c:pt idx="18">
                  <c:v>0.14541387024608501</c:v>
                </c:pt>
                <c:pt idx="19">
                  <c:v>0.0970873786407767</c:v>
                </c:pt>
                <c:pt idx="20">
                  <c:v>0.08936170212765958</c:v>
                </c:pt>
                <c:pt idx="21">
                  <c:v>0.06406685236768803</c:v>
                </c:pt>
                <c:pt idx="22">
                  <c:v>0.05993690851735016</c:v>
                </c:pt>
                <c:pt idx="23">
                  <c:v>0.06143344709897611</c:v>
                </c:pt>
                <c:pt idx="24">
                  <c:v>0.0728862973760933</c:v>
                </c:pt>
                <c:pt idx="25">
                  <c:v>0.038461538461538464</c:v>
                </c:pt>
                <c:pt idx="26">
                  <c:v>0.03498542274052478</c:v>
                </c:pt>
                <c:pt idx="27">
                  <c:v>0.046296296296296294</c:v>
                </c:pt>
                <c:pt idx="28">
                  <c:v>0.042735042735042736</c:v>
                </c:pt>
                <c:pt idx="29">
                  <c:v>0.034482758620689655</c:v>
                </c:pt>
                <c:pt idx="30">
                  <c:v>0.026578073089700997</c:v>
                </c:pt>
                <c:pt idx="31">
                  <c:v>0.018518518518518517</c:v>
                </c:pt>
                <c:pt idx="32">
                  <c:v>0.024475524475524476</c:v>
                </c:pt>
                <c:pt idx="33">
                  <c:v>0.0345821325648415</c:v>
                </c:pt>
                <c:pt idx="34">
                  <c:v>0.015345268542199489</c:v>
                </c:pt>
                <c:pt idx="35">
                  <c:v>0.004405286343612335</c:v>
                </c:pt>
                <c:pt idx="36">
                  <c:v>0.008982035928143712</c:v>
                </c:pt>
                <c:pt idx="37">
                  <c:v>0.059602649006622516</c:v>
                </c:pt>
                <c:pt idx="38">
                  <c:v>0.04452054794520548</c:v>
                </c:pt>
                <c:pt idx="39">
                  <c:v>0.04983388704318937</c:v>
                </c:pt>
                <c:pt idx="40">
                  <c:v>0.002881844380403458</c:v>
                </c:pt>
                <c:pt idx="41">
                  <c:v>0.006389776357827476</c:v>
                </c:pt>
                <c:pt idx="42">
                  <c:v>0.005813953488372093</c:v>
                </c:pt>
                <c:pt idx="43">
                  <c:v>0.0024813895781637717</c:v>
                </c:pt>
                <c:pt idx="44">
                  <c:v>0.0040650406504065045</c:v>
                </c:pt>
                <c:pt idx="45">
                  <c:v>0.0012515644555694619</c:v>
                </c:pt>
                <c:pt idx="46">
                  <c:v>0.0009487666034155598</c:v>
                </c:pt>
                <c:pt idx="47">
                  <c:v>0.003134796238244514</c:v>
                </c:pt>
                <c:pt idx="48">
                  <c:v>0.0029069767441860465</c:v>
                </c:pt>
              </c:numCache>
            </c:numRef>
          </c:yVal>
          <c:smooth val="0"/>
          <c:extLst>
            <c:ext xmlns:c16="http://schemas.microsoft.com/office/drawing/2014/chart" uri="{C3380CC4-5D6E-409C-BE32-E72D297353CC}">
              <c16:uniqueId val="{00000000-096C-4121-9522-6AB7243CCAAE}"/>
            </c:ext>
          </c:extLst>
        </c:ser>
        <c:ser>
          <c:idx val="1"/>
          <c:order val="1"/>
          <c:tx>
            <c:strRef>
              <c:f>Sheet1!$B$5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5:$A$56</c:f>
              <c:numCache>
                <c:formatCode>General</c:formatCode>
                <c:ptCount val="2"/>
                <c:pt idx="0">
                  <c:v>0</c:v>
                </c:pt>
                <c:pt idx="1">
                  <c:v>0.10966783021473049</c:v>
                </c:pt>
              </c:numCache>
            </c:numRef>
          </c:xVal>
          <c:yVal>
            <c:numRef>
              <c:f>Sheet1!$B$55:$B$56</c:f>
              <c:numCache>
                <c:formatCode>General</c:formatCode>
                <c:ptCount val="2"/>
                <c:pt idx="0">
                  <c:v>0.10966783021473049</c:v>
                </c:pt>
                <c:pt idx="1">
                  <c:v>0.10966783021473049</c:v>
                </c:pt>
              </c:numCache>
            </c:numRef>
          </c:yVal>
          <c:smooth val="0"/>
          <c:extLst>
            <c:ext xmlns:c16="http://schemas.microsoft.com/office/drawing/2014/chart" uri="{C3380CC4-5D6E-409C-BE32-E72D297353CC}">
              <c16:uniqueId val="{00000005-096C-4121-9522-6AB7243CCAAE}"/>
            </c:ext>
          </c:extLst>
        </c:ser>
        <c:ser>
          <c:idx val="3"/>
          <c:order val="3"/>
          <c:tx>
            <c:strRef>
              <c:f>Sheet1!$B$5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0.10966783021473049</c:v>
                </c:pt>
                <c:pt idx="1">
                  <c:v>0.10966783021473049</c:v>
                </c:pt>
              </c:numCache>
            </c:numRef>
          </c:xVal>
          <c:yVal>
            <c:numRef>
              <c:f>Sheet1!$B$59:$B$60</c:f>
              <c:numCache>
                <c:formatCode>General</c:formatCode>
                <c:ptCount val="2"/>
                <c:pt idx="0">
                  <c:v>0.1096678302147304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2</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3:$A$65</c:f>
              <c:numCache>
                <c:formatCode>General</c:formatCode>
                <c:ptCount val="3"/>
                <c:pt idx="0">
                  <c:v>0</c:v>
                </c:pt>
                <c:pt idx="1">
                  <c:v>0.10966783021473049</c:v>
                </c:pt>
                <c:pt idx="2">
                  <c:v>0</c:v>
                </c:pt>
              </c:numCache>
            </c:numRef>
          </c:xVal>
          <c:yVal>
            <c:numRef>
              <c:f>Sheet1!$B$63:$B$65</c:f>
              <c:numCache>
                <c:formatCode>General</c:formatCode>
                <c:ptCount val="3"/>
                <c:pt idx="0">
                  <c:v>0</c:v>
                </c:pt>
                <c:pt idx="1">
                  <c:v>0.10966783021473049</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46875"/>
          <c:min val="0.000759013282732447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550.6842</c:v>
                </c:pt>
                <c:pt idx="1">
                  <c:v>549.8131</c:v>
                </c:pt>
                <c:pt idx="2">
                  <c:v>551.9785</c:v>
                </c:pt>
                <c:pt idx="3">
                  <c:v>552.8444</c:v>
                </c:pt>
                <c:pt idx="4">
                  <c:v>545.3247</c:v>
                </c:pt>
                <c:pt idx="5">
                  <c:v>542.32</c:v>
                </c:pt>
                <c:pt idx="6">
                  <c:v>530.8222</c:v>
                </c:pt>
                <c:pt idx="7">
                  <c:v>511.4</c:v>
                </c:pt>
                <c:pt idx="8">
                  <c:v>500.7857</c:v>
                </c:pt>
                <c:pt idx="9">
                  <c:v>502.0</c:v>
                </c:pt>
                <c:pt idx="10">
                  <c:v>499.4412</c:v>
                </c:pt>
                <c:pt idx="11">
                  <c:v>510.6087</c:v>
                </c:pt>
                <c:pt idx="12">
                  <c:v>482.6</c:v>
                </c:pt>
                <c:pt idx="13">
                  <c:v>483.4375</c:v>
                </c:pt>
                <c:pt idx="14">
                  <c:v>512.3594</c:v>
                </c:pt>
                <c:pt idx="15">
                  <c:v>511.2974</c:v>
                </c:pt>
                <c:pt idx="16">
                  <c:v>512.2701</c:v>
                </c:pt>
                <c:pt idx="17">
                  <c:v>502.0</c:v>
                </c:pt>
                <c:pt idx="18">
                  <c:v>505.0769</c:v>
                </c:pt>
                <c:pt idx="19">
                  <c:v>502.4</c:v>
                </c:pt>
                <c:pt idx="20">
                  <c:v>506.5952</c:v>
                </c:pt>
                <c:pt idx="21">
                  <c:v>489.0</c:v>
                </c:pt>
                <c:pt idx="22">
                  <c:v>492.4737</c:v>
                </c:pt>
                <c:pt idx="23">
                  <c:v>464.6111</c:v>
                </c:pt>
                <c:pt idx="24">
                  <c:v>460.28</c:v>
                </c:pt>
                <c:pt idx="25">
                  <c:v>456.5455</c:v>
                </c:pt>
                <c:pt idx="26">
                  <c:v>459.25</c:v>
                </c:pt>
                <c:pt idx="27">
                  <c:v>481.6667</c:v>
                </c:pt>
                <c:pt idx="28">
                  <c:v>520.8</c:v>
                </c:pt>
                <c:pt idx="29">
                  <c:v>496.0</c:v>
                </c:pt>
                <c:pt idx="30">
                  <c:v>418.5</c:v>
                </c:pt>
                <c:pt idx="31">
                  <c:v>558.0</c:v>
                </c:pt>
                <c:pt idx="32">
                  <c:v>438.4286</c:v>
                </c:pt>
                <c:pt idx="33">
                  <c:v>488.25</c:v>
                </c:pt>
                <c:pt idx="34">
                  <c:v>465.0</c:v>
                </c:pt>
                <c:pt idx="35">
                  <c:v>418.5</c:v>
                </c:pt>
                <c:pt idx="36">
                  <c:v>465.0</c:v>
                </c:pt>
                <c:pt idx="37">
                  <c:v>293.0</c:v>
                </c:pt>
                <c:pt idx="38">
                  <c:v>294.2308</c:v>
                </c:pt>
                <c:pt idx="39">
                  <c:v>234.2</c:v>
                </c:pt>
                <c:pt idx="40">
                  <c:v>306.0</c:v>
                </c:pt>
                <c:pt idx="41">
                  <c:v>229.5</c:v>
                </c:pt>
                <c:pt idx="42">
                  <c:v>229.5</c:v>
                </c:pt>
                <c:pt idx="43">
                  <c:v>153.0</c:v>
                </c:pt>
                <c:pt idx="44">
                  <c:v>221.5</c:v>
                </c:pt>
                <c:pt idx="45">
                  <c:v>153.0</c:v>
                </c:pt>
                <c:pt idx="46">
                  <c:v>153.0</c:v>
                </c:pt>
                <c:pt idx="47">
                  <c:v>83.0</c:v>
                </c:pt>
                <c:pt idx="48">
                  <c:v>83.0</c:v>
                </c:pt>
              </c:numCache>
            </c:numRef>
          </c:xVal>
          <c:yVal>
            <c:numRef>
              <c:f>Sheet1!$B$2:$B$50</c:f>
              <c:numCache>
                <c:formatCode>General</c:formatCode>
                <c:ptCount val="49"/>
                <c:pt idx="0">
                  <c:v>0.14683153013910355</c:v>
                </c:pt>
                <c:pt idx="1">
                  <c:v>0.15070422535211267</c:v>
                </c:pt>
                <c:pt idx="2">
                  <c:v>0.1218872870249017</c:v>
                </c:pt>
                <c:pt idx="3">
                  <c:v>0.12162162162162163</c:v>
                </c:pt>
                <c:pt idx="4">
                  <c:v>0.1232</c:v>
                </c:pt>
                <c:pt idx="5">
                  <c:v>0.08278145695364239</c:v>
                </c:pt>
                <c:pt idx="6">
                  <c:v>0.06998444790046657</c:v>
                </c:pt>
                <c:pt idx="7">
                  <c:v>0.07234726688102894</c:v>
                </c:pt>
                <c:pt idx="8">
                  <c:v>0.07291666666666667</c:v>
                </c:pt>
                <c:pt idx="9">
                  <c:v>0.05697151424287856</c:v>
                </c:pt>
                <c:pt idx="10">
                  <c:v>0.0451527224435591</c:v>
                </c:pt>
                <c:pt idx="11">
                  <c:v>0.029525032092426188</c:v>
                </c:pt>
                <c:pt idx="12">
                  <c:v>0.024783147459727387</c:v>
                </c:pt>
                <c:pt idx="13">
                  <c:v>0.023633677991137372</c:v>
                </c:pt>
                <c:pt idx="14">
                  <c:v>0.22456140350877193</c:v>
                </c:pt>
                <c:pt idx="15">
                  <c:v>0.25390625</c:v>
                </c:pt>
                <c:pt idx="16">
                  <c:v>0.20980091883614088</c:v>
                </c:pt>
                <c:pt idx="17">
                  <c:v>0.16141732283464566</c:v>
                </c:pt>
                <c:pt idx="18">
                  <c:v>0.14541387024608501</c:v>
                </c:pt>
                <c:pt idx="19">
                  <c:v>0.0970873786407767</c:v>
                </c:pt>
                <c:pt idx="20">
                  <c:v>0.08936170212765958</c:v>
                </c:pt>
                <c:pt idx="21">
                  <c:v>0.06406685236768803</c:v>
                </c:pt>
                <c:pt idx="22">
                  <c:v>0.05993690851735016</c:v>
                </c:pt>
                <c:pt idx="23">
                  <c:v>0.06143344709897611</c:v>
                </c:pt>
                <c:pt idx="24">
                  <c:v>0.0728862973760933</c:v>
                </c:pt>
                <c:pt idx="25">
                  <c:v>0.038461538461538464</c:v>
                </c:pt>
                <c:pt idx="26">
                  <c:v>0.03498542274052478</c:v>
                </c:pt>
                <c:pt idx="27">
                  <c:v>0.046296296296296294</c:v>
                </c:pt>
                <c:pt idx="28">
                  <c:v>0.042735042735042736</c:v>
                </c:pt>
                <c:pt idx="29">
                  <c:v>0.034482758620689655</c:v>
                </c:pt>
                <c:pt idx="30">
                  <c:v>0.026578073089700997</c:v>
                </c:pt>
                <c:pt idx="31">
                  <c:v>0.018518518518518517</c:v>
                </c:pt>
                <c:pt idx="32">
                  <c:v>0.024475524475524476</c:v>
                </c:pt>
                <c:pt idx="33">
                  <c:v>0.0345821325648415</c:v>
                </c:pt>
                <c:pt idx="34">
                  <c:v>0.015345268542199489</c:v>
                </c:pt>
                <c:pt idx="35">
                  <c:v>0.004405286343612335</c:v>
                </c:pt>
                <c:pt idx="36">
                  <c:v>0.008982035928143712</c:v>
                </c:pt>
                <c:pt idx="37">
                  <c:v>0.059602649006622516</c:v>
                </c:pt>
                <c:pt idx="38">
                  <c:v>0.04452054794520548</c:v>
                </c:pt>
                <c:pt idx="39">
                  <c:v>0.04983388704318937</c:v>
                </c:pt>
                <c:pt idx="40">
                  <c:v>0.002881844380403458</c:v>
                </c:pt>
                <c:pt idx="41">
                  <c:v>0.006389776357827476</c:v>
                </c:pt>
                <c:pt idx="42">
                  <c:v>0.005813953488372093</c:v>
                </c:pt>
                <c:pt idx="43">
                  <c:v>0.0024813895781637717</c:v>
                </c:pt>
                <c:pt idx="44">
                  <c:v>0.0040650406504065045</c:v>
                </c:pt>
                <c:pt idx="45">
                  <c:v>0.0012515644555694619</c:v>
                </c:pt>
                <c:pt idx="46">
                  <c:v>0.0009487666034155598</c:v>
                </c:pt>
                <c:pt idx="47">
                  <c:v>0.003134796238244514</c:v>
                </c:pt>
                <c:pt idx="48">
                  <c:v>0.0029069767441860465</c:v>
                </c:pt>
              </c:numCache>
            </c:numRef>
          </c:yVal>
          <c:smooth val="0"/>
          <c:extLst>
            <c:ext xmlns:c16="http://schemas.microsoft.com/office/drawing/2014/chart" uri="{C3380CC4-5D6E-409C-BE32-E72D297353CC}">
              <c16:uniqueId val="{00000000-F32D-48B7-BC20-E66FC6253BAD}"/>
            </c:ext>
          </c:extLst>
        </c:ser>
        <c:ser>
          <c:idx val="1"/>
          <c:order val="1"/>
          <c:tx>
            <c:strRef>
              <c:f>Sheet1!$B$5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4</c:f>
              <c:strCache>
                <c:ptCount val="1"/>
                <c:pt idx="0">
                  <c:v>Custom Linep3yQ</c:v>
                </c:pt>
              </c:strCache>
            </c:strRef>
          </c:tx>
          <c:spPr>
            <a:ln w="19050" cap="rnd">
              <a:solidFill>
                <a:srgbClr val="C00000"/>
              </a:solidFill>
              <a:prstDash val="sysDot"/>
              <a:round/>
            </a:ln>
            <a:effectLst/>
          </c:spPr>
          <c:marker>
            <c:symbol val="none"/>
          </c:marker>
          <c:xVal>
            <c:numRef>
              <c:f>Sheet1!$A$55:$A$56</c:f>
              <c:numCache>
                <c:formatCode>General</c:formatCode>
                <c:ptCount val="2"/>
                <c:pt idx="0">
                  <c:v>0</c:v>
                </c:pt>
                <c:pt idx="1">
                  <c:v>0.10966783021473049</c:v>
                </c:pt>
              </c:numCache>
            </c:numRef>
          </c:xVal>
          <c:yVal>
            <c:numRef>
              <c:f>Sheet1!$B$55:$B$56</c:f>
              <c:numCache>
                <c:formatCode>General</c:formatCode>
                <c:ptCount val="2"/>
                <c:pt idx="0">
                  <c:v>0.10966783021473049</c:v>
                </c:pt>
                <c:pt idx="1">
                  <c:v>0.10966783021473049</c:v>
                </c:pt>
              </c:numCache>
            </c:numRef>
          </c:yVal>
          <c:smooth val="0"/>
          <c:extLst>
            <c:ext xmlns:c16="http://schemas.microsoft.com/office/drawing/2014/chart" uri="{C3380CC4-5D6E-409C-BE32-E72D297353CC}">
              <c16:uniqueId val="{00000003-F32D-48B7-BC20-E66FC6253BAD}"/>
            </c:ext>
          </c:extLst>
        </c:ser>
        <c:ser>
          <c:idx val="3"/>
          <c:order val="3"/>
          <c:tx>
            <c:strRef>
              <c:f>Sheet1!$B$5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0.10966783021473049</c:v>
                </c:pt>
                <c:pt idx="1">
                  <c:v>0.10966783021473049</c:v>
                </c:pt>
              </c:numCache>
            </c:numRef>
          </c:xVal>
          <c:yVal>
            <c:numRef>
              <c:f>Sheet1!$B$59:$B$60</c:f>
              <c:numCache>
                <c:formatCode>General</c:formatCode>
                <c:ptCount val="2"/>
                <c:pt idx="0">
                  <c:v>0.1096678302147304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2</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3:$A$65</c:f>
              <c:numCache>
                <c:formatCode>General</c:formatCode>
                <c:ptCount val="3"/>
                <c:pt idx="0">
                  <c:v>0</c:v>
                </c:pt>
                <c:pt idx="1">
                  <c:v>0.10966783021473049</c:v>
                </c:pt>
                <c:pt idx="2">
                  <c:v>0</c:v>
                </c:pt>
              </c:numCache>
            </c:numRef>
          </c:xVal>
          <c:yVal>
            <c:numRef>
              <c:f>Sheet1!$B$63:$B$65</c:f>
              <c:numCache>
                <c:formatCode>General</c:formatCode>
                <c:ptCount val="3"/>
                <c:pt idx="0">
                  <c:v>0</c:v>
                </c:pt>
                <c:pt idx="1">
                  <c:v>0.10966783021473049</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46875"/>
          <c:min val="0.000759013282732447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0.4734494044141676</c:v>
                </c:pt>
                <c:pt idx="1">
                  <c:v>0.4760499669119388</c:v>
                </c:pt>
                <c:pt idx="2">
                  <c:v>0.48474380687124774</c:v>
                </c:pt>
                <c:pt idx="3">
                  <c:v>0.497725035485269</c:v>
                </c:pt>
                <c:pt idx="4">
                  <c:v>0.46358663444971915</c:v>
                </c:pt>
                <c:pt idx="5">
                  <c:v>0.4858539560563409</c:v>
                </c:pt>
                <c:pt idx="6">
                  <c:v>0.46468457395774243</c:v>
                </c:pt>
                <c:pt idx="7">
                  <c:v>0.4423627464481229</c:v>
                </c:pt>
                <c:pt idx="8">
                  <c:v>0.4168855281065706</c:v>
                </c:pt>
                <c:pt idx="9">
                  <c:v>0.43117046375819</c:v>
                </c:pt>
                <c:pt idx="10">
                  <c:v>0.4179311303970612</c:v>
                </c:pt>
                <c:pt idx="11">
                  <c:v>0.4472298367463734</c:v>
                </c:pt>
                <c:pt idx="12">
                  <c:v>0.4196406429179859</c:v>
                </c:pt>
                <c:pt idx="13">
                  <c:v>0.402248305408755</c:v>
                </c:pt>
                <c:pt idx="14">
                  <c:v>0.44590703407072807</c:v>
                </c:pt>
                <c:pt idx="15">
                  <c:v>0.4484607403648207</c:v>
                </c:pt>
                <c:pt idx="16">
                  <c:v>0.44219665528581875</c:v>
                </c:pt>
                <c:pt idx="17">
                  <c:v>0.4125530864189414</c:v>
                </c:pt>
                <c:pt idx="18">
                  <c:v>0.44542508292684563</c:v>
                </c:pt>
                <c:pt idx="19">
                  <c:v>0.422298291204932</c:v>
                </c:pt>
                <c:pt idx="20">
                  <c:v>0.4143582633071321</c:v>
                </c:pt>
                <c:pt idx="21">
                  <c:v>0.4307491088162098</c:v>
                </c:pt>
                <c:pt idx="22">
                  <c:v>0.407420916824611</c:v>
                </c:pt>
                <c:pt idx="23">
                  <c:v>0.38870049719177713</c:v>
                </c:pt>
                <c:pt idx="24">
                  <c:v>0.38010398273461804</c:v>
                </c:pt>
                <c:pt idx="25">
                  <c:v>0.36253787110867486</c:v>
                </c:pt>
                <c:pt idx="26">
                  <c:v>0.3778715771458663</c:v>
                </c:pt>
                <c:pt idx="27">
                  <c:v>0.3942940551539032</c:v>
                </c:pt>
                <c:pt idx="28">
                  <c:v>0.404477522683904</c:v>
                </c:pt>
                <c:pt idx="29">
                  <c:v>0.42037197156319217</c:v>
                </c:pt>
                <c:pt idx="30">
                  <c:v>0.3260763108949458</c:v>
                </c:pt>
                <c:pt idx="31">
                  <c:v>0.4217030773517561</c:v>
                </c:pt>
                <c:pt idx="32">
                  <c:v>0.3671364936833028</c:v>
                </c:pt>
                <c:pt idx="33">
                  <c:v>0.4138793913493486</c:v>
                </c:pt>
                <c:pt idx="34">
                  <c:v>0.42060619392821946</c:v>
                </c:pt>
                <c:pt idx="35">
                  <c:v>0.3784977122820473</c:v>
                </c:pt>
                <c:pt idx="36">
                  <c:v>0.37477622232660435</c:v>
                </c:pt>
                <c:pt idx="37">
                  <c:v>0.22673575116703135</c:v>
                </c:pt>
                <c:pt idx="38">
                  <c:v>0.23662636048930366</c:v>
                </c:pt>
                <c:pt idx="39">
                  <c:v>0.18663803927097045</c:v>
                </c:pt>
                <c:pt idx="40">
                  <c:v>0.24732800883009484</c:v>
                </c:pt>
                <c:pt idx="41">
                  <c:v>0.16901444546949598</c:v>
                </c:pt>
                <c:pt idx="42">
                  <c:v>0.17001448271519426</c:v>
                </c:pt>
                <c:pt idx="43">
                  <c:v>0.12284364244406822</c:v>
                </c:pt>
                <c:pt idx="44">
                  <c:v>0.17884537747274928</c:v>
                </c:pt>
                <c:pt idx="45">
                  <c:v>0.13142874470344307</c:v>
                </c:pt>
                <c:pt idx="46">
                  <c:v>0.12958057815805019</c:v>
                </c:pt>
                <c:pt idx="47">
                  <c:v>0.06300143066381343</c:v>
                </c:pt>
                <c:pt idx="48">
                  <c:v>0.0676843787715693</c:v>
                </c:pt>
              </c:numCache>
            </c:numRef>
          </c:xVal>
          <c:yVal>
            <c:numRef>
              <c:f>Sheet1!$B$2:$B$50</c:f>
              <c:numCache>
                <c:formatCode>General</c:formatCode>
                <c:ptCount val="49"/>
                <c:pt idx="0">
                  <c:v>0.14683153013910355</c:v>
                </c:pt>
                <c:pt idx="1">
                  <c:v>0.15070422535211267</c:v>
                </c:pt>
                <c:pt idx="2">
                  <c:v>0.1218872870249017</c:v>
                </c:pt>
                <c:pt idx="3">
                  <c:v>0.12162162162162163</c:v>
                </c:pt>
                <c:pt idx="4">
                  <c:v>0.1232</c:v>
                </c:pt>
                <c:pt idx="5">
                  <c:v>0.08278145695364239</c:v>
                </c:pt>
                <c:pt idx="6">
                  <c:v>0.06998444790046657</c:v>
                </c:pt>
                <c:pt idx="7">
                  <c:v>0.07234726688102894</c:v>
                </c:pt>
                <c:pt idx="8">
                  <c:v>0.07291666666666667</c:v>
                </c:pt>
                <c:pt idx="9">
                  <c:v>0.05697151424287856</c:v>
                </c:pt>
                <c:pt idx="10">
                  <c:v>0.0451527224435591</c:v>
                </c:pt>
                <c:pt idx="11">
                  <c:v>0.029525032092426188</c:v>
                </c:pt>
                <c:pt idx="12">
                  <c:v>0.024783147459727387</c:v>
                </c:pt>
                <c:pt idx="13">
                  <c:v>0.023633677991137372</c:v>
                </c:pt>
                <c:pt idx="14">
                  <c:v>0.22456140350877193</c:v>
                </c:pt>
                <c:pt idx="15">
                  <c:v>0.25390625</c:v>
                </c:pt>
                <c:pt idx="16">
                  <c:v>0.20980091883614088</c:v>
                </c:pt>
                <c:pt idx="17">
                  <c:v>0.16141732283464566</c:v>
                </c:pt>
                <c:pt idx="18">
                  <c:v>0.14541387024608501</c:v>
                </c:pt>
                <c:pt idx="19">
                  <c:v>0.0970873786407767</c:v>
                </c:pt>
                <c:pt idx="20">
                  <c:v>0.08936170212765958</c:v>
                </c:pt>
                <c:pt idx="21">
                  <c:v>0.06406685236768803</c:v>
                </c:pt>
                <c:pt idx="22">
                  <c:v>0.05993690851735016</c:v>
                </c:pt>
                <c:pt idx="23">
                  <c:v>0.06143344709897611</c:v>
                </c:pt>
                <c:pt idx="24">
                  <c:v>0.0728862973760933</c:v>
                </c:pt>
                <c:pt idx="25">
                  <c:v>0.038461538461538464</c:v>
                </c:pt>
                <c:pt idx="26">
                  <c:v>0.03498542274052478</c:v>
                </c:pt>
                <c:pt idx="27">
                  <c:v>0.046296296296296294</c:v>
                </c:pt>
                <c:pt idx="28">
                  <c:v>0.042735042735042736</c:v>
                </c:pt>
                <c:pt idx="29">
                  <c:v>0.034482758620689655</c:v>
                </c:pt>
                <c:pt idx="30">
                  <c:v>0.026578073089700997</c:v>
                </c:pt>
                <c:pt idx="31">
                  <c:v>0.018518518518518517</c:v>
                </c:pt>
                <c:pt idx="32">
                  <c:v>0.024475524475524476</c:v>
                </c:pt>
                <c:pt idx="33">
                  <c:v>0.0345821325648415</c:v>
                </c:pt>
                <c:pt idx="34">
                  <c:v>0.015345268542199489</c:v>
                </c:pt>
                <c:pt idx="35">
                  <c:v>0.004405286343612335</c:v>
                </c:pt>
                <c:pt idx="36">
                  <c:v>0.008982035928143712</c:v>
                </c:pt>
                <c:pt idx="37">
                  <c:v>0.059602649006622516</c:v>
                </c:pt>
                <c:pt idx="38">
                  <c:v>0.04452054794520548</c:v>
                </c:pt>
                <c:pt idx="39">
                  <c:v>0.04983388704318937</c:v>
                </c:pt>
                <c:pt idx="40">
                  <c:v>0.002881844380403458</c:v>
                </c:pt>
                <c:pt idx="41">
                  <c:v>0.006389776357827476</c:v>
                </c:pt>
                <c:pt idx="42">
                  <c:v>0.005813953488372093</c:v>
                </c:pt>
                <c:pt idx="43">
                  <c:v>0.0024813895781637717</c:v>
                </c:pt>
                <c:pt idx="44">
                  <c:v>0.0040650406504065045</c:v>
                </c:pt>
                <c:pt idx="45">
                  <c:v>0.0012515644555694619</c:v>
                </c:pt>
                <c:pt idx="46">
                  <c:v>0.0009487666034155598</c:v>
                </c:pt>
                <c:pt idx="47">
                  <c:v>0.003134796238244514</c:v>
                </c:pt>
                <c:pt idx="48">
                  <c:v>0.0029069767441860465</c:v>
                </c:pt>
              </c:numCache>
            </c:numRef>
          </c:yVal>
          <c:smooth val="0"/>
          <c:extLst>
            <c:ext xmlns:c16="http://schemas.microsoft.com/office/drawing/2014/chart" uri="{C3380CC4-5D6E-409C-BE32-E72D297353CC}">
              <c16:uniqueId val="{00000000-096C-4121-9522-6AB7243CCAAE}"/>
            </c:ext>
          </c:extLst>
        </c:ser>
        <c:ser>
          <c:idx val="1"/>
          <c:order val="1"/>
          <c:tx>
            <c:strRef>
              <c:f>Sheet1!$B$5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5:$A$56</c:f>
              <c:numCache>
                <c:formatCode>General</c:formatCode>
                <c:ptCount val="2"/>
                <c:pt idx="0">
                  <c:v>0</c:v>
                </c:pt>
                <c:pt idx="1">
                  <c:v>0.10966783021473049</c:v>
                </c:pt>
              </c:numCache>
            </c:numRef>
          </c:xVal>
          <c:yVal>
            <c:numRef>
              <c:f>Sheet1!$B$55:$B$56</c:f>
              <c:numCache>
                <c:formatCode>General</c:formatCode>
                <c:ptCount val="2"/>
                <c:pt idx="0">
                  <c:v>0.10966783021473049</c:v>
                </c:pt>
                <c:pt idx="1">
                  <c:v>0.10966783021473049</c:v>
                </c:pt>
              </c:numCache>
            </c:numRef>
          </c:yVal>
          <c:smooth val="0"/>
          <c:extLst>
            <c:ext xmlns:c16="http://schemas.microsoft.com/office/drawing/2014/chart" uri="{C3380CC4-5D6E-409C-BE32-E72D297353CC}">
              <c16:uniqueId val="{00000005-096C-4121-9522-6AB7243CCAAE}"/>
            </c:ext>
          </c:extLst>
        </c:ser>
        <c:ser>
          <c:idx val="3"/>
          <c:order val="3"/>
          <c:tx>
            <c:strRef>
              <c:f>Sheet1!$B$5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0.10966783021473049</c:v>
                </c:pt>
                <c:pt idx="1">
                  <c:v>0.10966783021473049</c:v>
                </c:pt>
              </c:numCache>
            </c:numRef>
          </c:xVal>
          <c:yVal>
            <c:numRef>
              <c:f>Sheet1!$B$59:$B$60</c:f>
              <c:numCache>
                <c:formatCode>General</c:formatCode>
                <c:ptCount val="2"/>
                <c:pt idx="0">
                  <c:v>0.1096678302147304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2</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3:$A$65</c:f>
              <c:numCache>
                <c:formatCode>General</c:formatCode>
                <c:ptCount val="3"/>
                <c:pt idx="0">
                  <c:v>0</c:v>
                </c:pt>
                <c:pt idx="1">
                  <c:v>0.10966783021473049</c:v>
                </c:pt>
                <c:pt idx="2">
                  <c:v>0</c:v>
                </c:pt>
              </c:numCache>
            </c:numRef>
          </c:xVal>
          <c:yVal>
            <c:numRef>
              <c:f>Sheet1!$B$63:$B$65</c:f>
              <c:numCache>
                <c:formatCode>General</c:formatCode>
                <c:ptCount val="3"/>
                <c:pt idx="0">
                  <c:v>0</c:v>
                </c:pt>
                <c:pt idx="1">
                  <c:v>0.10966783021473049</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46875"/>
          <c:min val="0.000759013282732447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263847870466453</c:v>
                </c:pt>
                <c:pt idx="1">
                  <c:v>0.6654084725058582</c:v>
                </c:pt>
                <c:pt idx="2">
                  <c:v>0.6540282307325145</c:v>
                </c:pt>
                <c:pt idx="3">
                  <c:v>0.6561794918769535</c:v>
                </c:pt>
                <c:pt idx="4">
                  <c:v>0.6398119877557189</c:v>
                </c:pt>
                <c:pt idx="5">
                  <c:v>0.6392825612856021</c:v>
                </c:pt>
                <c:pt idx="6">
                  <c:v>0.612195465455738</c:v>
                </c:pt>
                <c:pt idx="7">
                  <c:v>0.6101162802842458</c:v>
                </c:pt>
                <c:pt idx="8">
                  <c:v>0.6194042229523424</c:v>
                </c:pt>
                <c:pt idx="9">
                  <c:v>0.6464060138957001</c:v>
                </c:pt>
                <c:pt idx="10">
                  <c:v>0.6519835258262723</c:v>
                </c:pt>
                <c:pt idx="11">
                  <c:v>0.6547067688370537</c:v>
                </c:pt>
                <c:pt idx="12">
                  <c:v>0.666801098630514</c:v>
                </c:pt>
                <c:pt idx="13">
                  <c:v>0.6541899042869412</c:v>
                </c:pt>
                <c:pt idx="14">
                  <c:v>0.6776500449716251</c:v>
                </c:pt>
                <c:pt idx="15">
                  <c:v>0.6819272917412814</c:v>
                </c:pt>
                <c:pt idx="16">
                  <c:v>0.6817258953136939</c:v>
                </c:pt>
                <c:pt idx="17">
                  <c:v>0.6757109492039169</c:v>
                </c:pt>
                <c:pt idx="18">
                  <c:v>0.6877312621307093</c:v>
                </c:pt>
                <c:pt idx="19">
                  <c:v>0.7042211722517426</c:v>
                </c:pt>
                <c:pt idx="20">
                  <c:v>0.7174704680388322</c:v>
                </c:pt>
                <c:pt idx="21">
                  <c:v>0.6503374337997475</c:v>
                </c:pt>
                <c:pt idx="22">
                  <c:v>0.6196134494899533</c:v>
                </c:pt>
                <c:pt idx="23">
                  <c:v>0.6043128946493352</c:v>
                </c:pt>
                <c:pt idx="24">
                  <c:v>0.5888115222668906</c:v>
                </c:pt>
                <c:pt idx="25">
                  <c:v>0.5719393834335819</c:v>
                </c:pt>
                <c:pt idx="26">
                  <c:v>0.579579939522783</c:v>
                </c:pt>
                <c:pt idx="27">
                  <c:v>0.5964664037193702</c:v>
                </c:pt>
                <c:pt idx="28">
                  <c:v>0.5904404262440189</c:v>
                </c:pt>
                <c:pt idx="29">
                  <c:v>0.556616646647874</c:v>
                </c:pt>
                <c:pt idx="30">
                  <c:v>0.5640009111532478</c:v>
                </c:pt>
                <c:pt idx="31">
                  <c:v>0.5737633450013329</c:v>
                </c:pt>
                <c:pt idx="32">
                  <c:v>0.5500989266271537</c:v>
                </c:pt>
                <c:pt idx="33">
                  <c:v>0.5355957536241286</c:v>
                </c:pt>
                <c:pt idx="34">
                  <c:v>0.5998186943286711</c:v>
                </c:pt>
                <c:pt idx="35">
                  <c:v>0.6659776612470568</c:v>
                </c:pt>
                <c:pt idx="36">
                  <c:v>0.6764338550044398</c:v>
                </c:pt>
                <c:pt idx="37">
                  <c:v>0.655892123161259</c:v>
                </c:pt>
                <c:pt idx="38">
                  <c:v>0.6810390078190283</c:v>
                </c:pt>
                <c:pt idx="39">
                  <c:v>0.6997775792959753</c:v>
                </c:pt>
                <c:pt idx="40">
                  <c:v>0.7091891677333966</c:v>
                </c:pt>
                <c:pt idx="41">
                  <c:v>0.6801292763003807</c:v>
                </c:pt>
                <c:pt idx="42">
                  <c:v>0.7067705045157096</c:v>
                </c:pt>
                <c:pt idx="43">
                  <c:v>0.7116430451186853</c:v>
                </c:pt>
                <c:pt idx="44">
                  <c:v>0.6750415062076466</c:v>
                </c:pt>
                <c:pt idx="45">
                  <c:v>0.6643789074958019</c:v>
                </c:pt>
                <c:pt idx="46">
                  <c:v>0.6656675598149181</c:v>
                </c:pt>
                <c:pt idx="47">
                  <c:v>0.6639368005757954</c:v>
                </c:pt>
                <c:pt idx="48">
                  <c:v>0.6720209085606905</c:v>
                </c:pt>
                <c:pt idx="49">
                  <c:v>0.6771427743353156</c:v>
                </c:pt>
                <c:pt idx="50">
                  <c:v>0.6374416894067158</c:v>
                </c:pt>
                <c:pt idx="51">
                  <c:v>0.6406314450758094</c:v>
                </c:pt>
                <c:pt idx="52">
                  <c:v>0.6577340983486905</c:v>
                </c:pt>
                <c:pt idx="53">
                  <c:v>0.6309602296736041</c:v>
                </c:pt>
                <c:pt idx="54">
                  <c:v>0.6168275772035154</c:v>
                </c:pt>
                <c:pt idx="55">
                  <c:v>0.6183037349680018</c:v>
                </c:pt>
                <c:pt idx="56">
                  <c:v>0.623065073536399</c:v>
                </c:pt>
                <c:pt idx="57">
                  <c:v>0.6200015522824055</c:v>
                </c:pt>
                <c:pt idx="58">
                  <c:v>0.6066309190952107</c:v>
                </c:pt>
                <c:pt idx="59">
                  <c:v>0.6368057636695611</c:v>
                </c:pt>
                <c:pt idx="60">
                  <c:v>0.6443918459393397</c:v>
                </c:pt>
                <c:pt idx="61">
                  <c:v>0.6407213190608257</c:v>
                </c:pt>
                <c:pt idx="62">
                  <c:v>0.6302552598027615</c:v>
                </c:pt>
                <c:pt idx="63">
                  <c:v>0.6491064287483023</c:v>
                </c:pt>
                <c:pt idx="64">
                  <c:v>0.6775994350239849</c:v>
                </c:pt>
                <c:pt idx="65">
                  <c:v>0.6817577355639988</c:v>
                </c:pt>
                <c:pt idx="66">
                  <c:v>0.6710062979657764</c:v>
                </c:pt>
                <c:pt idx="67">
                  <c:v>0.6721287051764202</c:v>
                </c:pt>
                <c:pt idx="68">
                  <c:v>0.6647340100625997</c:v>
                </c:pt>
                <c:pt idx="69">
                  <c:v>0.6599328832744282</c:v>
                </c:pt>
                <c:pt idx="70">
                  <c:v>0.6430483946111676</c:v>
                </c:pt>
                <c:pt idx="71">
                  <c:v>0.6119191270422305</c:v>
                </c:pt>
                <c:pt idx="72">
                  <c:v>0.6252424078406839</c:v>
                </c:pt>
                <c:pt idx="73">
                  <c:v>0.6155289970700475</c:v>
                </c:pt>
                <c:pt idx="74">
                  <c:v>0.6001225073697589</c:v>
                </c:pt>
                <c:pt idx="75">
                  <c:v>0.5944920002147026</c:v>
                </c:pt>
                <c:pt idx="76">
                  <c:v>0.5933790613271615</c:v>
                </c:pt>
                <c:pt idx="77">
                  <c:v>0.5926788069219551</c:v>
                </c:pt>
                <c:pt idx="78">
                  <c:v>0.6254486126970339</c:v>
                </c:pt>
                <c:pt idx="79">
                  <c:v>0.4512192979901188</c:v>
                </c:pt>
                <c:pt idx="80">
                  <c:v>0.47607866374073776</c:v>
                </c:pt>
                <c:pt idx="81">
                  <c:v>0.5873012862291447</c:v>
                </c:pt>
                <c:pt idx="82">
                  <c:v>0.5761786526650617</c:v>
                </c:pt>
                <c:pt idx="83">
                  <c:v>0.5673577902175381</c:v>
                </c:pt>
                <c:pt idx="84">
                  <c:v>0.5802820522726954</c:v>
                </c:pt>
                <c:pt idx="85">
                  <c:v>0.5959120575635964</c:v>
                </c:pt>
                <c:pt idx="86">
                  <c:v>0.6691331377521857</c:v>
                </c:pt>
                <c:pt idx="87">
                  <c:v>0.7081241560236059</c:v>
                </c:pt>
                <c:pt idx="88">
                  <c:v>0.6567351503797165</c:v>
                </c:pt>
                <c:pt idx="89">
                  <c:v>0.6105888754851567</c:v>
                </c:pt>
                <c:pt idx="90">
                  <c:v>0.620464961826001</c:v>
                </c:pt>
                <c:pt idx="91">
                  <c:v>0.6502575103143724</c:v>
                </c:pt>
                <c:pt idx="92">
                  <c:v>0.6742392280788576</c:v>
                </c:pt>
                <c:pt idx="93">
                  <c:v>0.6837261875072995</c:v>
                </c:pt>
                <c:pt idx="94">
                  <c:v>0.6909706917730628</c:v>
                </c:pt>
                <c:pt idx="95">
                  <c:v>0.7180639954668643</c:v>
                </c:pt>
                <c:pt idx="96">
                  <c:v>0.7172162816726845</c:v>
                </c:pt>
                <c:pt idx="97">
                  <c:v>0.7663642099017786</c:v>
                </c:pt>
                <c:pt idx="98">
                  <c:v>0.7761971954376677</c:v>
                </c:pt>
                <c:pt idx="99">
                  <c:v>0.7590023996265466</c:v>
                </c:pt>
                <c:pt idx="100">
                  <c:v>0.7551539979649569</c:v>
                </c:pt>
                <c:pt idx="101">
                  <c:v>0.714938547494566</c:v>
                </c:pt>
                <c:pt idx="102">
                  <c:v>0.7038933558957978</c:v>
                </c:pt>
                <c:pt idx="103">
                  <c:v>0.6514903033724037</c:v>
                </c:pt>
                <c:pt idx="104">
                  <c:v>0.6679829197532918</c:v>
                </c:pt>
              </c:numCache>
            </c:numRef>
          </c:xVal>
          <c:yVal>
            <c:numRef>
              <c:f>Sheet1!$B$2:$B$106</c:f>
              <c:numCache>
                <c:formatCode>General</c:formatCode>
                <c:ptCount val="105"/>
                <c:pt idx="0">
                  <c:v>0.22760837033584377</c:v>
                </c:pt>
                <c:pt idx="1">
                  <c:v>0.2325046891924022</c:v>
                </c:pt>
                <c:pt idx="2">
                  <c:v>0.21503914608665006</c:v>
                </c:pt>
                <c:pt idx="3">
                  <c:v>0.21465353931534992</c:v>
                </c:pt>
                <c:pt idx="4">
                  <c:v>0.20793685458459427</c:v>
                </c:pt>
                <c:pt idx="5">
                  <c:v>0.1966485796361315</c:v>
                </c:pt>
                <c:pt idx="6">
                  <c:v>0.21195170411126393</c:v>
                </c:pt>
                <c:pt idx="7">
                  <c:v>0.20612980769230768</c:v>
                </c:pt>
                <c:pt idx="8">
                  <c:v>0.21598764524194736</c:v>
                </c:pt>
                <c:pt idx="9">
                  <c:v>0.21518105849582173</c:v>
                </c:pt>
                <c:pt idx="10">
                  <c:v>0.22739490377378777</c:v>
                </c:pt>
                <c:pt idx="11">
                  <c:v>0.22329282485722793</c:v>
                </c:pt>
                <c:pt idx="12">
                  <c:v>0.2305631356983379</c:v>
                </c:pt>
                <c:pt idx="13">
                  <c:v>0.23892725478996832</c:v>
                </c:pt>
                <c:pt idx="14">
                  <c:v>0.23104343039865805</c:v>
                </c:pt>
                <c:pt idx="15">
                  <c:v>0.22596273291925467</c:v>
                </c:pt>
                <c:pt idx="16">
                  <c:v>0.21038387579232248</c:v>
                </c:pt>
                <c:pt idx="17">
                  <c:v>0.20514723111770677</c:v>
                </c:pt>
                <c:pt idx="18">
                  <c:v>0.18550875820402485</c:v>
                </c:pt>
                <c:pt idx="19">
                  <c:v>0.17197875166002657</c:v>
                </c:pt>
                <c:pt idx="20">
                  <c:v>0.18437369082530372</c:v>
                </c:pt>
                <c:pt idx="21">
                  <c:v>0.18039854881960146</c:v>
                </c:pt>
                <c:pt idx="22">
                  <c:v>0.1794175973280451</c:v>
                </c:pt>
                <c:pt idx="23">
                  <c:v>0.17912721732506257</c:v>
                </c:pt>
                <c:pt idx="24">
                  <c:v>0.18612306913142568</c:v>
                </c:pt>
                <c:pt idx="25">
                  <c:v>0.1827140455625761</c:v>
                </c:pt>
                <c:pt idx="26">
                  <c:v>0.1862462709597778</c:v>
                </c:pt>
                <c:pt idx="27">
                  <c:v>0.18021255060728744</c:v>
                </c:pt>
                <c:pt idx="28">
                  <c:v>0.17628913680530564</c:v>
                </c:pt>
                <c:pt idx="29">
                  <c:v>0.18736804276537442</c:v>
                </c:pt>
                <c:pt idx="30">
                  <c:v>0.17649434571890146</c:v>
                </c:pt>
                <c:pt idx="31">
                  <c:v>0.16942195231668916</c:v>
                </c:pt>
                <c:pt idx="32">
                  <c:v>0.1783959816746702</c:v>
                </c:pt>
                <c:pt idx="33">
                  <c:v>0.19256418079588544</c:v>
                </c:pt>
                <c:pt idx="34">
                  <c:v>0.1910329127599645</c:v>
                </c:pt>
                <c:pt idx="35">
                  <c:v>0.19439806453811292</c:v>
                </c:pt>
                <c:pt idx="36">
                  <c:v>0.1634170522141441</c:v>
                </c:pt>
                <c:pt idx="37">
                  <c:v>0.14788562611504893</c:v>
                </c:pt>
                <c:pt idx="38">
                  <c:v>0.1440997390547985</c:v>
                </c:pt>
                <c:pt idx="39">
                  <c:v>0.14272555140473875</c:v>
                </c:pt>
                <c:pt idx="40">
                  <c:v>0.14606043022340118</c:v>
                </c:pt>
                <c:pt idx="41">
                  <c:v>0.1362635345935034</c:v>
                </c:pt>
                <c:pt idx="42">
                  <c:v>0.14438356164383562</c:v>
                </c:pt>
                <c:pt idx="43">
                  <c:v>0.15096437880104258</c:v>
                </c:pt>
                <c:pt idx="44">
                  <c:v>0.16644399128050066</c:v>
                </c:pt>
                <c:pt idx="45">
                  <c:v>0.18401017919626764</c:v>
                </c:pt>
                <c:pt idx="46">
                  <c:v>0.191180093619118</c:v>
                </c:pt>
                <c:pt idx="47">
                  <c:v>0.19401514039465684</c:v>
                </c:pt>
                <c:pt idx="48">
                  <c:v>0.20776936606255259</c:v>
                </c:pt>
                <c:pt idx="49">
                  <c:v>0.24055718692688513</c:v>
                </c:pt>
                <c:pt idx="50">
                  <c:v>0.20537331455021132</c:v>
                </c:pt>
                <c:pt idx="51">
                  <c:v>0.18708201775103797</c:v>
                </c:pt>
                <c:pt idx="52">
                  <c:v>0.20016477944904512</c:v>
                </c:pt>
                <c:pt idx="53">
                  <c:v>0.19037838691839798</c:v>
                </c:pt>
                <c:pt idx="54">
                  <c:v>0.18361277154104097</c:v>
                </c:pt>
                <c:pt idx="55">
                  <c:v>0.180431336184978</c:v>
                </c:pt>
                <c:pt idx="56">
                  <c:v>0.1921937356391341</c:v>
                </c:pt>
                <c:pt idx="57">
                  <c:v>0.1869673664518811</c:v>
                </c:pt>
                <c:pt idx="58">
                  <c:v>0.20230027679679297</c:v>
                </c:pt>
                <c:pt idx="59">
                  <c:v>0.20680500793289244</c:v>
                </c:pt>
                <c:pt idx="60">
                  <c:v>0.21535680468279245</c:v>
                </c:pt>
                <c:pt idx="61">
                  <c:v>0.21254020047418953</c:v>
                </c:pt>
                <c:pt idx="62">
                  <c:v>0.21977724058468698</c:v>
                </c:pt>
                <c:pt idx="63">
                  <c:v>0.23405083253118153</c:v>
                </c:pt>
                <c:pt idx="64">
                  <c:v>0.22663326653306612</c:v>
                </c:pt>
                <c:pt idx="65">
                  <c:v>0.21906008068912877</c:v>
                </c:pt>
                <c:pt idx="66">
                  <c:v>0.21964273616223662</c:v>
                </c:pt>
                <c:pt idx="67">
                  <c:v>0.2167344705350558</c:v>
                </c:pt>
                <c:pt idx="68">
                  <c:v>0.19713190401817407</c:v>
                </c:pt>
                <c:pt idx="69">
                  <c:v>0.18215920174056568</c:v>
                </c:pt>
                <c:pt idx="70">
                  <c:v>0.17000035910511008</c:v>
                </c:pt>
                <c:pt idx="71">
                  <c:v>0.17906644531099186</c:v>
                </c:pt>
                <c:pt idx="72">
                  <c:v>0.18262489044697633</c:v>
                </c:pt>
                <c:pt idx="73">
                  <c:v>0.18369408930167488</c:v>
                </c:pt>
                <c:pt idx="74">
                  <c:v>0.17798172038966412</c:v>
                </c:pt>
                <c:pt idx="75">
                  <c:v>0.17587279337684525</c:v>
                </c:pt>
                <c:pt idx="76">
                  <c:v>0.17318383555244102</c:v>
                </c:pt>
                <c:pt idx="77">
                  <c:v>0.16938785339305495</c:v>
                </c:pt>
                <c:pt idx="78">
                  <c:v>0.16006449879064769</c:v>
                </c:pt>
                <c:pt idx="79">
                  <c:v>0.20537501191270371</c:v>
                </c:pt>
                <c:pt idx="80">
                  <c:v>0.1914609739826551</c:v>
                </c:pt>
                <c:pt idx="81">
                  <c:v>0.16176890156918688</c:v>
                </c:pt>
                <c:pt idx="82">
                  <c:v>0.1631413612565445</c:v>
                </c:pt>
                <c:pt idx="83">
                  <c:v>0.1470696419813634</c:v>
                </c:pt>
                <c:pt idx="84">
                  <c:v>0.14775611265861963</c:v>
                </c:pt>
                <c:pt idx="85">
                  <c:v>0.14966431963320778</c:v>
                </c:pt>
                <c:pt idx="86">
                  <c:v>0.1466328451026921</c:v>
                </c:pt>
                <c:pt idx="87">
                  <c:v>0.1682031189982331</c:v>
                </c:pt>
                <c:pt idx="88">
                  <c:v>0.15206499002772778</c:v>
                </c:pt>
                <c:pt idx="89">
                  <c:v>0.14356117420184272</c:v>
                </c:pt>
                <c:pt idx="90">
                  <c:v>0.13762376237623763</c:v>
                </c:pt>
                <c:pt idx="91">
                  <c:v>0.14078597981943708</c:v>
                </c:pt>
                <c:pt idx="92">
                  <c:v>0.14561866643958102</c:v>
                </c:pt>
                <c:pt idx="93">
                  <c:v>0.1377233240452385</c:v>
                </c:pt>
                <c:pt idx="94">
                  <c:v>0.13904559326736335</c:v>
                </c:pt>
                <c:pt idx="95">
                  <c:v>0.14864864864864866</c:v>
                </c:pt>
                <c:pt idx="96">
                  <c:v>0.145429833503228</c:v>
                </c:pt>
                <c:pt idx="97">
                  <c:v>0.15325840794124496</c:v>
                </c:pt>
                <c:pt idx="98">
                  <c:v>0.1700043933513949</c:v>
                </c:pt>
                <c:pt idx="99">
                  <c:v>0.17778411250475104</c:v>
                </c:pt>
                <c:pt idx="100">
                  <c:v>0.20069152307958277</c:v>
                </c:pt>
                <c:pt idx="101">
                  <c:v>0.18210413864050012</c:v>
                </c:pt>
                <c:pt idx="102">
                  <c:v>0.1514782002787179</c:v>
                </c:pt>
                <c:pt idx="103">
                  <c:v>0.17233793587643342</c:v>
                </c:pt>
                <c:pt idx="104">
                  <c:v>0.176800976800976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884828775027416</c:v>
                </c:pt>
                <c:pt idx="1">
                  <c:v>0.6508083943016446</c:v>
                </c:pt>
                <c:pt idx="2">
                  <c:v>0.6545745463630347</c:v>
                </c:pt>
                <c:pt idx="3">
                  <c:v>0.6473247852969167</c:v>
                </c:pt>
                <c:pt idx="4">
                  <c:v>0.6393928325102525</c:v>
                </c:pt>
                <c:pt idx="5">
                  <c:v>0.6611893976644422</c:v>
                </c:pt>
                <c:pt idx="6">
                  <c:v>0.6693608171873818</c:v>
                </c:pt>
                <c:pt idx="7">
                  <c:v>0.6639430717898364</c:v>
                </c:pt>
                <c:pt idx="8">
                  <c:v>0.6936758421576862</c:v>
                </c:pt>
                <c:pt idx="9">
                  <c:v>0.6735491766277251</c:v>
                </c:pt>
                <c:pt idx="10">
                  <c:v>0.6829809142722945</c:v>
                </c:pt>
                <c:pt idx="11">
                  <c:v>0.7011846760633357</c:v>
                </c:pt>
                <c:pt idx="12">
                  <c:v>0.6898147054219146</c:v>
                </c:pt>
                <c:pt idx="13">
                  <c:v>0.6501989671945149</c:v>
                </c:pt>
                <c:pt idx="14">
                  <c:v>0.6654191646121361</c:v>
                </c:pt>
                <c:pt idx="15">
                  <c:v>0.659667447905143</c:v>
                </c:pt>
                <c:pt idx="16">
                  <c:v>0.6758077021711105</c:v>
                </c:pt>
                <c:pt idx="17">
                  <c:v>0.65305333554729</c:v>
                </c:pt>
                <c:pt idx="18">
                  <c:v>0.6449401499912855</c:v>
                </c:pt>
                <c:pt idx="19">
                  <c:v>0.6426212245951012</c:v>
                </c:pt>
                <c:pt idx="20">
                  <c:v>0.6014918311819907</c:v>
                </c:pt>
                <c:pt idx="21">
                  <c:v>0.6050189008555874</c:v>
                </c:pt>
                <c:pt idx="22">
                  <c:v>0.5926674678767817</c:v>
                </c:pt>
                <c:pt idx="23">
                  <c:v>0.5790332249627117</c:v>
                </c:pt>
                <c:pt idx="24">
                  <c:v>0.5782948181846943</c:v>
                </c:pt>
                <c:pt idx="25">
                  <c:v>0.5945893414232055</c:v>
                </c:pt>
                <c:pt idx="26">
                  <c:v>0.620743903305241</c:v>
                </c:pt>
                <c:pt idx="27">
                  <c:v>0.6660950941333175</c:v>
                </c:pt>
                <c:pt idx="28">
                  <c:v>0.6679713957253345</c:v>
                </c:pt>
                <c:pt idx="29">
                  <c:v>0.6349717151796981</c:v>
                </c:pt>
                <c:pt idx="30">
                  <c:v>0.6332906310680296</c:v>
                </c:pt>
                <c:pt idx="31">
                  <c:v>0.5971122611049473</c:v>
                </c:pt>
                <c:pt idx="32">
                  <c:v>0.604251256353392</c:v>
                </c:pt>
                <c:pt idx="33">
                  <c:v>0.6523519645461384</c:v>
                </c:pt>
                <c:pt idx="34">
                  <c:v>0.6972199318903233</c:v>
                </c:pt>
                <c:pt idx="35">
                  <c:v>0.6566197863567975</c:v>
                </c:pt>
                <c:pt idx="36">
                  <c:v>0.5864544250152478</c:v>
                </c:pt>
                <c:pt idx="37">
                  <c:v>0.6117985125183106</c:v>
                </c:pt>
                <c:pt idx="38">
                  <c:v>0.6013462454129309</c:v>
                </c:pt>
                <c:pt idx="39">
                  <c:v>0.6533098905006849</c:v>
                </c:pt>
                <c:pt idx="40">
                  <c:v>0.6547078586482417</c:v>
                </c:pt>
                <c:pt idx="41">
                  <c:v>0.6776101589435498</c:v>
                </c:pt>
                <c:pt idx="42">
                  <c:v>0.6483465619172417</c:v>
                </c:pt>
                <c:pt idx="43">
                  <c:v>0.6908069995086966</c:v>
                </c:pt>
                <c:pt idx="44">
                  <c:v>0.7260361509922824</c:v>
                </c:pt>
                <c:pt idx="45">
                  <c:v>0.7339402590233572</c:v>
                </c:pt>
                <c:pt idx="46">
                  <c:v>0.692711603277371</c:v>
                </c:pt>
                <c:pt idx="47">
                  <c:v>0.710127126732845</c:v>
                </c:pt>
                <c:pt idx="48">
                  <c:v>0.7359853500994186</c:v>
                </c:pt>
                <c:pt idx="49">
                  <c:v>0.7560132327367589</c:v>
                </c:pt>
                <c:pt idx="50">
                  <c:v>0.708624650455152</c:v>
                </c:pt>
                <c:pt idx="51">
                  <c:v>0.6739242839852508</c:v>
                </c:pt>
              </c:numCache>
            </c:numRef>
          </c:xVal>
          <c:yVal>
            <c:numRef>
              <c:f>Sheet1!$B$109:$B$160</c:f>
              <c:numCache>
                <c:formatCode>General</c:formatCode>
                <c:ptCount val="52"/>
                <c:pt idx="0">
                  <c:v>0.175662656554927</c:v>
                </c:pt>
                <c:pt idx="1">
                  <c:v>0.17459402828706128</c:v>
                </c:pt>
                <c:pt idx="2">
                  <c:v>0.1826517212269018</c:v>
                </c:pt>
                <c:pt idx="3">
                  <c:v>0.19290184955109121</c:v>
                </c:pt>
                <c:pt idx="4">
                  <c:v>0.1808049836959167</c:v>
                </c:pt>
                <c:pt idx="5">
                  <c:v>0.17299134432001564</c:v>
                </c:pt>
                <c:pt idx="6">
                  <c:v>0.17752865773816362</c:v>
                </c:pt>
                <c:pt idx="7">
                  <c:v>0.17669243824250425</c:v>
                </c:pt>
                <c:pt idx="8">
                  <c:v>0.17478963312016157</c:v>
                </c:pt>
                <c:pt idx="9">
                  <c:v>0.18824222504728536</c:v>
                </c:pt>
                <c:pt idx="10">
                  <c:v>0.189738567910027</c:v>
                </c:pt>
                <c:pt idx="11">
                  <c:v>0.19920649152694342</c:v>
                </c:pt>
                <c:pt idx="12">
                  <c:v>0.20091186175974207</c:v>
                </c:pt>
                <c:pt idx="13">
                  <c:v>0.19532071503680337</c:v>
                </c:pt>
                <c:pt idx="14">
                  <c:v>0.19452253296623678</c:v>
                </c:pt>
                <c:pt idx="15">
                  <c:v>0.18382466908459655</c:v>
                </c:pt>
                <c:pt idx="16">
                  <c:v>0.17105357784969435</c:v>
                </c:pt>
                <c:pt idx="17">
                  <c:v>0.16143362698591973</c:v>
                </c:pt>
                <c:pt idx="18">
                  <c:v>0.15984129879605982</c:v>
                </c:pt>
                <c:pt idx="19">
                  <c:v>0.16725263686589653</c:v>
                </c:pt>
                <c:pt idx="20">
                  <c:v>0.16279501951310166</c:v>
                </c:pt>
                <c:pt idx="21">
                  <c:v>0.15986218776916453</c:v>
                </c:pt>
                <c:pt idx="22">
                  <c:v>0.16070922789327594</c:v>
                </c:pt>
                <c:pt idx="23">
                  <c:v>0.1702065585249154</c:v>
                </c:pt>
                <c:pt idx="24">
                  <c:v>0.16856911008926156</c:v>
                </c:pt>
                <c:pt idx="25">
                  <c:v>0.17782949256442274</c:v>
                </c:pt>
                <c:pt idx="26">
                  <c:v>0.1581707119303746</c:v>
                </c:pt>
                <c:pt idx="27">
                  <c:v>0.14686719247538332</c:v>
                </c:pt>
                <c:pt idx="28">
                  <c:v>0.14542954716813766</c:v>
                </c:pt>
                <c:pt idx="29">
                  <c:v>0.14433539577554938</c:v>
                </c:pt>
                <c:pt idx="30">
                  <c:v>0.15105035011670556</c:v>
                </c:pt>
                <c:pt idx="31">
                  <c:v>0.14772658473088332</c:v>
                </c:pt>
                <c:pt idx="32">
                  <c:v>0.1481618815552495</c:v>
                </c:pt>
                <c:pt idx="33">
                  <c:v>0.17092807219322304</c:v>
                </c:pt>
                <c:pt idx="34">
                  <c:v>0.18945165053874133</c:v>
                </c:pt>
                <c:pt idx="35">
                  <c:v>0.1863625133821955</c:v>
                </c:pt>
                <c:pt idx="36">
                  <c:v>0.15510415990654813</c:v>
                </c:pt>
                <c:pt idx="37">
                  <c:v>0.14670209079357746</c:v>
                </c:pt>
                <c:pt idx="38">
                  <c:v>0.14790558941771495</c:v>
                </c:pt>
                <c:pt idx="39">
                  <c:v>0.16470086684666763</c:v>
                </c:pt>
                <c:pt idx="40">
                  <c:v>0.14769102759672723</c:v>
                </c:pt>
                <c:pt idx="41">
                  <c:v>0.14965277777777777</c:v>
                </c:pt>
                <c:pt idx="42">
                  <c:v>0.1479838119849822</c:v>
                </c:pt>
                <c:pt idx="43">
                  <c:v>0.14525119702708497</c:v>
                </c:pt>
                <c:pt idx="44">
                  <c:v>0.14397752545944048</c:v>
                </c:pt>
                <c:pt idx="45">
                  <c:v>0.16196872935476767</c:v>
                </c:pt>
                <c:pt idx="46">
                  <c:v>0.15774751952712687</c:v>
                </c:pt>
                <c:pt idx="47">
                  <c:v>0.16018034533158274</c:v>
                </c:pt>
                <c:pt idx="48">
                  <c:v>0.15172915152144564</c:v>
                </c:pt>
                <c:pt idx="49">
                  <c:v>0.16467122053745684</c:v>
                </c:pt>
                <c:pt idx="50">
                  <c:v>0.20337764110703302</c:v>
                </c:pt>
                <c:pt idx="51">
                  <c:v>0.1886950543548317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883522262733024</c:v>
                </c:pt>
              </c:numCache>
            </c:numRef>
          </c:xVal>
          <c:yVal>
            <c:numRef>
              <c:f>Sheet1!$B$163:$B$164</c:f>
              <c:numCache>
                <c:formatCode>General</c:formatCode>
                <c:ptCount val="2"/>
                <c:pt idx="0">
                  <c:v>0.21427337068849897</c:v>
                </c:pt>
                <c:pt idx="1">
                  <c:v>0.2142733706884989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883522262733024</c:v>
                </c:pt>
                <c:pt idx="1">
                  <c:v>1.1883522262733024</c:v>
                </c:pt>
              </c:numCache>
            </c:numRef>
          </c:xVal>
          <c:yVal>
            <c:numRef>
              <c:f>Sheet1!$B$167:$B$168</c:f>
              <c:numCache>
                <c:formatCode>General</c:formatCode>
                <c:ptCount val="2"/>
                <c:pt idx="0">
                  <c:v>0.2142733706884989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876935598479926</c:v>
                </c:pt>
              </c:numCache>
            </c:numRef>
          </c:xVal>
          <c:yVal>
            <c:numRef>
              <c:f>Sheet1!$B$171:$B$172</c:f>
              <c:numCache>
                <c:formatCode>General</c:formatCode>
                <c:ptCount val="2"/>
                <c:pt idx="0">
                  <c:v>0.17953887777780547</c:v>
                </c:pt>
                <c:pt idx="1">
                  <c:v>0.1795388777778054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876935598479926</c:v>
                </c:pt>
                <c:pt idx="1">
                  <c:v>0.7876935598479926</c:v>
                </c:pt>
              </c:numCache>
            </c:numRef>
          </c:xVal>
          <c:yVal>
            <c:numRef>
              <c:f>Sheet1!$B$175:$B$176</c:f>
              <c:numCache>
                <c:formatCode>General</c:formatCode>
                <c:ptCount val="2"/>
                <c:pt idx="0">
                  <c:v>0.179538877777805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69082007611062</c:v>
                </c:pt>
              </c:numCache>
            </c:numRef>
          </c:xVal>
          <c:yVal>
            <c:numRef>
              <c:f>Sheet1!$B$179:$B$180</c:f>
              <c:numCache>
                <c:formatCode>General</c:formatCode>
                <c:ptCount val="2"/>
                <c:pt idx="0">
                  <c:v>0.16058668218668648</c:v>
                </c:pt>
                <c:pt idx="1">
                  <c:v>0.1605866821866864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69082007611062</c:v>
                </c:pt>
                <c:pt idx="1">
                  <c:v>0.569082007611062</c:v>
                </c:pt>
              </c:numCache>
            </c:numRef>
          </c:xVal>
          <c:yVal>
            <c:numRef>
              <c:f>Sheet1!$B$183:$B$184</c:f>
              <c:numCache>
                <c:formatCode>General</c:formatCode>
                <c:ptCount val="2"/>
                <c:pt idx="0">
                  <c:v>0.1605866821866864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884828775027416</c:v>
                </c:pt>
                <c:pt idx="1">
                  <c:v>0.6508083943016446</c:v>
                </c:pt>
                <c:pt idx="2">
                  <c:v>0.6545745463630347</c:v>
                </c:pt>
                <c:pt idx="3">
                  <c:v>0.6473247852969167</c:v>
                </c:pt>
                <c:pt idx="4">
                  <c:v>0.6393928325102525</c:v>
                </c:pt>
                <c:pt idx="5">
                  <c:v>0.6611893976644422</c:v>
                </c:pt>
                <c:pt idx="6">
                  <c:v>0.6693608171873818</c:v>
                </c:pt>
                <c:pt idx="7">
                  <c:v>0.6639430717898364</c:v>
                </c:pt>
                <c:pt idx="8">
                  <c:v>0.6936758421576862</c:v>
                </c:pt>
                <c:pt idx="9">
                  <c:v>0.6735491766277251</c:v>
                </c:pt>
                <c:pt idx="10">
                  <c:v>0.6829809142722945</c:v>
                </c:pt>
                <c:pt idx="11">
                  <c:v>0.7011846760633357</c:v>
                </c:pt>
                <c:pt idx="12">
                  <c:v>0.6898147054219146</c:v>
                </c:pt>
                <c:pt idx="13">
                  <c:v>0.6501989671945149</c:v>
                </c:pt>
                <c:pt idx="14">
                  <c:v>0.6654191646121361</c:v>
                </c:pt>
                <c:pt idx="15">
                  <c:v>0.659667447905143</c:v>
                </c:pt>
                <c:pt idx="16">
                  <c:v>0.6758077021711105</c:v>
                </c:pt>
                <c:pt idx="17">
                  <c:v>0.65305333554729</c:v>
                </c:pt>
                <c:pt idx="18">
                  <c:v>0.6449401499912855</c:v>
                </c:pt>
                <c:pt idx="19">
                  <c:v>0.6426212245951012</c:v>
                </c:pt>
                <c:pt idx="20">
                  <c:v>0.6014918311819907</c:v>
                </c:pt>
                <c:pt idx="21">
                  <c:v>0.6050189008555874</c:v>
                </c:pt>
                <c:pt idx="22">
                  <c:v>0.5926674678767817</c:v>
                </c:pt>
                <c:pt idx="23">
                  <c:v>0.5790332249627117</c:v>
                </c:pt>
                <c:pt idx="24">
                  <c:v>0.5782948181846943</c:v>
                </c:pt>
                <c:pt idx="25">
                  <c:v>0.5945893414232055</c:v>
                </c:pt>
                <c:pt idx="26">
                  <c:v>0.620743903305241</c:v>
                </c:pt>
                <c:pt idx="27">
                  <c:v>0.6660950941333175</c:v>
                </c:pt>
                <c:pt idx="28">
                  <c:v>0.6679713957253345</c:v>
                </c:pt>
                <c:pt idx="29">
                  <c:v>0.6349717151796981</c:v>
                </c:pt>
                <c:pt idx="30">
                  <c:v>0.6332906310680296</c:v>
                </c:pt>
                <c:pt idx="31">
                  <c:v>0.5971122611049473</c:v>
                </c:pt>
                <c:pt idx="32">
                  <c:v>0.604251256353392</c:v>
                </c:pt>
                <c:pt idx="33">
                  <c:v>0.6523519645461384</c:v>
                </c:pt>
                <c:pt idx="34">
                  <c:v>0.6972199318903233</c:v>
                </c:pt>
                <c:pt idx="35">
                  <c:v>0.6566197863567975</c:v>
                </c:pt>
                <c:pt idx="36">
                  <c:v>0.5864544250152478</c:v>
                </c:pt>
                <c:pt idx="37">
                  <c:v>0.6117985125183106</c:v>
                </c:pt>
                <c:pt idx="38">
                  <c:v>0.6013462454129309</c:v>
                </c:pt>
                <c:pt idx="39">
                  <c:v>0.6533098905006849</c:v>
                </c:pt>
                <c:pt idx="40">
                  <c:v>0.6547078586482417</c:v>
                </c:pt>
                <c:pt idx="41">
                  <c:v>0.6776101589435498</c:v>
                </c:pt>
                <c:pt idx="42">
                  <c:v>0.6483465619172417</c:v>
                </c:pt>
                <c:pt idx="43">
                  <c:v>0.6908069995086966</c:v>
                </c:pt>
                <c:pt idx="44">
                  <c:v>0.7260361509922824</c:v>
                </c:pt>
                <c:pt idx="45">
                  <c:v>0.7339402590233572</c:v>
                </c:pt>
                <c:pt idx="46">
                  <c:v>0.692711603277371</c:v>
                </c:pt>
                <c:pt idx="47">
                  <c:v>0.710127126732845</c:v>
                </c:pt>
                <c:pt idx="48">
                  <c:v>0.7359853500994186</c:v>
                </c:pt>
                <c:pt idx="49">
                  <c:v>0.7560132327367589</c:v>
                </c:pt>
                <c:pt idx="50">
                  <c:v>0.708624650455152</c:v>
                </c:pt>
                <c:pt idx="51">
                  <c:v>0.6739242839852508</c:v>
                </c:pt>
                <c:pt idx="52">
                  <c:v>0.7876935598479926</c:v>
                </c:pt>
                <c:pt idx="53">
                  <c:v>1.1883522262733024</c:v>
                </c:pt>
                <c:pt idx="54">
                  <c:v>0.569082007611062</c:v>
                </c:pt>
              </c:numCache>
            </c:numRef>
          </c:xVal>
          <c:yVal>
            <c:numRef>
              <c:f>Sheet1!$B$187:$B$241</c:f>
              <c:numCache>
                <c:formatCode>General</c:formatCode>
                <c:ptCount val="55"/>
                <c:pt idx="0">
                  <c:v>0.170937958762795</c:v>
                </c:pt>
                <c:pt idx="1">
                  <c:v>0.1676718268172715</c:v>
                </c:pt>
                <c:pt idx="2">
                  <c:v>0.16799832763464825</c:v>
                </c:pt>
                <c:pt idx="3">
                  <c:v>0.1673698206398988</c:v>
                </c:pt>
                <c:pt idx="4">
                  <c:v>0.16668217207286673</c:v>
                </c:pt>
                <c:pt idx="5">
                  <c:v>0.1685717920942692</c:v>
                </c:pt>
                <c:pt idx="6">
                  <c:v>0.1692802008653116</c:v>
                </c:pt>
                <c:pt idx="7">
                  <c:v>0.16881051767891767</c:v>
                </c:pt>
                <c:pt idx="8">
                  <c:v>0.17138815492503445</c:v>
                </c:pt>
                <c:pt idx="9">
                  <c:v>0.16964330430841448</c:v>
                </c:pt>
                <c:pt idx="10">
                  <c:v>0.17046097443963548</c:v>
                </c:pt>
                <c:pt idx="11">
                  <c:v>0.17203912184505732</c:v>
                </c:pt>
                <c:pt idx="12">
                  <c:v>0.17105341955596717</c:v>
                </c:pt>
                <c:pt idx="13">
                  <c:v>0.16761899346233364</c:v>
                </c:pt>
                <c:pt idx="14">
                  <c:v>0.1689384852981611</c:v>
                </c:pt>
                <c:pt idx="15">
                  <c:v>0.16843984897770947</c:v>
                </c:pt>
                <c:pt idx="16">
                  <c:v>0.16983910374082228</c:v>
                </c:pt>
                <c:pt idx="17">
                  <c:v>0.16786644857967464</c:v>
                </c:pt>
                <c:pt idx="18">
                  <c:v>0.16716308831370943</c:v>
                </c:pt>
                <c:pt idx="19">
                  <c:v>0.16696205260804797</c:v>
                </c:pt>
                <c:pt idx="20">
                  <c:v>0.1633964024832799</c:v>
                </c:pt>
                <c:pt idx="21">
                  <c:v>0.16370217641715262</c:v>
                </c:pt>
                <c:pt idx="22">
                  <c:v>0.16263138774542124</c:v>
                </c:pt>
                <c:pt idx="23">
                  <c:v>0.16144938781998164</c:v>
                </c:pt>
                <c:pt idx="24">
                  <c:v>0.16138537276890316</c:v>
                </c:pt>
                <c:pt idx="25">
                  <c:v>0.16279800164564984</c:v>
                </c:pt>
                <c:pt idx="26">
                  <c:v>0.16506543155644948</c:v>
                </c:pt>
                <c:pt idx="27">
                  <c:v>0.16899708397860666</c:v>
                </c:pt>
                <c:pt idx="28">
                  <c:v>0.16915974708765086</c:v>
                </c:pt>
                <c:pt idx="29">
                  <c:v>0.16629889003894593</c:v>
                </c:pt>
                <c:pt idx="30">
                  <c:v>0.16615315101205805</c:v>
                </c:pt>
                <c:pt idx="31">
                  <c:v>0.1630167223252287</c:v>
                </c:pt>
                <c:pt idx="32">
                  <c:v>0.16363562664610354</c:v>
                </c:pt>
                <c:pt idx="33">
                  <c:v>0.16780564428886868</c:v>
                </c:pt>
                <c:pt idx="34">
                  <c:v>0.1716954043870053</c:v>
                </c:pt>
                <c:pt idx="35">
                  <c:v>0.16817563660115048</c:v>
                </c:pt>
                <c:pt idx="36">
                  <c:v>0.1620927574565691</c:v>
                </c:pt>
                <c:pt idx="37">
                  <c:v>0.16428992452537935</c:v>
                </c:pt>
                <c:pt idx="38">
                  <c:v>0.16338378114674817</c:v>
                </c:pt>
                <c:pt idx="39">
                  <c:v>0.16788869022064404</c:v>
                </c:pt>
                <c:pt idx="40">
                  <c:v>0.16800988494018904</c:v>
                </c:pt>
                <c:pt idx="41">
                  <c:v>0.16999536498569368</c:v>
                </c:pt>
                <c:pt idx="42">
                  <c:v>0.16745840200790374</c:v>
                </c:pt>
                <c:pt idx="43">
                  <c:v>0.17113944498062644</c:v>
                </c:pt>
                <c:pt idx="44">
                  <c:v>0.174193582616969</c:v>
                </c:pt>
                <c:pt idx="45">
                  <c:v>0.17487881722532087</c:v>
                </c:pt>
                <c:pt idx="46">
                  <c:v>0.17130456170377373</c:v>
                </c:pt>
                <c:pt idx="47">
                  <c:v>0.17281437398712524</c:v>
                </c:pt>
                <c:pt idx="48">
                  <c:v>0.17505611328162973</c:v>
                </c:pt>
                <c:pt idx="49">
                  <c:v>0.17679240006581334</c:v>
                </c:pt>
                <c:pt idx="50">
                  <c:v>0.17268411909439665</c:v>
                </c:pt>
                <c:pt idx="51">
                  <c:v>0.169675823669513</c:v>
                </c:pt>
                <c:pt idx="52">
                  <c:v>0.17953887777780547</c:v>
                </c:pt>
                <c:pt idx="53">
                  <c:v>0.21427337068849897</c:v>
                </c:pt>
                <c:pt idx="54">
                  <c:v>0.1605866821866864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866862431226215"/>
          <c:min val="0.1090108276748027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550.6842</c:v>
                </c:pt>
                <c:pt idx="1">
                  <c:v>549.8131</c:v>
                </c:pt>
                <c:pt idx="2">
                  <c:v>551.9785</c:v>
                </c:pt>
                <c:pt idx="3">
                  <c:v>552.8444</c:v>
                </c:pt>
                <c:pt idx="4">
                  <c:v>545.3247</c:v>
                </c:pt>
                <c:pt idx="5">
                  <c:v>542.32</c:v>
                </c:pt>
                <c:pt idx="6">
                  <c:v>530.8222</c:v>
                </c:pt>
                <c:pt idx="7">
                  <c:v>511.4</c:v>
                </c:pt>
                <c:pt idx="8">
                  <c:v>500.7857</c:v>
                </c:pt>
                <c:pt idx="9">
                  <c:v>502.0</c:v>
                </c:pt>
                <c:pt idx="10">
                  <c:v>499.4412</c:v>
                </c:pt>
                <c:pt idx="11">
                  <c:v>510.6087</c:v>
                </c:pt>
                <c:pt idx="12">
                  <c:v>482.6</c:v>
                </c:pt>
                <c:pt idx="13">
                  <c:v>483.4375</c:v>
                </c:pt>
                <c:pt idx="14">
                  <c:v>512.3594</c:v>
                </c:pt>
                <c:pt idx="15">
                  <c:v>511.2974</c:v>
                </c:pt>
                <c:pt idx="16">
                  <c:v>512.2701</c:v>
                </c:pt>
                <c:pt idx="17">
                  <c:v>502.0</c:v>
                </c:pt>
                <c:pt idx="18">
                  <c:v>505.0769</c:v>
                </c:pt>
                <c:pt idx="19">
                  <c:v>502.4</c:v>
                </c:pt>
                <c:pt idx="20">
                  <c:v>506.5952</c:v>
                </c:pt>
                <c:pt idx="21">
                  <c:v>489.0</c:v>
                </c:pt>
                <c:pt idx="22">
                  <c:v>492.4737</c:v>
                </c:pt>
                <c:pt idx="23">
                  <c:v>464.6111</c:v>
                </c:pt>
                <c:pt idx="24">
                  <c:v>460.28</c:v>
                </c:pt>
                <c:pt idx="25">
                  <c:v>456.5455</c:v>
                </c:pt>
                <c:pt idx="26">
                  <c:v>459.25</c:v>
                </c:pt>
                <c:pt idx="27">
                  <c:v>481.6667</c:v>
                </c:pt>
                <c:pt idx="28">
                  <c:v>520.8</c:v>
                </c:pt>
                <c:pt idx="29">
                  <c:v>496.0</c:v>
                </c:pt>
                <c:pt idx="30">
                  <c:v>418.5</c:v>
                </c:pt>
                <c:pt idx="31">
                  <c:v>558.0</c:v>
                </c:pt>
                <c:pt idx="32">
                  <c:v>438.4286</c:v>
                </c:pt>
                <c:pt idx="33">
                  <c:v>488.25</c:v>
                </c:pt>
                <c:pt idx="34">
                  <c:v>465.0</c:v>
                </c:pt>
                <c:pt idx="35">
                  <c:v>418.5</c:v>
                </c:pt>
                <c:pt idx="36">
                  <c:v>465.0</c:v>
                </c:pt>
                <c:pt idx="37">
                  <c:v>293.0</c:v>
                </c:pt>
                <c:pt idx="38">
                  <c:v>294.2308</c:v>
                </c:pt>
                <c:pt idx="39">
                  <c:v>234.2</c:v>
                </c:pt>
                <c:pt idx="40">
                  <c:v>306.0</c:v>
                </c:pt>
                <c:pt idx="41">
                  <c:v>229.5</c:v>
                </c:pt>
                <c:pt idx="42">
                  <c:v>229.5</c:v>
                </c:pt>
                <c:pt idx="43">
                  <c:v>153.0</c:v>
                </c:pt>
                <c:pt idx="44">
                  <c:v>221.5</c:v>
                </c:pt>
                <c:pt idx="45">
                  <c:v>153.0</c:v>
                </c:pt>
                <c:pt idx="46">
                  <c:v>153.0</c:v>
                </c:pt>
                <c:pt idx="47">
                  <c:v>83.0</c:v>
                </c:pt>
                <c:pt idx="48">
                  <c:v>83.0</c:v>
                </c:pt>
              </c:numCache>
            </c:numRef>
          </c:xVal>
          <c:yVal>
            <c:numRef>
              <c:f>Sheet1!$B$2:$B$50</c:f>
              <c:numCache>
                <c:formatCode>General</c:formatCode>
                <c:ptCount val="49"/>
                <c:pt idx="0">
                  <c:v>0.14683153013910355</c:v>
                </c:pt>
                <c:pt idx="1">
                  <c:v>0.15070422535211267</c:v>
                </c:pt>
                <c:pt idx="2">
                  <c:v>0.1218872870249017</c:v>
                </c:pt>
                <c:pt idx="3">
                  <c:v>0.12162162162162163</c:v>
                </c:pt>
                <c:pt idx="4">
                  <c:v>0.1232</c:v>
                </c:pt>
                <c:pt idx="5">
                  <c:v>0.08278145695364239</c:v>
                </c:pt>
                <c:pt idx="6">
                  <c:v>0.06998444790046657</c:v>
                </c:pt>
                <c:pt idx="7">
                  <c:v>0.07234726688102894</c:v>
                </c:pt>
                <c:pt idx="8">
                  <c:v>0.07291666666666667</c:v>
                </c:pt>
                <c:pt idx="9">
                  <c:v>0.05697151424287856</c:v>
                </c:pt>
                <c:pt idx="10">
                  <c:v>0.0451527224435591</c:v>
                </c:pt>
                <c:pt idx="11">
                  <c:v>0.029525032092426188</c:v>
                </c:pt>
                <c:pt idx="12">
                  <c:v>0.024783147459727387</c:v>
                </c:pt>
                <c:pt idx="13">
                  <c:v>0.023633677991137372</c:v>
                </c:pt>
                <c:pt idx="14">
                  <c:v>0.22456140350877193</c:v>
                </c:pt>
                <c:pt idx="15">
                  <c:v>0.25390625</c:v>
                </c:pt>
                <c:pt idx="16">
                  <c:v>0.20980091883614088</c:v>
                </c:pt>
                <c:pt idx="17">
                  <c:v>0.16141732283464566</c:v>
                </c:pt>
                <c:pt idx="18">
                  <c:v>0.14541387024608501</c:v>
                </c:pt>
                <c:pt idx="19">
                  <c:v>0.0970873786407767</c:v>
                </c:pt>
                <c:pt idx="20">
                  <c:v>0.08936170212765958</c:v>
                </c:pt>
                <c:pt idx="21">
                  <c:v>0.06406685236768803</c:v>
                </c:pt>
                <c:pt idx="22">
                  <c:v>0.05993690851735016</c:v>
                </c:pt>
                <c:pt idx="23">
                  <c:v>0.06143344709897611</c:v>
                </c:pt>
                <c:pt idx="24">
                  <c:v>0.0728862973760933</c:v>
                </c:pt>
                <c:pt idx="25">
                  <c:v>0.038461538461538464</c:v>
                </c:pt>
                <c:pt idx="26">
                  <c:v>0.03498542274052478</c:v>
                </c:pt>
                <c:pt idx="27">
                  <c:v>0.046296296296296294</c:v>
                </c:pt>
                <c:pt idx="28">
                  <c:v>0.042735042735042736</c:v>
                </c:pt>
                <c:pt idx="29">
                  <c:v>0.034482758620689655</c:v>
                </c:pt>
                <c:pt idx="30">
                  <c:v>0.026578073089700997</c:v>
                </c:pt>
                <c:pt idx="31">
                  <c:v>0.018518518518518517</c:v>
                </c:pt>
                <c:pt idx="32">
                  <c:v>0.024475524475524476</c:v>
                </c:pt>
                <c:pt idx="33">
                  <c:v>0.0345821325648415</c:v>
                </c:pt>
                <c:pt idx="34">
                  <c:v>0.015345268542199489</c:v>
                </c:pt>
                <c:pt idx="35">
                  <c:v>0.004405286343612335</c:v>
                </c:pt>
                <c:pt idx="36">
                  <c:v>0.008982035928143712</c:v>
                </c:pt>
                <c:pt idx="37">
                  <c:v>0.059602649006622516</c:v>
                </c:pt>
                <c:pt idx="38">
                  <c:v>0.04452054794520548</c:v>
                </c:pt>
                <c:pt idx="39">
                  <c:v>0.04983388704318937</c:v>
                </c:pt>
                <c:pt idx="40">
                  <c:v>0.002881844380403458</c:v>
                </c:pt>
                <c:pt idx="41">
                  <c:v>0.006389776357827476</c:v>
                </c:pt>
                <c:pt idx="42">
                  <c:v>0.005813953488372093</c:v>
                </c:pt>
                <c:pt idx="43">
                  <c:v>0.0024813895781637717</c:v>
                </c:pt>
                <c:pt idx="44">
                  <c:v>0.0040650406504065045</c:v>
                </c:pt>
                <c:pt idx="45">
                  <c:v>0.0012515644555694619</c:v>
                </c:pt>
                <c:pt idx="46">
                  <c:v>0.0009487666034155598</c:v>
                </c:pt>
                <c:pt idx="47">
                  <c:v>0.003134796238244514</c:v>
                </c:pt>
                <c:pt idx="48">
                  <c:v>0.0029069767441860465</c:v>
                </c:pt>
              </c:numCache>
            </c:numRef>
          </c:yVal>
          <c:smooth val="0"/>
          <c:extLst>
            <c:ext xmlns:c16="http://schemas.microsoft.com/office/drawing/2014/chart" uri="{C3380CC4-5D6E-409C-BE32-E72D297353CC}">
              <c16:uniqueId val="{00000000-F32D-48B7-BC20-E66FC6253BAD}"/>
            </c:ext>
          </c:extLst>
        </c:ser>
        <c:ser>
          <c:idx val="1"/>
          <c:order val="1"/>
          <c:tx>
            <c:strRef>
              <c:f>Sheet1!$B$5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4</c:f>
              <c:strCache>
                <c:ptCount val="1"/>
                <c:pt idx="0">
                  <c:v>Custom Linep3yQ</c:v>
                </c:pt>
              </c:strCache>
            </c:strRef>
          </c:tx>
          <c:spPr>
            <a:ln w="19050" cap="rnd">
              <a:solidFill>
                <a:srgbClr val="C00000"/>
              </a:solidFill>
              <a:prstDash val="sysDot"/>
              <a:round/>
            </a:ln>
            <a:effectLst/>
          </c:spPr>
          <c:marker>
            <c:symbol val="none"/>
          </c:marker>
          <c:xVal>
            <c:numRef>
              <c:f>Sheet1!$A$55:$A$56</c:f>
              <c:numCache>
                <c:formatCode>General</c:formatCode>
                <c:ptCount val="2"/>
                <c:pt idx="0">
                  <c:v>0</c:v>
                </c:pt>
                <c:pt idx="1">
                  <c:v>0.10966783021473049</c:v>
                </c:pt>
              </c:numCache>
            </c:numRef>
          </c:xVal>
          <c:yVal>
            <c:numRef>
              <c:f>Sheet1!$B$55:$B$56</c:f>
              <c:numCache>
                <c:formatCode>General</c:formatCode>
                <c:ptCount val="2"/>
                <c:pt idx="0">
                  <c:v>0.10966783021473049</c:v>
                </c:pt>
                <c:pt idx="1">
                  <c:v>0.10966783021473049</c:v>
                </c:pt>
              </c:numCache>
            </c:numRef>
          </c:yVal>
          <c:smooth val="0"/>
          <c:extLst>
            <c:ext xmlns:c16="http://schemas.microsoft.com/office/drawing/2014/chart" uri="{C3380CC4-5D6E-409C-BE32-E72D297353CC}">
              <c16:uniqueId val="{00000003-F32D-48B7-BC20-E66FC6253BAD}"/>
            </c:ext>
          </c:extLst>
        </c:ser>
        <c:ser>
          <c:idx val="3"/>
          <c:order val="3"/>
          <c:tx>
            <c:strRef>
              <c:f>Sheet1!$B$5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0.10966783021473049</c:v>
                </c:pt>
                <c:pt idx="1">
                  <c:v>0.10966783021473049</c:v>
                </c:pt>
              </c:numCache>
            </c:numRef>
          </c:xVal>
          <c:yVal>
            <c:numRef>
              <c:f>Sheet1!$B$59:$B$60</c:f>
              <c:numCache>
                <c:formatCode>General</c:formatCode>
                <c:ptCount val="2"/>
                <c:pt idx="0">
                  <c:v>0.1096678302147304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2</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3:$A$65</c:f>
              <c:numCache>
                <c:formatCode>General</c:formatCode>
                <c:ptCount val="3"/>
                <c:pt idx="0">
                  <c:v>0</c:v>
                </c:pt>
                <c:pt idx="1">
                  <c:v>0.10966783021473049</c:v>
                </c:pt>
                <c:pt idx="2">
                  <c:v>0</c:v>
                </c:pt>
              </c:numCache>
            </c:numRef>
          </c:xVal>
          <c:yVal>
            <c:numRef>
              <c:f>Sheet1!$B$63:$B$65</c:f>
              <c:numCache>
                <c:formatCode>General</c:formatCode>
                <c:ptCount val="3"/>
                <c:pt idx="0">
                  <c:v>0</c:v>
                </c:pt>
                <c:pt idx="1">
                  <c:v>0.10966783021473049</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46875"/>
          <c:min val="0.000759013282732447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0.46339021757832666</c:v>
                </c:pt>
                <c:pt idx="1">
                  <c:v>0.4086890424039409</c:v>
                </c:pt>
                <c:pt idx="2">
                  <c:v>0.44256307671559436</c:v>
                </c:pt>
                <c:pt idx="3">
                  <c:v>0.3968776613938071</c:v>
                </c:pt>
                <c:pt idx="4">
                  <c:v>0.4004973726718183</c:v>
                </c:pt>
                <c:pt idx="5">
                  <c:v>0.38680613978888134</c:v>
                </c:pt>
                <c:pt idx="6">
                  <c:v>0.4664749966097802</c:v>
                </c:pt>
                <c:pt idx="7">
                  <c:v>0.430886625291495</c:v>
                </c:pt>
                <c:pt idx="8">
                  <c:v>0.494506117803527</c:v>
                </c:pt>
                <c:pt idx="9">
                  <c:v>0.4015358383419614</c:v>
                </c:pt>
                <c:pt idx="10">
                  <c:v>0.39813345498441954</c:v>
                </c:pt>
                <c:pt idx="11">
                  <c:v>0.4311565514705731</c:v>
                </c:pt>
                <c:pt idx="12">
                  <c:v>0.45183569552079883</c:v>
                </c:pt>
                <c:pt idx="13">
                  <c:v>0.3851330591095738</c:v>
                </c:pt>
                <c:pt idx="14">
                  <c:v>0.5613160603531423</c:v>
                </c:pt>
                <c:pt idx="15">
                  <c:v>0.4978352996445795</c:v>
                </c:pt>
                <c:pt idx="16">
                  <c:v>0.44013943761102514</c:v>
                </c:pt>
                <c:pt idx="17">
                  <c:v>0.5017432481245843</c:v>
                </c:pt>
                <c:pt idx="18">
                  <c:v>0.3947907590485672</c:v>
                </c:pt>
                <c:pt idx="19">
                  <c:v>0.4082339625050606</c:v>
                </c:pt>
                <c:pt idx="20">
                  <c:v>0.4857510591717197</c:v>
                </c:pt>
                <c:pt idx="21">
                  <c:v>0.46717878240751276</c:v>
                </c:pt>
                <c:pt idx="22">
                  <c:v>0.4634751528405003</c:v>
                </c:pt>
                <c:pt idx="23">
                  <c:v>0.37129416104791413</c:v>
                </c:pt>
                <c:pt idx="24">
                  <c:v>0.5200413821014216</c:v>
                </c:pt>
                <c:pt idx="25">
                  <c:v>0.4501261319049986</c:v>
                </c:pt>
                <c:pt idx="26">
                  <c:v>0.4169304320729527</c:v>
                </c:pt>
                <c:pt idx="27">
                  <c:v>0.3761162867506661</c:v>
                </c:pt>
                <c:pt idx="28">
                  <c:v>0.5376002686019091</c:v>
                </c:pt>
                <c:pt idx="29">
                  <c:v>0.44672133540960507</c:v>
                </c:pt>
                <c:pt idx="30">
                  <c:v>0.47432356422676863</c:v>
                </c:pt>
                <c:pt idx="31">
                  <c:v>0.4150361694340291</c:v>
                </c:pt>
                <c:pt idx="32">
                  <c:v>0.4332948888124758</c:v>
                </c:pt>
                <c:pt idx="33">
                  <c:v>0.446663608037512</c:v>
                </c:pt>
                <c:pt idx="34">
                  <c:v>0.411926689829831</c:v>
                </c:pt>
                <c:pt idx="35">
                  <c:v>0.43960103361627545</c:v>
                </c:pt>
                <c:pt idx="36">
                  <c:v>0.41534100005519786</c:v>
                </c:pt>
                <c:pt idx="37">
                  <c:v>0.4554631514267893</c:v>
                </c:pt>
                <c:pt idx="38">
                  <c:v>0.3918987709840815</c:v>
                </c:pt>
                <c:pt idx="39">
                  <c:v>0.439567669108568</c:v>
                </c:pt>
                <c:pt idx="40">
                  <c:v>0.41327355688300155</c:v>
                </c:pt>
                <c:pt idx="41">
                  <c:v>0.41625862974636046</c:v>
                </c:pt>
                <c:pt idx="42">
                  <c:v>0.4257453435770343</c:v>
                </c:pt>
                <c:pt idx="43">
                  <c:v>0.46406875374878265</c:v>
                </c:pt>
                <c:pt idx="44">
                  <c:v>0.4629066954334847</c:v>
                </c:pt>
                <c:pt idx="45">
                  <c:v>0.39982286699944763</c:v>
                </c:pt>
                <c:pt idx="46">
                  <c:v>0.4348520086611259</c:v>
                </c:pt>
                <c:pt idx="47">
                  <c:v>0.46485944246371147</c:v>
                </c:pt>
                <c:pt idx="48">
                  <c:v>0.4319156218300334</c:v>
                </c:pt>
                <c:pt idx="49">
                  <c:v>0.4190426058863794</c:v>
                </c:pt>
                <c:pt idx="50">
                  <c:v>0.44087153193653233</c:v>
                </c:pt>
                <c:pt idx="51">
                  <c:v>0.4125463771100905</c:v>
                </c:pt>
                <c:pt idx="52">
                  <c:v>0.42827542278930886</c:v>
                </c:pt>
                <c:pt idx="53">
                  <c:v>0.4692621559469687</c:v>
                </c:pt>
                <c:pt idx="54">
                  <c:v>0.4724693802439346</c:v>
                </c:pt>
                <c:pt idx="55">
                  <c:v>0.4153197041152942</c:v>
                </c:pt>
                <c:pt idx="56">
                  <c:v>0.41044174465726524</c:v>
                </c:pt>
                <c:pt idx="57">
                  <c:v>0.3966236634067221</c:v>
                </c:pt>
                <c:pt idx="58">
                  <c:v>0.4420106729618345</c:v>
                </c:pt>
                <c:pt idx="59">
                  <c:v>0.47862797229765247</c:v>
                </c:pt>
                <c:pt idx="60">
                  <c:v>0.43591275894477605</c:v>
                </c:pt>
                <c:pt idx="61">
                  <c:v>0.4093413631888838</c:v>
                </c:pt>
                <c:pt idx="62">
                  <c:v>0.3642271328516945</c:v>
                </c:pt>
                <c:pt idx="63">
                  <c:v>0.3969562117003443</c:v>
                </c:pt>
                <c:pt idx="64">
                  <c:v>0.3723878705822794</c:v>
                </c:pt>
                <c:pt idx="65">
                  <c:v>0.5246434270299247</c:v>
                </c:pt>
                <c:pt idx="66">
                  <c:v>0.5148817477151374</c:v>
                </c:pt>
                <c:pt idx="67">
                  <c:v>0.6881655665593802</c:v>
                </c:pt>
                <c:pt idx="68">
                  <c:v>0.5742630655633233</c:v>
                </c:pt>
                <c:pt idx="69">
                  <c:v>0.5787862335610948</c:v>
                </c:pt>
                <c:pt idx="70">
                  <c:v>0.39204063963178043</c:v>
                </c:pt>
                <c:pt idx="71">
                  <c:v>0.5582346453058916</c:v>
                </c:pt>
                <c:pt idx="72">
                  <c:v>0.4403965747583346</c:v>
                </c:pt>
                <c:pt idx="73">
                  <c:v>0.4300700898705271</c:v>
                </c:pt>
                <c:pt idx="74">
                  <c:v>0.43703675810815373</c:v>
                </c:pt>
                <c:pt idx="75">
                  <c:v>0.5499256533984634</c:v>
                </c:pt>
                <c:pt idx="76">
                  <c:v>0.39119545939201894</c:v>
                </c:pt>
                <c:pt idx="77">
                  <c:v>0.5519240812656959</c:v>
                </c:pt>
                <c:pt idx="78">
                  <c:v>0.4405148780643796</c:v>
                </c:pt>
                <c:pt idx="79">
                  <c:v>0.4428947735099162</c:v>
                </c:pt>
                <c:pt idx="80">
                  <c:v>0.6737065192640875</c:v>
                </c:pt>
                <c:pt idx="81">
                  <c:v>0.44387276743804865</c:v>
                </c:pt>
                <c:pt idx="82">
                  <c:v>0.3255218897410005</c:v>
                </c:pt>
                <c:pt idx="83">
                  <c:v>0.39542998478839614</c:v>
                </c:pt>
                <c:pt idx="84">
                  <c:v>0.5608920339629753</c:v>
                </c:pt>
                <c:pt idx="85">
                  <c:v>0.4313896361195775</c:v>
                </c:pt>
                <c:pt idx="86">
                  <c:v>0.40037187195869756</c:v>
                </c:pt>
                <c:pt idx="87">
                  <c:v>0.5685940154159509</c:v>
                </c:pt>
                <c:pt idx="88">
                  <c:v>0.44776119402985076</c:v>
                </c:pt>
                <c:pt idx="89">
                  <c:v>0.3267942097782544</c:v>
                </c:pt>
                <c:pt idx="90">
                  <c:v>0.6762258467331173</c:v>
                </c:pt>
                <c:pt idx="91">
                  <c:v>0.4324540101793021</c:v>
                </c:pt>
                <c:pt idx="92">
                  <c:v>0.42756139657585673</c:v>
                </c:pt>
                <c:pt idx="93">
                  <c:v>0.42887941552601844</c:v>
                </c:pt>
                <c:pt idx="94">
                  <c:v>0.5554021052915369</c:v>
                </c:pt>
                <c:pt idx="95">
                  <c:v>0.3297414797958038</c:v>
                </c:pt>
                <c:pt idx="96">
                  <c:v>0.38876429980009536</c:v>
                </c:pt>
                <c:pt idx="97">
                  <c:v>0.4486732288879031</c:v>
                </c:pt>
                <c:pt idx="98">
                  <c:v>0.3199587811830463</c:v>
                </c:pt>
                <c:pt idx="99">
                  <c:v>0.32957669213563845</c:v>
                </c:pt>
              </c:numCache>
            </c:numRef>
          </c:xVal>
          <c:yVal>
            <c:numRef>
              <c:f>Sheet1!$B$2:$B$101</c:f>
              <c:numCache>
                <c:formatCode>General</c:formatCode>
                <c:ptCount val="100"/>
                <c:pt idx="0">
                  <c:v>0.005633802816901409</c:v>
                </c:pt>
                <c:pt idx="1">
                  <c:v>0.00655307994757536</c:v>
                </c:pt>
                <c:pt idx="2">
                  <c:v>0.008108108108108109</c:v>
                </c:pt>
                <c:pt idx="3">
                  <c:v>0.0064</c:v>
                </c:pt>
                <c:pt idx="4">
                  <c:v>0.004966887417218543</c:v>
                </c:pt>
                <c:pt idx="5">
                  <c:v>0.007776049766718507</c:v>
                </c:pt>
                <c:pt idx="6">
                  <c:v>0.00482315112540193</c:v>
                </c:pt>
                <c:pt idx="7">
                  <c:v>0.005208333333333333</c:v>
                </c:pt>
                <c:pt idx="8">
                  <c:v>0.0029985007496251873</c:v>
                </c:pt>
                <c:pt idx="9">
                  <c:v>0.00398406374501992</c:v>
                </c:pt>
                <c:pt idx="10">
                  <c:v>0.0025673940949935813</c:v>
                </c:pt>
                <c:pt idx="11">
                  <c:v>0.0037174721189591076</c:v>
                </c:pt>
                <c:pt idx="12">
                  <c:v>0.004431314623338257</c:v>
                </c:pt>
                <c:pt idx="13">
                  <c:v>0.0023391812865497076</c:v>
                </c:pt>
                <c:pt idx="14">
                  <c:v>0.0026041666666666665</c:v>
                </c:pt>
                <c:pt idx="15">
                  <c:v>0.0030627871362940277</c:v>
                </c:pt>
                <c:pt idx="16">
                  <c:v>0.003937007874015748</c:v>
                </c:pt>
                <c:pt idx="17">
                  <c:v>0.0044742729306487695</c:v>
                </c:pt>
                <c:pt idx="18">
                  <c:v>0.0048543689320388345</c:v>
                </c:pt>
                <c:pt idx="19">
                  <c:v>0.010638297872340425</c:v>
                </c:pt>
                <c:pt idx="20">
                  <c:v>0.011142061281337047</c:v>
                </c:pt>
                <c:pt idx="21">
                  <c:v>0.00946372239747634</c:v>
                </c:pt>
                <c:pt idx="22">
                  <c:v>0.010238907849829351</c:v>
                </c:pt>
                <c:pt idx="23">
                  <c:v>0.008746355685131196</c:v>
                </c:pt>
                <c:pt idx="24">
                  <c:v>0.0034965034965034965</c:v>
                </c:pt>
                <c:pt idx="25">
                  <c:v>0.008746355685131196</c:v>
                </c:pt>
                <c:pt idx="26">
                  <c:v>0.012345679012345678</c:v>
                </c:pt>
                <c:pt idx="27">
                  <c:v>0.011396011396011397</c:v>
                </c:pt>
                <c:pt idx="28">
                  <c:v>0.0049261083743842365</c:v>
                </c:pt>
                <c:pt idx="29">
                  <c:v>0.016611295681063124</c:v>
                </c:pt>
                <c:pt idx="30">
                  <c:v>0.007407407407407408</c:v>
                </c:pt>
                <c:pt idx="31">
                  <c:v>0.013986013986013986</c:v>
                </c:pt>
                <c:pt idx="32">
                  <c:v>0.01729106628242075</c:v>
                </c:pt>
                <c:pt idx="33">
                  <c:v>0.010230179028132993</c:v>
                </c:pt>
                <c:pt idx="34">
                  <c:v>0.022026431718061675</c:v>
                </c:pt>
                <c:pt idx="35">
                  <c:v>0.020958083832335328</c:v>
                </c:pt>
                <c:pt idx="36">
                  <c:v>0.033112582781456956</c:v>
                </c:pt>
                <c:pt idx="37">
                  <c:v>0.017123287671232876</c:v>
                </c:pt>
                <c:pt idx="38">
                  <c:v>0.016611295681063124</c:v>
                </c:pt>
                <c:pt idx="39">
                  <c:v>0.020172910662824207</c:v>
                </c:pt>
                <c:pt idx="40">
                  <c:v>0.022364217252396165</c:v>
                </c:pt>
                <c:pt idx="41">
                  <c:v>0.01744186046511628</c:v>
                </c:pt>
                <c:pt idx="42">
                  <c:v>0.022332506203473945</c:v>
                </c:pt>
                <c:pt idx="43">
                  <c:v>0.012096774193548387</c:v>
                </c:pt>
                <c:pt idx="44">
                  <c:v>0.009671179883945842</c:v>
                </c:pt>
                <c:pt idx="45">
                  <c:v>0.011049723756906077</c:v>
                </c:pt>
                <c:pt idx="46">
                  <c:v>0.006097560975609756</c:v>
                </c:pt>
                <c:pt idx="47">
                  <c:v>0.0050062578222778474</c:v>
                </c:pt>
                <c:pt idx="48">
                  <c:v>0.006641366223908918</c:v>
                </c:pt>
                <c:pt idx="49">
                  <c:v>0.019538188277087035</c:v>
                </c:pt>
                <c:pt idx="50">
                  <c:v>0.014925373134328358</c:v>
                </c:pt>
                <c:pt idx="51">
                  <c:v>0.011058451816745656</c:v>
                </c:pt>
                <c:pt idx="52">
                  <c:v>0.014311270125223614</c:v>
                </c:pt>
                <c:pt idx="53">
                  <c:v>0.013916500994035786</c:v>
                </c:pt>
                <c:pt idx="54">
                  <c:v>0.006787330316742082</c:v>
                </c:pt>
                <c:pt idx="55">
                  <c:v>0.016771488469601678</c:v>
                </c:pt>
                <c:pt idx="56">
                  <c:v>0.007722007722007722</c:v>
                </c:pt>
                <c:pt idx="57">
                  <c:v>0.0068143100511073255</c:v>
                </c:pt>
                <c:pt idx="58">
                  <c:v>0.002352941176470588</c:v>
                </c:pt>
                <c:pt idx="59">
                  <c:v>0.0023121387283236996</c:v>
                </c:pt>
                <c:pt idx="60">
                  <c:v>0.005201560468140442</c:v>
                </c:pt>
                <c:pt idx="61">
                  <c:v>0.003963011889035667</c:v>
                </c:pt>
                <c:pt idx="62">
                  <c:v>0.0036144578313253013</c:v>
                </c:pt>
                <c:pt idx="63">
                  <c:v>0.0024390243902439024</c:v>
                </c:pt>
                <c:pt idx="64">
                  <c:v>0.0074850299401197605</c:v>
                </c:pt>
                <c:pt idx="65">
                  <c:v>0.0017482517482517483</c:v>
                </c:pt>
                <c:pt idx="66">
                  <c:v>0.0035398230088495575</c:v>
                </c:pt>
                <c:pt idx="67">
                  <c:v>0.0021413276231263384</c:v>
                </c:pt>
                <c:pt idx="68">
                  <c:v>0.003134796238244514</c:v>
                </c:pt>
                <c:pt idx="69">
                  <c:v>0.0029069767441860465</c:v>
                </c:pt>
                <c:pt idx="70">
                  <c:v>0.0056657223796034</c:v>
                </c:pt>
                <c:pt idx="71">
                  <c:v>0.0026109660574412533</c:v>
                </c:pt>
                <c:pt idx="72">
                  <c:v>0.006006006006006006</c:v>
                </c:pt>
                <c:pt idx="73">
                  <c:v>0.0030581039755351682</c:v>
                </c:pt>
                <c:pt idx="74">
                  <c:v>0.0071174377224199285</c:v>
                </c:pt>
                <c:pt idx="75">
                  <c:v>0.0035460992907801418</c:v>
                </c:pt>
                <c:pt idx="76">
                  <c:v>0.007905138339920948</c:v>
                </c:pt>
                <c:pt idx="77">
                  <c:v>0.004424778761061947</c:v>
                </c:pt>
                <c:pt idx="78">
                  <c:v>0.0043859649122807015</c:v>
                </c:pt>
                <c:pt idx="79">
                  <c:v>0.0034965034965034965</c:v>
                </c:pt>
                <c:pt idx="80">
                  <c:v>0.004132231404958678</c:v>
                </c:pt>
                <c:pt idx="81">
                  <c:v>0.005813953488372093</c:v>
                </c:pt>
                <c:pt idx="82">
                  <c:v>0.004878048780487805</c:v>
                </c:pt>
                <c:pt idx="83">
                  <c:v>0.005449591280653951</c:v>
                </c:pt>
                <c:pt idx="84">
                  <c:v>0.004132231404958678</c:v>
                </c:pt>
                <c:pt idx="85">
                  <c:v>0.009433962264150943</c:v>
                </c:pt>
                <c:pt idx="86">
                  <c:v>0.009216589861751152</c:v>
                </c:pt>
                <c:pt idx="87">
                  <c:v>0.004347826086956522</c:v>
                </c:pt>
                <c:pt idx="88">
                  <c:v>0.0034965034965034965</c:v>
                </c:pt>
                <c:pt idx="89">
                  <c:v>0.0035842293906810036</c:v>
                </c:pt>
                <c:pt idx="90">
                  <c:v>0.004310344827586207</c:v>
                </c:pt>
                <c:pt idx="91">
                  <c:v>0.0032258064516129032</c:v>
                </c:pt>
                <c:pt idx="92">
                  <c:v>0.0025974025974025974</c:v>
                </c:pt>
                <c:pt idx="93">
                  <c:v>0.004366812227074236</c:v>
                </c:pt>
                <c:pt idx="94">
                  <c:v>0.0018656716417910447</c:v>
                </c:pt>
                <c:pt idx="95">
                  <c:v>0.001440922190201729</c:v>
                </c:pt>
                <c:pt idx="96">
                  <c:v>0.0022753128555176336</c:v>
                </c:pt>
                <c:pt idx="97">
                  <c:v>0.00186219739292365</c:v>
                </c:pt>
                <c:pt idx="98">
                  <c:v>0.0019047619047619048</c:v>
                </c:pt>
                <c:pt idx="99">
                  <c:v>0.0020876826722338203</c:v>
                </c:pt>
              </c:numCache>
            </c:numRef>
          </c:yVal>
          <c:smooth val="0"/>
          <c:extLst>
            <c:ext xmlns:c16="http://schemas.microsoft.com/office/drawing/2014/chart" uri="{C3380CC4-5D6E-409C-BE32-E72D297353CC}">
              <c16:uniqueId val="{00000000-096C-4121-9522-6AB7243CCAAE}"/>
            </c:ext>
          </c:extLst>
        </c:ser>
        <c:ser>
          <c:idx val="1"/>
          <c:order val="1"/>
          <c:tx>
            <c:strRef>
              <c:f>Sheet1!$B$10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0.3403455968282251</c:v>
                </c:pt>
                <c:pt idx="4">
                  <c:v>0.3280494523869535</c:v>
                </c:pt>
                <c:pt idx="5">
                  <c:v>0.5339845335735043</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7190015035805195</c:v>
                </c:pt>
                <c:pt idx="23">
                  <c:v>0.0</c:v>
                </c:pt>
                <c:pt idx="24">
                  <c:v>0.6035357927143283</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02074688796680498</c:v>
                </c:pt>
                <c:pt idx="4">
                  <c:v>0.002004008016032064</c:v>
                </c:pt>
                <c:pt idx="5">
                  <c:v>0.0018832391713747645</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24449877750611247</c:v>
                </c:pt>
                <c:pt idx="23">
                  <c:v>0.0</c:v>
                </c:pt>
                <c:pt idx="24">
                  <c:v>0.005154639175257732</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096C-4121-9522-6AB7243CCAAE}"/>
            </c:ext>
          </c:extLst>
        </c:ser>
        <c:ser>
          <c:idx val="2"/>
          <c:order val="2"/>
          <c:tx>
            <c:strRef>
              <c:f>Sheet1!$B$13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0:$A$141</c:f>
              <c:numCache>
                <c:formatCode>General</c:formatCode>
                <c:ptCount val="2"/>
                <c:pt idx="0">
                  <c:v>0</c:v>
                </c:pt>
                <c:pt idx="1">
                  <c:v>3.426834346072383</c:v>
                </c:pt>
              </c:numCache>
            </c:numRef>
          </c:xVal>
          <c:yVal>
            <c:numRef>
              <c:f>Sheet1!$B$140:$B$141</c:f>
              <c:numCache>
                <c:formatCode>General</c:formatCode>
                <c:ptCount val="2"/>
                <c:pt idx="0">
                  <c:v>0.017773724236766972</c:v>
                </c:pt>
                <c:pt idx="1">
                  <c:v>0.017773724236766972</c:v>
                </c:pt>
              </c:numCache>
            </c:numRef>
          </c:yVal>
          <c:smooth val="0"/>
          <c:extLst>
            <c:ext xmlns:c16="http://schemas.microsoft.com/office/drawing/2014/chart" uri="{C3380CC4-5D6E-409C-BE32-E72D297353CC}">
              <c16:uniqueId val="{00000005-096C-4121-9522-6AB7243CCAAE}"/>
            </c:ext>
          </c:extLst>
        </c:ser>
        <c:ser>
          <c:idx val="3"/>
          <c:order val="3"/>
          <c:tx>
            <c:strRef>
              <c:f>Sheet1!$B$14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4:$A$145</c:f>
              <c:numCache>
                <c:formatCode>General</c:formatCode>
                <c:ptCount val="2"/>
                <c:pt idx="0">
                  <c:v>3.426834346072383</c:v>
                </c:pt>
                <c:pt idx="1">
                  <c:v>3.426834346072383</c:v>
                </c:pt>
              </c:numCache>
            </c:numRef>
          </c:xVal>
          <c:yVal>
            <c:numRef>
              <c:f>Sheet1!$B$144:$B$145</c:f>
              <c:numCache>
                <c:formatCode>General</c:formatCode>
                <c:ptCount val="2"/>
                <c:pt idx="0">
                  <c:v>0.01777372423676697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8:$A$149</c:f>
              <c:numCache>
                <c:formatCode>General</c:formatCode>
                <c:ptCount val="2"/>
                <c:pt idx="0">
                  <c:v>0</c:v>
                </c:pt>
                <c:pt idx="1">
                  <c:v>0.18902952936295292</c:v>
                </c:pt>
              </c:numCache>
            </c:numRef>
          </c:xVal>
          <c:yVal>
            <c:numRef>
              <c:f>Sheet1!$B$148:$B$149</c:f>
              <c:numCache>
                <c:formatCode>General</c:formatCode>
                <c:ptCount val="2"/>
                <c:pt idx="0">
                  <c:v>0.0009936559973478876</c:v>
                </c:pt>
                <c:pt idx="1">
                  <c:v>0.0009936559973478876</c:v>
                </c:pt>
              </c:numCache>
            </c:numRef>
          </c:yVal>
          <c:smooth val="0"/>
          <c:extLst>
            <c:ext xmlns:c16="http://schemas.microsoft.com/office/drawing/2014/chart" uri="{C3380CC4-5D6E-409C-BE32-E72D297353CC}">
              <c16:uniqueId val="{0000000D-096C-4121-9522-6AB7243CCAAE}"/>
            </c:ext>
          </c:extLst>
        </c:ser>
        <c:ser>
          <c:idx val="5"/>
          <c:order val="5"/>
          <c:tx>
            <c:strRef>
              <c:f>Sheet1!$B$15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2:$A$153</c:f>
              <c:numCache>
                <c:formatCode>General</c:formatCode>
                <c:ptCount val="2"/>
                <c:pt idx="0">
                  <c:v>0.18902952936295292</c:v>
                </c:pt>
                <c:pt idx="1">
                  <c:v>0.18902952936295292</c:v>
                </c:pt>
              </c:numCache>
            </c:numRef>
          </c:xVal>
          <c:yVal>
            <c:numRef>
              <c:f>Sheet1!$B$152:$B$153</c:f>
              <c:numCache>
                <c:formatCode>General</c:formatCode>
                <c:ptCount val="2"/>
                <c:pt idx="0">
                  <c:v>0.00099365599734788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6:$A$157</c:f>
              <c:numCache>
                <c:formatCode>General</c:formatCode>
                <c:ptCount val="2"/>
                <c:pt idx="0">
                  <c:v>0</c:v>
                </c:pt>
                <c:pt idx="1">
                  <c:v>-0.002701763290990652</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5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0:$A$161</c:f>
              <c:numCache>
                <c:formatCode>General</c:formatCode>
                <c:ptCount val="2"/>
                <c:pt idx="0">
                  <c:v>-0.002701763290990652</c:v>
                </c:pt>
                <c:pt idx="1">
                  <c:v>-0.002701763290990652</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4:$A$200</c:f>
              <c:numCache>
                <c:formatCode>General</c:formatCode>
                <c:ptCount val="37"/>
                <c:pt idx="0">
                  <c:v>0.0</c:v>
                </c:pt>
                <c:pt idx="1">
                  <c:v>0.0</c:v>
                </c:pt>
                <c:pt idx="2">
                  <c:v>0.0</c:v>
                </c:pt>
                <c:pt idx="3">
                  <c:v>0.3403455968282251</c:v>
                </c:pt>
                <c:pt idx="4">
                  <c:v>0.3280494523869535</c:v>
                </c:pt>
                <c:pt idx="5">
                  <c:v>0.5339845335735043</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7190015035805195</c:v>
                </c:pt>
                <c:pt idx="23">
                  <c:v>0.0</c:v>
                </c:pt>
                <c:pt idx="24">
                  <c:v>0.6035357927143283</c:v>
                </c:pt>
                <c:pt idx="25">
                  <c:v>0.0</c:v>
                </c:pt>
                <c:pt idx="26">
                  <c:v>0.0</c:v>
                </c:pt>
                <c:pt idx="27">
                  <c:v>0.0</c:v>
                </c:pt>
                <c:pt idx="28">
                  <c:v>0.0</c:v>
                </c:pt>
                <c:pt idx="29">
                  <c:v>0.0</c:v>
                </c:pt>
                <c:pt idx="30">
                  <c:v>0.0</c:v>
                </c:pt>
                <c:pt idx="31">
                  <c:v>0.0</c:v>
                </c:pt>
                <c:pt idx="32">
                  <c:v>0.0</c:v>
                </c:pt>
                <c:pt idx="33">
                  <c:v>0.0</c:v>
                </c:pt>
                <c:pt idx="34">
                  <c:v>0.18902952936295292</c:v>
                </c:pt>
                <c:pt idx="35">
                  <c:v>3.426834346072383</c:v>
                </c:pt>
                <c:pt idx="36">
                  <c:v>-0.002701763290990652</c:v>
                </c:pt>
              </c:numCache>
            </c:numRef>
          </c:xVal>
          <c:yVal>
            <c:numRef>
              <c:f>Sheet1!$B$164:$B$200</c:f>
              <c:numCache>
                <c:formatCode>General</c:formatCode>
                <c:ptCount val="37"/>
                <c:pt idx="0">
                  <c:v>1.4002009063552879e-05</c:v>
                </c:pt>
                <c:pt idx="1">
                  <c:v>1.4002009063552879e-05</c:v>
                </c:pt>
                <c:pt idx="2">
                  <c:v>1.4002009063552879e-05</c:v>
                </c:pt>
                <c:pt idx="3">
                  <c:v>0.0017778582830089119</c:v>
                </c:pt>
                <c:pt idx="4">
                  <c:v>0.001714132964626075</c:v>
                </c:pt>
                <c:pt idx="5">
                  <c:v>0.0027814007311594974</c:v>
                </c:pt>
                <c:pt idx="6">
                  <c:v>1.4002009063552879e-05</c:v>
                </c:pt>
                <c:pt idx="7">
                  <c:v>1.4002009063552879e-05</c:v>
                </c:pt>
                <c:pt idx="8">
                  <c:v>1.4002009063552879e-05</c:v>
                </c:pt>
                <c:pt idx="9">
                  <c:v>1.4002009063552879e-05</c:v>
                </c:pt>
                <c:pt idx="10">
                  <c:v>1.4002009063552879e-05</c:v>
                </c:pt>
                <c:pt idx="11">
                  <c:v>1.4002009063552879e-05</c:v>
                </c:pt>
                <c:pt idx="12">
                  <c:v>1.4002009063552879e-05</c:v>
                </c:pt>
                <c:pt idx="13">
                  <c:v>1.4002009063552879e-05</c:v>
                </c:pt>
                <c:pt idx="14">
                  <c:v>1.4002009063552879e-05</c:v>
                </c:pt>
                <c:pt idx="15">
                  <c:v>1.4002009063552879e-05</c:v>
                </c:pt>
                <c:pt idx="16">
                  <c:v>1.4002009063552879e-05</c:v>
                </c:pt>
                <c:pt idx="17">
                  <c:v>1.4002009063552879e-05</c:v>
                </c:pt>
                <c:pt idx="18">
                  <c:v>1.4002009063552879e-05</c:v>
                </c:pt>
                <c:pt idx="19">
                  <c:v>1.4002009063552879e-05</c:v>
                </c:pt>
                <c:pt idx="20">
                  <c:v>1.4002009063552879e-05</c:v>
                </c:pt>
                <c:pt idx="21">
                  <c:v>1.4002009063552879e-05</c:v>
                </c:pt>
                <c:pt idx="22">
                  <c:v>0.0037402594511621013</c:v>
                </c:pt>
                <c:pt idx="23">
                  <c:v>1.4002009063552879e-05</c:v>
                </c:pt>
                <c:pt idx="24">
                  <c:v>0.0031418532416065733</c:v>
                </c:pt>
                <c:pt idx="25">
                  <c:v>1.4002009063552879e-05</c:v>
                </c:pt>
                <c:pt idx="26">
                  <c:v>1.4002009063552879e-05</c:v>
                </c:pt>
                <c:pt idx="27">
                  <c:v>1.4002009063552879e-05</c:v>
                </c:pt>
                <c:pt idx="28">
                  <c:v>1.4002009063552879e-05</c:v>
                </c:pt>
                <c:pt idx="29">
                  <c:v>1.4002009063552879e-05</c:v>
                </c:pt>
                <c:pt idx="30">
                  <c:v>1.4002009063552879e-05</c:v>
                </c:pt>
                <c:pt idx="31">
                  <c:v>1.4002009063552879e-05</c:v>
                </c:pt>
                <c:pt idx="32">
                  <c:v>1.4002009063552879e-05</c:v>
                </c:pt>
                <c:pt idx="33">
                  <c:v>1.4002009063552879e-05</c:v>
                </c:pt>
                <c:pt idx="34">
                  <c:v>0.0009936559973478876</c:v>
                </c:pt>
                <c:pt idx="35">
                  <c:v>0.017773724236766972</c:v>
                </c:pt>
                <c:pt idx="36">
                  <c:v>-1.6940658945086007e-2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973509933774834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1244.25</c:v>
                </c:pt>
                <c:pt idx="1">
                  <c:v>1116.4</c:v>
                </c:pt>
                <c:pt idx="2">
                  <c:v>1214.8333</c:v>
                </c:pt>
                <c:pt idx="3">
                  <c:v>1106.5</c:v>
                </c:pt>
                <c:pt idx="4">
                  <c:v>1102.0</c:v>
                </c:pt>
                <c:pt idx="5">
                  <c:v>1050.4</c:v>
                </c:pt>
                <c:pt idx="6">
                  <c:v>1291.6667</c:v>
                </c:pt>
                <c:pt idx="7">
                  <c:v>1199.6667</c:v>
                </c:pt>
                <c:pt idx="8">
                  <c:v>1377.5</c:v>
                </c:pt>
                <c:pt idx="9">
                  <c:v>1108.0</c:v>
                </c:pt>
                <c:pt idx="10">
                  <c:v>1102.0</c:v>
                </c:pt>
                <c:pt idx="11">
                  <c:v>1193.6667</c:v>
                </c:pt>
                <c:pt idx="12">
                  <c:v>1253.3333</c:v>
                </c:pt>
                <c:pt idx="13">
                  <c:v>1081.5</c:v>
                </c:pt>
                <c:pt idx="14">
                  <c:v>1532.5</c:v>
                </c:pt>
                <c:pt idx="15">
                  <c:v>1381.0</c:v>
                </c:pt>
                <c:pt idx="16">
                  <c:v>1225.0</c:v>
                </c:pt>
                <c:pt idx="17">
                  <c:v>1397.5</c:v>
                </c:pt>
                <c:pt idx="18">
                  <c:v>1067.5</c:v>
                </c:pt>
                <c:pt idx="19">
                  <c:v>1170.2</c:v>
                </c:pt>
                <c:pt idx="20">
                  <c:v>1398.75</c:v>
                </c:pt>
                <c:pt idx="21">
                  <c:v>1355.3333</c:v>
                </c:pt>
                <c:pt idx="22">
                  <c:v>1351.6667</c:v>
                </c:pt>
                <c:pt idx="23">
                  <c:v>1120.0</c:v>
                </c:pt>
                <c:pt idx="24">
                  <c:v>1561.0</c:v>
                </c:pt>
                <c:pt idx="25">
                  <c:v>1343.6667</c:v>
                </c:pt>
                <c:pt idx="26">
                  <c:v>1231.75</c:v>
                </c:pt>
                <c:pt idx="27">
                  <c:v>1154.5</c:v>
                </c:pt>
                <c:pt idx="28">
                  <c:v>1573.0</c:v>
                </c:pt>
                <c:pt idx="29">
                  <c:v>1300.4</c:v>
                </c:pt>
                <c:pt idx="30">
                  <c:v>1412.5</c:v>
                </c:pt>
                <c:pt idx="31">
                  <c:v>1232.5</c:v>
                </c:pt>
                <c:pt idx="32">
                  <c:v>1284.6667</c:v>
                </c:pt>
                <c:pt idx="33">
                  <c:v>1314.5</c:v>
                </c:pt>
                <c:pt idx="34">
                  <c:v>1244.1</c:v>
                </c:pt>
                <c:pt idx="35">
                  <c:v>1340.2857</c:v>
                </c:pt>
                <c:pt idx="36">
                  <c:v>1239.3</c:v>
                </c:pt>
                <c:pt idx="37">
                  <c:v>1365.6</c:v>
                </c:pt>
                <c:pt idx="38">
                  <c:v>1188.2</c:v>
                </c:pt>
                <c:pt idx="39">
                  <c:v>1283.7143</c:v>
                </c:pt>
                <c:pt idx="40">
                  <c:v>1238.4286</c:v>
                </c:pt>
                <c:pt idx="41">
                  <c:v>1233.6667</c:v>
                </c:pt>
                <c:pt idx="42">
                  <c:v>1301.8889</c:v>
                </c:pt>
                <c:pt idx="43">
                  <c:v>1376.3333</c:v>
                </c:pt>
                <c:pt idx="44">
                  <c:v>1350.2</c:v>
                </c:pt>
                <c:pt idx="45">
                  <c:v>1179.8333</c:v>
                </c:pt>
                <c:pt idx="46">
                  <c:v>1328.6667</c:v>
                </c:pt>
                <c:pt idx="47">
                  <c:v>1386.5</c:v>
                </c:pt>
                <c:pt idx="48">
                  <c:v>1289.7143</c:v>
                </c:pt>
                <c:pt idx="49">
                  <c:v>1256.4545</c:v>
                </c:pt>
                <c:pt idx="50">
                  <c:v>1356.75</c:v>
                </c:pt>
                <c:pt idx="51">
                  <c:v>1232.8571</c:v>
                </c:pt>
                <c:pt idx="52">
                  <c:v>1278.125</c:v>
                </c:pt>
                <c:pt idx="53">
                  <c:v>1385.7143</c:v>
                </c:pt>
                <c:pt idx="54">
                  <c:v>1440.3333</c:v>
                </c:pt>
                <c:pt idx="55">
                  <c:v>1268.875</c:v>
                </c:pt>
                <c:pt idx="56">
                  <c:v>1231.25</c:v>
                </c:pt>
                <c:pt idx="57">
                  <c:v>1184.25</c:v>
                </c:pt>
                <c:pt idx="58">
                  <c:v>1322.5</c:v>
                </c:pt>
                <c:pt idx="59">
                  <c:v>1467.0</c:v>
                </c:pt>
                <c:pt idx="60">
                  <c:v>1332.25</c:v>
                </c:pt>
                <c:pt idx="61">
                  <c:v>1186.0</c:v>
                </c:pt>
                <c:pt idx="62">
                  <c:v>1077.0</c:v>
                </c:pt>
                <c:pt idx="63">
                  <c:v>1192.0</c:v>
                </c:pt>
                <c:pt idx="64">
                  <c:v>1140.0</c:v>
                </c:pt>
                <c:pt idx="65">
                  <c:v>1599.0</c:v>
                </c:pt>
                <c:pt idx="66">
                  <c:v>1546.0</c:v>
                </c:pt>
                <c:pt idx="67">
                  <c:v>2084.0</c:v>
                </c:pt>
                <c:pt idx="68">
                  <c:v>1757.0</c:v>
                </c:pt>
                <c:pt idx="69">
                  <c:v>1735.0</c:v>
                </c:pt>
                <c:pt idx="70">
                  <c:v>1194.5</c:v>
                </c:pt>
                <c:pt idx="71">
                  <c:v>1705.0</c:v>
                </c:pt>
                <c:pt idx="72">
                  <c:v>1354.5</c:v>
                </c:pt>
                <c:pt idx="73">
                  <c:v>1340.0</c:v>
                </c:pt>
                <c:pt idx="74">
                  <c:v>1344.0</c:v>
                </c:pt>
                <c:pt idx="75">
                  <c:v>1676.0</c:v>
                </c:pt>
                <c:pt idx="76">
                  <c:v>1199.0</c:v>
                </c:pt>
                <c:pt idx="77">
                  <c:v>1680.0</c:v>
                </c:pt>
                <c:pt idx="78">
                  <c:v>1319.0</c:v>
                </c:pt>
                <c:pt idx="79">
                  <c:v>1335.0</c:v>
                </c:pt>
                <c:pt idx="80">
                  <c:v>1977.0</c:v>
                </c:pt>
                <c:pt idx="81">
                  <c:v>1344.0</c:v>
                </c:pt>
                <c:pt idx="82">
                  <c:v>983.0</c:v>
                </c:pt>
                <c:pt idx="83">
                  <c:v>1191.0</c:v>
                </c:pt>
                <c:pt idx="84">
                  <c:v>1748.0</c:v>
                </c:pt>
                <c:pt idx="85">
                  <c:v>1354.5</c:v>
                </c:pt>
                <c:pt idx="86">
                  <c:v>1195.5</c:v>
                </c:pt>
                <c:pt idx="87">
                  <c:v>1701.0</c:v>
                </c:pt>
                <c:pt idx="88">
                  <c:v>1344.0</c:v>
                </c:pt>
                <c:pt idx="89">
                  <c:v>1029.0</c:v>
                </c:pt>
                <c:pt idx="90">
                  <c:v>2066.0</c:v>
                </c:pt>
                <c:pt idx="91">
                  <c:v>1365.0</c:v>
                </c:pt>
                <c:pt idx="92">
                  <c:v>1344.0</c:v>
                </c:pt>
                <c:pt idx="93">
                  <c:v>1337.5</c:v>
                </c:pt>
                <c:pt idx="94">
                  <c:v>1714.0</c:v>
                </c:pt>
                <c:pt idx="95">
                  <c:v>1029.0</c:v>
                </c:pt>
                <c:pt idx="96">
                  <c:v>1208.0</c:v>
                </c:pt>
                <c:pt idx="97">
                  <c:v>1365.0</c:v>
                </c:pt>
                <c:pt idx="98">
                  <c:v>1008.0</c:v>
                </c:pt>
                <c:pt idx="99">
                  <c:v>1051.0</c:v>
                </c:pt>
              </c:numCache>
            </c:numRef>
          </c:xVal>
          <c:yVal>
            <c:numRef>
              <c:f>Sheet1!$B$2:$B$101</c:f>
              <c:numCache>
                <c:formatCode>General</c:formatCode>
                <c:ptCount val="100"/>
                <c:pt idx="0">
                  <c:v>0.005633802816901409</c:v>
                </c:pt>
                <c:pt idx="1">
                  <c:v>0.00655307994757536</c:v>
                </c:pt>
                <c:pt idx="2">
                  <c:v>0.008108108108108109</c:v>
                </c:pt>
                <c:pt idx="3">
                  <c:v>0.0064</c:v>
                </c:pt>
                <c:pt idx="4">
                  <c:v>0.004966887417218543</c:v>
                </c:pt>
                <c:pt idx="5">
                  <c:v>0.007776049766718507</c:v>
                </c:pt>
                <c:pt idx="6">
                  <c:v>0.00482315112540193</c:v>
                </c:pt>
                <c:pt idx="7">
                  <c:v>0.005208333333333333</c:v>
                </c:pt>
                <c:pt idx="8">
                  <c:v>0.0029985007496251873</c:v>
                </c:pt>
                <c:pt idx="9">
                  <c:v>0.00398406374501992</c:v>
                </c:pt>
                <c:pt idx="10">
                  <c:v>0.0025673940949935813</c:v>
                </c:pt>
                <c:pt idx="11">
                  <c:v>0.0037174721189591076</c:v>
                </c:pt>
                <c:pt idx="12">
                  <c:v>0.004431314623338257</c:v>
                </c:pt>
                <c:pt idx="13">
                  <c:v>0.0023391812865497076</c:v>
                </c:pt>
                <c:pt idx="14">
                  <c:v>0.0026041666666666665</c:v>
                </c:pt>
                <c:pt idx="15">
                  <c:v>0.0030627871362940277</c:v>
                </c:pt>
                <c:pt idx="16">
                  <c:v>0.003937007874015748</c:v>
                </c:pt>
                <c:pt idx="17">
                  <c:v>0.0044742729306487695</c:v>
                </c:pt>
                <c:pt idx="18">
                  <c:v>0.0048543689320388345</c:v>
                </c:pt>
                <c:pt idx="19">
                  <c:v>0.010638297872340425</c:v>
                </c:pt>
                <c:pt idx="20">
                  <c:v>0.011142061281337047</c:v>
                </c:pt>
                <c:pt idx="21">
                  <c:v>0.00946372239747634</c:v>
                </c:pt>
                <c:pt idx="22">
                  <c:v>0.010238907849829351</c:v>
                </c:pt>
                <c:pt idx="23">
                  <c:v>0.008746355685131196</c:v>
                </c:pt>
                <c:pt idx="24">
                  <c:v>0.0034965034965034965</c:v>
                </c:pt>
                <c:pt idx="25">
                  <c:v>0.008746355685131196</c:v>
                </c:pt>
                <c:pt idx="26">
                  <c:v>0.012345679012345678</c:v>
                </c:pt>
                <c:pt idx="27">
                  <c:v>0.011396011396011397</c:v>
                </c:pt>
                <c:pt idx="28">
                  <c:v>0.0049261083743842365</c:v>
                </c:pt>
                <c:pt idx="29">
                  <c:v>0.016611295681063124</c:v>
                </c:pt>
                <c:pt idx="30">
                  <c:v>0.007407407407407408</c:v>
                </c:pt>
                <c:pt idx="31">
                  <c:v>0.013986013986013986</c:v>
                </c:pt>
                <c:pt idx="32">
                  <c:v>0.01729106628242075</c:v>
                </c:pt>
                <c:pt idx="33">
                  <c:v>0.010230179028132993</c:v>
                </c:pt>
                <c:pt idx="34">
                  <c:v>0.022026431718061675</c:v>
                </c:pt>
                <c:pt idx="35">
                  <c:v>0.020958083832335328</c:v>
                </c:pt>
                <c:pt idx="36">
                  <c:v>0.033112582781456956</c:v>
                </c:pt>
                <c:pt idx="37">
                  <c:v>0.017123287671232876</c:v>
                </c:pt>
                <c:pt idx="38">
                  <c:v>0.016611295681063124</c:v>
                </c:pt>
                <c:pt idx="39">
                  <c:v>0.020172910662824207</c:v>
                </c:pt>
                <c:pt idx="40">
                  <c:v>0.022364217252396165</c:v>
                </c:pt>
                <c:pt idx="41">
                  <c:v>0.01744186046511628</c:v>
                </c:pt>
                <c:pt idx="42">
                  <c:v>0.022332506203473945</c:v>
                </c:pt>
                <c:pt idx="43">
                  <c:v>0.012096774193548387</c:v>
                </c:pt>
                <c:pt idx="44">
                  <c:v>0.009671179883945842</c:v>
                </c:pt>
                <c:pt idx="45">
                  <c:v>0.011049723756906077</c:v>
                </c:pt>
                <c:pt idx="46">
                  <c:v>0.006097560975609756</c:v>
                </c:pt>
                <c:pt idx="47">
                  <c:v>0.0050062578222778474</c:v>
                </c:pt>
                <c:pt idx="48">
                  <c:v>0.006641366223908918</c:v>
                </c:pt>
                <c:pt idx="49">
                  <c:v>0.019538188277087035</c:v>
                </c:pt>
                <c:pt idx="50">
                  <c:v>0.014925373134328358</c:v>
                </c:pt>
                <c:pt idx="51">
                  <c:v>0.011058451816745656</c:v>
                </c:pt>
                <c:pt idx="52">
                  <c:v>0.014311270125223614</c:v>
                </c:pt>
                <c:pt idx="53">
                  <c:v>0.013916500994035786</c:v>
                </c:pt>
                <c:pt idx="54">
                  <c:v>0.006787330316742082</c:v>
                </c:pt>
                <c:pt idx="55">
                  <c:v>0.016771488469601678</c:v>
                </c:pt>
                <c:pt idx="56">
                  <c:v>0.007722007722007722</c:v>
                </c:pt>
                <c:pt idx="57">
                  <c:v>0.0068143100511073255</c:v>
                </c:pt>
                <c:pt idx="58">
                  <c:v>0.002352941176470588</c:v>
                </c:pt>
                <c:pt idx="59">
                  <c:v>0.0023121387283236996</c:v>
                </c:pt>
                <c:pt idx="60">
                  <c:v>0.005201560468140442</c:v>
                </c:pt>
                <c:pt idx="61">
                  <c:v>0.003963011889035667</c:v>
                </c:pt>
                <c:pt idx="62">
                  <c:v>0.0036144578313253013</c:v>
                </c:pt>
                <c:pt idx="63">
                  <c:v>0.0024390243902439024</c:v>
                </c:pt>
                <c:pt idx="64">
                  <c:v>0.0074850299401197605</c:v>
                </c:pt>
                <c:pt idx="65">
                  <c:v>0.0017482517482517483</c:v>
                </c:pt>
                <c:pt idx="66">
                  <c:v>0.0035398230088495575</c:v>
                </c:pt>
                <c:pt idx="67">
                  <c:v>0.0021413276231263384</c:v>
                </c:pt>
                <c:pt idx="68">
                  <c:v>0.003134796238244514</c:v>
                </c:pt>
                <c:pt idx="69">
                  <c:v>0.0029069767441860465</c:v>
                </c:pt>
                <c:pt idx="70">
                  <c:v>0.0056657223796034</c:v>
                </c:pt>
                <c:pt idx="71">
                  <c:v>0.0026109660574412533</c:v>
                </c:pt>
                <c:pt idx="72">
                  <c:v>0.006006006006006006</c:v>
                </c:pt>
                <c:pt idx="73">
                  <c:v>0.0030581039755351682</c:v>
                </c:pt>
                <c:pt idx="74">
                  <c:v>0.0071174377224199285</c:v>
                </c:pt>
                <c:pt idx="75">
                  <c:v>0.0035460992907801418</c:v>
                </c:pt>
                <c:pt idx="76">
                  <c:v>0.007905138339920948</c:v>
                </c:pt>
                <c:pt idx="77">
                  <c:v>0.004424778761061947</c:v>
                </c:pt>
                <c:pt idx="78">
                  <c:v>0.0043859649122807015</c:v>
                </c:pt>
                <c:pt idx="79">
                  <c:v>0.0034965034965034965</c:v>
                </c:pt>
                <c:pt idx="80">
                  <c:v>0.004132231404958678</c:v>
                </c:pt>
                <c:pt idx="81">
                  <c:v>0.005813953488372093</c:v>
                </c:pt>
                <c:pt idx="82">
                  <c:v>0.004878048780487805</c:v>
                </c:pt>
                <c:pt idx="83">
                  <c:v>0.005449591280653951</c:v>
                </c:pt>
                <c:pt idx="84">
                  <c:v>0.004132231404958678</c:v>
                </c:pt>
                <c:pt idx="85">
                  <c:v>0.009433962264150943</c:v>
                </c:pt>
                <c:pt idx="86">
                  <c:v>0.009216589861751152</c:v>
                </c:pt>
                <c:pt idx="87">
                  <c:v>0.004347826086956522</c:v>
                </c:pt>
                <c:pt idx="88">
                  <c:v>0.0034965034965034965</c:v>
                </c:pt>
                <c:pt idx="89">
                  <c:v>0.0035842293906810036</c:v>
                </c:pt>
                <c:pt idx="90">
                  <c:v>0.004310344827586207</c:v>
                </c:pt>
                <c:pt idx="91">
                  <c:v>0.0032258064516129032</c:v>
                </c:pt>
                <c:pt idx="92">
                  <c:v>0.0025974025974025974</c:v>
                </c:pt>
                <c:pt idx="93">
                  <c:v>0.004366812227074236</c:v>
                </c:pt>
                <c:pt idx="94">
                  <c:v>0.0018656716417910447</c:v>
                </c:pt>
                <c:pt idx="95">
                  <c:v>0.001440922190201729</c:v>
                </c:pt>
                <c:pt idx="96">
                  <c:v>0.0022753128555176336</c:v>
                </c:pt>
                <c:pt idx="97">
                  <c:v>0.00186219739292365</c:v>
                </c:pt>
                <c:pt idx="98">
                  <c:v>0.0019047619047619048</c:v>
                </c:pt>
                <c:pt idx="99">
                  <c:v>0.0020876826722338203</c:v>
                </c:pt>
              </c:numCache>
            </c:numRef>
          </c:yVal>
          <c:smooth val="0"/>
          <c:extLst>
            <c:ext xmlns:c16="http://schemas.microsoft.com/office/drawing/2014/chart" uri="{C3380CC4-5D6E-409C-BE32-E72D297353CC}">
              <c16:uniqueId val="{00000000-F32D-48B7-BC20-E66FC6253BAD}"/>
            </c:ext>
          </c:extLst>
        </c:ser>
        <c:ser>
          <c:idx val="1"/>
          <c:order val="1"/>
          <c:tx>
            <c:strRef>
              <c:f>Sheet1!$B$10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02074688796680498</c:v>
                </c:pt>
                <c:pt idx="4">
                  <c:v>0.002004008016032064</c:v>
                </c:pt>
                <c:pt idx="5">
                  <c:v>0.0018832391713747645</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24449877750611247</c:v>
                </c:pt>
                <c:pt idx="23">
                  <c:v>0.0</c:v>
                </c:pt>
                <c:pt idx="24">
                  <c:v>0.005154639175257732</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F32D-48B7-BC20-E66FC6253BAD}"/>
            </c:ext>
          </c:extLst>
        </c:ser>
        <c:ser>
          <c:idx val="2"/>
          <c:order val="2"/>
          <c:tx>
            <c:strRef>
              <c:f>Sheet1!$B$139</c:f>
              <c:strCache>
                <c:ptCount val="1"/>
                <c:pt idx="0">
                  <c:v>Custom Linep3yQ</c:v>
                </c:pt>
              </c:strCache>
            </c:strRef>
          </c:tx>
          <c:spPr>
            <a:ln w="19050" cap="rnd">
              <a:solidFill>
                <a:srgbClr val="C00000"/>
              </a:solidFill>
              <a:prstDash val="sysDot"/>
              <a:round/>
            </a:ln>
            <a:effectLst/>
          </c:spPr>
          <c:marker>
            <c:symbol val="none"/>
          </c:marker>
          <c:xVal>
            <c:numRef>
              <c:f>Sheet1!$A$140:$A$141</c:f>
              <c:numCache>
                <c:formatCode>General</c:formatCode>
                <c:ptCount val="2"/>
                <c:pt idx="0">
                  <c:v>0</c:v>
                </c:pt>
                <c:pt idx="1">
                  <c:v>10782.201194666146</c:v>
                </c:pt>
              </c:numCache>
            </c:numRef>
          </c:xVal>
          <c:yVal>
            <c:numRef>
              <c:f>Sheet1!$B$140:$B$141</c:f>
              <c:numCache>
                <c:formatCode>General</c:formatCode>
                <c:ptCount val="2"/>
                <c:pt idx="0">
                  <c:v>0.017773724236766972</c:v>
                </c:pt>
                <c:pt idx="1">
                  <c:v>0.017773724236766972</c:v>
                </c:pt>
              </c:numCache>
            </c:numRef>
          </c:yVal>
          <c:smooth val="0"/>
          <c:extLst>
            <c:ext xmlns:c16="http://schemas.microsoft.com/office/drawing/2014/chart" uri="{C3380CC4-5D6E-409C-BE32-E72D297353CC}">
              <c16:uniqueId val="{00000003-F32D-48B7-BC20-E66FC6253BAD}"/>
            </c:ext>
          </c:extLst>
        </c:ser>
        <c:ser>
          <c:idx val="3"/>
          <c:order val="3"/>
          <c:tx>
            <c:strRef>
              <c:f>Sheet1!$B$14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4:$A$145</c:f>
              <c:numCache>
                <c:formatCode>General</c:formatCode>
                <c:ptCount val="2"/>
                <c:pt idx="0">
                  <c:v>10782.201194666146</c:v>
                </c:pt>
                <c:pt idx="1">
                  <c:v>10782.201194666146</c:v>
                </c:pt>
              </c:numCache>
            </c:numRef>
          </c:xVal>
          <c:yVal>
            <c:numRef>
              <c:f>Sheet1!$B$144:$B$145</c:f>
              <c:numCache>
                <c:formatCode>General</c:formatCode>
                <c:ptCount val="2"/>
                <c:pt idx="0">
                  <c:v>0.01777372423676697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8:$A$149</c:f>
              <c:numCache>
                <c:formatCode>General</c:formatCode>
                <c:ptCount val="2"/>
                <c:pt idx="0">
                  <c:v>0</c:v>
                </c:pt>
                <c:pt idx="1">
                  <c:v>593.7857542405086</c:v>
                </c:pt>
              </c:numCache>
            </c:numRef>
          </c:xVal>
          <c:yVal>
            <c:numRef>
              <c:f>Sheet1!$B$148:$B$149</c:f>
              <c:numCache>
                <c:formatCode>General</c:formatCode>
                <c:ptCount val="2"/>
                <c:pt idx="0">
                  <c:v>0.0009936559973478876</c:v>
                </c:pt>
                <c:pt idx="1">
                  <c:v>0.0009936559973478876</c:v>
                </c:pt>
              </c:numCache>
            </c:numRef>
          </c:yVal>
          <c:smooth val="0"/>
          <c:extLst>
            <c:ext xmlns:c16="http://schemas.microsoft.com/office/drawing/2014/chart" uri="{C3380CC4-5D6E-409C-BE32-E72D297353CC}">
              <c16:uniqueId val="{0000000A-F32D-48B7-BC20-E66FC6253BAD}"/>
            </c:ext>
          </c:extLst>
        </c:ser>
        <c:ser>
          <c:idx val="5"/>
          <c:order val="5"/>
          <c:tx>
            <c:strRef>
              <c:f>Sheet1!$B$15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2:$A$153</c:f>
              <c:numCache>
                <c:formatCode>General</c:formatCode>
                <c:ptCount val="2"/>
                <c:pt idx="0">
                  <c:v>593.7857542405086</c:v>
                </c:pt>
                <c:pt idx="1">
                  <c:v>593.7857542405086</c:v>
                </c:pt>
              </c:numCache>
            </c:numRef>
          </c:xVal>
          <c:yVal>
            <c:numRef>
              <c:f>Sheet1!$B$152:$B$153</c:f>
              <c:numCache>
                <c:formatCode>General</c:formatCode>
                <c:ptCount val="2"/>
                <c:pt idx="0">
                  <c:v>0.00099365599734788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6:$A$157</c:f>
              <c:numCache>
                <c:formatCode>General</c:formatCode>
                <c:ptCount val="2"/>
                <c:pt idx="0">
                  <c:v>0</c:v>
                </c:pt>
                <c:pt idx="1">
                  <c:v>-9.535994002943847</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5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0:$A$161</c:f>
              <c:numCache>
                <c:formatCode>General</c:formatCode>
                <c:ptCount val="2"/>
                <c:pt idx="0">
                  <c:v>-9.535994002943847</c:v>
                </c:pt>
                <c:pt idx="1">
                  <c:v>-9.535994002943847</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4:$A$200</c:f>
              <c:numCache>
                <c:formatCode>General</c:formatCode>
                <c:ptCount val="37"/>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pt idx="34">
                  <c:v>593.7857542405086</c:v>
                </c:pt>
                <c:pt idx="35">
                  <c:v>10782.201194666146</c:v>
                </c:pt>
                <c:pt idx="36">
                  <c:v>-9.535994002943847</c:v>
                </c:pt>
              </c:numCache>
            </c:numRef>
          </c:xVal>
          <c:yVal>
            <c:numRef>
              <c:f>Sheet1!$B$164:$B$200</c:f>
              <c:numCache>
                <c:formatCode>General</c:formatCode>
                <c:ptCount val="37"/>
                <c:pt idx="0">
                  <c:v>1.5705546268282524e-05</c:v>
                </c:pt>
                <c:pt idx="1">
                  <c:v>1.5705546268282524e-05</c:v>
                </c:pt>
                <c:pt idx="2">
                  <c:v>1.5705546268282524e-05</c:v>
                </c:pt>
                <c:pt idx="3">
                  <c:v>0.0017466765517942108</c:v>
                </c:pt>
                <c:pt idx="4">
                  <c:v>0.0017104430959221171</c:v>
                </c:pt>
                <c:pt idx="5">
                  <c:v>0.0028023876978856663</c:v>
                </c:pt>
                <c:pt idx="6">
                  <c:v>1.5705546268282524e-05</c:v>
                </c:pt>
                <c:pt idx="7">
                  <c:v>1.5705546268282524e-05</c:v>
                </c:pt>
                <c:pt idx="8">
                  <c:v>1.5705546268282524e-05</c:v>
                </c:pt>
                <c:pt idx="9">
                  <c:v>1.5705546268282524e-05</c:v>
                </c:pt>
                <c:pt idx="10">
                  <c:v>1.5705546268282524e-05</c:v>
                </c:pt>
                <c:pt idx="11">
                  <c:v>1.5705546268282524e-05</c:v>
                </c:pt>
                <c:pt idx="12">
                  <c:v>1.5705546268282524e-05</c:v>
                </c:pt>
                <c:pt idx="13">
                  <c:v>1.5705546268282524e-05</c:v>
                </c:pt>
                <c:pt idx="14">
                  <c:v>1.5705546268282524e-05</c:v>
                </c:pt>
                <c:pt idx="15">
                  <c:v>1.5705546268282524e-05</c:v>
                </c:pt>
                <c:pt idx="16">
                  <c:v>1.5705546268282524e-05</c:v>
                </c:pt>
                <c:pt idx="17">
                  <c:v>1.5705546268282524e-05</c:v>
                </c:pt>
                <c:pt idx="18">
                  <c:v>1.5705546268282524e-05</c:v>
                </c:pt>
                <c:pt idx="19">
                  <c:v>1.5705546268282524e-05</c:v>
                </c:pt>
                <c:pt idx="20">
                  <c:v>1.5705546268282524e-05</c:v>
                </c:pt>
                <c:pt idx="21">
                  <c:v>1.5705546268282524e-05</c:v>
                </c:pt>
                <c:pt idx="22">
                  <c:v>0.0037428105752931877</c:v>
                </c:pt>
                <c:pt idx="23">
                  <c:v>1.5705546268282524e-05</c:v>
                </c:pt>
                <c:pt idx="24">
                  <c:v>0.003103784171730809</c:v>
                </c:pt>
                <c:pt idx="25">
                  <c:v>1.5705546268282524e-05</c:v>
                </c:pt>
                <c:pt idx="26">
                  <c:v>1.5705546268282524e-05</c:v>
                </c:pt>
                <c:pt idx="27">
                  <c:v>1.5705546268282524e-05</c:v>
                </c:pt>
                <c:pt idx="28">
                  <c:v>1.5705546268282524e-05</c:v>
                </c:pt>
                <c:pt idx="29">
                  <c:v>1.5705546268282524e-05</c:v>
                </c:pt>
                <c:pt idx="30">
                  <c:v>1.5705546268282524e-05</c:v>
                </c:pt>
                <c:pt idx="31">
                  <c:v>1.5705546268282524e-05</c:v>
                </c:pt>
                <c:pt idx="32">
                  <c:v>1.5705546268282524e-05</c:v>
                </c:pt>
                <c:pt idx="33">
                  <c:v>1.5705546268282524e-05</c:v>
                </c:pt>
                <c:pt idx="34">
                  <c:v>0.0009936559973478876</c:v>
                </c:pt>
                <c:pt idx="35">
                  <c:v>0.017773724236766972</c:v>
                </c:pt>
                <c:pt idx="36">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93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973509933774834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0.28320377315510925</c:v>
                </c:pt>
                <c:pt idx="1">
                  <c:v>0.2551771428571429</c:v>
                </c:pt>
                <c:pt idx="2">
                  <c:v>0.26651010395078994</c:v>
                </c:pt>
                <c:pt idx="3">
                  <c:v>0.235820883116706</c:v>
                </c:pt>
                <c:pt idx="4">
                  <c:v>0.2228867429331705</c:v>
                </c:pt>
                <c:pt idx="5">
                  <c:v>0.22933385196901585</c:v>
                </c:pt>
                <c:pt idx="6">
                  <c:v>0.2854274745158204</c:v>
                </c:pt>
                <c:pt idx="7">
                  <c:v>0.2556301182445171</c:v>
                </c:pt>
                <c:pt idx="8">
                  <c:v>0.2854629303123128</c:v>
                </c:pt>
                <c:pt idx="9">
                  <c:v>0.2437680735985976</c:v>
                </c:pt>
                <c:pt idx="10">
                  <c:v>0.2408479947546716</c:v>
                </c:pt>
                <c:pt idx="11">
                  <c:v>0.2715480417307072</c:v>
                </c:pt>
                <c:pt idx="12">
                  <c:v>0.2809216081880881</c:v>
                </c:pt>
                <c:pt idx="13">
                  <c:v>0.2465984744549632</c:v>
                </c:pt>
                <c:pt idx="14">
                  <c:v>0.34263533682182684</c:v>
                </c:pt>
                <c:pt idx="15">
                  <c:v>0.3315823416676311</c:v>
                </c:pt>
                <c:pt idx="16">
                  <c:v>0.2598836896381148</c:v>
                </c:pt>
                <c:pt idx="17">
                  <c:v>0.33405180965486464</c:v>
                </c:pt>
                <c:pt idx="18">
                  <c:v>0.25082236842105265</c:v>
                </c:pt>
                <c:pt idx="19">
                  <c:v>0.27284871946817113</c:v>
                </c:pt>
                <c:pt idx="20">
                  <c:v>0.3146004712338326</c:v>
                </c:pt>
                <c:pt idx="21">
                  <c:v>0.30984161545478434</c:v>
                </c:pt>
                <c:pt idx="22">
                  <c:v>0.29288975855837396</c:v>
                </c:pt>
                <c:pt idx="23">
                  <c:v>0.26453568684435447</c:v>
                </c:pt>
                <c:pt idx="24">
                  <c:v>0.28922651787317977</c:v>
                </c:pt>
                <c:pt idx="25">
                  <c:v>0.24034690016722204</c:v>
                </c:pt>
                <c:pt idx="26">
                  <c:v>0.20313672458007967</c:v>
                </c:pt>
                <c:pt idx="27">
                  <c:v>0.20450295128137438</c:v>
                </c:pt>
                <c:pt idx="28">
                  <c:v>0.2880559073848067</c:v>
                </c:pt>
                <c:pt idx="29">
                  <c:v>0.22415000109799718</c:v>
                </c:pt>
                <c:pt idx="30">
                  <c:v>0.2440080434725076</c:v>
                </c:pt>
                <c:pt idx="31">
                  <c:v>0.2152886637566277</c:v>
                </c:pt>
                <c:pt idx="32">
                  <c:v>0.23444819652797802</c:v>
                </c:pt>
                <c:pt idx="33">
                  <c:v>0.23600851483531213</c:v>
                </c:pt>
                <c:pt idx="34">
                  <c:v>0.22059767732154095</c:v>
                </c:pt>
                <c:pt idx="35">
                  <c:v>0.2241454765988572</c:v>
                </c:pt>
                <c:pt idx="36">
                  <c:v>0.2181194174330092</c:v>
                </c:pt>
                <c:pt idx="37">
                  <c:v>0.23857018473309094</c:v>
                </c:pt>
                <c:pt idx="38">
                  <c:v>0.22770318336217565</c:v>
                </c:pt>
                <c:pt idx="39">
                  <c:v>0.2430995723203324</c:v>
                </c:pt>
                <c:pt idx="40">
                  <c:v>0.23939741289360747</c:v>
                </c:pt>
                <c:pt idx="41">
                  <c:v>0.21373843146546104</c:v>
                </c:pt>
                <c:pt idx="42">
                  <c:v>0.22220843304834748</c:v>
                </c:pt>
                <c:pt idx="43">
                  <c:v>0.24826636686142137</c:v>
                </c:pt>
                <c:pt idx="44">
                  <c:v>0.2481265134279317</c:v>
                </c:pt>
                <c:pt idx="45">
                  <c:v>0.21092283806528112</c:v>
                </c:pt>
                <c:pt idx="46">
                  <c:v>0.2283781436621672</c:v>
                </c:pt>
                <c:pt idx="47">
                  <c:v>0.2555269427221384</c:v>
                </c:pt>
                <c:pt idx="48">
                  <c:v>0.24667799367117396</c:v>
                </c:pt>
                <c:pt idx="49">
                  <c:v>0.2291105349841754</c:v>
                </c:pt>
                <c:pt idx="50">
                  <c:v>0.23316099440573435</c:v>
                </c:pt>
                <c:pt idx="51">
                  <c:v>0.21899213714667526</c:v>
                </c:pt>
                <c:pt idx="52">
                  <c:v>0.23440931173464613</c:v>
                </c:pt>
                <c:pt idx="53">
                  <c:v>0.2550876924155372</c:v>
                </c:pt>
                <c:pt idx="54">
                  <c:v>0.2412904706070591</c:v>
                </c:pt>
                <c:pt idx="55">
                  <c:v>0.21116324884945048</c:v>
                </c:pt>
                <c:pt idx="56">
                  <c:v>0.20912461345491373</c:v>
                </c:pt>
                <c:pt idx="57">
                  <c:v>0.2093721238957532</c:v>
                </c:pt>
                <c:pt idx="58">
                  <c:v>0.23406311587580825</c:v>
                </c:pt>
                <c:pt idx="59">
                  <c:v>0.2633027428912612</c:v>
                </c:pt>
                <c:pt idx="60">
                  <c:v>0.24290049131262223</c:v>
                </c:pt>
                <c:pt idx="61">
                  <c:v>0.20883538124950224</c:v>
                </c:pt>
                <c:pt idx="62">
                  <c:v>0.1872796041190871</c:v>
                </c:pt>
                <c:pt idx="63">
                  <c:v>0.20310658680965504</c:v>
                </c:pt>
                <c:pt idx="64">
                  <c:v>0.19418436892822527</c:v>
                </c:pt>
                <c:pt idx="65">
                  <c:v>0.27267864821308085</c:v>
                </c:pt>
                <c:pt idx="66">
                  <c:v>0.2615361949261403</c:v>
                </c:pt>
                <c:pt idx="67">
                  <c:v>0.3613290528670871</c:v>
                </c:pt>
                <c:pt idx="68">
                  <c:v>0.2925580557067836</c:v>
                </c:pt>
                <c:pt idx="69">
                  <c:v>0.2794619318889259</c:v>
                </c:pt>
                <c:pt idx="70">
                  <c:v>0.19102908849266997</c:v>
                </c:pt>
                <c:pt idx="71">
                  <c:v>0.28240984210722464</c:v>
                </c:pt>
                <c:pt idx="72">
                  <c:v>0.22216698710434224</c:v>
                </c:pt>
                <c:pt idx="73">
                  <c:v>0.21379014735661406</c:v>
                </c:pt>
                <c:pt idx="74">
                  <c:v>0.22425696110126186</c:v>
                </c:pt>
                <c:pt idx="75">
                  <c:v>0.28601380057544407</c:v>
                </c:pt>
                <c:pt idx="76">
                  <c:v>0.1967815531752993</c:v>
                </c:pt>
                <c:pt idx="77">
                  <c:v>0.24614153006116982</c:v>
                </c:pt>
                <c:pt idx="78">
                  <c:v>0.19999472644686445</c:v>
                </c:pt>
                <c:pt idx="79">
                  <c:v>0.22182167670668687</c:v>
                </c:pt>
                <c:pt idx="80">
                  <c:v>0.3607463387394253</c:v>
                </c:pt>
                <c:pt idx="81">
                  <c:v>0.19433978999329962</c:v>
                </c:pt>
                <c:pt idx="82">
                  <c:v>0.16112582333574646</c:v>
                </c:pt>
                <c:pt idx="83">
                  <c:v>0.2089768194875604</c:v>
                </c:pt>
                <c:pt idx="84">
                  <c:v>0.2859441627607261</c:v>
                </c:pt>
                <c:pt idx="85">
                  <c:v>0.20181617572516597</c:v>
                </c:pt>
                <c:pt idx="86">
                  <c:v>0.1754862385321101</c:v>
                </c:pt>
                <c:pt idx="87">
                  <c:v>0.2779824695854739</c:v>
                </c:pt>
                <c:pt idx="88">
                  <c:v>0.23076575581099165</c:v>
                </c:pt>
                <c:pt idx="89">
                  <c:v>0.15720986918641647</c:v>
                </c:pt>
                <c:pt idx="90">
                  <c:v>0.33270235296089873</c:v>
                </c:pt>
                <c:pt idx="91">
                  <c:v>0.20892089784926726</c:v>
                </c:pt>
                <c:pt idx="92">
                  <c:v>0.21873413963880062</c:v>
                </c:pt>
                <c:pt idx="93">
                  <c:v>0.21950207771230223</c:v>
                </c:pt>
                <c:pt idx="94">
                  <c:v>0.2837175601289627</c:v>
                </c:pt>
                <c:pt idx="95">
                  <c:v>0.17520902317274697</c:v>
                </c:pt>
                <c:pt idx="96">
                  <c:v>0.21384432780841375</c:v>
                </c:pt>
                <c:pt idx="97">
                  <c:v>0.2409631960934658</c:v>
                </c:pt>
                <c:pt idx="98">
                  <c:v>0.17574099849549665</c:v>
                </c:pt>
                <c:pt idx="99">
                  <c:v>0.176295539897291</c:v>
                </c:pt>
              </c:numCache>
            </c:numRef>
          </c:xVal>
          <c:yVal>
            <c:numRef>
              <c:f>Sheet1!$B$2:$B$101</c:f>
              <c:numCache>
                <c:formatCode>General</c:formatCode>
                <c:ptCount val="100"/>
                <c:pt idx="0">
                  <c:v>0.005633802816901409</c:v>
                </c:pt>
                <c:pt idx="1">
                  <c:v>0.00655307994757536</c:v>
                </c:pt>
                <c:pt idx="2">
                  <c:v>0.008108108108108109</c:v>
                </c:pt>
                <c:pt idx="3">
                  <c:v>0.0064</c:v>
                </c:pt>
                <c:pt idx="4">
                  <c:v>0.004966887417218543</c:v>
                </c:pt>
                <c:pt idx="5">
                  <c:v>0.007776049766718507</c:v>
                </c:pt>
                <c:pt idx="6">
                  <c:v>0.00482315112540193</c:v>
                </c:pt>
                <c:pt idx="7">
                  <c:v>0.005208333333333333</c:v>
                </c:pt>
                <c:pt idx="8">
                  <c:v>0.0029985007496251873</c:v>
                </c:pt>
                <c:pt idx="9">
                  <c:v>0.00398406374501992</c:v>
                </c:pt>
                <c:pt idx="10">
                  <c:v>0.0025673940949935813</c:v>
                </c:pt>
                <c:pt idx="11">
                  <c:v>0.0037174721189591076</c:v>
                </c:pt>
                <c:pt idx="12">
                  <c:v>0.004431314623338257</c:v>
                </c:pt>
                <c:pt idx="13">
                  <c:v>0.0023391812865497076</c:v>
                </c:pt>
                <c:pt idx="14">
                  <c:v>0.0026041666666666665</c:v>
                </c:pt>
                <c:pt idx="15">
                  <c:v>0.0030627871362940277</c:v>
                </c:pt>
                <c:pt idx="16">
                  <c:v>0.003937007874015748</c:v>
                </c:pt>
                <c:pt idx="17">
                  <c:v>0.0044742729306487695</c:v>
                </c:pt>
                <c:pt idx="18">
                  <c:v>0.0048543689320388345</c:v>
                </c:pt>
                <c:pt idx="19">
                  <c:v>0.010638297872340425</c:v>
                </c:pt>
                <c:pt idx="20">
                  <c:v>0.011142061281337047</c:v>
                </c:pt>
                <c:pt idx="21">
                  <c:v>0.00946372239747634</c:v>
                </c:pt>
                <c:pt idx="22">
                  <c:v>0.010238907849829351</c:v>
                </c:pt>
                <c:pt idx="23">
                  <c:v>0.008746355685131196</c:v>
                </c:pt>
                <c:pt idx="24">
                  <c:v>0.0034965034965034965</c:v>
                </c:pt>
                <c:pt idx="25">
                  <c:v>0.008746355685131196</c:v>
                </c:pt>
                <c:pt idx="26">
                  <c:v>0.012345679012345678</c:v>
                </c:pt>
                <c:pt idx="27">
                  <c:v>0.011396011396011397</c:v>
                </c:pt>
                <c:pt idx="28">
                  <c:v>0.0049261083743842365</c:v>
                </c:pt>
                <c:pt idx="29">
                  <c:v>0.016611295681063124</c:v>
                </c:pt>
                <c:pt idx="30">
                  <c:v>0.007407407407407408</c:v>
                </c:pt>
                <c:pt idx="31">
                  <c:v>0.013986013986013986</c:v>
                </c:pt>
                <c:pt idx="32">
                  <c:v>0.01729106628242075</c:v>
                </c:pt>
                <c:pt idx="33">
                  <c:v>0.010230179028132993</c:v>
                </c:pt>
                <c:pt idx="34">
                  <c:v>0.022026431718061675</c:v>
                </c:pt>
                <c:pt idx="35">
                  <c:v>0.020958083832335328</c:v>
                </c:pt>
                <c:pt idx="36">
                  <c:v>0.033112582781456956</c:v>
                </c:pt>
                <c:pt idx="37">
                  <c:v>0.017123287671232876</c:v>
                </c:pt>
                <c:pt idx="38">
                  <c:v>0.016611295681063124</c:v>
                </c:pt>
                <c:pt idx="39">
                  <c:v>0.020172910662824207</c:v>
                </c:pt>
                <c:pt idx="40">
                  <c:v>0.022364217252396165</c:v>
                </c:pt>
                <c:pt idx="41">
                  <c:v>0.01744186046511628</c:v>
                </c:pt>
                <c:pt idx="42">
                  <c:v>0.022332506203473945</c:v>
                </c:pt>
                <c:pt idx="43">
                  <c:v>0.012096774193548387</c:v>
                </c:pt>
                <c:pt idx="44">
                  <c:v>0.009671179883945842</c:v>
                </c:pt>
                <c:pt idx="45">
                  <c:v>0.011049723756906077</c:v>
                </c:pt>
                <c:pt idx="46">
                  <c:v>0.006097560975609756</c:v>
                </c:pt>
                <c:pt idx="47">
                  <c:v>0.0050062578222778474</c:v>
                </c:pt>
                <c:pt idx="48">
                  <c:v>0.006641366223908918</c:v>
                </c:pt>
                <c:pt idx="49">
                  <c:v>0.019538188277087035</c:v>
                </c:pt>
                <c:pt idx="50">
                  <c:v>0.014925373134328358</c:v>
                </c:pt>
                <c:pt idx="51">
                  <c:v>0.011058451816745656</c:v>
                </c:pt>
                <c:pt idx="52">
                  <c:v>0.014311270125223614</c:v>
                </c:pt>
                <c:pt idx="53">
                  <c:v>0.013916500994035786</c:v>
                </c:pt>
                <c:pt idx="54">
                  <c:v>0.006787330316742082</c:v>
                </c:pt>
                <c:pt idx="55">
                  <c:v>0.016771488469601678</c:v>
                </c:pt>
                <c:pt idx="56">
                  <c:v>0.007722007722007722</c:v>
                </c:pt>
                <c:pt idx="57">
                  <c:v>0.0068143100511073255</c:v>
                </c:pt>
                <c:pt idx="58">
                  <c:v>0.002352941176470588</c:v>
                </c:pt>
                <c:pt idx="59">
                  <c:v>0.0023121387283236996</c:v>
                </c:pt>
                <c:pt idx="60">
                  <c:v>0.005201560468140442</c:v>
                </c:pt>
                <c:pt idx="61">
                  <c:v>0.003963011889035667</c:v>
                </c:pt>
                <c:pt idx="62">
                  <c:v>0.0036144578313253013</c:v>
                </c:pt>
                <c:pt idx="63">
                  <c:v>0.0024390243902439024</c:v>
                </c:pt>
                <c:pt idx="64">
                  <c:v>0.0074850299401197605</c:v>
                </c:pt>
                <c:pt idx="65">
                  <c:v>0.0017482517482517483</c:v>
                </c:pt>
                <c:pt idx="66">
                  <c:v>0.0035398230088495575</c:v>
                </c:pt>
                <c:pt idx="67">
                  <c:v>0.0021413276231263384</c:v>
                </c:pt>
                <c:pt idx="68">
                  <c:v>0.003134796238244514</c:v>
                </c:pt>
                <c:pt idx="69">
                  <c:v>0.0029069767441860465</c:v>
                </c:pt>
                <c:pt idx="70">
                  <c:v>0.0056657223796034</c:v>
                </c:pt>
                <c:pt idx="71">
                  <c:v>0.0026109660574412533</c:v>
                </c:pt>
                <c:pt idx="72">
                  <c:v>0.006006006006006006</c:v>
                </c:pt>
                <c:pt idx="73">
                  <c:v>0.0030581039755351682</c:v>
                </c:pt>
                <c:pt idx="74">
                  <c:v>0.0071174377224199285</c:v>
                </c:pt>
                <c:pt idx="75">
                  <c:v>0.0035460992907801418</c:v>
                </c:pt>
                <c:pt idx="76">
                  <c:v>0.007905138339920948</c:v>
                </c:pt>
                <c:pt idx="77">
                  <c:v>0.004424778761061947</c:v>
                </c:pt>
                <c:pt idx="78">
                  <c:v>0.0043859649122807015</c:v>
                </c:pt>
                <c:pt idx="79">
                  <c:v>0.0034965034965034965</c:v>
                </c:pt>
                <c:pt idx="80">
                  <c:v>0.004132231404958678</c:v>
                </c:pt>
                <c:pt idx="81">
                  <c:v>0.005813953488372093</c:v>
                </c:pt>
                <c:pt idx="82">
                  <c:v>0.004878048780487805</c:v>
                </c:pt>
                <c:pt idx="83">
                  <c:v>0.005449591280653951</c:v>
                </c:pt>
                <c:pt idx="84">
                  <c:v>0.004132231404958678</c:v>
                </c:pt>
                <c:pt idx="85">
                  <c:v>0.009433962264150943</c:v>
                </c:pt>
                <c:pt idx="86">
                  <c:v>0.009216589861751152</c:v>
                </c:pt>
                <c:pt idx="87">
                  <c:v>0.004347826086956522</c:v>
                </c:pt>
                <c:pt idx="88">
                  <c:v>0.0034965034965034965</c:v>
                </c:pt>
                <c:pt idx="89">
                  <c:v>0.0035842293906810036</c:v>
                </c:pt>
                <c:pt idx="90">
                  <c:v>0.004310344827586207</c:v>
                </c:pt>
                <c:pt idx="91">
                  <c:v>0.0032258064516129032</c:v>
                </c:pt>
                <c:pt idx="92">
                  <c:v>0.0025974025974025974</c:v>
                </c:pt>
                <c:pt idx="93">
                  <c:v>0.004366812227074236</c:v>
                </c:pt>
                <c:pt idx="94">
                  <c:v>0.0018656716417910447</c:v>
                </c:pt>
                <c:pt idx="95">
                  <c:v>0.001440922190201729</c:v>
                </c:pt>
                <c:pt idx="96">
                  <c:v>0.0022753128555176336</c:v>
                </c:pt>
                <c:pt idx="97">
                  <c:v>0.00186219739292365</c:v>
                </c:pt>
                <c:pt idx="98">
                  <c:v>0.0019047619047619048</c:v>
                </c:pt>
                <c:pt idx="99">
                  <c:v>0.0020876826722338203</c:v>
                </c:pt>
              </c:numCache>
            </c:numRef>
          </c:yVal>
          <c:smooth val="0"/>
          <c:extLst>
            <c:ext xmlns:c16="http://schemas.microsoft.com/office/drawing/2014/chart" uri="{C3380CC4-5D6E-409C-BE32-E72D297353CC}">
              <c16:uniqueId val="{00000000-096C-4121-9522-6AB7243CCAAE}"/>
            </c:ext>
          </c:extLst>
        </c:ser>
        <c:ser>
          <c:idx val="1"/>
          <c:order val="1"/>
          <c:tx>
            <c:strRef>
              <c:f>Sheet1!$B$10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0.17844181752583885</c:v>
                </c:pt>
                <c:pt idx="4">
                  <c:v>0.16931939199035356</c:v>
                </c:pt>
                <c:pt idx="5">
                  <c:v>0.27190218283618756</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3589058652402841</c:v>
                </c:pt>
                <c:pt idx="23">
                  <c:v>0.0</c:v>
                </c:pt>
                <c:pt idx="24">
                  <c:v>0.2772592003844661</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02074688796680498</c:v>
                </c:pt>
                <c:pt idx="4">
                  <c:v>0.002004008016032064</c:v>
                </c:pt>
                <c:pt idx="5">
                  <c:v>0.0018832391713747645</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24449877750611247</c:v>
                </c:pt>
                <c:pt idx="23">
                  <c:v>0.0</c:v>
                </c:pt>
                <c:pt idx="24">
                  <c:v>0.005154639175257732</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096C-4121-9522-6AB7243CCAAE}"/>
            </c:ext>
          </c:extLst>
        </c:ser>
        <c:ser>
          <c:idx val="2"/>
          <c:order val="2"/>
          <c:tx>
            <c:strRef>
              <c:f>Sheet1!$B$13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0:$A$141</c:f>
              <c:numCache>
                <c:formatCode>General</c:formatCode>
                <c:ptCount val="2"/>
                <c:pt idx="0">
                  <c:v>0</c:v>
                </c:pt>
                <c:pt idx="1">
                  <c:v>1.722799396061222</c:v>
                </c:pt>
              </c:numCache>
            </c:numRef>
          </c:xVal>
          <c:yVal>
            <c:numRef>
              <c:f>Sheet1!$B$140:$B$141</c:f>
              <c:numCache>
                <c:formatCode>General</c:formatCode>
                <c:ptCount val="2"/>
                <c:pt idx="0">
                  <c:v>0.017773724236766972</c:v>
                </c:pt>
                <c:pt idx="1">
                  <c:v>0.017773724236766972</c:v>
                </c:pt>
              </c:numCache>
            </c:numRef>
          </c:yVal>
          <c:smooth val="0"/>
          <c:extLst>
            <c:ext xmlns:c16="http://schemas.microsoft.com/office/drawing/2014/chart" uri="{C3380CC4-5D6E-409C-BE32-E72D297353CC}">
              <c16:uniqueId val="{00000005-096C-4121-9522-6AB7243CCAAE}"/>
            </c:ext>
          </c:extLst>
        </c:ser>
        <c:ser>
          <c:idx val="3"/>
          <c:order val="3"/>
          <c:tx>
            <c:strRef>
              <c:f>Sheet1!$B$14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4:$A$145</c:f>
              <c:numCache>
                <c:formatCode>General</c:formatCode>
                <c:ptCount val="2"/>
                <c:pt idx="0">
                  <c:v>1.722799396061222</c:v>
                </c:pt>
                <c:pt idx="1">
                  <c:v>1.722799396061222</c:v>
                </c:pt>
              </c:numCache>
            </c:numRef>
          </c:xVal>
          <c:yVal>
            <c:numRef>
              <c:f>Sheet1!$B$144:$B$145</c:f>
              <c:numCache>
                <c:formatCode>General</c:formatCode>
                <c:ptCount val="2"/>
                <c:pt idx="0">
                  <c:v>0.01777372423676697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8:$A$149</c:f>
              <c:numCache>
                <c:formatCode>General</c:formatCode>
                <c:ptCount val="2"/>
                <c:pt idx="0">
                  <c:v>0</c:v>
                </c:pt>
                <c:pt idx="1">
                  <c:v>0.09464761847593721</c:v>
                </c:pt>
              </c:numCache>
            </c:numRef>
          </c:xVal>
          <c:yVal>
            <c:numRef>
              <c:f>Sheet1!$B$148:$B$149</c:f>
              <c:numCache>
                <c:formatCode>General</c:formatCode>
                <c:ptCount val="2"/>
                <c:pt idx="0">
                  <c:v>0.0009936559973478876</c:v>
                </c:pt>
                <c:pt idx="1">
                  <c:v>0.0009936559973478876</c:v>
                </c:pt>
              </c:numCache>
            </c:numRef>
          </c:yVal>
          <c:smooth val="0"/>
          <c:extLst>
            <c:ext xmlns:c16="http://schemas.microsoft.com/office/drawing/2014/chart" uri="{C3380CC4-5D6E-409C-BE32-E72D297353CC}">
              <c16:uniqueId val="{0000000D-096C-4121-9522-6AB7243CCAAE}"/>
            </c:ext>
          </c:extLst>
        </c:ser>
        <c:ser>
          <c:idx val="5"/>
          <c:order val="5"/>
          <c:tx>
            <c:strRef>
              <c:f>Sheet1!$B$15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2:$A$153</c:f>
              <c:numCache>
                <c:formatCode>General</c:formatCode>
                <c:ptCount val="2"/>
                <c:pt idx="0">
                  <c:v>0.09464761847593721</c:v>
                </c:pt>
                <c:pt idx="1">
                  <c:v>0.09464761847593721</c:v>
                </c:pt>
              </c:numCache>
            </c:numRef>
          </c:xVal>
          <c:yVal>
            <c:numRef>
              <c:f>Sheet1!$B$152:$B$153</c:f>
              <c:numCache>
                <c:formatCode>General</c:formatCode>
                <c:ptCount val="2"/>
                <c:pt idx="0">
                  <c:v>0.00099365599734788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6:$A$157</c:f>
              <c:numCache>
                <c:formatCode>General</c:formatCode>
                <c:ptCount val="2"/>
                <c:pt idx="0">
                  <c:v>0</c:v>
                </c:pt>
                <c:pt idx="1">
                  <c:v>-0.001765742620516241</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5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0:$A$161</c:f>
              <c:numCache>
                <c:formatCode>General</c:formatCode>
                <c:ptCount val="2"/>
                <c:pt idx="0">
                  <c:v>-0.001765742620516241</c:v>
                </c:pt>
                <c:pt idx="1">
                  <c:v>-0.001765742620516241</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4:$A$200</c:f>
              <c:numCache>
                <c:formatCode>General</c:formatCode>
                <c:ptCount val="37"/>
                <c:pt idx="0">
                  <c:v>0.0</c:v>
                </c:pt>
                <c:pt idx="1">
                  <c:v>0.0</c:v>
                </c:pt>
                <c:pt idx="2">
                  <c:v>0.0</c:v>
                </c:pt>
                <c:pt idx="3">
                  <c:v>0.17844181752583885</c:v>
                </c:pt>
                <c:pt idx="4">
                  <c:v>0.16931939199035356</c:v>
                </c:pt>
                <c:pt idx="5">
                  <c:v>0.27190218283618756</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3589058652402841</c:v>
                </c:pt>
                <c:pt idx="23">
                  <c:v>0.0</c:v>
                </c:pt>
                <c:pt idx="24">
                  <c:v>0.2772592003844661</c:v>
                </c:pt>
                <c:pt idx="25">
                  <c:v>0.0</c:v>
                </c:pt>
                <c:pt idx="26">
                  <c:v>0.0</c:v>
                </c:pt>
                <c:pt idx="27">
                  <c:v>0.0</c:v>
                </c:pt>
                <c:pt idx="28">
                  <c:v>0.0</c:v>
                </c:pt>
                <c:pt idx="29">
                  <c:v>0.0</c:v>
                </c:pt>
                <c:pt idx="30">
                  <c:v>0.0</c:v>
                </c:pt>
                <c:pt idx="31">
                  <c:v>0.0</c:v>
                </c:pt>
                <c:pt idx="32">
                  <c:v>0.0</c:v>
                </c:pt>
                <c:pt idx="33">
                  <c:v>0.0</c:v>
                </c:pt>
                <c:pt idx="34">
                  <c:v>0.09464761847593721</c:v>
                </c:pt>
                <c:pt idx="35">
                  <c:v>1.722799396061222</c:v>
                </c:pt>
                <c:pt idx="36">
                  <c:v>-0.001765742620516241</c:v>
                </c:pt>
              </c:numCache>
            </c:numRef>
          </c:xVal>
          <c:yVal>
            <c:numRef>
              <c:f>Sheet1!$B$164:$B$200</c:f>
              <c:numCache>
                <c:formatCode>General</c:formatCode>
                <c:ptCount val="37"/>
                <c:pt idx="0">
                  <c:v>1.8198107862804078e-05</c:v>
                </c:pt>
                <c:pt idx="1">
                  <c:v>1.8198107862804078e-05</c:v>
                </c:pt>
                <c:pt idx="2">
                  <c:v>1.8198107862804078e-05</c:v>
                </c:pt>
                <c:pt idx="3">
                  <c:v>0.0018572563062884732</c:v>
                </c:pt>
                <c:pt idx="4">
                  <c:v>0.0017632387060242717</c:v>
                </c:pt>
                <c:pt idx="5">
                  <c:v>0.002820478119622482</c:v>
                </c:pt>
                <c:pt idx="6">
                  <c:v>1.8198107862804078e-05</c:v>
                </c:pt>
                <c:pt idx="7">
                  <c:v>1.8198107862804078e-05</c:v>
                </c:pt>
                <c:pt idx="8">
                  <c:v>1.8198107862804078e-05</c:v>
                </c:pt>
                <c:pt idx="9">
                  <c:v>1.8198107862804078e-05</c:v>
                </c:pt>
                <c:pt idx="10">
                  <c:v>1.8198107862804078e-05</c:v>
                </c:pt>
                <c:pt idx="11">
                  <c:v>1.8198107862804078e-05</c:v>
                </c:pt>
                <c:pt idx="12">
                  <c:v>1.8198107862804078e-05</c:v>
                </c:pt>
                <c:pt idx="13">
                  <c:v>1.8198107862804078e-05</c:v>
                </c:pt>
                <c:pt idx="14">
                  <c:v>1.8198107862804078e-05</c:v>
                </c:pt>
                <c:pt idx="15">
                  <c:v>1.8198107862804078e-05</c:v>
                </c:pt>
                <c:pt idx="16">
                  <c:v>1.8198107862804078e-05</c:v>
                </c:pt>
                <c:pt idx="17">
                  <c:v>1.8198107862804078e-05</c:v>
                </c:pt>
                <c:pt idx="18">
                  <c:v>1.8198107862804078e-05</c:v>
                </c:pt>
                <c:pt idx="19">
                  <c:v>1.8198107862804078e-05</c:v>
                </c:pt>
                <c:pt idx="20">
                  <c:v>1.8198107862804078e-05</c:v>
                </c:pt>
                <c:pt idx="21">
                  <c:v>1.8198107862804078e-05</c:v>
                </c:pt>
                <c:pt idx="22">
                  <c:v>0.00371715602638785</c:v>
                </c:pt>
                <c:pt idx="23">
                  <c:v>1.8198107862804078e-05</c:v>
                </c:pt>
                <c:pt idx="24">
                  <c:v>0.0028756886480617886</c:v>
                </c:pt>
                <c:pt idx="25">
                  <c:v>1.8198107862804078e-05</c:v>
                </c:pt>
                <c:pt idx="26">
                  <c:v>1.8198107862804078e-05</c:v>
                </c:pt>
                <c:pt idx="27">
                  <c:v>1.8198107862804078e-05</c:v>
                </c:pt>
                <c:pt idx="28">
                  <c:v>1.8198107862804078e-05</c:v>
                </c:pt>
                <c:pt idx="29">
                  <c:v>1.8198107862804078e-05</c:v>
                </c:pt>
                <c:pt idx="30">
                  <c:v>1.8198107862804078e-05</c:v>
                </c:pt>
                <c:pt idx="31">
                  <c:v>1.8198107862804078e-05</c:v>
                </c:pt>
                <c:pt idx="32">
                  <c:v>1.8198107862804078e-05</c:v>
                </c:pt>
                <c:pt idx="33">
                  <c:v>1.8198107862804078e-05</c:v>
                </c:pt>
                <c:pt idx="34">
                  <c:v>0.0009936559973478876</c:v>
                </c:pt>
                <c:pt idx="35">
                  <c:v>0.017773724236766972</c:v>
                </c:pt>
                <c:pt idx="36">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973509933774834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1244.25</c:v>
                </c:pt>
                <c:pt idx="1">
                  <c:v>1116.4</c:v>
                </c:pt>
                <c:pt idx="2">
                  <c:v>1214.8333</c:v>
                </c:pt>
                <c:pt idx="3">
                  <c:v>1106.5</c:v>
                </c:pt>
                <c:pt idx="4">
                  <c:v>1102.0</c:v>
                </c:pt>
                <c:pt idx="5">
                  <c:v>1050.4</c:v>
                </c:pt>
                <c:pt idx="6">
                  <c:v>1291.6667</c:v>
                </c:pt>
                <c:pt idx="7">
                  <c:v>1199.6667</c:v>
                </c:pt>
                <c:pt idx="8">
                  <c:v>1377.5</c:v>
                </c:pt>
                <c:pt idx="9">
                  <c:v>1108.0</c:v>
                </c:pt>
                <c:pt idx="10">
                  <c:v>1102.0</c:v>
                </c:pt>
                <c:pt idx="11">
                  <c:v>1193.6667</c:v>
                </c:pt>
                <c:pt idx="12">
                  <c:v>1253.3333</c:v>
                </c:pt>
                <c:pt idx="13">
                  <c:v>1081.5</c:v>
                </c:pt>
                <c:pt idx="14">
                  <c:v>1532.5</c:v>
                </c:pt>
                <c:pt idx="15">
                  <c:v>1381.0</c:v>
                </c:pt>
                <c:pt idx="16">
                  <c:v>1225.0</c:v>
                </c:pt>
                <c:pt idx="17">
                  <c:v>1397.5</c:v>
                </c:pt>
                <c:pt idx="18">
                  <c:v>1067.5</c:v>
                </c:pt>
                <c:pt idx="19">
                  <c:v>1170.2</c:v>
                </c:pt>
                <c:pt idx="20">
                  <c:v>1398.75</c:v>
                </c:pt>
                <c:pt idx="21">
                  <c:v>1355.3333</c:v>
                </c:pt>
                <c:pt idx="22">
                  <c:v>1351.6667</c:v>
                </c:pt>
                <c:pt idx="23">
                  <c:v>1120.0</c:v>
                </c:pt>
                <c:pt idx="24">
                  <c:v>1561.0</c:v>
                </c:pt>
                <c:pt idx="25">
                  <c:v>1343.6667</c:v>
                </c:pt>
                <c:pt idx="26">
                  <c:v>1231.75</c:v>
                </c:pt>
                <c:pt idx="27">
                  <c:v>1154.5</c:v>
                </c:pt>
                <c:pt idx="28">
                  <c:v>1573.0</c:v>
                </c:pt>
                <c:pt idx="29">
                  <c:v>1300.4</c:v>
                </c:pt>
                <c:pt idx="30">
                  <c:v>1412.5</c:v>
                </c:pt>
                <c:pt idx="31">
                  <c:v>1232.5</c:v>
                </c:pt>
                <c:pt idx="32">
                  <c:v>1284.6667</c:v>
                </c:pt>
                <c:pt idx="33">
                  <c:v>1314.5</c:v>
                </c:pt>
                <c:pt idx="34">
                  <c:v>1244.1</c:v>
                </c:pt>
                <c:pt idx="35">
                  <c:v>1340.2857</c:v>
                </c:pt>
                <c:pt idx="36">
                  <c:v>1239.3</c:v>
                </c:pt>
                <c:pt idx="37">
                  <c:v>1365.6</c:v>
                </c:pt>
                <c:pt idx="38">
                  <c:v>1188.2</c:v>
                </c:pt>
                <c:pt idx="39">
                  <c:v>1283.7143</c:v>
                </c:pt>
                <c:pt idx="40">
                  <c:v>1238.4286</c:v>
                </c:pt>
                <c:pt idx="41">
                  <c:v>1233.6667</c:v>
                </c:pt>
                <c:pt idx="42">
                  <c:v>1301.8889</c:v>
                </c:pt>
                <c:pt idx="43">
                  <c:v>1376.3333</c:v>
                </c:pt>
                <c:pt idx="44">
                  <c:v>1350.2</c:v>
                </c:pt>
                <c:pt idx="45">
                  <c:v>1179.8333</c:v>
                </c:pt>
                <c:pt idx="46">
                  <c:v>1328.6667</c:v>
                </c:pt>
                <c:pt idx="47">
                  <c:v>1386.5</c:v>
                </c:pt>
                <c:pt idx="48">
                  <c:v>1289.7143</c:v>
                </c:pt>
                <c:pt idx="49">
                  <c:v>1256.4545</c:v>
                </c:pt>
                <c:pt idx="50">
                  <c:v>1356.75</c:v>
                </c:pt>
                <c:pt idx="51">
                  <c:v>1232.8571</c:v>
                </c:pt>
                <c:pt idx="52">
                  <c:v>1278.125</c:v>
                </c:pt>
                <c:pt idx="53">
                  <c:v>1385.7143</c:v>
                </c:pt>
                <c:pt idx="54">
                  <c:v>1440.3333</c:v>
                </c:pt>
                <c:pt idx="55">
                  <c:v>1268.875</c:v>
                </c:pt>
                <c:pt idx="56">
                  <c:v>1231.25</c:v>
                </c:pt>
                <c:pt idx="57">
                  <c:v>1184.25</c:v>
                </c:pt>
                <c:pt idx="58">
                  <c:v>1322.5</c:v>
                </c:pt>
                <c:pt idx="59">
                  <c:v>1467.0</c:v>
                </c:pt>
                <c:pt idx="60">
                  <c:v>1332.25</c:v>
                </c:pt>
                <c:pt idx="61">
                  <c:v>1186.0</c:v>
                </c:pt>
                <c:pt idx="62">
                  <c:v>1077.0</c:v>
                </c:pt>
                <c:pt idx="63">
                  <c:v>1192.0</c:v>
                </c:pt>
                <c:pt idx="64">
                  <c:v>1140.0</c:v>
                </c:pt>
                <c:pt idx="65">
                  <c:v>1599.0</c:v>
                </c:pt>
                <c:pt idx="66">
                  <c:v>1546.0</c:v>
                </c:pt>
                <c:pt idx="67">
                  <c:v>2084.0</c:v>
                </c:pt>
                <c:pt idx="68">
                  <c:v>1757.0</c:v>
                </c:pt>
                <c:pt idx="69">
                  <c:v>1735.0</c:v>
                </c:pt>
                <c:pt idx="70">
                  <c:v>1194.5</c:v>
                </c:pt>
                <c:pt idx="71">
                  <c:v>1705.0</c:v>
                </c:pt>
                <c:pt idx="72">
                  <c:v>1354.5</c:v>
                </c:pt>
                <c:pt idx="73">
                  <c:v>1340.0</c:v>
                </c:pt>
                <c:pt idx="74">
                  <c:v>1344.0</c:v>
                </c:pt>
                <c:pt idx="75">
                  <c:v>1676.0</c:v>
                </c:pt>
                <c:pt idx="76">
                  <c:v>1199.0</c:v>
                </c:pt>
                <c:pt idx="77">
                  <c:v>1680.0</c:v>
                </c:pt>
                <c:pt idx="78">
                  <c:v>1319.0</c:v>
                </c:pt>
                <c:pt idx="79">
                  <c:v>1335.0</c:v>
                </c:pt>
                <c:pt idx="80">
                  <c:v>1977.0</c:v>
                </c:pt>
                <c:pt idx="81">
                  <c:v>1344.0</c:v>
                </c:pt>
                <c:pt idx="82">
                  <c:v>983.0</c:v>
                </c:pt>
                <c:pt idx="83">
                  <c:v>1191.0</c:v>
                </c:pt>
                <c:pt idx="84">
                  <c:v>1748.0</c:v>
                </c:pt>
                <c:pt idx="85">
                  <c:v>1354.5</c:v>
                </c:pt>
                <c:pt idx="86">
                  <c:v>1195.5</c:v>
                </c:pt>
                <c:pt idx="87">
                  <c:v>1701.0</c:v>
                </c:pt>
                <c:pt idx="88">
                  <c:v>1344.0</c:v>
                </c:pt>
                <c:pt idx="89">
                  <c:v>1029.0</c:v>
                </c:pt>
                <c:pt idx="90">
                  <c:v>2066.0</c:v>
                </c:pt>
                <c:pt idx="91">
                  <c:v>1365.0</c:v>
                </c:pt>
                <c:pt idx="92">
                  <c:v>1344.0</c:v>
                </c:pt>
                <c:pt idx="93">
                  <c:v>1337.5</c:v>
                </c:pt>
                <c:pt idx="94">
                  <c:v>1714.0</c:v>
                </c:pt>
                <c:pt idx="95">
                  <c:v>1029.0</c:v>
                </c:pt>
                <c:pt idx="96">
                  <c:v>1208.0</c:v>
                </c:pt>
                <c:pt idx="97">
                  <c:v>1365.0</c:v>
                </c:pt>
                <c:pt idx="98">
                  <c:v>1008.0</c:v>
                </c:pt>
                <c:pt idx="99">
                  <c:v>1051.0</c:v>
                </c:pt>
              </c:numCache>
            </c:numRef>
          </c:xVal>
          <c:yVal>
            <c:numRef>
              <c:f>Sheet1!$B$2:$B$101</c:f>
              <c:numCache>
                <c:formatCode>General</c:formatCode>
                <c:ptCount val="100"/>
                <c:pt idx="0">
                  <c:v>0.005633802816901409</c:v>
                </c:pt>
                <c:pt idx="1">
                  <c:v>0.00655307994757536</c:v>
                </c:pt>
                <c:pt idx="2">
                  <c:v>0.008108108108108109</c:v>
                </c:pt>
                <c:pt idx="3">
                  <c:v>0.0064</c:v>
                </c:pt>
                <c:pt idx="4">
                  <c:v>0.004966887417218543</c:v>
                </c:pt>
                <c:pt idx="5">
                  <c:v>0.007776049766718507</c:v>
                </c:pt>
                <c:pt idx="6">
                  <c:v>0.00482315112540193</c:v>
                </c:pt>
                <c:pt idx="7">
                  <c:v>0.005208333333333333</c:v>
                </c:pt>
                <c:pt idx="8">
                  <c:v>0.0029985007496251873</c:v>
                </c:pt>
                <c:pt idx="9">
                  <c:v>0.00398406374501992</c:v>
                </c:pt>
                <c:pt idx="10">
                  <c:v>0.0025673940949935813</c:v>
                </c:pt>
                <c:pt idx="11">
                  <c:v>0.0037174721189591076</c:v>
                </c:pt>
                <c:pt idx="12">
                  <c:v>0.004431314623338257</c:v>
                </c:pt>
                <c:pt idx="13">
                  <c:v>0.0023391812865497076</c:v>
                </c:pt>
                <c:pt idx="14">
                  <c:v>0.0026041666666666665</c:v>
                </c:pt>
                <c:pt idx="15">
                  <c:v>0.0030627871362940277</c:v>
                </c:pt>
                <c:pt idx="16">
                  <c:v>0.003937007874015748</c:v>
                </c:pt>
                <c:pt idx="17">
                  <c:v>0.0044742729306487695</c:v>
                </c:pt>
                <c:pt idx="18">
                  <c:v>0.0048543689320388345</c:v>
                </c:pt>
                <c:pt idx="19">
                  <c:v>0.010638297872340425</c:v>
                </c:pt>
                <c:pt idx="20">
                  <c:v>0.011142061281337047</c:v>
                </c:pt>
                <c:pt idx="21">
                  <c:v>0.00946372239747634</c:v>
                </c:pt>
                <c:pt idx="22">
                  <c:v>0.010238907849829351</c:v>
                </c:pt>
                <c:pt idx="23">
                  <c:v>0.008746355685131196</c:v>
                </c:pt>
                <c:pt idx="24">
                  <c:v>0.0034965034965034965</c:v>
                </c:pt>
                <c:pt idx="25">
                  <c:v>0.008746355685131196</c:v>
                </c:pt>
                <c:pt idx="26">
                  <c:v>0.012345679012345678</c:v>
                </c:pt>
                <c:pt idx="27">
                  <c:v>0.011396011396011397</c:v>
                </c:pt>
                <c:pt idx="28">
                  <c:v>0.0049261083743842365</c:v>
                </c:pt>
                <c:pt idx="29">
                  <c:v>0.016611295681063124</c:v>
                </c:pt>
                <c:pt idx="30">
                  <c:v>0.007407407407407408</c:v>
                </c:pt>
                <c:pt idx="31">
                  <c:v>0.013986013986013986</c:v>
                </c:pt>
                <c:pt idx="32">
                  <c:v>0.01729106628242075</c:v>
                </c:pt>
                <c:pt idx="33">
                  <c:v>0.010230179028132993</c:v>
                </c:pt>
                <c:pt idx="34">
                  <c:v>0.022026431718061675</c:v>
                </c:pt>
                <c:pt idx="35">
                  <c:v>0.020958083832335328</c:v>
                </c:pt>
                <c:pt idx="36">
                  <c:v>0.033112582781456956</c:v>
                </c:pt>
                <c:pt idx="37">
                  <c:v>0.017123287671232876</c:v>
                </c:pt>
                <c:pt idx="38">
                  <c:v>0.016611295681063124</c:v>
                </c:pt>
                <c:pt idx="39">
                  <c:v>0.020172910662824207</c:v>
                </c:pt>
                <c:pt idx="40">
                  <c:v>0.022364217252396165</c:v>
                </c:pt>
                <c:pt idx="41">
                  <c:v>0.01744186046511628</c:v>
                </c:pt>
                <c:pt idx="42">
                  <c:v>0.022332506203473945</c:v>
                </c:pt>
                <c:pt idx="43">
                  <c:v>0.012096774193548387</c:v>
                </c:pt>
                <c:pt idx="44">
                  <c:v>0.009671179883945842</c:v>
                </c:pt>
                <c:pt idx="45">
                  <c:v>0.011049723756906077</c:v>
                </c:pt>
                <c:pt idx="46">
                  <c:v>0.006097560975609756</c:v>
                </c:pt>
                <c:pt idx="47">
                  <c:v>0.0050062578222778474</c:v>
                </c:pt>
                <c:pt idx="48">
                  <c:v>0.006641366223908918</c:v>
                </c:pt>
                <c:pt idx="49">
                  <c:v>0.019538188277087035</c:v>
                </c:pt>
                <c:pt idx="50">
                  <c:v>0.014925373134328358</c:v>
                </c:pt>
                <c:pt idx="51">
                  <c:v>0.011058451816745656</c:v>
                </c:pt>
                <c:pt idx="52">
                  <c:v>0.014311270125223614</c:v>
                </c:pt>
                <c:pt idx="53">
                  <c:v>0.013916500994035786</c:v>
                </c:pt>
                <c:pt idx="54">
                  <c:v>0.006787330316742082</c:v>
                </c:pt>
                <c:pt idx="55">
                  <c:v>0.016771488469601678</c:v>
                </c:pt>
                <c:pt idx="56">
                  <c:v>0.007722007722007722</c:v>
                </c:pt>
                <c:pt idx="57">
                  <c:v>0.0068143100511073255</c:v>
                </c:pt>
                <c:pt idx="58">
                  <c:v>0.002352941176470588</c:v>
                </c:pt>
                <c:pt idx="59">
                  <c:v>0.0023121387283236996</c:v>
                </c:pt>
                <c:pt idx="60">
                  <c:v>0.005201560468140442</c:v>
                </c:pt>
                <c:pt idx="61">
                  <c:v>0.003963011889035667</c:v>
                </c:pt>
                <c:pt idx="62">
                  <c:v>0.0036144578313253013</c:v>
                </c:pt>
                <c:pt idx="63">
                  <c:v>0.0024390243902439024</c:v>
                </c:pt>
                <c:pt idx="64">
                  <c:v>0.0074850299401197605</c:v>
                </c:pt>
                <c:pt idx="65">
                  <c:v>0.0017482517482517483</c:v>
                </c:pt>
                <c:pt idx="66">
                  <c:v>0.0035398230088495575</c:v>
                </c:pt>
                <c:pt idx="67">
                  <c:v>0.0021413276231263384</c:v>
                </c:pt>
                <c:pt idx="68">
                  <c:v>0.003134796238244514</c:v>
                </c:pt>
                <c:pt idx="69">
                  <c:v>0.0029069767441860465</c:v>
                </c:pt>
                <c:pt idx="70">
                  <c:v>0.0056657223796034</c:v>
                </c:pt>
                <c:pt idx="71">
                  <c:v>0.0026109660574412533</c:v>
                </c:pt>
                <c:pt idx="72">
                  <c:v>0.006006006006006006</c:v>
                </c:pt>
                <c:pt idx="73">
                  <c:v>0.0030581039755351682</c:v>
                </c:pt>
                <c:pt idx="74">
                  <c:v>0.0071174377224199285</c:v>
                </c:pt>
                <c:pt idx="75">
                  <c:v>0.0035460992907801418</c:v>
                </c:pt>
                <c:pt idx="76">
                  <c:v>0.007905138339920948</c:v>
                </c:pt>
                <c:pt idx="77">
                  <c:v>0.004424778761061947</c:v>
                </c:pt>
                <c:pt idx="78">
                  <c:v>0.0043859649122807015</c:v>
                </c:pt>
                <c:pt idx="79">
                  <c:v>0.0034965034965034965</c:v>
                </c:pt>
                <c:pt idx="80">
                  <c:v>0.004132231404958678</c:v>
                </c:pt>
                <c:pt idx="81">
                  <c:v>0.005813953488372093</c:v>
                </c:pt>
                <c:pt idx="82">
                  <c:v>0.004878048780487805</c:v>
                </c:pt>
                <c:pt idx="83">
                  <c:v>0.005449591280653951</c:v>
                </c:pt>
                <c:pt idx="84">
                  <c:v>0.004132231404958678</c:v>
                </c:pt>
                <c:pt idx="85">
                  <c:v>0.009433962264150943</c:v>
                </c:pt>
                <c:pt idx="86">
                  <c:v>0.009216589861751152</c:v>
                </c:pt>
                <c:pt idx="87">
                  <c:v>0.004347826086956522</c:v>
                </c:pt>
                <c:pt idx="88">
                  <c:v>0.0034965034965034965</c:v>
                </c:pt>
                <c:pt idx="89">
                  <c:v>0.0035842293906810036</c:v>
                </c:pt>
                <c:pt idx="90">
                  <c:v>0.004310344827586207</c:v>
                </c:pt>
                <c:pt idx="91">
                  <c:v>0.0032258064516129032</c:v>
                </c:pt>
                <c:pt idx="92">
                  <c:v>0.0025974025974025974</c:v>
                </c:pt>
                <c:pt idx="93">
                  <c:v>0.004366812227074236</c:v>
                </c:pt>
                <c:pt idx="94">
                  <c:v>0.0018656716417910447</c:v>
                </c:pt>
                <c:pt idx="95">
                  <c:v>0.001440922190201729</c:v>
                </c:pt>
                <c:pt idx="96">
                  <c:v>0.0022753128555176336</c:v>
                </c:pt>
                <c:pt idx="97">
                  <c:v>0.00186219739292365</c:v>
                </c:pt>
                <c:pt idx="98">
                  <c:v>0.0019047619047619048</c:v>
                </c:pt>
                <c:pt idx="99">
                  <c:v>0.0020876826722338203</c:v>
                </c:pt>
              </c:numCache>
            </c:numRef>
          </c:yVal>
          <c:smooth val="0"/>
          <c:extLst>
            <c:ext xmlns:c16="http://schemas.microsoft.com/office/drawing/2014/chart" uri="{C3380CC4-5D6E-409C-BE32-E72D297353CC}">
              <c16:uniqueId val="{00000000-F32D-48B7-BC20-E66FC6253BAD}"/>
            </c:ext>
          </c:extLst>
        </c:ser>
        <c:ser>
          <c:idx val="1"/>
          <c:order val="1"/>
          <c:tx>
            <c:strRef>
              <c:f>Sheet1!$B$10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02074688796680498</c:v>
                </c:pt>
                <c:pt idx="4">
                  <c:v>0.002004008016032064</c:v>
                </c:pt>
                <c:pt idx="5">
                  <c:v>0.0018832391713747645</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24449877750611247</c:v>
                </c:pt>
                <c:pt idx="23">
                  <c:v>0.0</c:v>
                </c:pt>
                <c:pt idx="24">
                  <c:v>0.005154639175257732</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F32D-48B7-BC20-E66FC6253BAD}"/>
            </c:ext>
          </c:extLst>
        </c:ser>
        <c:ser>
          <c:idx val="2"/>
          <c:order val="2"/>
          <c:tx>
            <c:strRef>
              <c:f>Sheet1!$B$139</c:f>
              <c:strCache>
                <c:ptCount val="1"/>
                <c:pt idx="0">
                  <c:v>Custom Linep3yQ</c:v>
                </c:pt>
              </c:strCache>
            </c:strRef>
          </c:tx>
          <c:spPr>
            <a:ln w="19050" cap="rnd">
              <a:solidFill>
                <a:srgbClr val="C00000"/>
              </a:solidFill>
              <a:prstDash val="sysDot"/>
              <a:round/>
            </a:ln>
            <a:effectLst/>
          </c:spPr>
          <c:marker>
            <c:symbol val="none"/>
          </c:marker>
          <c:xVal>
            <c:numRef>
              <c:f>Sheet1!$A$140:$A$141</c:f>
              <c:numCache>
                <c:formatCode>General</c:formatCode>
                <c:ptCount val="2"/>
                <c:pt idx="0">
                  <c:v>0</c:v>
                </c:pt>
                <c:pt idx="1">
                  <c:v>10782.201194666146</c:v>
                </c:pt>
              </c:numCache>
            </c:numRef>
          </c:xVal>
          <c:yVal>
            <c:numRef>
              <c:f>Sheet1!$B$140:$B$141</c:f>
              <c:numCache>
                <c:formatCode>General</c:formatCode>
                <c:ptCount val="2"/>
                <c:pt idx="0">
                  <c:v>0.017773724236766972</c:v>
                </c:pt>
                <c:pt idx="1">
                  <c:v>0.017773724236766972</c:v>
                </c:pt>
              </c:numCache>
            </c:numRef>
          </c:yVal>
          <c:smooth val="0"/>
          <c:extLst>
            <c:ext xmlns:c16="http://schemas.microsoft.com/office/drawing/2014/chart" uri="{C3380CC4-5D6E-409C-BE32-E72D297353CC}">
              <c16:uniqueId val="{00000003-F32D-48B7-BC20-E66FC6253BAD}"/>
            </c:ext>
          </c:extLst>
        </c:ser>
        <c:ser>
          <c:idx val="3"/>
          <c:order val="3"/>
          <c:tx>
            <c:strRef>
              <c:f>Sheet1!$B$14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4:$A$145</c:f>
              <c:numCache>
                <c:formatCode>General</c:formatCode>
                <c:ptCount val="2"/>
                <c:pt idx="0">
                  <c:v>10782.201194666146</c:v>
                </c:pt>
                <c:pt idx="1">
                  <c:v>10782.201194666146</c:v>
                </c:pt>
              </c:numCache>
            </c:numRef>
          </c:xVal>
          <c:yVal>
            <c:numRef>
              <c:f>Sheet1!$B$144:$B$145</c:f>
              <c:numCache>
                <c:formatCode>General</c:formatCode>
                <c:ptCount val="2"/>
                <c:pt idx="0">
                  <c:v>0.01777372423676697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8:$A$149</c:f>
              <c:numCache>
                <c:formatCode>General</c:formatCode>
                <c:ptCount val="2"/>
                <c:pt idx="0">
                  <c:v>0</c:v>
                </c:pt>
                <c:pt idx="1">
                  <c:v>593.7857542405086</c:v>
                </c:pt>
              </c:numCache>
            </c:numRef>
          </c:xVal>
          <c:yVal>
            <c:numRef>
              <c:f>Sheet1!$B$148:$B$149</c:f>
              <c:numCache>
                <c:formatCode>General</c:formatCode>
                <c:ptCount val="2"/>
                <c:pt idx="0">
                  <c:v>0.0009936559973478876</c:v>
                </c:pt>
                <c:pt idx="1">
                  <c:v>0.0009936559973478876</c:v>
                </c:pt>
              </c:numCache>
            </c:numRef>
          </c:yVal>
          <c:smooth val="0"/>
          <c:extLst>
            <c:ext xmlns:c16="http://schemas.microsoft.com/office/drawing/2014/chart" uri="{C3380CC4-5D6E-409C-BE32-E72D297353CC}">
              <c16:uniqueId val="{0000000A-F32D-48B7-BC20-E66FC6253BAD}"/>
            </c:ext>
          </c:extLst>
        </c:ser>
        <c:ser>
          <c:idx val="5"/>
          <c:order val="5"/>
          <c:tx>
            <c:strRef>
              <c:f>Sheet1!$B$15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2:$A$153</c:f>
              <c:numCache>
                <c:formatCode>General</c:formatCode>
                <c:ptCount val="2"/>
                <c:pt idx="0">
                  <c:v>593.7857542405086</c:v>
                </c:pt>
                <c:pt idx="1">
                  <c:v>593.7857542405086</c:v>
                </c:pt>
              </c:numCache>
            </c:numRef>
          </c:xVal>
          <c:yVal>
            <c:numRef>
              <c:f>Sheet1!$B$152:$B$153</c:f>
              <c:numCache>
                <c:formatCode>General</c:formatCode>
                <c:ptCount val="2"/>
                <c:pt idx="0">
                  <c:v>0.00099365599734788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6:$A$157</c:f>
              <c:numCache>
                <c:formatCode>General</c:formatCode>
                <c:ptCount val="2"/>
                <c:pt idx="0">
                  <c:v>0</c:v>
                </c:pt>
                <c:pt idx="1">
                  <c:v>-9.535994002943847</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5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0:$A$161</c:f>
              <c:numCache>
                <c:formatCode>General</c:formatCode>
                <c:ptCount val="2"/>
                <c:pt idx="0">
                  <c:v>-9.535994002943847</c:v>
                </c:pt>
                <c:pt idx="1">
                  <c:v>-9.535994002943847</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4:$A$200</c:f>
              <c:numCache>
                <c:formatCode>General</c:formatCode>
                <c:ptCount val="37"/>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pt idx="34">
                  <c:v>593.7857542405086</c:v>
                </c:pt>
                <c:pt idx="35">
                  <c:v>10782.201194666146</c:v>
                </c:pt>
                <c:pt idx="36">
                  <c:v>-9.535994002943847</c:v>
                </c:pt>
              </c:numCache>
            </c:numRef>
          </c:xVal>
          <c:yVal>
            <c:numRef>
              <c:f>Sheet1!$B$164:$B$200</c:f>
              <c:numCache>
                <c:formatCode>General</c:formatCode>
                <c:ptCount val="37"/>
                <c:pt idx="0">
                  <c:v>1.5705546268282524e-05</c:v>
                </c:pt>
                <c:pt idx="1">
                  <c:v>1.5705546268282524e-05</c:v>
                </c:pt>
                <c:pt idx="2">
                  <c:v>1.5705546268282524e-05</c:v>
                </c:pt>
                <c:pt idx="3">
                  <c:v>0.0017466765517942108</c:v>
                </c:pt>
                <c:pt idx="4">
                  <c:v>0.0017104430959221171</c:v>
                </c:pt>
                <c:pt idx="5">
                  <c:v>0.0028023876978856663</c:v>
                </c:pt>
                <c:pt idx="6">
                  <c:v>1.5705546268282524e-05</c:v>
                </c:pt>
                <c:pt idx="7">
                  <c:v>1.5705546268282524e-05</c:v>
                </c:pt>
                <c:pt idx="8">
                  <c:v>1.5705546268282524e-05</c:v>
                </c:pt>
                <c:pt idx="9">
                  <c:v>1.5705546268282524e-05</c:v>
                </c:pt>
                <c:pt idx="10">
                  <c:v>1.5705546268282524e-05</c:v>
                </c:pt>
                <c:pt idx="11">
                  <c:v>1.5705546268282524e-05</c:v>
                </c:pt>
                <c:pt idx="12">
                  <c:v>1.5705546268282524e-05</c:v>
                </c:pt>
                <c:pt idx="13">
                  <c:v>1.5705546268282524e-05</c:v>
                </c:pt>
                <c:pt idx="14">
                  <c:v>1.5705546268282524e-05</c:v>
                </c:pt>
                <c:pt idx="15">
                  <c:v>1.5705546268282524e-05</c:v>
                </c:pt>
                <c:pt idx="16">
                  <c:v>1.5705546268282524e-05</c:v>
                </c:pt>
                <c:pt idx="17">
                  <c:v>1.5705546268282524e-05</c:v>
                </c:pt>
                <c:pt idx="18">
                  <c:v>1.5705546268282524e-05</c:v>
                </c:pt>
                <c:pt idx="19">
                  <c:v>1.5705546268282524e-05</c:v>
                </c:pt>
                <c:pt idx="20">
                  <c:v>1.5705546268282524e-05</c:v>
                </c:pt>
                <c:pt idx="21">
                  <c:v>1.5705546268282524e-05</c:v>
                </c:pt>
                <c:pt idx="22">
                  <c:v>0.0037428105752931877</c:v>
                </c:pt>
                <c:pt idx="23">
                  <c:v>1.5705546268282524e-05</c:v>
                </c:pt>
                <c:pt idx="24">
                  <c:v>0.003103784171730809</c:v>
                </c:pt>
                <c:pt idx="25">
                  <c:v>1.5705546268282524e-05</c:v>
                </c:pt>
                <c:pt idx="26">
                  <c:v>1.5705546268282524e-05</c:v>
                </c:pt>
                <c:pt idx="27">
                  <c:v>1.5705546268282524e-05</c:v>
                </c:pt>
                <c:pt idx="28">
                  <c:v>1.5705546268282524e-05</c:v>
                </c:pt>
                <c:pt idx="29">
                  <c:v>1.5705546268282524e-05</c:v>
                </c:pt>
                <c:pt idx="30">
                  <c:v>1.5705546268282524e-05</c:v>
                </c:pt>
                <c:pt idx="31">
                  <c:v>1.5705546268282524e-05</c:v>
                </c:pt>
                <c:pt idx="32">
                  <c:v>1.5705546268282524e-05</c:v>
                </c:pt>
                <c:pt idx="33">
                  <c:v>1.5705546268282524e-05</c:v>
                </c:pt>
                <c:pt idx="34">
                  <c:v>0.0009936559973478876</c:v>
                </c:pt>
                <c:pt idx="35">
                  <c:v>0.017773724236766972</c:v>
                </c:pt>
                <c:pt idx="36">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93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973509933774834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1.0773209502104986</c:v>
                </c:pt>
                <c:pt idx="1">
                  <c:v>0.9804149726684299</c:v>
                </c:pt>
                <c:pt idx="2">
                  <c:v>1.0937127107576499</c:v>
                </c:pt>
                <c:pt idx="3">
                  <c:v>0.940648041467064</c:v>
                </c:pt>
                <c:pt idx="4">
                  <c:v>0.9872603989786245</c:v>
                </c:pt>
                <c:pt idx="5">
                  <c:v>0.9195257404178135</c:v>
                </c:pt>
                <c:pt idx="6">
                  <c:v>1.1172961065850286</c:v>
                </c:pt>
                <c:pt idx="7">
                  <c:v>0.9986780488767286</c:v>
                </c:pt>
                <c:pt idx="8">
                  <c:v>1.1831420594161488</c:v>
                </c:pt>
                <c:pt idx="9">
                  <c:v>0.9271715919310297</c:v>
                </c:pt>
                <c:pt idx="10">
                  <c:v>0.9652152031379478</c:v>
                </c:pt>
                <c:pt idx="11">
                  <c:v>1.0379425226228567</c:v>
                </c:pt>
                <c:pt idx="12">
                  <c:v>1.042846688635786</c:v>
                </c:pt>
                <c:pt idx="13">
                  <c:v>0.9412308183425392</c:v>
                </c:pt>
                <c:pt idx="14">
                  <c:v>1.3441611175982662</c:v>
                </c:pt>
                <c:pt idx="15">
                  <c:v>1.1920929621887275</c:v>
                </c:pt>
                <c:pt idx="16">
                  <c:v>1.006728149129887</c:v>
                </c:pt>
                <c:pt idx="17">
                  <c:v>1.2324490654596691</c:v>
                </c:pt>
                <c:pt idx="18">
                  <c:v>0.8972998126219446</c:v>
                </c:pt>
                <c:pt idx="19">
                  <c:v>0.957139032746473</c:v>
                </c:pt>
                <c:pt idx="20">
                  <c:v>1.2321274354942198</c:v>
                </c:pt>
                <c:pt idx="21">
                  <c:v>1.1212601519409575</c:v>
                </c:pt>
                <c:pt idx="22">
                  <c:v>1.130824292246932</c:v>
                </c:pt>
                <c:pt idx="23">
                  <c:v>0.9249075794359352</c:v>
                </c:pt>
                <c:pt idx="24">
                  <c:v>1.2395733104381523</c:v>
                </c:pt>
                <c:pt idx="25">
                  <c:v>1.105570941943128</c:v>
                </c:pt>
                <c:pt idx="26">
                  <c:v>1.0083148833743754</c:v>
                </c:pt>
                <c:pt idx="27">
                  <c:v>0.8966384407422566</c:v>
                </c:pt>
                <c:pt idx="28">
                  <c:v>1.3331554662679461</c:v>
                </c:pt>
                <c:pt idx="29">
                  <c:v>1.0132129861117982</c:v>
                </c:pt>
                <c:pt idx="30">
                  <c:v>1.067483148314257</c:v>
                </c:pt>
                <c:pt idx="31">
                  <c:v>1.0320853349089698</c:v>
                </c:pt>
                <c:pt idx="32">
                  <c:v>1.0889852982750152</c:v>
                </c:pt>
                <c:pt idx="33">
                  <c:v>1.1890039611153644</c:v>
                </c:pt>
                <c:pt idx="34">
                  <c:v>1.1251828048986738</c:v>
                </c:pt>
                <c:pt idx="35">
                  <c:v>1.0802305623319752</c:v>
                </c:pt>
                <c:pt idx="36">
                  <c:v>0.9590225816426686</c:v>
                </c:pt>
                <c:pt idx="37">
                  <c:v>1.0982431407051645</c:v>
                </c:pt>
                <c:pt idx="38">
                  <c:v>0.9468971744738135</c:v>
                </c:pt>
                <c:pt idx="39">
                  <c:v>1.0375768030252257</c:v>
                </c:pt>
                <c:pt idx="40">
                  <c:v>0.912036266154964</c:v>
                </c:pt>
                <c:pt idx="41">
                  <c:v>0.9139050363549488</c:v>
                </c:pt>
                <c:pt idx="42">
                  <c:v>1.0452861080620999</c:v>
                </c:pt>
                <c:pt idx="43">
                  <c:v>1.0814193271507784</c:v>
                </c:pt>
                <c:pt idx="44">
                  <c:v>1.0539537354744732</c:v>
                </c:pt>
                <c:pt idx="45">
                  <c:v>0.9758225650986291</c:v>
                </c:pt>
                <c:pt idx="46">
                  <c:v>1.0728031489705288</c:v>
                </c:pt>
                <c:pt idx="47">
                  <c:v>1.191019310662247</c:v>
                </c:pt>
                <c:pt idx="48">
                  <c:v>1.0923001611287908</c:v>
                </c:pt>
                <c:pt idx="49">
                  <c:v>1.014829649445034</c:v>
                </c:pt>
                <c:pt idx="50">
                  <c:v>1.0774568159596547</c:v>
                </c:pt>
                <c:pt idx="51">
                  <c:v>1.0486833458118148</c:v>
                </c:pt>
                <c:pt idx="52">
                  <c:v>1.0272196221873169</c:v>
                </c:pt>
                <c:pt idx="53">
                  <c:v>1.1316410749540127</c:v>
                </c:pt>
                <c:pt idx="54">
                  <c:v>1.1863921177874064</c:v>
                </c:pt>
                <c:pt idx="55">
                  <c:v>1.0363719911214437</c:v>
                </c:pt>
                <c:pt idx="56">
                  <c:v>1.0305296231755965</c:v>
                </c:pt>
                <c:pt idx="57">
                  <c:v>1.0099864354365584</c:v>
                </c:pt>
                <c:pt idx="58">
                  <c:v>1.1376669972567817</c:v>
                </c:pt>
                <c:pt idx="59">
                  <c:v>1.293445712928409</c:v>
                </c:pt>
                <c:pt idx="60">
                  <c:v>1.1396895373634672</c:v>
                </c:pt>
                <c:pt idx="61">
                  <c:v>1.0594015185350603</c:v>
                </c:pt>
                <c:pt idx="62">
                  <c:v>0.9512855250380646</c:v>
                </c:pt>
                <c:pt idx="63">
                  <c:v>1.0168087355471558</c:v>
                </c:pt>
                <c:pt idx="64">
                  <c:v>0.8980787024180769</c:v>
                </c:pt>
                <c:pt idx="65">
                  <c:v>1.227114487479403</c:v>
                </c:pt>
                <c:pt idx="66">
                  <c:v>1.3278856238687526</c:v>
                </c:pt>
                <c:pt idx="67">
                  <c:v>1.787628529762171</c:v>
                </c:pt>
                <c:pt idx="68">
                  <c:v>1.3336567912809665</c:v>
                </c:pt>
                <c:pt idx="69">
                  <c:v>1.4148481586587076</c:v>
                </c:pt>
                <c:pt idx="70">
                  <c:v>0.9167136663090114</c:v>
                </c:pt>
                <c:pt idx="71">
                  <c:v>1.2806606496397137</c:v>
                </c:pt>
                <c:pt idx="72">
                  <c:v>0.9460586616437436</c:v>
                </c:pt>
                <c:pt idx="73">
                  <c:v>0.9350685600641988</c:v>
                </c:pt>
                <c:pt idx="74">
                  <c:v>0.9411764705882353</c:v>
                </c:pt>
                <c:pt idx="75">
                  <c:v>1.215231667313074</c:v>
                </c:pt>
                <c:pt idx="76">
                  <c:v>0.7290831132250264</c:v>
                </c:pt>
                <c:pt idx="77">
                  <c:v>1.176894121771133</c:v>
                </c:pt>
                <c:pt idx="78">
                  <c:v>0.896631324165397</c:v>
                </c:pt>
                <c:pt idx="79">
                  <c:v>0.9543679167671076</c:v>
                </c:pt>
                <c:pt idx="80">
                  <c:v>1.357076846861806</c:v>
                </c:pt>
                <c:pt idx="81">
                  <c:v>0.87340785027294</c:v>
                </c:pt>
                <c:pt idx="82">
                  <c:v>0.6216846515672556</c:v>
                </c:pt>
                <c:pt idx="83">
                  <c:v>0.8659153681510802</c:v>
                </c:pt>
                <c:pt idx="84">
                  <c:v>1.1519414761009708</c:v>
                </c:pt>
                <c:pt idx="85">
                  <c:v>0.8770192404877406</c:v>
                </c:pt>
                <c:pt idx="86">
                  <c:v>0.7707516417719151</c:v>
                </c:pt>
                <c:pt idx="87">
                  <c:v>1.1152879222972807</c:v>
                </c:pt>
                <c:pt idx="88">
                  <c:v>0.9466867443147023</c:v>
                </c:pt>
                <c:pt idx="89">
                  <c:v>0.6720187397225705</c:v>
                </c:pt>
                <c:pt idx="90">
                  <c:v>1.3508220988218556</c:v>
                </c:pt>
                <c:pt idx="91">
                  <c:v>0.8697852471550535</c:v>
                </c:pt>
                <c:pt idx="92">
                  <c:v>0.9348289948063434</c:v>
                </c:pt>
                <c:pt idx="93">
                  <c:v>0.9606974541409724</c:v>
                </c:pt>
                <c:pt idx="94">
                  <c:v>1.2725472505554958</c:v>
                </c:pt>
                <c:pt idx="95">
                  <c:v>0.8154502866557385</c:v>
                </c:pt>
                <c:pt idx="96">
                  <c:v>0.984319577277113</c:v>
                </c:pt>
                <c:pt idx="97">
                  <c:v>0.992463024935688</c:v>
                </c:pt>
                <c:pt idx="98">
                  <c:v>0.7362804761134325</c:v>
                </c:pt>
                <c:pt idx="99">
                  <c:v>0.7571383340723417</c:v>
                </c:pt>
              </c:numCache>
            </c:numRef>
          </c:xVal>
          <c:yVal>
            <c:numRef>
              <c:f>Sheet1!$B$2:$B$101</c:f>
              <c:numCache>
                <c:formatCode>General</c:formatCode>
                <c:ptCount val="100"/>
                <c:pt idx="0">
                  <c:v>0.005633802816901409</c:v>
                </c:pt>
                <c:pt idx="1">
                  <c:v>0.00655307994757536</c:v>
                </c:pt>
                <c:pt idx="2">
                  <c:v>0.008108108108108109</c:v>
                </c:pt>
                <c:pt idx="3">
                  <c:v>0.0064</c:v>
                </c:pt>
                <c:pt idx="4">
                  <c:v>0.004966887417218543</c:v>
                </c:pt>
                <c:pt idx="5">
                  <c:v>0.007776049766718507</c:v>
                </c:pt>
                <c:pt idx="6">
                  <c:v>0.00482315112540193</c:v>
                </c:pt>
                <c:pt idx="7">
                  <c:v>0.005208333333333333</c:v>
                </c:pt>
                <c:pt idx="8">
                  <c:v>0.0029985007496251873</c:v>
                </c:pt>
                <c:pt idx="9">
                  <c:v>0.00398406374501992</c:v>
                </c:pt>
                <c:pt idx="10">
                  <c:v>0.0025673940949935813</c:v>
                </c:pt>
                <c:pt idx="11">
                  <c:v>0.0037174721189591076</c:v>
                </c:pt>
                <c:pt idx="12">
                  <c:v>0.004431314623338257</c:v>
                </c:pt>
                <c:pt idx="13">
                  <c:v>0.0023391812865497076</c:v>
                </c:pt>
                <c:pt idx="14">
                  <c:v>0.0026041666666666665</c:v>
                </c:pt>
                <c:pt idx="15">
                  <c:v>0.0030627871362940277</c:v>
                </c:pt>
                <c:pt idx="16">
                  <c:v>0.003937007874015748</c:v>
                </c:pt>
                <c:pt idx="17">
                  <c:v>0.0044742729306487695</c:v>
                </c:pt>
                <c:pt idx="18">
                  <c:v>0.0048543689320388345</c:v>
                </c:pt>
                <c:pt idx="19">
                  <c:v>0.010638297872340425</c:v>
                </c:pt>
                <c:pt idx="20">
                  <c:v>0.011142061281337047</c:v>
                </c:pt>
                <c:pt idx="21">
                  <c:v>0.00946372239747634</c:v>
                </c:pt>
                <c:pt idx="22">
                  <c:v>0.010238907849829351</c:v>
                </c:pt>
                <c:pt idx="23">
                  <c:v>0.008746355685131196</c:v>
                </c:pt>
                <c:pt idx="24">
                  <c:v>0.0034965034965034965</c:v>
                </c:pt>
                <c:pt idx="25">
                  <c:v>0.008746355685131196</c:v>
                </c:pt>
                <c:pt idx="26">
                  <c:v>0.012345679012345678</c:v>
                </c:pt>
                <c:pt idx="27">
                  <c:v>0.011396011396011397</c:v>
                </c:pt>
                <c:pt idx="28">
                  <c:v>0.0049261083743842365</c:v>
                </c:pt>
                <c:pt idx="29">
                  <c:v>0.016611295681063124</c:v>
                </c:pt>
                <c:pt idx="30">
                  <c:v>0.007407407407407408</c:v>
                </c:pt>
                <c:pt idx="31">
                  <c:v>0.013986013986013986</c:v>
                </c:pt>
                <c:pt idx="32">
                  <c:v>0.01729106628242075</c:v>
                </c:pt>
                <c:pt idx="33">
                  <c:v>0.010230179028132993</c:v>
                </c:pt>
                <c:pt idx="34">
                  <c:v>0.022026431718061675</c:v>
                </c:pt>
                <c:pt idx="35">
                  <c:v>0.020958083832335328</c:v>
                </c:pt>
                <c:pt idx="36">
                  <c:v>0.033112582781456956</c:v>
                </c:pt>
                <c:pt idx="37">
                  <c:v>0.017123287671232876</c:v>
                </c:pt>
                <c:pt idx="38">
                  <c:v>0.016611295681063124</c:v>
                </c:pt>
                <c:pt idx="39">
                  <c:v>0.020172910662824207</c:v>
                </c:pt>
                <c:pt idx="40">
                  <c:v>0.022364217252396165</c:v>
                </c:pt>
                <c:pt idx="41">
                  <c:v>0.01744186046511628</c:v>
                </c:pt>
                <c:pt idx="42">
                  <c:v>0.022332506203473945</c:v>
                </c:pt>
                <c:pt idx="43">
                  <c:v>0.012096774193548387</c:v>
                </c:pt>
                <c:pt idx="44">
                  <c:v>0.009671179883945842</c:v>
                </c:pt>
                <c:pt idx="45">
                  <c:v>0.011049723756906077</c:v>
                </c:pt>
                <c:pt idx="46">
                  <c:v>0.006097560975609756</c:v>
                </c:pt>
                <c:pt idx="47">
                  <c:v>0.0050062578222778474</c:v>
                </c:pt>
                <c:pt idx="48">
                  <c:v>0.006641366223908918</c:v>
                </c:pt>
                <c:pt idx="49">
                  <c:v>0.019538188277087035</c:v>
                </c:pt>
                <c:pt idx="50">
                  <c:v>0.014925373134328358</c:v>
                </c:pt>
                <c:pt idx="51">
                  <c:v>0.011058451816745656</c:v>
                </c:pt>
                <c:pt idx="52">
                  <c:v>0.014311270125223614</c:v>
                </c:pt>
                <c:pt idx="53">
                  <c:v>0.013916500994035786</c:v>
                </c:pt>
                <c:pt idx="54">
                  <c:v>0.006787330316742082</c:v>
                </c:pt>
                <c:pt idx="55">
                  <c:v>0.016771488469601678</c:v>
                </c:pt>
                <c:pt idx="56">
                  <c:v>0.007722007722007722</c:v>
                </c:pt>
                <c:pt idx="57">
                  <c:v>0.0068143100511073255</c:v>
                </c:pt>
                <c:pt idx="58">
                  <c:v>0.002352941176470588</c:v>
                </c:pt>
                <c:pt idx="59">
                  <c:v>0.0023121387283236996</c:v>
                </c:pt>
                <c:pt idx="60">
                  <c:v>0.005201560468140442</c:v>
                </c:pt>
                <c:pt idx="61">
                  <c:v>0.003963011889035667</c:v>
                </c:pt>
                <c:pt idx="62">
                  <c:v>0.0036144578313253013</c:v>
                </c:pt>
                <c:pt idx="63">
                  <c:v>0.0024390243902439024</c:v>
                </c:pt>
                <c:pt idx="64">
                  <c:v>0.0074850299401197605</c:v>
                </c:pt>
                <c:pt idx="65">
                  <c:v>0.0017482517482517483</c:v>
                </c:pt>
                <c:pt idx="66">
                  <c:v>0.0035398230088495575</c:v>
                </c:pt>
                <c:pt idx="67">
                  <c:v>0.0021413276231263384</c:v>
                </c:pt>
                <c:pt idx="68">
                  <c:v>0.003134796238244514</c:v>
                </c:pt>
                <c:pt idx="69">
                  <c:v>0.0029069767441860465</c:v>
                </c:pt>
                <c:pt idx="70">
                  <c:v>0.0056657223796034</c:v>
                </c:pt>
                <c:pt idx="71">
                  <c:v>0.0026109660574412533</c:v>
                </c:pt>
                <c:pt idx="72">
                  <c:v>0.006006006006006006</c:v>
                </c:pt>
                <c:pt idx="73">
                  <c:v>0.0030581039755351682</c:v>
                </c:pt>
                <c:pt idx="74">
                  <c:v>0.0071174377224199285</c:v>
                </c:pt>
                <c:pt idx="75">
                  <c:v>0.0035460992907801418</c:v>
                </c:pt>
                <c:pt idx="76">
                  <c:v>0.007905138339920948</c:v>
                </c:pt>
                <c:pt idx="77">
                  <c:v>0.004424778761061947</c:v>
                </c:pt>
                <c:pt idx="78">
                  <c:v>0.0043859649122807015</c:v>
                </c:pt>
                <c:pt idx="79">
                  <c:v>0.0034965034965034965</c:v>
                </c:pt>
                <c:pt idx="80">
                  <c:v>0.004132231404958678</c:v>
                </c:pt>
                <c:pt idx="81">
                  <c:v>0.005813953488372093</c:v>
                </c:pt>
                <c:pt idx="82">
                  <c:v>0.004878048780487805</c:v>
                </c:pt>
                <c:pt idx="83">
                  <c:v>0.005449591280653951</c:v>
                </c:pt>
                <c:pt idx="84">
                  <c:v>0.004132231404958678</c:v>
                </c:pt>
                <c:pt idx="85">
                  <c:v>0.009433962264150943</c:v>
                </c:pt>
                <c:pt idx="86">
                  <c:v>0.009216589861751152</c:v>
                </c:pt>
                <c:pt idx="87">
                  <c:v>0.004347826086956522</c:v>
                </c:pt>
                <c:pt idx="88">
                  <c:v>0.0034965034965034965</c:v>
                </c:pt>
                <c:pt idx="89">
                  <c:v>0.0035842293906810036</c:v>
                </c:pt>
                <c:pt idx="90">
                  <c:v>0.004310344827586207</c:v>
                </c:pt>
                <c:pt idx="91">
                  <c:v>0.0032258064516129032</c:v>
                </c:pt>
                <c:pt idx="92">
                  <c:v>0.0025974025974025974</c:v>
                </c:pt>
                <c:pt idx="93">
                  <c:v>0.004366812227074236</c:v>
                </c:pt>
                <c:pt idx="94">
                  <c:v>0.0018656716417910447</c:v>
                </c:pt>
                <c:pt idx="95">
                  <c:v>0.001440922190201729</c:v>
                </c:pt>
                <c:pt idx="96">
                  <c:v>0.0022753128555176336</c:v>
                </c:pt>
                <c:pt idx="97">
                  <c:v>0.00186219739292365</c:v>
                </c:pt>
                <c:pt idx="98">
                  <c:v>0.0019047619047619048</c:v>
                </c:pt>
                <c:pt idx="99">
                  <c:v>0.0020876826722338203</c:v>
                </c:pt>
              </c:numCache>
            </c:numRef>
          </c:yVal>
          <c:smooth val="0"/>
          <c:extLst>
            <c:ext xmlns:c16="http://schemas.microsoft.com/office/drawing/2014/chart" uri="{C3380CC4-5D6E-409C-BE32-E72D297353CC}">
              <c16:uniqueId val="{00000000-096C-4121-9522-6AB7243CCAAE}"/>
            </c:ext>
          </c:extLst>
        </c:ser>
        <c:ser>
          <c:idx val="1"/>
          <c:order val="1"/>
          <c:tx>
            <c:strRef>
              <c:f>Sheet1!$B$10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0.7216341312208244</c:v>
                </c:pt>
                <c:pt idx="4">
                  <c:v>0.8097427874462956</c:v>
                </c:pt>
                <c:pt idx="5">
                  <c:v>1.312491404228503</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104048596735331</c:v>
                </c:pt>
                <c:pt idx="23">
                  <c:v>0.0</c:v>
                </c:pt>
                <c:pt idx="24">
                  <c:v>1.4091224256084818</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02074688796680498</c:v>
                </c:pt>
                <c:pt idx="4">
                  <c:v>0.002004008016032064</c:v>
                </c:pt>
                <c:pt idx="5">
                  <c:v>0.0018832391713747645</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24449877750611247</c:v>
                </c:pt>
                <c:pt idx="23">
                  <c:v>0.0</c:v>
                </c:pt>
                <c:pt idx="24">
                  <c:v>0.005154639175257732</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096C-4121-9522-6AB7243CCAAE}"/>
            </c:ext>
          </c:extLst>
        </c:ser>
        <c:ser>
          <c:idx val="2"/>
          <c:order val="2"/>
          <c:tx>
            <c:strRef>
              <c:f>Sheet1!$B$13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0:$A$141</c:f>
              <c:numCache>
                <c:formatCode>General</c:formatCode>
                <c:ptCount val="2"/>
                <c:pt idx="0">
                  <c:v>0</c:v>
                </c:pt>
                <c:pt idx="1">
                  <c:v>9.313925687737441</c:v>
                </c:pt>
              </c:numCache>
            </c:numRef>
          </c:xVal>
          <c:yVal>
            <c:numRef>
              <c:f>Sheet1!$B$140:$B$141</c:f>
              <c:numCache>
                <c:formatCode>General</c:formatCode>
                <c:ptCount val="2"/>
                <c:pt idx="0">
                  <c:v>0.017773724236766972</c:v>
                </c:pt>
                <c:pt idx="1">
                  <c:v>0.017773724236766972</c:v>
                </c:pt>
              </c:numCache>
            </c:numRef>
          </c:yVal>
          <c:smooth val="0"/>
          <c:extLst>
            <c:ext xmlns:c16="http://schemas.microsoft.com/office/drawing/2014/chart" uri="{C3380CC4-5D6E-409C-BE32-E72D297353CC}">
              <c16:uniqueId val="{00000005-096C-4121-9522-6AB7243CCAAE}"/>
            </c:ext>
          </c:extLst>
        </c:ser>
        <c:ser>
          <c:idx val="3"/>
          <c:order val="3"/>
          <c:tx>
            <c:strRef>
              <c:f>Sheet1!$B$14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4:$A$145</c:f>
              <c:numCache>
                <c:formatCode>General</c:formatCode>
                <c:ptCount val="2"/>
                <c:pt idx="0">
                  <c:v>9.313925687737441</c:v>
                </c:pt>
                <c:pt idx="1">
                  <c:v>9.313925687737441</c:v>
                </c:pt>
              </c:numCache>
            </c:numRef>
          </c:xVal>
          <c:yVal>
            <c:numRef>
              <c:f>Sheet1!$B$144:$B$145</c:f>
              <c:numCache>
                <c:formatCode>General</c:formatCode>
                <c:ptCount val="2"/>
                <c:pt idx="0">
                  <c:v>0.01777372423676697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8:$A$149</c:f>
              <c:numCache>
                <c:formatCode>General</c:formatCode>
                <c:ptCount val="2"/>
                <c:pt idx="0">
                  <c:v>0</c:v>
                </c:pt>
                <c:pt idx="1">
                  <c:v>0.49941113363530254</c:v>
                </c:pt>
              </c:numCache>
            </c:numRef>
          </c:xVal>
          <c:yVal>
            <c:numRef>
              <c:f>Sheet1!$B$148:$B$149</c:f>
              <c:numCache>
                <c:formatCode>General</c:formatCode>
                <c:ptCount val="2"/>
                <c:pt idx="0">
                  <c:v>0.0009936559973478876</c:v>
                </c:pt>
                <c:pt idx="1">
                  <c:v>0.0009936559973478876</c:v>
                </c:pt>
              </c:numCache>
            </c:numRef>
          </c:yVal>
          <c:smooth val="0"/>
          <c:extLst>
            <c:ext xmlns:c16="http://schemas.microsoft.com/office/drawing/2014/chart" uri="{C3380CC4-5D6E-409C-BE32-E72D297353CC}">
              <c16:uniqueId val="{0000000D-096C-4121-9522-6AB7243CCAAE}"/>
            </c:ext>
          </c:extLst>
        </c:ser>
        <c:ser>
          <c:idx val="5"/>
          <c:order val="5"/>
          <c:tx>
            <c:strRef>
              <c:f>Sheet1!$B$15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2:$A$153</c:f>
              <c:numCache>
                <c:formatCode>General</c:formatCode>
                <c:ptCount val="2"/>
                <c:pt idx="0">
                  <c:v>0.49941113363530254</c:v>
                </c:pt>
                <c:pt idx="1">
                  <c:v>0.49941113363530254</c:v>
                </c:pt>
              </c:numCache>
            </c:numRef>
          </c:xVal>
          <c:yVal>
            <c:numRef>
              <c:f>Sheet1!$B$152:$B$153</c:f>
              <c:numCache>
                <c:formatCode>General</c:formatCode>
                <c:ptCount val="2"/>
                <c:pt idx="0">
                  <c:v>0.00099365599734788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6:$A$157</c:f>
              <c:numCache>
                <c:formatCode>General</c:formatCode>
                <c:ptCount val="2"/>
                <c:pt idx="0">
                  <c:v>0</c:v>
                </c:pt>
                <c:pt idx="1">
                  <c:v>-0.022553087572003444</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5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0:$A$161</c:f>
              <c:numCache>
                <c:formatCode>General</c:formatCode>
                <c:ptCount val="2"/>
                <c:pt idx="0">
                  <c:v>-0.022553087572003444</c:v>
                </c:pt>
                <c:pt idx="1">
                  <c:v>-0.022553087572003444</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4:$A$200</c:f>
              <c:numCache>
                <c:formatCode>General</c:formatCode>
                <c:ptCount val="37"/>
                <c:pt idx="0">
                  <c:v>0.0</c:v>
                </c:pt>
                <c:pt idx="1">
                  <c:v>0.0</c:v>
                </c:pt>
                <c:pt idx="2">
                  <c:v>0.0</c:v>
                </c:pt>
                <c:pt idx="3">
                  <c:v>0.7216341312208244</c:v>
                </c:pt>
                <c:pt idx="4">
                  <c:v>0.8097427874462956</c:v>
                </c:pt>
                <c:pt idx="5">
                  <c:v>1.312491404228503</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104048596735331</c:v>
                </c:pt>
                <c:pt idx="23">
                  <c:v>0.0</c:v>
                </c:pt>
                <c:pt idx="24">
                  <c:v>1.4091224256084818</c:v>
                </c:pt>
                <c:pt idx="25">
                  <c:v>0.0</c:v>
                </c:pt>
                <c:pt idx="26">
                  <c:v>0.0</c:v>
                </c:pt>
                <c:pt idx="27">
                  <c:v>0.0</c:v>
                </c:pt>
                <c:pt idx="28">
                  <c:v>0.0</c:v>
                </c:pt>
                <c:pt idx="29">
                  <c:v>0.0</c:v>
                </c:pt>
                <c:pt idx="30">
                  <c:v>0.0</c:v>
                </c:pt>
                <c:pt idx="31">
                  <c:v>0.0</c:v>
                </c:pt>
                <c:pt idx="32">
                  <c:v>0.0</c:v>
                </c:pt>
                <c:pt idx="33">
                  <c:v>0.0</c:v>
                </c:pt>
                <c:pt idx="34">
                  <c:v>0.49941113363530254</c:v>
                </c:pt>
                <c:pt idx="35">
                  <c:v>9.313925687737441</c:v>
                </c:pt>
                <c:pt idx="36">
                  <c:v>-0.022553087572003444</c:v>
                </c:pt>
              </c:numCache>
            </c:numRef>
          </c:xVal>
          <c:yVal>
            <c:numRef>
              <c:f>Sheet1!$B$164:$B$200</c:f>
              <c:numCache>
                <c:formatCode>General</c:formatCode>
                <c:ptCount val="37"/>
                <c:pt idx="0">
                  <c:v>4.293399779931057e-05</c:v>
                </c:pt>
                <c:pt idx="1">
                  <c:v>4.293399779931057e-05</c:v>
                </c:pt>
                <c:pt idx="2">
                  <c:v>4.293399779931057e-05</c:v>
                </c:pt>
                <c:pt idx="3">
                  <c:v>0.0014166988139392947</c:v>
                </c:pt>
                <c:pt idx="4">
                  <c:v>0.0015844300321331392</c:v>
                </c:pt>
                <c:pt idx="5">
                  <c:v>0.002541505551731996</c:v>
                </c:pt>
                <c:pt idx="6">
                  <c:v>4.293399779931057e-05</c:v>
                </c:pt>
                <c:pt idx="7">
                  <c:v>4.293399779931057e-05</c:v>
                </c:pt>
                <c:pt idx="8">
                  <c:v>4.293399779931057e-05</c:v>
                </c:pt>
                <c:pt idx="9">
                  <c:v>4.293399779931057e-05</c:v>
                </c:pt>
                <c:pt idx="10">
                  <c:v>4.293399779931057e-05</c:v>
                </c:pt>
                <c:pt idx="11">
                  <c:v>4.293399779931057e-05</c:v>
                </c:pt>
                <c:pt idx="12">
                  <c:v>4.293399779931057e-05</c:v>
                </c:pt>
                <c:pt idx="13">
                  <c:v>4.293399779931057e-05</c:v>
                </c:pt>
                <c:pt idx="14">
                  <c:v>4.293399779931057e-05</c:v>
                </c:pt>
                <c:pt idx="15">
                  <c:v>4.293399779931057e-05</c:v>
                </c:pt>
                <c:pt idx="16">
                  <c:v>4.293399779931057e-05</c:v>
                </c:pt>
                <c:pt idx="17">
                  <c:v>4.293399779931057e-05</c:v>
                </c:pt>
                <c:pt idx="18">
                  <c:v>4.293399779931057e-05</c:v>
                </c:pt>
                <c:pt idx="19">
                  <c:v>4.293399779931057e-05</c:v>
                </c:pt>
                <c:pt idx="20">
                  <c:v>4.293399779931057e-05</c:v>
                </c:pt>
                <c:pt idx="21">
                  <c:v>4.293399779931057e-05</c:v>
                </c:pt>
                <c:pt idx="22">
                  <c:v>0.004048381922987875</c:v>
                </c:pt>
                <c:pt idx="23">
                  <c:v>4.293399779931057e-05</c:v>
                </c:pt>
                <c:pt idx="24">
                  <c:v>0.0027254606774338645</c:v>
                </c:pt>
                <c:pt idx="25">
                  <c:v>4.293399779931057e-05</c:v>
                </c:pt>
                <c:pt idx="26">
                  <c:v>4.293399779931057e-05</c:v>
                </c:pt>
                <c:pt idx="27">
                  <c:v>4.293399779931057e-05</c:v>
                </c:pt>
                <c:pt idx="28">
                  <c:v>4.293399779931057e-05</c:v>
                </c:pt>
                <c:pt idx="29">
                  <c:v>4.293399779931057e-05</c:v>
                </c:pt>
                <c:pt idx="30">
                  <c:v>4.293399779931057e-05</c:v>
                </c:pt>
                <c:pt idx="31">
                  <c:v>4.293399779931057e-05</c:v>
                </c:pt>
                <c:pt idx="32">
                  <c:v>4.293399779931057e-05</c:v>
                </c:pt>
                <c:pt idx="33">
                  <c:v>4.293399779931057e-05</c:v>
                </c:pt>
                <c:pt idx="34">
                  <c:v>0.0009936559973478876</c:v>
                </c:pt>
                <c:pt idx="35">
                  <c:v>0.017773724236766972</c:v>
                </c:pt>
                <c:pt idx="36">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973509933774834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1244.25</c:v>
                </c:pt>
                <c:pt idx="1">
                  <c:v>1116.4</c:v>
                </c:pt>
                <c:pt idx="2">
                  <c:v>1214.8333</c:v>
                </c:pt>
                <c:pt idx="3">
                  <c:v>1106.5</c:v>
                </c:pt>
                <c:pt idx="4">
                  <c:v>1102.0</c:v>
                </c:pt>
                <c:pt idx="5">
                  <c:v>1050.4</c:v>
                </c:pt>
                <c:pt idx="6">
                  <c:v>1291.6667</c:v>
                </c:pt>
                <c:pt idx="7">
                  <c:v>1199.6667</c:v>
                </c:pt>
                <c:pt idx="8">
                  <c:v>1377.5</c:v>
                </c:pt>
                <c:pt idx="9">
                  <c:v>1108.0</c:v>
                </c:pt>
                <c:pt idx="10">
                  <c:v>1102.0</c:v>
                </c:pt>
                <c:pt idx="11">
                  <c:v>1193.6667</c:v>
                </c:pt>
                <c:pt idx="12">
                  <c:v>1253.3333</c:v>
                </c:pt>
                <c:pt idx="13">
                  <c:v>1081.5</c:v>
                </c:pt>
                <c:pt idx="14">
                  <c:v>1532.5</c:v>
                </c:pt>
                <c:pt idx="15">
                  <c:v>1381.0</c:v>
                </c:pt>
                <c:pt idx="16">
                  <c:v>1225.0</c:v>
                </c:pt>
                <c:pt idx="17">
                  <c:v>1397.5</c:v>
                </c:pt>
                <c:pt idx="18">
                  <c:v>1067.5</c:v>
                </c:pt>
                <c:pt idx="19">
                  <c:v>1170.2</c:v>
                </c:pt>
                <c:pt idx="20">
                  <c:v>1398.75</c:v>
                </c:pt>
                <c:pt idx="21">
                  <c:v>1355.3333</c:v>
                </c:pt>
                <c:pt idx="22">
                  <c:v>1351.6667</c:v>
                </c:pt>
                <c:pt idx="23">
                  <c:v>1120.0</c:v>
                </c:pt>
                <c:pt idx="24">
                  <c:v>1561.0</c:v>
                </c:pt>
                <c:pt idx="25">
                  <c:v>1343.6667</c:v>
                </c:pt>
                <c:pt idx="26">
                  <c:v>1231.75</c:v>
                </c:pt>
                <c:pt idx="27">
                  <c:v>1154.5</c:v>
                </c:pt>
                <c:pt idx="28">
                  <c:v>1573.0</c:v>
                </c:pt>
                <c:pt idx="29">
                  <c:v>1300.4</c:v>
                </c:pt>
                <c:pt idx="30">
                  <c:v>1412.5</c:v>
                </c:pt>
                <c:pt idx="31">
                  <c:v>1232.5</c:v>
                </c:pt>
                <c:pt idx="32">
                  <c:v>1284.6667</c:v>
                </c:pt>
                <c:pt idx="33">
                  <c:v>1314.5</c:v>
                </c:pt>
                <c:pt idx="34">
                  <c:v>1244.1</c:v>
                </c:pt>
                <c:pt idx="35">
                  <c:v>1340.2857</c:v>
                </c:pt>
                <c:pt idx="36">
                  <c:v>1239.3</c:v>
                </c:pt>
                <c:pt idx="37">
                  <c:v>1365.6</c:v>
                </c:pt>
                <c:pt idx="38">
                  <c:v>1188.2</c:v>
                </c:pt>
                <c:pt idx="39">
                  <c:v>1283.7143</c:v>
                </c:pt>
                <c:pt idx="40">
                  <c:v>1238.4286</c:v>
                </c:pt>
                <c:pt idx="41">
                  <c:v>1233.6667</c:v>
                </c:pt>
                <c:pt idx="42">
                  <c:v>1301.8889</c:v>
                </c:pt>
                <c:pt idx="43">
                  <c:v>1376.3333</c:v>
                </c:pt>
                <c:pt idx="44">
                  <c:v>1350.2</c:v>
                </c:pt>
                <c:pt idx="45">
                  <c:v>1179.8333</c:v>
                </c:pt>
                <c:pt idx="46">
                  <c:v>1328.6667</c:v>
                </c:pt>
                <c:pt idx="47">
                  <c:v>1386.5</c:v>
                </c:pt>
                <c:pt idx="48">
                  <c:v>1289.7143</c:v>
                </c:pt>
                <c:pt idx="49">
                  <c:v>1256.4545</c:v>
                </c:pt>
                <c:pt idx="50">
                  <c:v>1356.75</c:v>
                </c:pt>
                <c:pt idx="51">
                  <c:v>1232.8571</c:v>
                </c:pt>
                <c:pt idx="52">
                  <c:v>1278.125</c:v>
                </c:pt>
                <c:pt idx="53">
                  <c:v>1385.7143</c:v>
                </c:pt>
                <c:pt idx="54">
                  <c:v>1440.3333</c:v>
                </c:pt>
                <c:pt idx="55">
                  <c:v>1268.875</c:v>
                </c:pt>
                <c:pt idx="56">
                  <c:v>1231.25</c:v>
                </c:pt>
                <c:pt idx="57">
                  <c:v>1184.25</c:v>
                </c:pt>
                <c:pt idx="58">
                  <c:v>1322.5</c:v>
                </c:pt>
                <c:pt idx="59">
                  <c:v>1467.0</c:v>
                </c:pt>
                <c:pt idx="60">
                  <c:v>1332.25</c:v>
                </c:pt>
                <c:pt idx="61">
                  <c:v>1186.0</c:v>
                </c:pt>
                <c:pt idx="62">
                  <c:v>1077.0</c:v>
                </c:pt>
                <c:pt idx="63">
                  <c:v>1192.0</c:v>
                </c:pt>
                <c:pt idx="64">
                  <c:v>1140.0</c:v>
                </c:pt>
                <c:pt idx="65">
                  <c:v>1599.0</c:v>
                </c:pt>
                <c:pt idx="66">
                  <c:v>1546.0</c:v>
                </c:pt>
                <c:pt idx="67">
                  <c:v>2084.0</c:v>
                </c:pt>
                <c:pt idx="68">
                  <c:v>1757.0</c:v>
                </c:pt>
                <c:pt idx="69">
                  <c:v>1735.0</c:v>
                </c:pt>
                <c:pt idx="70">
                  <c:v>1194.5</c:v>
                </c:pt>
                <c:pt idx="71">
                  <c:v>1705.0</c:v>
                </c:pt>
                <c:pt idx="72">
                  <c:v>1354.5</c:v>
                </c:pt>
                <c:pt idx="73">
                  <c:v>1340.0</c:v>
                </c:pt>
                <c:pt idx="74">
                  <c:v>1344.0</c:v>
                </c:pt>
                <c:pt idx="75">
                  <c:v>1676.0</c:v>
                </c:pt>
                <c:pt idx="76">
                  <c:v>1199.0</c:v>
                </c:pt>
                <c:pt idx="77">
                  <c:v>1680.0</c:v>
                </c:pt>
                <c:pt idx="78">
                  <c:v>1319.0</c:v>
                </c:pt>
                <c:pt idx="79">
                  <c:v>1335.0</c:v>
                </c:pt>
                <c:pt idx="80">
                  <c:v>1977.0</c:v>
                </c:pt>
                <c:pt idx="81">
                  <c:v>1344.0</c:v>
                </c:pt>
                <c:pt idx="82">
                  <c:v>983.0</c:v>
                </c:pt>
                <c:pt idx="83">
                  <c:v>1191.0</c:v>
                </c:pt>
                <c:pt idx="84">
                  <c:v>1748.0</c:v>
                </c:pt>
                <c:pt idx="85">
                  <c:v>1354.5</c:v>
                </c:pt>
                <c:pt idx="86">
                  <c:v>1195.5</c:v>
                </c:pt>
                <c:pt idx="87">
                  <c:v>1701.0</c:v>
                </c:pt>
                <c:pt idx="88">
                  <c:v>1344.0</c:v>
                </c:pt>
                <c:pt idx="89">
                  <c:v>1029.0</c:v>
                </c:pt>
                <c:pt idx="90">
                  <c:v>2066.0</c:v>
                </c:pt>
                <c:pt idx="91">
                  <c:v>1365.0</c:v>
                </c:pt>
                <c:pt idx="92">
                  <c:v>1344.0</c:v>
                </c:pt>
                <c:pt idx="93">
                  <c:v>1337.5</c:v>
                </c:pt>
                <c:pt idx="94">
                  <c:v>1714.0</c:v>
                </c:pt>
                <c:pt idx="95">
                  <c:v>1029.0</c:v>
                </c:pt>
                <c:pt idx="96">
                  <c:v>1208.0</c:v>
                </c:pt>
                <c:pt idx="97">
                  <c:v>1365.0</c:v>
                </c:pt>
                <c:pt idx="98">
                  <c:v>1008.0</c:v>
                </c:pt>
                <c:pt idx="99">
                  <c:v>1051.0</c:v>
                </c:pt>
              </c:numCache>
            </c:numRef>
          </c:xVal>
          <c:yVal>
            <c:numRef>
              <c:f>Sheet1!$B$2:$B$101</c:f>
              <c:numCache>
                <c:formatCode>General</c:formatCode>
                <c:ptCount val="100"/>
                <c:pt idx="0">
                  <c:v>0.005633802816901409</c:v>
                </c:pt>
                <c:pt idx="1">
                  <c:v>0.00655307994757536</c:v>
                </c:pt>
                <c:pt idx="2">
                  <c:v>0.008108108108108109</c:v>
                </c:pt>
                <c:pt idx="3">
                  <c:v>0.0064</c:v>
                </c:pt>
                <c:pt idx="4">
                  <c:v>0.004966887417218543</c:v>
                </c:pt>
                <c:pt idx="5">
                  <c:v>0.007776049766718507</c:v>
                </c:pt>
                <c:pt idx="6">
                  <c:v>0.00482315112540193</c:v>
                </c:pt>
                <c:pt idx="7">
                  <c:v>0.005208333333333333</c:v>
                </c:pt>
                <c:pt idx="8">
                  <c:v>0.0029985007496251873</c:v>
                </c:pt>
                <c:pt idx="9">
                  <c:v>0.00398406374501992</c:v>
                </c:pt>
                <c:pt idx="10">
                  <c:v>0.0025673940949935813</c:v>
                </c:pt>
                <c:pt idx="11">
                  <c:v>0.0037174721189591076</c:v>
                </c:pt>
                <c:pt idx="12">
                  <c:v>0.004431314623338257</c:v>
                </c:pt>
                <c:pt idx="13">
                  <c:v>0.0023391812865497076</c:v>
                </c:pt>
                <c:pt idx="14">
                  <c:v>0.0026041666666666665</c:v>
                </c:pt>
                <c:pt idx="15">
                  <c:v>0.0030627871362940277</c:v>
                </c:pt>
                <c:pt idx="16">
                  <c:v>0.003937007874015748</c:v>
                </c:pt>
                <c:pt idx="17">
                  <c:v>0.0044742729306487695</c:v>
                </c:pt>
                <c:pt idx="18">
                  <c:v>0.0048543689320388345</c:v>
                </c:pt>
                <c:pt idx="19">
                  <c:v>0.010638297872340425</c:v>
                </c:pt>
                <c:pt idx="20">
                  <c:v>0.011142061281337047</c:v>
                </c:pt>
                <c:pt idx="21">
                  <c:v>0.00946372239747634</c:v>
                </c:pt>
                <c:pt idx="22">
                  <c:v>0.010238907849829351</c:v>
                </c:pt>
                <c:pt idx="23">
                  <c:v>0.008746355685131196</c:v>
                </c:pt>
                <c:pt idx="24">
                  <c:v>0.0034965034965034965</c:v>
                </c:pt>
                <c:pt idx="25">
                  <c:v>0.008746355685131196</c:v>
                </c:pt>
                <c:pt idx="26">
                  <c:v>0.012345679012345678</c:v>
                </c:pt>
                <c:pt idx="27">
                  <c:v>0.011396011396011397</c:v>
                </c:pt>
                <c:pt idx="28">
                  <c:v>0.0049261083743842365</c:v>
                </c:pt>
                <c:pt idx="29">
                  <c:v>0.016611295681063124</c:v>
                </c:pt>
                <c:pt idx="30">
                  <c:v>0.007407407407407408</c:v>
                </c:pt>
                <c:pt idx="31">
                  <c:v>0.013986013986013986</c:v>
                </c:pt>
                <c:pt idx="32">
                  <c:v>0.01729106628242075</c:v>
                </c:pt>
                <c:pt idx="33">
                  <c:v>0.010230179028132993</c:v>
                </c:pt>
                <c:pt idx="34">
                  <c:v>0.022026431718061675</c:v>
                </c:pt>
                <c:pt idx="35">
                  <c:v>0.020958083832335328</c:v>
                </c:pt>
                <c:pt idx="36">
                  <c:v>0.033112582781456956</c:v>
                </c:pt>
                <c:pt idx="37">
                  <c:v>0.017123287671232876</c:v>
                </c:pt>
                <c:pt idx="38">
                  <c:v>0.016611295681063124</c:v>
                </c:pt>
                <c:pt idx="39">
                  <c:v>0.020172910662824207</c:v>
                </c:pt>
                <c:pt idx="40">
                  <c:v>0.022364217252396165</c:v>
                </c:pt>
                <c:pt idx="41">
                  <c:v>0.01744186046511628</c:v>
                </c:pt>
                <c:pt idx="42">
                  <c:v>0.022332506203473945</c:v>
                </c:pt>
                <c:pt idx="43">
                  <c:v>0.012096774193548387</c:v>
                </c:pt>
                <c:pt idx="44">
                  <c:v>0.009671179883945842</c:v>
                </c:pt>
                <c:pt idx="45">
                  <c:v>0.011049723756906077</c:v>
                </c:pt>
                <c:pt idx="46">
                  <c:v>0.006097560975609756</c:v>
                </c:pt>
                <c:pt idx="47">
                  <c:v>0.0050062578222778474</c:v>
                </c:pt>
                <c:pt idx="48">
                  <c:v>0.006641366223908918</c:v>
                </c:pt>
                <c:pt idx="49">
                  <c:v>0.019538188277087035</c:v>
                </c:pt>
                <c:pt idx="50">
                  <c:v>0.014925373134328358</c:v>
                </c:pt>
                <c:pt idx="51">
                  <c:v>0.011058451816745656</c:v>
                </c:pt>
                <c:pt idx="52">
                  <c:v>0.014311270125223614</c:v>
                </c:pt>
                <c:pt idx="53">
                  <c:v>0.013916500994035786</c:v>
                </c:pt>
                <c:pt idx="54">
                  <c:v>0.006787330316742082</c:v>
                </c:pt>
                <c:pt idx="55">
                  <c:v>0.016771488469601678</c:v>
                </c:pt>
                <c:pt idx="56">
                  <c:v>0.007722007722007722</c:v>
                </c:pt>
                <c:pt idx="57">
                  <c:v>0.0068143100511073255</c:v>
                </c:pt>
                <c:pt idx="58">
                  <c:v>0.002352941176470588</c:v>
                </c:pt>
                <c:pt idx="59">
                  <c:v>0.0023121387283236996</c:v>
                </c:pt>
                <c:pt idx="60">
                  <c:v>0.005201560468140442</c:v>
                </c:pt>
                <c:pt idx="61">
                  <c:v>0.003963011889035667</c:v>
                </c:pt>
                <c:pt idx="62">
                  <c:v>0.0036144578313253013</c:v>
                </c:pt>
                <c:pt idx="63">
                  <c:v>0.0024390243902439024</c:v>
                </c:pt>
                <c:pt idx="64">
                  <c:v>0.0074850299401197605</c:v>
                </c:pt>
                <c:pt idx="65">
                  <c:v>0.0017482517482517483</c:v>
                </c:pt>
                <c:pt idx="66">
                  <c:v>0.0035398230088495575</c:v>
                </c:pt>
                <c:pt idx="67">
                  <c:v>0.0021413276231263384</c:v>
                </c:pt>
                <c:pt idx="68">
                  <c:v>0.003134796238244514</c:v>
                </c:pt>
                <c:pt idx="69">
                  <c:v>0.0029069767441860465</c:v>
                </c:pt>
                <c:pt idx="70">
                  <c:v>0.0056657223796034</c:v>
                </c:pt>
                <c:pt idx="71">
                  <c:v>0.0026109660574412533</c:v>
                </c:pt>
                <c:pt idx="72">
                  <c:v>0.006006006006006006</c:v>
                </c:pt>
                <c:pt idx="73">
                  <c:v>0.0030581039755351682</c:v>
                </c:pt>
                <c:pt idx="74">
                  <c:v>0.0071174377224199285</c:v>
                </c:pt>
                <c:pt idx="75">
                  <c:v>0.0035460992907801418</c:v>
                </c:pt>
                <c:pt idx="76">
                  <c:v>0.007905138339920948</c:v>
                </c:pt>
                <c:pt idx="77">
                  <c:v>0.004424778761061947</c:v>
                </c:pt>
                <c:pt idx="78">
                  <c:v>0.0043859649122807015</c:v>
                </c:pt>
                <c:pt idx="79">
                  <c:v>0.0034965034965034965</c:v>
                </c:pt>
                <c:pt idx="80">
                  <c:v>0.004132231404958678</c:v>
                </c:pt>
                <c:pt idx="81">
                  <c:v>0.005813953488372093</c:v>
                </c:pt>
                <c:pt idx="82">
                  <c:v>0.004878048780487805</c:v>
                </c:pt>
                <c:pt idx="83">
                  <c:v>0.005449591280653951</c:v>
                </c:pt>
                <c:pt idx="84">
                  <c:v>0.004132231404958678</c:v>
                </c:pt>
                <c:pt idx="85">
                  <c:v>0.009433962264150943</c:v>
                </c:pt>
                <c:pt idx="86">
                  <c:v>0.009216589861751152</c:v>
                </c:pt>
                <c:pt idx="87">
                  <c:v>0.004347826086956522</c:v>
                </c:pt>
                <c:pt idx="88">
                  <c:v>0.0034965034965034965</c:v>
                </c:pt>
                <c:pt idx="89">
                  <c:v>0.0035842293906810036</c:v>
                </c:pt>
                <c:pt idx="90">
                  <c:v>0.004310344827586207</c:v>
                </c:pt>
                <c:pt idx="91">
                  <c:v>0.0032258064516129032</c:v>
                </c:pt>
                <c:pt idx="92">
                  <c:v>0.0025974025974025974</c:v>
                </c:pt>
                <c:pt idx="93">
                  <c:v>0.004366812227074236</c:v>
                </c:pt>
                <c:pt idx="94">
                  <c:v>0.0018656716417910447</c:v>
                </c:pt>
                <c:pt idx="95">
                  <c:v>0.001440922190201729</c:v>
                </c:pt>
                <c:pt idx="96">
                  <c:v>0.0022753128555176336</c:v>
                </c:pt>
                <c:pt idx="97">
                  <c:v>0.00186219739292365</c:v>
                </c:pt>
                <c:pt idx="98">
                  <c:v>0.0019047619047619048</c:v>
                </c:pt>
                <c:pt idx="99">
                  <c:v>0.0020876826722338203</c:v>
                </c:pt>
              </c:numCache>
            </c:numRef>
          </c:yVal>
          <c:smooth val="0"/>
          <c:extLst>
            <c:ext xmlns:c16="http://schemas.microsoft.com/office/drawing/2014/chart" uri="{C3380CC4-5D6E-409C-BE32-E72D297353CC}">
              <c16:uniqueId val="{00000000-F32D-48B7-BC20-E66FC6253BAD}"/>
            </c:ext>
          </c:extLst>
        </c:ser>
        <c:ser>
          <c:idx val="1"/>
          <c:order val="1"/>
          <c:tx>
            <c:strRef>
              <c:f>Sheet1!$B$10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02074688796680498</c:v>
                </c:pt>
                <c:pt idx="4">
                  <c:v>0.002004008016032064</c:v>
                </c:pt>
                <c:pt idx="5">
                  <c:v>0.0018832391713747645</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24449877750611247</c:v>
                </c:pt>
                <c:pt idx="23">
                  <c:v>0.0</c:v>
                </c:pt>
                <c:pt idx="24">
                  <c:v>0.005154639175257732</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F32D-48B7-BC20-E66FC6253BAD}"/>
            </c:ext>
          </c:extLst>
        </c:ser>
        <c:ser>
          <c:idx val="2"/>
          <c:order val="2"/>
          <c:tx>
            <c:strRef>
              <c:f>Sheet1!$B$139</c:f>
              <c:strCache>
                <c:ptCount val="1"/>
                <c:pt idx="0">
                  <c:v>Custom Linep3yQ</c:v>
                </c:pt>
              </c:strCache>
            </c:strRef>
          </c:tx>
          <c:spPr>
            <a:ln w="19050" cap="rnd">
              <a:solidFill>
                <a:srgbClr val="C00000"/>
              </a:solidFill>
              <a:prstDash val="sysDot"/>
              <a:round/>
            </a:ln>
            <a:effectLst/>
          </c:spPr>
          <c:marker>
            <c:symbol val="none"/>
          </c:marker>
          <c:xVal>
            <c:numRef>
              <c:f>Sheet1!$A$140:$A$141</c:f>
              <c:numCache>
                <c:formatCode>General</c:formatCode>
                <c:ptCount val="2"/>
                <c:pt idx="0">
                  <c:v>0</c:v>
                </c:pt>
                <c:pt idx="1">
                  <c:v>10782.201194666146</c:v>
                </c:pt>
              </c:numCache>
            </c:numRef>
          </c:xVal>
          <c:yVal>
            <c:numRef>
              <c:f>Sheet1!$B$140:$B$141</c:f>
              <c:numCache>
                <c:formatCode>General</c:formatCode>
                <c:ptCount val="2"/>
                <c:pt idx="0">
                  <c:v>0.017773724236766972</c:v>
                </c:pt>
                <c:pt idx="1">
                  <c:v>0.017773724236766972</c:v>
                </c:pt>
              </c:numCache>
            </c:numRef>
          </c:yVal>
          <c:smooth val="0"/>
          <c:extLst>
            <c:ext xmlns:c16="http://schemas.microsoft.com/office/drawing/2014/chart" uri="{C3380CC4-5D6E-409C-BE32-E72D297353CC}">
              <c16:uniqueId val="{00000003-F32D-48B7-BC20-E66FC6253BAD}"/>
            </c:ext>
          </c:extLst>
        </c:ser>
        <c:ser>
          <c:idx val="3"/>
          <c:order val="3"/>
          <c:tx>
            <c:strRef>
              <c:f>Sheet1!$B$14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4:$A$145</c:f>
              <c:numCache>
                <c:formatCode>General</c:formatCode>
                <c:ptCount val="2"/>
                <c:pt idx="0">
                  <c:v>10782.201194666146</c:v>
                </c:pt>
                <c:pt idx="1">
                  <c:v>10782.201194666146</c:v>
                </c:pt>
              </c:numCache>
            </c:numRef>
          </c:xVal>
          <c:yVal>
            <c:numRef>
              <c:f>Sheet1!$B$144:$B$145</c:f>
              <c:numCache>
                <c:formatCode>General</c:formatCode>
                <c:ptCount val="2"/>
                <c:pt idx="0">
                  <c:v>0.01777372423676697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8:$A$149</c:f>
              <c:numCache>
                <c:formatCode>General</c:formatCode>
                <c:ptCount val="2"/>
                <c:pt idx="0">
                  <c:v>0</c:v>
                </c:pt>
                <c:pt idx="1">
                  <c:v>593.7857542405086</c:v>
                </c:pt>
              </c:numCache>
            </c:numRef>
          </c:xVal>
          <c:yVal>
            <c:numRef>
              <c:f>Sheet1!$B$148:$B$149</c:f>
              <c:numCache>
                <c:formatCode>General</c:formatCode>
                <c:ptCount val="2"/>
                <c:pt idx="0">
                  <c:v>0.0009936559973478876</c:v>
                </c:pt>
                <c:pt idx="1">
                  <c:v>0.0009936559973478876</c:v>
                </c:pt>
              </c:numCache>
            </c:numRef>
          </c:yVal>
          <c:smooth val="0"/>
          <c:extLst>
            <c:ext xmlns:c16="http://schemas.microsoft.com/office/drawing/2014/chart" uri="{C3380CC4-5D6E-409C-BE32-E72D297353CC}">
              <c16:uniqueId val="{0000000A-F32D-48B7-BC20-E66FC6253BAD}"/>
            </c:ext>
          </c:extLst>
        </c:ser>
        <c:ser>
          <c:idx val="5"/>
          <c:order val="5"/>
          <c:tx>
            <c:strRef>
              <c:f>Sheet1!$B$15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2:$A$153</c:f>
              <c:numCache>
                <c:formatCode>General</c:formatCode>
                <c:ptCount val="2"/>
                <c:pt idx="0">
                  <c:v>593.7857542405086</c:v>
                </c:pt>
                <c:pt idx="1">
                  <c:v>593.7857542405086</c:v>
                </c:pt>
              </c:numCache>
            </c:numRef>
          </c:xVal>
          <c:yVal>
            <c:numRef>
              <c:f>Sheet1!$B$152:$B$153</c:f>
              <c:numCache>
                <c:formatCode>General</c:formatCode>
                <c:ptCount val="2"/>
                <c:pt idx="0">
                  <c:v>0.00099365599734788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6:$A$157</c:f>
              <c:numCache>
                <c:formatCode>General</c:formatCode>
                <c:ptCount val="2"/>
                <c:pt idx="0">
                  <c:v>0</c:v>
                </c:pt>
                <c:pt idx="1">
                  <c:v>-9.535994002943847</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5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0:$A$161</c:f>
              <c:numCache>
                <c:formatCode>General</c:formatCode>
                <c:ptCount val="2"/>
                <c:pt idx="0">
                  <c:v>-9.535994002943847</c:v>
                </c:pt>
                <c:pt idx="1">
                  <c:v>-9.535994002943847</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4:$A$200</c:f>
              <c:numCache>
                <c:formatCode>General</c:formatCode>
                <c:ptCount val="37"/>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pt idx="34">
                  <c:v>593.7857542405086</c:v>
                </c:pt>
                <c:pt idx="35">
                  <c:v>10782.201194666146</c:v>
                </c:pt>
                <c:pt idx="36">
                  <c:v>-9.535994002943847</c:v>
                </c:pt>
              </c:numCache>
            </c:numRef>
          </c:xVal>
          <c:yVal>
            <c:numRef>
              <c:f>Sheet1!$B$164:$B$200</c:f>
              <c:numCache>
                <c:formatCode>General</c:formatCode>
                <c:ptCount val="37"/>
                <c:pt idx="0">
                  <c:v>1.5705546268282524e-05</c:v>
                </c:pt>
                <c:pt idx="1">
                  <c:v>1.5705546268282524e-05</c:v>
                </c:pt>
                <c:pt idx="2">
                  <c:v>1.5705546268282524e-05</c:v>
                </c:pt>
                <c:pt idx="3">
                  <c:v>0.0017466765517942108</c:v>
                </c:pt>
                <c:pt idx="4">
                  <c:v>0.0017104430959221171</c:v>
                </c:pt>
                <c:pt idx="5">
                  <c:v>0.0028023876978856663</c:v>
                </c:pt>
                <c:pt idx="6">
                  <c:v>1.5705546268282524e-05</c:v>
                </c:pt>
                <c:pt idx="7">
                  <c:v>1.5705546268282524e-05</c:v>
                </c:pt>
                <c:pt idx="8">
                  <c:v>1.5705546268282524e-05</c:v>
                </c:pt>
                <c:pt idx="9">
                  <c:v>1.5705546268282524e-05</c:v>
                </c:pt>
                <c:pt idx="10">
                  <c:v>1.5705546268282524e-05</c:v>
                </c:pt>
                <c:pt idx="11">
                  <c:v>1.5705546268282524e-05</c:v>
                </c:pt>
                <c:pt idx="12">
                  <c:v>1.5705546268282524e-05</c:v>
                </c:pt>
                <c:pt idx="13">
                  <c:v>1.5705546268282524e-05</c:v>
                </c:pt>
                <c:pt idx="14">
                  <c:v>1.5705546268282524e-05</c:v>
                </c:pt>
                <c:pt idx="15">
                  <c:v>1.5705546268282524e-05</c:v>
                </c:pt>
                <c:pt idx="16">
                  <c:v>1.5705546268282524e-05</c:v>
                </c:pt>
                <c:pt idx="17">
                  <c:v>1.5705546268282524e-05</c:v>
                </c:pt>
                <c:pt idx="18">
                  <c:v>1.5705546268282524e-05</c:v>
                </c:pt>
                <c:pt idx="19">
                  <c:v>1.5705546268282524e-05</c:v>
                </c:pt>
                <c:pt idx="20">
                  <c:v>1.5705546268282524e-05</c:v>
                </c:pt>
                <c:pt idx="21">
                  <c:v>1.5705546268282524e-05</c:v>
                </c:pt>
                <c:pt idx="22">
                  <c:v>0.0037428105752931877</c:v>
                </c:pt>
                <c:pt idx="23">
                  <c:v>1.5705546268282524e-05</c:v>
                </c:pt>
                <c:pt idx="24">
                  <c:v>0.003103784171730809</c:v>
                </c:pt>
                <c:pt idx="25">
                  <c:v>1.5705546268282524e-05</c:v>
                </c:pt>
                <c:pt idx="26">
                  <c:v>1.5705546268282524e-05</c:v>
                </c:pt>
                <c:pt idx="27">
                  <c:v>1.5705546268282524e-05</c:v>
                </c:pt>
                <c:pt idx="28">
                  <c:v>1.5705546268282524e-05</c:v>
                </c:pt>
                <c:pt idx="29">
                  <c:v>1.5705546268282524e-05</c:v>
                </c:pt>
                <c:pt idx="30">
                  <c:v>1.5705546268282524e-05</c:v>
                </c:pt>
                <c:pt idx="31">
                  <c:v>1.5705546268282524e-05</c:v>
                </c:pt>
                <c:pt idx="32">
                  <c:v>1.5705546268282524e-05</c:v>
                </c:pt>
                <c:pt idx="33">
                  <c:v>1.5705546268282524e-05</c:v>
                </c:pt>
                <c:pt idx="34">
                  <c:v>0.0009936559973478876</c:v>
                </c:pt>
                <c:pt idx="35">
                  <c:v>0.017773724236766972</c:v>
                </c:pt>
                <c:pt idx="36">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93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973509933774834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9261583037489844</c:v>
                </c:pt>
                <c:pt idx="1">
                  <c:v>0.3762175746491386</c:v>
                </c:pt>
                <c:pt idx="2">
                  <c:v>0.4588257263343094</c:v>
                </c:pt>
                <c:pt idx="3">
                  <c:v>0.46004400225975156</c:v>
                </c:pt>
                <c:pt idx="4">
                  <c:v>0.42886050023577227</c:v>
                </c:pt>
                <c:pt idx="5">
                  <c:v>0.443023153590945</c:v>
                </c:pt>
                <c:pt idx="6">
                  <c:v>0.4006210711137668</c:v>
                </c:pt>
                <c:pt idx="7">
                  <c:v>0.37367477110079544</c:v>
                </c:pt>
                <c:pt idx="8">
                  <c:v>0.35934503770022364</c:v>
                </c:pt>
                <c:pt idx="9">
                  <c:v>0.38850771516650684</c:v>
                </c:pt>
                <c:pt idx="10">
                  <c:v>0.40619895302796744</c:v>
                </c:pt>
                <c:pt idx="11">
                  <c:v>0.41747381137353484</c:v>
                </c:pt>
                <c:pt idx="12">
                  <c:v>0.44832498874404947</c:v>
                </c:pt>
                <c:pt idx="13">
                  <c:v>0.4417099157853585</c:v>
                </c:pt>
                <c:pt idx="14">
                  <c:v>0.4771247270307239</c:v>
                </c:pt>
                <c:pt idx="15">
                  <c:v>0.4683043066293006</c:v>
                </c:pt>
                <c:pt idx="16">
                  <c:v>0.4588603119971762</c:v>
                </c:pt>
                <c:pt idx="17">
                  <c:v>0.43938717140133204</c:v>
                </c:pt>
                <c:pt idx="18">
                  <c:v>0.43307858342625866</c:v>
                </c:pt>
                <c:pt idx="19">
                  <c:v>0.42994426487018467</c:v>
                </c:pt>
                <c:pt idx="20">
                  <c:v>0.4634708505577217</c:v>
                </c:pt>
                <c:pt idx="21">
                  <c:v>0.42488861372944176</c:v>
                </c:pt>
                <c:pt idx="22">
                  <c:v>0.38979924558703255</c:v>
                </c:pt>
                <c:pt idx="23">
                  <c:v>0.3823489802822823</c:v>
                </c:pt>
                <c:pt idx="24">
                  <c:v>0.38177481340715674</c:v>
                </c:pt>
                <c:pt idx="25">
                  <c:v>0.35351327213454997</c:v>
                </c:pt>
                <c:pt idx="26">
                  <c:v>0.3477949290327574</c:v>
                </c:pt>
                <c:pt idx="27">
                  <c:v>0.36351409957970765</c:v>
                </c:pt>
                <c:pt idx="28">
                  <c:v>0.3639542710131782</c:v>
                </c:pt>
                <c:pt idx="29">
                  <c:v>0.3647592206652564</c:v>
                </c:pt>
                <c:pt idx="30">
                  <c:v>0.3521235904837944</c:v>
                </c:pt>
                <c:pt idx="31">
                  <c:v>0.3512720605730908</c:v>
                </c:pt>
                <c:pt idx="32">
                  <c:v>0.34307062031004076</c:v>
                </c:pt>
                <c:pt idx="33">
                  <c:v>0.3505294677545397</c:v>
                </c:pt>
                <c:pt idx="34">
                  <c:v>0.3636491653249646</c:v>
                </c:pt>
                <c:pt idx="35">
                  <c:v>0.39397014170948297</c:v>
                </c:pt>
                <c:pt idx="36">
                  <c:v>0.4085542403231045</c:v>
                </c:pt>
                <c:pt idx="37">
                  <c:v>0.3920651470703129</c:v>
                </c:pt>
                <c:pt idx="38">
                  <c:v>0.4021863011518932</c:v>
                </c:pt>
                <c:pt idx="39">
                  <c:v>0.41668274353355966</c:v>
                </c:pt>
                <c:pt idx="40">
                  <c:v>0.42396798425251464</c:v>
                </c:pt>
                <c:pt idx="41">
                  <c:v>0.410251616051494</c:v>
                </c:pt>
                <c:pt idx="42">
                  <c:v>0.4331222407466695</c:v>
                </c:pt>
                <c:pt idx="43">
                  <c:v>0.4313214609497505</c:v>
                </c:pt>
                <c:pt idx="44">
                  <c:v>0.44030999571214946</c:v>
                </c:pt>
                <c:pt idx="45">
                  <c:v>0.44502952624267944</c:v>
                </c:pt>
                <c:pt idx="46">
                  <c:v>0.45331531957314225</c:v>
                </c:pt>
                <c:pt idx="47">
                  <c:v>0.4388129994485533</c:v>
                </c:pt>
                <c:pt idx="48">
                  <c:v>0.45867754406238365</c:v>
                </c:pt>
                <c:pt idx="49">
                  <c:v>0.5020656103076606</c:v>
                </c:pt>
                <c:pt idx="50">
                  <c:v>0.42203567065894815</c:v>
                </c:pt>
                <c:pt idx="51">
                  <c:v>0.41487648127182597</c:v>
                </c:pt>
                <c:pt idx="52">
                  <c:v>0.43862531007182365</c:v>
                </c:pt>
                <c:pt idx="53">
                  <c:v>0.4333653184413155</c:v>
                </c:pt>
                <c:pt idx="54">
                  <c:v>0.4055961786775659</c:v>
                </c:pt>
                <c:pt idx="55">
                  <c:v>0.40841623558450746</c:v>
                </c:pt>
                <c:pt idx="56">
                  <c:v>0.4083555263759883</c:v>
                </c:pt>
                <c:pt idx="57">
                  <c:v>0.42036560908719095</c:v>
                </c:pt>
                <c:pt idx="58">
                  <c:v>0.38936414355590887</c:v>
                </c:pt>
                <c:pt idx="59">
                  <c:v>0.413072319890684</c:v>
                </c:pt>
                <c:pt idx="60">
                  <c:v>0.40754264956117237</c:v>
                </c:pt>
                <c:pt idx="61">
                  <c:v>0.3863701689556436</c:v>
                </c:pt>
                <c:pt idx="62">
                  <c:v>0.3563229435205375</c:v>
                </c:pt>
                <c:pt idx="63">
                  <c:v>0.36235416752103194</c:v>
                </c:pt>
                <c:pt idx="64">
                  <c:v>0.37792185401964123</c:v>
                </c:pt>
                <c:pt idx="65">
                  <c:v>0.4191690263553359</c:v>
                </c:pt>
                <c:pt idx="66">
                  <c:v>0.43657375931332093</c:v>
                </c:pt>
                <c:pt idx="67">
                  <c:v>0.457090384678201</c:v>
                </c:pt>
                <c:pt idx="68">
                  <c:v>0.46856201392351987</c:v>
                </c:pt>
                <c:pt idx="69">
                  <c:v>0.4682919015443424</c:v>
                </c:pt>
                <c:pt idx="70">
                  <c:v>0.4553696388303838</c:v>
                </c:pt>
                <c:pt idx="71">
                  <c:v>0.4407973856667475</c:v>
                </c:pt>
                <c:pt idx="72">
                  <c:v>0.4511737157502026</c:v>
                </c:pt>
                <c:pt idx="73">
                  <c:v>0.44459938252187486</c:v>
                </c:pt>
                <c:pt idx="74">
                  <c:v>0.43567110270185583</c:v>
                </c:pt>
                <c:pt idx="75">
                  <c:v>0.4144417009155863</c:v>
                </c:pt>
                <c:pt idx="76">
                  <c:v>0.3991669204818241</c:v>
                </c:pt>
                <c:pt idx="77">
                  <c:v>0.4073020464877236</c:v>
                </c:pt>
                <c:pt idx="78">
                  <c:v>0.4230663180648579</c:v>
                </c:pt>
                <c:pt idx="79">
                  <c:v>0.41640880169194083</c:v>
                </c:pt>
                <c:pt idx="80">
                  <c:v>0.4434979392633802</c:v>
                </c:pt>
                <c:pt idx="81">
                  <c:v>0.4709201440075733</c:v>
                </c:pt>
                <c:pt idx="82">
                  <c:v>0.4520232596627594</c:v>
                </c:pt>
                <c:pt idx="83">
                  <c:v>0.42637852977796625</c:v>
                </c:pt>
                <c:pt idx="84">
                  <c:v>0.43896876859379147</c:v>
                </c:pt>
                <c:pt idx="85">
                  <c:v>0.43808711599399114</c:v>
                </c:pt>
                <c:pt idx="86">
                  <c:v>0.4391201444445081</c:v>
                </c:pt>
                <c:pt idx="87">
                  <c:v>0.45964871621778974</c:v>
                </c:pt>
                <c:pt idx="88">
                  <c:v>0.4314578273046271</c:v>
                </c:pt>
                <c:pt idx="89">
                  <c:v>0.4072775776752602</c:v>
                </c:pt>
                <c:pt idx="90">
                  <c:v>0.4240301424491483</c:v>
                </c:pt>
                <c:pt idx="91">
                  <c:v>0.4438570517291867</c:v>
                </c:pt>
                <c:pt idx="92">
                  <c:v>0.43910548570987534</c:v>
                </c:pt>
                <c:pt idx="93">
                  <c:v>0.4610480152593743</c:v>
                </c:pt>
                <c:pt idx="94">
                  <c:v>0.4579443746564035</c:v>
                </c:pt>
                <c:pt idx="95">
                  <c:v>0.4770806897002914</c:v>
                </c:pt>
                <c:pt idx="96">
                  <c:v>0.4926445772463999</c:v>
                </c:pt>
                <c:pt idx="97">
                  <c:v>0.5253966486514459</c:v>
                </c:pt>
                <c:pt idx="98">
                  <c:v>0.5448882744831041</c:v>
                </c:pt>
                <c:pt idx="99">
                  <c:v>0.5275163083011419</c:v>
                </c:pt>
                <c:pt idx="100">
                  <c:v>0.5483642833399837</c:v>
                </c:pt>
                <c:pt idx="101">
                  <c:v>0.49990266633936914</c:v>
                </c:pt>
                <c:pt idx="102">
                  <c:v>0.4663932559799699</c:v>
                </c:pt>
                <c:pt idx="103">
                  <c:v>0.48145297544042676</c:v>
                </c:pt>
                <c:pt idx="104">
                  <c:v>0.4618176535313089</c:v>
                </c:pt>
              </c:numCache>
            </c:numRef>
          </c:xVal>
          <c:yVal>
            <c:numRef>
              <c:f>Sheet1!$B$2:$B$106</c:f>
              <c:numCache>
                <c:formatCode>General</c:formatCode>
                <c:ptCount val="105"/>
                <c:pt idx="0">
                  <c:v>0.11896848842934515</c:v>
                </c:pt>
                <c:pt idx="1">
                  <c:v>0.10215736040609137</c:v>
                </c:pt>
                <c:pt idx="2">
                  <c:v>0.1050759415052792</c:v>
                </c:pt>
                <c:pt idx="3">
                  <c:v>0.10579283259695631</c:v>
                </c:pt>
                <c:pt idx="4">
                  <c:v>0.11008897602171618</c:v>
                </c:pt>
                <c:pt idx="5">
                  <c:v>0.1327621443169313</c:v>
                </c:pt>
                <c:pt idx="6">
                  <c:v>0.15625</c:v>
                </c:pt>
                <c:pt idx="7">
                  <c:v>0.15930018416206262</c:v>
                </c:pt>
                <c:pt idx="8">
                  <c:v>0.16451923076923078</c:v>
                </c:pt>
                <c:pt idx="9">
                  <c:v>0.1457197479289103</c:v>
                </c:pt>
                <c:pt idx="10">
                  <c:v>0.15560265262870035</c:v>
                </c:pt>
                <c:pt idx="11">
                  <c:v>0.15032990952996395</c:v>
                </c:pt>
                <c:pt idx="12">
                  <c:v>0.13436660208736953</c:v>
                </c:pt>
                <c:pt idx="13">
                  <c:v>0.12287970995727049</c:v>
                </c:pt>
                <c:pt idx="14">
                  <c:v>0.0973673766371213</c:v>
                </c:pt>
                <c:pt idx="15">
                  <c:v>0.08354044736631124</c:v>
                </c:pt>
                <c:pt idx="16">
                  <c:v>0.0801593920859976</c:v>
                </c:pt>
                <c:pt idx="17">
                  <c:v>0.07279731331489529</c:v>
                </c:pt>
                <c:pt idx="18">
                  <c:v>0.06708572667172429</c:v>
                </c:pt>
                <c:pt idx="19">
                  <c:v>0.062138364779874215</c:v>
                </c:pt>
                <c:pt idx="20">
                  <c:v>0.06312843370996164</c:v>
                </c:pt>
                <c:pt idx="21">
                  <c:v>0.06225631995975349</c:v>
                </c:pt>
                <c:pt idx="22">
                  <c:v>0.06519065190651907</c:v>
                </c:pt>
                <c:pt idx="23">
                  <c:v>0.07551546391752577</c:v>
                </c:pt>
                <c:pt idx="24">
                  <c:v>0.07444314185228605</c:v>
                </c:pt>
                <c:pt idx="25">
                  <c:v>0.07913669064748201</c:v>
                </c:pt>
                <c:pt idx="26">
                  <c:v>0.09623115577889448</c:v>
                </c:pt>
                <c:pt idx="27">
                  <c:v>0.10035798049623504</c:v>
                </c:pt>
                <c:pt idx="28">
                  <c:v>0.1226345539444581</c:v>
                </c:pt>
                <c:pt idx="29">
                  <c:v>0.1183000317158262</c:v>
                </c:pt>
                <c:pt idx="30">
                  <c:v>0.116016713091922</c:v>
                </c:pt>
                <c:pt idx="31">
                  <c:v>0.12250635961976168</c:v>
                </c:pt>
                <c:pt idx="32">
                  <c:v>0.13260510605868156</c:v>
                </c:pt>
                <c:pt idx="33">
                  <c:v>0.12173218918379565</c:v>
                </c:pt>
                <c:pt idx="34">
                  <c:v>0.12263707326248471</c:v>
                </c:pt>
                <c:pt idx="35">
                  <c:v>0.13272727272727272</c:v>
                </c:pt>
                <c:pt idx="36">
                  <c:v>0.11613358894158006</c:v>
                </c:pt>
                <c:pt idx="37">
                  <c:v>0.11009998876530727</c:v>
                </c:pt>
                <c:pt idx="38">
                  <c:v>0.10718269016283738</c:v>
                </c:pt>
                <c:pt idx="39">
                  <c:v>0.10073044297832234</c:v>
                </c:pt>
                <c:pt idx="40">
                  <c:v>0.10093692649473583</c:v>
                </c:pt>
                <c:pt idx="41">
                  <c:v>0.10222873286596212</c:v>
                </c:pt>
                <c:pt idx="42">
                  <c:v>0.1007912245998921</c:v>
                </c:pt>
                <c:pt idx="43">
                  <c:v>0.09560723514211886</c:v>
                </c:pt>
                <c:pt idx="44">
                  <c:v>0.10145497443963822</c:v>
                </c:pt>
                <c:pt idx="45">
                  <c:v>0.11657355679702049</c:v>
                </c:pt>
                <c:pt idx="46">
                  <c:v>0.12104588567034094</c:v>
                </c:pt>
                <c:pt idx="47">
                  <c:v>0.11573954735268341</c:v>
                </c:pt>
                <c:pt idx="48">
                  <c:v>0.11292336802270578</c:v>
                </c:pt>
                <c:pt idx="49">
                  <c:v>0.12055868659642245</c:v>
                </c:pt>
                <c:pt idx="50">
                  <c:v>0.1158253329204088</c:v>
                </c:pt>
                <c:pt idx="51">
                  <c:v>0.10993361349655886</c:v>
                </c:pt>
                <c:pt idx="52">
                  <c:v>0.1082557353170681</c:v>
                </c:pt>
                <c:pt idx="53">
                  <c:v>0.09893880663404715</c:v>
                </c:pt>
                <c:pt idx="54">
                  <c:v>0.10012941897690893</c:v>
                </c:pt>
                <c:pt idx="55">
                  <c:v>0.09788840721577402</c:v>
                </c:pt>
                <c:pt idx="56">
                  <c:v>0.1028030734206033</c:v>
                </c:pt>
                <c:pt idx="57">
                  <c:v>0.09741550695825049</c:v>
                </c:pt>
                <c:pt idx="58">
                  <c:v>0.11172437834069254</c:v>
                </c:pt>
                <c:pt idx="59">
                  <c:v>0.10297456420517952</c:v>
                </c:pt>
                <c:pt idx="60">
                  <c:v>0.10522660184059733</c:v>
                </c:pt>
                <c:pt idx="61">
                  <c:v>0.1114169459071326</c:v>
                </c:pt>
                <c:pt idx="62">
                  <c:v>0.1224251619303262</c:v>
                </c:pt>
                <c:pt idx="63">
                  <c:v>0.12486590860330402</c:v>
                </c:pt>
                <c:pt idx="64">
                  <c:v>0.1182589652340542</c:v>
                </c:pt>
                <c:pt idx="65">
                  <c:v>0.1196166656927482</c:v>
                </c:pt>
                <c:pt idx="66">
                  <c:v>0.11864406779661017</c:v>
                </c:pt>
                <c:pt idx="67">
                  <c:v>0.11102030552586911</c:v>
                </c:pt>
                <c:pt idx="68">
                  <c:v>0.10039048633297834</c:v>
                </c:pt>
                <c:pt idx="69">
                  <c:v>0.09225365132187095</c:v>
                </c:pt>
                <c:pt idx="70">
                  <c:v>0.09634809634809635</c:v>
                </c:pt>
                <c:pt idx="71">
                  <c:v>0.09124663510628422</c:v>
                </c:pt>
                <c:pt idx="72">
                  <c:v>0.09001506157526358</c:v>
                </c:pt>
                <c:pt idx="73">
                  <c:v>0.09159312587087784</c:v>
                </c:pt>
                <c:pt idx="74">
                  <c:v>0.0950654403961797</c:v>
                </c:pt>
                <c:pt idx="75">
                  <c:v>0.1005668696199874</c:v>
                </c:pt>
                <c:pt idx="76">
                  <c:v>0.10813811479960031</c:v>
                </c:pt>
                <c:pt idx="77">
                  <c:v>0.10111085921559737</c:v>
                </c:pt>
                <c:pt idx="78">
                  <c:v>0.10998038254046101</c:v>
                </c:pt>
                <c:pt idx="79">
                  <c:v>0.10404028842852238</c:v>
                </c:pt>
                <c:pt idx="80">
                  <c:v>0.1010171058714748</c:v>
                </c:pt>
                <c:pt idx="81">
                  <c:v>0.09768397459843108</c:v>
                </c:pt>
                <c:pt idx="82">
                  <c:v>0.0993003559592488</c:v>
                </c:pt>
                <c:pt idx="83">
                  <c:v>0.09755761004553608</c:v>
                </c:pt>
                <c:pt idx="84">
                  <c:v>0.09679685304860916</c:v>
                </c:pt>
                <c:pt idx="85">
                  <c:v>0.10017186349128407</c:v>
                </c:pt>
                <c:pt idx="86">
                  <c:v>0.11238293444328824</c:v>
                </c:pt>
                <c:pt idx="87">
                  <c:v>0.11858608893956671</c:v>
                </c:pt>
                <c:pt idx="88">
                  <c:v>0.10975040821087008</c:v>
                </c:pt>
                <c:pt idx="89">
                  <c:v>0.11405642023346303</c:v>
                </c:pt>
                <c:pt idx="90">
                  <c:v>0.09969001859888407</c:v>
                </c:pt>
                <c:pt idx="91">
                  <c:v>0.09940814107984056</c:v>
                </c:pt>
                <c:pt idx="92">
                  <c:v>0.10789865871833085</c:v>
                </c:pt>
                <c:pt idx="93">
                  <c:v>0.1051984877126654</c:v>
                </c:pt>
                <c:pt idx="94">
                  <c:v>0.10679611650485436</c:v>
                </c:pt>
                <c:pt idx="95">
                  <c:v>0.10736944851146901</c:v>
                </c:pt>
                <c:pt idx="96">
                  <c:v>0.10914285714285714</c:v>
                </c:pt>
                <c:pt idx="97">
                  <c:v>0.1106441859273305</c:v>
                </c:pt>
                <c:pt idx="98">
                  <c:v>0.10942194717251895</c:v>
                </c:pt>
                <c:pt idx="99">
                  <c:v>0.11188295560384974</c:v>
                </c:pt>
                <c:pt idx="100">
                  <c:v>0.11848436824665033</c:v>
                </c:pt>
                <c:pt idx="101">
                  <c:v>0.11371447935324587</c:v>
                </c:pt>
                <c:pt idx="102">
                  <c:v>0.1126475146024556</c:v>
                </c:pt>
                <c:pt idx="103">
                  <c:v>0.11297735913295126</c:v>
                </c:pt>
                <c:pt idx="104">
                  <c:v>0.1104825291181364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5874923013140656</c:v>
                </c:pt>
                <c:pt idx="1">
                  <c:v>0.446079009838391</c:v>
                </c:pt>
                <c:pt idx="2">
                  <c:v>0.4543389651648549</c:v>
                </c:pt>
                <c:pt idx="3">
                  <c:v>0.42032969681449994</c:v>
                </c:pt>
                <c:pt idx="4">
                  <c:v>0.43356587435380506</c:v>
                </c:pt>
                <c:pt idx="5">
                  <c:v>0.4399305969973116</c:v>
                </c:pt>
                <c:pt idx="6">
                  <c:v>0.4663652241217277</c:v>
                </c:pt>
                <c:pt idx="7">
                  <c:v>0.441096760098443</c:v>
                </c:pt>
                <c:pt idx="8">
                  <c:v>0.46622164934338745</c:v>
                </c:pt>
                <c:pt idx="9">
                  <c:v>0.4563864177056298</c:v>
                </c:pt>
                <c:pt idx="10">
                  <c:v>0.45323501626634666</c:v>
                </c:pt>
                <c:pt idx="11">
                  <c:v>0.46614813242209047</c:v>
                </c:pt>
                <c:pt idx="12">
                  <c:v>0.46120638040360806</c:v>
                </c:pt>
                <c:pt idx="13">
                  <c:v>0.4388088091889233</c:v>
                </c:pt>
                <c:pt idx="14">
                  <c:v>0.43636522334074435</c:v>
                </c:pt>
                <c:pt idx="15">
                  <c:v>0.4276822971163182</c:v>
                </c:pt>
                <c:pt idx="16">
                  <c:v>0.4365286432735543</c:v>
                </c:pt>
                <c:pt idx="17">
                  <c:v>0.3924337402616193</c:v>
                </c:pt>
                <c:pt idx="18">
                  <c:v>0.4182608798227673</c:v>
                </c:pt>
                <c:pt idx="19">
                  <c:v>0.44422839629260674</c:v>
                </c:pt>
                <c:pt idx="20">
                  <c:v>0.4282644737167697</c:v>
                </c:pt>
                <c:pt idx="21">
                  <c:v>0.4130947715423035</c:v>
                </c:pt>
                <c:pt idx="22">
                  <c:v>0.40539096124652274</c:v>
                </c:pt>
                <c:pt idx="23">
                  <c:v>0.4118674045621776</c:v>
                </c:pt>
                <c:pt idx="24">
                  <c:v>0.4204843462215283</c:v>
                </c:pt>
                <c:pt idx="25">
                  <c:v>0.4300509848432999</c:v>
                </c:pt>
                <c:pt idx="26">
                  <c:v>0.42027620623895895</c:v>
                </c:pt>
                <c:pt idx="27">
                  <c:v>0.4295647693128771</c:v>
                </c:pt>
                <c:pt idx="28">
                  <c:v>0.44580353040053344</c:v>
                </c:pt>
                <c:pt idx="29">
                  <c:v>0.4132726007667248</c:v>
                </c:pt>
                <c:pt idx="30">
                  <c:v>0.4148807378444269</c:v>
                </c:pt>
                <c:pt idx="31">
                  <c:v>0.43122803336583215</c:v>
                </c:pt>
                <c:pt idx="32">
                  <c:v>0.43578542242213714</c:v>
                </c:pt>
                <c:pt idx="33">
                  <c:v>0.44922558409957325</c:v>
                </c:pt>
                <c:pt idx="34">
                  <c:v>0.4608012158774797</c:v>
                </c:pt>
                <c:pt idx="35">
                  <c:v>0.44582367970694914</c:v>
                </c:pt>
                <c:pt idx="36">
                  <c:v>0.4106576294828062</c:v>
                </c:pt>
                <c:pt idx="37">
                  <c:v>0.40759367374706196</c:v>
                </c:pt>
                <c:pt idx="38">
                  <c:v>0.4109483734586549</c:v>
                </c:pt>
                <c:pt idx="39">
                  <c:v>0.4342506922831833</c:v>
                </c:pt>
                <c:pt idx="40">
                  <c:v>0.430346989390726</c:v>
                </c:pt>
                <c:pt idx="41">
                  <c:v>0.4358817715849653</c:v>
                </c:pt>
                <c:pt idx="42">
                  <c:v>0.4239227826136137</c:v>
                </c:pt>
                <c:pt idx="43">
                  <c:v>0.4809946324407457</c:v>
                </c:pt>
                <c:pt idx="44">
                  <c:v>0.5277617901057047</c:v>
                </c:pt>
                <c:pt idx="45">
                  <c:v>0.5514419414913971</c:v>
                </c:pt>
                <c:pt idx="46">
                  <c:v>0.5176640952453647</c:v>
                </c:pt>
                <c:pt idx="47">
                  <c:v>0.5283234827769745</c:v>
                </c:pt>
                <c:pt idx="48">
                  <c:v>0.5579985235652188</c:v>
                </c:pt>
                <c:pt idx="49">
                  <c:v>0.571029130809796</c:v>
                </c:pt>
                <c:pt idx="50">
                  <c:v>0.5878840096460591</c:v>
                </c:pt>
                <c:pt idx="51">
                  <c:v>0.5403469654830344</c:v>
                </c:pt>
              </c:numCache>
            </c:numRef>
          </c:xVal>
          <c:yVal>
            <c:numRef>
              <c:f>Sheet1!$B$109:$B$160</c:f>
              <c:numCache>
                <c:formatCode>General</c:formatCode>
                <c:ptCount val="52"/>
                <c:pt idx="0">
                  <c:v>0.11244691668161971</c:v>
                </c:pt>
                <c:pt idx="1">
                  <c:v>0.10773805836069636</c:v>
                </c:pt>
                <c:pt idx="2">
                  <c:v>0.12557179515787126</c:v>
                </c:pt>
                <c:pt idx="3">
                  <c:v>0.14269586814179272</c:v>
                </c:pt>
                <c:pt idx="4">
                  <c:v>0.12219994270982526</c:v>
                </c:pt>
                <c:pt idx="5">
                  <c:v>0.12453797543817813</c:v>
                </c:pt>
                <c:pt idx="6">
                  <c:v>0.13373069628826875</c:v>
                </c:pt>
                <c:pt idx="7">
                  <c:v>0.14016351182146278</c:v>
                </c:pt>
                <c:pt idx="8">
                  <c:v>0.12179070523236919</c:v>
                </c:pt>
                <c:pt idx="9">
                  <c:v>0.13084326306141156</c:v>
                </c:pt>
                <c:pt idx="10">
                  <c:v>0.1377449168207024</c:v>
                </c:pt>
                <c:pt idx="11">
                  <c:v>0.13321432556063817</c:v>
                </c:pt>
                <c:pt idx="12">
                  <c:v>0.13040138275398502</c:v>
                </c:pt>
                <c:pt idx="13">
                  <c:v>0.1251391526422631</c:v>
                </c:pt>
                <c:pt idx="14">
                  <c:v>0.12566922297786137</c:v>
                </c:pt>
                <c:pt idx="15">
                  <c:v>0.12627492769066828</c:v>
                </c:pt>
                <c:pt idx="16">
                  <c:v>0.11987162806834938</c:v>
                </c:pt>
                <c:pt idx="17">
                  <c:v>0.1311179338992234</c:v>
                </c:pt>
                <c:pt idx="18">
                  <c:v>0.12306377523768829</c:v>
                </c:pt>
                <c:pt idx="19">
                  <c:v>0.1133887898593781</c:v>
                </c:pt>
                <c:pt idx="20">
                  <c:v>0.10356500581825875</c:v>
                </c:pt>
                <c:pt idx="21">
                  <c:v>0.10847995766635798</c:v>
                </c:pt>
                <c:pt idx="22">
                  <c:v>0.11260018394429115</c:v>
                </c:pt>
                <c:pt idx="23">
                  <c:v>0.1124674255931971</c:v>
                </c:pt>
                <c:pt idx="24">
                  <c:v>0.11437578814627995</c:v>
                </c:pt>
                <c:pt idx="25">
                  <c:v>0.11745558117455582</c:v>
                </c:pt>
                <c:pt idx="26">
                  <c:v>0.11130456410894167</c:v>
                </c:pt>
                <c:pt idx="27">
                  <c:v>0.115748031496063</c:v>
                </c:pt>
                <c:pt idx="28">
                  <c:v>0.10853023628354025</c:v>
                </c:pt>
                <c:pt idx="29">
                  <c:v>0.11010269882971101</c:v>
                </c:pt>
                <c:pt idx="30">
                  <c:v>0.11395087894277521</c:v>
                </c:pt>
                <c:pt idx="31">
                  <c:v>0.11002804112698625</c:v>
                </c:pt>
                <c:pt idx="32">
                  <c:v>0.10702263493905978</c:v>
                </c:pt>
                <c:pt idx="33">
                  <c:v>0.12787082539364156</c:v>
                </c:pt>
                <c:pt idx="34">
                  <c:v>0.13615101904443702</c:v>
                </c:pt>
                <c:pt idx="35">
                  <c:v>0.136327185244587</c:v>
                </c:pt>
                <c:pt idx="36">
                  <c:v>0.12400939242735544</c:v>
                </c:pt>
                <c:pt idx="37">
                  <c:v>0.11997920187183153</c:v>
                </c:pt>
                <c:pt idx="38">
                  <c:v>0.12323087919942816</c:v>
                </c:pt>
                <c:pt idx="39">
                  <c:v>0.13048597730678654</c:v>
                </c:pt>
                <c:pt idx="40">
                  <c:v>0.12352879908342881</c:v>
                </c:pt>
                <c:pt idx="41">
                  <c:v>0.12875662934590454</c:v>
                </c:pt>
                <c:pt idx="42">
                  <c:v>0.12409160977758203</c:v>
                </c:pt>
                <c:pt idx="43">
                  <c:v>0.11939594148183105</c:v>
                </c:pt>
                <c:pt idx="44">
                  <c:v>0.11820958958693054</c:v>
                </c:pt>
                <c:pt idx="45">
                  <c:v>0.12854775222705614</c:v>
                </c:pt>
                <c:pt idx="46">
                  <c:v>0.14696623665205852</c:v>
                </c:pt>
                <c:pt idx="47">
                  <c:v>0.1445496254137871</c:v>
                </c:pt>
                <c:pt idx="48">
                  <c:v>0.14861535429190895</c:v>
                </c:pt>
                <c:pt idx="49">
                  <c:v>0.15222417460464255</c:v>
                </c:pt>
                <c:pt idx="50">
                  <c:v>0.15457490373449057</c:v>
                </c:pt>
                <c:pt idx="51">
                  <c:v>0.14475201845444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929403268266092</c:v>
                </c:pt>
              </c:numCache>
            </c:numRef>
          </c:xVal>
          <c:yVal>
            <c:numRef>
              <c:f>Sheet1!$B$163:$B$164</c:f>
              <c:numCache>
                <c:formatCode>General</c:formatCode>
                <c:ptCount val="2"/>
                <c:pt idx="0">
                  <c:v>0.15004161277137068</c:v>
                </c:pt>
                <c:pt idx="1">
                  <c:v>0.1500416127713706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929403268266092</c:v>
                </c:pt>
                <c:pt idx="1">
                  <c:v>0.5929403268266092</c:v>
                </c:pt>
              </c:numCache>
            </c:numRef>
          </c:xVal>
          <c:yVal>
            <c:numRef>
              <c:f>Sheet1!$B$167:$B$168</c:f>
              <c:numCache>
                <c:formatCode>General</c:formatCode>
                <c:ptCount val="2"/>
                <c:pt idx="0">
                  <c:v>0.1500416127713706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929403268266092</c:v>
                </c:pt>
              </c:numCache>
            </c:numRef>
          </c:xVal>
          <c:yVal>
            <c:numRef>
              <c:f>Sheet1!$B$171:$B$172</c:f>
              <c:numCache>
                <c:formatCode>General</c:formatCode>
                <c:ptCount val="2"/>
                <c:pt idx="0">
                  <c:v>0.15004161277137068</c:v>
                </c:pt>
                <c:pt idx="1">
                  <c:v>0.1500416127713706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929403268266092</c:v>
                </c:pt>
                <c:pt idx="1">
                  <c:v>0.5929403268266092</c:v>
                </c:pt>
              </c:numCache>
            </c:numRef>
          </c:xVal>
          <c:yVal>
            <c:numRef>
              <c:f>Sheet1!$B$175:$B$176</c:f>
              <c:numCache>
                <c:formatCode>General</c:formatCode>
                <c:ptCount val="2"/>
                <c:pt idx="0">
                  <c:v>0.1500416127713706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124356335263482</c:v>
                </c:pt>
              </c:numCache>
            </c:numRef>
          </c:xVal>
          <c:yVal>
            <c:numRef>
              <c:f>Sheet1!$B$179:$B$180</c:f>
              <c:numCache>
                <c:formatCode>General</c:formatCode>
                <c:ptCount val="2"/>
                <c:pt idx="0">
                  <c:v>0.13574604707391139</c:v>
                </c:pt>
                <c:pt idx="1">
                  <c:v>0.1357460470739113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124356335263482</c:v>
                </c:pt>
                <c:pt idx="1">
                  <c:v>0.5124356335263482</c:v>
                </c:pt>
              </c:numCache>
            </c:numRef>
          </c:xVal>
          <c:yVal>
            <c:numRef>
              <c:f>Sheet1!$B$183:$B$184</c:f>
              <c:numCache>
                <c:formatCode>General</c:formatCode>
                <c:ptCount val="2"/>
                <c:pt idx="0">
                  <c:v>0.1357460470739113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5874923013140656</c:v>
                </c:pt>
                <c:pt idx="1">
                  <c:v>0.446079009838391</c:v>
                </c:pt>
                <c:pt idx="2">
                  <c:v>0.4543389651648549</c:v>
                </c:pt>
                <c:pt idx="3">
                  <c:v>0.42032969681449994</c:v>
                </c:pt>
                <c:pt idx="4">
                  <c:v>0.43356587435380506</c:v>
                </c:pt>
                <c:pt idx="5">
                  <c:v>0.4399305969973116</c:v>
                </c:pt>
                <c:pt idx="6">
                  <c:v>0.4663652241217277</c:v>
                </c:pt>
                <c:pt idx="7">
                  <c:v>0.441096760098443</c:v>
                </c:pt>
                <c:pt idx="8">
                  <c:v>0.46622164934338745</c:v>
                </c:pt>
                <c:pt idx="9">
                  <c:v>0.4563864177056298</c:v>
                </c:pt>
                <c:pt idx="10">
                  <c:v>0.45323501626634666</c:v>
                </c:pt>
                <c:pt idx="11">
                  <c:v>0.46614813242209047</c:v>
                </c:pt>
                <c:pt idx="12">
                  <c:v>0.46120638040360806</c:v>
                </c:pt>
                <c:pt idx="13">
                  <c:v>0.4388088091889233</c:v>
                </c:pt>
                <c:pt idx="14">
                  <c:v>0.43636522334074435</c:v>
                </c:pt>
                <c:pt idx="15">
                  <c:v>0.4276822971163182</c:v>
                </c:pt>
                <c:pt idx="16">
                  <c:v>0.4365286432735543</c:v>
                </c:pt>
                <c:pt idx="17">
                  <c:v>0.3924337402616193</c:v>
                </c:pt>
                <c:pt idx="18">
                  <c:v>0.4182608798227673</c:v>
                </c:pt>
                <c:pt idx="19">
                  <c:v>0.44422839629260674</c:v>
                </c:pt>
                <c:pt idx="20">
                  <c:v>0.4282644737167697</c:v>
                </c:pt>
                <c:pt idx="21">
                  <c:v>0.4130947715423035</c:v>
                </c:pt>
                <c:pt idx="22">
                  <c:v>0.40539096124652274</c:v>
                </c:pt>
                <c:pt idx="23">
                  <c:v>0.4118674045621776</c:v>
                </c:pt>
                <c:pt idx="24">
                  <c:v>0.4204843462215283</c:v>
                </c:pt>
                <c:pt idx="25">
                  <c:v>0.4300509848432999</c:v>
                </c:pt>
                <c:pt idx="26">
                  <c:v>0.42027620623895895</c:v>
                </c:pt>
                <c:pt idx="27">
                  <c:v>0.4295647693128771</c:v>
                </c:pt>
                <c:pt idx="28">
                  <c:v>0.44580353040053344</c:v>
                </c:pt>
                <c:pt idx="29">
                  <c:v>0.4132726007667248</c:v>
                </c:pt>
                <c:pt idx="30">
                  <c:v>0.4148807378444269</c:v>
                </c:pt>
                <c:pt idx="31">
                  <c:v>0.43122803336583215</c:v>
                </c:pt>
                <c:pt idx="32">
                  <c:v>0.43578542242213714</c:v>
                </c:pt>
                <c:pt idx="33">
                  <c:v>0.44922558409957325</c:v>
                </c:pt>
                <c:pt idx="34">
                  <c:v>0.4608012158774797</c:v>
                </c:pt>
                <c:pt idx="35">
                  <c:v>0.44582367970694914</c:v>
                </c:pt>
                <c:pt idx="36">
                  <c:v>0.4106576294828062</c:v>
                </c:pt>
                <c:pt idx="37">
                  <c:v>0.40759367374706196</c:v>
                </c:pt>
                <c:pt idx="38">
                  <c:v>0.4109483734586549</c:v>
                </c:pt>
                <c:pt idx="39">
                  <c:v>0.4342506922831833</c:v>
                </c:pt>
                <c:pt idx="40">
                  <c:v>0.430346989390726</c:v>
                </c:pt>
                <c:pt idx="41">
                  <c:v>0.4358817715849653</c:v>
                </c:pt>
                <c:pt idx="42">
                  <c:v>0.4239227826136137</c:v>
                </c:pt>
                <c:pt idx="43">
                  <c:v>0.4809946324407457</c:v>
                </c:pt>
                <c:pt idx="44">
                  <c:v>0.5277617901057047</c:v>
                </c:pt>
                <c:pt idx="45">
                  <c:v>0.5514419414913971</c:v>
                </c:pt>
                <c:pt idx="46">
                  <c:v>0.5176640952453647</c:v>
                </c:pt>
                <c:pt idx="47">
                  <c:v>0.5283234827769745</c:v>
                </c:pt>
                <c:pt idx="48">
                  <c:v>0.5579985235652188</c:v>
                </c:pt>
                <c:pt idx="49">
                  <c:v>0.571029130809796</c:v>
                </c:pt>
                <c:pt idx="50">
                  <c:v>0.5878840096460591</c:v>
                </c:pt>
                <c:pt idx="51">
                  <c:v>0.5403469654830344</c:v>
                </c:pt>
                <c:pt idx="52">
                  <c:v>0.5929403268266092</c:v>
                </c:pt>
                <c:pt idx="53">
                  <c:v>0.5929403268266092</c:v>
                </c:pt>
                <c:pt idx="54">
                  <c:v>0.5124356335263482</c:v>
                </c:pt>
              </c:numCache>
            </c:numRef>
          </c:xVal>
          <c:yVal>
            <c:numRef>
              <c:f>Sheet1!$B$187:$B$241</c:f>
              <c:numCache>
                <c:formatCode>General</c:formatCode>
                <c:ptCount val="55"/>
                <c:pt idx="0">
                  <c:v>0.1262127208126684</c:v>
                </c:pt>
                <c:pt idx="1">
                  <c:v>0.12396281513419415</c:v>
                </c:pt>
                <c:pt idx="2">
                  <c:v>0.12542957103607844</c:v>
                </c:pt>
                <c:pt idx="3">
                  <c:v>0.11939039853452386</c:v>
                </c:pt>
                <c:pt idx="4">
                  <c:v>0.12174080368283785</c:v>
                </c:pt>
                <c:pt idx="5">
                  <c:v>0.12287101494091936</c:v>
                </c:pt>
                <c:pt idx="6">
                  <c:v>0.12756512572195755</c:v>
                </c:pt>
                <c:pt idx="7">
                  <c:v>0.12307809555377255</c:v>
                </c:pt>
                <c:pt idx="8">
                  <c:v>0.12753963052916667</c:v>
                </c:pt>
                <c:pt idx="9">
                  <c:v>0.12579314601673097</c:v>
                </c:pt>
                <c:pt idx="10">
                  <c:v>0.12523353806758553</c:v>
                </c:pt>
                <c:pt idx="11">
                  <c:v>0.12752657581229004</c:v>
                </c:pt>
                <c:pt idx="12">
                  <c:v>0.12664904758698176</c:v>
                </c:pt>
                <c:pt idx="13">
                  <c:v>0.12267181424023957</c:v>
                </c:pt>
                <c:pt idx="14">
                  <c:v>0.12223789615921868</c:v>
                </c:pt>
                <c:pt idx="15">
                  <c:v>0.12069603149022959</c:v>
                </c:pt>
                <c:pt idx="16">
                  <c:v>0.12226691534170343</c:v>
                </c:pt>
                <c:pt idx="17">
                  <c:v>0.11443679318250047</c:v>
                </c:pt>
                <c:pt idx="18">
                  <c:v>0.11902302977614568</c:v>
                </c:pt>
                <c:pt idx="19">
                  <c:v>0.12363419370307219</c:v>
                </c:pt>
                <c:pt idx="20">
                  <c:v>0.12079941110076033</c:v>
                </c:pt>
                <c:pt idx="21">
                  <c:v>0.1181056616414941</c:v>
                </c:pt>
                <c:pt idx="22">
                  <c:v>0.11673766281199305</c:v>
                </c:pt>
                <c:pt idx="23">
                  <c:v>0.11788771279180603</c:v>
                </c:pt>
                <c:pt idx="24">
                  <c:v>0.11941786029690835</c:v>
                </c:pt>
                <c:pt idx="25">
                  <c:v>0.12111664958874885</c:v>
                </c:pt>
                <c:pt idx="26">
                  <c:v>0.11938089998225948</c:v>
                </c:pt>
                <c:pt idx="27">
                  <c:v>0.12103031019941214</c:v>
                </c:pt>
                <c:pt idx="28">
                  <c:v>0.12391389706195824</c:v>
                </c:pt>
                <c:pt idx="29">
                  <c:v>0.11813723954405389</c:v>
                </c:pt>
                <c:pt idx="30">
                  <c:v>0.11842280338266226</c:v>
                </c:pt>
                <c:pt idx="31">
                  <c:v>0.12132566317284138</c:v>
                </c:pt>
                <c:pt idx="32">
                  <c:v>0.12213493840876205</c:v>
                </c:pt>
                <c:pt idx="33">
                  <c:v>0.12452156590049909</c:v>
                </c:pt>
                <c:pt idx="34">
                  <c:v>0.12657710077414258</c:v>
                </c:pt>
                <c:pt idx="35">
                  <c:v>0.12391747506122532</c:v>
                </c:pt>
                <c:pt idx="36">
                  <c:v>0.11767288781182879</c:v>
                </c:pt>
                <c:pt idx="37">
                  <c:v>0.11712880797351335</c:v>
                </c:pt>
                <c:pt idx="38">
                  <c:v>0.11772451647392906</c:v>
                </c:pt>
                <c:pt idx="39">
                  <c:v>0.12186240975695468</c:v>
                </c:pt>
                <c:pt idx="40">
                  <c:v>0.12116921239323894</c:v>
                </c:pt>
                <c:pt idx="41">
                  <c:v>0.12215204754526876</c:v>
                </c:pt>
                <c:pt idx="42">
                  <c:v>0.12002843828093046</c:v>
                </c:pt>
                <c:pt idx="43">
                  <c:v>0.13016293287041114</c:v>
                </c:pt>
                <c:pt idx="44">
                  <c:v>0.13846757881681943</c:v>
                </c:pt>
                <c:pt idx="45">
                  <c:v>0.14267256545775173</c:v>
                </c:pt>
                <c:pt idx="46">
                  <c:v>0.13667448757764794</c:v>
                </c:pt>
                <c:pt idx="47">
                  <c:v>0.13856732100767494</c:v>
                </c:pt>
                <c:pt idx="48">
                  <c:v>0.14383684602258184</c:v>
                </c:pt>
                <c:pt idx="49">
                  <c:v>0.14615074716680293</c:v>
                </c:pt>
                <c:pt idx="50">
                  <c:v>0.1491437407159844</c:v>
                </c:pt>
                <c:pt idx="51">
                  <c:v>0.14070238270272012</c:v>
                </c:pt>
                <c:pt idx="52">
                  <c:v>0.15004161277137068</c:v>
                </c:pt>
                <c:pt idx="53">
                  <c:v>0.15004161277137068</c:v>
                </c:pt>
                <c:pt idx="54">
                  <c:v>0.135746047073911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742307692307692"/>
          <c:min val="0.0497106918238993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7.9855</c:v>
                </c:pt>
                <c:pt idx="1">
                  <c:v>855.3404</c:v>
                </c:pt>
                <c:pt idx="2">
                  <c:v>889.698</c:v>
                </c:pt>
                <c:pt idx="3">
                  <c:v>904.0655</c:v>
                </c:pt>
                <c:pt idx="4">
                  <c:v>903.4781</c:v>
                </c:pt>
                <c:pt idx="5">
                  <c:v>880.8881</c:v>
                </c:pt>
                <c:pt idx="6">
                  <c:v>840.9628</c:v>
                </c:pt>
                <c:pt idx="7">
                  <c:v>845.2156</c:v>
                </c:pt>
                <c:pt idx="8">
                  <c:v>839.7329</c:v>
                </c:pt>
                <c:pt idx="9">
                  <c:v>830.6584</c:v>
                </c:pt>
                <c:pt idx="10">
                  <c:v>791.1353</c:v>
                </c:pt>
                <c:pt idx="11">
                  <c:v>803.743</c:v>
                </c:pt>
                <c:pt idx="12">
                  <c:v>823.1874</c:v>
                </c:pt>
                <c:pt idx="13">
                  <c:v>804.9157</c:v>
                </c:pt>
                <c:pt idx="14">
                  <c:v>887.3465</c:v>
                </c:pt>
                <c:pt idx="15">
                  <c:v>898.6747</c:v>
                </c:pt>
                <c:pt idx="16">
                  <c:v>922.2058</c:v>
                </c:pt>
                <c:pt idx="17">
                  <c:v>929.2605</c:v>
                </c:pt>
                <c:pt idx="18">
                  <c:v>953.0339</c:v>
                </c:pt>
                <c:pt idx="19">
                  <c:v>943.1984</c:v>
                </c:pt>
                <c:pt idx="20">
                  <c:v>982.3711</c:v>
                </c:pt>
                <c:pt idx="21">
                  <c:v>1000.3374</c:v>
                </c:pt>
                <c:pt idx="22">
                  <c:v>971.1642</c:v>
                </c:pt>
                <c:pt idx="23">
                  <c:v>977.802</c:v>
                </c:pt>
                <c:pt idx="24">
                  <c:v>1001.0362</c:v>
                </c:pt>
                <c:pt idx="25">
                  <c:v>976.5825</c:v>
                </c:pt>
                <c:pt idx="26">
                  <c:v>948.2154</c:v>
                </c:pt>
                <c:pt idx="27">
                  <c:v>992.5855</c:v>
                </c:pt>
                <c:pt idx="28">
                  <c:v>986.0331</c:v>
                </c:pt>
                <c:pt idx="29">
                  <c:v>967.2592</c:v>
                </c:pt>
                <c:pt idx="30">
                  <c:v>962.5954</c:v>
                </c:pt>
                <c:pt idx="31">
                  <c:v>977.165</c:v>
                </c:pt>
                <c:pt idx="32">
                  <c:v>958.183</c:v>
                </c:pt>
                <c:pt idx="33">
                  <c:v>946.4541</c:v>
                </c:pt>
                <c:pt idx="34">
                  <c:v>937.1511</c:v>
                </c:pt>
                <c:pt idx="35">
                  <c:v>988.3068</c:v>
                </c:pt>
                <c:pt idx="36">
                  <c:v>1057.0521</c:v>
                </c:pt>
                <c:pt idx="37">
                  <c:v>1092.4684</c:v>
                </c:pt>
                <c:pt idx="38">
                  <c:v>1111.1322</c:v>
                </c:pt>
                <c:pt idx="39">
                  <c:v>1130.0316</c:v>
                </c:pt>
                <c:pt idx="40">
                  <c:v>1141.7033</c:v>
                </c:pt>
                <c:pt idx="41">
                  <c:v>1158.0798</c:v>
                </c:pt>
                <c:pt idx="42">
                  <c:v>1173.6021</c:v>
                </c:pt>
                <c:pt idx="43">
                  <c:v>1180.886</c:v>
                </c:pt>
                <c:pt idx="44">
                  <c:v>1117.3461</c:v>
                </c:pt>
                <c:pt idx="45">
                  <c:v>1086.4217</c:v>
                </c:pt>
                <c:pt idx="46">
                  <c:v>1075.2143</c:v>
                </c:pt>
                <c:pt idx="47">
                  <c:v>1051.184</c:v>
                </c:pt>
                <c:pt idx="48">
                  <c:v>1051.2865</c:v>
                </c:pt>
                <c:pt idx="49">
                  <c:v>1009.0117</c:v>
                </c:pt>
                <c:pt idx="50">
                  <c:v>1002.1689</c:v>
                </c:pt>
                <c:pt idx="51">
                  <c:v>1015.7357</c:v>
                </c:pt>
                <c:pt idx="52">
                  <c:v>1023.5108</c:v>
                </c:pt>
                <c:pt idx="53">
                  <c:v>1125.9647</c:v>
                </c:pt>
                <c:pt idx="54">
                  <c:v>1109.0469</c:v>
                </c:pt>
                <c:pt idx="55">
                  <c:v>1112.28</c:v>
                </c:pt>
                <c:pt idx="56">
                  <c:v>1122.3024</c:v>
                </c:pt>
                <c:pt idx="57">
                  <c:v>1110.3562</c:v>
                </c:pt>
                <c:pt idx="58">
                  <c:v>1056.077</c:v>
                </c:pt>
                <c:pt idx="59">
                  <c:v>1063.4772</c:v>
                </c:pt>
                <c:pt idx="60">
                  <c:v>1076.196</c:v>
                </c:pt>
                <c:pt idx="61">
                  <c:v>1076.1702</c:v>
                </c:pt>
                <c:pt idx="62">
                  <c:v>1002.0</c:v>
                </c:pt>
                <c:pt idx="63">
                  <c:v>1032.9111</c:v>
                </c:pt>
                <c:pt idx="64">
                  <c:v>1042.763</c:v>
                </c:pt>
                <c:pt idx="65">
                  <c:v>1027.0552</c:v>
                </c:pt>
                <c:pt idx="66">
                  <c:v>1045.5811</c:v>
                </c:pt>
                <c:pt idx="67">
                  <c:v>1073.3012</c:v>
                </c:pt>
                <c:pt idx="68">
                  <c:v>1078.7461</c:v>
                </c:pt>
                <c:pt idx="69">
                  <c:v>1117.0591</c:v>
                </c:pt>
                <c:pt idx="70">
                  <c:v>1101.6989</c:v>
                </c:pt>
                <c:pt idx="71">
                  <c:v>1156.6236</c:v>
                </c:pt>
                <c:pt idx="72">
                  <c:v>1231.2126</c:v>
                </c:pt>
                <c:pt idx="73">
                  <c:v>1201.6633</c:v>
                </c:pt>
                <c:pt idx="74">
                  <c:v>1189.1553</c:v>
                </c:pt>
                <c:pt idx="75">
                  <c:v>1182.023</c:v>
                </c:pt>
                <c:pt idx="76">
                  <c:v>1128.7823</c:v>
                </c:pt>
                <c:pt idx="77">
                  <c:v>1127.2612</c:v>
                </c:pt>
                <c:pt idx="78">
                  <c:v>1146.9253</c:v>
                </c:pt>
                <c:pt idx="79">
                  <c:v>1156.7316</c:v>
                </c:pt>
                <c:pt idx="80">
                  <c:v>1161.0435</c:v>
                </c:pt>
                <c:pt idx="81">
                  <c:v>1181.9474</c:v>
                </c:pt>
                <c:pt idx="82">
                  <c:v>1171.1731</c:v>
                </c:pt>
                <c:pt idx="83">
                  <c:v>1145.2532</c:v>
                </c:pt>
                <c:pt idx="84">
                  <c:v>1168.0232</c:v>
                </c:pt>
                <c:pt idx="85">
                  <c:v>1147.3824</c:v>
                </c:pt>
                <c:pt idx="86">
                  <c:v>1119.6667</c:v>
                </c:pt>
                <c:pt idx="87">
                  <c:v>1132.879</c:v>
                </c:pt>
                <c:pt idx="88">
                  <c:v>1181.1838</c:v>
                </c:pt>
                <c:pt idx="89">
                  <c:v>1169.3507</c:v>
                </c:pt>
                <c:pt idx="90">
                  <c:v>1244.3134</c:v>
                </c:pt>
                <c:pt idx="91">
                  <c:v>1253.3706</c:v>
                </c:pt>
                <c:pt idx="92">
                  <c:v>1195.8637</c:v>
                </c:pt>
                <c:pt idx="93">
                  <c:v>1236.1186</c:v>
                </c:pt>
                <c:pt idx="94">
                  <c:v>1236.0857</c:v>
                </c:pt>
                <c:pt idx="95">
                  <c:v>1203.9583</c:v>
                </c:pt>
                <c:pt idx="96">
                  <c:v>1132.7361</c:v>
                </c:pt>
                <c:pt idx="97">
                  <c:v>1131.0107</c:v>
                </c:pt>
                <c:pt idx="98">
                  <c:v>1120.3529</c:v>
                </c:pt>
                <c:pt idx="99">
                  <c:v>1083.4457</c:v>
                </c:pt>
                <c:pt idx="100">
                  <c:v>1089.9572</c:v>
                </c:pt>
                <c:pt idx="101">
                  <c:v>1127.602</c:v>
                </c:pt>
                <c:pt idx="102">
                  <c:v>1128.1704</c:v>
                </c:pt>
                <c:pt idx="103">
                  <c:v>1097.0673</c:v>
                </c:pt>
                <c:pt idx="104">
                  <c:v>1118.95</c:v>
                </c:pt>
              </c:numCache>
            </c:numRef>
          </c:xVal>
          <c:yVal>
            <c:numRef>
              <c:f>Sheet1!$B$2:$B$106</c:f>
              <c:numCache>
                <c:formatCode>General</c:formatCode>
                <c:ptCount val="105"/>
                <c:pt idx="0">
                  <c:v>0.11896848842934515</c:v>
                </c:pt>
                <c:pt idx="1">
                  <c:v>0.10215736040609137</c:v>
                </c:pt>
                <c:pt idx="2">
                  <c:v>0.1050759415052792</c:v>
                </c:pt>
                <c:pt idx="3">
                  <c:v>0.10579283259695631</c:v>
                </c:pt>
                <c:pt idx="4">
                  <c:v>0.11008897602171618</c:v>
                </c:pt>
                <c:pt idx="5">
                  <c:v>0.1327621443169313</c:v>
                </c:pt>
                <c:pt idx="6">
                  <c:v>0.15625</c:v>
                </c:pt>
                <c:pt idx="7">
                  <c:v>0.15930018416206262</c:v>
                </c:pt>
                <c:pt idx="8">
                  <c:v>0.16451923076923078</c:v>
                </c:pt>
                <c:pt idx="9">
                  <c:v>0.1457197479289103</c:v>
                </c:pt>
                <c:pt idx="10">
                  <c:v>0.15560265262870035</c:v>
                </c:pt>
                <c:pt idx="11">
                  <c:v>0.15032990952996395</c:v>
                </c:pt>
                <c:pt idx="12">
                  <c:v>0.13436660208736953</c:v>
                </c:pt>
                <c:pt idx="13">
                  <c:v>0.12287970995727049</c:v>
                </c:pt>
                <c:pt idx="14">
                  <c:v>0.0973673766371213</c:v>
                </c:pt>
                <c:pt idx="15">
                  <c:v>0.08354044736631124</c:v>
                </c:pt>
                <c:pt idx="16">
                  <c:v>0.0801593920859976</c:v>
                </c:pt>
                <c:pt idx="17">
                  <c:v>0.07279731331489529</c:v>
                </c:pt>
                <c:pt idx="18">
                  <c:v>0.06708572667172429</c:v>
                </c:pt>
                <c:pt idx="19">
                  <c:v>0.062138364779874215</c:v>
                </c:pt>
                <c:pt idx="20">
                  <c:v>0.06312843370996164</c:v>
                </c:pt>
                <c:pt idx="21">
                  <c:v>0.06225631995975349</c:v>
                </c:pt>
                <c:pt idx="22">
                  <c:v>0.06519065190651907</c:v>
                </c:pt>
                <c:pt idx="23">
                  <c:v>0.07551546391752577</c:v>
                </c:pt>
                <c:pt idx="24">
                  <c:v>0.07444314185228605</c:v>
                </c:pt>
                <c:pt idx="25">
                  <c:v>0.07913669064748201</c:v>
                </c:pt>
                <c:pt idx="26">
                  <c:v>0.09623115577889448</c:v>
                </c:pt>
                <c:pt idx="27">
                  <c:v>0.10035798049623504</c:v>
                </c:pt>
                <c:pt idx="28">
                  <c:v>0.1226345539444581</c:v>
                </c:pt>
                <c:pt idx="29">
                  <c:v>0.1183000317158262</c:v>
                </c:pt>
                <c:pt idx="30">
                  <c:v>0.116016713091922</c:v>
                </c:pt>
                <c:pt idx="31">
                  <c:v>0.12250635961976168</c:v>
                </c:pt>
                <c:pt idx="32">
                  <c:v>0.13260510605868156</c:v>
                </c:pt>
                <c:pt idx="33">
                  <c:v>0.12173218918379565</c:v>
                </c:pt>
                <c:pt idx="34">
                  <c:v>0.12263707326248471</c:v>
                </c:pt>
                <c:pt idx="35">
                  <c:v>0.13272727272727272</c:v>
                </c:pt>
                <c:pt idx="36">
                  <c:v>0.11613358894158006</c:v>
                </c:pt>
                <c:pt idx="37">
                  <c:v>0.11009998876530727</c:v>
                </c:pt>
                <c:pt idx="38">
                  <c:v>0.10718269016283738</c:v>
                </c:pt>
                <c:pt idx="39">
                  <c:v>0.10073044297832234</c:v>
                </c:pt>
                <c:pt idx="40">
                  <c:v>0.10093692649473583</c:v>
                </c:pt>
                <c:pt idx="41">
                  <c:v>0.10222873286596212</c:v>
                </c:pt>
                <c:pt idx="42">
                  <c:v>0.1007912245998921</c:v>
                </c:pt>
                <c:pt idx="43">
                  <c:v>0.09560723514211886</c:v>
                </c:pt>
                <c:pt idx="44">
                  <c:v>0.10145497443963822</c:v>
                </c:pt>
                <c:pt idx="45">
                  <c:v>0.11657355679702049</c:v>
                </c:pt>
                <c:pt idx="46">
                  <c:v>0.12104588567034094</c:v>
                </c:pt>
                <c:pt idx="47">
                  <c:v>0.11573954735268341</c:v>
                </c:pt>
                <c:pt idx="48">
                  <c:v>0.11292336802270578</c:v>
                </c:pt>
                <c:pt idx="49">
                  <c:v>0.12055868659642245</c:v>
                </c:pt>
                <c:pt idx="50">
                  <c:v>0.1158253329204088</c:v>
                </c:pt>
                <c:pt idx="51">
                  <c:v>0.10993361349655886</c:v>
                </c:pt>
                <c:pt idx="52">
                  <c:v>0.1082557353170681</c:v>
                </c:pt>
                <c:pt idx="53">
                  <c:v>0.09893880663404715</c:v>
                </c:pt>
                <c:pt idx="54">
                  <c:v>0.10012941897690893</c:v>
                </c:pt>
                <c:pt idx="55">
                  <c:v>0.09788840721577402</c:v>
                </c:pt>
                <c:pt idx="56">
                  <c:v>0.1028030734206033</c:v>
                </c:pt>
                <c:pt idx="57">
                  <c:v>0.09741550695825049</c:v>
                </c:pt>
                <c:pt idx="58">
                  <c:v>0.11172437834069254</c:v>
                </c:pt>
                <c:pt idx="59">
                  <c:v>0.10297456420517952</c:v>
                </c:pt>
                <c:pt idx="60">
                  <c:v>0.10522660184059733</c:v>
                </c:pt>
                <c:pt idx="61">
                  <c:v>0.1114169459071326</c:v>
                </c:pt>
                <c:pt idx="62">
                  <c:v>0.1224251619303262</c:v>
                </c:pt>
                <c:pt idx="63">
                  <c:v>0.12486590860330402</c:v>
                </c:pt>
                <c:pt idx="64">
                  <c:v>0.1182589652340542</c:v>
                </c:pt>
                <c:pt idx="65">
                  <c:v>0.1196166656927482</c:v>
                </c:pt>
                <c:pt idx="66">
                  <c:v>0.11864406779661017</c:v>
                </c:pt>
                <c:pt idx="67">
                  <c:v>0.11102030552586911</c:v>
                </c:pt>
                <c:pt idx="68">
                  <c:v>0.10039048633297834</c:v>
                </c:pt>
                <c:pt idx="69">
                  <c:v>0.09225365132187095</c:v>
                </c:pt>
                <c:pt idx="70">
                  <c:v>0.09634809634809635</c:v>
                </c:pt>
                <c:pt idx="71">
                  <c:v>0.09124663510628422</c:v>
                </c:pt>
                <c:pt idx="72">
                  <c:v>0.09001506157526358</c:v>
                </c:pt>
                <c:pt idx="73">
                  <c:v>0.09159312587087784</c:v>
                </c:pt>
                <c:pt idx="74">
                  <c:v>0.0950654403961797</c:v>
                </c:pt>
                <c:pt idx="75">
                  <c:v>0.1005668696199874</c:v>
                </c:pt>
                <c:pt idx="76">
                  <c:v>0.10813811479960031</c:v>
                </c:pt>
                <c:pt idx="77">
                  <c:v>0.10111085921559737</c:v>
                </c:pt>
                <c:pt idx="78">
                  <c:v>0.10998038254046101</c:v>
                </c:pt>
                <c:pt idx="79">
                  <c:v>0.10404028842852238</c:v>
                </c:pt>
                <c:pt idx="80">
                  <c:v>0.1010171058714748</c:v>
                </c:pt>
                <c:pt idx="81">
                  <c:v>0.09768397459843108</c:v>
                </c:pt>
                <c:pt idx="82">
                  <c:v>0.0993003559592488</c:v>
                </c:pt>
                <c:pt idx="83">
                  <c:v>0.09755761004553608</c:v>
                </c:pt>
                <c:pt idx="84">
                  <c:v>0.09679685304860916</c:v>
                </c:pt>
                <c:pt idx="85">
                  <c:v>0.10017186349128407</c:v>
                </c:pt>
                <c:pt idx="86">
                  <c:v>0.11238293444328824</c:v>
                </c:pt>
                <c:pt idx="87">
                  <c:v>0.11858608893956671</c:v>
                </c:pt>
                <c:pt idx="88">
                  <c:v>0.10975040821087008</c:v>
                </c:pt>
                <c:pt idx="89">
                  <c:v>0.11405642023346303</c:v>
                </c:pt>
                <c:pt idx="90">
                  <c:v>0.09969001859888407</c:v>
                </c:pt>
                <c:pt idx="91">
                  <c:v>0.09940814107984056</c:v>
                </c:pt>
                <c:pt idx="92">
                  <c:v>0.10789865871833085</c:v>
                </c:pt>
                <c:pt idx="93">
                  <c:v>0.1051984877126654</c:v>
                </c:pt>
                <c:pt idx="94">
                  <c:v>0.10679611650485436</c:v>
                </c:pt>
                <c:pt idx="95">
                  <c:v>0.10736944851146901</c:v>
                </c:pt>
                <c:pt idx="96">
                  <c:v>0.10914285714285714</c:v>
                </c:pt>
                <c:pt idx="97">
                  <c:v>0.1106441859273305</c:v>
                </c:pt>
                <c:pt idx="98">
                  <c:v>0.10942194717251895</c:v>
                </c:pt>
                <c:pt idx="99">
                  <c:v>0.11188295560384974</c:v>
                </c:pt>
                <c:pt idx="100">
                  <c:v>0.11848436824665033</c:v>
                </c:pt>
                <c:pt idx="101">
                  <c:v>0.11371447935324587</c:v>
                </c:pt>
                <c:pt idx="102">
                  <c:v>0.1126475146024556</c:v>
                </c:pt>
                <c:pt idx="103">
                  <c:v>0.11297735913295126</c:v>
                </c:pt>
                <c:pt idx="104">
                  <c:v>0.1104825291181364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7.6457</c:v>
                </c:pt>
                <c:pt idx="1">
                  <c:v>1177.1248</c:v>
                </c:pt>
                <c:pt idx="2">
                  <c:v>1172.8809</c:v>
                </c:pt>
                <c:pt idx="3">
                  <c:v>1116.1729</c:v>
                </c:pt>
                <c:pt idx="4">
                  <c:v>1171.105</c:v>
                </c:pt>
                <c:pt idx="5">
                  <c:v>1181.7267</c:v>
                </c:pt>
                <c:pt idx="6">
                  <c:v>1111.0839</c:v>
                </c:pt>
                <c:pt idx="7">
                  <c:v>1105.3962</c:v>
                </c:pt>
                <c:pt idx="8">
                  <c:v>1174.7979</c:v>
                </c:pt>
                <c:pt idx="9">
                  <c:v>1121.5102</c:v>
                </c:pt>
                <c:pt idx="10">
                  <c:v>1128.8003</c:v>
                </c:pt>
                <c:pt idx="11">
                  <c:v>1048.8794</c:v>
                </c:pt>
                <c:pt idx="12">
                  <c:v>1081.1237</c:v>
                </c:pt>
                <c:pt idx="13">
                  <c:v>1108.1894</c:v>
                </c:pt>
                <c:pt idx="14">
                  <c:v>1115.3633</c:v>
                </c:pt>
                <c:pt idx="15">
                  <c:v>1116.6884</c:v>
                </c:pt>
                <c:pt idx="16">
                  <c:v>1161.8054</c:v>
                </c:pt>
                <c:pt idx="17">
                  <c:v>1065.4091</c:v>
                </c:pt>
                <c:pt idx="18">
                  <c:v>1159.454</c:v>
                </c:pt>
                <c:pt idx="19">
                  <c:v>1276.5293</c:v>
                </c:pt>
                <c:pt idx="20">
                  <c:v>1266.8846</c:v>
                </c:pt>
                <c:pt idx="21">
                  <c:v>1224.3024</c:v>
                </c:pt>
                <c:pt idx="22">
                  <c:v>1215.4131</c:v>
                </c:pt>
                <c:pt idx="23">
                  <c:v>1207.7573</c:v>
                </c:pt>
                <c:pt idx="24">
                  <c:v>1229.3848</c:v>
                </c:pt>
                <c:pt idx="25">
                  <c:v>1196.3695</c:v>
                </c:pt>
                <c:pt idx="26">
                  <c:v>1177.7754</c:v>
                </c:pt>
                <c:pt idx="27">
                  <c:v>1189.9329</c:v>
                </c:pt>
                <c:pt idx="28">
                  <c:v>1221.5323</c:v>
                </c:pt>
                <c:pt idx="29">
                  <c:v>1215.436</c:v>
                </c:pt>
                <c:pt idx="30">
                  <c:v>1218.5536</c:v>
                </c:pt>
                <c:pt idx="31">
                  <c:v>1223.7136</c:v>
                </c:pt>
                <c:pt idx="32">
                  <c:v>1235.4447</c:v>
                </c:pt>
                <c:pt idx="33">
                  <c:v>1210.9757</c:v>
                </c:pt>
                <c:pt idx="34">
                  <c:v>1217.608</c:v>
                </c:pt>
                <c:pt idx="35">
                  <c:v>1257.2662</c:v>
                </c:pt>
                <c:pt idx="36">
                  <c:v>1289.7456</c:v>
                </c:pt>
                <c:pt idx="37">
                  <c:v>1276.3705</c:v>
                </c:pt>
                <c:pt idx="38">
                  <c:v>1287.5255</c:v>
                </c:pt>
                <c:pt idx="39">
                  <c:v>1237.1239</c:v>
                </c:pt>
                <c:pt idx="40">
                  <c:v>1257.5632</c:v>
                </c:pt>
                <c:pt idx="41">
                  <c:v>1286.865</c:v>
                </c:pt>
                <c:pt idx="42">
                  <c:v>1283.2174</c:v>
                </c:pt>
                <c:pt idx="43">
                  <c:v>1287.1337</c:v>
                </c:pt>
                <c:pt idx="44">
                  <c:v>1219.4646</c:v>
                </c:pt>
                <c:pt idx="45">
                  <c:v>1180.2063</c:v>
                </c:pt>
                <c:pt idx="46">
                  <c:v>1169.2071</c:v>
                </c:pt>
                <c:pt idx="47">
                  <c:v>1150.822</c:v>
                </c:pt>
                <c:pt idx="48">
                  <c:v>1136.5305</c:v>
                </c:pt>
                <c:pt idx="49">
                  <c:v>1141.5541</c:v>
                </c:pt>
                <c:pt idx="50">
                  <c:v>1111.2317</c:v>
                </c:pt>
                <c:pt idx="51">
                  <c:v>1099.7544</c:v>
                </c:pt>
              </c:numCache>
            </c:numRef>
          </c:xVal>
          <c:yVal>
            <c:numRef>
              <c:f>Sheet1!$B$109:$B$160</c:f>
              <c:numCache>
                <c:formatCode>General</c:formatCode>
                <c:ptCount val="52"/>
                <c:pt idx="0">
                  <c:v>0.11244691668161971</c:v>
                </c:pt>
                <c:pt idx="1">
                  <c:v>0.10773805836069636</c:v>
                </c:pt>
                <c:pt idx="2">
                  <c:v>0.12557179515787126</c:v>
                </c:pt>
                <c:pt idx="3">
                  <c:v>0.14269586814179272</c:v>
                </c:pt>
                <c:pt idx="4">
                  <c:v>0.12219994270982526</c:v>
                </c:pt>
                <c:pt idx="5">
                  <c:v>0.12453797543817813</c:v>
                </c:pt>
                <c:pt idx="6">
                  <c:v>0.13373069628826875</c:v>
                </c:pt>
                <c:pt idx="7">
                  <c:v>0.14016351182146278</c:v>
                </c:pt>
                <c:pt idx="8">
                  <c:v>0.12179070523236919</c:v>
                </c:pt>
                <c:pt idx="9">
                  <c:v>0.13084326306141156</c:v>
                </c:pt>
                <c:pt idx="10">
                  <c:v>0.1377449168207024</c:v>
                </c:pt>
                <c:pt idx="11">
                  <c:v>0.13321432556063817</c:v>
                </c:pt>
                <c:pt idx="12">
                  <c:v>0.13040138275398502</c:v>
                </c:pt>
                <c:pt idx="13">
                  <c:v>0.1251391526422631</c:v>
                </c:pt>
                <c:pt idx="14">
                  <c:v>0.12566922297786137</c:v>
                </c:pt>
                <c:pt idx="15">
                  <c:v>0.12627492769066828</c:v>
                </c:pt>
                <c:pt idx="16">
                  <c:v>0.11987162806834938</c:v>
                </c:pt>
                <c:pt idx="17">
                  <c:v>0.1311179338992234</c:v>
                </c:pt>
                <c:pt idx="18">
                  <c:v>0.12306377523768829</c:v>
                </c:pt>
                <c:pt idx="19">
                  <c:v>0.1133887898593781</c:v>
                </c:pt>
                <c:pt idx="20">
                  <c:v>0.10356500581825875</c:v>
                </c:pt>
                <c:pt idx="21">
                  <c:v>0.10847995766635798</c:v>
                </c:pt>
                <c:pt idx="22">
                  <c:v>0.11260018394429115</c:v>
                </c:pt>
                <c:pt idx="23">
                  <c:v>0.1124674255931971</c:v>
                </c:pt>
                <c:pt idx="24">
                  <c:v>0.11437578814627995</c:v>
                </c:pt>
                <c:pt idx="25">
                  <c:v>0.11745558117455582</c:v>
                </c:pt>
                <c:pt idx="26">
                  <c:v>0.11130456410894167</c:v>
                </c:pt>
                <c:pt idx="27">
                  <c:v>0.115748031496063</c:v>
                </c:pt>
                <c:pt idx="28">
                  <c:v>0.10853023628354025</c:v>
                </c:pt>
                <c:pt idx="29">
                  <c:v>0.11010269882971101</c:v>
                </c:pt>
                <c:pt idx="30">
                  <c:v>0.11395087894277521</c:v>
                </c:pt>
                <c:pt idx="31">
                  <c:v>0.11002804112698625</c:v>
                </c:pt>
                <c:pt idx="32">
                  <c:v>0.10702263493905978</c:v>
                </c:pt>
                <c:pt idx="33">
                  <c:v>0.12787082539364156</c:v>
                </c:pt>
                <c:pt idx="34">
                  <c:v>0.13615101904443702</c:v>
                </c:pt>
                <c:pt idx="35">
                  <c:v>0.136327185244587</c:v>
                </c:pt>
                <c:pt idx="36">
                  <c:v>0.12400939242735544</c:v>
                </c:pt>
                <c:pt idx="37">
                  <c:v>0.11997920187183153</c:v>
                </c:pt>
                <c:pt idx="38">
                  <c:v>0.12323087919942816</c:v>
                </c:pt>
                <c:pt idx="39">
                  <c:v>0.13048597730678654</c:v>
                </c:pt>
                <c:pt idx="40">
                  <c:v>0.12352879908342881</c:v>
                </c:pt>
                <c:pt idx="41">
                  <c:v>0.12875662934590454</c:v>
                </c:pt>
                <c:pt idx="42">
                  <c:v>0.12409160977758203</c:v>
                </c:pt>
                <c:pt idx="43">
                  <c:v>0.11939594148183105</c:v>
                </c:pt>
                <c:pt idx="44">
                  <c:v>0.11820958958693054</c:v>
                </c:pt>
                <c:pt idx="45">
                  <c:v>0.12854775222705614</c:v>
                </c:pt>
                <c:pt idx="46">
                  <c:v>0.14696623665205852</c:v>
                </c:pt>
                <c:pt idx="47">
                  <c:v>0.1445496254137871</c:v>
                </c:pt>
                <c:pt idx="48">
                  <c:v>0.14861535429190895</c:v>
                </c:pt>
                <c:pt idx="49">
                  <c:v>0.15222417460464255</c:v>
                </c:pt>
                <c:pt idx="50">
                  <c:v>0.15457490373449057</c:v>
                </c:pt>
                <c:pt idx="51">
                  <c:v>0.14475201845444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34.6565536669865</c:v>
                </c:pt>
              </c:numCache>
            </c:numRef>
          </c:xVal>
          <c:yVal>
            <c:numRef>
              <c:f>Sheet1!$B$163:$B$164</c:f>
              <c:numCache>
                <c:formatCode>General</c:formatCode>
                <c:ptCount val="2"/>
                <c:pt idx="0">
                  <c:v>0.15004161277137068</c:v>
                </c:pt>
                <c:pt idx="1">
                  <c:v>0.1500416127713706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34.6565536669865</c:v>
                </c:pt>
                <c:pt idx="1">
                  <c:v>934.6565536669865</c:v>
                </c:pt>
              </c:numCache>
            </c:numRef>
          </c:xVal>
          <c:yVal>
            <c:numRef>
              <c:f>Sheet1!$B$167:$B$168</c:f>
              <c:numCache>
                <c:formatCode>General</c:formatCode>
                <c:ptCount val="2"/>
                <c:pt idx="0">
                  <c:v>0.1500416127713706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34.6565536669865</c:v>
                </c:pt>
              </c:numCache>
            </c:numRef>
          </c:xVal>
          <c:yVal>
            <c:numRef>
              <c:f>Sheet1!$B$171:$B$172</c:f>
              <c:numCache>
                <c:formatCode>General</c:formatCode>
                <c:ptCount val="2"/>
                <c:pt idx="0">
                  <c:v>0.15004161277137068</c:v>
                </c:pt>
                <c:pt idx="1">
                  <c:v>0.1500416127713706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34.6565536669865</c:v>
                </c:pt>
                <c:pt idx="1">
                  <c:v>934.6565536669865</c:v>
                </c:pt>
              </c:numCache>
            </c:numRef>
          </c:xVal>
          <c:yVal>
            <c:numRef>
              <c:f>Sheet1!$B$175:$B$176</c:f>
              <c:numCache>
                <c:formatCode>General</c:formatCode>
                <c:ptCount val="2"/>
                <c:pt idx="0">
                  <c:v>0.1500416127713706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78.776462658033</c:v>
                </c:pt>
              </c:numCache>
            </c:numRef>
          </c:xVal>
          <c:yVal>
            <c:numRef>
              <c:f>Sheet1!$B$179:$B$180</c:f>
              <c:numCache>
                <c:formatCode>General</c:formatCode>
                <c:ptCount val="2"/>
                <c:pt idx="0">
                  <c:v>0.13574604707391139</c:v>
                </c:pt>
                <c:pt idx="1">
                  <c:v>0.1357460470739113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78.776462658033</c:v>
                </c:pt>
                <c:pt idx="1">
                  <c:v>1078.776462658033</c:v>
                </c:pt>
              </c:numCache>
            </c:numRef>
          </c:xVal>
          <c:yVal>
            <c:numRef>
              <c:f>Sheet1!$B$183:$B$184</c:f>
              <c:numCache>
                <c:formatCode>General</c:formatCode>
                <c:ptCount val="2"/>
                <c:pt idx="0">
                  <c:v>0.1357460470739113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7.6457</c:v>
                </c:pt>
                <c:pt idx="1">
                  <c:v>1177.1248</c:v>
                </c:pt>
                <c:pt idx="2">
                  <c:v>1172.8809</c:v>
                </c:pt>
                <c:pt idx="3">
                  <c:v>1116.1729</c:v>
                </c:pt>
                <c:pt idx="4">
                  <c:v>1171.105</c:v>
                </c:pt>
                <c:pt idx="5">
                  <c:v>1181.7267</c:v>
                </c:pt>
                <c:pt idx="6">
                  <c:v>1111.0839</c:v>
                </c:pt>
                <c:pt idx="7">
                  <c:v>1105.3962</c:v>
                </c:pt>
                <c:pt idx="8">
                  <c:v>1174.7979</c:v>
                </c:pt>
                <c:pt idx="9">
                  <c:v>1121.5102</c:v>
                </c:pt>
                <c:pt idx="10">
                  <c:v>1128.8003</c:v>
                </c:pt>
                <c:pt idx="11">
                  <c:v>1048.8794</c:v>
                </c:pt>
                <c:pt idx="12">
                  <c:v>1081.1237</c:v>
                </c:pt>
                <c:pt idx="13">
                  <c:v>1108.1894</c:v>
                </c:pt>
                <c:pt idx="14">
                  <c:v>1115.3633</c:v>
                </c:pt>
                <c:pt idx="15">
                  <c:v>1116.6884</c:v>
                </c:pt>
                <c:pt idx="16">
                  <c:v>1161.8054</c:v>
                </c:pt>
                <c:pt idx="17">
                  <c:v>1065.4091</c:v>
                </c:pt>
                <c:pt idx="18">
                  <c:v>1159.454</c:v>
                </c:pt>
                <c:pt idx="19">
                  <c:v>1276.5293</c:v>
                </c:pt>
                <c:pt idx="20">
                  <c:v>1266.8846</c:v>
                </c:pt>
                <c:pt idx="21">
                  <c:v>1224.3024</c:v>
                </c:pt>
                <c:pt idx="22">
                  <c:v>1215.4131</c:v>
                </c:pt>
                <c:pt idx="23">
                  <c:v>1207.7573</c:v>
                </c:pt>
                <c:pt idx="24">
                  <c:v>1229.3848</c:v>
                </c:pt>
                <c:pt idx="25">
                  <c:v>1196.3695</c:v>
                </c:pt>
                <c:pt idx="26">
                  <c:v>1177.7754</c:v>
                </c:pt>
                <c:pt idx="27">
                  <c:v>1189.9329</c:v>
                </c:pt>
                <c:pt idx="28">
                  <c:v>1221.5323</c:v>
                </c:pt>
                <c:pt idx="29">
                  <c:v>1215.436</c:v>
                </c:pt>
                <c:pt idx="30">
                  <c:v>1218.5536</c:v>
                </c:pt>
                <c:pt idx="31">
                  <c:v>1223.7136</c:v>
                </c:pt>
                <c:pt idx="32">
                  <c:v>1235.4447</c:v>
                </c:pt>
                <c:pt idx="33">
                  <c:v>1210.9757</c:v>
                </c:pt>
                <c:pt idx="34">
                  <c:v>1217.608</c:v>
                </c:pt>
                <c:pt idx="35">
                  <c:v>1257.2662</c:v>
                </c:pt>
                <c:pt idx="36">
                  <c:v>1289.7456</c:v>
                </c:pt>
                <c:pt idx="37">
                  <c:v>1276.3705</c:v>
                </c:pt>
                <c:pt idx="38">
                  <c:v>1287.5255</c:v>
                </c:pt>
                <c:pt idx="39">
                  <c:v>1237.1239</c:v>
                </c:pt>
                <c:pt idx="40">
                  <c:v>1257.5632</c:v>
                </c:pt>
                <c:pt idx="41">
                  <c:v>1286.865</c:v>
                </c:pt>
                <c:pt idx="42">
                  <c:v>1283.2174</c:v>
                </c:pt>
                <c:pt idx="43">
                  <c:v>1287.1337</c:v>
                </c:pt>
                <c:pt idx="44">
                  <c:v>1219.4646</c:v>
                </c:pt>
                <c:pt idx="45">
                  <c:v>1180.2063</c:v>
                </c:pt>
                <c:pt idx="46">
                  <c:v>1169.2071</c:v>
                </c:pt>
                <c:pt idx="47">
                  <c:v>1150.822</c:v>
                </c:pt>
                <c:pt idx="48">
                  <c:v>1136.5305</c:v>
                </c:pt>
                <c:pt idx="49">
                  <c:v>1141.5541</c:v>
                </c:pt>
                <c:pt idx="50">
                  <c:v>1111.2317</c:v>
                </c:pt>
                <c:pt idx="51">
                  <c:v>1099.7544</c:v>
                </c:pt>
                <c:pt idx="52">
                  <c:v>934.6565536669865</c:v>
                </c:pt>
                <c:pt idx="53">
                  <c:v>934.6565536669865</c:v>
                </c:pt>
                <c:pt idx="54">
                  <c:v>1078.776462658033</c:v>
                </c:pt>
              </c:numCache>
            </c:numRef>
          </c:xVal>
          <c:yVal>
            <c:numRef>
              <c:f>Sheet1!$B$187:$B$241</c:f>
              <c:numCache>
                <c:formatCode>General</c:formatCode>
                <c:ptCount val="55"/>
                <c:pt idx="0">
                  <c:v>0.1279228367220325</c:v>
                </c:pt>
                <c:pt idx="1">
                  <c:v>0.12599066263361647</c:v>
                </c:pt>
                <c:pt idx="2">
                  <c:v>0.1264116242598635</c:v>
                </c:pt>
                <c:pt idx="3">
                  <c:v>0.13203661351531665</c:v>
                </c:pt>
                <c:pt idx="4">
                  <c:v>0.12658777962451678</c:v>
                </c:pt>
                <c:pt idx="5">
                  <c:v>0.1255341902125353</c:v>
                </c:pt>
                <c:pt idx="6">
                  <c:v>0.13254140243964832</c:v>
                </c:pt>
                <c:pt idx="7">
                  <c:v>0.133105577712771</c:v>
                </c:pt>
                <c:pt idx="8">
                  <c:v>0.1262214728808217</c:v>
                </c:pt>
                <c:pt idx="9">
                  <c:v>0.13150719517657908</c:v>
                </c:pt>
                <c:pt idx="10">
                  <c:v>0.13078407437931627</c:v>
                </c:pt>
                <c:pt idx="11">
                  <c:v>0.13871160142640213</c:v>
                </c:pt>
                <c:pt idx="12">
                  <c:v>0.1355132195217395</c:v>
                </c:pt>
                <c:pt idx="13">
                  <c:v>0.13282851415933355</c:v>
                </c:pt>
                <c:pt idx="14">
                  <c:v>0.13211691949156718</c:v>
                </c:pt>
                <c:pt idx="15">
                  <c:v>0.1319854799545988</c:v>
                </c:pt>
                <c:pt idx="16">
                  <c:v>0.12751022707602297</c:v>
                </c:pt>
                <c:pt idx="17">
                  <c:v>0.1370719847074936</c:v>
                </c:pt>
                <c:pt idx="18">
                  <c:v>0.12774346753125454</c:v>
                </c:pt>
                <c:pt idx="19">
                  <c:v>0.11613051513337502</c:v>
                </c:pt>
                <c:pt idx="20">
                  <c:v>0.11708719380079527</c:v>
                </c:pt>
                <c:pt idx="21">
                  <c:v>0.1213110143811994</c:v>
                </c:pt>
                <c:pt idx="22">
                  <c:v>0.12219276328767643</c:v>
                </c:pt>
                <c:pt idx="23">
                  <c:v>0.12295215865943876</c:v>
                </c:pt>
                <c:pt idx="24">
                  <c:v>0.12080688012515237</c:v>
                </c:pt>
                <c:pt idx="25">
                  <c:v>0.12408173918852194</c:v>
                </c:pt>
                <c:pt idx="26">
                  <c:v>0.12592612821149615</c:v>
                </c:pt>
                <c:pt idx="27">
                  <c:v>0.12472019947351964</c:v>
                </c:pt>
                <c:pt idx="28">
                  <c:v>0.12158578659564058</c:v>
                </c:pt>
                <c:pt idx="29">
                  <c:v>0.12219049178711303</c:v>
                </c:pt>
                <c:pt idx="30">
                  <c:v>0.12188125029556332</c:v>
                </c:pt>
                <c:pt idx="31">
                  <c:v>0.12136941872756342</c:v>
                </c:pt>
                <c:pt idx="32">
                  <c:v>0.12020578552846195</c:v>
                </c:pt>
                <c:pt idx="33">
                  <c:v>0.12263291859772349</c:v>
                </c:pt>
                <c:pt idx="34">
                  <c:v>0.12197504640616423</c:v>
                </c:pt>
                <c:pt idx="35">
                  <c:v>0.11804126371429338</c:v>
                </c:pt>
                <c:pt idx="36">
                  <c:v>0.1148195617317942</c:v>
                </c:pt>
                <c:pt idx="37">
                  <c:v>0.11614626684907237</c:v>
                </c:pt>
                <c:pt idx="38">
                  <c:v>0.1150397782558478</c:v>
                </c:pt>
                <c:pt idx="39">
                  <c:v>0.12003922204610043</c:v>
                </c:pt>
                <c:pt idx="40">
                  <c:v>0.11801180364148409</c:v>
                </c:pt>
                <c:pt idx="41">
                  <c:v>0.11510529468039504</c:v>
                </c:pt>
                <c:pt idx="42">
                  <c:v>0.11546710801904553</c:v>
                </c:pt>
                <c:pt idx="43">
                  <c:v>0.1150786417458366</c:v>
                </c:pt>
                <c:pt idx="44">
                  <c:v>0.12179088623384861</c:v>
                </c:pt>
                <c:pt idx="45">
                  <c:v>0.12568500197919946</c:v>
                </c:pt>
                <c:pt idx="46">
                  <c:v>0.12677603643321972</c:v>
                </c:pt>
                <c:pt idx="47">
                  <c:v>0.12859969429384666</c:v>
                </c:pt>
                <c:pt idx="48">
                  <c:v>0.13001729911052695</c:v>
                </c:pt>
                <c:pt idx="49">
                  <c:v>0.12951899735374317</c:v>
                </c:pt>
                <c:pt idx="50">
                  <c:v>0.1325267418377587</c:v>
                </c:pt>
                <c:pt idx="51">
                  <c:v>0.13366520006555044</c:v>
                </c:pt>
                <c:pt idx="52">
                  <c:v>0.15004161277137068</c:v>
                </c:pt>
                <c:pt idx="53">
                  <c:v>0.15004161277137068</c:v>
                </c:pt>
                <c:pt idx="54">
                  <c:v>0.1357460470739113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8.0"/>
          <c:min val="61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742307692307692"/>
          <c:min val="0.0497106918238993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6872963208565994</c:v>
                </c:pt>
                <c:pt idx="1">
                  <c:v>0.07863017897370943</c:v>
                </c:pt>
                <c:pt idx="2">
                  <c:v>0.08160119046838354</c:v>
                </c:pt>
                <c:pt idx="3">
                  <c:v>0.0803160645250536</c:v>
                </c:pt>
                <c:pt idx="4">
                  <c:v>0.0796202630347126</c:v>
                </c:pt>
                <c:pt idx="5">
                  <c:v>0.07815651167790644</c:v>
                </c:pt>
                <c:pt idx="6">
                  <c:v>0.07446316698916135</c:v>
                </c:pt>
                <c:pt idx="7">
                  <c:v>0.07559440098740994</c:v>
                </c:pt>
                <c:pt idx="8">
                  <c:v>0.07224001789300598</c:v>
                </c:pt>
                <c:pt idx="9">
                  <c:v>0.07295270041177174</c:v>
                </c:pt>
                <c:pt idx="10">
                  <c:v>0.06902592467861779</c:v>
                </c:pt>
                <c:pt idx="11">
                  <c:v>0.07031350358911242</c:v>
                </c:pt>
                <c:pt idx="12">
                  <c:v>0.07164904819023198</c:v>
                </c:pt>
                <c:pt idx="13">
                  <c:v>0.06946550490917966</c:v>
                </c:pt>
                <c:pt idx="14">
                  <c:v>0.07867046487472902</c:v>
                </c:pt>
                <c:pt idx="15">
                  <c:v>0.08144561619249323</c:v>
                </c:pt>
                <c:pt idx="16">
                  <c:v>0.0808282092497531</c:v>
                </c:pt>
                <c:pt idx="17">
                  <c:v>0.08030217958522079</c:v>
                </c:pt>
                <c:pt idx="18">
                  <c:v>0.0840100196676063</c:v>
                </c:pt>
                <c:pt idx="19">
                  <c:v>0.08428368065634866</c:v>
                </c:pt>
                <c:pt idx="20">
                  <c:v>0.08707118561569352</c:v>
                </c:pt>
                <c:pt idx="21">
                  <c:v>0.08869904513279904</c:v>
                </c:pt>
                <c:pt idx="22">
                  <c:v>0.0839688060295422</c:v>
                </c:pt>
                <c:pt idx="23">
                  <c:v>0.08425810464064824</c:v>
                </c:pt>
                <c:pt idx="24">
                  <c:v>0.086100749457987</c:v>
                </c:pt>
                <c:pt idx="25">
                  <c:v>0.08395333702914591</c:v>
                </c:pt>
                <c:pt idx="26">
                  <c:v>0.0804571739621225</c:v>
                </c:pt>
                <c:pt idx="27">
                  <c:v>0.08432505784837845</c:v>
                </c:pt>
                <c:pt idx="28">
                  <c:v>0.08444471248127258</c:v>
                </c:pt>
                <c:pt idx="29">
                  <c:v>0.08471659020758751</c:v>
                </c:pt>
                <c:pt idx="30">
                  <c:v>0.08486080200964317</c:v>
                </c:pt>
                <c:pt idx="31">
                  <c:v>0.08454043012738835</c:v>
                </c:pt>
                <c:pt idx="32">
                  <c:v>0.08065361529637177</c:v>
                </c:pt>
                <c:pt idx="33">
                  <c:v>0.08252355115338077</c:v>
                </c:pt>
                <c:pt idx="34">
                  <c:v>0.08321388398249825</c:v>
                </c:pt>
                <c:pt idx="35">
                  <c:v>0.08486256707868363</c:v>
                </c:pt>
                <c:pt idx="36">
                  <c:v>0.09062850013358258</c:v>
                </c:pt>
                <c:pt idx="37">
                  <c:v>0.09382280602698381</c:v>
                </c:pt>
                <c:pt idx="38">
                  <c:v>0.09735596365583156</c:v>
                </c:pt>
                <c:pt idx="39">
                  <c:v>0.09960577577115655</c:v>
                </c:pt>
                <c:pt idx="40">
                  <c:v>0.10224622311361747</c:v>
                </c:pt>
                <c:pt idx="41">
                  <c:v>0.10422528259844993</c:v>
                </c:pt>
                <c:pt idx="42">
                  <c:v>0.10233334966222818</c:v>
                </c:pt>
                <c:pt idx="43">
                  <c:v>0.10151526459864665</c:v>
                </c:pt>
                <c:pt idx="44">
                  <c:v>0.09696650635786959</c:v>
                </c:pt>
                <c:pt idx="45">
                  <c:v>0.0950436222178611</c:v>
                </c:pt>
                <c:pt idx="46">
                  <c:v>0.09288987405675961</c:v>
                </c:pt>
                <c:pt idx="47">
                  <c:v>0.0902479881097496</c:v>
                </c:pt>
                <c:pt idx="48">
                  <c:v>0.0908958151376893</c:v>
                </c:pt>
                <c:pt idx="49">
                  <c:v>0.08712035242700931</c:v>
                </c:pt>
                <c:pt idx="50">
                  <c:v>0.08707013315479956</c:v>
                </c:pt>
                <c:pt idx="51">
                  <c:v>0.08641407645953664</c:v>
                </c:pt>
                <c:pt idx="52">
                  <c:v>0.08857049039799143</c:v>
                </c:pt>
                <c:pt idx="53">
                  <c:v>0.09703813186397713</c:v>
                </c:pt>
                <c:pt idx="54">
                  <c:v>0.09504430878564347</c:v>
                </c:pt>
                <c:pt idx="55">
                  <c:v>0.09626601533136776</c:v>
                </c:pt>
                <c:pt idx="56">
                  <c:v>0.09649938419973553</c:v>
                </c:pt>
                <c:pt idx="57">
                  <c:v>0.09338401948681102</c:v>
                </c:pt>
                <c:pt idx="58">
                  <c:v>0.09012502852151036</c:v>
                </c:pt>
                <c:pt idx="59">
                  <c:v>0.09188131558272096</c:v>
                </c:pt>
                <c:pt idx="60">
                  <c:v>0.09066878655941535</c:v>
                </c:pt>
                <c:pt idx="61">
                  <c:v>0.09023785216628159</c:v>
                </c:pt>
                <c:pt idx="62">
                  <c:v>0.08694749347600937</c:v>
                </c:pt>
                <c:pt idx="63">
                  <c:v>0.08838095404661613</c:v>
                </c:pt>
                <c:pt idx="64">
                  <c:v>0.08824553867134484</c:v>
                </c:pt>
                <c:pt idx="65">
                  <c:v>0.08584027297645296</c:v>
                </c:pt>
                <c:pt idx="66">
                  <c:v>0.08788504448563156</c:v>
                </c:pt>
                <c:pt idx="67">
                  <c:v>0.09110795656872524</c:v>
                </c:pt>
                <c:pt idx="68">
                  <c:v>0.09118698812638418</c:v>
                </c:pt>
                <c:pt idx="69">
                  <c:v>0.09292208422141876</c:v>
                </c:pt>
                <c:pt idx="70">
                  <c:v>0.09204640175952591</c:v>
                </c:pt>
                <c:pt idx="71">
                  <c:v>0.09552228639117971</c:v>
                </c:pt>
                <c:pt idx="72">
                  <c:v>0.10296518982599262</c:v>
                </c:pt>
                <c:pt idx="73">
                  <c:v>0.10024841208990226</c:v>
                </c:pt>
                <c:pt idx="74">
                  <c:v>0.09991643153451872</c:v>
                </c:pt>
                <c:pt idx="75">
                  <c:v>0.09664583817677364</c:v>
                </c:pt>
                <c:pt idx="76">
                  <c:v>0.09364123876161005</c:v>
                </c:pt>
                <c:pt idx="77">
                  <c:v>0.09289322738092164</c:v>
                </c:pt>
                <c:pt idx="78">
                  <c:v>0.09454530391659029</c:v>
                </c:pt>
                <c:pt idx="79">
                  <c:v>0.09606613089191342</c:v>
                </c:pt>
                <c:pt idx="80">
                  <c:v>0.09598925297959816</c:v>
                </c:pt>
                <c:pt idx="81">
                  <c:v>0.10122729771911732</c:v>
                </c:pt>
                <c:pt idx="82">
                  <c:v>0.1019681462199687</c:v>
                </c:pt>
                <c:pt idx="83">
                  <c:v>0.09749534000818491</c:v>
                </c:pt>
                <c:pt idx="84">
                  <c:v>0.09708016829942488</c:v>
                </c:pt>
                <c:pt idx="85">
                  <c:v>0.09636408788778142</c:v>
                </c:pt>
                <c:pt idx="86">
                  <c:v>0.09589207115048728</c:v>
                </c:pt>
                <c:pt idx="87">
                  <c:v>0.09555177453620894</c:v>
                </c:pt>
                <c:pt idx="88">
                  <c:v>0.09869192717789446</c:v>
                </c:pt>
                <c:pt idx="89">
                  <c:v>0.09760297226351135</c:v>
                </c:pt>
                <c:pt idx="90">
                  <c:v>0.10420576486747883</c:v>
                </c:pt>
                <c:pt idx="91">
                  <c:v>0.10552080563143754</c:v>
                </c:pt>
                <c:pt idx="92">
                  <c:v>0.10136728348964266</c:v>
                </c:pt>
                <c:pt idx="93">
                  <c:v>0.10248008690406106</c:v>
                </c:pt>
                <c:pt idx="94">
                  <c:v>0.10162095979356921</c:v>
                </c:pt>
                <c:pt idx="95">
                  <c:v>0.09791239876013562</c:v>
                </c:pt>
                <c:pt idx="96">
                  <c:v>0.09302161396348958</c:v>
                </c:pt>
                <c:pt idx="97">
                  <c:v>0.09236986782944338</c:v>
                </c:pt>
                <c:pt idx="98">
                  <c:v>0.09130000521386997</c:v>
                </c:pt>
                <c:pt idx="99">
                  <c:v>0.0881603510720307</c:v>
                </c:pt>
                <c:pt idx="100">
                  <c:v>0.08944473066514477</c:v>
                </c:pt>
                <c:pt idx="101">
                  <c:v>0.0927437549701838</c:v>
                </c:pt>
                <c:pt idx="102">
                  <c:v>0.09163417116362343</c:v>
                </c:pt>
                <c:pt idx="103">
                  <c:v>0.08869743437995141</c:v>
                </c:pt>
                <c:pt idx="104">
                  <c:v>0.0911271001571569</c:v>
                </c:pt>
              </c:numCache>
            </c:numRef>
          </c:xVal>
          <c:yVal>
            <c:numRef>
              <c:f>Sheet1!$B$2:$B$106</c:f>
              <c:numCache>
                <c:formatCode>General</c:formatCode>
                <c:ptCount val="105"/>
                <c:pt idx="0">
                  <c:v>0.11896848842934515</c:v>
                </c:pt>
                <c:pt idx="1">
                  <c:v>0.10215736040609137</c:v>
                </c:pt>
                <c:pt idx="2">
                  <c:v>0.1050759415052792</c:v>
                </c:pt>
                <c:pt idx="3">
                  <c:v>0.10579283259695631</c:v>
                </c:pt>
                <c:pt idx="4">
                  <c:v>0.11008897602171618</c:v>
                </c:pt>
                <c:pt idx="5">
                  <c:v>0.1327621443169313</c:v>
                </c:pt>
                <c:pt idx="6">
                  <c:v>0.15625</c:v>
                </c:pt>
                <c:pt idx="7">
                  <c:v>0.15930018416206262</c:v>
                </c:pt>
                <c:pt idx="8">
                  <c:v>0.16451923076923078</c:v>
                </c:pt>
                <c:pt idx="9">
                  <c:v>0.1457197479289103</c:v>
                </c:pt>
                <c:pt idx="10">
                  <c:v>0.15560265262870035</c:v>
                </c:pt>
                <c:pt idx="11">
                  <c:v>0.15032990952996395</c:v>
                </c:pt>
                <c:pt idx="12">
                  <c:v>0.13436660208736953</c:v>
                </c:pt>
                <c:pt idx="13">
                  <c:v>0.12287970995727049</c:v>
                </c:pt>
                <c:pt idx="14">
                  <c:v>0.0973673766371213</c:v>
                </c:pt>
                <c:pt idx="15">
                  <c:v>0.08354044736631124</c:v>
                </c:pt>
                <c:pt idx="16">
                  <c:v>0.0801593920859976</c:v>
                </c:pt>
                <c:pt idx="17">
                  <c:v>0.07279731331489529</c:v>
                </c:pt>
                <c:pt idx="18">
                  <c:v>0.06708572667172429</c:v>
                </c:pt>
                <c:pt idx="19">
                  <c:v>0.062138364779874215</c:v>
                </c:pt>
                <c:pt idx="20">
                  <c:v>0.06312843370996164</c:v>
                </c:pt>
                <c:pt idx="21">
                  <c:v>0.06225631995975349</c:v>
                </c:pt>
                <c:pt idx="22">
                  <c:v>0.06519065190651907</c:v>
                </c:pt>
                <c:pt idx="23">
                  <c:v>0.07551546391752577</c:v>
                </c:pt>
                <c:pt idx="24">
                  <c:v>0.07444314185228605</c:v>
                </c:pt>
                <c:pt idx="25">
                  <c:v>0.07913669064748201</c:v>
                </c:pt>
                <c:pt idx="26">
                  <c:v>0.09623115577889448</c:v>
                </c:pt>
                <c:pt idx="27">
                  <c:v>0.10035798049623504</c:v>
                </c:pt>
                <c:pt idx="28">
                  <c:v>0.1226345539444581</c:v>
                </c:pt>
                <c:pt idx="29">
                  <c:v>0.1183000317158262</c:v>
                </c:pt>
                <c:pt idx="30">
                  <c:v>0.116016713091922</c:v>
                </c:pt>
                <c:pt idx="31">
                  <c:v>0.12250635961976168</c:v>
                </c:pt>
                <c:pt idx="32">
                  <c:v>0.13260510605868156</c:v>
                </c:pt>
                <c:pt idx="33">
                  <c:v>0.12173218918379565</c:v>
                </c:pt>
                <c:pt idx="34">
                  <c:v>0.12263707326248471</c:v>
                </c:pt>
                <c:pt idx="35">
                  <c:v>0.13272727272727272</c:v>
                </c:pt>
                <c:pt idx="36">
                  <c:v>0.11613358894158006</c:v>
                </c:pt>
                <c:pt idx="37">
                  <c:v>0.11009998876530727</c:v>
                </c:pt>
                <c:pt idx="38">
                  <c:v>0.10718269016283738</c:v>
                </c:pt>
                <c:pt idx="39">
                  <c:v>0.10073044297832234</c:v>
                </c:pt>
                <c:pt idx="40">
                  <c:v>0.10093692649473583</c:v>
                </c:pt>
                <c:pt idx="41">
                  <c:v>0.10222873286596212</c:v>
                </c:pt>
                <c:pt idx="42">
                  <c:v>0.1007912245998921</c:v>
                </c:pt>
                <c:pt idx="43">
                  <c:v>0.09560723514211886</c:v>
                </c:pt>
                <c:pt idx="44">
                  <c:v>0.10145497443963822</c:v>
                </c:pt>
                <c:pt idx="45">
                  <c:v>0.11657355679702049</c:v>
                </c:pt>
                <c:pt idx="46">
                  <c:v>0.12104588567034094</c:v>
                </c:pt>
                <c:pt idx="47">
                  <c:v>0.11573954735268341</c:v>
                </c:pt>
                <c:pt idx="48">
                  <c:v>0.11292336802270578</c:v>
                </c:pt>
                <c:pt idx="49">
                  <c:v>0.12055868659642245</c:v>
                </c:pt>
                <c:pt idx="50">
                  <c:v>0.1158253329204088</c:v>
                </c:pt>
                <c:pt idx="51">
                  <c:v>0.10993361349655886</c:v>
                </c:pt>
                <c:pt idx="52">
                  <c:v>0.1082557353170681</c:v>
                </c:pt>
                <c:pt idx="53">
                  <c:v>0.09893880663404715</c:v>
                </c:pt>
                <c:pt idx="54">
                  <c:v>0.10012941897690893</c:v>
                </c:pt>
                <c:pt idx="55">
                  <c:v>0.09788840721577402</c:v>
                </c:pt>
                <c:pt idx="56">
                  <c:v>0.1028030734206033</c:v>
                </c:pt>
                <c:pt idx="57">
                  <c:v>0.09741550695825049</c:v>
                </c:pt>
                <c:pt idx="58">
                  <c:v>0.11172437834069254</c:v>
                </c:pt>
                <c:pt idx="59">
                  <c:v>0.10297456420517952</c:v>
                </c:pt>
                <c:pt idx="60">
                  <c:v>0.10522660184059733</c:v>
                </c:pt>
                <c:pt idx="61">
                  <c:v>0.1114169459071326</c:v>
                </c:pt>
                <c:pt idx="62">
                  <c:v>0.1224251619303262</c:v>
                </c:pt>
                <c:pt idx="63">
                  <c:v>0.12486590860330402</c:v>
                </c:pt>
                <c:pt idx="64">
                  <c:v>0.1182589652340542</c:v>
                </c:pt>
                <c:pt idx="65">
                  <c:v>0.1196166656927482</c:v>
                </c:pt>
                <c:pt idx="66">
                  <c:v>0.11864406779661017</c:v>
                </c:pt>
                <c:pt idx="67">
                  <c:v>0.11102030552586911</c:v>
                </c:pt>
                <c:pt idx="68">
                  <c:v>0.10039048633297834</c:v>
                </c:pt>
                <c:pt idx="69">
                  <c:v>0.09225365132187095</c:v>
                </c:pt>
                <c:pt idx="70">
                  <c:v>0.09634809634809635</c:v>
                </c:pt>
                <c:pt idx="71">
                  <c:v>0.09124663510628422</c:v>
                </c:pt>
                <c:pt idx="72">
                  <c:v>0.09001506157526358</c:v>
                </c:pt>
                <c:pt idx="73">
                  <c:v>0.09159312587087784</c:v>
                </c:pt>
                <c:pt idx="74">
                  <c:v>0.0950654403961797</c:v>
                </c:pt>
                <c:pt idx="75">
                  <c:v>0.1005668696199874</c:v>
                </c:pt>
                <c:pt idx="76">
                  <c:v>0.10813811479960031</c:v>
                </c:pt>
                <c:pt idx="77">
                  <c:v>0.10111085921559737</c:v>
                </c:pt>
                <c:pt idx="78">
                  <c:v>0.10998038254046101</c:v>
                </c:pt>
                <c:pt idx="79">
                  <c:v>0.10404028842852238</c:v>
                </c:pt>
                <c:pt idx="80">
                  <c:v>0.1010171058714748</c:v>
                </c:pt>
                <c:pt idx="81">
                  <c:v>0.09768397459843108</c:v>
                </c:pt>
                <c:pt idx="82">
                  <c:v>0.0993003559592488</c:v>
                </c:pt>
                <c:pt idx="83">
                  <c:v>0.09755761004553608</c:v>
                </c:pt>
                <c:pt idx="84">
                  <c:v>0.09679685304860916</c:v>
                </c:pt>
                <c:pt idx="85">
                  <c:v>0.10017186349128407</c:v>
                </c:pt>
                <c:pt idx="86">
                  <c:v>0.11238293444328824</c:v>
                </c:pt>
                <c:pt idx="87">
                  <c:v>0.11858608893956671</c:v>
                </c:pt>
                <c:pt idx="88">
                  <c:v>0.10975040821087008</c:v>
                </c:pt>
                <c:pt idx="89">
                  <c:v>0.11405642023346303</c:v>
                </c:pt>
                <c:pt idx="90">
                  <c:v>0.09969001859888407</c:v>
                </c:pt>
                <c:pt idx="91">
                  <c:v>0.09940814107984056</c:v>
                </c:pt>
                <c:pt idx="92">
                  <c:v>0.10789865871833085</c:v>
                </c:pt>
                <c:pt idx="93">
                  <c:v>0.1051984877126654</c:v>
                </c:pt>
                <c:pt idx="94">
                  <c:v>0.10679611650485436</c:v>
                </c:pt>
                <c:pt idx="95">
                  <c:v>0.10736944851146901</c:v>
                </c:pt>
                <c:pt idx="96">
                  <c:v>0.10914285714285714</c:v>
                </c:pt>
                <c:pt idx="97">
                  <c:v>0.1106441859273305</c:v>
                </c:pt>
                <c:pt idx="98">
                  <c:v>0.10942194717251895</c:v>
                </c:pt>
                <c:pt idx="99">
                  <c:v>0.11188295560384974</c:v>
                </c:pt>
                <c:pt idx="100">
                  <c:v>0.11848436824665033</c:v>
                </c:pt>
                <c:pt idx="101">
                  <c:v>0.11371447935324587</c:v>
                </c:pt>
                <c:pt idx="102">
                  <c:v>0.1126475146024556</c:v>
                </c:pt>
                <c:pt idx="103">
                  <c:v>0.11297735913295126</c:v>
                </c:pt>
                <c:pt idx="104">
                  <c:v>0.1104825291181364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9522205278714335</c:v>
                </c:pt>
                <c:pt idx="1">
                  <c:v>0.09663090014092743</c:v>
                </c:pt>
                <c:pt idx="2">
                  <c:v>0.09528084154345488</c:v>
                </c:pt>
                <c:pt idx="3">
                  <c:v>0.09095522746122493</c:v>
                </c:pt>
                <c:pt idx="4">
                  <c:v>0.09290849561383095</c:v>
                </c:pt>
                <c:pt idx="5">
                  <c:v>0.09661346274137797</c:v>
                </c:pt>
                <c:pt idx="6">
                  <c:v>0.09055359652540385</c:v>
                </c:pt>
                <c:pt idx="7">
                  <c:v>0.08970950236278306</c:v>
                </c:pt>
                <c:pt idx="8">
                  <c:v>0.09836617493678468</c:v>
                </c:pt>
                <c:pt idx="9">
                  <c:v>0.09267545021968798</c:v>
                </c:pt>
                <c:pt idx="10">
                  <c:v>0.09289799081566003</c:v>
                </c:pt>
                <c:pt idx="11">
                  <c:v>0.08692607699849143</c:v>
                </c:pt>
                <c:pt idx="12">
                  <c:v>0.08736987489556312</c:v>
                </c:pt>
                <c:pt idx="13">
                  <c:v>0.09070867002284862</c:v>
                </c:pt>
                <c:pt idx="14">
                  <c:v>0.0918054109999852</c:v>
                </c:pt>
                <c:pt idx="15">
                  <c:v>0.09181213475017365</c:v>
                </c:pt>
                <c:pt idx="16">
                  <c:v>0.0938811844670076</c:v>
                </c:pt>
                <c:pt idx="17">
                  <c:v>0.08718957668070774</c:v>
                </c:pt>
                <c:pt idx="18">
                  <c:v>0.09349932774178989</c:v>
                </c:pt>
                <c:pt idx="19">
                  <c:v>0.10429394842229099</c:v>
                </c:pt>
                <c:pt idx="20">
                  <c:v>0.10356830713725275</c:v>
                </c:pt>
                <c:pt idx="21">
                  <c:v>0.09996386104892152</c:v>
                </c:pt>
                <c:pt idx="22">
                  <c:v>0.1010684451017657</c:v>
                </c:pt>
                <c:pt idx="23">
                  <c:v>0.09749861912436428</c:v>
                </c:pt>
                <c:pt idx="24">
                  <c:v>0.10099842789164482</c:v>
                </c:pt>
                <c:pt idx="25">
                  <c:v>0.09588831807097409</c:v>
                </c:pt>
                <c:pt idx="26">
                  <c:v>0.0967217387945899</c:v>
                </c:pt>
                <c:pt idx="27">
                  <c:v>0.09837438244169246</c:v>
                </c:pt>
                <c:pt idx="28">
                  <c:v>0.10202037256637735</c:v>
                </c:pt>
                <c:pt idx="29">
                  <c:v>0.10063713908332052</c:v>
                </c:pt>
                <c:pt idx="30">
                  <c:v>0.09915897278557055</c:v>
                </c:pt>
                <c:pt idx="31">
                  <c:v>0.09968665891334604</c:v>
                </c:pt>
                <c:pt idx="32">
                  <c:v>0.10000655920211739</c:v>
                </c:pt>
                <c:pt idx="33">
                  <c:v>0.10011448416059938</c:v>
                </c:pt>
                <c:pt idx="34">
                  <c:v>0.0992306998208904</c:v>
                </c:pt>
                <c:pt idx="35">
                  <c:v>0.0992007047139883</c:v>
                </c:pt>
                <c:pt idx="36">
                  <c:v>0.1037209402045996</c:v>
                </c:pt>
                <c:pt idx="37">
                  <c:v>0.1007617795011005</c:v>
                </c:pt>
                <c:pt idx="38">
                  <c:v>0.10309897282946247</c:v>
                </c:pt>
                <c:pt idx="39">
                  <c:v>0.09818884877191862</c:v>
                </c:pt>
                <c:pt idx="40">
                  <c:v>0.10108323712688888</c:v>
                </c:pt>
                <c:pt idx="41">
                  <c:v>0.10136826539852141</c:v>
                </c:pt>
                <c:pt idx="42">
                  <c:v>0.10279654068696319</c:v>
                </c:pt>
                <c:pt idx="43">
                  <c:v>0.10266893720921517</c:v>
                </c:pt>
                <c:pt idx="44">
                  <c:v>0.09884446132995156</c:v>
                </c:pt>
                <c:pt idx="45">
                  <c:v>0.09577019113451748</c:v>
                </c:pt>
                <c:pt idx="46">
                  <c:v>0.0931812789650597</c:v>
                </c:pt>
                <c:pt idx="47">
                  <c:v>0.09179058284749315</c:v>
                </c:pt>
                <c:pt idx="48">
                  <c:v>0.08963367553997577</c:v>
                </c:pt>
                <c:pt idx="49">
                  <c:v>0.09105249623563828</c:v>
                </c:pt>
                <c:pt idx="50">
                  <c:v>0.09032349242304893</c:v>
                </c:pt>
                <c:pt idx="51">
                  <c:v>0.08884007302249151</c:v>
                </c:pt>
              </c:numCache>
            </c:numRef>
          </c:xVal>
          <c:yVal>
            <c:numRef>
              <c:f>Sheet1!$B$109:$B$160</c:f>
              <c:numCache>
                <c:formatCode>General</c:formatCode>
                <c:ptCount val="52"/>
                <c:pt idx="0">
                  <c:v>0.11244691668161971</c:v>
                </c:pt>
                <c:pt idx="1">
                  <c:v>0.10773805836069636</c:v>
                </c:pt>
                <c:pt idx="2">
                  <c:v>0.12557179515787126</c:v>
                </c:pt>
                <c:pt idx="3">
                  <c:v>0.14269586814179272</c:v>
                </c:pt>
                <c:pt idx="4">
                  <c:v>0.12219994270982526</c:v>
                </c:pt>
                <c:pt idx="5">
                  <c:v>0.12453797543817813</c:v>
                </c:pt>
                <c:pt idx="6">
                  <c:v>0.13373069628826875</c:v>
                </c:pt>
                <c:pt idx="7">
                  <c:v>0.14016351182146278</c:v>
                </c:pt>
                <c:pt idx="8">
                  <c:v>0.12179070523236919</c:v>
                </c:pt>
                <c:pt idx="9">
                  <c:v>0.13084326306141156</c:v>
                </c:pt>
                <c:pt idx="10">
                  <c:v>0.1377449168207024</c:v>
                </c:pt>
                <c:pt idx="11">
                  <c:v>0.13321432556063817</c:v>
                </c:pt>
                <c:pt idx="12">
                  <c:v>0.13040138275398502</c:v>
                </c:pt>
                <c:pt idx="13">
                  <c:v>0.1251391526422631</c:v>
                </c:pt>
                <c:pt idx="14">
                  <c:v>0.12566922297786137</c:v>
                </c:pt>
                <c:pt idx="15">
                  <c:v>0.12627492769066828</c:v>
                </c:pt>
                <c:pt idx="16">
                  <c:v>0.11987162806834938</c:v>
                </c:pt>
                <c:pt idx="17">
                  <c:v>0.1311179338992234</c:v>
                </c:pt>
                <c:pt idx="18">
                  <c:v>0.12306377523768829</c:v>
                </c:pt>
                <c:pt idx="19">
                  <c:v>0.1133887898593781</c:v>
                </c:pt>
                <c:pt idx="20">
                  <c:v>0.10356500581825875</c:v>
                </c:pt>
                <c:pt idx="21">
                  <c:v>0.10847995766635798</c:v>
                </c:pt>
                <c:pt idx="22">
                  <c:v>0.11260018394429115</c:v>
                </c:pt>
                <c:pt idx="23">
                  <c:v>0.1124674255931971</c:v>
                </c:pt>
                <c:pt idx="24">
                  <c:v>0.11437578814627995</c:v>
                </c:pt>
                <c:pt idx="25">
                  <c:v>0.11745558117455582</c:v>
                </c:pt>
                <c:pt idx="26">
                  <c:v>0.11130456410894167</c:v>
                </c:pt>
                <c:pt idx="27">
                  <c:v>0.115748031496063</c:v>
                </c:pt>
                <c:pt idx="28">
                  <c:v>0.10853023628354025</c:v>
                </c:pt>
                <c:pt idx="29">
                  <c:v>0.11010269882971101</c:v>
                </c:pt>
                <c:pt idx="30">
                  <c:v>0.11395087894277521</c:v>
                </c:pt>
                <c:pt idx="31">
                  <c:v>0.11002804112698625</c:v>
                </c:pt>
                <c:pt idx="32">
                  <c:v>0.10702263493905978</c:v>
                </c:pt>
                <c:pt idx="33">
                  <c:v>0.12787082539364156</c:v>
                </c:pt>
                <c:pt idx="34">
                  <c:v>0.13615101904443702</c:v>
                </c:pt>
                <c:pt idx="35">
                  <c:v>0.136327185244587</c:v>
                </c:pt>
                <c:pt idx="36">
                  <c:v>0.12400939242735544</c:v>
                </c:pt>
                <c:pt idx="37">
                  <c:v>0.11997920187183153</c:v>
                </c:pt>
                <c:pt idx="38">
                  <c:v>0.12323087919942816</c:v>
                </c:pt>
                <c:pt idx="39">
                  <c:v>0.13048597730678654</c:v>
                </c:pt>
                <c:pt idx="40">
                  <c:v>0.12352879908342881</c:v>
                </c:pt>
                <c:pt idx="41">
                  <c:v>0.12875662934590454</c:v>
                </c:pt>
                <c:pt idx="42">
                  <c:v>0.12409160977758203</c:v>
                </c:pt>
                <c:pt idx="43">
                  <c:v>0.11939594148183105</c:v>
                </c:pt>
                <c:pt idx="44">
                  <c:v>0.11820958958693054</c:v>
                </c:pt>
                <c:pt idx="45">
                  <c:v>0.12854775222705614</c:v>
                </c:pt>
                <c:pt idx="46">
                  <c:v>0.14696623665205852</c:v>
                </c:pt>
                <c:pt idx="47">
                  <c:v>0.1445496254137871</c:v>
                </c:pt>
                <c:pt idx="48">
                  <c:v>0.14861535429190895</c:v>
                </c:pt>
                <c:pt idx="49">
                  <c:v>0.15222417460464255</c:v>
                </c:pt>
                <c:pt idx="50">
                  <c:v>0.15457490373449057</c:v>
                </c:pt>
                <c:pt idx="51">
                  <c:v>0.14475201845444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8099771613544211</c:v>
                </c:pt>
              </c:numCache>
            </c:numRef>
          </c:xVal>
          <c:yVal>
            <c:numRef>
              <c:f>Sheet1!$B$163:$B$164</c:f>
              <c:numCache>
                <c:formatCode>General</c:formatCode>
                <c:ptCount val="2"/>
                <c:pt idx="0">
                  <c:v>0.15004161277137068</c:v>
                </c:pt>
                <c:pt idx="1">
                  <c:v>0.1500416127713706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8099771613544211</c:v>
                </c:pt>
                <c:pt idx="1">
                  <c:v>0.08099771613544211</c:v>
                </c:pt>
              </c:numCache>
            </c:numRef>
          </c:xVal>
          <c:yVal>
            <c:numRef>
              <c:f>Sheet1!$B$167:$B$168</c:f>
              <c:numCache>
                <c:formatCode>General</c:formatCode>
                <c:ptCount val="2"/>
                <c:pt idx="0">
                  <c:v>0.1500416127713706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099771613544211</c:v>
                </c:pt>
              </c:numCache>
            </c:numRef>
          </c:xVal>
          <c:yVal>
            <c:numRef>
              <c:f>Sheet1!$B$171:$B$172</c:f>
              <c:numCache>
                <c:formatCode>General</c:formatCode>
                <c:ptCount val="2"/>
                <c:pt idx="0">
                  <c:v>0.15004161277137068</c:v>
                </c:pt>
                <c:pt idx="1">
                  <c:v>0.1500416127713706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099771613544211</c:v>
                </c:pt>
                <c:pt idx="1">
                  <c:v>0.08099771613544211</c:v>
                </c:pt>
              </c:numCache>
            </c:numRef>
          </c:xVal>
          <c:yVal>
            <c:numRef>
              <c:f>Sheet1!$B$175:$B$176</c:f>
              <c:numCache>
                <c:formatCode>General</c:formatCode>
                <c:ptCount val="2"/>
                <c:pt idx="0">
                  <c:v>0.1500416127713706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8975899030752035</c:v>
                </c:pt>
              </c:numCache>
            </c:numRef>
          </c:xVal>
          <c:yVal>
            <c:numRef>
              <c:f>Sheet1!$B$179:$B$180</c:f>
              <c:numCache>
                <c:formatCode>General</c:formatCode>
                <c:ptCount val="2"/>
                <c:pt idx="0">
                  <c:v>0.13574604707391139</c:v>
                </c:pt>
                <c:pt idx="1">
                  <c:v>0.1357460470739113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8975899030752035</c:v>
                </c:pt>
                <c:pt idx="1">
                  <c:v>0.08975899030752035</c:v>
                </c:pt>
              </c:numCache>
            </c:numRef>
          </c:xVal>
          <c:yVal>
            <c:numRef>
              <c:f>Sheet1!$B$183:$B$184</c:f>
              <c:numCache>
                <c:formatCode>General</c:formatCode>
                <c:ptCount val="2"/>
                <c:pt idx="0">
                  <c:v>0.1357460470739113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9522205278714335</c:v>
                </c:pt>
                <c:pt idx="1">
                  <c:v>0.09663090014092743</c:v>
                </c:pt>
                <c:pt idx="2">
                  <c:v>0.09528084154345488</c:v>
                </c:pt>
                <c:pt idx="3">
                  <c:v>0.09095522746122493</c:v>
                </c:pt>
                <c:pt idx="4">
                  <c:v>0.09290849561383095</c:v>
                </c:pt>
                <c:pt idx="5">
                  <c:v>0.09661346274137797</c:v>
                </c:pt>
                <c:pt idx="6">
                  <c:v>0.09055359652540385</c:v>
                </c:pt>
                <c:pt idx="7">
                  <c:v>0.08970950236278306</c:v>
                </c:pt>
                <c:pt idx="8">
                  <c:v>0.09836617493678468</c:v>
                </c:pt>
                <c:pt idx="9">
                  <c:v>0.09267545021968798</c:v>
                </c:pt>
                <c:pt idx="10">
                  <c:v>0.09289799081566003</c:v>
                </c:pt>
                <c:pt idx="11">
                  <c:v>0.08692607699849143</c:v>
                </c:pt>
                <c:pt idx="12">
                  <c:v>0.08736987489556312</c:v>
                </c:pt>
                <c:pt idx="13">
                  <c:v>0.09070867002284862</c:v>
                </c:pt>
                <c:pt idx="14">
                  <c:v>0.0918054109999852</c:v>
                </c:pt>
                <c:pt idx="15">
                  <c:v>0.09181213475017365</c:v>
                </c:pt>
                <c:pt idx="16">
                  <c:v>0.0938811844670076</c:v>
                </c:pt>
                <c:pt idx="17">
                  <c:v>0.08718957668070774</c:v>
                </c:pt>
                <c:pt idx="18">
                  <c:v>0.09349932774178989</c:v>
                </c:pt>
                <c:pt idx="19">
                  <c:v>0.10429394842229099</c:v>
                </c:pt>
                <c:pt idx="20">
                  <c:v>0.10356830713725275</c:v>
                </c:pt>
                <c:pt idx="21">
                  <c:v>0.09996386104892152</c:v>
                </c:pt>
                <c:pt idx="22">
                  <c:v>0.1010684451017657</c:v>
                </c:pt>
                <c:pt idx="23">
                  <c:v>0.09749861912436428</c:v>
                </c:pt>
                <c:pt idx="24">
                  <c:v>0.10099842789164482</c:v>
                </c:pt>
                <c:pt idx="25">
                  <c:v>0.09588831807097409</c:v>
                </c:pt>
                <c:pt idx="26">
                  <c:v>0.0967217387945899</c:v>
                </c:pt>
                <c:pt idx="27">
                  <c:v>0.09837438244169246</c:v>
                </c:pt>
                <c:pt idx="28">
                  <c:v>0.10202037256637735</c:v>
                </c:pt>
                <c:pt idx="29">
                  <c:v>0.10063713908332052</c:v>
                </c:pt>
                <c:pt idx="30">
                  <c:v>0.09915897278557055</c:v>
                </c:pt>
                <c:pt idx="31">
                  <c:v>0.09968665891334604</c:v>
                </c:pt>
                <c:pt idx="32">
                  <c:v>0.10000655920211739</c:v>
                </c:pt>
                <c:pt idx="33">
                  <c:v>0.10011448416059938</c:v>
                </c:pt>
                <c:pt idx="34">
                  <c:v>0.0992306998208904</c:v>
                </c:pt>
                <c:pt idx="35">
                  <c:v>0.0992007047139883</c:v>
                </c:pt>
                <c:pt idx="36">
                  <c:v>0.1037209402045996</c:v>
                </c:pt>
                <c:pt idx="37">
                  <c:v>0.1007617795011005</c:v>
                </c:pt>
                <c:pt idx="38">
                  <c:v>0.10309897282946247</c:v>
                </c:pt>
                <c:pt idx="39">
                  <c:v>0.09818884877191862</c:v>
                </c:pt>
                <c:pt idx="40">
                  <c:v>0.10108323712688888</c:v>
                </c:pt>
                <c:pt idx="41">
                  <c:v>0.10136826539852141</c:v>
                </c:pt>
                <c:pt idx="42">
                  <c:v>0.10279654068696319</c:v>
                </c:pt>
                <c:pt idx="43">
                  <c:v>0.10266893720921517</c:v>
                </c:pt>
                <c:pt idx="44">
                  <c:v>0.09884446132995156</c:v>
                </c:pt>
                <c:pt idx="45">
                  <c:v>0.09577019113451748</c:v>
                </c:pt>
                <c:pt idx="46">
                  <c:v>0.0931812789650597</c:v>
                </c:pt>
                <c:pt idx="47">
                  <c:v>0.09179058284749315</c:v>
                </c:pt>
                <c:pt idx="48">
                  <c:v>0.08963367553997577</c:v>
                </c:pt>
                <c:pt idx="49">
                  <c:v>0.09105249623563828</c:v>
                </c:pt>
                <c:pt idx="50">
                  <c:v>0.09032349242304893</c:v>
                </c:pt>
                <c:pt idx="51">
                  <c:v>0.08884007302249151</c:v>
                </c:pt>
                <c:pt idx="52">
                  <c:v>0.08099771613544211</c:v>
                </c:pt>
                <c:pt idx="53">
                  <c:v>0.08099771613544211</c:v>
                </c:pt>
                <c:pt idx="54">
                  <c:v>0.08975899030752035</c:v>
                </c:pt>
              </c:numCache>
            </c:numRef>
          </c:xVal>
          <c:yVal>
            <c:numRef>
              <c:f>Sheet1!$B$187:$B$241</c:f>
              <c:numCache>
                <c:formatCode>General</c:formatCode>
                <c:ptCount val="55"/>
                <c:pt idx="0">
                  <c:v>0.12683209608312188</c:v>
                </c:pt>
                <c:pt idx="1">
                  <c:v>0.12453331288011493</c:v>
                </c:pt>
                <c:pt idx="2">
                  <c:v>0.12673617184748937</c:v>
                </c:pt>
                <c:pt idx="3">
                  <c:v>0.13379417495067328</c:v>
                </c:pt>
                <c:pt idx="4">
                  <c:v>0.13060707309175376</c:v>
                </c:pt>
                <c:pt idx="5">
                  <c:v>0.1245617650762175</c:v>
                </c:pt>
                <c:pt idx="6">
                  <c:v>0.1344495067342009</c:v>
                </c:pt>
                <c:pt idx="7">
                  <c:v>0.13582679539331438</c:v>
                </c:pt>
                <c:pt idx="8">
                  <c:v>0.12170190567151731</c:v>
                </c:pt>
                <c:pt idx="9">
                  <c:v>0.13098732779866368</c:v>
                </c:pt>
                <c:pt idx="10">
                  <c:v>0.13062421352469097</c:v>
                </c:pt>
                <c:pt idx="11">
                  <c:v>0.14036844531519635</c:v>
                </c:pt>
                <c:pt idx="12">
                  <c:v>0.13964431068941305</c:v>
                </c:pt>
                <c:pt idx="13">
                  <c:v>0.13419647694342896</c:v>
                </c:pt>
                <c:pt idx="14">
                  <c:v>0.13240695039925135</c:v>
                </c:pt>
                <c:pt idx="15">
                  <c:v>0.13239597941367728</c:v>
                </c:pt>
                <c:pt idx="16">
                  <c:v>0.12901995949039105</c:v>
                </c:pt>
                <c:pt idx="17">
                  <c:v>0.13993849906030253</c:v>
                </c:pt>
                <c:pt idx="18">
                  <c:v>0.12964302615799558</c:v>
                </c:pt>
                <c:pt idx="19">
                  <c:v>0.11202969662551143</c:v>
                </c:pt>
                <c:pt idx="20">
                  <c:v>0.11321370850087459</c:v>
                </c:pt>
                <c:pt idx="21">
                  <c:v>0.11909499869299128</c:v>
                </c:pt>
                <c:pt idx="22">
                  <c:v>0.11729267478602765</c:v>
                </c:pt>
                <c:pt idx="23">
                  <c:v>0.12311747615465476</c:v>
                </c:pt>
                <c:pt idx="24">
                  <c:v>0.1174069202265397</c:v>
                </c:pt>
                <c:pt idx="25">
                  <c:v>0.12574496663712267</c:v>
                </c:pt>
                <c:pt idx="26">
                  <c:v>0.12438509357824226</c:v>
                </c:pt>
                <c:pt idx="27">
                  <c:v>0.12168851367814776</c:v>
                </c:pt>
                <c:pt idx="28">
                  <c:v>0.115739437055728</c:v>
                </c:pt>
                <c:pt idx="29">
                  <c:v>0.11799642670627261</c:v>
                </c:pt>
                <c:pt idx="30">
                  <c:v>0.12040831600527424</c:v>
                </c:pt>
                <c:pt idx="31">
                  <c:v>0.11954730291983817</c:v>
                </c:pt>
                <c:pt idx="32">
                  <c:v>0.11902532911728997</c:v>
                </c:pt>
                <c:pt idx="33">
                  <c:v>0.11884923049235571</c:v>
                </c:pt>
                <c:pt idx="34">
                  <c:v>0.12029128068306427</c:v>
                </c:pt>
                <c:pt idx="35">
                  <c:v>0.1203402229958945</c:v>
                </c:pt>
                <c:pt idx="36">
                  <c:v>0.1129646607026884</c:v>
                </c:pt>
                <c:pt idx="37">
                  <c:v>0.11779305385822145</c:v>
                </c:pt>
                <c:pt idx="38">
                  <c:v>0.11397951028943978</c:v>
                </c:pt>
                <c:pt idx="39">
                  <c:v>0.1219912446181057</c:v>
                </c:pt>
                <c:pt idx="40">
                  <c:v>0.1172685389853674</c:v>
                </c:pt>
                <c:pt idx="41">
                  <c:v>0.11680346503576522</c:v>
                </c:pt>
                <c:pt idx="42">
                  <c:v>0.11447298172717887</c:v>
                </c:pt>
                <c:pt idx="43">
                  <c:v>0.11468118933072408</c:v>
                </c:pt>
                <c:pt idx="44">
                  <c:v>0.12092149697508497</c:v>
                </c:pt>
                <c:pt idx="45">
                  <c:v>0.12593771159037806</c:v>
                </c:pt>
                <c:pt idx="46">
                  <c:v>0.1301619788917467</c:v>
                </c:pt>
                <c:pt idx="47">
                  <c:v>0.1324311451480925</c:v>
                </c:pt>
                <c:pt idx="48">
                  <c:v>0.13595052024266632</c:v>
                </c:pt>
                <c:pt idx="49">
                  <c:v>0.133635463771497</c:v>
                </c:pt>
                <c:pt idx="50">
                  <c:v>0.13482496220424575</c:v>
                </c:pt>
                <c:pt idx="51">
                  <c:v>0.13724542286796265</c:v>
                </c:pt>
                <c:pt idx="52">
                  <c:v>0.15004161277137068</c:v>
                </c:pt>
                <c:pt idx="53">
                  <c:v>0.15004161277137068</c:v>
                </c:pt>
                <c:pt idx="54">
                  <c:v>0.135746047073911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742307692307692"/>
          <c:min val="0.0497106918238993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2.0793</c:v>
                </c:pt>
                <c:pt idx="1">
                  <c:v>898.0923</c:v>
                </c:pt>
                <c:pt idx="2">
                  <c:v>933.1302</c:v>
                </c:pt>
                <c:pt idx="3">
                  <c:v>950.5945</c:v>
                </c:pt>
                <c:pt idx="4">
                  <c:v>945.88</c:v>
                </c:pt>
                <c:pt idx="5">
                  <c:v>940.4877</c:v>
                </c:pt>
                <c:pt idx="6">
                  <c:v>912.8367</c:v>
                </c:pt>
                <c:pt idx="7">
                  <c:v>928.7985</c:v>
                </c:pt>
                <c:pt idx="8">
                  <c:v>926.0689</c:v>
                </c:pt>
                <c:pt idx="9">
                  <c:v>895.5168</c:v>
                </c:pt>
                <c:pt idx="10">
                  <c:v>877.4496</c:v>
                </c:pt>
                <c:pt idx="11">
                  <c:v>892.3339</c:v>
                </c:pt>
                <c:pt idx="12">
                  <c:v>883.8966</c:v>
                </c:pt>
                <c:pt idx="13">
                  <c:v>867.6505</c:v>
                </c:pt>
                <c:pt idx="14">
                  <c:v>916.5349</c:v>
                </c:pt>
                <c:pt idx="15">
                  <c:v>927.2595</c:v>
                </c:pt>
                <c:pt idx="16">
                  <c:v>935.8397</c:v>
                </c:pt>
                <c:pt idx="17">
                  <c:v>952.7421</c:v>
                </c:pt>
                <c:pt idx="18">
                  <c:v>983.7015</c:v>
                </c:pt>
                <c:pt idx="19">
                  <c:v>1011.8266</c:v>
                </c:pt>
                <c:pt idx="20">
                  <c:v>1022.6555</c:v>
                </c:pt>
                <c:pt idx="21">
                  <c:v>1032.3699</c:v>
                </c:pt>
                <c:pt idx="22">
                  <c:v>1019.3834</c:v>
                </c:pt>
                <c:pt idx="23">
                  <c:v>1006.6252</c:v>
                </c:pt>
                <c:pt idx="24">
                  <c:v>999.2128</c:v>
                </c:pt>
                <c:pt idx="25">
                  <c:v>992.7928</c:v>
                </c:pt>
                <c:pt idx="26">
                  <c:v>996.5822</c:v>
                </c:pt>
                <c:pt idx="27">
                  <c:v>1017.7953</c:v>
                </c:pt>
                <c:pt idx="28">
                  <c:v>1017.9128</c:v>
                </c:pt>
                <c:pt idx="29">
                  <c:v>949.6234</c:v>
                </c:pt>
                <c:pt idx="30">
                  <c:v>975.2913</c:v>
                </c:pt>
                <c:pt idx="31">
                  <c:v>984.7113</c:v>
                </c:pt>
                <c:pt idx="32">
                  <c:v>965.6392</c:v>
                </c:pt>
                <c:pt idx="33">
                  <c:v>913.9941</c:v>
                </c:pt>
                <c:pt idx="34">
                  <c:v>975.6922</c:v>
                </c:pt>
                <c:pt idx="35">
                  <c:v>1029.8247</c:v>
                </c:pt>
                <c:pt idx="36">
                  <c:v>1079.3761</c:v>
                </c:pt>
                <c:pt idx="37">
                  <c:v>1095.4522</c:v>
                </c:pt>
                <c:pt idx="38">
                  <c:v>1123.0701</c:v>
                </c:pt>
                <c:pt idx="39">
                  <c:v>1140.4306</c:v>
                </c:pt>
                <c:pt idx="40">
                  <c:v>1168.4861</c:v>
                </c:pt>
                <c:pt idx="41">
                  <c:v>1173.1724</c:v>
                </c:pt>
                <c:pt idx="42">
                  <c:v>1196.5161</c:v>
                </c:pt>
                <c:pt idx="43">
                  <c:v>1194.1835</c:v>
                </c:pt>
                <c:pt idx="44">
                  <c:v>1077.0994</c:v>
                </c:pt>
                <c:pt idx="45">
                  <c:v>1030.341</c:v>
                </c:pt>
                <c:pt idx="46">
                  <c:v>1016.2726</c:v>
                </c:pt>
                <c:pt idx="47">
                  <c:v>996.3513</c:v>
                </c:pt>
                <c:pt idx="48">
                  <c:v>991.7153</c:v>
                </c:pt>
                <c:pt idx="49">
                  <c:v>960.2496</c:v>
                </c:pt>
                <c:pt idx="50">
                  <c:v>969.312</c:v>
                </c:pt>
                <c:pt idx="51">
                  <c:v>991.035</c:v>
                </c:pt>
                <c:pt idx="52">
                  <c:v>1003.8741</c:v>
                </c:pt>
                <c:pt idx="53">
                  <c:v>1076.7501</c:v>
                </c:pt>
                <c:pt idx="54">
                  <c:v>1090.5007</c:v>
                </c:pt>
                <c:pt idx="55">
                  <c:v>1091.1888</c:v>
                </c:pt>
                <c:pt idx="56">
                  <c:v>1108.0917</c:v>
                </c:pt>
                <c:pt idx="57">
                  <c:v>1087.2018</c:v>
                </c:pt>
                <c:pt idx="58">
                  <c:v>1071.9741</c:v>
                </c:pt>
                <c:pt idx="59">
                  <c:v>1078.1859</c:v>
                </c:pt>
                <c:pt idx="60">
                  <c:v>1098.0564</c:v>
                </c:pt>
                <c:pt idx="61">
                  <c:v>1082.2921</c:v>
                </c:pt>
                <c:pt idx="62">
                  <c:v>1035.29</c:v>
                </c:pt>
                <c:pt idx="63">
                  <c:v>1060.3345</c:v>
                </c:pt>
                <c:pt idx="64">
                  <c:v>1050.5276</c:v>
                </c:pt>
                <c:pt idx="65">
                  <c:v>1036.2601</c:v>
                </c:pt>
                <c:pt idx="66">
                  <c:v>1033.8859</c:v>
                </c:pt>
                <c:pt idx="67">
                  <c:v>1031.3079</c:v>
                </c:pt>
                <c:pt idx="68">
                  <c:v>1021.1138</c:v>
                </c:pt>
                <c:pt idx="69">
                  <c:v>1031.6969</c:v>
                </c:pt>
                <c:pt idx="70">
                  <c:v>1030.9094</c:v>
                </c:pt>
                <c:pt idx="71">
                  <c:v>1058.6699</c:v>
                </c:pt>
                <c:pt idx="72">
                  <c:v>1071.7634</c:v>
                </c:pt>
                <c:pt idx="73">
                  <c:v>1087.9704</c:v>
                </c:pt>
                <c:pt idx="74">
                  <c:v>1071.8278</c:v>
                </c:pt>
                <c:pt idx="75">
                  <c:v>1067.6917</c:v>
                </c:pt>
                <c:pt idx="76">
                  <c:v>1064.3747</c:v>
                </c:pt>
                <c:pt idx="77">
                  <c:v>1049.3514</c:v>
                </c:pt>
                <c:pt idx="78">
                  <c:v>1110.6592</c:v>
                </c:pt>
                <c:pt idx="79">
                  <c:v>811.7668</c:v>
                </c:pt>
                <c:pt idx="80">
                  <c:v>820.9709</c:v>
                </c:pt>
                <c:pt idx="81">
                  <c:v>1003.2159</c:v>
                </c:pt>
                <c:pt idx="82">
                  <c:v>1006.7705</c:v>
                </c:pt>
                <c:pt idx="83">
                  <c:v>1011.4731</c:v>
                </c:pt>
                <c:pt idx="84">
                  <c:v>1022.8312</c:v>
                </c:pt>
                <c:pt idx="85">
                  <c:v>1047.4643</c:v>
                </c:pt>
                <c:pt idx="86">
                  <c:v>1143.1328</c:v>
                </c:pt>
                <c:pt idx="87">
                  <c:v>1172.5488</c:v>
                </c:pt>
                <c:pt idx="88">
                  <c:v>1166.9299</c:v>
                </c:pt>
                <c:pt idx="89">
                  <c:v>1117.5828</c:v>
                </c:pt>
                <c:pt idx="90">
                  <c:v>1153.5831</c:v>
                </c:pt>
                <c:pt idx="91">
                  <c:v>1176.1614</c:v>
                </c:pt>
                <c:pt idx="92">
                  <c:v>1169.5088</c:v>
                </c:pt>
                <c:pt idx="93">
                  <c:v>1198.366</c:v>
                </c:pt>
                <c:pt idx="94">
                  <c:v>1188.7466</c:v>
                </c:pt>
                <c:pt idx="95">
                  <c:v>1187.3917</c:v>
                </c:pt>
                <c:pt idx="96">
                  <c:v>1134.213</c:v>
                </c:pt>
                <c:pt idx="97">
                  <c:v>1150.1076</c:v>
                </c:pt>
                <c:pt idx="98">
                  <c:v>1132.3011</c:v>
                </c:pt>
                <c:pt idx="99">
                  <c:v>1088.5472</c:v>
                </c:pt>
                <c:pt idx="100">
                  <c:v>1080.571</c:v>
                </c:pt>
                <c:pt idx="101">
                  <c:v>1123.449</c:v>
                </c:pt>
                <c:pt idx="102">
                  <c:v>1158.3854</c:v>
                </c:pt>
                <c:pt idx="103">
                  <c:v>1029.2894</c:v>
                </c:pt>
                <c:pt idx="104">
                  <c:v>1098.1199</c:v>
                </c:pt>
              </c:numCache>
            </c:numRef>
          </c:xVal>
          <c:yVal>
            <c:numRef>
              <c:f>Sheet1!$B$2:$B$106</c:f>
              <c:numCache>
                <c:formatCode>General</c:formatCode>
                <c:ptCount val="105"/>
                <c:pt idx="0">
                  <c:v>0.22760837033584377</c:v>
                </c:pt>
                <c:pt idx="1">
                  <c:v>0.2325046891924022</c:v>
                </c:pt>
                <c:pt idx="2">
                  <c:v>0.21503914608665006</c:v>
                </c:pt>
                <c:pt idx="3">
                  <c:v>0.21465353931534992</c:v>
                </c:pt>
                <c:pt idx="4">
                  <c:v>0.20793685458459427</c:v>
                </c:pt>
                <c:pt idx="5">
                  <c:v>0.1966485796361315</c:v>
                </c:pt>
                <c:pt idx="6">
                  <c:v>0.21195170411126393</c:v>
                </c:pt>
                <c:pt idx="7">
                  <c:v>0.20612980769230768</c:v>
                </c:pt>
                <c:pt idx="8">
                  <c:v>0.21598764524194736</c:v>
                </c:pt>
                <c:pt idx="9">
                  <c:v>0.21518105849582173</c:v>
                </c:pt>
                <c:pt idx="10">
                  <c:v>0.22739490377378777</c:v>
                </c:pt>
                <c:pt idx="11">
                  <c:v>0.22329282485722793</c:v>
                </c:pt>
                <c:pt idx="12">
                  <c:v>0.2305631356983379</c:v>
                </c:pt>
                <c:pt idx="13">
                  <c:v>0.23892725478996832</c:v>
                </c:pt>
                <c:pt idx="14">
                  <c:v>0.23104343039865805</c:v>
                </c:pt>
                <c:pt idx="15">
                  <c:v>0.22596273291925467</c:v>
                </c:pt>
                <c:pt idx="16">
                  <c:v>0.21038387579232248</c:v>
                </c:pt>
                <c:pt idx="17">
                  <c:v>0.20514723111770677</c:v>
                </c:pt>
                <c:pt idx="18">
                  <c:v>0.18550875820402485</c:v>
                </c:pt>
                <c:pt idx="19">
                  <c:v>0.17197875166002657</c:v>
                </c:pt>
                <c:pt idx="20">
                  <c:v>0.18437369082530372</c:v>
                </c:pt>
                <c:pt idx="21">
                  <c:v>0.18039854881960146</c:v>
                </c:pt>
                <c:pt idx="22">
                  <c:v>0.1794175973280451</c:v>
                </c:pt>
                <c:pt idx="23">
                  <c:v>0.17912721732506257</c:v>
                </c:pt>
                <c:pt idx="24">
                  <c:v>0.18612306913142568</c:v>
                </c:pt>
                <c:pt idx="25">
                  <c:v>0.1827140455625761</c:v>
                </c:pt>
                <c:pt idx="26">
                  <c:v>0.1862462709597778</c:v>
                </c:pt>
                <c:pt idx="27">
                  <c:v>0.18021255060728744</c:v>
                </c:pt>
                <c:pt idx="28">
                  <c:v>0.17628913680530564</c:v>
                </c:pt>
                <c:pt idx="29">
                  <c:v>0.18736804276537442</c:v>
                </c:pt>
                <c:pt idx="30">
                  <c:v>0.17649434571890146</c:v>
                </c:pt>
                <c:pt idx="31">
                  <c:v>0.16942195231668916</c:v>
                </c:pt>
                <c:pt idx="32">
                  <c:v>0.1783959816746702</c:v>
                </c:pt>
                <c:pt idx="33">
                  <c:v>0.19256418079588544</c:v>
                </c:pt>
                <c:pt idx="34">
                  <c:v>0.1910329127599645</c:v>
                </c:pt>
                <c:pt idx="35">
                  <c:v>0.19439806453811292</c:v>
                </c:pt>
                <c:pt idx="36">
                  <c:v>0.1634170522141441</c:v>
                </c:pt>
                <c:pt idx="37">
                  <c:v>0.14788562611504893</c:v>
                </c:pt>
                <c:pt idx="38">
                  <c:v>0.1440997390547985</c:v>
                </c:pt>
                <c:pt idx="39">
                  <c:v>0.14272555140473875</c:v>
                </c:pt>
                <c:pt idx="40">
                  <c:v>0.14606043022340118</c:v>
                </c:pt>
                <c:pt idx="41">
                  <c:v>0.1362635345935034</c:v>
                </c:pt>
                <c:pt idx="42">
                  <c:v>0.14438356164383562</c:v>
                </c:pt>
                <c:pt idx="43">
                  <c:v>0.15096437880104258</c:v>
                </c:pt>
                <c:pt idx="44">
                  <c:v>0.16644399128050066</c:v>
                </c:pt>
                <c:pt idx="45">
                  <c:v>0.18401017919626764</c:v>
                </c:pt>
                <c:pt idx="46">
                  <c:v>0.191180093619118</c:v>
                </c:pt>
                <c:pt idx="47">
                  <c:v>0.19401514039465684</c:v>
                </c:pt>
                <c:pt idx="48">
                  <c:v>0.20776936606255259</c:v>
                </c:pt>
                <c:pt idx="49">
                  <c:v>0.24055718692688513</c:v>
                </c:pt>
                <c:pt idx="50">
                  <c:v>0.20537331455021132</c:v>
                </c:pt>
                <c:pt idx="51">
                  <c:v>0.18708201775103797</c:v>
                </c:pt>
                <c:pt idx="52">
                  <c:v>0.20016477944904512</c:v>
                </c:pt>
                <c:pt idx="53">
                  <c:v>0.19037838691839798</c:v>
                </c:pt>
                <c:pt idx="54">
                  <c:v>0.18361277154104097</c:v>
                </c:pt>
                <c:pt idx="55">
                  <c:v>0.180431336184978</c:v>
                </c:pt>
                <c:pt idx="56">
                  <c:v>0.1921937356391341</c:v>
                </c:pt>
                <c:pt idx="57">
                  <c:v>0.1869673664518811</c:v>
                </c:pt>
                <c:pt idx="58">
                  <c:v>0.20230027679679297</c:v>
                </c:pt>
                <c:pt idx="59">
                  <c:v>0.20680500793289244</c:v>
                </c:pt>
                <c:pt idx="60">
                  <c:v>0.21535680468279245</c:v>
                </c:pt>
                <c:pt idx="61">
                  <c:v>0.21254020047418953</c:v>
                </c:pt>
                <c:pt idx="62">
                  <c:v>0.21977724058468698</c:v>
                </c:pt>
                <c:pt idx="63">
                  <c:v>0.23405083253118153</c:v>
                </c:pt>
                <c:pt idx="64">
                  <c:v>0.22663326653306612</c:v>
                </c:pt>
                <c:pt idx="65">
                  <c:v>0.21906008068912877</c:v>
                </c:pt>
                <c:pt idx="66">
                  <c:v>0.21964273616223662</c:v>
                </c:pt>
                <c:pt idx="67">
                  <c:v>0.2167344705350558</c:v>
                </c:pt>
                <c:pt idx="68">
                  <c:v>0.19713190401817407</c:v>
                </c:pt>
                <c:pt idx="69">
                  <c:v>0.18215920174056568</c:v>
                </c:pt>
                <c:pt idx="70">
                  <c:v>0.17000035910511008</c:v>
                </c:pt>
                <c:pt idx="71">
                  <c:v>0.17906644531099186</c:v>
                </c:pt>
                <c:pt idx="72">
                  <c:v>0.18262489044697633</c:v>
                </c:pt>
                <c:pt idx="73">
                  <c:v>0.18369408930167488</c:v>
                </c:pt>
                <c:pt idx="74">
                  <c:v>0.17798172038966412</c:v>
                </c:pt>
                <c:pt idx="75">
                  <c:v>0.17587279337684525</c:v>
                </c:pt>
                <c:pt idx="76">
                  <c:v>0.17318383555244102</c:v>
                </c:pt>
                <c:pt idx="77">
                  <c:v>0.16938785339305495</c:v>
                </c:pt>
                <c:pt idx="78">
                  <c:v>0.16006449879064769</c:v>
                </c:pt>
                <c:pt idx="79">
                  <c:v>0.20537501191270371</c:v>
                </c:pt>
                <c:pt idx="80">
                  <c:v>0.1914609739826551</c:v>
                </c:pt>
                <c:pt idx="81">
                  <c:v>0.16176890156918688</c:v>
                </c:pt>
                <c:pt idx="82">
                  <c:v>0.1631413612565445</c:v>
                </c:pt>
                <c:pt idx="83">
                  <c:v>0.1470696419813634</c:v>
                </c:pt>
                <c:pt idx="84">
                  <c:v>0.14775611265861963</c:v>
                </c:pt>
                <c:pt idx="85">
                  <c:v>0.14966431963320778</c:v>
                </c:pt>
                <c:pt idx="86">
                  <c:v>0.1466328451026921</c:v>
                </c:pt>
                <c:pt idx="87">
                  <c:v>0.1682031189982331</c:v>
                </c:pt>
                <c:pt idx="88">
                  <c:v>0.15206499002772778</c:v>
                </c:pt>
                <c:pt idx="89">
                  <c:v>0.14356117420184272</c:v>
                </c:pt>
                <c:pt idx="90">
                  <c:v>0.13762376237623763</c:v>
                </c:pt>
                <c:pt idx="91">
                  <c:v>0.14078597981943708</c:v>
                </c:pt>
                <c:pt idx="92">
                  <c:v>0.14561866643958102</c:v>
                </c:pt>
                <c:pt idx="93">
                  <c:v>0.1377233240452385</c:v>
                </c:pt>
                <c:pt idx="94">
                  <c:v>0.13904559326736335</c:v>
                </c:pt>
                <c:pt idx="95">
                  <c:v>0.14864864864864866</c:v>
                </c:pt>
                <c:pt idx="96">
                  <c:v>0.145429833503228</c:v>
                </c:pt>
                <c:pt idx="97">
                  <c:v>0.15325840794124496</c:v>
                </c:pt>
                <c:pt idx="98">
                  <c:v>0.1700043933513949</c:v>
                </c:pt>
                <c:pt idx="99">
                  <c:v>0.17778411250475104</c:v>
                </c:pt>
                <c:pt idx="100">
                  <c:v>0.20069152307958277</c:v>
                </c:pt>
                <c:pt idx="101">
                  <c:v>0.18210413864050012</c:v>
                </c:pt>
                <c:pt idx="102">
                  <c:v>0.1514782002787179</c:v>
                </c:pt>
                <c:pt idx="103">
                  <c:v>0.17233793587643342</c:v>
                </c:pt>
                <c:pt idx="104">
                  <c:v>0.176800976800976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8.5916</c:v>
                </c:pt>
                <c:pt idx="1">
                  <c:v>1167.7319</c:v>
                </c:pt>
                <c:pt idx="2">
                  <c:v>1157.0062</c:v>
                </c:pt>
                <c:pt idx="3">
                  <c:v>1169.1175</c:v>
                </c:pt>
                <c:pt idx="4">
                  <c:v>1161.9544</c:v>
                </c:pt>
                <c:pt idx="5">
                  <c:v>1183.7248</c:v>
                </c:pt>
                <c:pt idx="6">
                  <c:v>1117.2699</c:v>
                </c:pt>
                <c:pt idx="7">
                  <c:v>1141.1736</c:v>
                </c:pt>
                <c:pt idx="8">
                  <c:v>1209.0104</c:v>
                </c:pt>
                <c:pt idx="9">
                  <c:v>1152.1809</c:v>
                </c:pt>
                <c:pt idx="10">
                  <c:v>1164.4479</c:v>
                </c:pt>
                <c:pt idx="11">
                  <c:v>1099.6931</c:v>
                </c:pt>
                <c:pt idx="12">
                  <c:v>1106.4423</c:v>
                </c:pt>
                <c:pt idx="13">
                  <c:v>1122.9219</c:v>
                </c:pt>
                <c:pt idx="14">
                  <c:v>1153.7647</c:v>
                </c:pt>
                <c:pt idx="15">
                  <c:v>1159.7934</c:v>
                </c:pt>
                <c:pt idx="16">
                  <c:v>1194.0332</c:v>
                </c:pt>
                <c:pt idx="17">
                  <c:v>1157.0735</c:v>
                </c:pt>
                <c:pt idx="18">
                  <c:v>1132.6753</c:v>
                </c:pt>
                <c:pt idx="19">
                  <c:v>1193.0941</c:v>
                </c:pt>
                <c:pt idx="20">
                  <c:v>1161.3896</c:v>
                </c:pt>
                <c:pt idx="21">
                  <c:v>1171.0427</c:v>
                </c:pt>
                <c:pt idx="22">
                  <c:v>1157.2601</c:v>
                </c:pt>
                <c:pt idx="23">
                  <c:v>1119.5718</c:v>
                </c:pt>
                <c:pt idx="24">
                  <c:v>1125.9451</c:v>
                </c:pt>
                <c:pt idx="25">
                  <c:v>1089.6518</c:v>
                </c:pt>
                <c:pt idx="26">
                  <c:v>1148.3319</c:v>
                </c:pt>
                <c:pt idx="27">
                  <c:v>1193.031</c:v>
                </c:pt>
                <c:pt idx="28">
                  <c:v>1209.2025</c:v>
                </c:pt>
                <c:pt idx="29">
                  <c:v>1213.4693</c:v>
                </c:pt>
                <c:pt idx="30">
                  <c:v>1213.6685</c:v>
                </c:pt>
                <c:pt idx="31">
                  <c:v>1133.8963</c:v>
                </c:pt>
                <c:pt idx="32">
                  <c:v>1155.7744</c:v>
                </c:pt>
                <c:pt idx="33">
                  <c:v>1201.978</c:v>
                </c:pt>
                <c:pt idx="34">
                  <c:v>1254.7971</c:v>
                </c:pt>
                <c:pt idx="35">
                  <c:v>1239.7585</c:v>
                </c:pt>
                <c:pt idx="36">
                  <c:v>1220.2895</c:v>
                </c:pt>
                <c:pt idx="37">
                  <c:v>1258.7205</c:v>
                </c:pt>
                <c:pt idx="38">
                  <c:v>1236.5463</c:v>
                </c:pt>
                <c:pt idx="39">
                  <c:v>1237.4602</c:v>
                </c:pt>
                <c:pt idx="40">
                  <c:v>1258.6316</c:v>
                </c:pt>
                <c:pt idx="41">
                  <c:v>1300.8213</c:v>
                </c:pt>
                <c:pt idx="42">
                  <c:v>1285.5839</c:v>
                </c:pt>
                <c:pt idx="43">
                  <c:v>1284.3043</c:v>
                </c:pt>
                <c:pt idx="44">
                  <c:v>1215.6986</c:v>
                </c:pt>
                <c:pt idx="45">
                  <c:v>1177.9954</c:v>
                </c:pt>
                <c:pt idx="46">
                  <c:v>1151.3394</c:v>
                </c:pt>
                <c:pt idx="47">
                  <c:v>1144.6395</c:v>
                </c:pt>
                <c:pt idx="48">
                  <c:v>1117.0977</c:v>
                </c:pt>
                <c:pt idx="49">
                  <c:v>1129.409</c:v>
                </c:pt>
                <c:pt idx="50">
                  <c:v>1042.1477</c:v>
                </c:pt>
                <c:pt idx="51">
                  <c:v>1017.0188</c:v>
                </c:pt>
              </c:numCache>
            </c:numRef>
          </c:xVal>
          <c:yVal>
            <c:numRef>
              <c:f>Sheet1!$B$109:$B$160</c:f>
              <c:numCache>
                <c:formatCode>General</c:formatCode>
                <c:ptCount val="52"/>
                <c:pt idx="0">
                  <c:v>0.175662656554927</c:v>
                </c:pt>
                <c:pt idx="1">
                  <c:v>0.17459402828706128</c:v>
                </c:pt>
                <c:pt idx="2">
                  <c:v>0.1826517212269018</c:v>
                </c:pt>
                <c:pt idx="3">
                  <c:v>0.19290184955109121</c:v>
                </c:pt>
                <c:pt idx="4">
                  <c:v>0.1808049836959167</c:v>
                </c:pt>
                <c:pt idx="5">
                  <c:v>0.17299134432001564</c:v>
                </c:pt>
                <c:pt idx="6">
                  <c:v>0.17752865773816362</c:v>
                </c:pt>
                <c:pt idx="7">
                  <c:v>0.17669243824250425</c:v>
                </c:pt>
                <c:pt idx="8">
                  <c:v>0.17478963312016157</c:v>
                </c:pt>
                <c:pt idx="9">
                  <c:v>0.18824222504728536</c:v>
                </c:pt>
                <c:pt idx="10">
                  <c:v>0.189738567910027</c:v>
                </c:pt>
                <c:pt idx="11">
                  <c:v>0.19920649152694342</c:v>
                </c:pt>
                <c:pt idx="12">
                  <c:v>0.20091186175974207</c:v>
                </c:pt>
                <c:pt idx="13">
                  <c:v>0.19532071503680337</c:v>
                </c:pt>
                <c:pt idx="14">
                  <c:v>0.19452253296623678</c:v>
                </c:pt>
                <c:pt idx="15">
                  <c:v>0.18382466908459655</c:v>
                </c:pt>
                <c:pt idx="16">
                  <c:v>0.17105357784969435</c:v>
                </c:pt>
                <c:pt idx="17">
                  <c:v>0.16143362698591973</c:v>
                </c:pt>
                <c:pt idx="18">
                  <c:v>0.15984129879605982</c:v>
                </c:pt>
                <c:pt idx="19">
                  <c:v>0.16725263686589653</c:v>
                </c:pt>
                <c:pt idx="20">
                  <c:v>0.16279501951310166</c:v>
                </c:pt>
                <c:pt idx="21">
                  <c:v>0.15986218776916453</c:v>
                </c:pt>
                <c:pt idx="22">
                  <c:v>0.16070922789327594</c:v>
                </c:pt>
                <c:pt idx="23">
                  <c:v>0.1702065585249154</c:v>
                </c:pt>
                <c:pt idx="24">
                  <c:v>0.16856911008926156</c:v>
                </c:pt>
                <c:pt idx="25">
                  <c:v>0.17782949256442274</c:v>
                </c:pt>
                <c:pt idx="26">
                  <c:v>0.1581707119303746</c:v>
                </c:pt>
                <c:pt idx="27">
                  <c:v>0.14686719247538332</c:v>
                </c:pt>
                <c:pt idx="28">
                  <c:v>0.14542954716813766</c:v>
                </c:pt>
                <c:pt idx="29">
                  <c:v>0.14433539577554938</c:v>
                </c:pt>
                <c:pt idx="30">
                  <c:v>0.15105035011670556</c:v>
                </c:pt>
                <c:pt idx="31">
                  <c:v>0.14772658473088332</c:v>
                </c:pt>
                <c:pt idx="32">
                  <c:v>0.1481618815552495</c:v>
                </c:pt>
                <c:pt idx="33">
                  <c:v>0.17092807219322304</c:v>
                </c:pt>
                <c:pt idx="34">
                  <c:v>0.18945165053874133</c:v>
                </c:pt>
                <c:pt idx="35">
                  <c:v>0.1863625133821955</c:v>
                </c:pt>
                <c:pt idx="36">
                  <c:v>0.15510415990654813</c:v>
                </c:pt>
                <c:pt idx="37">
                  <c:v>0.14670209079357746</c:v>
                </c:pt>
                <c:pt idx="38">
                  <c:v>0.14790558941771495</c:v>
                </c:pt>
                <c:pt idx="39">
                  <c:v>0.16470086684666763</c:v>
                </c:pt>
                <c:pt idx="40">
                  <c:v>0.14769102759672723</c:v>
                </c:pt>
                <c:pt idx="41">
                  <c:v>0.14965277777777777</c:v>
                </c:pt>
                <c:pt idx="42">
                  <c:v>0.1479838119849822</c:v>
                </c:pt>
                <c:pt idx="43">
                  <c:v>0.14525119702708497</c:v>
                </c:pt>
                <c:pt idx="44">
                  <c:v>0.14397752545944048</c:v>
                </c:pt>
                <c:pt idx="45">
                  <c:v>0.16196872935476767</c:v>
                </c:pt>
                <c:pt idx="46">
                  <c:v>0.15774751952712687</c:v>
                </c:pt>
                <c:pt idx="47">
                  <c:v>0.16018034533158274</c:v>
                </c:pt>
                <c:pt idx="48">
                  <c:v>0.15172915152144564</c:v>
                </c:pt>
                <c:pt idx="49">
                  <c:v>0.16467122053745684</c:v>
                </c:pt>
                <c:pt idx="50">
                  <c:v>0.20337764110703302</c:v>
                </c:pt>
                <c:pt idx="51">
                  <c:v>0.1886950543548317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83.6298094932763</c:v>
                </c:pt>
              </c:numCache>
            </c:numRef>
          </c:xVal>
          <c:yVal>
            <c:numRef>
              <c:f>Sheet1!$B$163:$B$164</c:f>
              <c:numCache>
                <c:formatCode>General</c:formatCode>
                <c:ptCount val="2"/>
                <c:pt idx="0">
                  <c:v>0.21427337068849897</c:v>
                </c:pt>
                <c:pt idx="1">
                  <c:v>0.2142733706884989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83.6298094932763</c:v>
                </c:pt>
                <c:pt idx="1">
                  <c:v>883.6298094932763</c:v>
                </c:pt>
              </c:numCache>
            </c:numRef>
          </c:xVal>
          <c:yVal>
            <c:numRef>
              <c:f>Sheet1!$B$167:$B$168</c:f>
              <c:numCache>
                <c:formatCode>General</c:formatCode>
                <c:ptCount val="2"/>
                <c:pt idx="0">
                  <c:v>0.2142733706884989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1.6128736371313</c:v>
                </c:pt>
              </c:numCache>
            </c:numRef>
          </c:xVal>
          <c:yVal>
            <c:numRef>
              <c:f>Sheet1!$B$171:$B$172</c:f>
              <c:numCache>
                <c:formatCode>General</c:formatCode>
                <c:ptCount val="2"/>
                <c:pt idx="0">
                  <c:v>0.17953887777780547</c:v>
                </c:pt>
                <c:pt idx="1">
                  <c:v>0.1795388777778054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1.6128736371313</c:v>
                </c:pt>
                <c:pt idx="1">
                  <c:v>1101.6128736371313</c:v>
                </c:pt>
              </c:numCache>
            </c:numRef>
          </c:xVal>
          <c:yVal>
            <c:numRef>
              <c:f>Sheet1!$B$175:$B$176</c:f>
              <c:numCache>
                <c:formatCode>General</c:formatCode>
                <c:ptCount val="2"/>
                <c:pt idx="0">
                  <c:v>0.179538877777805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20.5510621930355</c:v>
                </c:pt>
              </c:numCache>
            </c:numRef>
          </c:xVal>
          <c:yVal>
            <c:numRef>
              <c:f>Sheet1!$B$179:$B$180</c:f>
              <c:numCache>
                <c:formatCode>General</c:formatCode>
                <c:ptCount val="2"/>
                <c:pt idx="0">
                  <c:v>0.16058668218668648</c:v>
                </c:pt>
                <c:pt idx="1">
                  <c:v>0.1605866821866864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20.5510621930355</c:v>
                </c:pt>
                <c:pt idx="1">
                  <c:v>1220.5510621930355</c:v>
                </c:pt>
              </c:numCache>
            </c:numRef>
          </c:xVal>
          <c:yVal>
            <c:numRef>
              <c:f>Sheet1!$B$183:$B$184</c:f>
              <c:numCache>
                <c:formatCode>General</c:formatCode>
                <c:ptCount val="2"/>
                <c:pt idx="0">
                  <c:v>0.1605866821866864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8.5916</c:v>
                </c:pt>
                <c:pt idx="1">
                  <c:v>1167.7319</c:v>
                </c:pt>
                <c:pt idx="2">
                  <c:v>1157.0062</c:v>
                </c:pt>
                <c:pt idx="3">
                  <c:v>1169.1175</c:v>
                </c:pt>
                <c:pt idx="4">
                  <c:v>1161.9544</c:v>
                </c:pt>
                <c:pt idx="5">
                  <c:v>1183.7248</c:v>
                </c:pt>
                <c:pt idx="6">
                  <c:v>1117.2699</c:v>
                </c:pt>
                <c:pt idx="7">
                  <c:v>1141.1736</c:v>
                </c:pt>
                <c:pt idx="8">
                  <c:v>1209.0104</c:v>
                </c:pt>
                <c:pt idx="9">
                  <c:v>1152.1809</c:v>
                </c:pt>
                <c:pt idx="10">
                  <c:v>1164.4479</c:v>
                </c:pt>
                <c:pt idx="11">
                  <c:v>1099.6931</c:v>
                </c:pt>
                <c:pt idx="12">
                  <c:v>1106.4423</c:v>
                </c:pt>
                <c:pt idx="13">
                  <c:v>1122.9219</c:v>
                </c:pt>
                <c:pt idx="14">
                  <c:v>1153.7647</c:v>
                </c:pt>
                <c:pt idx="15">
                  <c:v>1159.7934</c:v>
                </c:pt>
                <c:pt idx="16">
                  <c:v>1194.0332</c:v>
                </c:pt>
                <c:pt idx="17">
                  <c:v>1157.0735</c:v>
                </c:pt>
                <c:pt idx="18">
                  <c:v>1132.6753</c:v>
                </c:pt>
                <c:pt idx="19">
                  <c:v>1193.0941</c:v>
                </c:pt>
                <c:pt idx="20">
                  <c:v>1161.3896</c:v>
                </c:pt>
                <c:pt idx="21">
                  <c:v>1171.0427</c:v>
                </c:pt>
                <c:pt idx="22">
                  <c:v>1157.2601</c:v>
                </c:pt>
                <c:pt idx="23">
                  <c:v>1119.5718</c:v>
                </c:pt>
                <c:pt idx="24">
                  <c:v>1125.9451</c:v>
                </c:pt>
                <c:pt idx="25">
                  <c:v>1089.6518</c:v>
                </c:pt>
                <c:pt idx="26">
                  <c:v>1148.3319</c:v>
                </c:pt>
                <c:pt idx="27">
                  <c:v>1193.031</c:v>
                </c:pt>
                <c:pt idx="28">
                  <c:v>1209.2025</c:v>
                </c:pt>
                <c:pt idx="29">
                  <c:v>1213.4693</c:v>
                </c:pt>
                <c:pt idx="30">
                  <c:v>1213.6685</c:v>
                </c:pt>
                <c:pt idx="31">
                  <c:v>1133.8963</c:v>
                </c:pt>
                <c:pt idx="32">
                  <c:v>1155.7744</c:v>
                </c:pt>
                <c:pt idx="33">
                  <c:v>1201.978</c:v>
                </c:pt>
                <c:pt idx="34">
                  <c:v>1254.7971</c:v>
                </c:pt>
                <c:pt idx="35">
                  <c:v>1239.7585</c:v>
                </c:pt>
                <c:pt idx="36">
                  <c:v>1220.2895</c:v>
                </c:pt>
                <c:pt idx="37">
                  <c:v>1258.7205</c:v>
                </c:pt>
                <c:pt idx="38">
                  <c:v>1236.5463</c:v>
                </c:pt>
                <c:pt idx="39">
                  <c:v>1237.4602</c:v>
                </c:pt>
                <c:pt idx="40">
                  <c:v>1258.6316</c:v>
                </c:pt>
                <c:pt idx="41">
                  <c:v>1300.8213</c:v>
                </c:pt>
                <c:pt idx="42">
                  <c:v>1285.5839</c:v>
                </c:pt>
                <c:pt idx="43">
                  <c:v>1284.3043</c:v>
                </c:pt>
                <c:pt idx="44">
                  <c:v>1215.6986</c:v>
                </c:pt>
                <c:pt idx="45">
                  <c:v>1177.9954</c:v>
                </c:pt>
                <c:pt idx="46">
                  <c:v>1151.3394</c:v>
                </c:pt>
                <c:pt idx="47">
                  <c:v>1144.6395</c:v>
                </c:pt>
                <c:pt idx="48">
                  <c:v>1117.0977</c:v>
                </c:pt>
                <c:pt idx="49">
                  <c:v>1129.409</c:v>
                </c:pt>
                <c:pt idx="50">
                  <c:v>1042.1477</c:v>
                </c:pt>
                <c:pt idx="51">
                  <c:v>1017.0188</c:v>
                </c:pt>
                <c:pt idx="52">
                  <c:v>1101.6128736371313</c:v>
                </c:pt>
                <c:pt idx="53">
                  <c:v>883.6298094932763</c:v>
                </c:pt>
                <c:pt idx="54">
                  <c:v>1220.5510621930355</c:v>
                </c:pt>
              </c:numCache>
            </c:numRef>
          </c:xVal>
          <c:yVal>
            <c:numRef>
              <c:f>Sheet1!$B$187:$B$241</c:f>
              <c:numCache>
                <c:formatCode>General</c:formatCode>
                <c:ptCount val="55"/>
                <c:pt idx="0">
                  <c:v>0.16727270913930645</c:v>
                </c:pt>
                <c:pt idx="1">
                  <c:v>0.16900314711687944</c:v>
                </c:pt>
                <c:pt idx="2">
                  <c:v>0.17071223287579126</c:v>
                </c:pt>
                <c:pt idx="3">
                  <c:v>0.16878235880212625</c:v>
                </c:pt>
                <c:pt idx="4">
                  <c:v>0.16992376236549844</c:v>
                </c:pt>
                <c:pt idx="5">
                  <c:v>0.16645475981966798</c:v>
                </c:pt>
                <c:pt idx="6">
                  <c:v>0.1770440102368817</c:v>
                </c:pt>
                <c:pt idx="7">
                  <c:v>0.173235077183067</c:v>
                </c:pt>
                <c:pt idx="8">
                  <c:v>0.16242562802728702</c:v>
                </c:pt>
                <c:pt idx="9">
                  <c:v>0.1714811198959836</c:v>
                </c:pt>
                <c:pt idx="10">
                  <c:v>0.16952643581899368</c:v>
                </c:pt>
                <c:pt idx="11">
                  <c:v>0.1798447839455666</c:v>
                </c:pt>
                <c:pt idx="12">
                  <c:v>0.17876933324267097</c:v>
                </c:pt>
                <c:pt idx="13">
                  <c:v>0.17614339277514313</c:v>
                </c:pt>
                <c:pt idx="14">
                  <c:v>0.17122874941900176</c:v>
                </c:pt>
                <c:pt idx="15">
                  <c:v>0.17026810672763878</c:v>
                </c:pt>
                <c:pt idx="16">
                  <c:v>0.16481216869394502</c:v>
                </c:pt>
                <c:pt idx="17">
                  <c:v>0.17070150896298608</c:v>
                </c:pt>
                <c:pt idx="18">
                  <c:v>0.17458923807745713</c:v>
                </c:pt>
                <c:pt idx="19">
                  <c:v>0.16496180950398018</c:v>
                </c:pt>
                <c:pt idx="20">
                  <c:v>0.17001376037370616</c:v>
                </c:pt>
                <c:pt idx="21">
                  <c:v>0.168475587971033</c:v>
                </c:pt>
                <c:pt idx="22">
                  <c:v>0.17067177520177582</c:v>
                </c:pt>
                <c:pt idx="23">
                  <c:v>0.1766772141761641</c:v>
                </c:pt>
                <c:pt idx="24">
                  <c:v>0.17566166122696053</c:v>
                </c:pt>
                <c:pt idx="25">
                  <c:v>0.18144481404439103</c:v>
                </c:pt>
                <c:pt idx="26">
                  <c:v>0.17209443847528863</c:v>
                </c:pt>
                <c:pt idx="27">
                  <c:v>0.1649718641681408</c:v>
                </c:pt>
                <c:pt idx="28">
                  <c:v>0.16239501786904212</c:v>
                </c:pt>
                <c:pt idx="29">
                  <c:v>0.16171512498409057</c:v>
                </c:pt>
                <c:pt idx="30">
                  <c:v>0.1616833834769465</c:v>
                </c:pt>
                <c:pt idx="31">
                  <c:v>0.17439467793577582</c:v>
                </c:pt>
                <c:pt idx="32">
                  <c:v>0.1709085139425587</c:v>
                </c:pt>
                <c:pt idx="33">
                  <c:v>0.1635462052102188</c:v>
                </c:pt>
                <c:pt idx="34">
                  <c:v>0.15512975019016978</c:v>
                </c:pt>
                <c:pt idx="35">
                  <c:v>0.1575260746346323</c:v>
                </c:pt>
                <c:pt idx="36">
                  <c:v>0.1606283607922028</c:v>
                </c:pt>
                <c:pt idx="37">
                  <c:v>0.1545045763491604</c:v>
                </c:pt>
                <c:pt idx="38">
                  <c:v>0.15803792237182207</c:v>
                </c:pt>
                <c:pt idx="39">
                  <c:v>0.15789229705365454</c:v>
                </c:pt>
                <c:pt idx="40">
                  <c:v>0.15451874211213784</c:v>
                </c:pt>
                <c:pt idx="41">
                  <c:v>0.14779602793564936</c:v>
                </c:pt>
                <c:pt idx="42">
                  <c:v>0.15022403014928978</c:v>
                </c:pt>
                <c:pt idx="43">
                  <c:v>0.1504279279030125</c:v>
                </c:pt>
                <c:pt idx="44">
                  <c:v>0.16135989736422968</c:v>
                </c:pt>
                <c:pt idx="45">
                  <c:v>0.16736771057785713</c:v>
                </c:pt>
                <c:pt idx="46">
                  <c:v>0.1716152086422775</c:v>
                </c:pt>
                <c:pt idx="47">
                  <c:v>0.17268280364084482</c:v>
                </c:pt>
                <c:pt idx="48">
                  <c:v>0.17707144943131048</c:v>
                </c:pt>
                <c:pt idx="49">
                  <c:v>0.17510970637456907</c:v>
                </c:pt>
                <c:pt idx="50">
                  <c:v>0.18901435083918514</c:v>
                </c:pt>
                <c:pt idx="51">
                  <c:v>0.19301851328332578</c:v>
                </c:pt>
                <c:pt idx="52">
                  <c:v>0.17953887777780547</c:v>
                </c:pt>
                <c:pt idx="53">
                  <c:v>0.21427337068849897</c:v>
                </c:pt>
                <c:pt idx="54">
                  <c:v>0.1605866821866864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1.0"/>
          <c:min val="64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866862431226215"/>
          <c:min val="0.1090108276748027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7.9855</c:v>
                </c:pt>
                <c:pt idx="1">
                  <c:v>855.3404</c:v>
                </c:pt>
                <c:pt idx="2">
                  <c:v>889.698</c:v>
                </c:pt>
                <c:pt idx="3">
                  <c:v>904.0655</c:v>
                </c:pt>
                <c:pt idx="4">
                  <c:v>903.4781</c:v>
                </c:pt>
                <c:pt idx="5">
                  <c:v>880.8881</c:v>
                </c:pt>
                <c:pt idx="6">
                  <c:v>840.9628</c:v>
                </c:pt>
                <c:pt idx="7">
                  <c:v>845.2156</c:v>
                </c:pt>
                <c:pt idx="8">
                  <c:v>839.7329</c:v>
                </c:pt>
                <c:pt idx="9">
                  <c:v>830.6584</c:v>
                </c:pt>
                <c:pt idx="10">
                  <c:v>791.1353</c:v>
                </c:pt>
                <c:pt idx="11">
                  <c:v>803.743</c:v>
                </c:pt>
                <c:pt idx="12">
                  <c:v>823.1874</c:v>
                </c:pt>
                <c:pt idx="13">
                  <c:v>804.9157</c:v>
                </c:pt>
                <c:pt idx="14">
                  <c:v>887.3465</c:v>
                </c:pt>
                <c:pt idx="15">
                  <c:v>898.6747</c:v>
                </c:pt>
                <c:pt idx="16">
                  <c:v>922.2058</c:v>
                </c:pt>
                <c:pt idx="17">
                  <c:v>929.2605</c:v>
                </c:pt>
                <c:pt idx="18">
                  <c:v>953.0339</c:v>
                </c:pt>
                <c:pt idx="19">
                  <c:v>943.1984</c:v>
                </c:pt>
                <c:pt idx="20">
                  <c:v>982.3711</c:v>
                </c:pt>
                <c:pt idx="21">
                  <c:v>1000.3374</c:v>
                </c:pt>
                <c:pt idx="22">
                  <c:v>971.1642</c:v>
                </c:pt>
                <c:pt idx="23">
                  <c:v>977.802</c:v>
                </c:pt>
                <c:pt idx="24">
                  <c:v>1001.0362</c:v>
                </c:pt>
                <c:pt idx="25">
                  <c:v>976.5825</c:v>
                </c:pt>
                <c:pt idx="26">
                  <c:v>948.2154</c:v>
                </c:pt>
                <c:pt idx="27">
                  <c:v>992.5855</c:v>
                </c:pt>
                <c:pt idx="28">
                  <c:v>986.0331</c:v>
                </c:pt>
                <c:pt idx="29">
                  <c:v>967.2592</c:v>
                </c:pt>
                <c:pt idx="30">
                  <c:v>962.5954</c:v>
                </c:pt>
                <c:pt idx="31">
                  <c:v>977.165</c:v>
                </c:pt>
                <c:pt idx="32">
                  <c:v>958.183</c:v>
                </c:pt>
                <c:pt idx="33">
                  <c:v>946.4541</c:v>
                </c:pt>
                <c:pt idx="34">
                  <c:v>937.1511</c:v>
                </c:pt>
                <c:pt idx="35">
                  <c:v>988.3068</c:v>
                </c:pt>
                <c:pt idx="36">
                  <c:v>1057.0521</c:v>
                </c:pt>
                <c:pt idx="37">
                  <c:v>1092.4684</c:v>
                </c:pt>
                <c:pt idx="38">
                  <c:v>1111.1322</c:v>
                </c:pt>
                <c:pt idx="39">
                  <c:v>1130.0316</c:v>
                </c:pt>
                <c:pt idx="40">
                  <c:v>1141.7033</c:v>
                </c:pt>
                <c:pt idx="41">
                  <c:v>1158.0798</c:v>
                </c:pt>
                <c:pt idx="42">
                  <c:v>1173.6021</c:v>
                </c:pt>
                <c:pt idx="43">
                  <c:v>1180.886</c:v>
                </c:pt>
                <c:pt idx="44">
                  <c:v>1117.3461</c:v>
                </c:pt>
                <c:pt idx="45">
                  <c:v>1086.4217</c:v>
                </c:pt>
                <c:pt idx="46">
                  <c:v>1075.2143</c:v>
                </c:pt>
                <c:pt idx="47">
                  <c:v>1051.184</c:v>
                </c:pt>
                <c:pt idx="48">
                  <c:v>1051.2865</c:v>
                </c:pt>
                <c:pt idx="49">
                  <c:v>1009.0117</c:v>
                </c:pt>
                <c:pt idx="50">
                  <c:v>1002.1689</c:v>
                </c:pt>
                <c:pt idx="51">
                  <c:v>1015.7357</c:v>
                </c:pt>
                <c:pt idx="52">
                  <c:v>1023.5108</c:v>
                </c:pt>
                <c:pt idx="53">
                  <c:v>1125.9647</c:v>
                </c:pt>
                <c:pt idx="54">
                  <c:v>1109.0469</c:v>
                </c:pt>
                <c:pt idx="55">
                  <c:v>1112.28</c:v>
                </c:pt>
                <c:pt idx="56">
                  <c:v>1122.3024</c:v>
                </c:pt>
                <c:pt idx="57">
                  <c:v>1110.3562</c:v>
                </c:pt>
                <c:pt idx="58">
                  <c:v>1056.077</c:v>
                </c:pt>
                <c:pt idx="59">
                  <c:v>1063.4772</c:v>
                </c:pt>
                <c:pt idx="60">
                  <c:v>1076.196</c:v>
                </c:pt>
                <c:pt idx="61">
                  <c:v>1076.1702</c:v>
                </c:pt>
                <c:pt idx="62">
                  <c:v>1002.0</c:v>
                </c:pt>
                <c:pt idx="63">
                  <c:v>1032.9111</c:v>
                </c:pt>
                <c:pt idx="64">
                  <c:v>1042.763</c:v>
                </c:pt>
                <c:pt idx="65">
                  <c:v>1027.0552</c:v>
                </c:pt>
                <c:pt idx="66">
                  <c:v>1045.5811</c:v>
                </c:pt>
                <c:pt idx="67">
                  <c:v>1073.3012</c:v>
                </c:pt>
                <c:pt idx="68">
                  <c:v>1078.7461</c:v>
                </c:pt>
                <c:pt idx="69">
                  <c:v>1117.0591</c:v>
                </c:pt>
                <c:pt idx="70">
                  <c:v>1101.6989</c:v>
                </c:pt>
                <c:pt idx="71">
                  <c:v>1156.6236</c:v>
                </c:pt>
                <c:pt idx="72">
                  <c:v>1231.2126</c:v>
                </c:pt>
                <c:pt idx="73">
                  <c:v>1201.6633</c:v>
                </c:pt>
                <c:pt idx="74">
                  <c:v>1189.1553</c:v>
                </c:pt>
                <c:pt idx="75">
                  <c:v>1182.023</c:v>
                </c:pt>
                <c:pt idx="76">
                  <c:v>1128.7823</c:v>
                </c:pt>
                <c:pt idx="77">
                  <c:v>1127.2612</c:v>
                </c:pt>
                <c:pt idx="78">
                  <c:v>1146.9253</c:v>
                </c:pt>
                <c:pt idx="79">
                  <c:v>1156.7316</c:v>
                </c:pt>
                <c:pt idx="80">
                  <c:v>1161.0435</c:v>
                </c:pt>
                <c:pt idx="81">
                  <c:v>1181.9474</c:v>
                </c:pt>
                <c:pt idx="82">
                  <c:v>1171.1731</c:v>
                </c:pt>
                <c:pt idx="83">
                  <c:v>1145.2532</c:v>
                </c:pt>
                <c:pt idx="84">
                  <c:v>1168.0232</c:v>
                </c:pt>
                <c:pt idx="85">
                  <c:v>1147.3824</c:v>
                </c:pt>
                <c:pt idx="86">
                  <c:v>1119.6667</c:v>
                </c:pt>
                <c:pt idx="87">
                  <c:v>1132.879</c:v>
                </c:pt>
                <c:pt idx="88">
                  <c:v>1181.1838</c:v>
                </c:pt>
                <c:pt idx="89">
                  <c:v>1169.3507</c:v>
                </c:pt>
                <c:pt idx="90">
                  <c:v>1244.3134</c:v>
                </c:pt>
                <c:pt idx="91">
                  <c:v>1253.3706</c:v>
                </c:pt>
                <c:pt idx="92">
                  <c:v>1195.8637</c:v>
                </c:pt>
                <c:pt idx="93">
                  <c:v>1236.1186</c:v>
                </c:pt>
                <c:pt idx="94">
                  <c:v>1236.0857</c:v>
                </c:pt>
                <c:pt idx="95">
                  <c:v>1203.9583</c:v>
                </c:pt>
                <c:pt idx="96">
                  <c:v>1132.7361</c:v>
                </c:pt>
                <c:pt idx="97">
                  <c:v>1131.0107</c:v>
                </c:pt>
                <c:pt idx="98">
                  <c:v>1120.3529</c:v>
                </c:pt>
                <c:pt idx="99">
                  <c:v>1083.4457</c:v>
                </c:pt>
                <c:pt idx="100">
                  <c:v>1089.9572</c:v>
                </c:pt>
                <c:pt idx="101">
                  <c:v>1127.602</c:v>
                </c:pt>
                <c:pt idx="102">
                  <c:v>1128.1704</c:v>
                </c:pt>
                <c:pt idx="103">
                  <c:v>1097.0673</c:v>
                </c:pt>
                <c:pt idx="104">
                  <c:v>1118.95</c:v>
                </c:pt>
              </c:numCache>
            </c:numRef>
          </c:xVal>
          <c:yVal>
            <c:numRef>
              <c:f>Sheet1!$B$2:$B$106</c:f>
              <c:numCache>
                <c:formatCode>General</c:formatCode>
                <c:ptCount val="105"/>
                <c:pt idx="0">
                  <c:v>0.11896848842934515</c:v>
                </c:pt>
                <c:pt idx="1">
                  <c:v>0.10215736040609137</c:v>
                </c:pt>
                <c:pt idx="2">
                  <c:v>0.1050759415052792</c:v>
                </c:pt>
                <c:pt idx="3">
                  <c:v>0.10579283259695631</c:v>
                </c:pt>
                <c:pt idx="4">
                  <c:v>0.11008897602171618</c:v>
                </c:pt>
                <c:pt idx="5">
                  <c:v>0.1327621443169313</c:v>
                </c:pt>
                <c:pt idx="6">
                  <c:v>0.15625</c:v>
                </c:pt>
                <c:pt idx="7">
                  <c:v>0.15930018416206262</c:v>
                </c:pt>
                <c:pt idx="8">
                  <c:v>0.16451923076923078</c:v>
                </c:pt>
                <c:pt idx="9">
                  <c:v>0.1457197479289103</c:v>
                </c:pt>
                <c:pt idx="10">
                  <c:v>0.15560265262870035</c:v>
                </c:pt>
                <c:pt idx="11">
                  <c:v>0.15032990952996395</c:v>
                </c:pt>
                <c:pt idx="12">
                  <c:v>0.13436660208736953</c:v>
                </c:pt>
                <c:pt idx="13">
                  <c:v>0.12287970995727049</c:v>
                </c:pt>
                <c:pt idx="14">
                  <c:v>0.0973673766371213</c:v>
                </c:pt>
                <c:pt idx="15">
                  <c:v>0.08354044736631124</c:v>
                </c:pt>
                <c:pt idx="16">
                  <c:v>0.0801593920859976</c:v>
                </c:pt>
                <c:pt idx="17">
                  <c:v>0.07279731331489529</c:v>
                </c:pt>
                <c:pt idx="18">
                  <c:v>0.06708572667172429</c:v>
                </c:pt>
                <c:pt idx="19">
                  <c:v>0.062138364779874215</c:v>
                </c:pt>
                <c:pt idx="20">
                  <c:v>0.06312843370996164</c:v>
                </c:pt>
                <c:pt idx="21">
                  <c:v>0.06225631995975349</c:v>
                </c:pt>
                <c:pt idx="22">
                  <c:v>0.06519065190651907</c:v>
                </c:pt>
                <c:pt idx="23">
                  <c:v>0.07551546391752577</c:v>
                </c:pt>
                <c:pt idx="24">
                  <c:v>0.07444314185228605</c:v>
                </c:pt>
                <c:pt idx="25">
                  <c:v>0.07913669064748201</c:v>
                </c:pt>
                <c:pt idx="26">
                  <c:v>0.09623115577889448</c:v>
                </c:pt>
                <c:pt idx="27">
                  <c:v>0.10035798049623504</c:v>
                </c:pt>
                <c:pt idx="28">
                  <c:v>0.1226345539444581</c:v>
                </c:pt>
                <c:pt idx="29">
                  <c:v>0.1183000317158262</c:v>
                </c:pt>
                <c:pt idx="30">
                  <c:v>0.116016713091922</c:v>
                </c:pt>
                <c:pt idx="31">
                  <c:v>0.12250635961976168</c:v>
                </c:pt>
                <c:pt idx="32">
                  <c:v>0.13260510605868156</c:v>
                </c:pt>
                <c:pt idx="33">
                  <c:v>0.12173218918379565</c:v>
                </c:pt>
                <c:pt idx="34">
                  <c:v>0.12263707326248471</c:v>
                </c:pt>
                <c:pt idx="35">
                  <c:v>0.13272727272727272</c:v>
                </c:pt>
                <c:pt idx="36">
                  <c:v>0.11613358894158006</c:v>
                </c:pt>
                <c:pt idx="37">
                  <c:v>0.11009998876530727</c:v>
                </c:pt>
                <c:pt idx="38">
                  <c:v>0.10718269016283738</c:v>
                </c:pt>
                <c:pt idx="39">
                  <c:v>0.10073044297832234</c:v>
                </c:pt>
                <c:pt idx="40">
                  <c:v>0.10093692649473583</c:v>
                </c:pt>
                <c:pt idx="41">
                  <c:v>0.10222873286596212</c:v>
                </c:pt>
                <c:pt idx="42">
                  <c:v>0.1007912245998921</c:v>
                </c:pt>
                <c:pt idx="43">
                  <c:v>0.09560723514211886</c:v>
                </c:pt>
                <c:pt idx="44">
                  <c:v>0.10145497443963822</c:v>
                </c:pt>
                <c:pt idx="45">
                  <c:v>0.11657355679702049</c:v>
                </c:pt>
                <c:pt idx="46">
                  <c:v>0.12104588567034094</c:v>
                </c:pt>
                <c:pt idx="47">
                  <c:v>0.11573954735268341</c:v>
                </c:pt>
                <c:pt idx="48">
                  <c:v>0.11292336802270578</c:v>
                </c:pt>
                <c:pt idx="49">
                  <c:v>0.12055868659642245</c:v>
                </c:pt>
                <c:pt idx="50">
                  <c:v>0.1158253329204088</c:v>
                </c:pt>
                <c:pt idx="51">
                  <c:v>0.10993361349655886</c:v>
                </c:pt>
                <c:pt idx="52">
                  <c:v>0.1082557353170681</c:v>
                </c:pt>
                <c:pt idx="53">
                  <c:v>0.09893880663404715</c:v>
                </c:pt>
                <c:pt idx="54">
                  <c:v>0.10012941897690893</c:v>
                </c:pt>
                <c:pt idx="55">
                  <c:v>0.09788840721577402</c:v>
                </c:pt>
                <c:pt idx="56">
                  <c:v>0.1028030734206033</c:v>
                </c:pt>
                <c:pt idx="57">
                  <c:v>0.09741550695825049</c:v>
                </c:pt>
                <c:pt idx="58">
                  <c:v>0.11172437834069254</c:v>
                </c:pt>
                <c:pt idx="59">
                  <c:v>0.10297456420517952</c:v>
                </c:pt>
                <c:pt idx="60">
                  <c:v>0.10522660184059733</c:v>
                </c:pt>
                <c:pt idx="61">
                  <c:v>0.1114169459071326</c:v>
                </c:pt>
                <c:pt idx="62">
                  <c:v>0.1224251619303262</c:v>
                </c:pt>
                <c:pt idx="63">
                  <c:v>0.12486590860330402</c:v>
                </c:pt>
                <c:pt idx="64">
                  <c:v>0.1182589652340542</c:v>
                </c:pt>
                <c:pt idx="65">
                  <c:v>0.1196166656927482</c:v>
                </c:pt>
                <c:pt idx="66">
                  <c:v>0.11864406779661017</c:v>
                </c:pt>
                <c:pt idx="67">
                  <c:v>0.11102030552586911</c:v>
                </c:pt>
                <c:pt idx="68">
                  <c:v>0.10039048633297834</c:v>
                </c:pt>
                <c:pt idx="69">
                  <c:v>0.09225365132187095</c:v>
                </c:pt>
                <c:pt idx="70">
                  <c:v>0.09634809634809635</c:v>
                </c:pt>
                <c:pt idx="71">
                  <c:v>0.09124663510628422</c:v>
                </c:pt>
                <c:pt idx="72">
                  <c:v>0.09001506157526358</c:v>
                </c:pt>
                <c:pt idx="73">
                  <c:v>0.09159312587087784</c:v>
                </c:pt>
                <c:pt idx="74">
                  <c:v>0.0950654403961797</c:v>
                </c:pt>
                <c:pt idx="75">
                  <c:v>0.1005668696199874</c:v>
                </c:pt>
                <c:pt idx="76">
                  <c:v>0.10813811479960031</c:v>
                </c:pt>
                <c:pt idx="77">
                  <c:v>0.10111085921559737</c:v>
                </c:pt>
                <c:pt idx="78">
                  <c:v>0.10998038254046101</c:v>
                </c:pt>
                <c:pt idx="79">
                  <c:v>0.10404028842852238</c:v>
                </c:pt>
                <c:pt idx="80">
                  <c:v>0.1010171058714748</c:v>
                </c:pt>
                <c:pt idx="81">
                  <c:v>0.09768397459843108</c:v>
                </c:pt>
                <c:pt idx="82">
                  <c:v>0.0993003559592488</c:v>
                </c:pt>
                <c:pt idx="83">
                  <c:v>0.09755761004553608</c:v>
                </c:pt>
                <c:pt idx="84">
                  <c:v>0.09679685304860916</c:v>
                </c:pt>
                <c:pt idx="85">
                  <c:v>0.10017186349128407</c:v>
                </c:pt>
                <c:pt idx="86">
                  <c:v>0.11238293444328824</c:v>
                </c:pt>
                <c:pt idx="87">
                  <c:v>0.11858608893956671</c:v>
                </c:pt>
                <c:pt idx="88">
                  <c:v>0.10975040821087008</c:v>
                </c:pt>
                <c:pt idx="89">
                  <c:v>0.11405642023346303</c:v>
                </c:pt>
                <c:pt idx="90">
                  <c:v>0.09969001859888407</c:v>
                </c:pt>
                <c:pt idx="91">
                  <c:v>0.09940814107984056</c:v>
                </c:pt>
                <c:pt idx="92">
                  <c:v>0.10789865871833085</c:v>
                </c:pt>
                <c:pt idx="93">
                  <c:v>0.1051984877126654</c:v>
                </c:pt>
                <c:pt idx="94">
                  <c:v>0.10679611650485436</c:v>
                </c:pt>
                <c:pt idx="95">
                  <c:v>0.10736944851146901</c:v>
                </c:pt>
                <c:pt idx="96">
                  <c:v>0.10914285714285714</c:v>
                </c:pt>
                <c:pt idx="97">
                  <c:v>0.1106441859273305</c:v>
                </c:pt>
                <c:pt idx="98">
                  <c:v>0.10942194717251895</c:v>
                </c:pt>
                <c:pt idx="99">
                  <c:v>0.11188295560384974</c:v>
                </c:pt>
                <c:pt idx="100">
                  <c:v>0.11848436824665033</c:v>
                </c:pt>
                <c:pt idx="101">
                  <c:v>0.11371447935324587</c:v>
                </c:pt>
                <c:pt idx="102">
                  <c:v>0.1126475146024556</c:v>
                </c:pt>
                <c:pt idx="103">
                  <c:v>0.11297735913295126</c:v>
                </c:pt>
                <c:pt idx="104">
                  <c:v>0.1104825291181364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7.6457</c:v>
                </c:pt>
                <c:pt idx="1">
                  <c:v>1177.1248</c:v>
                </c:pt>
                <c:pt idx="2">
                  <c:v>1172.8809</c:v>
                </c:pt>
                <c:pt idx="3">
                  <c:v>1116.1729</c:v>
                </c:pt>
                <c:pt idx="4">
                  <c:v>1171.105</c:v>
                </c:pt>
                <c:pt idx="5">
                  <c:v>1181.7267</c:v>
                </c:pt>
                <c:pt idx="6">
                  <c:v>1111.0839</c:v>
                </c:pt>
                <c:pt idx="7">
                  <c:v>1105.3962</c:v>
                </c:pt>
                <c:pt idx="8">
                  <c:v>1174.7979</c:v>
                </c:pt>
                <c:pt idx="9">
                  <c:v>1121.5102</c:v>
                </c:pt>
                <c:pt idx="10">
                  <c:v>1128.8003</c:v>
                </c:pt>
                <c:pt idx="11">
                  <c:v>1048.8794</c:v>
                </c:pt>
                <c:pt idx="12">
                  <c:v>1081.1237</c:v>
                </c:pt>
                <c:pt idx="13">
                  <c:v>1108.1894</c:v>
                </c:pt>
                <c:pt idx="14">
                  <c:v>1115.3633</c:v>
                </c:pt>
                <c:pt idx="15">
                  <c:v>1116.6884</c:v>
                </c:pt>
                <c:pt idx="16">
                  <c:v>1161.8054</c:v>
                </c:pt>
                <c:pt idx="17">
                  <c:v>1065.4091</c:v>
                </c:pt>
                <c:pt idx="18">
                  <c:v>1159.454</c:v>
                </c:pt>
                <c:pt idx="19">
                  <c:v>1276.5293</c:v>
                </c:pt>
                <c:pt idx="20">
                  <c:v>1266.8846</c:v>
                </c:pt>
                <c:pt idx="21">
                  <c:v>1224.3024</c:v>
                </c:pt>
                <c:pt idx="22">
                  <c:v>1215.4131</c:v>
                </c:pt>
                <c:pt idx="23">
                  <c:v>1207.7573</c:v>
                </c:pt>
                <c:pt idx="24">
                  <c:v>1229.3848</c:v>
                </c:pt>
                <c:pt idx="25">
                  <c:v>1196.3695</c:v>
                </c:pt>
                <c:pt idx="26">
                  <c:v>1177.7754</c:v>
                </c:pt>
                <c:pt idx="27">
                  <c:v>1189.9329</c:v>
                </c:pt>
                <c:pt idx="28">
                  <c:v>1221.5323</c:v>
                </c:pt>
                <c:pt idx="29">
                  <c:v>1215.436</c:v>
                </c:pt>
                <c:pt idx="30">
                  <c:v>1218.5536</c:v>
                </c:pt>
                <c:pt idx="31">
                  <c:v>1223.7136</c:v>
                </c:pt>
                <c:pt idx="32">
                  <c:v>1235.4447</c:v>
                </c:pt>
                <c:pt idx="33">
                  <c:v>1210.9757</c:v>
                </c:pt>
                <c:pt idx="34">
                  <c:v>1217.608</c:v>
                </c:pt>
                <c:pt idx="35">
                  <c:v>1257.2662</c:v>
                </c:pt>
                <c:pt idx="36">
                  <c:v>1289.7456</c:v>
                </c:pt>
                <c:pt idx="37">
                  <c:v>1276.3705</c:v>
                </c:pt>
                <c:pt idx="38">
                  <c:v>1287.5255</c:v>
                </c:pt>
                <c:pt idx="39">
                  <c:v>1237.1239</c:v>
                </c:pt>
                <c:pt idx="40">
                  <c:v>1257.5632</c:v>
                </c:pt>
                <c:pt idx="41">
                  <c:v>1286.865</c:v>
                </c:pt>
                <c:pt idx="42">
                  <c:v>1283.2174</c:v>
                </c:pt>
                <c:pt idx="43">
                  <c:v>1287.1337</c:v>
                </c:pt>
                <c:pt idx="44">
                  <c:v>1219.4646</c:v>
                </c:pt>
                <c:pt idx="45">
                  <c:v>1180.2063</c:v>
                </c:pt>
                <c:pt idx="46">
                  <c:v>1169.2071</c:v>
                </c:pt>
                <c:pt idx="47">
                  <c:v>1150.822</c:v>
                </c:pt>
                <c:pt idx="48">
                  <c:v>1136.5305</c:v>
                </c:pt>
                <c:pt idx="49">
                  <c:v>1141.5541</c:v>
                </c:pt>
                <c:pt idx="50">
                  <c:v>1111.2317</c:v>
                </c:pt>
                <c:pt idx="51">
                  <c:v>1099.7544</c:v>
                </c:pt>
              </c:numCache>
            </c:numRef>
          </c:xVal>
          <c:yVal>
            <c:numRef>
              <c:f>Sheet1!$B$109:$B$160</c:f>
              <c:numCache>
                <c:formatCode>General</c:formatCode>
                <c:ptCount val="52"/>
                <c:pt idx="0">
                  <c:v>0.11244691668161971</c:v>
                </c:pt>
                <c:pt idx="1">
                  <c:v>0.10773805836069636</c:v>
                </c:pt>
                <c:pt idx="2">
                  <c:v>0.12557179515787126</c:v>
                </c:pt>
                <c:pt idx="3">
                  <c:v>0.14269586814179272</c:v>
                </c:pt>
                <c:pt idx="4">
                  <c:v>0.12219994270982526</c:v>
                </c:pt>
                <c:pt idx="5">
                  <c:v>0.12453797543817813</c:v>
                </c:pt>
                <c:pt idx="6">
                  <c:v>0.13373069628826875</c:v>
                </c:pt>
                <c:pt idx="7">
                  <c:v>0.14016351182146278</c:v>
                </c:pt>
                <c:pt idx="8">
                  <c:v>0.12179070523236919</c:v>
                </c:pt>
                <c:pt idx="9">
                  <c:v>0.13084326306141156</c:v>
                </c:pt>
                <c:pt idx="10">
                  <c:v>0.1377449168207024</c:v>
                </c:pt>
                <c:pt idx="11">
                  <c:v>0.13321432556063817</c:v>
                </c:pt>
                <c:pt idx="12">
                  <c:v>0.13040138275398502</c:v>
                </c:pt>
                <c:pt idx="13">
                  <c:v>0.1251391526422631</c:v>
                </c:pt>
                <c:pt idx="14">
                  <c:v>0.12566922297786137</c:v>
                </c:pt>
                <c:pt idx="15">
                  <c:v>0.12627492769066828</c:v>
                </c:pt>
                <c:pt idx="16">
                  <c:v>0.11987162806834938</c:v>
                </c:pt>
                <c:pt idx="17">
                  <c:v>0.1311179338992234</c:v>
                </c:pt>
                <c:pt idx="18">
                  <c:v>0.12306377523768829</c:v>
                </c:pt>
                <c:pt idx="19">
                  <c:v>0.1133887898593781</c:v>
                </c:pt>
                <c:pt idx="20">
                  <c:v>0.10356500581825875</c:v>
                </c:pt>
                <c:pt idx="21">
                  <c:v>0.10847995766635798</c:v>
                </c:pt>
                <c:pt idx="22">
                  <c:v>0.11260018394429115</c:v>
                </c:pt>
                <c:pt idx="23">
                  <c:v>0.1124674255931971</c:v>
                </c:pt>
                <c:pt idx="24">
                  <c:v>0.11437578814627995</c:v>
                </c:pt>
                <c:pt idx="25">
                  <c:v>0.11745558117455582</c:v>
                </c:pt>
                <c:pt idx="26">
                  <c:v>0.11130456410894167</c:v>
                </c:pt>
                <c:pt idx="27">
                  <c:v>0.115748031496063</c:v>
                </c:pt>
                <c:pt idx="28">
                  <c:v>0.10853023628354025</c:v>
                </c:pt>
                <c:pt idx="29">
                  <c:v>0.11010269882971101</c:v>
                </c:pt>
                <c:pt idx="30">
                  <c:v>0.11395087894277521</c:v>
                </c:pt>
                <c:pt idx="31">
                  <c:v>0.11002804112698625</c:v>
                </c:pt>
                <c:pt idx="32">
                  <c:v>0.10702263493905978</c:v>
                </c:pt>
                <c:pt idx="33">
                  <c:v>0.12787082539364156</c:v>
                </c:pt>
                <c:pt idx="34">
                  <c:v>0.13615101904443702</c:v>
                </c:pt>
                <c:pt idx="35">
                  <c:v>0.136327185244587</c:v>
                </c:pt>
                <c:pt idx="36">
                  <c:v>0.12400939242735544</c:v>
                </c:pt>
                <c:pt idx="37">
                  <c:v>0.11997920187183153</c:v>
                </c:pt>
                <c:pt idx="38">
                  <c:v>0.12323087919942816</c:v>
                </c:pt>
                <c:pt idx="39">
                  <c:v>0.13048597730678654</c:v>
                </c:pt>
                <c:pt idx="40">
                  <c:v>0.12352879908342881</c:v>
                </c:pt>
                <c:pt idx="41">
                  <c:v>0.12875662934590454</c:v>
                </c:pt>
                <c:pt idx="42">
                  <c:v>0.12409160977758203</c:v>
                </c:pt>
                <c:pt idx="43">
                  <c:v>0.11939594148183105</c:v>
                </c:pt>
                <c:pt idx="44">
                  <c:v>0.11820958958693054</c:v>
                </c:pt>
                <c:pt idx="45">
                  <c:v>0.12854775222705614</c:v>
                </c:pt>
                <c:pt idx="46">
                  <c:v>0.14696623665205852</c:v>
                </c:pt>
                <c:pt idx="47">
                  <c:v>0.1445496254137871</c:v>
                </c:pt>
                <c:pt idx="48">
                  <c:v>0.14861535429190895</c:v>
                </c:pt>
                <c:pt idx="49">
                  <c:v>0.15222417460464255</c:v>
                </c:pt>
                <c:pt idx="50">
                  <c:v>0.15457490373449057</c:v>
                </c:pt>
                <c:pt idx="51">
                  <c:v>0.14475201845444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34.6565536669865</c:v>
                </c:pt>
              </c:numCache>
            </c:numRef>
          </c:xVal>
          <c:yVal>
            <c:numRef>
              <c:f>Sheet1!$B$163:$B$164</c:f>
              <c:numCache>
                <c:formatCode>General</c:formatCode>
                <c:ptCount val="2"/>
                <c:pt idx="0">
                  <c:v>0.15004161277137068</c:v>
                </c:pt>
                <c:pt idx="1">
                  <c:v>0.1500416127713706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34.6565536669865</c:v>
                </c:pt>
                <c:pt idx="1">
                  <c:v>934.6565536669865</c:v>
                </c:pt>
              </c:numCache>
            </c:numRef>
          </c:xVal>
          <c:yVal>
            <c:numRef>
              <c:f>Sheet1!$B$167:$B$168</c:f>
              <c:numCache>
                <c:formatCode>General</c:formatCode>
                <c:ptCount val="2"/>
                <c:pt idx="0">
                  <c:v>0.1500416127713706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34.6565536669865</c:v>
                </c:pt>
              </c:numCache>
            </c:numRef>
          </c:xVal>
          <c:yVal>
            <c:numRef>
              <c:f>Sheet1!$B$171:$B$172</c:f>
              <c:numCache>
                <c:formatCode>General</c:formatCode>
                <c:ptCount val="2"/>
                <c:pt idx="0">
                  <c:v>0.15004161277137068</c:v>
                </c:pt>
                <c:pt idx="1">
                  <c:v>0.1500416127713706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34.6565536669865</c:v>
                </c:pt>
                <c:pt idx="1">
                  <c:v>934.6565536669865</c:v>
                </c:pt>
              </c:numCache>
            </c:numRef>
          </c:xVal>
          <c:yVal>
            <c:numRef>
              <c:f>Sheet1!$B$175:$B$176</c:f>
              <c:numCache>
                <c:formatCode>General</c:formatCode>
                <c:ptCount val="2"/>
                <c:pt idx="0">
                  <c:v>0.1500416127713706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78.776462658033</c:v>
                </c:pt>
              </c:numCache>
            </c:numRef>
          </c:xVal>
          <c:yVal>
            <c:numRef>
              <c:f>Sheet1!$B$179:$B$180</c:f>
              <c:numCache>
                <c:formatCode>General</c:formatCode>
                <c:ptCount val="2"/>
                <c:pt idx="0">
                  <c:v>0.13574604707391139</c:v>
                </c:pt>
                <c:pt idx="1">
                  <c:v>0.1357460470739113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78.776462658033</c:v>
                </c:pt>
                <c:pt idx="1">
                  <c:v>1078.776462658033</c:v>
                </c:pt>
              </c:numCache>
            </c:numRef>
          </c:xVal>
          <c:yVal>
            <c:numRef>
              <c:f>Sheet1!$B$183:$B$184</c:f>
              <c:numCache>
                <c:formatCode>General</c:formatCode>
                <c:ptCount val="2"/>
                <c:pt idx="0">
                  <c:v>0.1357460470739113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7.6457</c:v>
                </c:pt>
                <c:pt idx="1">
                  <c:v>1177.1248</c:v>
                </c:pt>
                <c:pt idx="2">
                  <c:v>1172.8809</c:v>
                </c:pt>
                <c:pt idx="3">
                  <c:v>1116.1729</c:v>
                </c:pt>
                <c:pt idx="4">
                  <c:v>1171.105</c:v>
                </c:pt>
                <c:pt idx="5">
                  <c:v>1181.7267</c:v>
                </c:pt>
                <c:pt idx="6">
                  <c:v>1111.0839</c:v>
                </c:pt>
                <c:pt idx="7">
                  <c:v>1105.3962</c:v>
                </c:pt>
                <c:pt idx="8">
                  <c:v>1174.7979</c:v>
                </c:pt>
                <c:pt idx="9">
                  <c:v>1121.5102</c:v>
                </c:pt>
                <c:pt idx="10">
                  <c:v>1128.8003</c:v>
                </c:pt>
                <c:pt idx="11">
                  <c:v>1048.8794</c:v>
                </c:pt>
                <c:pt idx="12">
                  <c:v>1081.1237</c:v>
                </c:pt>
                <c:pt idx="13">
                  <c:v>1108.1894</c:v>
                </c:pt>
                <c:pt idx="14">
                  <c:v>1115.3633</c:v>
                </c:pt>
                <c:pt idx="15">
                  <c:v>1116.6884</c:v>
                </c:pt>
                <c:pt idx="16">
                  <c:v>1161.8054</c:v>
                </c:pt>
                <c:pt idx="17">
                  <c:v>1065.4091</c:v>
                </c:pt>
                <c:pt idx="18">
                  <c:v>1159.454</c:v>
                </c:pt>
                <c:pt idx="19">
                  <c:v>1276.5293</c:v>
                </c:pt>
                <c:pt idx="20">
                  <c:v>1266.8846</c:v>
                </c:pt>
                <c:pt idx="21">
                  <c:v>1224.3024</c:v>
                </c:pt>
                <c:pt idx="22">
                  <c:v>1215.4131</c:v>
                </c:pt>
                <c:pt idx="23">
                  <c:v>1207.7573</c:v>
                </c:pt>
                <c:pt idx="24">
                  <c:v>1229.3848</c:v>
                </c:pt>
                <c:pt idx="25">
                  <c:v>1196.3695</c:v>
                </c:pt>
                <c:pt idx="26">
                  <c:v>1177.7754</c:v>
                </c:pt>
                <c:pt idx="27">
                  <c:v>1189.9329</c:v>
                </c:pt>
                <c:pt idx="28">
                  <c:v>1221.5323</c:v>
                </c:pt>
                <c:pt idx="29">
                  <c:v>1215.436</c:v>
                </c:pt>
                <c:pt idx="30">
                  <c:v>1218.5536</c:v>
                </c:pt>
                <c:pt idx="31">
                  <c:v>1223.7136</c:v>
                </c:pt>
                <c:pt idx="32">
                  <c:v>1235.4447</c:v>
                </c:pt>
                <c:pt idx="33">
                  <c:v>1210.9757</c:v>
                </c:pt>
                <c:pt idx="34">
                  <c:v>1217.608</c:v>
                </c:pt>
                <c:pt idx="35">
                  <c:v>1257.2662</c:v>
                </c:pt>
                <c:pt idx="36">
                  <c:v>1289.7456</c:v>
                </c:pt>
                <c:pt idx="37">
                  <c:v>1276.3705</c:v>
                </c:pt>
                <c:pt idx="38">
                  <c:v>1287.5255</c:v>
                </c:pt>
                <c:pt idx="39">
                  <c:v>1237.1239</c:v>
                </c:pt>
                <c:pt idx="40">
                  <c:v>1257.5632</c:v>
                </c:pt>
                <c:pt idx="41">
                  <c:v>1286.865</c:v>
                </c:pt>
                <c:pt idx="42">
                  <c:v>1283.2174</c:v>
                </c:pt>
                <c:pt idx="43">
                  <c:v>1287.1337</c:v>
                </c:pt>
                <c:pt idx="44">
                  <c:v>1219.4646</c:v>
                </c:pt>
                <c:pt idx="45">
                  <c:v>1180.2063</c:v>
                </c:pt>
                <c:pt idx="46">
                  <c:v>1169.2071</c:v>
                </c:pt>
                <c:pt idx="47">
                  <c:v>1150.822</c:v>
                </c:pt>
                <c:pt idx="48">
                  <c:v>1136.5305</c:v>
                </c:pt>
                <c:pt idx="49">
                  <c:v>1141.5541</c:v>
                </c:pt>
                <c:pt idx="50">
                  <c:v>1111.2317</c:v>
                </c:pt>
                <c:pt idx="51">
                  <c:v>1099.7544</c:v>
                </c:pt>
                <c:pt idx="52">
                  <c:v>934.6565536669865</c:v>
                </c:pt>
                <c:pt idx="53">
                  <c:v>934.6565536669865</c:v>
                </c:pt>
                <c:pt idx="54">
                  <c:v>1078.776462658033</c:v>
                </c:pt>
              </c:numCache>
            </c:numRef>
          </c:xVal>
          <c:yVal>
            <c:numRef>
              <c:f>Sheet1!$B$187:$B$241</c:f>
              <c:numCache>
                <c:formatCode>General</c:formatCode>
                <c:ptCount val="55"/>
                <c:pt idx="0">
                  <c:v>0.1279228367220325</c:v>
                </c:pt>
                <c:pt idx="1">
                  <c:v>0.12599066263361647</c:v>
                </c:pt>
                <c:pt idx="2">
                  <c:v>0.1264116242598635</c:v>
                </c:pt>
                <c:pt idx="3">
                  <c:v>0.13203661351531665</c:v>
                </c:pt>
                <c:pt idx="4">
                  <c:v>0.12658777962451678</c:v>
                </c:pt>
                <c:pt idx="5">
                  <c:v>0.1255341902125353</c:v>
                </c:pt>
                <c:pt idx="6">
                  <c:v>0.13254140243964832</c:v>
                </c:pt>
                <c:pt idx="7">
                  <c:v>0.133105577712771</c:v>
                </c:pt>
                <c:pt idx="8">
                  <c:v>0.1262214728808217</c:v>
                </c:pt>
                <c:pt idx="9">
                  <c:v>0.13150719517657908</c:v>
                </c:pt>
                <c:pt idx="10">
                  <c:v>0.13078407437931627</c:v>
                </c:pt>
                <c:pt idx="11">
                  <c:v>0.13871160142640213</c:v>
                </c:pt>
                <c:pt idx="12">
                  <c:v>0.1355132195217395</c:v>
                </c:pt>
                <c:pt idx="13">
                  <c:v>0.13282851415933355</c:v>
                </c:pt>
                <c:pt idx="14">
                  <c:v>0.13211691949156718</c:v>
                </c:pt>
                <c:pt idx="15">
                  <c:v>0.1319854799545988</c:v>
                </c:pt>
                <c:pt idx="16">
                  <c:v>0.12751022707602297</c:v>
                </c:pt>
                <c:pt idx="17">
                  <c:v>0.1370719847074936</c:v>
                </c:pt>
                <c:pt idx="18">
                  <c:v>0.12774346753125454</c:v>
                </c:pt>
                <c:pt idx="19">
                  <c:v>0.11613051513337502</c:v>
                </c:pt>
                <c:pt idx="20">
                  <c:v>0.11708719380079527</c:v>
                </c:pt>
                <c:pt idx="21">
                  <c:v>0.1213110143811994</c:v>
                </c:pt>
                <c:pt idx="22">
                  <c:v>0.12219276328767643</c:v>
                </c:pt>
                <c:pt idx="23">
                  <c:v>0.12295215865943876</c:v>
                </c:pt>
                <c:pt idx="24">
                  <c:v>0.12080688012515237</c:v>
                </c:pt>
                <c:pt idx="25">
                  <c:v>0.12408173918852194</c:v>
                </c:pt>
                <c:pt idx="26">
                  <c:v>0.12592612821149615</c:v>
                </c:pt>
                <c:pt idx="27">
                  <c:v>0.12472019947351964</c:v>
                </c:pt>
                <c:pt idx="28">
                  <c:v>0.12158578659564058</c:v>
                </c:pt>
                <c:pt idx="29">
                  <c:v>0.12219049178711303</c:v>
                </c:pt>
                <c:pt idx="30">
                  <c:v>0.12188125029556332</c:v>
                </c:pt>
                <c:pt idx="31">
                  <c:v>0.12136941872756342</c:v>
                </c:pt>
                <c:pt idx="32">
                  <c:v>0.12020578552846195</c:v>
                </c:pt>
                <c:pt idx="33">
                  <c:v>0.12263291859772349</c:v>
                </c:pt>
                <c:pt idx="34">
                  <c:v>0.12197504640616423</c:v>
                </c:pt>
                <c:pt idx="35">
                  <c:v>0.11804126371429338</c:v>
                </c:pt>
                <c:pt idx="36">
                  <c:v>0.1148195617317942</c:v>
                </c:pt>
                <c:pt idx="37">
                  <c:v>0.11614626684907237</c:v>
                </c:pt>
                <c:pt idx="38">
                  <c:v>0.1150397782558478</c:v>
                </c:pt>
                <c:pt idx="39">
                  <c:v>0.12003922204610043</c:v>
                </c:pt>
                <c:pt idx="40">
                  <c:v>0.11801180364148409</c:v>
                </c:pt>
                <c:pt idx="41">
                  <c:v>0.11510529468039504</c:v>
                </c:pt>
                <c:pt idx="42">
                  <c:v>0.11546710801904553</c:v>
                </c:pt>
                <c:pt idx="43">
                  <c:v>0.1150786417458366</c:v>
                </c:pt>
                <c:pt idx="44">
                  <c:v>0.12179088623384861</c:v>
                </c:pt>
                <c:pt idx="45">
                  <c:v>0.12568500197919946</c:v>
                </c:pt>
                <c:pt idx="46">
                  <c:v>0.12677603643321972</c:v>
                </c:pt>
                <c:pt idx="47">
                  <c:v>0.12859969429384666</c:v>
                </c:pt>
                <c:pt idx="48">
                  <c:v>0.13001729911052695</c:v>
                </c:pt>
                <c:pt idx="49">
                  <c:v>0.12951899735374317</c:v>
                </c:pt>
                <c:pt idx="50">
                  <c:v>0.1325267418377587</c:v>
                </c:pt>
                <c:pt idx="51">
                  <c:v>0.13366520006555044</c:v>
                </c:pt>
                <c:pt idx="52">
                  <c:v>0.15004161277137068</c:v>
                </c:pt>
                <c:pt idx="53">
                  <c:v>0.15004161277137068</c:v>
                </c:pt>
                <c:pt idx="54">
                  <c:v>0.1357460470739113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8.0"/>
          <c:min val="61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742307692307692"/>
          <c:min val="0.0497106918238993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1404428417224041</c:v>
                </c:pt>
                <c:pt idx="1">
                  <c:v>0.13043051687783885</c:v>
                </c:pt>
                <c:pt idx="2">
                  <c:v>0.13171765043430872</c:v>
                </c:pt>
                <c:pt idx="3">
                  <c:v>0.12898890695870988</c:v>
                </c:pt>
                <c:pt idx="4">
                  <c:v>0.1311463666379246</c:v>
                </c:pt>
                <c:pt idx="5">
                  <c:v>0.13336207113594756</c:v>
                </c:pt>
                <c:pt idx="6">
                  <c:v>0.13831836572500203</c:v>
                </c:pt>
                <c:pt idx="7">
                  <c:v>0.12866824069736046</c:v>
                </c:pt>
                <c:pt idx="8">
                  <c:v>0.1322584785396149</c:v>
                </c:pt>
                <c:pt idx="9">
                  <c:v>0.1362080849540248</c:v>
                </c:pt>
                <c:pt idx="10">
                  <c:v>0.12998608121659572</c:v>
                </c:pt>
                <c:pt idx="11">
                  <c:v>0.1371175315183278</c:v>
                </c:pt>
                <c:pt idx="12">
                  <c:v>0.1413828075393639</c:v>
                </c:pt>
                <c:pt idx="13">
                  <c:v>0.13350567929612284</c:v>
                </c:pt>
                <c:pt idx="14">
                  <c:v>0.14580014642345746</c:v>
                </c:pt>
                <c:pt idx="15">
                  <c:v>0.1469856975798705</c:v>
                </c:pt>
                <c:pt idx="16">
                  <c:v>0.14208588814515188</c:v>
                </c:pt>
                <c:pt idx="17">
                  <c:v>0.13689248193363746</c:v>
                </c:pt>
                <c:pt idx="18">
                  <c:v>0.13176232056576978</c:v>
                </c:pt>
                <c:pt idx="19">
                  <c:v>0.12969226717345372</c:v>
                </c:pt>
                <c:pt idx="20">
                  <c:v>0.13931606703994467</c:v>
                </c:pt>
                <c:pt idx="21">
                  <c:v>0.13675532686718864</c:v>
                </c:pt>
                <c:pt idx="22">
                  <c:v>0.13118144429502585</c:v>
                </c:pt>
                <c:pt idx="23">
                  <c:v>0.13988761602418662</c:v>
                </c:pt>
                <c:pt idx="24">
                  <c:v>0.1356537736776556</c:v>
                </c:pt>
                <c:pt idx="25">
                  <c:v>0.13763571457956603</c:v>
                </c:pt>
                <c:pt idx="26">
                  <c:v>0.1374854581982993</c:v>
                </c:pt>
                <c:pt idx="27">
                  <c:v>0.1320788621060169</c:v>
                </c:pt>
                <c:pt idx="28">
                  <c:v>0.12937289826119608</c:v>
                </c:pt>
                <c:pt idx="29">
                  <c:v>0.13282781107905375</c:v>
                </c:pt>
                <c:pt idx="30">
                  <c:v>0.12986633444326903</c:v>
                </c:pt>
                <c:pt idx="31">
                  <c:v>0.1290704379197697</c:v>
                </c:pt>
                <c:pt idx="32">
                  <c:v>0.12273278474997984</c:v>
                </c:pt>
                <c:pt idx="33">
                  <c:v>0.12820097740884928</c:v>
                </c:pt>
                <c:pt idx="34">
                  <c:v>0.12982716943730022</c:v>
                </c:pt>
                <c:pt idx="35">
                  <c:v>0.14111123958210572</c:v>
                </c:pt>
                <c:pt idx="36">
                  <c:v>0.13959353554522674</c:v>
                </c:pt>
                <c:pt idx="37">
                  <c:v>0.13890712393425753</c:v>
                </c:pt>
                <c:pt idx="38">
                  <c:v>0.1329501967512561</c:v>
                </c:pt>
                <c:pt idx="39">
                  <c:v>0.1416005492043011</c:v>
                </c:pt>
                <c:pt idx="40">
                  <c:v>0.1507578348786704</c:v>
                </c:pt>
                <c:pt idx="41">
                  <c:v>0.14927238977960355</c:v>
                </c:pt>
                <c:pt idx="42">
                  <c:v>0.1513528529845669</c:v>
                </c:pt>
                <c:pt idx="43">
                  <c:v>0.1575919924969895</c:v>
                </c:pt>
                <c:pt idx="44">
                  <c:v>0.1578063352823276</c:v>
                </c:pt>
                <c:pt idx="45">
                  <c:v>0.16144273965234604</c:v>
                </c:pt>
                <c:pt idx="46">
                  <c:v>0.1583936312229293</c:v>
                </c:pt>
                <c:pt idx="47">
                  <c:v>0.15344422124237525</c:v>
                </c:pt>
                <c:pt idx="48">
                  <c:v>0.16454939191151954</c:v>
                </c:pt>
                <c:pt idx="49">
                  <c:v>0.1721298201356357</c:v>
                </c:pt>
                <c:pt idx="50">
                  <c:v>0.1510911169069196</c:v>
                </c:pt>
                <c:pt idx="51">
                  <c:v>0.15240139517170578</c:v>
                </c:pt>
                <c:pt idx="52">
                  <c:v>0.15689690836792974</c:v>
                </c:pt>
                <c:pt idx="53">
                  <c:v>0.16973871207453228</c:v>
                </c:pt>
                <c:pt idx="54">
                  <c:v>0.16073244110745738</c:v>
                </c:pt>
                <c:pt idx="55">
                  <c:v>0.16246430190654695</c:v>
                </c:pt>
                <c:pt idx="56">
                  <c:v>0.15675430041576885</c:v>
                </c:pt>
                <c:pt idx="57">
                  <c:v>0.15741822453507726</c:v>
                </c:pt>
                <c:pt idx="58">
                  <c:v>0.1489376933281145</c:v>
                </c:pt>
                <c:pt idx="59">
                  <c:v>0.16884371771449577</c:v>
                </c:pt>
                <c:pt idx="60">
                  <c:v>0.17077301497054304</c:v>
                </c:pt>
                <c:pt idx="61">
                  <c:v>0.16245475233614048</c:v>
                </c:pt>
                <c:pt idx="62">
                  <c:v>0.15335732941893596</c:v>
                </c:pt>
                <c:pt idx="63">
                  <c:v>0.162718451190306</c:v>
                </c:pt>
                <c:pt idx="64">
                  <c:v>0.16879812619014145</c:v>
                </c:pt>
                <c:pt idx="65">
                  <c:v>0.16127387643686988</c:v>
                </c:pt>
                <c:pt idx="66">
                  <c:v>0.15968246134865488</c:v>
                </c:pt>
                <c:pt idx="67">
                  <c:v>0.1652178423987024</c:v>
                </c:pt>
                <c:pt idx="68">
                  <c:v>0.15963237910091702</c:v>
                </c:pt>
                <c:pt idx="69">
                  <c:v>0.15830933498348027</c:v>
                </c:pt>
                <c:pt idx="70">
                  <c:v>0.1539883346975928</c:v>
                </c:pt>
                <c:pt idx="71">
                  <c:v>0.1554466161234902</c:v>
                </c:pt>
                <c:pt idx="72">
                  <c:v>0.1672934536018556</c:v>
                </c:pt>
                <c:pt idx="73">
                  <c:v>0.16000619591886386</c:v>
                </c:pt>
                <c:pt idx="74">
                  <c:v>0.1551509446982341</c:v>
                </c:pt>
                <c:pt idx="75">
                  <c:v>0.15159845597796676</c:v>
                </c:pt>
                <c:pt idx="76">
                  <c:v>0.14833445834326472</c:v>
                </c:pt>
                <c:pt idx="77">
                  <c:v>0.1466715523302635</c:v>
                </c:pt>
                <c:pt idx="78">
                  <c:v>0.15176966285183927</c:v>
                </c:pt>
                <c:pt idx="79">
                  <c:v>0.15385417113904948</c:v>
                </c:pt>
                <c:pt idx="80">
                  <c:v>0.1545959535139795</c:v>
                </c:pt>
                <c:pt idx="81">
                  <c:v>0.1617572723565034</c:v>
                </c:pt>
                <c:pt idx="82">
                  <c:v>0.15222776979310287</c:v>
                </c:pt>
                <c:pt idx="83">
                  <c:v>0.14655209534616215</c:v>
                </c:pt>
                <c:pt idx="84">
                  <c:v>0.1488126426671466</c:v>
                </c:pt>
                <c:pt idx="85">
                  <c:v>0.14721650303580636</c:v>
                </c:pt>
                <c:pt idx="86">
                  <c:v>0.1448231948132068</c:v>
                </c:pt>
                <c:pt idx="87">
                  <c:v>0.151016220434501</c:v>
                </c:pt>
                <c:pt idx="88">
                  <c:v>0.1590470436153047</c:v>
                </c:pt>
                <c:pt idx="89">
                  <c:v>0.1427815260559981</c:v>
                </c:pt>
                <c:pt idx="90">
                  <c:v>0.1487009623584113</c:v>
                </c:pt>
                <c:pt idx="91">
                  <c:v>0.15404856537341374</c:v>
                </c:pt>
                <c:pt idx="92">
                  <c:v>0.15291488868995184</c:v>
                </c:pt>
                <c:pt idx="93">
                  <c:v>0.1525709226883014</c:v>
                </c:pt>
                <c:pt idx="94">
                  <c:v>0.15521774874776467</c:v>
                </c:pt>
                <c:pt idx="95">
                  <c:v>0.1541847662351841</c:v>
                </c:pt>
                <c:pt idx="96">
                  <c:v>0.15509914958890314</c:v>
                </c:pt>
                <c:pt idx="97">
                  <c:v>0.1587360647439406</c:v>
                </c:pt>
                <c:pt idx="98">
                  <c:v>0.170787567599712</c:v>
                </c:pt>
                <c:pt idx="99">
                  <c:v>0.17127422968103678</c:v>
                </c:pt>
                <c:pt idx="100">
                  <c:v>0.17830093799791266</c:v>
                </c:pt>
                <c:pt idx="101">
                  <c:v>0.1720476366653309</c:v>
                </c:pt>
                <c:pt idx="102">
                  <c:v>0.1697008190227305</c:v>
                </c:pt>
                <c:pt idx="103">
                  <c:v>0.1636869023090254</c:v>
                </c:pt>
                <c:pt idx="104">
                  <c:v>0.16249976527973045</c:v>
                </c:pt>
              </c:numCache>
            </c:numRef>
          </c:xVal>
          <c:yVal>
            <c:numRef>
              <c:f>Sheet1!$B$2:$B$106</c:f>
              <c:numCache>
                <c:formatCode>General</c:formatCode>
                <c:ptCount val="105"/>
                <c:pt idx="0">
                  <c:v>0.11896848842934515</c:v>
                </c:pt>
                <c:pt idx="1">
                  <c:v>0.10215736040609137</c:v>
                </c:pt>
                <c:pt idx="2">
                  <c:v>0.1050759415052792</c:v>
                </c:pt>
                <c:pt idx="3">
                  <c:v>0.10579283259695631</c:v>
                </c:pt>
                <c:pt idx="4">
                  <c:v>0.11008897602171618</c:v>
                </c:pt>
                <c:pt idx="5">
                  <c:v>0.1327621443169313</c:v>
                </c:pt>
                <c:pt idx="6">
                  <c:v>0.15625</c:v>
                </c:pt>
                <c:pt idx="7">
                  <c:v>0.15930018416206262</c:v>
                </c:pt>
                <c:pt idx="8">
                  <c:v>0.16451923076923078</c:v>
                </c:pt>
                <c:pt idx="9">
                  <c:v>0.1457197479289103</c:v>
                </c:pt>
                <c:pt idx="10">
                  <c:v>0.15560265262870035</c:v>
                </c:pt>
                <c:pt idx="11">
                  <c:v>0.15032990952996395</c:v>
                </c:pt>
                <c:pt idx="12">
                  <c:v>0.13436660208736953</c:v>
                </c:pt>
                <c:pt idx="13">
                  <c:v>0.12287970995727049</c:v>
                </c:pt>
                <c:pt idx="14">
                  <c:v>0.0973673766371213</c:v>
                </c:pt>
                <c:pt idx="15">
                  <c:v>0.08354044736631124</c:v>
                </c:pt>
                <c:pt idx="16">
                  <c:v>0.0801593920859976</c:v>
                </c:pt>
                <c:pt idx="17">
                  <c:v>0.07279731331489529</c:v>
                </c:pt>
                <c:pt idx="18">
                  <c:v>0.06708572667172429</c:v>
                </c:pt>
                <c:pt idx="19">
                  <c:v>0.062138364779874215</c:v>
                </c:pt>
                <c:pt idx="20">
                  <c:v>0.06312843370996164</c:v>
                </c:pt>
                <c:pt idx="21">
                  <c:v>0.06225631995975349</c:v>
                </c:pt>
                <c:pt idx="22">
                  <c:v>0.06519065190651907</c:v>
                </c:pt>
                <c:pt idx="23">
                  <c:v>0.07551546391752577</c:v>
                </c:pt>
                <c:pt idx="24">
                  <c:v>0.07444314185228605</c:v>
                </c:pt>
                <c:pt idx="25">
                  <c:v>0.07913669064748201</c:v>
                </c:pt>
                <c:pt idx="26">
                  <c:v>0.09623115577889448</c:v>
                </c:pt>
                <c:pt idx="27">
                  <c:v>0.10035798049623504</c:v>
                </c:pt>
                <c:pt idx="28">
                  <c:v>0.1226345539444581</c:v>
                </c:pt>
                <c:pt idx="29">
                  <c:v>0.1183000317158262</c:v>
                </c:pt>
                <c:pt idx="30">
                  <c:v>0.116016713091922</c:v>
                </c:pt>
                <c:pt idx="31">
                  <c:v>0.12250635961976168</c:v>
                </c:pt>
                <c:pt idx="32">
                  <c:v>0.13260510605868156</c:v>
                </c:pt>
                <c:pt idx="33">
                  <c:v>0.12173218918379565</c:v>
                </c:pt>
                <c:pt idx="34">
                  <c:v>0.12263707326248471</c:v>
                </c:pt>
                <c:pt idx="35">
                  <c:v>0.13272727272727272</c:v>
                </c:pt>
                <c:pt idx="36">
                  <c:v>0.11613358894158006</c:v>
                </c:pt>
                <c:pt idx="37">
                  <c:v>0.11009998876530727</c:v>
                </c:pt>
                <c:pt idx="38">
                  <c:v>0.10718269016283738</c:v>
                </c:pt>
                <c:pt idx="39">
                  <c:v>0.10073044297832234</c:v>
                </c:pt>
                <c:pt idx="40">
                  <c:v>0.10093692649473583</c:v>
                </c:pt>
                <c:pt idx="41">
                  <c:v>0.10222873286596212</c:v>
                </c:pt>
                <c:pt idx="42">
                  <c:v>0.1007912245998921</c:v>
                </c:pt>
                <c:pt idx="43">
                  <c:v>0.09560723514211886</c:v>
                </c:pt>
                <c:pt idx="44">
                  <c:v>0.10145497443963822</c:v>
                </c:pt>
                <c:pt idx="45">
                  <c:v>0.11657355679702049</c:v>
                </c:pt>
                <c:pt idx="46">
                  <c:v>0.12104588567034094</c:v>
                </c:pt>
                <c:pt idx="47">
                  <c:v>0.11573954735268341</c:v>
                </c:pt>
                <c:pt idx="48">
                  <c:v>0.11292336802270578</c:v>
                </c:pt>
                <c:pt idx="49">
                  <c:v>0.12055868659642245</c:v>
                </c:pt>
                <c:pt idx="50">
                  <c:v>0.1158253329204088</c:v>
                </c:pt>
                <c:pt idx="51">
                  <c:v>0.10993361349655886</c:v>
                </c:pt>
                <c:pt idx="52">
                  <c:v>0.1082557353170681</c:v>
                </c:pt>
                <c:pt idx="53">
                  <c:v>0.09893880663404715</c:v>
                </c:pt>
                <c:pt idx="54">
                  <c:v>0.10012941897690893</c:v>
                </c:pt>
                <c:pt idx="55">
                  <c:v>0.09788840721577402</c:v>
                </c:pt>
                <c:pt idx="56">
                  <c:v>0.1028030734206033</c:v>
                </c:pt>
                <c:pt idx="57">
                  <c:v>0.09741550695825049</c:v>
                </c:pt>
                <c:pt idx="58">
                  <c:v>0.11172437834069254</c:v>
                </c:pt>
                <c:pt idx="59">
                  <c:v>0.10297456420517952</c:v>
                </c:pt>
                <c:pt idx="60">
                  <c:v>0.10522660184059733</c:v>
                </c:pt>
                <c:pt idx="61">
                  <c:v>0.1114169459071326</c:v>
                </c:pt>
                <c:pt idx="62">
                  <c:v>0.1224251619303262</c:v>
                </c:pt>
                <c:pt idx="63">
                  <c:v>0.12486590860330402</c:v>
                </c:pt>
                <c:pt idx="64">
                  <c:v>0.1182589652340542</c:v>
                </c:pt>
                <c:pt idx="65">
                  <c:v>0.1196166656927482</c:v>
                </c:pt>
                <c:pt idx="66">
                  <c:v>0.11864406779661017</c:v>
                </c:pt>
                <c:pt idx="67">
                  <c:v>0.11102030552586911</c:v>
                </c:pt>
                <c:pt idx="68">
                  <c:v>0.10039048633297834</c:v>
                </c:pt>
                <c:pt idx="69">
                  <c:v>0.09225365132187095</c:v>
                </c:pt>
                <c:pt idx="70">
                  <c:v>0.09634809634809635</c:v>
                </c:pt>
                <c:pt idx="71">
                  <c:v>0.09124663510628422</c:v>
                </c:pt>
                <c:pt idx="72">
                  <c:v>0.09001506157526358</c:v>
                </c:pt>
                <c:pt idx="73">
                  <c:v>0.09159312587087784</c:v>
                </c:pt>
                <c:pt idx="74">
                  <c:v>0.0950654403961797</c:v>
                </c:pt>
                <c:pt idx="75">
                  <c:v>0.1005668696199874</c:v>
                </c:pt>
                <c:pt idx="76">
                  <c:v>0.10813811479960031</c:v>
                </c:pt>
                <c:pt idx="77">
                  <c:v>0.10111085921559737</c:v>
                </c:pt>
                <c:pt idx="78">
                  <c:v>0.10998038254046101</c:v>
                </c:pt>
                <c:pt idx="79">
                  <c:v>0.10404028842852238</c:v>
                </c:pt>
                <c:pt idx="80">
                  <c:v>0.1010171058714748</c:v>
                </c:pt>
                <c:pt idx="81">
                  <c:v>0.09768397459843108</c:v>
                </c:pt>
                <c:pt idx="82">
                  <c:v>0.0993003559592488</c:v>
                </c:pt>
                <c:pt idx="83">
                  <c:v>0.09755761004553608</c:v>
                </c:pt>
                <c:pt idx="84">
                  <c:v>0.09679685304860916</c:v>
                </c:pt>
                <c:pt idx="85">
                  <c:v>0.10017186349128407</c:v>
                </c:pt>
                <c:pt idx="86">
                  <c:v>0.11238293444328824</c:v>
                </c:pt>
                <c:pt idx="87">
                  <c:v>0.11858608893956671</c:v>
                </c:pt>
                <c:pt idx="88">
                  <c:v>0.10975040821087008</c:v>
                </c:pt>
                <c:pt idx="89">
                  <c:v>0.11405642023346303</c:v>
                </c:pt>
                <c:pt idx="90">
                  <c:v>0.09969001859888407</c:v>
                </c:pt>
                <c:pt idx="91">
                  <c:v>0.09940814107984056</c:v>
                </c:pt>
                <c:pt idx="92">
                  <c:v>0.10789865871833085</c:v>
                </c:pt>
                <c:pt idx="93">
                  <c:v>0.1051984877126654</c:v>
                </c:pt>
                <c:pt idx="94">
                  <c:v>0.10679611650485436</c:v>
                </c:pt>
                <c:pt idx="95">
                  <c:v>0.10736944851146901</c:v>
                </c:pt>
                <c:pt idx="96">
                  <c:v>0.10914285714285714</c:v>
                </c:pt>
                <c:pt idx="97">
                  <c:v>0.1106441859273305</c:v>
                </c:pt>
                <c:pt idx="98">
                  <c:v>0.10942194717251895</c:v>
                </c:pt>
                <c:pt idx="99">
                  <c:v>0.11188295560384974</c:v>
                </c:pt>
                <c:pt idx="100">
                  <c:v>0.11848436824665033</c:v>
                </c:pt>
                <c:pt idx="101">
                  <c:v>0.11371447935324587</c:v>
                </c:pt>
                <c:pt idx="102">
                  <c:v>0.1126475146024556</c:v>
                </c:pt>
                <c:pt idx="103">
                  <c:v>0.11297735913295126</c:v>
                </c:pt>
                <c:pt idx="104">
                  <c:v>0.1104825291181364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7012856147239575</c:v>
                </c:pt>
                <c:pt idx="1">
                  <c:v>0.1747790281938424</c:v>
                </c:pt>
                <c:pt idx="2">
                  <c:v>0.1758031693110568</c:v>
                </c:pt>
                <c:pt idx="3">
                  <c:v>0.1670793180944574</c:v>
                </c:pt>
                <c:pt idx="4">
                  <c:v>0.17550999365612988</c:v>
                </c:pt>
                <c:pt idx="5">
                  <c:v>0.17802278594981372</c:v>
                </c:pt>
                <c:pt idx="6">
                  <c:v>0.16557359093506102</c:v>
                </c:pt>
                <c:pt idx="7">
                  <c:v>0.16228062641887764</c:v>
                </c:pt>
                <c:pt idx="8">
                  <c:v>0.1745273828501047</c:v>
                </c:pt>
                <c:pt idx="9">
                  <c:v>0.1649926282876266</c:v>
                </c:pt>
                <c:pt idx="10">
                  <c:v>0.1765022250016555</c:v>
                </c:pt>
                <c:pt idx="11">
                  <c:v>0.16621929149604517</c:v>
                </c:pt>
                <c:pt idx="12">
                  <c:v>0.17453637440894676</c:v>
                </c:pt>
                <c:pt idx="13">
                  <c:v>0.17237968779783105</c:v>
                </c:pt>
                <c:pt idx="14">
                  <c:v>0.1750270571954172</c:v>
                </c:pt>
                <c:pt idx="15">
                  <c:v>0.17435030145100866</c:v>
                </c:pt>
                <c:pt idx="16">
                  <c:v>0.1766646352406203</c:v>
                </c:pt>
                <c:pt idx="17">
                  <c:v>0.1606667919537238</c:v>
                </c:pt>
                <c:pt idx="18">
                  <c:v>0.1456230023690832</c:v>
                </c:pt>
                <c:pt idx="19">
                  <c:v>0.15308154226143794</c:v>
                </c:pt>
                <c:pt idx="20">
                  <c:v>0.1496674763859443</c:v>
                </c:pt>
                <c:pt idx="21">
                  <c:v>0.13777999666821322</c:v>
                </c:pt>
                <c:pt idx="22">
                  <c:v>0.1472540439633029</c:v>
                </c:pt>
                <c:pt idx="23">
                  <c:v>0.14669665305061116</c:v>
                </c:pt>
                <c:pt idx="24">
                  <c:v>0.14728700429265337</c:v>
                </c:pt>
                <c:pt idx="25">
                  <c:v>0.14338035203817898</c:v>
                </c:pt>
                <c:pt idx="26">
                  <c:v>0.1451342254070322</c:v>
                </c:pt>
                <c:pt idx="27">
                  <c:v>0.14446348003131998</c:v>
                </c:pt>
                <c:pt idx="28">
                  <c:v>0.16136052479316515</c:v>
                </c:pt>
                <c:pt idx="29">
                  <c:v>0.15680605866008765</c:v>
                </c:pt>
                <c:pt idx="30">
                  <c:v>0.15047542276393078</c:v>
                </c:pt>
                <c:pt idx="31">
                  <c:v>0.14570505053314572</c:v>
                </c:pt>
                <c:pt idx="32">
                  <c:v>0.15741812575464217</c:v>
                </c:pt>
                <c:pt idx="33">
                  <c:v>0.1574196987108498</c:v>
                </c:pt>
                <c:pt idx="34">
                  <c:v>0.17027153488655677</c:v>
                </c:pt>
                <c:pt idx="35">
                  <c:v>0.16908779062148513</c:v>
                </c:pt>
                <c:pt idx="36">
                  <c:v>0.1556173487674738</c:v>
                </c:pt>
                <c:pt idx="37">
                  <c:v>0.15842560187108384</c:v>
                </c:pt>
                <c:pt idx="38">
                  <c:v>0.1588537581661244</c:v>
                </c:pt>
                <c:pt idx="39">
                  <c:v>0.16748134049415614</c:v>
                </c:pt>
                <c:pt idx="40">
                  <c:v>0.16784973986866844</c:v>
                </c:pt>
                <c:pt idx="41">
                  <c:v>0.1735010932794157</c:v>
                </c:pt>
                <c:pt idx="42">
                  <c:v>0.16231313624697652</c:v>
                </c:pt>
                <c:pt idx="43">
                  <c:v>0.17858976388459516</c:v>
                </c:pt>
                <c:pt idx="44">
                  <c:v>0.17843530042294858</c:v>
                </c:pt>
                <c:pt idx="45">
                  <c:v>0.1863437124111355</c:v>
                </c:pt>
                <c:pt idx="46">
                  <c:v>0.17322183832915247</c:v>
                </c:pt>
                <c:pt idx="47">
                  <c:v>0.17507288745275476</c:v>
                </c:pt>
                <c:pt idx="48">
                  <c:v>0.18236689282977653</c:v>
                </c:pt>
                <c:pt idx="49">
                  <c:v>0.19270638779162025</c:v>
                </c:pt>
                <c:pt idx="50">
                  <c:v>0.19497687093192373</c:v>
                </c:pt>
                <c:pt idx="51">
                  <c:v>0.1794248553765587</c:v>
                </c:pt>
              </c:numCache>
            </c:numRef>
          </c:xVal>
          <c:yVal>
            <c:numRef>
              <c:f>Sheet1!$B$109:$B$160</c:f>
              <c:numCache>
                <c:formatCode>General</c:formatCode>
                <c:ptCount val="52"/>
                <c:pt idx="0">
                  <c:v>0.11244691668161971</c:v>
                </c:pt>
                <c:pt idx="1">
                  <c:v>0.10773805836069636</c:v>
                </c:pt>
                <c:pt idx="2">
                  <c:v>0.12557179515787126</c:v>
                </c:pt>
                <c:pt idx="3">
                  <c:v>0.14269586814179272</c:v>
                </c:pt>
                <c:pt idx="4">
                  <c:v>0.12219994270982526</c:v>
                </c:pt>
                <c:pt idx="5">
                  <c:v>0.12453797543817813</c:v>
                </c:pt>
                <c:pt idx="6">
                  <c:v>0.13373069628826875</c:v>
                </c:pt>
                <c:pt idx="7">
                  <c:v>0.14016351182146278</c:v>
                </c:pt>
                <c:pt idx="8">
                  <c:v>0.12179070523236919</c:v>
                </c:pt>
                <c:pt idx="9">
                  <c:v>0.13084326306141156</c:v>
                </c:pt>
                <c:pt idx="10">
                  <c:v>0.1377449168207024</c:v>
                </c:pt>
                <c:pt idx="11">
                  <c:v>0.13321432556063817</c:v>
                </c:pt>
                <c:pt idx="12">
                  <c:v>0.13040138275398502</c:v>
                </c:pt>
                <c:pt idx="13">
                  <c:v>0.1251391526422631</c:v>
                </c:pt>
                <c:pt idx="14">
                  <c:v>0.12566922297786137</c:v>
                </c:pt>
                <c:pt idx="15">
                  <c:v>0.12627492769066828</c:v>
                </c:pt>
                <c:pt idx="16">
                  <c:v>0.11987162806834938</c:v>
                </c:pt>
                <c:pt idx="17">
                  <c:v>0.1311179338992234</c:v>
                </c:pt>
                <c:pt idx="18">
                  <c:v>0.12306377523768829</c:v>
                </c:pt>
                <c:pt idx="19">
                  <c:v>0.1133887898593781</c:v>
                </c:pt>
                <c:pt idx="20">
                  <c:v>0.10356500581825875</c:v>
                </c:pt>
                <c:pt idx="21">
                  <c:v>0.10847995766635798</c:v>
                </c:pt>
                <c:pt idx="22">
                  <c:v>0.11260018394429115</c:v>
                </c:pt>
                <c:pt idx="23">
                  <c:v>0.1124674255931971</c:v>
                </c:pt>
                <c:pt idx="24">
                  <c:v>0.11437578814627995</c:v>
                </c:pt>
                <c:pt idx="25">
                  <c:v>0.11745558117455582</c:v>
                </c:pt>
                <c:pt idx="26">
                  <c:v>0.11130456410894167</c:v>
                </c:pt>
                <c:pt idx="27">
                  <c:v>0.115748031496063</c:v>
                </c:pt>
                <c:pt idx="28">
                  <c:v>0.10853023628354025</c:v>
                </c:pt>
                <c:pt idx="29">
                  <c:v>0.11010269882971101</c:v>
                </c:pt>
                <c:pt idx="30">
                  <c:v>0.11395087894277521</c:v>
                </c:pt>
                <c:pt idx="31">
                  <c:v>0.11002804112698625</c:v>
                </c:pt>
                <c:pt idx="32">
                  <c:v>0.10702263493905978</c:v>
                </c:pt>
                <c:pt idx="33">
                  <c:v>0.12787082539364156</c:v>
                </c:pt>
                <c:pt idx="34">
                  <c:v>0.13615101904443702</c:v>
                </c:pt>
                <c:pt idx="35">
                  <c:v>0.136327185244587</c:v>
                </c:pt>
                <c:pt idx="36">
                  <c:v>0.12400939242735544</c:v>
                </c:pt>
                <c:pt idx="37">
                  <c:v>0.11997920187183153</c:v>
                </c:pt>
                <c:pt idx="38">
                  <c:v>0.12323087919942816</c:v>
                </c:pt>
                <c:pt idx="39">
                  <c:v>0.13048597730678654</c:v>
                </c:pt>
                <c:pt idx="40">
                  <c:v>0.12352879908342881</c:v>
                </c:pt>
                <c:pt idx="41">
                  <c:v>0.12875662934590454</c:v>
                </c:pt>
                <c:pt idx="42">
                  <c:v>0.12409160977758203</c:v>
                </c:pt>
                <c:pt idx="43">
                  <c:v>0.11939594148183105</c:v>
                </c:pt>
                <c:pt idx="44">
                  <c:v>0.11820958958693054</c:v>
                </c:pt>
                <c:pt idx="45">
                  <c:v>0.12854775222705614</c:v>
                </c:pt>
                <c:pt idx="46">
                  <c:v>0.14696623665205852</c:v>
                </c:pt>
                <c:pt idx="47">
                  <c:v>0.1445496254137871</c:v>
                </c:pt>
                <c:pt idx="48">
                  <c:v>0.14861535429190895</c:v>
                </c:pt>
                <c:pt idx="49">
                  <c:v>0.15222417460464255</c:v>
                </c:pt>
                <c:pt idx="50">
                  <c:v>0.15457490373449057</c:v>
                </c:pt>
                <c:pt idx="51">
                  <c:v>0.14475201845444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0621794947498606</c:v>
                </c:pt>
              </c:numCache>
            </c:numRef>
          </c:xVal>
          <c:yVal>
            <c:numRef>
              <c:f>Sheet1!$B$163:$B$164</c:f>
              <c:numCache>
                <c:formatCode>General</c:formatCode>
                <c:ptCount val="2"/>
                <c:pt idx="0">
                  <c:v>0.15004161277137068</c:v>
                </c:pt>
                <c:pt idx="1">
                  <c:v>0.1500416127713706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0621794947498606</c:v>
                </c:pt>
                <c:pt idx="1">
                  <c:v>0.20621794947498606</c:v>
                </c:pt>
              </c:numCache>
            </c:numRef>
          </c:xVal>
          <c:yVal>
            <c:numRef>
              <c:f>Sheet1!$B$167:$B$168</c:f>
              <c:numCache>
                <c:formatCode>General</c:formatCode>
                <c:ptCount val="2"/>
                <c:pt idx="0">
                  <c:v>0.1500416127713706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0621794947498606</c:v>
                </c:pt>
              </c:numCache>
            </c:numRef>
          </c:xVal>
          <c:yVal>
            <c:numRef>
              <c:f>Sheet1!$B$171:$B$172</c:f>
              <c:numCache>
                <c:formatCode>General</c:formatCode>
                <c:ptCount val="2"/>
                <c:pt idx="0">
                  <c:v>0.15004161277137068</c:v>
                </c:pt>
                <c:pt idx="1">
                  <c:v>0.1500416127713706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0621794947498606</c:v>
                </c:pt>
                <c:pt idx="1">
                  <c:v>0.20621794947498606</c:v>
                </c:pt>
              </c:numCache>
            </c:numRef>
          </c:xVal>
          <c:yVal>
            <c:numRef>
              <c:f>Sheet1!$B$175:$B$176</c:f>
              <c:numCache>
                <c:formatCode>General</c:formatCode>
                <c:ptCount val="2"/>
                <c:pt idx="0">
                  <c:v>0.1500416127713706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8279887137069356</c:v>
                </c:pt>
              </c:numCache>
            </c:numRef>
          </c:xVal>
          <c:yVal>
            <c:numRef>
              <c:f>Sheet1!$B$179:$B$180</c:f>
              <c:numCache>
                <c:formatCode>General</c:formatCode>
                <c:ptCount val="2"/>
                <c:pt idx="0">
                  <c:v>0.13574604707391139</c:v>
                </c:pt>
                <c:pt idx="1">
                  <c:v>0.1357460470739113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8279887137069356</c:v>
                </c:pt>
                <c:pt idx="1">
                  <c:v>0.18279887137069356</c:v>
                </c:pt>
              </c:numCache>
            </c:numRef>
          </c:xVal>
          <c:yVal>
            <c:numRef>
              <c:f>Sheet1!$B$183:$B$184</c:f>
              <c:numCache>
                <c:formatCode>General</c:formatCode>
                <c:ptCount val="2"/>
                <c:pt idx="0">
                  <c:v>0.1357460470739113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7012856147239575</c:v>
                </c:pt>
                <c:pt idx="1">
                  <c:v>0.1747790281938424</c:v>
                </c:pt>
                <c:pt idx="2">
                  <c:v>0.1758031693110568</c:v>
                </c:pt>
                <c:pt idx="3">
                  <c:v>0.1670793180944574</c:v>
                </c:pt>
                <c:pt idx="4">
                  <c:v>0.17550999365612988</c:v>
                </c:pt>
                <c:pt idx="5">
                  <c:v>0.17802278594981372</c:v>
                </c:pt>
                <c:pt idx="6">
                  <c:v>0.16557359093506102</c:v>
                </c:pt>
                <c:pt idx="7">
                  <c:v>0.16228062641887764</c:v>
                </c:pt>
                <c:pt idx="8">
                  <c:v>0.1745273828501047</c:v>
                </c:pt>
                <c:pt idx="9">
                  <c:v>0.1649926282876266</c:v>
                </c:pt>
                <c:pt idx="10">
                  <c:v>0.1765022250016555</c:v>
                </c:pt>
                <c:pt idx="11">
                  <c:v>0.16621929149604517</c:v>
                </c:pt>
                <c:pt idx="12">
                  <c:v>0.17453637440894676</c:v>
                </c:pt>
                <c:pt idx="13">
                  <c:v>0.17237968779783105</c:v>
                </c:pt>
                <c:pt idx="14">
                  <c:v>0.1750270571954172</c:v>
                </c:pt>
                <c:pt idx="15">
                  <c:v>0.17435030145100866</c:v>
                </c:pt>
                <c:pt idx="16">
                  <c:v>0.1766646352406203</c:v>
                </c:pt>
                <c:pt idx="17">
                  <c:v>0.1606667919537238</c:v>
                </c:pt>
                <c:pt idx="18">
                  <c:v>0.1456230023690832</c:v>
                </c:pt>
                <c:pt idx="19">
                  <c:v>0.15308154226143794</c:v>
                </c:pt>
                <c:pt idx="20">
                  <c:v>0.1496674763859443</c:v>
                </c:pt>
                <c:pt idx="21">
                  <c:v>0.13777999666821322</c:v>
                </c:pt>
                <c:pt idx="22">
                  <c:v>0.1472540439633029</c:v>
                </c:pt>
                <c:pt idx="23">
                  <c:v>0.14669665305061116</c:v>
                </c:pt>
                <c:pt idx="24">
                  <c:v>0.14728700429265337</c:v>
                </c:pt>
                <c:pt idx="25">
                  <c:v>0.14338035203817898</c:v>
                </c:pt>
                <c:pt idx="26">
                  <c:v>0.1451342254070322</c:v>
                </c:pt>
                <c:pt idx="27">
                  <c:v>0.14446348003131998</c:v>
                </c:pt>
                <c:pt idx="28">
                  <c:v>0.16136052479316515</c:v>
                </c:pt>
                <c:pt idx="29">
                  <c:v>0.15680605866008765</c:v>
                </c:pt>
                <c:pt idx="30">
                  <c:v>0.15047542276393078</c:v>
                </c:pt>
                <c:pt idx="31">
                  <c:v>0.14570505053314572</c:v>
                </c:pt>
                <c:pt idx="32">
                  <c:v>0.15741812575464217</c:v>
                </c:pt>
                <c:pt idx="33">
                  <c:v>0.1574196987108498</c:v>
                </c:pt>
                <c:pt idx="34">
                  <c:v>0.17027153488655677</c:v>
                </c:pt>
                <c:pt idx="35">
                  <c:v>0.16908779062148513</c:v>
                </c:pt>
                <c:pt idx="36">
                  <c:v>0.1556173487674738</c:v>
                </c:pt>
                <c:pt idx="37">
                  <c:v>0.15842560187108384</c:v>
                </c:pt>
                <c:pt idx="38">
                  <c:v>0.1588537581661244</c:v>
                </c:pt>
                <c:pt idx="39">
                  <c:v>0.16748134049415614</c:v>
                </c:pt>
                <c:pt idx="40">
                  <c:v>0.16784973986866844</c:v>
                </c:pt>
                <c:pt idx="41">
                  <c:v>0.1735010932794157</c:v>
                </c:pt>
                <c:pt idx="42">
                  <c:v>0.16231313624697652</c:v>
                </c:pt>
                <c:pt idx="43">
                  <c:v>0.17858976388459516</c:v>
                </c:pt>
                <c:pt idx="44">
                  <c:v>0.17843530042294858</c:v>
                </c:pt>
                <c:pt idx="45">
                  <c:v>0.1863437124111355</c:v>
                </c:pt>
                <c:pt idx="46">
                  <c:v>0.17322183832915247</c:v>
                </c:pt>
                <c:pt idx="47">
                  <c:v>0.17507288745275476</c:v>
                </c:pt>
                <c:pt idx="48">
                  <c:v>0.18236689282977653</c:v>
                </c:pt>
                <c:pt idx="49">
                  <c:v>0.19270638779162025</c:v>
                </c:pt>
                <c:pt idx="50">
                  <c:v>0.19497687093192373</c:v>
                </c:pt>
                <c:pt idx="51">
                  <c:v>0.1794248553765587</c:v>
                </c:pt>
                <c:pt idx="52">
                  <c:v>0.20621794947498606</c:v>
                </c:pt>
                <c:pt idx="53">
                  <c:v>0.20621794947498606</c:v>
                </c:pt>
                <c:pt idx="54">
                  <c:v>0.18279887137069356</c:v>
                </c:pt>
              </c:numCache>
            </c:numRef>
          </c:xVal>
          <c:yVal>
            <c:numRef>
              <c:f>Sheet1!$B$187:$B$241</c:f>
              <c:numCache>
                <c:formatCode>General</c:formatCode>
                <c:ptCount val="55"/>
                <c:pt idx="0">
                  <c:v>0.1280117867092779</c:v>
                </c:pt>
                <c:pt idx="1">
                  <c:v>0.13085054288252382</c:v>
                </c:pt>
                <c:pt idx="2">
                  <c:v>0.13147570312834597</c:v>
                </c:pt>
                <c:pt idx="3">
                  <c:v>0.12615045558246166</c:v>
                </c:pt>
                <c:pt idx="4">
                  <c:v>0.13129674169283434</c:v>
                </c:pt>
                <c:pt idx="5">
                  <c:v>0.13283061024045417</c:v>
                </c:pt>
                <c:pt idx="6">
                  <c:v>0.12523132369205414</c:v>
                </c:pt>
                <c:pt idx="7">
                  <c:v>0.12322121935016403</c:v>
                </c:pt>
                <c:pt idx="8">
                  <c:v>0.13069693254278963</c:v>
                </c:pt>
                <c:pt idx="9">
                  <c:v>0.1248766901895233</c:v>
                </c:pt>
                <c:pt idx="10">
                  <c:v>0.1319024234504113</c:v>
                </c:pt>
                <c:pt idx="11">
                  <c:v>0.12562547476620523</c:v>
                </c:pt>
                <c:pt idx="12">
                  <c:v>0.1307024212054764</c:v>
                </c:pt>
                <c:pt idx="13">
                  <c:v>0.12938592808816685</c:v>
                </c:pt>
                <c:pt idx="14">
                  <c:v>0.1310019457204621</c:v>
                </c:pt>
                <c:pt idx="15">
                  <c:v>0.13058883781919284</c:v>
                </c:pt>
                <c:pt idx="16">
                  <c:v>0.13200156254678058</c:v>
                </c:pt>
                <c:pt idx="17">
                  <c:v>0.12223609617329559</c:v>
                </c:pt>
                <c:pt idx="18">
                  <c:v>0.11305300701033813</c:v>
                </c:pt>
                <c:pt idx="19">
                  <c:v>0.11760587824478413</c:v>
                </c:pt>
                <c:pt idx="20">
                  <c:v>0.11552185073519453</c:v>
                </c:pt>
                <c:pt idx="21">
                  <c:v>0.10826544864604093</c:v>
                </c:pt>
                <c:pt idx="22">
                  <c:v>0.11404863383055794</c:v>
                </c:pt>
                <c:pt idx="23">
                  <c:v>0.11370838907898972</c:v>
                </c:pt>
                <c:pt idx="24">
                  <c:v>0.11406875360433985</c:v>
                </c:pt>
                <c:pt idx="25">
                  <c:v>0.11168403958134296</c:v>
                </c:pt>
                <c:pt idx="26">
                  <c:v>0.11275464585618475</c:v>
                </c:pt>
                <c:pt idx="27">
                  <c:v>0.11234520682779686</c:v>
                </c:pt>
                <c:pt idx="28">
                  <c:v>0.12265956729963773</c:v>
                </c:pt>
                <c:pt idx="29">
                  <c:v>0.11987941218284306</c:v>
                </c:pt>
                <c:pt idx="30">
                  <c:v>0.11601504053861436</c:v>
                </c:pt>
                <c:pt idx="31">
                  <c:v>0.11310309117310866</c:v>
                </c:pt>
                <c:pt idx="32">
                  <c:v>0.12025303258423081</c:v>
                </c:pt>
                <c:pt idx="33">
                  <c:v>0.12025399275434107</c:v>
                </c:pt>
                <c:pt idx="34">
                  <c:v>0.1280990611026604</c:v>
                </c:pt>
                <c:pt idx="35">
                  <c:v>0.12737647527605517</c:v>
                </c:pt>
                <c:pt idx="36">
                  <c:v>0.11915379521835773</c:v>
                </c:pt>
                <c:pt idx="37">
                  <c:v>0.12086802011478495</c:v>
                </c:pt>
                <c:pt idx="38">
                  <c:v>0.12112937696313206</c:v>
                </c:pt>
                <c:pt idx="39">
                  <c:v>0.1263958596757035</c:v>
                </c:pt>
                <c:pt idx="40">
                  <c:v>0.1266207394697667</c:v>
                </c:pt>
                <c:pt idx="41">
                  <c:v>0.13007046082955373</c:v>
                </c:pt>
                <c:pt idx="42">
                  <c:v>0.12324106412720143</c:v>
                </c:pt>
                <c:pt idx="43">
                  <c:v>0.13317670713972504</c:v>
                </c:pt>
                <c:pt idx="44">
                  <c:v>0.13308241894639855</c:v>
                </c:pt>
                <c:pt idx="45">
                  <c:v>0.1379099028736578</c:v>
                </c:pt>
                <c:pt idx="46">
                  <c:v>0.12989999692529366</c:v>
                </c:pt>
                <c:pt idx="47">
                  <c:v>0.13102992160626695</c:v>
                </c:pt>
                <c:pt idx="48">
                  <c:v>0.13548235703521425</c:v>
                </c:pt>
                <c:pt idx="49">
                  <c:v>0.14179383218583064</c:v>
                </c:pt>
                <c:pt idx="50">
                  <c:v>0.14317978942772705</c:v>
                </c:pt>
                <c:pt idx="51">
                  <c:v>0.13368646697030379</c:v>
                </c:pt>
                <c:pt idx="52">
                  <c:v>0.15004161277137068</c:v>
                </c:pt>
                <c:pt idx="53">
                  <c:v>0.15004161277137068</c:v>
                </c:pt>
                <c:pt idx="54">
                  <c:v>0.135746047073911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ve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742307692307692"/>
          <c:min val="0.0497106918238993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7.9855</c:v>
                </c:pt>
                <c:pt idx="1">
                  <c:v>855.3404</c:v>
                </c:pt>
                <c:pt idx="2">
                  <c:v>889.698</c:v>
                </c:pt>
                <c:pt idx="3">
                  <c:v>904.0655</c:v>
                </c:pt>
                <c:pt idx="4">
                  <c:v>903.4781</c:v>
                </c:pt>
                <c:pt idx="5">
                  <c:v>880.8881</c:v>
                </c:pt>
                <c:pt idx="6">
                  <c:v>840.9628</c:v>
                </c:pt>
                <c:pt idx="7">
                  <c:v>845.2156</c:v>
                </c:pt>
                <c:pt idx="8">
                  <c:v>839.7329</c:v>
                </c:pt>
                <c:pt idx="9">
                  <c:v>830.6584</c:v>
                </c:pt>
                <c:pt idx="10">
                  <c:v>791.1353</c:v>
                </c:pt>
                <c:pt idx="11">
                  <c:v>803.743</c:v>
                </c:pt>
                <c:pt idx="12">
                  <c:v>823.1874</c:v>
                </c:pt>
                <c:pt idx="13">
                  <c:v>804.9157</c:v>
                </c:pt>
                <c:pt idx="14">
                  <c:v>887.3465</c:v>
                </c:pt>
                <c:pt idx="15">
                  <c:v>898.6747</c:v>
                </c:pt>
                <c:pt idx="16">
                  <c:v>922.2058</c:v>
                </c:pt>
                <c:pt idx="17">
                  <c:v>929.2605</c:v>
                </c:pt>
                <c:pt idx="18">
                  <c:v>953.0339</c:v>
                </c:pt>
                <c:pt idx="19">
                  <c:v>943.1984</c:v>
                </c:pt>
                <c:pt idx="20">
                  <c:v>982.3711</c:v>
                </c:pt>
                <c:pt idx="21">
                  <c:v>1000.3374</c:v>
                </c:pt>
                <c:pt idx="22">
                  <c:v>971.1642</c:v>
                </c:pt>
                <c:pt idx="23">
                  <c:v>977.802</c:v>
                </c:pt>
                <c:pt idx="24">
                  <c:v>1001.0362</c:v>
                </c:pt>
                <c:pt idx="25">
                  <c:v>976.5825</c:v>
                </c:pt>
                <c:pt idx="26">
                  <c:v>948.2154</c:v>
                </c:pt>
                <c:pt idx="27">
                  <c:v>992.5855</c:v>
                </c:pt>
                <c:pt idx="28">
                  <c:v>986.0331</c:v>
                </c:pt>
                <c:pt idx="29">
                  <c:v>967.2592</c:v>
                </c:pt>
                <c:pt idx="30">
                  <c:v>962.5954</c:v>
                </c:pt>
                <c:pt idx="31">
                  <c:v>977.165</c:v>
                </c:pt>
                <c:pt idx="32">
                  <c:v>958.183</c:v>
                </c:pt>
                <c:pt idx="33">
                  <c:v>946.4541</c:v>
                </c:pt>
                <c:pt idx="34">
                  <c:v>937.1511</c:v>
                </c:pt>
                <c:pt idx="35">
                  <c:v>988.3068</c:v>
                </c:pt>
                <c:pt idx="36">
                  <c:v>1057.0521</c:v>
                </c:pt>
                <c:pt idx="37">
                  <c:v>1092.4684</c:v>
                </c:pt>
                <c:pt idx="38">
                  <c:v>1111.1322</c:v>
                </c:pt>
                <c:pt idx="39">
                  <c:v>1130.0316</c:v>
                </c:pt>
                <c:pt idx="40">
                  <c:v>1141.7033</c:v>
                </c:pt>
                <c:pt idx="41">
                  <c:v>1158.0798</c:v>
                </c:pt>
                <c:pt idx="42">
                  <c:v>1173.6021</c:v>
                </c:pt>
                <c:pt idx="43">
                  <c:v>1180.886</c:v>
                </c:pt>
                <c:pt idx="44">
                  <c:v>1117.3461</c:v>
                </c:pt>
                <c:pt idx="45">
                  <c:v>1086.4217</c:v>
                </c:pt>
                <c:pt idx="46">
                  <c:v>1075.2143</c:v>
                </c:pt>
                <c:pt idx="47">
                  <c:v>1051.184</c:v>
                </c:pt>
                <c:pt idx="48">
                  <c:v>1051.2865</c:v>
                </c:pt>
                <c:pt idx="49">
                  <c:v>1009.0117</c:v>
                </c:pt>
                <c:pt idx="50">
                  <c:v>1002.1689</c:v>
                </c:pt>
                <c:pt idx="51">
                  <c:v>1015.7357</c:v>
                </c:pt>
                <c:pt idx="52">
                  <c:v>1023.5108</c:v>
                </c:pt>
                <c:pt idx="53">
                  <c:v>1125.9647</c:v>
                </c:pt>
                <c:pt idx="54">
                  <c:v>1109.0469</c:v>
                </c:pt>
                <c:pt idx="55">
                  <c:v>1112.28</c:v>
                </c:pt>
                <c:pt idx="56">
                  <c:v>1122.3024</c:v>
                </c:pt>
                <c:pt idx="57">
                  <c:v>1110.3562</c:v>
                </c:pt>
                <c:pt idx="58">
                  <c:v>1056.077</c:v>
                </c:pt>
                <c:pt idx="59">
                  <c:v>1063.4772</c:v>
                </c:pt>
                <c:pt idx="60">
                  <c:v>1076.196</c:v>
                </c:pt>
                <c:pt idx="61">
                  <c:v>1076.1702</c:v>
                </c:pt>
                <c:pt idx="62">
                  <c:v>1002.0</c:v>
                </c:pt>
                <c:pt idx="63">
                  <c:v>1032.9111</c:v>
                </c:pt>
                <c:pt idx="64">
                  <c:v>1042.763</c:v>
                </c:pt>
                <c:pt idx="65">
                  <c:v>1027.0552</c:v>
                </c:pt>
                <c:pt idx="66">
                  <c:v>1045.5811</c:v>
                </c:pt>
                <c:pt idx="67">
                  <c:v>1073.3012</c:v>
                </c:pt>
                <c:pt idx="68">
                  <c:v>1078.7461</c:v>
                </c:pt>
                <c:pt idx="69">
                  <c:v>1117.0591</c:v>
                </c:pt>
                <c:pt idx="70">
                  <c:v>1101.6989</c:v>
                </c:pt>
                <c:pt idx="71">
                  <c:v>1156.6236</c:v>
                </c:pt>
                <c:pt idx="72">
                  <c:v>1231.2126</c:v>
                </c:pt>
                <c:pt idx="73">
                  <c:v>1201.6633</c:v>
                </c:pt>
                <c:pt idx="74">
                  <c:v>1189.1553</c:v>
                </c:pt>
                <c:pt idx="75">
                  <c:v>1182.023</c:v>
                </c:pt>
                <c:pt idx="76">
                  <c:v>1128.7823</c:v>
                </c:pt>
                <c:pt idx="77">
                  <c:v>1127.2612</c:v>
                </c:pt>
                <c:pt idx="78">
                  <c:v>1146.9253</c:v>
                </c:pt>
                <c:pt idx="79">
                  <c:v>1156.7316</c:v>
                </c:pt>
                <c:pt idx="80">
                  <c:v>1161.0435</c:v>
                </c:pt>
                <c:pt idx="81">
                  <c:v>1181.9474</c:v>
                </c:pt>
                <c:pt idx="82">
                  <c:v>1171.1731</c:v>
                </c:pt>
                <c:pt idx="83">
                  <c:v>1145.2532</c:v>
                </c:pt>
                <c:pt idx="84">
                  <c:v>1168.0232</c:v>
                </c:pt>
                <c:pt idx="85">
                  <c:v>1147.3824</c:v>
                </c:pt>
                <c:pt idx="86">
                  <c:v>1119.6667</c:v>
                </c:pt>
                <c:pt idx="87">
                  <c:v>1132.879</c:v>
                </c:pt>
                <c:pt idx="88">
                  <c:v>1181.1838</c:v>
                </c:pt>
                <c:pt idx="89">
                  <c:v>1169.3507</c:v>
                </c:pt>
                <c:pt idx="90">
                  <c:v>1244.3134</c:v>
                </c:pt>
                <c:pt idx="91">
                  <c:v>1253.3706</c:v>
                </c:pt>
                <c:pt idx="92">
                  <c:v>1195.8637</c:v>
                </c:pt>
                <c:pt idx="93">
                  <c:v>1236.1186</c:v>
                </c:pt>
                <c:pt idx="94">
                  <c:v>1236.0857</c:v>
                </c:pt>
                <c:pt idx="95">
                  <c:v>1203.9583</c:v>
                </c:pt>
                <c:pt idx="96">
                  <c:v>1132.7361</c:v>
                </c:pt>
                <c:pt idx="97">
                  <c:v>1131.0107</c:v>
                </c:pt>
                <c:pt idx="98">
                  <c:v>1120.3529</c:v>
                </c:pt>
                <c:pt idx="99">
                  <c:v>1083.4457</c:v>
                </c:pt>
                <c:pt idx="100">
                  <c:v>1089.9572</c:v>
                </c:pt>
                <c:pt idx="101">
                  <c:v>1127.602</c:v>
                </c:pt>
                <c:pt idx="102">
                  <c:v>1128.1704</c:v>
                </c:pt>
                <c:pt idx="103">
                  <c:v>1097.0673</c:v>
                </c:pt>
                <c:pt idx="104">
                  <c:v>1118.95</c:v>
                </c:pt>
              </c:numCache>
            </c:numRef>
          </c:xVal>
          <c:yVal>
            <c:numRef>
              <c:f>Sheet1!$B$2:$B$106</c:f>
              <c:numCache>
                <c:formatCode>General</c:formatCode>
                <c:ptCount val="105"/>
                <c:pt idx="0">
                  <c:v>0.11896848842934515</c:v>
                </c:pt>
                <c:pt idx="1">
                  <c:v>0.10215736040609137</c:v>
                </c:pt>
                <c:pt idx="2">
                  <c:v>0.1050759415052792</c:v>
                </c:pt>
                <c:pt idx="3">
                  <c:v>0.10579283259695631</c:v>
                </c:pt>
                <c:pt idx="4">
                  <c:v>0.11008897602171618</c:v>
                </c:pt>
                <c:pt idx="5">
                  <c:v>0.1327621443169313</c:v>
                </c:pt>
                <c:pt idx="6">
                  <c:v>0.15625</c:v>
                </c:pt>
                <c:pt idx="7">
                  <c:v>0.15930018416206262</c:v>
                </c:pt>
                <c:pt idx="8">
                  <c:v>0.16451923076923078</c:v>
                </c:pt>
                <c:pt idx="9">
                  <c:v>0.1457197479289103</c:v>
                </c:pt>
                <c:pt idx="10">
                  <c:v>0.15560265262870035</c:v>
                </c:pt>
                <c:pt idx="11">
                  <c:v>0.15032990952996395</c:v>
                </c:pt>
                <c:pt idx="12">
                  <c:v>0.13436660208736953</c:v>
                </c:pt>
                <c:pt idx="13">
                  <c:v>0.12287970995727049</c:v>
                </c:pt>
                <c:pt idx="14">
                  <c:v>0.0973673766371213</c:v>
                </c:pt>
                <c:pt idx="15">
                  <c:v>0.08354044736631124</c:v>
                </c:pt>
                <c:pt idx="16">
                  <c:v>0.0801593920859976</c:v>
                </c:pt>
                <c:pt idx="17">
                  <c:v>0.07279731331489529</c:v>
                </c:pt>
                <c:pt idx="18">
                  <c:v>0.06708572667172429</c:v>
                </c:pt>
                <c:pt idx="19">
                  <c:v>0.062138364779874215</c:v>
                </c:pt>
                <c:pt idx="20">
                  <c:v>0.06312843370996164</c:v>
                </c:pt>
                <c:pt idx="21">
                  <c:v>0.06225631995975349</c:v>
                </c:pt>
                <c:pt idx="22">
                  <c:v>0.06519065190651907</c:v>
                </c:pt>
                <c:pt idx="23">
                  <c:v>0.07551546391752577</c:v>
                </c:pt>
                <c:pt idx="24">
                  <c:v>0.07444314185228605</c:v>
                </c:pt>
                <c:pt idx="25">
                  <c:v>0.07913669064748201</c:v>
                </c:pt>
                <c:pt idx="26">
                  <c:v>0.09623115577889448</c:v>
                </c:pt>
                <c:pt idx="27">
                  <c:v>0.10035798049623504</c:v>
                </c:pt>
                <c:pt idx="28">
                  <c:v>0.1226345539444581</c:v>
                </c:pt>
                <c:pt idx="29">
                  <c:v>0.1183000317158262</c:v>
                </c:pt>
                <c:pt idx="30">
                  <c:v>0.116016713091922</c:v>
                </c:pt>
                <c:pt idx="31">
                  <c:v>0.12250635961976168</c:v>
                </c:pt>
                <c:pt idx="32">
                  <c:v>0.13260510605868156</c:v>
                </c:pt>
                <c:pt idx="33">
                  <c:v>0.12173218918379565</c:v>
                </c:pt>
                <c:pt idx="34">
                  <c:v>0.12263707326248471</c:v>
                </c:pt>
                <c:pt idx="35">
                  <c:v>0.13272727272727272</c:v>
                </c:pt>
                <c:pt idx="36">
                  <c:v>0.11613358894158006</c:v>
                </c:pt>
                <c:pt idx="37">
                  <c:v>0.11009998876530727</c:v>
                </c:pt>
                <c:pt idx="38">
                  <c:v>0.10718269016283738</c:v>
                </c:pt>
                <c:pt idx="39">
                  <c:v>0.10073044297832234</c:v>
                </c:pt>
                <c:pt idx="40">
                  <c:v>0.10093692649473583</c:v>
                </c:pt>
                <c:pt idx="41">
                  <c:v>0.10222873286596212</c:v>
                </c:pt>
                <c:pt idx="42">
                  <c:v>0.1007912245998921</c:v>
                </c:pt>
                <c:pt idx="43">
                  <c:v>0.09560723514211886</c:v>
                </c:pt>
                <c:pt idx="44">
                  <c:v>0.10145497443963822</c:v>
                </c:pt>
                <c:pt idx="45">
                  <c:v>0.11657355679702049</c:v>
                </c:pt>
                <c:pt idx="46">
                  <c:v>0.12104588567034094</c:v>
                </c:pt>
                <c:pt idx="47">
                  <c:v>0.11573954735268341</c:v>
                </c:pt>
                <c:pt idx="48">
                  <c:v>0.11292336802270578</c:v>
                </c:pt>
                <c:pt idx="49">
                  <c:v>0.12055868659642245</c:v>
                </c:pt>
                <c:pt idx="50">
                  <c:v>0.1158253329204088</c:v>
                </c:pt>
                <c:pt idx="51">
                  <c:v>0.10993361349655886</c:v>
                </c:pt>
                <c:pt idx="52">
                  <c:v>0.1082557353170681</c:v>
                </c:pt>
                <c:pt idx="53">
                  <c:v>0.09893880663404715</c:v>
                </c:pt>
                <c:pt idx="54">
                  <c:v>0.10012941897690893</c:v>
                </c:pt>
                <c:pt idx="55">
                  <c:v>0.09788840721577402</c:v>
                </c:pt>
                <c:pt idx="56">
                  <c:v>0.1028030734206033</c:v>
                </c:pt>
                <c:pt idx="57">
                  <c:v>0.09741550695825049</c:v>
                </c:pt>
                <c:pt idx="58">
                  <c:v>0.11172437834069254</c:v>
                </c:pt>
                <c:pt idx="59">
                  <c:v>0.10297456420517952</c:v>
                </c:pt>
                <c:pt idx="60">
                  <c:v>0.10522660184059733</c:v>
                </c:pt>
                <c:pt idx="61">
                  <c:v>0.1114169459071326</c:v>
                </c:pt>
                <c:pt idx="62">
                  <c:v>0.1224251619303262</c:v>
                </c:pt>
                <c:pt idx="63">
                  <c:v>0.12486590860330402</c:v>
                </c:pt>
                <c:pt idx="64">
                  <c:v>0.1182589652340542</c:v>
                </c:pt>
                <c:pt idx="65">
                  <c:v>0.1196166656927482</c:v>
                </c:pt>
                <c:pt idx="66">
                  <c:v>0.11864406779661017</c:v>
                </c:pt>
                <c:pt idx="67">
                  <c:v>0.11102030552586911</c:v>
                </c:pt>
                <c:pt idx="68">
                  <c:v>0.10039048633297834</c:v>
                </c:pt>
                <c:pt idx="69">
                  <c:v>0.09225365132187095</c:v>
                </c:pt>
                <c:pt idx="70">
                  <c:v>0.09634809634809635</c:v>
                </c:pt>
                <c:pt idx="71">
                  <c:v>0.09124663510628422</c:v>
                </c:pt>
                <c:pt idx="72">
                  <c:v>0.09001506157526358</c:v>
                </c:pt>
                <c:pt idx="73">
                  <c:v>0.09159312587087784</c:v>
                </c:pt>
                <c:pt idx="74">
                  <c:v>0.0950654403961797</c:v>
                </c:pt>
                <c:pt idx="75">
                  <c:v>0.1005668696199874</c:v>
                </c:pt>
                <c:pt idx="76">
                  <c:v>0.10813811479960031</c:v>
                </c:pt>
                <c:pt idx="77">
                  <c:v>0.10111085921559737</c:v>
                </c:pt>
                <c:pt idx="78">
                  <c:v>0.10998038254046101</c:v>
                </c:pt>
                <c:pt idx="79">
                  <c:v>0.10404028842852238</c:v>
                </c:pt>
                <c:pt idx="80">
                  <c:v>0.1010171058714748</c:v>
                </c:pt>
                <c:pt idx="81">
                  <c:v>0.09768397459843108</c:v>
                </c:pt>
                <c:pt idx="82">
                  <c:v>0.0993003559592488</c:v>
                </c:pt>
                <c:pt idx="83">
                  <c:v>0.09755761004553608</c:v>
                </c:pt>
                <c:pt idx="84">
                  <c:v>0.09679685304860916</c:v>
                </c:pt>
                <c:pt idx="85">
                  <c:v>0.10017186349128407</c:v>
                </c:pt>
                <c:pt idx="86">
                  <c:v>0.11238293444328824</c:v>
                </c:pt>
                <c:pt idx="87">
                  <c:v>0.11858608893956671</c:v>
                </c:pt>
                <c:pt idx="88">
                  <c:v>0.10975040821087008</c:v>
                </c:pt>
                <c:pt idx="89">
                  <c:v>0.11405642023346303</c:v>
                </c:pt>
                <c:pt idx="90">
                  <c:v>0.09969001859888407</c:v>
                </c:pt>
                <c:pt idx="91">
                  <c:v>0.09940814107984056</c:v>
                </c:pt>
                <c:pt idx="92">
                  <c:v>0.10789865871833085</c:v>
                </c:pt>
                <c:pt idx="93">
                  <c:v>0.1051984877126654</c:v>
                </c:pt>
                <c:pt idx="94">
                  <c:v>0.10679611650485436</c:v>
                </c:pt>
                <c:pt idx="95">
                  <c:v>0.10736944851146901</c:v>
                </c:pt>
                <c:pt idx="96">
                  <c:v>0.10914285714285714</c:v>
                </c:pt>
                <c:pt idx="97">
                  <c:v>0.1106441859273305</c:v>
                </c:pt>
                <c:pt idx="98">
                  <c:v>0.10942194717251895</c:v>
                </c:pt>
                <c:pt idx="99">
                  <c:v>0.11188295560384974</c:v>
                </c:pt>
                <c:pt idx="100">
                  <c:v>0.11848436824665033</c:v>
                </c:pt>
                <c:pt idx="101">
                  <c:v>0.11371447935324587</c:v>
                </c:pt>
                <c:pt idx="102">
                  <c:v>0.1126475146024556</c:v>
                </c:pt>
                <c:pt idx="103">
                  <c:v>0.11297735913295126</c:v>
                </c:pt>
                <c:pt idx="104">
                  <c:v>0.1104825291181364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7.6457</c:v>
                </c:pt>
                <c:pt idx="1">
                  <c:v>1177.1248</c:v>
                </c:pt>
                <c:pt idx="2">
                  <c:v>1172.8809</c:v>
                </c:pt>
                <c:pt idx="3">
                  <c:v>1116.1729</c:v>
                </c:pt>
                <c:pt idx="4">
                  <c:v>1171.105</c:v>
                </c:pt>
                <c:pt idx="5">
                  <c:v>1181.7267</c:v>
                </c:pt>
                <c:pt idx="6">
                  <c:v>1111.0839</c:v>
                </c:pt>
                <c:pt idx="7">
                  <c:v>1105.3962</c:v>
                </c:pt>
                <c:pt idx="8">
                  <c:v>1174.7979</c:v>
                </c:pt>
                <c:pt idx="9">
                  <c:v>1121.5102</c:v>
                </c:pt>
                <c:pt idx="10">
                  <c:v>1128.8003</c:v>
                </c:pt>
                <c:pt idx="11">
                  <c:v>1048.8794</c:v>
                </c:pt>
                <c:pt idx="12">
                  <c:v>1081.1237</c:v>
                </c:pt>
                <c:pt idx="13">
                  <c:v>1108.1894</c:v>
                </c:pt>
                <c:pt idx="14">
                  <c:v>1115.3633</c:v>
                </c:pt>
                <c:pt idx="15">
                  <c:v>1116.6884</c:v>
                </c:pt>
                <c:pt idx="16">
                  <c:v>1161.8054</c:v>
                </c:pt>
                <c:pt idx="17">
                  <c:v>1065.4091</c:v>
                </c:pt>
                <c:pt idx="18">
                  <c:v>1159.454</c:v>
                </c:pt>
                <c:pt idx="19">
                  <c:v>1276.5293</c:v>
                </c:pt>
                <c:pt idx="20">
                  <c:v>1266.8846</c:v>
                </c:pt>
                <c:pt idx="21">
                  <c:v>1224.3024</c:v>
                </c:pt>
                <c:pt idx="22">
                  <c:v>1215.4131</c:v>
                </c:pt>
                <c:pt idx="23">
                  <c:v>1207.7573</c:v>
                </c:pt>
                <c:pt idx="24">
                  <c:v>1229.3848</c:v>
                </c:pt>
                <c:pt idx="25">
                  <c:v>1196.3695</c:v>
                </c:pt>
                <c:pt idx="26">
                  <c:v>1177.7754</c:v>
                </c:pt>
                <c:pt idx="27">
                  <c:v>1189.9329</c:v>
                </c:pt>
                <c:pt idx="28">
                  <c:v>1221.5323</c:v>
                </c:pt>
                <c:pt idx="29">
                  <c:v>1215.436</c:v>
                </c:pt>
                <c:pt idx="30">
                  <c:v>1218.5536</c:v>
                </c:pt>
                <c:pt idx="31">
                  <c:v>1223.7136</c:v>
                </c:pt>
                <c:pt idx="32">
                  <c:v>1235.4447</c:v>
                </c:pt>
                <c:pt idx="33">
                  <c:v>1210.9757</c:v>
                </c:pt>
                <c:pt idx="34">
                  <c:v>1217.608</c:v>
                </c:pt>
                <c:pt idx="35">
                  <c:v>1257.2662</c:v>
                </c:pt>
                <c:pt idx="36">
                  <c:v>1289.7456</c:v>
                </c:pt>
                <c:pt idx="37">
                  <c:v>1276.3705</c:v>
                </c:pt>
                <c:pt idx="38">
                  <c:v>1287.5255</c:v>
                </c:pt>
                <c:pt idx="39">
                  <c:v>1237.1239</c:v>
                </c:pt>
                <c:pt idx="40">
                  <c:v>1257.5632</c:v>
                </c:pt>
                <c:pt idx="41">
                  <c:v>1286.865</c:v>
                </c:pt>
                <c:pt idx="42">
                  <c:v>1283.2174</c:v>
                </c:pt>
                <c:pt idx="43">
                  <c:v>1287.1337</c:v>
                </c:pt>
                <c:pt idx="44">
                  <c:v>1219.4646</c:v>
                </c:pt>
                <c:pt idx="45">
                  <c:v>1180.2063</c:v>
                </c:pt>
                <c:pt idx="46">
                  <c:v>1169.2071</c:v>
                </c:pt>
                <c:pt idx="47">
                  <c:v>1150.822</c:v>
                </c:pt>
                <c:pt idx="48">
                  <c:v>1136.5305</c:v>
                </c:pt>
                <c:pt idx="49">
                  <c:v>1141.5541</c:v>
                </c:pt>
                <c:pt idx="50">
                  <c:v>1111.2317</c:v>
                </c:pt>
                <c:pt idx="51">
                  <c:v>1099.7544</c:v>
                </c:pt>
              </c:numCache>
            </c:numRef>
          </c:xVal>
          <c:yVal>
            <c:numRef>
              <c:f>Sheet1!$B$109:$B$160</c:f>
              <c:numCache>
                <c:formatCode>General</c:formatCode>
                <c:ptCount val="52"/>
                <c:pt idx="0">
                  <c:v>0.11244691668161971</c:v>
                </c:pt>
                <c:pt idx="1">
                  <c:v>0.10773805836069636</c:v>
                </c:pt>
                <c:pt idx="2">
                  <c:v>0.12557179515787126</c:v>
                </c:pt>
                <c:pt idx="3">
                  <c:v>0.14269586814179272</c:v>
                </c:pt>
                <c:pt idx="4">
                  <c:v>0.12219994270982526</c:v>
                </c:pt>
                <c:pt idx="5">
                  <c:v>0.12453797543817813</c:v>
                </c:pt>
                <c:pt idx="6">
                  <c:v>0.13373069628826875</c:v>
                </c:pt>
                <c:pt idx="7">
                  <c:v>0.14016351182146278</c:v>
                </c:pt>
                <c:pt idx="8">
                  <c:v>0.12179070523236919</c:v>
                </c:pt>
                <c:pt idx="9">
                  <c:v>0.13084326306141156</c:v>
                </c:pt>
                <c:pt idx="10">
                  <c:v>0.1377449168207024</c:v>
                </c:pt>
                <c:pt idx="11">
                  <c:v>0.13321432556063817</c:v>
                </c:pt>
                <c:pt idx="12">
                  <c:v>0.13040138275398502</c:v>
                </c:pt>
                <c:pt idx="13">
                  <c:v>0.1251391526422631</c:v>
                </c:pt>
                <c:pt idx="14">
                  <c:v>0.12566922297786137</c:v>
                </c:pt>
                <c:pt idx="15">
                  <c:v>0.12627492769066828</c:v>
                </c:pt>
                <c:pt idx="16">
                  <c:v>0.11987162806834938</c:v>
                </c:pt>
                <c:pt idx="17">
                  <c:v>0.1311179338992234</c:v>
                </c:pt>
                <c:pt idx="18">
                  <c:v>0.12306377523768829</c:v>
                </c:pt>
                <c:pt idx="19">
                  <c:v>0.1133887898593781</c:v>
                </c:pt>
                <c:pt idx="20">
                  <c:v>0.10356500581825875</c:v>
                </c:pt>
                <c:pt idx="21">
                  <c:v>0.10847995766635798</c:v>
                </c:pt>
                <c:pt idx="22">
                  <c:v>0.11260018394429115</c:v>
                </c:pt>
                <c:pt idx="23">
                  <c:v>0.1124674255931971</c:v>
                </c:pt>
                <c:pt idx="24">
                  <c:v>0.11437578814627995</c:v>
                </c:pt>
                <c:pt idx="25">
                  <c:v>0.11745558117455582</c:v>
                </c:pt>
                <c:pt idx="26">
                  <c:v>0.11130456410894167</c:v>
                </c:pt>
                <c:pt idx="27">
                  <c:v>0.115748031496063</c:v>
                </c:pt>
                <c:pt idx="28">
                  <c:v>0.10853023628354025</c:v>
                </c:pt>
                <c:pt idx="29">
                  <c:v>0.11010269882971101</c:v>
                </c:pt>
                <c:pt idx="30">
                  <c:v>0.11395087894277521</c:v>
                </c:pt>
                <c:pt idx="31">
                  <c:v>0.11002804112698625</c:v>
                </c:pt>
                <c:pt idx="32">
                  <c:v>0.10702263493905978</c:v>
                </c:pt>
                <c:pt idx="33">
                  <c:v>0.12787082539364156</c:v>
                </c:pt>
                <c:pt idx="34">
                  <c:v>0.13615101904443702</c:v>
                </c:pt>
                <c:pt idx="35">
                  <c:v>0.136327185244587</c:v>
                </c:pt>
                <c:pt idx="36">
                  <c:v>0.12400939242735544</c:v>
                </c:pt>
                <c:pt idx="37">
                  <c:v>0.11997920187183153</c:v>
                </c:pt>
                <c:pt idx="38">
                  <c:v>0.12323087919942816</c:v>
                </c:pt>
                <c:pt idx="39">
                  <c:v>0.13048597730678654</c:v>
                </c:pt>
                <c:pt idx="40">
                  <c:v>0.12352879908342881</c:v>
                </c:pt>
                <c:pt idx="41">
                  <c:v>0.12875662934590454</c:v>
                </c:pt>
                <c:pt idx="42">
                  <c:v>0.12409160977758203</c:v>
                </c:pt>
                <c:pt idx="43">
                  <c:v>0.11939594148183105</c:v>
                </c:pt>
                <c:pt idx="44">
                  <c:v>0.11820958958693054</c:v>
                </c:pt>
                <c:pt idx="45">
                  <c:v>0.12854775222705614</c:v>
                </c:pt>
                <c:pt idx="46">
                  <c:v>0.14696623665205852</c:v>
                </c:pt>
                <c:pt idx="47">
                  <c:v>0.1445496254137871</c:v>
                </c:pt>
                <c:pt idx="48">
                  <c:v>0.14861535429190895</c:v>
                </c:pt>
                <c:pt idx="49">
                  <c:v>0.15222417460464255</c:v>
                </c:pt>
                <c:pt idx="50">
                  <c:v>0.15457490373449057</c:v>
                </c:pt>
                <c:pt idx="51">
                  <c:v>0.14475201845444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34.6565536669865</c:v>
                </c:pt>
              </c:numCache>
            </c:numRef>
          </c:xVal>
          <c:yVal>
            <c:numRef>
              <c:f>Sheet1!$B$163:$B$164</c:f>
              <c:numCache>
                <c:formatCode>General</c:formatCode>
                <c:ptCount val="2"/>
                <c:pt idx="0">
                  <c:v>0.15004161277137068</c:v>
                </c:pt>
                <c:pt idx="1">
                  <c:v>0.1500416127713706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34.6565536669865</c:v>
                </c:pt>
                <c:pt idx="1">
                  <c:v>934.6565536669865</c:v>
                </c:pt>
              </c:numCache>
            </c:numRef>
          </c:xVal>
          <c:yVal>
            <c:numRef>
              <c:f>Sheet1!$B$167:$B$168</c:f>
              <c:numCache>
                <c:formatCode>General</c:formatCode>
                <c:ptCount val="2"/>
                <c:pt idx="0">
                  <c:v>0.1500416127713706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34.6565536669865</c:v>
                </c:pt>
              </c:numCache>
            </c:numRef>
          </c:xVal>
          <c:yVal>
            <c:numRef>
              <c:f>Sheet1!$B$171:$B$172</c:f>
              <c:numCache>
                <c:formatCode>General</c:formatCode>
                <c:ptCount val="2"/>
                <c:pt idx="0">
                  <c:v>0.15004161277137068</c:v>
                </c:pt>
                <c:pt idx="1">
                  <c:v>0.1500416127713706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34.6565536669865</c:v>
                </c:pt>
                <c:pt idx="1">
                  <c:v>934.6565536669865</c:v>
                </c:pt>
              </c:numCache>
            </c:numRef>
          </c:xVal>
          <c:yVal>
            <c:numRef>
              <c:f>Sheet1!$B$175:$B$176</c:f>
              <c:numCache>
                <c:formatCode>General</c:formatCode>
                <c:ptCount val="2"/>
                <c:pt idx="0">
                  <c:v>0.1500416127713706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78.776462658033</c:v>
                </c:pt>
              </c:numCache>
            </c:numRef>
          </c:xVal>
          <c:yVal>
            <c:numRef>
              <c:f>Sheet1!$B$179:$B$180</c:f>
              <c:numCache>
                <c:formatCode>General</c:formatCode>
                <c:ptCount val="2"/>
                <c:pt idx="0">
                  <c:v>0.13574604707391139</c:v>
                </c:pt>
                <c:pt idx="1">
                  <c:v>0.1357460470739113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78.776462658033</c:v>
                </c:pt>
                <c:pt idx="1">
                  <c:v>1078.776462658033</c:v>
                </c:pt>
              </c:numCache>
            </c:numRef>
          </c:xVal>
          <c:yVal>
            <c:numRef>
              <c:f>Sheet1!$B$183:$B$184</c:f>
              <c:numCache>
                <c:formatCode>General</c:formatCode>
                <c:ptCount val="2"/>
                <c:pt idx="0">
                  <c:v>0.1357460470739113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7.6457</c:v>
                </c:pt>
                <c:pt idx="1">
                  <c:v>1177.1248</c:v>
                </c:pt>
                <c:pt idx="2">
                  <c:v>1172.8809</c:v>
                </c:pt>
                <c:pt idx="3">
                  <c:v>1116.1729</c:v>
                </c:pt>
                <c:pt idx="4">
                  <c:v>1171.105</c:v>
                </c:pt>
                <c:pt idx="5">
                  <c:v>1181.7267</c:v>
                </c:pt>
                <c:pt idx="6">
                  <c:v>1111.0839</c:v>
                </c:pt>
                <c:pt idx="7">
                  <c:v>1105.3962</c:v>
                </c:pt>
                <c:pt idx="8">
                  <c:v>1174.7979</c:v>
                </c:pt>
                <c:pt idx="9">
                  <c:v>1121.5102</c:v>
                </c:pt>
                <c:pt idx="10">
                  <c:v>1128.8003</c:v>
                </c:pt>
                <c:pt idx="11">
                  <c:v>1048.8794</c:v>
                </c:pt>
                <c:pt idx="12">
                  <c:v>1081.1237</c:v>
                </c:pt>
                <c:pt idx="13">
                  <c:v>1108.1894</c:v>
                </c:pt>
                <c:pt idx="14">
                  <c:v>1115.3633</c:v>
                </c:pt>
                <c:pt idx="15">
                  <c:v>1116.6884</c:v>
                </c:pt>
                <c:pt idx="16">
                  <c:v>1161.8054</c:v>
                </c:pt>
                <c:pt idx="17">
                  <c:v>1065.4091</c:v>
                </c:pt>
                <c:pt idx="18">
                  <c:v>1159.454</c:v>
                </c:pt>
                <c:pt idx="19">
                  <c:v>1276.5293</c:v>
                </c:pt>
                <c:pt idx="20">
                  <c:v>1266.8846</c:v>
                </c:pt>
                <c:pt idx="21">
                  <c:v>1224.3024</c:v>
                </c:pt>
                <c:pt idx="22">
                  <c:v>1215.4131</c:v>
                </c:pt>
                <c:pt idx="23">
                  <c:v>1207.7573</c:v>
                </c:pt>
                <c:pt idx="24">
                  <c:v>1229.3848</c:v>
                </c:pt>
                <c:pt idx="25">
                  <c:v>1196.3695</c:v>
                </c:pt>
                <c:pt idx="26">
                  <c:v>1177.7754</c:v>
                </c:pt>
                <c:pt idx="27">
                  <c:v>1189.9329</c:v>
                </c:pt>
                <c:pt idx="28">
                  <c:v>1221.5323</c:v>
                </c:pt>
                <c:pt idx="29">
                  <c:v>1215.436</c:v>
                </c:pt>
                <c:pt idx="30">
                  <c:v>1218.5536</c:v>
                </c:pt>
                <c:pt idx="31">
                  <c:v>1223.7136</c:v>
                </c:pt>
                <c:pt idx="32">
                  <c:v>1235.4447</c:v>
                </c:pt>
                <c:pt idx="33">
                  <c:v>1210.9757</c:v>
                </c:pt>
                <c:pt idx="34">
                  <c:v>1217.608</c:v>
                </c:pt>
                <c:pt idx="35">
                  <c:v>1257.2662</c:v>
                </c:pt>
                <c:pt idx="36">
                  <c:v>1289.7456</c:v>
                </c:pt>
                <c:pt idx="37">
                  <c:v>1276.3705</c:v>
                </c:pt>
                <c:pt idx="38">
                  <c:v>1287.5255</c:v>
                </c:pt>
                <c:pt idx="39">
                  <c:v>1237.1239</c:v>
                </c:pt>
                <c:pt idx="40">
                  <c:v>1257.5632</c:v>
                </c:pt>
                <c:pt idx="41">
                  <c:v>1286.865</c:v>
                </c:pt>
                <c:pt idx="42">
                  <c:v>1283.2174</c:v>
                </c:pt>
                <c:pt idx="43">
                  <c:v>1287.1337</c:v>
                </c:pt>
                <c:pt idx="44">
                  <c:v>1219.4646</c:v>
                </c:pt>
                <c:pt idx="45">
                  <c:v>1180.2063</c:v>
                </c:pt>
                <c:pt idx="46">
                  <c:v>1169.2071</c:v>
                </c:pt>
                <c:pt idx="47">
                  <c:v>1150.822</c:v>
                </c:pt>
                <c:pt idx="48">
                  <c:v>1136.5305</c:v>
                </c:pt>
                <c:pt idx="49">
                  <c:v>1141.5541</c:v>
                </c:pt>
                <c:pt idx="50">
                  <c:v>1111.2317</c:v>
                </c:pt>
                <c:pt idx="51">
                  <c:v>1099.7544</c:v>
                </c:pt>
                <c:pt idx="52">
                  <c:v>934.6565536669865</c:v>
                </c:pt>
                <c:pt idx="53">
                  <c:v>934.6565536669865</c:v>
                </c:pt>
                <c:pt idx="54">
                  <c:v>1078.776462658033</c:v>
                </c:pt>
              </c:numCache>
            </c:numRef>
          </c:xVal>
          <c:yVal>
            <c:numRef>
              <c:f>Sheet1!$B$187:$B$241</c:f>
              <c:numCache>
                <c:formatCode>General</c:formatCode>
                <c:ptCount val="55"/>
                <c:pt idx="0">
                  <c:v>0.1279228367220325</c:v>
                </c:pt>
                <c:pt idx="1">
                  <c:v>0.12599066263361647</c:v>
                </c:pt>
                <c:pt idx="2">
                  <c:v>0.1264116242598635</c:v>
                </c:pt>
                <c:pt idx="3">
                  <c:v>0.13203661351531665</c:v>
                </c:pt>
                <c:pt idx="4">
                  <c:v>0.12658777962451678</c:v>
                </c:pt>
                <c:pt idx="5">
                  <c:v>0.1255341902125353</c:v>
                </c:pt>
                <c:pt idx="6">
                  <c:v>0.13254140243964832</c:v>
                </c:pt>
                <c:pt idx="7">
                  <c:v>0.133105577712771</c:v>
                </c:pt>
                <c:pt idx="8">
                  <c:v>0.1262214728808217</c:v>
                </c:pt>
                <c:pt idx="9">
                  <c:v>0.13150719517657908</c:v>
                </c:pt>
                <c:pt idx="10">
                  <c:v>0.13078407437931627</c:v>
                </c:pt>
                <c:pt idx="11">
                  <c:v>0.13871160142640213</c:v>
                </c:pt>
                <c:pt idx="12">
                  <c:v>0.1355132195217395</c:v>
                </c:pt>
                <c:pt idx="13">
                  <c:v>0.13282851415933355</c:v>
                </c:pt>
                <c:pt idx="14">
                  <c:v>0.13211691949156718</c:v>
                </c:pt>
                <c:pt idx="15">
                  <c:v>0.1319854799545988</c:v>
                </c:pt>
                <c:pt idx="16">
                  <c:v>0.12751022707602297</c:v>
                </c:pt>
                <c:pt idx="17">
                  <c:v>0.1370719847074936</c:v>
                </c:pt>
                <c:pt idx="18">
                  <c:v>0.12774346753125454</c:v>
                </c:pt>
                <c:pt idx="19">
                  <c:v>0.11613051513337502</c:v>
                </c:pt>
                <c:pt idx="20">
                  <c:v>0.11708719380079527</c:v>
                </c:pt>
                <c:pt idx="21">
                  <c:v>0.1213110143811994</c:v>
                </c:pt>
                <c:pt idx="22">
                  <c:v>0.12219276328767643</c:v>
                </c:pt>
                <c:pt idx="23">
                  <c:v>0.12295215865943876</c:v>
                </c:pt>
                <c:pt idx="24">
                  <c:v>0.12080688012515237</c:v>
                </c:pt>
                <c:pt idx="25">
                  <c:v>0.12408173918852194</c:v>
                </c:pt>
                <c:pt idx="26">
                  <c:v>0.12592612821149615</c:v>
                </c:pt>
                <c:pt idx="27">
                  <c:v>0.12472019947351964</c:v>
                </c:pt>
                <c:pt idx="28">
                  <c:v>0.12158578659564058</c:v>
                </c:pt>
                <c:pt idx="29">
                  <c:v>0.12219049178711303</c:v>
                </c:pt>
                <c:pt idx="30">
                  <c:v>0.12188125029556332</c:v>
                </c:pt>
                <c:pt idx="31">
                  <c:v>0.12136941872756342</c:v>
                </c:pt>
                <c:pt idx="32">
                  <c:v>0.12020578552846195</c:v>
                </c:pt>
                <c:pt idx="33">
                  <c:v>0.12263291859772349</c:v>
                </c:pt>
                <c:pt idx="34">
                  <c:v>0.12197504640616423</c:v>
                </c:pt>
                <c:pt idx="35">
                  <c:v>0.11804126371429338</c:v>
                </c:pt>
                <c:pt idx="36">
                  <c:v>0.1148195617317942</c:v>
                </c:pt>
                <c:pt idx="37">
                  <c:v>0.11614626684907237</c:v>
                </c:pt>
                <c:pt idx="38">
                  <c:v>0.1150397782558478</c:v>
                </c:pt>
                <c:pt idx="39">
                  <c:v>0.12003922204610043</c:v>
                </c:pt>
                <c:pt idx="40">
                  <c:v>0.11801180364148409</c:v>
                </c:pt>
                <c:pt idx="41">
                  <c:v>0.11510529468039504</c:v>
                </c:pt>
                <c:pt idx="42">
                  <c:v>0.11546710801904553</c:v>
                </c:pt>
                <c:pt idx="43">
                  <c:v>0.1150786417458366</c:v>
                </c:pt>
                <c:pt idx="44">
                  <c:v>0.12179088623384861</c:v>
                </c:pt>
                <c:pt idx="45">
                  <c:v>0.12568500197919946</c:v>
                </c:pt>
                <c:pt idx="46">
                  <c:v>0.12677603643321972</c:v>
                </c:pt>
                <c:pt idx="47">
                  <c:v>0.12859969429384666</c:v>
                </c:pt>
                <c:pt idx="48">
                  <c:v>0.13001729911052695</c:v>
                </c:pt>
                <c:pt idx="49">
                  <c:v>0.12951899735374317</c:v>
                </c:pt>
                <c:pt idx="50">
                  <c:v>0.1325267418377587</c:v>
                </c:pt>
                <c:pt idx="51">
                  <c:v>0.13366520006555044</c:v>
                </c:pt>
                <c:pt idx="52">
                  <c:v>0.15004161277137068</c:v>
                </c:pt>
                <c:pt idx="53">
                  <c:v>0.15004161277137068</c:v>
                </c:pt>
                <c:pt idx="54">
                  <c:v>0.1357460470739113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8.0"/>
          <c:min val="61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742307692307692"/>
          <c:min val="0.0497106918238993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011809473232016</c:v>
                </c:pt>
                <c:pt idx="1">
                  <c:v>0.37140755687014604</c:v>
                </c:pt>
                <c:pt idx="2">
                  <c:v>0.4487787766555423</c:v>
                </c:pt>
                <c:pt idx="3">
                  <c:v>0.4496911160642545</c:v>
                </c:pt>
                <c:pt idx="4">
                  <c:v>0.4235130711399745</c:v>
                </c:pt>
                <c:pt idx="5">
                  <c:v>0.45302623754448895</c:v>
                </c:pt>
                <c:pt idx="6">
                  <c:v>0.4164281055592229</c:v>
                </c:pt>
                <c:pt idx="7">
                  <c:v>0.388244767666075</c:v>
                </c:pt>
                <c:pt idx="8">
                  <c:v>0.37388966113211974</c:v>
                </c:pt>
                <c:pt idx="9">
                  <c:v>0.38776517786284703</c:v>
                </c:pt>
                <c:pt idx="10">
                  <c:v>0.4201194390360879</c:v>
                </c:pt>
                <c:pt idx="11">
                  <c:v>0.44211430420832326</c:v>
                </c:pt>
                <c:pt idx="12">
                  <c:v>0.4616107955608394</c:v>
                </c:pt>
                <c:pt idx="13">
                  <c:v>0.46442068314492196</c:v>
                </c:pt>
                <c:pt idx="14">
                  <c:v>0.47892279023060214</c:v>
                </c:pt>
                <c:pt idx="15">
                  <c:v>0.46942713259679936</c:v>
                </c:pt>
                <c:pt idx="16">
                  <c:v>0.4507219366788694</c:v>
                </c:pt>
                <c:pt idx="17">
                  <c:v>0.432065978681842</c:v>
                </c:pt>
                <c:pt idx="18">
                  <c:v>0.42722005203392693</c:v>
                </c:pt>
                <c:pt idx="19">
                  <c:v>0.44049113648702304</c:v>
                </c:pt>
                <c:pt idx="20">
                  <c:v>0.4595328365123113</c:v>
                </c:pt>
                <c:pt idx="21">
                  <c:v>0.41541895963649617</c:v>
                </c:pt>
                <c:pt idx="22">
                  <c:v>0.38461398598429003</c:v>
                </c:pt>
                <c:pt idx="23">
                  <c:v>0.37025359171906846</c:v>
                </c:pt>
                <c:pt idx="24">
                  <c:v>0.3574713584852944</c:v>
                </c:pt>
                <c:pt idx="25">
                  <c:v>0.33360073547716224</c:v>
                </c:pt>
                <c:pt idx="26">
                  <c:v>0.336970363636397</c:v>
                </c:pt>
                <c:pt idx="27">
                  <c:v>0.350260253675461</c:v>
                </c:pt>
                <c:pt idx="28">
                  <c:v>0.35329863088026175</c:v>
                </c:pt>
                <c:pt idx="29">
                  <c:v>0.298480809737027</c:v>
                </c:pt>
                <c:pt idx="30">
                  <c:v>0.3102284014895345</c:v>
                </c:pt>
                <c:pt idx="31">
                  <c:v>0.3179932329176429</c:v>
                </c:pt>
                <c:pt idx="32">
                  <c:v>0.3093670753917329</c:v>
                </c:pt>
                <c:pt idx="33">
                  <c:v>0.2905732443973674</c:v>
                </c:pt>
                <c:pt idx="34">
                  <c:v>0.3495186868460318</c:v>
                </c:pt>
                <c:pt idx="35">
                  <c:v>0.38386196510141385</c:v>
                </c:pt>
                <c:pt idx="36">
                  <c:v>0.39844045101392017</c:v>
                </c:pt>
                <c:pt idx="37">
                  <c:v>0.3726496270643814</c:v>
                </c:pt>
                <c:pt idx="38">
                  <c:v>0.3857584568250079</c:v>
                </c:pt>
                <c:pt idx="39">
                  <c:v>0.4021217481955561</c:v>
                </c:pt>
                <c:pt idx="40">
                  <c:v>0.41412224101320066</c:v>
                </c:pt>
                <c:pt idx="41">
                  <c:v>0.4016169814044482</c:v>
                </c:pt>
                <c:pt idx="42">
                  <c:v>0.4219732011628883</c:v>
                </c:pt>
                <c:pt idx="43">
                  <c:v>0.41368670919884915</c:v>
                </c:pt>
                <c:pt idx="44">
                  <c:v>0.41917062859037535</c:v>
                </c:pt>
                <c:pt idx="45">
                  <c:v>0.4197767761081266</c:v>
                </c:pt>
                <c:pt idx="46">
                  <c:v>0.4263865469337645</c:v>
                </c:pt>
                <c:pt idx="47">
                  <c:v>0.41486121784984203</c:v>
                </c:pt>
                <c:pt idx="48">
                  <c:v>0.4306989889636306</c:v>
                </c:pt>
                <c:pt idx="49">
                  <c:v>0.48359921437843506</c:v>
                </c:pt>
                <c:pt idx="50">
                  <c:v>0.4075645187787066</c:v>
                </c:pt>
                <c:pt idx="51">
                  <c:v>0.38997341240475064</c:v>
                </c:pt>
                <c:pt idx="52">
                  <c:v>0.4119589725313744</c:v>
                </c:pt>
                <c:pt idx="53">
                  <c:v>0.40990708795047687</c:v>
                </c:pt>
                <c:pt idx="54">
                  <c:v>0.39034092153772015</c:v>
                </c:pt>
                <c:pt idx="55">
                  <c:v>0.39422172615894824</c:v>
                </c:pt>
                <c:pt idx="56">
                  <c:v>0.3991710942685789</c:v>
                </c:pt>
                <c:pt idx="57">
                  <c:v>0.4149050700613639</c:v>
                </c:pt>
                <c:pt idx="58">
                  <c:v>0.3923441474411552</c:v>
                </c:pt>
                <c:pt idx="59">
                  <c:v>0.41146474079301876</c:v>
                </c:pt>
                <c:pt idx="60">
                  <c:v>0.40865432643234806</c:v>
                </c:pt>
                <c:pt idx="61">
                  <c:v>0.3766823203215872</c:v>
                </c:pt>
                <c:pt idx="62">
                  <c:v>0.35277240942373905</c:v>
                </c:pt>
                <c:pt idx="63">
                  <c:v>0.36094384651250755</c:v>
                </c:pt>
                <c:pt idx="64">
                  <c:v>0.3720295721659015</c:v>
                </c:pt>
                <c:pt idx="65">
                  <c:v>0.4164366156422126</c:v>
                </c:pt>
                <c:pt idx="66">
                  <c:v>0.4359185945578193</c:v>
                </c:pt>
                <c:pt idx="67">
                  <c:v>0.45247293798402377</c:v>
                </c:pt>
                <c:pt idx="68">
                  <c:v>0.4549908018175103</c:v>
                </c:pt>
                <c:pt idx="69">
                  <c:v>0.44066615337546816</c:v>
                </c:pt>
                <c:pt idx="70">
                  <c:v>0.4381104220189978</c:v>
                </c:pt>
                <c:pt idx="71">
                  <c:v>0.4160926559608112</c:v>
                </c:pt>
                <c:pt idx="72">
                  <c:v>0.42078118141149606</c:v>
                </c:pt>
                <c:pt idx="73">
                  <c:v>0.4401277978298211</c:v>
                </c:pt>
                <c:pt idx="74">
                  <c:v>0.42432714458295595</c:v>
                </c:pt>
                <c:pt idx="75">
                  <c:v>0.39879360542222253</c:v>
                </c:pt>
                <c:pt idx="76">
                  <c:v>0.40521145198430764</c:v>
                </c:pt>
                <c:pt idx="77">
                  <c:v>0.41248586877376936</c:v>
                </c:pt>
                <c:pt idx="78">
                  <c:v>0.42047954352191824</c:v>
                </c:pt>
                <c:pt idx="79">
                  <c:v>0.4199154029608964</c:v>
                </c:pt>
                <c:pt idx="80">
                  <c:v>0.444827886655647</c:v>
                </c:pt>
                <c:pt idx="81">
                  <c:v>0.45978820400116666</c:v>
                </c:pt>
                <c:pt idx="82">
                  <c:v>0.4512198501434373</c:v>
                </c:pt>
                <c:pt idx="83">
                  <c:v>0.43150514718702093</c:v>
                </c:pt>
                <c:pt idx="84">
                  <c:v>0.423992451390436</c:v>
                </c:pt>
                <c:pt idx="85">
                  <c:v>0.4243720375021153</c:v>
                </c:pt>
                <c:pt idx="86">
                  <c:v>0.4444410803406296</c:v>
                </c:pt>
                <c:pt idx="87">
                  <c:v>0.4701273918791156</c:v>
                </c:pt>
                <c:pt idx="88">
                  <c:v>0.422977548397579</c:v>
                </c:pt>
                <c:pt idx="89">
                  <c:v>0.39846689436256566</c:v>
                </c:pt>
                <c:pt idx="90">
                  <c:v>0.40612708267677466</c:v>
                </c:pt>
                <c:pt idx="91">
                  <c:v>0.4266469354464645</c:v>
                </c:pt>
                <c:pt idx="92">
                  <c:v>0.4184727029769715</c:v>
                </c:pt>
                <c:pt idx="93">
                  <c:v>0.43939486167275743</c:v>
                </c:pt>
                <c:pt idx="94">
                  <c:v>0.4322722961861843</c:v>
                </c:pt>
                <c:pt idx="95">
                  <c:v>0.4559185355715004</c:v>
                </c:pt>
                <c:pt idx="96">
                  <c:v>0.4705704370136121</c:v>
                </c:pt>
                <c:pt idx="97">
                  <c:v>0.5096831637330904</c:v>
                </c:pt>
                <c:pt idx="98">
                  <c:v>0.5247385737051952</c:v>
                </c:pt>
                <c:pt idx="99">
                  <c:v>0.5026083544074529</c:v>
                </c:pt>
                <c:pt idx="100">
                  <c:v>0.5168578076329973</c:v>
                </c:pt>
                <c:pt idx="101">
                  <c:v>0.47688847584088107</c:v>
                </c:pt>
                <c:pt idx="102">
                  <c:v>0.450452705193199</c:v>
                </c:pt>
                <c:pt idx="103">
                  <c:v>0.4567209762337002</c:v>
                </c:pt>
                <c:pt idx="104">
                  <c:v>0.44881081799444145</c:v>
                </c:pt>
              </c:numCache>
            </c:numRef>
          </c:xVal>
          <c:yVal>
            <c:numRef>
              <c:f>Sheet1!$B$2:$B$106</c:f>
              <c:numCache>
                <c:formatCode>General</c:formatCode>
                <c:ptCount val="105"/>
                <c:pt idx="0">
                  <c:v>0.2336903003446578</c:v>
                </c:pt>
                <c:pt idx="1">
                  <c:v>0.22766497461928933</c:v>
                </c:pt>
                <c:pt idx="2">
                  <c:v>0.19406018858336627</c:v>
                </c:pt>
                <c:pt idx="3">
                  <c:v>0.18538291605301915</c:v>
                </c:pt>
                <c:pt idx="4">
                  <c:v>0.16204192429497813</c:v>
                </c:pt>
                <c:pt idx="5">
                  <c:v>0.1393648797358906</c:v>
                </c:pt>
                <c:pt idx="6">
                  <c:v>0.15394402035623408</c:v>
                </c:pt>
                <c:pt idx="7">
                  <c:v>0.14659300184162063</c:v>
                </c:pt>
                <c:pt idx="8">
                  <c:v>0.16634615384615384</c:v>
                </c:pt>
                <c:pt idx="9">
                  <c:v>0.19188557671882744</c:v>
                </c:pt>
                <c:pt idx="10">
                  <c:v>0.20462159020988582</c:v>
                </c:pt>
                <c:pt idx="11">
                  <c:v>0.19413645330249643</c:v>
                </c:pt>
                <c:pt idx="12">
                  <c:v>0.2111118055121555</c:v>
                </c:pt>
                <c:pt idx="13">
                  <c:v>0.21688463032500324</c:v>
                </c:pt>
                <c:pt idx="14">
                  <c:v>0.21993649953697578</c:v>
                </c:pt>
                <c:pt idx="15">
                  <c:v>0.21430289425158341</c:v>
                </c:pt>
                <c:pt idx="16">
                  <c:v>0.2086924288759151</c:v>
                </c:pt>
                <c:pt idx="17">
                  <c:v>0.19300671671276176</c:v>
                </c:pt>
                <c:pt idx="18">
                  <c:v>0.1821827246125501</c:v>
                </c:pt>
                <c:pt idx="19">
                  <c:v>0.1677987421383648</c:v>
                </c:pt>
                <c:pt idx="20">
                  <c:v>0.1888670052866176</c:v>
                </c:pt>
                <c:pt idx="21">
                  <c:v>0.1744434662306628</c:v>
                </c:pt>
                <c:pt idx="22">
                  <c:v>0.17539975399754</c:v>
                </c:pt>
                <c:pt idx="23">
                  <c:v>0.17809278350515464</c:v>
                </c:pt>
                <c:pt idx="24">
                  <c:v>0.17713950762016412</c:v>
                </c:pt>
                <c:pt idx="25">
                  <c:v>0.17013056221689316</c:v>
                </c:pt>
                <c:pt idx="26">
                  <c:v>0.1763819095477387</c:v>
                </c:pt>
                <c:pt idx="27">
                  <c:v>0.16479446981854093</c:v>
                </c:pt>
                <c:pt idx="28">
                  <c:v>0.16121897272057018</c:v>
                </c:pt>
                <c:pt idx="29">
                  <c:v>0.18130880642774078</c:v>
                </c:pt>
                <c:pt idx="30">
                  <c:v>0.16392757660167132</c:v>
                </c:pt>
                <c:pt idx="31">
                  <c:v>0.15785245682152899</c:v>
                </c:pt>
                <c:pt idx="32">
                  <c:v>0.17159913628858123</c:v>
                </c:pt>
                <c:pt idx="33">
                  <c:v>0.19846338056276192</c:v>
                </c:pt>
                <c:pt idx="34">
                  <c:v>0.1836734693877551</c:v>
                </c:pt>
                <c:pt idx="35">
                  <c:v>0.18745454545454546</c:v>
                </c:pt>
                <c:pt idx="36">
                  <c:v>0.14620119059630712</c:v>
                </c:pt>
                <c:pt idx="37">
                  <c:v>0.13155825188181103</c:v>
                </c:pt>
                <c:pt idx="38">
                  <c:v>0.12670086995315638</c:v>
                </c:pt>
                <c:pt idx="39">
                  <c:v>0.11745994344957587</c:v>
                </c:pt>
                <c:pt idx="40">
                  <c:v>0.11861296242634985</c:v>
                </c:pt>
                <c:pt idx="41">
                  <c:v>0.09699696557497123</c:v>
                </c:pt>
                <c:pt idx="42">
                  <c:v>0.10267937421327099</c:v>
                </c:pt>
                <c:pt idx="43">
                  <c:v>0.10876937984496124</c:v>
                </c:pt>
                <c:pt idx="44">
                  <c:v>0.13106005280602212</c:v>
                </c:pt>
                <c:pt idx="45">
                  <c:v>0.14652833200319235</c:v>
                </c:pt>
                <c:pt idx="46">
                  <c:v>0.14924378364521917</c:v>
                </c:pt>
                <c:pt idx="47">
                  <c:v>0.1453833066969119</c:v>
                </c:pt>
                <c:pt idx="48">
                  <c:v>0.16200567644276254</c:v>
                </c:pt>
                <c:pt idx="49">
                  <c:v>0.18696397941680962</c:v>
                </c:pt>
                <c:pt idx="50">
                  <c:v>0.14947868277072365</c:v>
                </c:pt>
                <c:pt idx="51">
                  <c:v>0.1366100249710701</c:v>
                </c:pt>
                <c:pt idx="52">
                  <c:v>0.15429433491130418</c:v>
                </c:pt>
                <c:pt idx="53">
                  <c:v>0.13236322043591536</c:v>
                </c:pt>
                <c:pt idx="54">
                  <c:v>0.12499148559362441</c:v>
                </c:pt>
                <c:pt idx="55">
                  <c:v>0.11914417563977066</c:v>
                </c:pt>
                <c:pt idx="56">
                  <c:v>0.12371940808195789</c:v>
                </c:pt>
                <c:pt idx="57">
                  <c:v>0.11464546056991386</c:v>
                </c:pt>
                <c:pt idx="58">
                  <c:v>0.13095514757146176</c:v>
                </c:pt>
                <c:pt idx="59">
                  <c:v>0.1409935737099319</c:v>
                </c:pt>
                <c:pt idx="60">
                  <c:v>0.1477252995311686</c:v>
                </c:pt>
                <c:pt idx="61">
                  <c:v>0.1442077549066539</c:v>
                </c:pt>
                <c:pt idx="62">
                  <c:v>0.15994631499095524</c:v>
                </c:pt>
                <c:pt idx="63">
                  <c:v>0.1794679253379103</c:v>
                </c:pt>
                <c:pt idx="64">
                  <c:v>0.1860388721598686</c:v>
                </c:pt>
                <c:pt idx="65">
                  <c:v>0.1751884532226962</c:v>
                </c:pt>
                <c:pt idx="66">
                  <c:v>0.16538995114301225</c:v>
                </c:pt>
                <c:pt idx="67">
                  <c:v>0.1515056264537625</c:v>
                </c:pt>
                <c:pt idx="68">
                  <c:v>0.13681221157259496</c:v>
                </c:pt>
                <c:pt idx="69">
                  <c:v>0.12007764836383805</c:v>
                </c:pt>
                <c:pt idx="70">
                  <c:v>0.10860744194077528</c:v>
                </c:pt>
                <c:pt idx="71">
                  <c:v>0.11649494105634456</c:v>
                </c:pt>
                <c:pt idx="72">
                  <c:v>0.12022680960396917</c:v>
                </c:pt>
                <c:pt idx="73">
                  <c:v>0.11500232234091964</c:v>
                </c:pt>
                <c:pt idx="74">
                  <c:v>0.10718075698620445</c:v>
                </c:pt>
                <c:pt idx="75">
                  <c:v>0.10917488977535167</c:v>
                </c:pt>
                <c:pt idx="76">
                  <c:v>0.1050294215610081</c:v>
                </c:pt>
                <c:pt idx="77">
                  <c:v>0.10326456585808207</c:v>
                </c:pt>
                <c:pt idx="78">
                  <c:v>0.09955860716037274</c:v>
                </c:pt>
                <c:pt idx="79">
                  <c:v>0.09373926977223303</c:v>
                </c:pt>
                <c:pt idx="80">
                  <c:v>0.08714748035136384</c:v>
                </c:pt>
                <c:pt idx="81">
                  <c:v>0.09712364587224505</c:v>
                </c:pt>
                <c:pt idx="82">
                  <c:v>0.08849883392659874</c:v>
                </c:pt>
                <c:pt idx="83">
                  <c:v>0.08279287981233614</c:v>
                </c:pt>
                <c:pt idx="84">
                  <c:v>0.0865411632481034</c:v>
                </c:pt>
                <c:pt idx="85">
                  <c:v>0.09759391112202308</c:v>
                </c:pt>
                <c:pt idx="86">
                  <c:v>0.10509885535900104</c:v>
                </c:pt>
                <c:pt idx="87">
                  <c:v>0.12609274040288865</c:v>
                </c:pt>
                <c:pt idx="88">
                  <c:v>0.10473524609283881</c:v>
                </c:pt>
                <c:pt idx="89">
                  <c:v>0.09010214007782101</c:v>
                </c:pt>
                <c:pt idx="90">
                  <c:v>0.08617482951022938</c:v>
                </c:pt>
                <c:pt idx="91">
                  <c:v>0.09022828844063292</c:v>
                </c:pt>
                <c:pt idx="92">
                  <c:v>0.0951813214108296</c:v>
                </c:pt>
                <c:pt idx="93">
                  <c:v>0.09130434782608696</c:v>
                </c:pt>
                <c:pt idx="94">
                  <c:v>0.09576345984112974</c:v>
                </c:pt>
                <c:pt idx="95">
                  <c:v>0.10623068163331706</c:v>
                </c:pt>
                <c:pt idx="96">
                  <c:v>0.10862857142857144</c:v>
                </c:pt>
                <c:pt idx="97">
                  <c:v>0.11879259980525804</c:v>
                </c:pt>
                <c:pt idx="98">
                  <c:v>0.13888515180052918</c:v>
                </c:pt>
                <c:pt idx="99">
                  <c:v>0.14448152747593915</c:v>
                </c:pt>
                <c:pt idx="100">
                  <c:v>0.16821783604667914</c:v>
                </c:pt>
                <c:pt idx="101">
                  <c:v>0.13859708573364962</c:v>
                </c:pt>
                <c:pt idx="102">
                  <c:v>0.10829657885326022</c:v>
                </c:pt>
                <c:pt idx="103">
                  <c:v>0.11819780968053112</c:v>
                </c:pt>
                <c:pt idx="104">
                  <c:v>0.1251913477537437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513338035300897</c:v>
                </c:pt>
                <c:pt idx="1">
                  <c:v>0.4282608575374699</c:v>
                </c:pt>
                <c:pt idx="2">
                  <c:v>0.437863960819531</c:v>
                </c:pt>
                <c:pt idx="3">
                  <c:v>0.418824125296087</c:v>
                </c:pt>
                <c:pt idx="4">
                  <c:v>0.41501887841640844</c:v>
                </c:pt>
                <c:pt idx="5">
                  <c:v>0.4191781580752523</c:v>
                </c:pt>
                <c:pt idx="6">
                  <c:v>0.43256725372759697</c:v>
                </c:pt>
                <c:pt idx="7">
                  <c:v>0.42677172046883155</c:v>
                </c:pt>
                <c:pt idx="8">
                  <c:v>0.45596582622537174</c:v>
                </c:pt>
                <c:pt idx="9">
                  <c:v>0.43962259974058443</c:v>
                </c:pt>
                <c:pt idx="10">
                  <c:v>0.44179444882011165</c:v>
                </c:pt>
                <c:pt idx="11">
                  <c:v>0.4458811566016054</c:v>
                </c:pt>
                <c:pt idx="12">
                  <c:v>0.4443259399588239</c:v>
                </c:pt>
                <c:pt idx="13">
                  <c:v>0.4272964814617343</c:v>
                </c:pt>
                <c:pt idx="14">
                  <c:v>0.4303804772992635</c:v>
                </c:pt>
                <c:pt idx="15">
                  <c:v>0.427119912224449</c:v>
                </c:pt>
                <c:pt idx="16">
                  <c:v>0.43108660146221006</c:v>
                </c:pt>
                <c:pt idx="17">
                  <c:v>0.4150016184898878</c:v>
                </c:pt>
                <c:pt idx="18">
                  <c:v>0.37744969640703074</c:v>
                </c:pt>
                <c:pt idx="19">
                  <c:v>0.38626194056085567</c:v>
                </c:pt>
                <c:pt idx="20">
                  <c:v>0.3729939204568426</c:v>
                </c:pt>
                <c:pt idx="21">
                  <c:v>0.3607610335953059</c:v>
                </c:pt>
                <c:pt idx="22">
                  <c:v>0.36790817783563323</c:v>
                </c:pt>
                <c:pt idx="23">
                  <c:v>0.3712671918008275</c:v>
                </c:pt>
                <c:pt idx="24">
                  <c:v>0.3942450324670327</c:v>
                </c:pt>
                <c:pt idx="25">
                  <c:v>0.4006352723840702</c:v>
                </c:pt>
                <c:pt idx="26">
                  <c:v>0.4118347155968121</c:v>
                </c:pt>
                <c:pt idx="27">
                  <c:v>0.41623834117134695</c:v>
                </c:pt>
                <c:pt idx="28">
                  <c:v>0.3980266991115953</c:v>
                </c:pt>
                <c:pt idx="29">
                  <c:v>0.36703568928574065</c:v>
                </c:pt>
                <c:pt idx="30">
                  <c:v>0.3625631903493962</c:v>
                </c:pt>
                <c:pt idx="31">
                  <c:v>0.36976605302252186</c:v>
                </c:pt>
                <c:pt idx="32">
                  <c:v>0.3684686756609561</c:v>
                </c:pt>
                <c:pt idx="33">
                  <c:v>0.39735345548211254</c:v>
                </c:pt>
                <c:pt idx="34">
                  <c:v>0.416240827605051</c:v>
                </c:pt>
                <c:pt idx="35">
                  <c:v>0.3997354843134141</c:v>
                </c:pt>
                <c:pt idx="36">
                  <c:v>0.3569178924561451</c:v>
                </c:pt>
                <c:pt idx="37">
                  <c:v>0.3913973904396637</c:v>
                </c:pt>
                <c:pt idx="38">
                  <c:v>0.39178655748263913</c:v>
                </c:pt>
                <c:pt idx="39">
                  <c:v>0.41903939958235376</c:v>
                </c:pt>
                <c:pt idx="40">
                  <c:v>0.41995778876072287</c:v>
                </c:pt>
                <c:pt idx="41">
                  <c:v>0.4329197678657281</c:v>
                </c:pt>
                <c:pt idx="42">
                  <c:v>0.4170290763081716</c:v>
                </c:pt>
                <c:pt idx="43">
                  <c:v>0.472868685475826</c:v>
                </c:pt>
                <c:pt idx="44">
                  <c:v>0.5140267748966788</c:v>
                </c:pt>
                <c:pt idx="45">
                  <c:v>0.5417291953261222</c:v>
                </c:pt>
                <c:pt idx="46">
                  <c:v>0.5132744260082213</c:v>
                </c:pt>
                <c:pt idx="47">
                  <c:v>0.5242583894999139</c:v>
                </c:pt>
                <c:pt idx="48">
                  <c:v>0.5466555747490769</c:v>
                </c:pt>
                <c:pt idx="49">
                  <c:v>0.5568818855083576</c:v>
                </c:pt>
                <c:pt idx="50">
                  <c:v>0.5384250226177053</c:v>
                </c:pt>
                <c:pt idx="51">
                  <c:v>0.4915302088244117</c:v>
                </c:pt>
              </c:numCache>
            </c:numRef>
          </c:xVal>
          <c:yVal>
            <c:numRef>
              <c:f>Sheet1!$B$109:$B$160</c:f>
              <c:numCache>
                <c:formatCode>General</c:formatCode>
                <c:ptCount val="52"/>
                <c:pt idx="0">
                  <c:v>0.1241701058675758</c:v>
                </c:pt>
                <c:pt idx="1">
                  <c:v>0.12124403692460195</c:v>
                </c:pt>
                <c:pt idx="2">
                  <c:v>0.12557179515787126</c:v>
                </c:pt>
                <c:pt idx="3">
                  <c:v>0.13490629939038157</c:v>
                </c:pt>
                <c:pt idx="4">
                  <c:v>0.11956459467201375</c:v>
                </c:pt>
                <c:pt idx="5">
                  <c:v>0.12042446643615119</c:v>
                </c:pt>
                <c:pt idx="6">
                  <c:v>0.131292332701165</c:v>
                </c:pt>
                <c:pt idx="7">
                  <c:v>0.12793695219857112</c:v>
                </c:pt>
                <c:pt idx="8">
                  <c:v>0.1245531361715957</c:v>
                </c:pt>
                <c:pt idx="9">
                  <c:v>0.13298197372441187</c:v>
                </c:pt>
                <c:pt idx="10">
                  <c:v>0.14395563770794825</c:v>
                </c:pt>
                <c:pt idx="11">
                  <c:v>0.15904273122838336</c:v>
                </c:pt>
                <c:pt idx="12">
                  <c:v>0.15511170859740092</c:v>
                </c:pt>
                <c:pt idx="13">
                  <c:v>0.14386746120096916</c:v>
                </c:pt>
                <c:pt idx="14">
                  <c:v>0.13905368253508898</c:v>
                </c:pt>
                <c:pt idx="15">
                  <c:v>0.1314507535393515</c:v>
                </c:pt>
                <c:pt idx="16">
                  <c:v>0.11813687223523289</c:v>
                </c:pt>
                <c:pt idx="17">
                  <c:v>0.10493046776232617</c:v>
                </c:pt>
                <c:pt idx="18">
                  <c:v>0.11312893921589574</c:v>
                </c:pt>
                <c:pt idx="19">
                  <c:v>0.11665676371558724</c:v>
                </c:pt>
                <c:pt idx="20">
                  <c:v>0.10049719665714588</c:v>
                </c:pt>
                <c:pt idx="21">
                  <c:v>0.10556951977774838</c:v>
                </c:pt>
                <c:pt idx="22">
                  <c:v>0.10143213769544081</c:v>
                </c:pt>
                <c:pt idx="23">
                  <c:v>0.10108352763681251</c:v>
                </c:pt>
                <c:pt idx="24">
                  <c:v>0.09230769230769231</c:v>
                </c:pt>
                <c:pt idx="25">
                  <c:v>0.10199376101993761</c:v>
                </c:pt>
                <c:pt idx="26">
                  <c:v>0.08668076109936575</c:v>
                </c:pt>
                <c:pt idx="27">
                  <c:v>0.08998875140607424</c:v>
                </c:pt>
                <c:pt idx="28">
                  <c:v>0.09841810172206648</c:v>
                </c:pt>
                <c:pt idx="29">
                  <c:v>0.09672796751850968</c:v>
                </c:pt>
                <c:pt idx="30">
                  <c:v>0.1038523874828575</c:v>
                </c:pt>
                <c:pt idx="31">
                  <c:v>0.10535451996261183</c:v>
                </c:pt>
                <c:pt idx="32">
                  <c:v>0.10899593731863029</c:v>
                </c:pt>
                <c:pt idx="33">
                  <c:v>0.12797111623708757</c:v>
                </c:pt>
                <c:pt idx="34">
                  <c:v>0.14625793518209154</c:v>
                </c:pt>
                <c:pt idx="35">
                  <c:v>0.1358259823576584</c:v>
                </c:pt>
                <c:pt idx="36">
                  <c:v>0.10390372761960669</c:v>
                </c:pt>
                <c:pt idx="37">
                  <c:v>0.09606135447809697</c:v>
                </c:pt>
                <c:pt idx="38">
                  <c:v>0.09649749821300929</c:v>
                </c:pt>
                <c:pt idx="39">
                  <c:v>0.11560693641618497</c:v>
                </c:pt>
                <c:pt idx="40">
                  <c:v>0.0975940006249349</c:v>
                </c:pt>
                <c:pt idx="41">
                  <c:v>0.09644470634452956</c:v>
                </c:pt>
                <c:pt idx="42">
                  <c:v>0.09403215150847831</c:v>
                </c:pt>
                <c:pt idx="43">
                  <c:v>0.09792354884379424</c:v>
                </c:pt>
                <c:pt idx="44">
                  <c:v>0.09888431398592111</c:v>
                </c:pt>
                <c:pt idx="45">
                  <c:v>0.12067536772322353</c:v>
                </c:pt>
                <c:pt idx="46">
                  <c:v>0.10888216776742177</c:v>
                </c:pt>
                <c:pt idx="47">
                  <c:v>0.11330506998083513</c:v>
                </c:pt>
                <c:pt idx="48">
                  <c:v>0.11072238099931014</c:v>
                </c:pt>
                <c:pt idx="49">
                  <c:v>0.12743919356330344</c:v>
                </c:pt>
                <c:pt idx="50">
                  <c:v>0.16603508343010817</c:v>
                </c:pt>
                <c:pt idx="51">
                  <c:v>0.1441753171856978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265532533544572</c:v>
                </c:pt>
              </c:numCache>
            </c:numRef>
          </c:xVal>
          <c:yVal>
            <c:numRef>
              <c:f>Sheet1!$B$163:$B$164</c:f>
              <c:numCache>
                <c:formatCode>General</c:formatCode>
                <c:ptCount val="2"/>
                <c:pt idx="0">
                  <c:v>0.19752850259336924</c:v>
                </c:pt>
                <c:pt idx="1">
                  <c:v>0.1975285025933692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265532533544572</c:v>
                </c:pt>
                <c:pt idx="1">
                  <c:v>1.0265532533544572</c:v>
                </c:pt>
              </c:numCache>
            </c:numRef>
          </c:xVal>
          <c:yVal>
            <c:numRef>
              <c:f>Sheet1!$B$167:$B$168</c:f>
              <c:numCache>
                <c:formatCode>General</c:formatCode>
                <c:ptCount val="2"/>
                <c:pt idx="0">
                  <c:v>0.1975285025933692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778670395194805</c:v>
                </c:pt>
              </c:numCache>
            </c:numRef>
          </c:xVal>
          <c:yVal>
            <c:numRef>
              <c:f>Sheet1!$B$171:$B$172</c:f>
              <c:numCache>
                <c:formatCode>General</c:formatCode>
                <c:ptCount val="2"/>
                <c:pt idx="0">
                  <c:v>0.13709299379460488</c:v>
                </c:pt>
                <c:pt idx="1">
                  <c:v>0.1370929937946048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778670395194805</c:v>
                </c:pt>
                <c:pt idx="1">
                  <c:v>0.5778670395194805</c:v>
                </c:pt>
              </c:numCache>
            </c:numRef>
          </c:xVal>
          <c:yVal>
            <c:numRef>
              <c:f>Sheet1!$B$175:$B$176</c:f>
              <c:numCache>
                <c:formatCode>General</c:formatCode>
                <c:ptCount val="2"/>
                <c:pt idx="0">
                  <c:v>0.137092993794604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1197085211019646</c:v>
                </c:pt>
              </c:numCache>
            </c:numRef>
          </c:xVal>
          <c:yVal>
            <c:numRef>
              <c:f>Sheet1!$B$179:$B$180</c:f>
              <c:numCache>
                <c:formatCode>General</c:formatCode>
                <c:ptCount val="2"/>
                <c:pt idx="0">
                  <c:v>0.11474771064413408</c:v>
                </c:pt>
                <c:pt idx="1">
                  <c:v>0.1147477106441340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1197085211019646</c:v>
                </c:pt>
                <c:pt idx="1">
                  <c:v>0.41197085211019646</c:v>
                </c:pt>
              </c:numCache>
            </c:numRef>
          </c:xVal>
          <c:yVal>
            <c:numRef>
              <c:f>Sheet1!$B$183:$B$184</c:f>
              <c:numCache>
                <c:formatCode>General</c:formatCode>
                <c:ptCount val="2"/>
                <c:pt idx="0">
                  <c:v>0.1147477106441340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513338035300897</c:v>
                </c:pt>
                <c:pt idx="1">
                  <c:v>0.4282608575374699</c:v>
                </c:pt>
                <c:pt idx="2">
                  <c:v>0.437863960819531</c:v>
                </c:pt>
                <c:pt idx="3">
                  <c:v>0.418824125296087</c:v>
                </c:pt>
                <c:pt idx="4">
                  <c:v>0.41501887841640844</c:v>
                </c:pt>
                <c:pt idx="5">
                  <c:v>0.4191781580752523</c:v>
                </c:pt>
                <c:pt idx="6">
                  <c:v>0.43256725372759697</c:v>
                </c:pt>
                <c:pt idx="7">
                  <c:v>0.42677172046883155</c:v>
                </c:pt>
                <c:pt idx="8">
                  <c:v>0.45596582622537174</c:v>
                </c:pt>
                <c:pt idx="9">
                  <c:v>0.43962259974058443</c:v>
                </c:pt>
                <c:pt idx="10">
                  <c:v>0.44179444882011165</c:v>
                </c:pt>
                <c:pt idx="11">
                  <c:v>0.4458811566016054</c:v>
                </c:pt>
                <c:pt idx="12">
                  <c:v>0.4443259399588239</c:v>
                </c:pt>
                <c:pt idx="13">
                  <c:v>0.4272964814617343</c:v>
                </c:pt>
                <c:pt idx="14">
                  <c:v>0.4303804772992635</c:v>
                </c:pt>
                <c:pt idx="15">
                  <c:v>0.427119912224449</c:v>
                </c:pt>
                <c:pt idx="16">
                  <c:v>0.43108660146221006</c:v>
                </c:pt>
                <c:pt idx="17">
                  <c:v>0.4150016184898878</c:v>
                </c:pt>
                <c:pt idx="18">
                  <c:v>0.37744969640703074</c:v>
                </c:pt>
                <c:pt idx="19">
                  <c:v>0.38626194056085567</c:v>
                </c:pt>
                <c:pt idx="20">
                  <c:v>0.3729939204568426</c:v>
                </c:pt>
                <c:pt idx="21">
                  <c:v>0.3607610335953059</c:v>
                </c:pt>
                <c:pt idx="22">
                  <c:v>0.36790817783563323</c:v>
                </c:pt>
                <c:pt idx="23">
                  <c:v>0.3712671918008275</c:v>
                </c:pt>
                <c:pt idx="24">
                  <c:v>0.3942450324670327</c:v>
                </c:pt>
                <c:pt idx="25">
                  <c:v>0.4006352723840702</c:v>
                </c:pt>
                <c:pt idx="26">
                  <c:v>0.4118347155968121</c:v>
                </c:pt>
                <c:pt idx="27">
                  <c:v>0.41623834117134695</c:v>
                </c:pt>
                <c:pt idx="28">
                  <c:v>0.3980266991115953</c:v>
                </c:pt>
                <c:pt idx="29">
                  <c:v>0.36703568928574065</c:v>
                </c:pt>
                <c:pt idx="30">
                  <c:v>0.3625631903493962</c:v>
                </c:pt>
                <c:pt idx="31">
                  <c:v>0.36976605302252186</c:v>
                </c:pt>
                <c:pt idx="32">
                  <c:v>0.3684686756609561</c:v>
                </c:pt>
                <c:pt idx="33">
                  <c:v>0.39735345548211254</c:v>
                </c:pt>
                <c:pt idx="34">
                  <c:v>0.416240827605051</c:v>
                </c:pt>
                <c:pt idx="35">
                  <c:v>0.3997354843134141</c:v>
                </c:pt>
                <c:pt idx="36">
                  <c:v>0.3569178924561451</c:v>
                </c:pt>
                <c:pt idx="37">
                  <c:v>0.3913973904396637</c:v>
                </c:pt>
                <c:pt idx="38">
                  <c:v>0.39178655748263913</c:v>
                </c:pt>
                <c:pt idx="39">
                  <c:v>0.41903939958235376</c:v>
                </c:pt>
                <c:pt idx="40">
                  <c:v>0.41995778876072287</c:v>
                </c:pt>
                <c:pt idx="41">
                  <c:v>0.4329197678657281</c:v>
                </c:pt>
                <c:pt idx="42">
                  <c:v>0.4170290763081716</c:v>
                </c:pt>
                <c:pt idx="43">
                  <c:v>0.472868685475826</c:v>
                </c:pt>
                <c:pt idx="44">
                  <c:v>0.5140267748966788</c:v>
                </c:pt>
                <c:pt idx="45">
                  <c:v>0.5417291953261222</c:v>
                </c:pt>
                <c:pt idx="46">
                  <c:v>0.5132744260082213</c:v>
                </c:pt>
                <c:pt idx="47">
                  <c:v>0.5242583894999139</c:v>
                </c:pt>
                <c:pt idx="48">
                  <c:v>0.5466555747490769</c:v>
                </c:pt>
                <c:pt idx="49">
                  <c:v>0.5568818855083576</c:v>
                </c:pt>
                <c:pt idx="50">
                  <c:v>0.5384250226177053</c:v>
                </c:pt>
                <c:pt idx="51">
                  <c:v>0.4915302088244117</c:v>
                </c:pt>
                <c:pt idx="52">
                  <c:v>0.5778670395194805</c:v>
                </c:pt>
                <c:pt idx="53">
                  <c:v>1.0265532533544572</c:v>
                </c:pt>
                <c:pt idx="54">
                  <c:v>0.41197085211019646</c:v>
                </c:pt>
              </c:numCache>
            </c:numRef>
          </c:xVal>
          <c:yVal>
            <c:numRef>
              <c:f>Sheet1!$B$187:$B$241</c:f>
              <c:numCache>
                <c:formatCode>General</c:formatCode>
                <c:ptCount val="55"/>
                <c:pt idx="0">
                  <c:v>0.12004967875353814</c:v>
                </c:pt>
                <c:pt idx="1">
                  <c:v>0.116941882731387</c:v>
                </c:pt>
                <c:pt idx="2">
                  <c:v>0.11823536671864385</c:v>
                </c:pt>
                <c:pt idx="3">
                  <c:v>0.11567080798734453</c:v>
                </c:pt>
                <c:pt idx="4">
                  <c:v>0.11515826264009019</c:v>
                </c:pt>
                <c:pt idx="5">
                  <c:v>0.11571849421099162</c:v>
                </c:pt>
                <c:pt idx="6">
                  <c:v>0.11752193007140871</c:v>
                </c:pt>
                <c:pt idx="7">
                  <c:v>0.11674130434578196</c:v>
                </c:pt>
                <c:pt idx="8">
                  <c:v>0.12067358615190485</c:v>
                </c:pt>
                <c:pt idx="9">
                  <c:v>0.11847224548761416</c:v>
                </c:pt>
                <c:pt idx="10">
                  <c:v>0.11876478134030616</c:v>
                </c:pt>
                <c:pt idx="11">
                  <c:v>0.1193152378876011</c:v>
                </c:pt>
                <c:pt idx="12">
                  <c:v>0.11910575895510736</c:v>
                </c:pt>
                <c:pt idx="13">
                  <c:v>0.11681198669934206</c:v>
                </c:pt>
                <c:pt idx="14">
                  <c:v>0.11722738358881032</c:v>
                </c:pt>
                <c:pt idx="15">
                  <c:v>0.11678820381641739</c:v>
                </c:pt>
                <c:pt idx="16">
                  <c:v>0.1173224945410681</c:v>
                </c:pt>
                <c:pt idx="17">
                  <c:v>0.1151559378250882</c:v>
                </c:pt>
                <c:pt idx="18">
                  <c:v>0.11009790517895099</c:v>
                </c:pt>
                <c:pt idx="19">
                  <c:v>0.11128486489082487</c:v>
                </c:pt>
                <c:pt idx="20">
                  <c:v>0.109497737225625</c:v>
                </c:pt>
                <c:pt idx="21">
                  <c:v>0.10785003618476666</c:v>
                </c:pt>
                <c:pt idx="22">
                  <c:v>0.10881271630575919</c:v>
                </c:pt>
                <c:pt idx="23">
                  <c:v>0.10926515658983561</c:v>
                </c:pt>
                <c:pt idx="24">
                  <c:v>0.11236014245955925</c:v>
                </c:pt>
                <c:pt idx="25">
                  <c:v>0.1132208718263732</c:v>
                </c:pt>
                <c:pt idx="26">
                  <c:v>0.11472937382165374</c:v>
                </c:pt>
                <c:pt idx="27">
                  <c:v>0.11532251741276514</c:v>
                </c:pt>
                <c:pt idx="28">
                  <c:v>0.1128695116818004</c:v>
                </c:pt>
                <c:pt idx="29">
                  <c:v>0.10869519700650734</c:v>
                </c:pt>
                <c:pt idx="30">
                  <c:v>0.10809277656102576</c:v>
                </c:pt>
                <c:pt idx="31">
                  <c:v>0.10906296164145722</c:v>
                </c:pt>
                <c:pt idx="32">
                  <c:v>0.10888821220959913</c:v>
                </c:pt>
                <c:pt idx="33">
                  <c:v>0.11277882955242194</c:v>
                </c:pt>
                <c:pt idx="34">
                  <c:v>0.11532285232139698</c:v>
                </c:pt>
                <c:pt idx="35">
                  <c:v>0.11309967543525529</c:v>
                </c:pt>
                <c:pt idx="36">
                  <c:v>0.10733238669394438</c:v>
                </c:pt>
                <c:pt idx="37">
                  <c:v>0.11197658109864769</c:v>
                </c:pt>
                <c:pt idx="38">
                  <c:v>0.11202899970997277</c:v>
                </c:pt>
                <c:pt idx="39">
                  <c:v>0.11569980422262136</c:v>
                </c:pt>
                <c:pt idx="40">
                  <c:v>0.11582350607830268</c:v>
                </c:pt>
                <c:pt idx="41">
                  <c:v>0.11756941174265201</c:v>
                </c:pt>
                <c:pt idx="42">
                  <c:v>0.11542902498720253</c:v>
                </c:pt>
                <c:pt idx="43">
                  <c:v>0.12295030620136645</c:v>
                </c:pt>
                <c:pt idx="44">
                  <c:v>0.12849406930046875</c:v>
                </c:pt>
                <c:pt idx="45">
                  <c:v>0.13222542948490817</c:v>
                </c:pt>
                <c:pt idx="46">
                  <c:v>0.12839273213773428</c:v>
                </c:pt>
                <c:pt idx="47">
                  <c:v>0.1298722102268285</c:v>
                </c:pt>
                <c:pt idx="48">
                  <c:v>0.13288898507850955</c:v>
                </c:pt>
                <c:pt idx="49">
                  <c:v>0.13426641160692684</c:v>
                </c:pt>
                <c:pt idx="50">
                  <c:v>0.13178037600959544</c:v>
                </c:pt>
                <c:pt idx="51">
                  <c:v>0.1254639084110091</c:v>
                </c:pt>
                <c:pt idx="52">
                  <c:v>0.13709299379460488</c:v>
                </c:pt>
                <c:pt idx="53">
                  <c:v>0.19752850259336924</c:v>
                </c:pt>
                <c:pt idx="54">
                  <c:v>0.1147477106441340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04283604135893"/>
          <c:min val="0.0662343038498689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4.7395</c:v>
                </c:pt>
                <c:pt idx="1">
                  <c:v>844.4047</c:v>
                </c:pt>
                <c:pt idx="2">
                  <c:v>870.2162</c:v>
                </c:pt>
                <c:pt idx="3">
                  <c:v>883.7203</c:v>
                </c:pt>
                <c:pt idx="4">
                  <c:v>892.2127</c:v>
                </c:pt>
                <c:pt idx="5">
                  <c:v>900.7778</c:v>
                </c:pt>
                <c:pt idx="6">
                  <c:v>874.1441</c:v>
                </c:pt>
                <c:pt idx="7">
                  <c:v>878.1715</c:v>
                </c:pt>
                <c:pt idx="8">
                  <c:v>873.7214</c:v>
                </c:pt>
                <c:pt idx="9">
                  <c:v>829.0708</c:v>
                </c:pt>
                <c:pt idx="10">
                  <c:v>818.2476</c:v>
                </c:pt>
                <c:pt idx="11">
                  <c:v>851.1822</c:v>
                </c:pt>
                <c:pt idx="12">
                  <c:v>847.582</c:v>
                </c:pt>
                <c:pt idx="13">
                  <c:v>846.3009</c:v>
                </c:pt>
                <c:pt idx="14">
                  <c:v>890.6905</c:v>
                </c:pt>
                <c:pt idx="15">
                  <c:v>900.8294</c:v>
                </c:pt>
                <c:pt idx="16">
                  <c:v>905.8495</c:v>
                </c:pt>
                <c:pt idx="17">
                  <c:v>913.7769</c:v>
                </c:pt>
                <c:pt idx="18">
                  <c:v>940.1416</c:v>
                </c:pt>
                <c:pt idx="19">
                  <c:v>966.3358</c:v>
                </c:pt>
                <c:pt idx="20">
                  <c:v>974.0241</c:v>
                </c:pt>
                <c:pt idx="21">
                  <c:v>978.0425</c:v>
                </c:pt>
                <c:pt idx="22">
                  <c:v>958.2454</c:v>
                </c:pt>
                <c:pt idx="23">
                  <c:v>946.8698</c:v>
                </c:pt>
                <c:pt idx="24">
                  <c:v>937.3111</c:v>
                </c:pt>
                <c:pt idx="25">
                  <c:v>921.574</c:v>
                </c:pt>
                <c:pt idx="26">
                  <c:v>918.7037</c:v>
                </c:pt>
                <c:pt idx="27">
                  <c:v>956.3955</c:v>
                </c:pt>
                <c:pt idx="28">
                  <c:v>957.1646</c:v>
                </c:pt>
                <c:pt idx="29">
                  <c:v>791.5038</c:v>
                </c:pt>
                <c:pt idx="30">
                  <c:v>848.0671</c:v>
                </c:pt>
                <c:pt idx="31">
                  <c:v>884.5903</c:v>
                </c:pt>
                <c:pt idx="32">
                  <c:v>864.0503</c:v>
                </c:pt>
                <c:pt idx="33">
                  <c:v>784.5681</c:v>
                </c:pt>
                <c:pt idx="34">
                  <c:v>900.7358</c:v>
                </c:pt>
                <c:pt idx="35">
                  <c:v>962.9496</c:v>
                </c:pt>
                <c:pt idx="36">
                  <c:v>1030.8847</c:v>
                </c:pt>
                <c:pt idx="37">
                  <c:v>1038.3681</c:v>
                </c:pt>
                <c:pt idx="38">
                  <c:v>1065.7465</c:v>
                </c:pt>
                <c:pt idx="39">
                  <c:v>1090.5426</c:v>
                </c:pt>
                <c:pt idx="40">
                  <c:v>1115.1897</c:v>
                </c:pt>
                <c:pt idx="41">
                  <c:v>1133.7055</c:v>
                </c:pt>
                <c:pt idx="42">
                  <c:v>1143.3923</c:v>
                </c:pt>
                <c:pt idx="43">
                  <c:v>1132.605</c:v>
                </c:pt>
                <c:pt idx="44">
                  <c:v>1063.7021</c:v>
                </c:pt>
                <c:pt idx="45">
                  <c:v>1024.7738</c:v>
                </c:pt>
                <c:pt idx="46">
                  <c:v>1011.3422</c:v>
                </c:pt>
                <c:pt idx="47">
                  <c:v>993.8071</c:v>
                </c:pt>
                <c:pt idx="48">
                  <c:v>987.1598</c:v>
                </c:pt>
                <c:pt idx="49">
                  <c:v>971.8994</c:v>
                </c:pt>
                <c:pt idx="50">
                  <c:v>967.8056</c:v>
                </c:pt>
                <c:pt idx="51">
                  <c:v>954.7659</c:v>
                </c:pt>
                <c:pt idx="52">
                  <c:v>961.2862</c:v>
                </c:pt>
                <c:pt idx="53">
                  <c:v>1065.0158</c:v>
                </c:pt>
                <c:pt idx="54">
                  <c:v>1067.3335</c:v>
                </c:pt>
                <c:pt idx="55">
                  <c:v>1073.6227</c:v>
                </c:pt>
                <c:pt idx="56">
                  <c:v>1097.0604</c:v>
                </c:pt>
                <c:pt idx="57">
                  <c:v>1095.9327</c:v>
                </c:pt>
                <c:pt idx="58">
                  <c:v>1064.1597</c:v>
                </c:pt>
                <c:pt idx="59">
                  <c:v>1059.3384</c:v>
                </c:pt>
                <c:pt idx="60">
                  <c:v>1079.1316</c:v>
                </c:pt>
                <c:pt idx="61">
                  <c:v>1049.1863</c:v>
                </c:pt>
                <c:pt idx="62">
                  <c:v>992.0157</c:v>
                </c:pt>
                <c:pt idx="63">
                  <c:v>1028.8909</c:v>
                </c:pt>
                <c:pt idx="64">
                  <c:v>1026.505</c:v>
                </c:pt>
                <c:pt idx="65">
                  <c:v>1020.3602</c:v>
                </c:pt>
                <c:pt idx="66">
                  <c:v>1044.012</c:v>
                </c:pt>
                <c:pt idx="67">
                  <c:v>1062.4589</c:v>
                </c:pt>
                <c:pt idx="68">
                  <c:v>1047.5018</c:v>
                </c:pt>
                <c:pt idx="69">
                  <c:v>1051.1609</c:v>
                </c:pt>
                <c:pt idx="70">
                  <c:v>1059.9428</c:v>
                </c:pt>
                <c:pt idx="71">
                  <c:v>1091.8</c:v>
                </c:pt>
                <c:pt idx="72">
                  <c:v>1148.2741</c:v>
                </c:pt>
                <c:pt idx="73">
                  <c:v>1189.5775</c:v>
                </c:pt>
                <c:pt idx="74">
                  <c:v>1158.1922</c:v>
                </c:pt>
                <c:pt idx="75">
                  <c:v>1137.3933</c:v>
                </c:pt>
                <c:pt idx="76">
                  <c:v>1145.8753</c:v>
                </c:pt>
                <c:pt idx="77">
                  <c:v>1141.6081</c:v>
                </c:pt>
                <c:pt idx="78">
                  <c:v>1139.9126</c:v>
                </c:pt>
                <c:pt idx="79">
                  <c:v>1166.4725</c:v>
                </c:pt>
                <c:pt idx="80">
                  <c:v>1164.5252</c:v>
                </c:pt>
                <c:pt idx="81">
                  <c:v>1154.0077</c:v>
                </c:pt>
                <c:pt idx="82">
                  <c:v>1169.0915</c:v>
                </c:pt>
                <c:pt idx="83">
                  <c:v>1159.0233</c:v>
                </c:pt>
                <c:pt idx="84">
                  <c:v>1128.1737</c:v>
                </c:pt>
                <c:pt idx="85">
                  <c:v>1111.4616</c:v>
                </c:pt>
                <c:pt idx="86">
                  <c:v>1133.234</c:v>
                </c:pt>
                <c:pt idx="87">
                  <c:v>1158.7054</c:v>
                </c:pt>
                <c:pt idx="88">
                  <c:v>1157.9677</c:v>
                </c:pt>
                <c:pt idx="89">
                  <c:v>1144.054</c:v>
                </c:pt>
                <c:pt idx="90">
                  <c:v>1191.777</c:v>
                </c:pt>
                <c:pt idx="91">
                  <c:v>1204.7724</c:v>
                </c:pt>
                <c:pt idx="92">
                  <c:v>1139.6722</c:v>
                </c:pt>
                <c:pt idx="93">
                  <c:v>1178.0642</c:v>
                </c:pt>
                <c:pt idx="94">
                  <c:v>1166.7915</c:v>
                </c:pt>
                <c:pt idx="95">
                  <c:v>1150.5536</c:v>
                </c:pt>
                <c:pt idx="96">
                  <c:v>1081.9811</c:v>
                </c:pt>
                <c:pt idx="97">
                  <c:v>1097.1846</c:v>
                </c:pt>
                <c:pt idx="98">
                  <c:v>1078.9228</c:v>
                </c:pt>
                <c:pt idx="99">
                  <c:v>1032.2882</c:v>
                </c:pt>
                <c:pt idx="100">
                  <c:v>1027.3333</c:v>
                </c:pt>
                <c:pt idx="101">
                  <c:v>1075.6902</c:v>
                </c:pt>
                <c:pt idx="102">
                  <c:v>1089.6114</c:v>
                </c:pt>
                <c:pt idx="103">
                  <c:v>1040.7115</c:v>
                </c:pt>
                <c:pt idx="104">
                  <c:v>1087.4354</c:v>
                </c:pt>
              </c:numCache>
            </c:numRef>
          </c:xVal>
          <c:yVal>
            <c:numRef>
              <c:f>Sheet1!$B$2:$B$106</c:f>
              <c:numCache>
                <c:formatCode>General</c:formatCode>
                <c:ptCount val="105"/>
                <c:pt idx="0">
                  <c:v>0.2336903003446578</c:v>
                </c:pt>
                <c:pt idx="1">
                  <c:v>0.22766497461928933</c:v>
                </c:pt>
                <c:pt idx="2">
                  <c:v>0.19406018858336627</c:v>
                </c:pt>
                <c:pt idx="3">
                  <c:v>0.18538291605301915</c:v>
                </c:pt>
                <c:pt idx="4">
                  <c:v>0.16204192429497813</c:v>
                </c:pt>
                <c:pt idx="5">
                  <c:v>0.1393648797358906</c:v>
                </c:pt>
                <c:pt idx="6">
                  <c:v>0.15394402035623408</c:v>
                </c:pt>
                <c:pt idx="7">
                  <c:v>0.14659300184162063</c:v>
                </c:pt>
                <c:pt idx="8">
                  <c:v>0.16634615384615384</c:v>
                </c:pt>
                <c:pt idx="9">
                  <c:v>0.19188557671882744</c:v>
                </c:pt>
                <c:pt idx="10">
                  <c:v>0.20462159020988582</c:v>
                </c:pt>
                <c:pt idx="11">
                  <c:v>0.19413645330249643</c:v>
                </c:pt>
                <c:pt idx="12">
                  <c:v>0.2111118055121555</c:v>
                </c:pt>
                <c:pt idx="13">
                  <c:v>0.21688463032500324</c:v>
                </c:pt>
                <c:pt idx="14">
                  <c:v>0.21993649953697578</c:v>
                </c:pt>
                <c:pt idx="15">
                  <c:v>0.21430289425158341</c:v>
                </c:pt>
                <c:pt idx="16">
                  <c:v>0.2086924288759151</c:v>
                </c:pt>
                <c:pt idx="17">
                  <c:v>0.19300671671276176</c:v>
                </c:pt>
                <c:pt idx="18">
                  <c:v>0.1821827246125501</c:v>
                </c:pt>
                <c:pt idx="19">
                  <c:v>0.1677987421383648</c:v>
                </c:pt>
                <c:pt idx="20">
                  <c:v>0.1888670052866176</c:v>
                </c:pt>
                <c:pt idx="21">
                  <c:v>0.1744434662306628</c:v>
                </c:pt>
                <c:pt idx="22">
                  <c:v>0.17539975399754</c:v>
                </c:pt>
                <c:pt idx="23">
                  <c:v>0.17809278350515464</c:v>
                </c:pt>
                <c:pt idx="24">
                  <c:v>0.17713950762016412</c:v>
                </c:pt>
                <c:pt idx="25">
                  <c:v>0.17013056221689316</c:v>
                </c:pt>
                <c:pt idx="26">
                  <c:v>0.1763819095477387</c:v>
                </c:pt>
                <c:pt idx="27">
                  <c:v>0.16479446981854093</c:v>
                </c:pt>
                <c:pt idx="28">
                  <c:v>0.16121897272057018</c:v>
                </c:pt>
                <c:pt idx="29">
                  <c:v>0.18130880642774078</c:v>
                </c:pt>
                <c:pt idx="30">
                  <c:v>0.16392757660167132</c:v>
                </c:pt>
                <c:pt idx="31">
                  <c:v>0.15785245682152899</c:v>
                </c:pt>
                <c:pt idx="32">
                  <c:v>0.17159913628858123</c:v>
                </c:pt>
                <c:pt idx="33">
                  <c:v>0.19846338056276192</c:v>
                </c:pt>
                <c:pt idx="34">
                  <c:v>0.1836734693877551</c:v>
                </c:pt>
                <c:pt idx="35">
                  <c:v>0.18745454545454546</c:v>
                </c:pt>
                <c:pt idx="36">
                  <c:v>0.14620119059630712</c:v>
                </c:pt>
                <c:pt idx="37">
                  <c:v>0.13155825188181103</c:v>
                </c:pt>
                <c:pt idx="38">
                  <c:v>0.12670086995315638</c:v>
                </c:pt>
                <c:pt idx="39">
                  <c:v>0.11745994344957587</c:v>
                </c:pt>
                <c:pt idx="40">
                  <c:v>0.11861296242634985</c:v>
                </c:pt>
                <c:pt idx="41">
                  <c:v>0.09699696557497123</c:v>
                </c:pt>
                <c:pt idx="42">
                  <c:v>0.10267937421327099</c:v>
                </c:pt>
                <c:pt idx="43">
                  <c:v>0.10876937984496124</c:v>
                </c:pt>
                <c:pt idx="44">
                  <c:v>0.13106005280602212</c:v>
                </c:pt>
                <c:pt idx="45">
                  <c:v>0.14652833200319235</c:v>
                </c:pt>
                <c:pt idx="46">
                  <c:v>0.14924378364521917</c:v>
                </c:pt>
                <c:pt idx="47">
                  <c:v>0.1453833066969119</c:v>
                </c:pt>
                <c:pt idx="48">
                  <c:v>0.16200567644276254</c:v>
                </c:pt>
                <c:pt idx="49">
                  <c:v>0.18696397941680962</c:v>
                </c:pt>
                <c:pt idx="50">
                  <c:v>0.14947868277072365</c:v>
                </c:pt>
                <c:pt idx="51">
                  <c:v>0.1366100249710701</c:v>
                </c:pt>
                <c:pt idx="52">
                  <c:v>0.15429433491130418</c:v>
                </c:pt>
                <c:pt idx="53">
                  <c:v>0.13236322043591536</c:v>
                </c:pt>
                <c:pt idx="54">
                  <c:v>0.12499148559362441</c:v>
                </c:pt>
                <c:pt idx="55">
                  <c:v>0.11914417563977066</c:v>
                </c:pt>
                <c:pt idx="56">
                  <c:v>0.12371940808195789</c:v>
                </c:pt>
                <c:pt idx="57">
                  <c:v>0.11464546056991386</c:v>
                </c:pt>
                <c:pt idx="58">
                  <c:v>0.13095514757146176</c:v>
                </c:pt>
                <c:pt idx="59">
                  <c:v>0.1409935737099319</c:v>
                </c:pt>
                <c:pt idx="60">
                  <c:v>0.1477252995311686</c:v>
                </c:pt>
                <c:pt idx="61">
                  <c:v>0.1442077549066539</c:v>
                </c:pt>
                <c:pt idx="62">
                  <c:v>0.15994631499095524</c:v>
                </c:pt>
                <c:pt idx="63">
                  <c:v>0.1794679253379103</c:v>
                </c:pt>
                <c:pt idx="64">
                  <c:v>0.1860388721598686</c:v>
                </c:pt>
                <c:pt idx="65">
                  <c:v>0.1751884532226962</c:v>
                </c:pt>
                <c:pt idx="66">
                  <c:v>0.16538995114301225</c:v>
                </c:pt>
                <c:pt idx="67">
                  <c:v>0.1515056264537625</c:v>
                </c:pt>
                <c:pt idx="68">
                  <c:v>0.13681221157259496</c:v>
                </c:pt>
                <c:pt idx="69">
                  <c:v>0.12007764836383805</c:v>
                </c:pt>
                <c:pt idx="70">
                  <c:v>0.10860744194077528</c:v>
                </c:pt>
                <c:pt idx="71">
                  <c:v>0.11649494105634456</c:v>
                </c:pt>
                <c:pt idx="72">
                  <c:v>0.12022680960396917</c:v>
                </c:pt>
                <c:pt idx="73">
                  <c:v>0.11500232234091964</c:v>
                </c:pt>
                <c:pt idx="74">
                  <c:v>0.10718075698620445</c:v>
                </c:pt>
                <c:pt idx="75">
                  <c:v>0.10917488977535167</c:v>
                </c:pt>
                <c:pt idx="76">
                  <c:v>0.1050294215610081</c:v>
                </c:pt>
                <c:pt idx="77">
                  <c:v>0.10326456585808207</c:v>
                </c:pt>
                <c:pt idx="78">
                  <c:v>0.09955860716037274</c:v>
                </c:pt>
                <c:pt idx="79">
                  <c:v>0.09373926977223303</c:v>
                </c:pt>
                <c:pt idx="80">
                  <c:v>0.08714748035136384</c:v>
                </c:pt>
                <c:pt idx="81">
                  <c:v>0.09712364587224505</c:v>
                </c:pt>
                <c:pt idx="82">
                  <c:v>0.08849883392659874</c:v>
                </c:pt>
                <c:pt idx="83">
                  <c:v>0.08279287981233614</c:v>
                </c:pt>
                <c:pt idx="84">
                  <c:v>0.0865411632481034</c:v>
                </c:pt>
                <c:pt idx="85">
                  <c:v>0.09759391112202308</c:v>
                </c:pt>
                <c:pt idx="86">
                  <c:v>0.10509885535900104</c:v>
                </c:pt>
                <c:pt idx="87">
                  <c:v>0.12609274040288865</c:v>
                </c:pt>
                <c:pt idx="88">
                  <c:v>0.10473524609283881</c:v>
                </c:pt>
                <c:pt idx="89">
                  <c:v>0.09010214007782101</c:v>
                </c:pt>
                <c:pt idx="90">
                  <c:v>0.08617482951022938</c:v>
                </c:pt>
                <c:pt idx="91">
                  <c:v>0.09022828844063292</c:v>
                </c:pt>
                <c:pt idx="92">
                  <c:v>0.0951813214108296</c:v>
                </c:pt>
                <c:pt idx="93">
                  <c:v>0.09130434782608696</c:v>
                </c:pt>
                <c:pt idx="94">
                  <c:v>0.09576345984112974</c:v>
                </c:pt>
                <c:pt idx="95">
                  <c:v>0.10623068163331706</c:v>
                </c:pt>
                <c:pt idx="96">
                  <c:v>0.10862857142857144</c:v>
                </c:pt>
                <c:pt idx="97">
                  <c:v>0.11879259980525804</c:v>
                </c:pt>
                <c:pt idx="98">
                  <c:v>0.13888515180052918</c:v>
                </c:pt>
                <c:pt idx="99">
                  <c:v>0.14448152747593915</c:v>
                </c:pt>
                <c:pt idx="100">
                  <c:v>0.16821783604667914</c:v>
                </c:pt>
                <c:pt idx="101">
                  <c:v>0.13859708573364962</c:v>
                </c:pt>
                <c:pt idx="102">
                  <c:v>0.10829657885326022</c:v>
                </c:pt>
                <c:pt idx="103">
                  <c:v>0.11819780968053112</c:v>
                </c:pt>
                <c:pt idx="104">
                  <c:v>0.1251913477537437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8.933</c:v>
                </c:pt>
                <c:pt idx="1">
                  <c:v>1130.1058</c:v>
                </c:pt>
                <c:pt idx="2">
                  <c:v>1130.3505</c:v>
                </c:pt>
                <c:pt idx="3">
                  <c:v>1112.1749</c:v>
                </c:pt>
                <c:pt idx="4">
                  <c:v>1121.0077</c:v>
                </c:pt>
                <c:pt idx="5">
                  <c:v>1125.9822</c:v>
                </c:pt>
                <c:pt idx="6">
                  <c:v>1030.5625</c:v>
                </c:pt>
                <c:pt idx="7">
                  <c:v>1069.4974</c:v>
                </c:pt>
                <c:pt idx="8">
                  <c:v>1148.955</c:v>
                </c:pt>
                <c:pt idx="9">
                  <c:v>1080.3153</c:v>
                </c:pt>
                <c:pt idx="10">
                  <c:v>1100.3071</c:v>
                </c:pt>
                <c:pt idx="11">
                  <c:v>1003.2767</c:v>
                </c:pt>
                <c:pt idx="12">
                  <c:v>1041.5539</c:v>
                </c:pt>
                <c:pt idx="13">
                  <c:v>1079.1156</c:v>
                </c:pt>
                <c:pt idx="14">
                  <c:v>1100.0661</c:v>
                </c:pt>
                <c:pt idx="15">
                  <c:v>1115.22</c:v>
                </c:pt>
                <c:pt idx="16">
                  <c:v>1147.3216</c:v>
                </c:pt>
                <c:pt idx="17">
                  <c:v>1126.6781</c:v>
                </c:pt>
                <c:pt idx="18">
                  <c:v>1046.322</c:v>
                </c:pt>
                <c:pt idx="19">
                  <c:v>1109.9576</c:v>
                </c:pt>
                <c:pt idx="20">
                  <c:v>1103.3842</c:v>
                </c:pt>
                <c:pt idx="21">
                  <c:v>1069.1992</c:v>
                </c:pt>
                <c:pt idx="22">
                  <c:v>1103.035</c:v>
                </c:pt>
                <c:pt idx="23">
                  <c:v>1088.7015</c:v>
                </c:pt>
                <c:pt idx="24">
                  <c:v>1152.668</c:v>
                </c:pt>
                <c:pt idx="25">
                  <c:v>1114.5372</c:v>
                </c:pt>
                <c:pt idx="26">
                  <c:v>1154.1191</c:v>
                </c:pt>
                <c:pt idx="27">
                  <c:v>1153.0175</c:v>
                </c:pt>
                <c:pt idx="28">
                  <c:v>1090.6205</c:v>
                </c:pt>
                <c:pt idx="29">
                  <c:v>1079.4531</c:v>
                </c:pt>
                <c:pt idx="30">
                  <c:v>1064.8908</c:v>
                </c:pt>
                <c:pt idx="31">
                  <c:v>1049.3004</c:v>
                </c:pt>
                <c:pt idx="32">
                  <c:v>1044.6028</c:v>
                </c:pt>
                <c:pt idx="33">
                  <c:v>1071.1442</c:v>
                </c:pt>
                <c:pt idx="34">
                  <c:v>1099.8629</c:v>
                </c:pt>
                <c:pt idx="35">
                  <c:v>1127.293</c:v>
                </c:pt>
                <c:pt idx="36">
                  <c:v>1120.9661</c:v>
                </c:pt>
                <c:pt idx="37">
                  <c:v>1225.6522</c:v>
                </c:pt>
                <c:pt idx="38">
                  <c:v>1227.4904</c:v>
                </c:pt>
                <c:pt idx="39">
                  <c:v>1193.7889</c:v>
                </c:pt>
                <c:pt idx="40">
                  <c:v>1227.2038</c:v>
                </c:pt>
                <c:pt idx="41">
                  <c:v>1278.1202</c:v>
                </c:pt>
                <c:pt idx="42">
                  <c:v>1262.3501</c:v>
                </c:pt>
                <c:pt idx="43">
                  <c:v>1265.3888</c:v>
                </c:pt>
                <c:pt idx="44">
                  <c:v>1187.728</c:v>
                </c:pt>
                <c:pt idx="45">
                  <c:v>1159.4189</c:v>
                </c:pt>
                <c:pt idx="46">
                  <c:v>1159.2925</c:v>
                </c:pt>
                <c:pt idx="47">
                  <c:v>1141.9672</c:v>
                </c:pt>
                <c:pt idx="48">
                  <c:v>1113.4272</c:v>
                </c:pt>
                <c:pt idx="49">
                  <c:v>1113.2721</c:v>
                </c:pt>
                <c:pt idx="50">
                  <c:v>1017.7432</c:v>
                </c:pt>
                <c:pt idx="51">
                  <c:v>1000.3989</c:v>
                </c:pt>
              </c:numCache>
            </c:numRef>
          </c:xVal>
          <c:yVal>
            <c:numRef>
              <c:f>Sheet1!$B$109:$B$160</c:f>
              <c:numCache>
                <c:formatCode>General</c:formatCode>
                <c:ptCount val="52"/>
                <c:pt idx="0">
                  <c:v>0.1241701058675758</c:v>
                </c:pt>
                <c:pt idx="1">
                  <c:v>0.12124403692460195</c:v>
                </c:pt>
                <c:pt idx="2">
                  <c:v>0.12557179515787126</c:v>
                </c:pt>
                <c:pt idx="3">
                  <c:v>0.13490629939038157</c:v>
                </c:pt>
                <c:pt idx="4">
                  <c:v>0.11956459467201375</c:v>
                </c:pt>
                <c:pt idx="5">
                  <c:v>0.12042446643615119</c:v>
                </c:pt>
                <c:pt idx="6">
                  <c:v>0.131292332701165</c:v>
                </c:pt>
                <c:pt idx="7">
                  <c:v>0.12793695219857112</c:v>
                </c:pt>
                <c:pt idx="8">
                  <c:v>0.1245531361715957</c:v>
                </c:pt>
                <c:pt idx="9">
                  <c:v>0.13298197372441187</c:v>
                </c:pt>
                <c:pt idx="10">
                  <c:v>0.14395563770794825</c:v>
                </c:pt>
                <c:pt idx="11">
                  <c:v>0.15904273122838336</c:v>
                </c:pt>
                <c:pt idx="12">
                  <c:v>0.15511170859740092</c:v>
                </c:pt>
                <c:pt idx="13">
                  <c:v>0.14386746120096916</c:v>
                </c:pt>
                <c:pt idx="14">
                  <c:v>0.13905368253508898</c:v>
                </c:pt>
                <c:pt idx="15">
                  <c:v>0.1314507535393515</c:v>
                </c:pt>
                <c:pt idx="16">
                  <c:v>0.11813687223523289</c:v>
                </c:pt>
                <c:pt idx="17">
                  <c:v>0.10493046776232617</c:v>
                </c:pt>
                <c:pt idx="18">
                  <c:v>0.11312893921589574</c:v>
                </c:pt>
                <c:pt idx="19">
                  <c:v>0.11665676371558724</c:v>
                </c:pt>
                <c:pt idx="20">
                  <c:v>0.10049719665714588</c:v>
                </c:pt>
                <c:pt idx="21">
                  <c:v>0.10556951977774838</c:v>
                </c:pt>
                <c:pt idx="22">
                  <c:v>0.10143213769544081</c:v>
                </c:pt>
                <c:pt idx="23">
                  <c:v>0.10108352763681251</c:v>
                </c:pt>
                <c:pt idx="24">
                  <c:v>0.09230769230769231</c:v>
                </c:pt>
                <c:pt idx="25">
                  <c:v>0.10199376101993761</c:v>
                </c:pt>
                <c:pt idx="26">
                  <c:v>0.08668076109936575</c:v>
                </c:pt>
                <c:pt idx="27">
                  <c:v>0.08998875140607424</c:v>
                </c:pt>
                <c:pt idx="28">
                  <c:v>0.09841810172206648</c:v>
                </c:pt>
                <c:pt idx="29">
                  <c:v>0.09672796751850968</c:v>
                </c:pt>
                <c:pt idx="30">
                  <c:v>0.1038523874828575</c:v>
                </c:pt>
                <c:pt idx="31">
                  <c:v>0.10535451996261183</c:v>
                </c:pt>
                <c:pt idx="32">
                  <c:v>0.10899593731863029</c:v>
                </c:pt>
                <c:pt idx="33">
                  <c:v>0.12797111623708757</c:v>
                </c:pt>
                <c:pt idx="34">
                  <c:v>0.14625793518209154</c:v>
                </c:pt>
                <c:pt idx="35">
                  <c:v>0.1358259823576584</c:v>
                </c:pt>
                <c:pt idx="36">
                  <c:v>0.10390372761960669</c:v>
                </c:pt>
                <c:pt idx="37">
                  <c:v>0.09606135447809697</c:v>
                </c:pt>
                <c:pt idx="38">
                  <c:v>0.09649749821300929</c:v>
                </c:pt>
                <c:pt idx="39">
                  <c:v>0.11560693641618497</c:v>
                </c:pt>
                <c:pt idx="40">
                  <c:v>0.0975940006249349</c:v>
                </c:pt>
                <c:pt idx="41">
                  <c:v>0.09644470634452956</c:v>
                </c:pt>
                <c:pt idx="42">
                  <c:v>0.09403215150847831</c:v>
                </c:pt>
                <c:pt idx="43">
                  <c:v>0.09792354884379424</c:v>
                </c:pt>
                <c:pt idx="44">
                  <c:v>0.09888431398592111</c:v>
                </c:pt>
                <c:pt idx="45">
                  <c:v>0.12067536772322353</c:v>
                </c:pt>
                <c:pt idx="46">
                  <c:v>0.10888216776742177</c:v>
                </c:pt>
                <c:pt idx="47">
                  <c:v>0.11330506998083513</c:v>
                </c:pt>
                <c:pt idx="48">
                  <c:v>0.11072238099931014</c:v>
                </c:pt>
                <c:pt idx="49">
                  <c:v>0.12743919356330344</c:v>
                </c:pt>
                <c:pt idx="50">
                  <c:v>0.16603508343010817</c:v>
                </c:pt>
                <c:pt idx="51">
                  <c:v>0.1441753171856978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55.1476600697432</c:v>
                </c:pt>
              </c:numCache>
            </c:numRef>
          </c:xVal>
          <c:yVal>
            <c:numRef>
              <c:f>Sheet1!$B$163:$B$164</c:f>
              <c:numCache>
                <c:formatCode>General</c:formatCode>
                <c:ptCount val="2"/>
                <c:pt idx="0">
                  <c:v>0.19752850259336924</c:v>
                </c:pt>
                <c:pt idx="1">
                  <c:v>0.1975285025933692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55.1476600697432</c:v>
                </c:pt>
                <c:pt idx="1">
                  <c:v>655.1476600697432</c:v>
                </c:pt>
              </c:numCache>
            </c:numRef>
          </c:xVal>
          <c:yVal>
            <c:numRef>
              <c:f>Sheet1!$B$167:$B$168</c:f>
              <c:numCache>
                <c:formatCode>General</c:formatCode>
                <c:ptCount val="2"/>
                <c:pt idx="0">
                  <c:v>0.1975285025933692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3.2859075798295</c:v>
                </c:pt>
              </c:numCache>
            </c:numRef>
          </c:xVal>
          <c:yVal>
            <c:numRef>
              <c:f>Sheet1!$B$171:$B$172</c:f>
              <c:numCache>
                <c:formatCode>General</c:formatCode>
                <c:ptCount val="2"/>
                <c:pt idx="0">
                  <c:v>0.13709299379460488</c:v>
                </c:pt>
                <c:pt idx="1">
                  <c:v>0.1370929937946048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3.2859075798295</c:v>
                </c:pt>
                <c:pt idx="1">
                  <c:v>1003.2859075798295</c:v>
                </c:pt>
              </c:numCache>
            </c:numRef>
          </c:xVal>
          <c:yVal>
            <c:numRef>
              <c:f>Sheet1!$B$175:$B$176</c:f>
              <c:numCache>
                <c:formatCode>General</c:formatCode>
                <c:ptCount val="2"/>
                <c:pt idx="0">
                  <c:v>0.137092993794604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32.0057259572106</c:v>
                </c:pt>
              </c:numCache>
            </c:numRef>
          </c:xVal>
          <c:yVal>
            <c:numRef>
              <c:f>Sheet1!$B$179:$B$180</c:f>
              <c:numCache>
                <c:formatCode>General</c:formatCode>
                <c:ptCount val="2"/>
                <c:pt idx="0">
                  <c:v>0.11474771064413408</c:v>
                </c:pt>
                <c:pt idx="1">
                  <c:v>0.1147477106441340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32.0057259572106</c:v>
                </c:pt>
                <c:pt idx="1">
                  <c:v>1132.0057259572106</c:v>
                </c:pt>
              </c:numCache>
            </c:numRef>
          </c:xVal>
          <c:yVal>
            <c:numRef>
              <c:f>Sheet1!$B$183:$B$184</c:f>
              <c:numCache>
                <c:formatCode>General</c:formatCode>
                <c:ptCount val="2"/>
                <c:pt idx="0">
                  <c:v>0.1147477106441340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8.933</c:v>
                </c:pt>
                <c:pt idx="1">
                  <c:v>1130.1058</c:v>
                </c:pt>
                <c:pt idx="2">
                  <c:v>1130.3505</c:v>
                </c:pt>
                <c:pt idx="3">
                  <c:v>1112.1749</c:v>
                </c:pt>
                <c:pt idx="4">
                  <c:v>1121.0077</c:v>
                </c:pt>
                <c:pt idx="5">
                  <c:v>1125.9822</c:v>
                </c:pt>
                <c:pt idx="6">
                  <c:v>1030.5625</c:v>
                </c:pt>
                <c:pt idx="7">
                  <c:v>1069.4974</c:v>
                </c:pt>
                <c:pt idx="8">
                  <c:v>1148.955</c:v>
                </c:pt>
                <c:pt idx="9">
                  <c:v>1080.3153</c:v>
                </c:pt>
                <c:pt idx="10">
                  <c:v>1100.3071</c:v>
                </c:pt>
                <c:pt idx="11">
                  <c:v>1003.2767</c:v>
                </c:pt>
                <c:pt idx="12">
                  <c:v>1041.5539</c:v>
                </c:pt>
                <c:pt idx="13">
                  <c:v>1079.1156</c:v>
                </c:pt>
                <c:pt idx="14">
                  <c:v>1100.0661</c:v>
                </c:pt>
                <c:pt idx="15">
                  <c:v>1115.22</c:v>
                </c:pt>
                <c:pt idx="16">
                  <c:v>1147.3216</c:v>
                </c:pt>
                <c:pt idx="17">
                  <c:v>1126.6781</c:v>
                </c:pt>
                <c:pt idx="18">
                  <c:v>1046.322</c:v>
                </c:pt>
                <c:pt idx="19">
                  <c:v>1109.9576</c:v>
                </c:pt>
                <c:pt idx="20">
                  <c:v>1103.3842</c:v>
                </c:pt>
                <c:pt idx="21">
                  <c:v>1069.1992</c:v>
                </c:pt>
                <c:pt idx="22">
                  <c:v>1103.035</c:v>
                </c:pt>
                <c:pt idx="23">
                  <c:v>1088.7015</c:v>
                </c:pt>
                <c:pt idx="24">
                  <c:v>1152.668</c:v>
                </c:pt>
                <c:pt idx="25">
                  <c:v>1114.5372</c:v>
                </c:pt>
                <c:pt idx="26">
                  <c:v>1154.1191</c:v>
                </c:pt>
                <c:pt idx="27">
                  <c:v>1153.0175</c:v>
                </c:pt>
                <c:pt idx="28">
                  <c:v>1090.6205</c:v>
                </c:pt>
                <c:pt idx="29">
                  <c:v>1079.4531</c:v>
                </c:pt>
                <c:pt idx="30">
                  <c:v>1064.8908</c:v>
                </c:pt>
                <c:pt idx="31">
                  <c:v>1049.3004</c:v>
                </c:pt>
                <c:pt idx="32">
                  <c:v>1044.6028</c:v>
                </c:pt>
                <c:pt idx="33">
                  <c:v>1071.1442</c:v>
                </c:pt>
                <c:pt idx="34">
                  <c:v>1099.8629</c:v>
                </c:pt>
                <c:pt idx="35">
                  <c:v>1127.293</c:v>
                </c:pt>
                <c:pt idx="36">
                  <c:v>1120.9661</c:v>
                </c:pt>
                <c:pt idx="37">
                  <c:v>1225.6522</c:v>
                </c:pt>
                <c:pt idx="38">
                  <c:v>1227.4904</c:v>
                </c:pt>
                <c:pt idx="39">
                  <c:v>1193.7889</c:v>
                </c:pt>
                <c:pt idx="40">
                  <c:v>1227.2038</c:v>
                </c:pt>
                <c:pt idx="41">
                  <c:v>1278.1202</c:v>
                </c:pt>
                <c:pt idx="42">
                  <c:v>1262.3501</c:v>
                </c:pt>
                <c:pt idx="43">
                  <c:v>1265.3888</c:v>
                </c:pt>
                <c:pt idx="44">
                  <c:v>1187.728</c:v>
                </c:pt>
                <c:pt idx="45">
                  <c:v>1159.4189</c:v>
                </c:pt>
                <c:pt idx="46">
                  <c:v>1159.2925</c:v>
                </c:pt>
                <c:pt idx="47">
                  <c:v>1141.9672</c:v>
                </c:pt>
                <c:pt idx="48">
                  <c:v>1113.4272</c:v>
                </c:pt>
                <c:pt idx="49">
                  <c:v>1113.2721</c:v>
                </c:pt>
                <c:pt idx="50">
                  <c:v>1017.7432</c:v>
                </c:pt>
                <c:pt idx="51">
                  <c:v>1000.3989</c:v>
                </c:pt>
                <c:pt idx="52">
                  <c:v>1003.2859075798295</c:v>
                </c:pt>
                <c:pt idx="53">
                  <c:v>655.1476600697432</c:v>
                </c:pt>
                <c:pt idx="54">
                  <c:v>1132.0057259572106</c:v>
                </c:pt>
              </c:numCache>
            </c:numRef>
          </c:xVal>
          <c:yVal>
            <c:numRef>
              <c:f>Sheet1!$B$187:$B$241</c:f>
              <c:numCache>
                <c:formatCode>General</c:formatCode>
                <c:ptCount val="55"/>
                <c:pt idx="0">
                  <c:v>0.11354516155807792</c:v>
                </c:pt>
                <c:pt idx="1">
                  <c:v>0.11507753074498547</c:v>
                </c:pt>
                <c:pt idx="2">
                  <c:v>0.11503505173238396</c:v>
                </c:pt>
                <c:pt idx="3">
                  <c:v>0.11819026849348113</c:v>
                </c:pt>
                <c:pt idx="4">
                  <c:v>0.1166569271673395</c:v>
                </c:pt>
                <c:pt idx="5">
                  <c:v>0.11579337241381957</c:v>
                </c:pt>
                <c:pt idx="6">
                  <c:v>0.13235787849773778</c:v>
                </c:pt>
                <c:pt idx="7">
                  <c:v>0.1255989242364401</c:v>
                </c:pt>
                <c:pt idx="8">
                  <c:v>0.11180537952173714</c:v>
                </c:pt>
                <c:pt idx="9">
                  <c:v>0.12372097691146192</c:v>
                </c:pt>
                <c:pt idx="10">
                  <c:v>0.12025047456521185</c:v>
                </c:pt>
                <c:pt idx="11">
                  <c:v>0.13709459219631967</c:v>
                </c:pt>
                <c:pt idx="12">
                  <c:v>0.13044981221613364</c:v>
                </c:pt>
                <c:pt idx="13">
                  <c:v>0.12392924038272493</c:v>
                </c:pt>
                <c:pt idx="14">
                  <c:v>0.12029231127153375</c:v>
                </c:pt>
                <c:pt idx="15">
                  <c:v>0.11766165042534488</c:v>
                </c:pt>
                <c:pt idx="16">
                  <c:v>0.1120889317047504</c:v>
                </c:pt>
                <c:pt idx="17">
                  <c:v>0.11567256675436138</c:v>
                </c:pt>
                <c:pt idx="18">
                  <c:v>0.1296220877372396</c:v>
                </c:pt>
                <c:pt idx="19">
                  <c:v>0.11857518355127183</c:v>
                </c:pt>
                <c:pt idx="20">
                  <c:v>0.11971630141573827</c:v>
                </c:pt>
                <c:pt idx="21">
                  <c:v>0.12565069065065249</c:v>
                </c:pt>
                <c:pt idx="22">
                  <c:v>0.11977692124083206</c:v>
                </c:pt>
                <c:pt idx="23">
                  <c:v>0.12226516368923471</c:v>
                </c:pt>
                <c:pt idx="24">
                  <c:v>0.11116081649031292</c:v>
                </c:pt>
                <c:pt idx="25">
                  <c:v>0.11778018197338055</c:v>
                </c:pt>
                <c:pt idx="26">
                  <c:v>0.11090891091129337</c:v>
                </c:pt>
                <c:pt idx="27">
                  <c:v>0.11110014458633158</c:v>
                </c:pt>
                <c:pt idx="28">
                  <c:v>0.12193203240528558</c:v>
                </c:pt>
                <c:pt idx="29">
                  <c:v>0.1238706516342451</c:v>
                </c:pt>
                <c:pt idx="30">
                  <c:v>0.12639861291420976</c:v>
                </c:pt>
                <c:pt idx="31">
                  <c:v>0.12910504854176585</c:v>
                </c:pt>
                <c:pt idx="32">
                  <c:v>0.12992053448208865</c:v>
                </c:pt>
                <c:pt idx="33">
                  <c:v>0.12531304586311678</c:v>
                </c:pt>
                <c:pt idx="34">
                  <c:v>0.1203275860380259</c:v>
                </c:pt>
                <c:pt idx="35">
                  <c:v>0.11556582239453841</c:v>
                </c:pt>
                <c:pt idx="36">
                  <c:v>0.11666414877307807</c:v>
                </c:pt>
                <c:pt idx="37">
                  <c:v>0.09849103001089721</c:v>
                </c:pt>
                <c:pt idx="38">
                  <c:v>0.09817192530732491</c:v>
                </c:pt>
                <c:pt idx="39">
                  <c:v>0.1040223807351576</c:v>
                </c:pt>
                <c:pt idx="40">
                  <c:v>0.0982216780045525</c:v>
                </c:pt>
                <c:pt idx="41">
                  <c:v>0.08938277977314732</c:v>
                </c:pt>
                <c:pt idx="42">
                  <c:v>0.09212041065433849</c:v>
                </c:pt>
                <c:pt idx="43">
                  <c:v>0.09159290360246974</c:v>
                </c:pt>
                <c:pt idx="44">
                  <c:v>0.10507453050008056</c:v>
                </c:pt>
                <c:pt idx="45">
                  <c:v>0.1099888852840534</c:v>
                </c:pt>
                <c:pt idx="46">
                  <c:v>0.11001082785533589</c:v>
                </c:pt>
                <c:pt idx="47">
                  <c:v>0.11301843568952222</c:v>
                </c:pt>
                <c:pt idx="48">
                  <c:v>0.11797287385726982</c:v>
                </c:pt>
                <c:pt idx="49">
                  <c:v>0.11799979864212681</c:v>
                </c:pt>
                <c:pt idx="50">
                  <c:v>0.13458326144110871</c:v>
                </c:pt>
                <c:pt idx="51">
                  <c:v>0.13759416760483908</c:v>
                </c:pt>
                <c:pt idx="52">
                  <c:v>0.13709299379460488</c:v>
                </c:pt>
                <c:pt idx="53">
                  <c:v>0.19752850259336924</c:v>
                </c:pt>
                <c:pt idx="54">
                  <c:v>0.1147477106441340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34.0"/>
          <c:min val="52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04283604135893"/>
          <c:min val="0.0662343038498689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7022900447740842</c:v>
                </c:pt>
                <c:pt idx="1">
                  <c:v>0.0776248762331832</c:v>
                </c:pt>
                <c:pt idx="2">
                  <c:v>0.07981436159783763</c:v>
                </c:pt>
                <c:pt idx="3">
                  <c:v>0.07850862203778346</c:v>
                </c:pt>
                <c:pt idx="4">
                  <c:v>0.07862748400532467</c:v>
                </c:pt>
                <c:pt idx="5">
                  <c:v>0.07992121887547222</c:v>
                </c:pt>
                <c:pt idx="6">
                  <c:v>0.07740120976919568</c:v>
                </c:pt>
                <c:pt idx="7">
                  <c:v>0.07854191108956729</c:v>
                </c:pt>
                <c:pt idx="8">
                  <c:v>0.07516395936077083</c:v>
                </c:pt>
                <c:pt idx="9">
                  <c:v>0.07281326920012839</c:v>
                </c:pt>
                <c:pt idx="10">
                  <c:v>0.07139145125499996</c:v>
                </c:pt>
                <c:pt idx="11">
                  <c:v>0.07446360674331048</c:v>
                </c:pt>
                <c:pt idx="12">
                  <c:v>0.07377231911369538</c:v>
                </c:pt>
                <c:pt idx="13">
                  <c:v>0.07303711348106784</c:v>
                </c:pt>
                <c:pt idx="14">
                  <c:v>0.07896693759935361</c:v>
                </c:pt>
                <c:pt idx="15">
                  <c:v>0.08164089360400817</c:v>
                </c:pt>
                <c:pt idx="16">
                  <c:v>0.07939463505302638</c:v>
                </c:pt>
                <c:pt idx="17">
                  <c:v>0.07896416206717743</c:v>
                </c:pt>
                <c:pt idx="18">
                  <c:v>0.08287356232169166</c:v>
                </c:pt>
                <c:pt idx="19">
                  <c:v>0.08635122575907381</c:v>
                </c:pt>
                <c:pt idx="20">
                  <c:v>0.08633136011967252</c:v>
                </c:pt>
                <c:pt idx="21">
                  <c:v>0.08672217578718501</c:v>
                </c:pt>
                <c:pt idx="22">
                  <c:v>0.08285182065123599</c:v>
                </c:pt>
                <c:pt idx="23">
                  <c:v>0.0815926482963521</c:v>
                </c:pt>
                <c:pt idx="24">
                  <c:v>0.0806196501038526</c:v>
                </c:pt>
                <c:pt idx="25">
                  <c:v>0.07922445120540059</c:v>
                </c:pt>
                <c:pt idx="26">
                  <c:v>0.07795307206626849</c:v>
                </c:pt>
                <c:pt idx="27">
                  <c:v>0.08125053797726123</c:v>
                </c:pt>
                <c:pt idx="28">
                  <c:v>0.08197238961273438</c:v>
                </c:pt>
                <c:pt idx="29">
                  <c:v>0.06932320010225626</c:v>
                </c:pt>
                <c:pt idx="30">
                  <c:v>0.07476417845336915</c:v>
                </c:pt>
                <c:pt idx="31">
                  <c:v>0.07653123520440816</c:v>
                </c:pt>
                <c:pt idx="32">
                  <c:v>0.07273013661577656</c:v>
                </c:pt>
                <c:pt idx="33">
                  <c:v>0.06840833140630988</c:v>
                </c:pt>
                <c:pt idx="34">
                  <c:v>0.07998040482488122</c:v>
                </c:pt>
                <c:pt idx="35">
                  <c:v>0.08268522995429312</c:v>
                </c:pt>
                <c:pt idx="36">
                  <c:v>0.08838498515982157</c:v>
                </c:pt>
                <c:pt idx="37">
                  <c:v>0.08917659204688001</c:v>
                </c:pt>
                <c:pt idx="38">
                  <c:v>0.09337932742866212</c:v>
                </c:pt>
                <c:pt idx="39">
                  <c:v>0.09612504790529226</c:v>
                </c:pt>
                <c:pt idx="40">
                  <c:v>0.09987177481242994</c:v>
                </c:pt>
                <c:pt idx="41">
                  <c:v>0.10203163557547328</c:v>
                </c:pt>
                <c:pt idx="42">
                  <c:v>0.09969917746142351</c:v>
                </c:pt>
                <c:pt idx="43">
                  <c:v>0.09736477209548611</c:v>
                </c:pt>
                <c:pt idx="44">
                  <c:v>0.09231112583874346</c:v>
                </c:pt>
                <c:pt idx="45">
                  <c:v>0.08965046805118301</c:v>
                </c:pt>
                <c:pt idx="46">
                  <c:v>0.08737183795480229</c:v>
                </c:pt>
                <c:pt idx="47">
                  <c:v>0.08532197155225416</c:v>
                </c:pt>
                <c:pt idx="48">
                  <c:v>0.08535132401315754</c:v>
                </c:pt>
                <c:pt idx="49">
                  <c:v>0.0839159925019689</c:v>
                </c:pt>
                <c:pt idx="50">
                  <c:v>0.08408459138969557</c:v>
                </c:pt>
                <c:pt idx="51">
                  <c:v>0.08122704900847565</c:v>
                </c:pt>
                <c:pt idx="52">
                  <c:v>0.0831858248558019</c:v>
                </c:pt>
                <c:pt idx="53">
                  <c:v>0.09178542065982982</c:v>
                </c:pt>
                <c:pt idx="54">
                  <c:v>0.0914695084141722</c:v>
                </c:pt>
                <c:pt idx="55">
                  <c:v>0.09292028922421014</c:v>
                </c:pt>
                <c:pt idx="56">
                  <c:v>0.09432899103656514</c:v>
                </c:pt>
                <c:pt idx="57">
                  <c:v>0.09217096334764775</c:v>
                </c:pt>
                <c:pt idx="58">
                  <c:v>0.09081480168012551</c:v>
                </c:pt>
                <c:pt idx="59">
                  <c:v>0.09152373538360266</c:v>
                </c:pt>
                <c:pt idx="60">
                  <c:v>0.09091610887786276</c:v>
                </c:pt>
                <c:pt idx="61">
                  <c:v>0.08797522755628057</c:v>
                </c:pt>
                <c:pt idx="62">
                  <c:v>0.08608111637110666</c:v>
                </c:pt>
                <c:pt idx="63">
                  <c:v>0.08803696596142835</c:v>
                </c:pt>
                <c:pt idx="64">
                  <c:v>0.08686967860753483</c:v>
                </c:pt>
                <c:pt idx="65">
                  <c:v>0.0852807113992589</c:v>
                </c:pt>
                <c:pt idx="66">
                  <c:v>0.08775315569833192</c:v>
                </c:pt>
                <c:pt idx="67">
                  <c:v>0.0901876000113068</c:v>
                </c:pt>
                <c:pt idx="68">
                  <c:v>0.08854589064003666</c:v>
                </c:pt>
                <c:pt idx="69">
                  <c:v>0.08744037059459285</c:v>
                </c:pt>
                <c:pt idx="70">
                  <c:v>0.08855770012198144</c:v>
                </c:pt>
                <c:pt idx="71">
                  <c:v>0.09016868779254548</c:v>
                </c:pt>
                <c:pt idx="72">
                  <c:v>0.09602911851192136</c:v>
                </c:pt>
                <c:pt idx="73">
                  <c:v>0.09924015773209993</c:v>
                </c:pt>
                <c:pt idx="74">
                  <c:v>0.09731481805203544</c:v>
                </c:pt>
                <c:pt idx="75">
                  <c:v>0.09299677655607932</c:v>
                </c:pt>
                <c:pt idx="76">
                  <c:v>0.09505923556591163</c:v>
                </c:pt>
                <c:pt idx="77">
                  <c:v>0.09407549981601596</c:v>
                </c:pt>
                <c:pt idx="78">
                  <c:v>0.0939672210608229</c:v>
                </c:pt>
                <c:pt idx="79">
                  <c:v>0.09687510902859184</c:v>
                </c:pt>
                <c:pt idx="80">
                  <c:v>0.09627710247197212</c:v>
                </c:pt>
                <c:pt idx="81">
                  <c:v>0.09883441599689954</c:v>
                </c:pt>
                <c:pt idx="82">
                  <c:v>0.10178691178658607</c:v>
                </c:pt>
                <c:pt idx="83">
                  <c:v>0.0986675878407574</c:v>
                </c:pt>
                <c:pt idx="84">
                  <c:v>0.09376807983521634</c:v>
                </c:pt>
                <c:pt idx="85">
                  <c:v>0.09334724265100648</c:v>
                </c:pt>
                <c:pt idx="86">
                  <c:v>0.09705402094940513</c:v>
                </c:pt>
                <c:pt idx="87">
                  <c:v>0.09773008161920894</c:v>
                </c:pt>
                <c:pt idx="88">
                  <c:v>0.09675214299650396</c:v>
                </c:pt>
                <c:pt idx="89">
                  <c:v>0.09549151578731618</c:v>
                </c:pt>
                <c:pt idx="90">
                  <c:v>0.09980607284022605</c:v>
                </c:pt>
                <c:pt idx="91">
                  <c:v>0.10142934121042933</c:v>
                </c:pt>
                <c:pt idx="92">
                  <c:v>0.09660421583384855</c:v>
                </c:pt>
                <c:pt idx="93">
                  <c:v>0.09766710216524788</c:v>
                </c:pt>
                <c:pt idx="94">
                  <c:v>0.09592415162555339</c:v>
                </c:pt>
                <c:pt idx="95">
                  <c:v>0.0935692397968514</c:v>
                </c:pt>
                <c:pt idx="96">
                  <c:v>0.08885355397430329</c:v>
                </c:pt>
                <c:pt idx="97">
                  <c:v>0.08960728354426772</c:v>
                </c:pt>
                <c:pt idx="98">
                  <c:v>0.08792377586148363</c:v>
                </c:pt>
                <c:pt idx="99">
                  <c:v>0.0839976476158562</c:v>
                </c:pt>
                <c:pt idx="100">
                  <c:v>0.08430565009509948</c:v>
                </c:pt>
                <c:pt idx="101">
                  <c:v>0.08847407891492566</c:v>
                </c:pt>
                <c:pt idx="102">
                  <c:v>0.08850226661631555</c:v>
                </c:pt>
                <c:pt idx="103">
                  <c:v>0.0841410914168263</c:v>
                </c:pt>
                <c:pt idx="104">
                  <c:v>0.08856055642364535</c:v>
                </c:pt>
              </c:numCache>
            </c:numRef>
          </c:xVal>
          <c:yVal>
            <c:numRef>
              <c:f>Sheet1!$B$2:$B$106</c:f>
              <c:numCache>
                <c:formatCode>General</c:formatCode>
                <c:ptCount val="105"/>
                <c:pt idx="0">
                  <c:v>0.2336903003446578</c:v>
                </c:pt>
                <c:pt idx="1">
                  <c:v>0.22766497461928933</c:v>
                </c:pt>
                <c:pt idx="2">
                  <c:v>0.19406018858336627</c:v>
                </c:pt>
                <c:pt idx="3">
                  <c:v>0.18538291605301915</c:v>
                </c:pt>
                <c:pt idx="4">
                  <c:v>0.16204192429497813</c:v>
                </c:pt>
                <c:pt idx="5">
                  <c:v>0.1393648797358906</c:v>
                </c:pt>
                <c:pt idx="6">
                  <c:v>0.15394402035623408</c:v>
                </c:pt>
                <c:pt idx="7">
                  <c:v>0.14659300184162063</c:v>
                </c:pt>
                <c:pt idx="8">
                  <c:v>0.16634615384615384</c:v>
                </c:pt>
                <c:pt idx="9">
                  <c:v>0.19188557671882744</c:v>
                </c:pt>
                <c:pt idx="10">
                  <c:v>0.20462159020988582</c:v>
                </c:pt>
                <c:pt idx="11">
                  <c:v>0.19413645330249643</c:v>
                </c:pt>
                <c:pt idx="12">
                  <c:v>0.2111118055121555</c:v>
                </c:pt>
                <c:pt idx="13">
                  <c:v>0.21688463032500324</c:v>
                </c:pt>
                <c:pt idx="14">
                  <c:v>0.21993649953697578</c:v>
                </c:pt>
                <c:pt idx="15">
                  <c:v>0.21430289425158341</c:v>
                </c:pt>
                <c:pt idx="16">
                  <c:v>0.2086924288759151</c:v>
                </c:pt>
                <c:pt idx="17">
                  <c:v>0.19300671671276176</c:v>
                </c:pt>
                <c:pt idx="18">
                  <c:v>0.1821827246125501</c:v>
                </c:pt>
                <c:pt idx="19">
                  <c:v>0.1677987421383648</c:v>
                </c:pt>
                <c:pt idx="20">
                  <c:v>0.1888670052866176</c:v>
                </c:pt>
                <c:pt idx="21">
                  <c:v>0.1744434662306628</c:v>
                </c:pt>
                <c:pt idx="22">
                  <c:v>0.17539975399754</c:v>
                </c:pt>
                <c:pt idx="23">
                  <c:v>0.17809278350515464</c:v>
                </c:pt>
                <c:pt idx="24">
                  <c:v>0.17713950762016412</c:v>
                </c:pt>
                <c:pt idx="25">
                  <c:v>0.17013056221689316</c:v>
                </c:pt>
                <c:pt idx="26">
                  <c:v>0.1763819095477387</c:v>
                </c:pt>
                <c:pt idx="27">
                  <c:v>0.16479446981854093</c:v>
                </c:pt>
                <c:pt idx="28">
                  <c:v>0.16121897272057018</c:v>
                </c:pt>
                <c:pt idx="29">
                  <c:v>0.18130880642774078</c:v>
                </c:pt>
                <c:pt idx="30">
                  <c:v>0.16392757660167132</c:v>
                </c:pt>
                <c:pt idx="31">
                  <c:v>0.15785245682152899</c:v>
                </c:pt>
                <c:pt idx="32">
                  <c:v>0.17159913628858123</c:v>
                </c:pt>
                <c:pt idx="33">
                  <c:v>0.19846338056276192</c:v>
                </c:pt>
                <c:pt idx="34">
                  <c:v>0.1836734693877551</c:v>
                </c:pt>
                <c:pt idx="35">
                  <c:v>0.18745454545454546</c:v>
                </c:pt>
                <c:pt idx="36">
                  <c:v>0.14620119059630712</c:v>
                </c:pt>
                <c:pt idx="37">
                  <c:v>0.13155825188181103</c:v>
                </c:pt>
                <c:pt idx="38">
                  <c:v>0.12670086995315638</c:v>
                </c:pt>
                <c:pt idx="39">
                  <c:v>0.11745994344957587</c:v>
                </c:pt>
                <c:pt idx="40">
                  <c:v>0.11861296242634985</c:v>
                </c:pt>
                <c:pt idx="41">
                  <c:v>0.09699696557497123</c:v>
                </c:pt>
                <c:pt idx="42">
                  <c:v>0.10267937421327099</c:v>
                </c:pt>
                <c:pt idx="43">
                  <c:v>0.10876937984496124</c:v>
                </c:pt>
                <c:pt idx="44">
                  <c:v>0.13106005280602212</c:v>
                </c:pt>
                <c:pt idx="45">
                  <c:v>0.14652833200319235</c:v>
                </c:pt>
                <c:pt idx="46">
                  <c:v>0.14924378364521917</c:v>
                </c:pt>
                <c:pt idx="47">
                  <c:v>0.1453833066969119</c:v>
                </c:pt>
                <c:pt idx="48">
                  <c:v>0.16200567644276254</c:v>
                </c:pt>
                <c:pt idx="49">
                  <c:v>0.18696397941680962</c:v>
                </c:pt>
                <c:pt idx="50">
                  <c:v>0.14947868277072365</c:v>
                </c:pt>
                <c:pt idx="51">
                  <c:v>0.1366100249710701</c:v>
                </c:pt>
                <c:pt idx="52">
                  <c:v>0.15429433491130418</c:v>
                </c:pt>
                <c:pt idx="53">
                  <c:v>0.13236322043591536</c:v>
                </c:pt>
                <c:pt idx="54">
                  <c:v>0.12499148559362441</c:v>
                </c:pt>
                <c:pt idx="55">
                  <c:v>0.11914417563977066</c:v>
                </c:pt>
                <c:pt idx="56">
                  <c:v>0.12371940808195789</c:v>
                </c:pt>
                <c:pt idx="57">
                  <c:v>0.11464546056991386</c:v>
                </c:pt>
                <c:pt idx="58">
                  <c:v>0.13095514757146176</c:v>
                </c:pt>
                <c:pt idx="59">
                  <c:v>0.1409935737099319</c:v>
                </c:pt>
                <c:pt idx="60">
                  <c:v>0.1477252995311686</c:v>
                </c:pt>
                <c:pt idx="61">
                  <c:v>0.1442077549066539</c:v>
                </c:pt>
                <c:pt idx="62">
                  <c:v>0.15994631499095524</c:v>
                </c:pt>
                <c:pt idx="63">
                  <c:v>0.1794679253379103</c:v>
                </c:pt>
                <c:pt idx="64">
                  <c:v>0.1860388721598686</c:v>
                </c:pt>
                <c:pt idx="65">
                  <c:v>0.1751884532226962</c:v>
                </c:pt>
                <c:pt idx="66">
                  <c:v>0.16538995114301225</c:v>
                </c:pt>
                <c:pt idx="67">
                  <c:v>0.1515056264537625</c:v>
                </c:pt>
                <c:pt idx="68">
                  <c:v>0.13681221157259496</c:v>
                </c:pt>
                <c:pt idx="69">
                  <c:v>0.12007764836383805</c:v>
                </c:pt>
                <c:pt idx="70">
                  <c:v>0.10860744194077528</c:v>
                </c:pt>
                <c:pt idx="71">
                  <c:v>0.11649494105634456</c:v>
                </c:pt>
                <c:pt idx="72">
                  <c:v>0.12022680960396917</c:v>
                </c:pt>
                <c:pt idx="73">
                  <c:v>0.11500232234091964</c:v>
                </c:pt>
                <c:pt idx="74">
                  <c:v>0.10718075698620445</c:v>
                </c:pt>
                <c:pt idx="75">
                  <c:v>0.10917488977535167</c:v>
                </c:pt>
                <c:pt idx="76">
                  <c:v>0.1050294215610081</c:v>
                </c:pt>
                <c:pt idx="77">
                  <c:v>0.10326456585808207</c:v>
                </c:pt>
                <c:pt idx="78">
                  <c:v>0.09955860716037274</c:v>
                </c:pt>
                <c:pt idx="79">
                  <c:v>0.09373926977223303</c:v>
                </c:pt>
                <c:pt idx="80">
                  <c:v>0.08714748035136384</c:v>
                </c:pt>
                <c:pt idx="81">
                  <c:v>0.09712364587224505</c:v>
                </c:pt>
                <c:pt idx="82">
                  <c:v>0.08849883392659874</c:v>
                </c:pt>
                <c:pt idx="83">
                  <c:v>0.08279287981233614</c:v>
                </c:pt>
                <c:pt idx="84">
                  <c:v>0.0865411632481034</c:v>
                </c:pt>
                <c:pt idx="85">
                  <c:v>0.09759391112202308</c:v>
                </c:pt>
                <c:pt idx="86">
                  <c:v>0.10509885535900104</c:v>
                </c:pt>
                <c:pt idx="87">
                  <c:v>0.12609274040288865</c:v>
                </c:pt>
                <c:pt idx="88">
                  <c:v>0.10473524609283881</c:v>
                </c:pt>
                <c:pt idx="89">
                  <c:v>0.09010214007782101</c:v>
                </c:pt>
                <c:pt idx="90">
                  <c:v>0.08617482951022938</c:v>
                </c:pt>
                <c:pt idx="91">
                  <c:v>0.09022828844063292</c:v>
                </c:pt>
                <c:pt idx="92">
                  <c:v>0.0951813214108296</c:v>
                </c:pt>
                <c:pt idx="93">
                  <c:v>0.09130434782608696</c:v>
                </c:pt>
                <c:pt idx="94">
                  <c:v>0.09576345984112974</c:v>
                </c:pt>
                <c:pt idx="95">
                  <c:v>0.10623068163331706</c:v>
                </c:pt>
                <c:pt idx="96">
                  <c:v>0.10862857142857144</c:v>
                </c:pt>
                <c:pt idx="97">
                  <c:v>0.11879259980525804</c:v>
                </c:pt>
                <c:pt idx="98">
                  <c:v>0.13888515180052918</c:v>
                </c:pt>
                <c:pt idx="99">
                  <c:v>0.14448152747593915</c:v>
                </c:pt>
                <c:pt idx="100">
                  <c:v>0.16821783604667914</c:v>
                </c:pt>
                <c:pt idx="101">
                  <c:v>0.13859708573364962</c:v>
                </c:pt>
                <c:pt idx="102">
                  <c:v>0.10829657885326022</c:v>
                </c:pt>
                <c:pt idx="103">
                  <c:v>0.11819780968053112</c:v>
                </c:pt>
                <c:pt idx="104">
                  <c:v>0.1251913477537437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9368284117240666</c:v>
                </c:pt>
                <c:pt idx="1">
                  <c:v>0.09277108145923262</c:v>
                </c:pt>
                <c:pt idx="2">
                  <c:v>0.09182581699392069</c:v>
                </c:pt>
                <c:pt idx="3">
                  <c:v>0.09062943653816097</c:v>
                </c:pt>
                <c:pt idx="4">
                  <c:v>0.08893407421069907</c:v>
                </c:pt>
                <c:pt idx="5">
                  <c:v>0.09205600527360074</c:v>
                </c:pt>
                <c:pt idx="6">
                  <c:v>0.08399108367892964</c:v>
                </c:pt>
                <c:pt idx="7">
                  <c:v>0.0867961003776658</c:v>
                </c:pt>
                <c:pt idx="8">
                  <c:v>0.09620234129163273</c:v>
                </c:pt>
                <c:pt idx="9">
                  <c:v>0.08927132968270578</c:v>
                </c:pt>
                <c:pt idx="10">
                  <c:v>0.0905530578528421</c:v>
                </c:pt>
                <c:pt idx="11">
                  <c:v>0.08314674468293723</c:v>
                </c:pt>
                <c:pt idx="12">
                  <c:v>0.08417208312054011</c:v>
                </c:pt>
                <c:pt idx="13">
                  <c:v>0.08832889114163003</c:v>
                </c:pt>
                <c:pt idx="14">
                  <c:v>0.09054630041857287</c:v>
                </c:pt>
                <c:pt idx="15">
                  <c:v>0.09169140551302284</c:v>
                </c:pt>
                <c:pt idx="16">
                  <c:v>0.09271080231903063</c:v>
                </c:pt>
                <c:pt idx="17">
                  <c:v>0.09220363013083342</c:v>
                </c:pt>
                <c:pt idx="18">
                  <c:v>0.0843762698662</c:v>
                </c:pt>
                <c:pt idx="19">
                  <c:v>0.09068484419850754</c:v>
                </c:pt>
                <c:pt idx="20">
                  <c:v>0.09020208605897641</c:v>
                </c:pt>
                <c:pt idx="21">
                  <c:v>0.08729973923306697</c:v>
                </c:pt>
                <c:pt idx="22">
                  <c:v>0.09172357311503894</c:v>
                </c:pt>
                <c:pt idx="23">
                  <c:v>0.08788760199472533</c:v>
                </c:pt>
                <c:pt idx="24">
                  <c:v>0.09469586404598987</c:v>
                </c:pt>
                <c:pt idx="25">
                  <c:v>0.08932950692535448</c:v>
                </c:pt>
                <c:pt idx="26">
                  <c:v>0.09477902673807516</c:v>
                </c:pt>
                <c:pt idx="27">
                  <c:v>0.0953225047454055</c:v>
                </c:pt>
                <c:pt idx="28">
                  <c:v>0.09108683392042007</c:v>
                </c:pt>
                <c:pt idx="29">
                  <c:v>0.08937786256011958</c:v>
                </c:pt>
                <c:pt idx="30">
                  <c:v>0.08665476664859424</c:v>
                </c:pt>
                <c:pt idx="31">
                  <c:v>0.08547853931870787</c:v>
                </c:pt>
                <c:pt idx="32">
                  <c:v>0.08455832281355659</c:v>
                </c:pt>
                <c:pt idx="33">
                  <c:v>0.08855425343763536</c:v>
                </c:pt>
                <c:pt idx="34">
                  <c:v>0.08963489503521167</c:v>
                </c:pt>
                <c:pt idx="35">
                  <c:v>0.08894557096909629</c:v>
                </c:pt>
                <c:pt idx="36">
                  <c:v>0.09014774528363052</c:v>
                </c:pt>
                <c:pt idx="37">
                  <c:v>0.09675787455244284</c:v>
                </c:pt>
                <c:pt idx="38">
                  <c:v>0.09829164501831304</c:v>
                </c:pt>
                <c:pt idx="39">
                  <c:v>0.09474940850119788</c:v>
                </c:pt>
                <c:pt idx="40">
                  <c:v>0.09864294114078649</c:v>
                </c:pt>
                <c:pt idx="41">
                  <c:v>0.10067942452767871</c:v>
                </c:pt>
                <c:pt idx="42">
                  <c:v>0.10112489389236934</c:v>
                </c:pt>
                <c:pt idx="43">
                  <c:v>0.10093444313706038</c:v>
                </c:pt>
                <c:pt idx="44">
                  <c:v>0.09627203148537539</c:v>
                </c:pt>
                <c:pt idx="45">
                  <c:v>0.09408335615389614</c:v>
                </c:pt>
                <c:pt idx="46">
                  <c:v>0.09239112373214418</c:v>
                </c:pt>
                <c:pt idx="47">
                  <c:v>0.09108431615029934</c:v>
                </c:pt>
                <c:pt idx="48">
                  <c:v>0.08781160943959156</c:v>
                </c:pt>
                <c:pt idx="49">
                  <c:v>0.08879667086692704</c:v>
                </c:pt>
                <c:pt idx="50">
                  <c:v>0.08272453009917695</c:v>
                </c:pt>
                <c:pt idx="51">
                  <c:v>0.08081396294265354</c:v>
                </c:pt>
              </c:numCache>
            </c:numRef>
          </c:xVal>
          <c:yVal>
            <c:numRef>
              <c:f>Sheet1!$B$109:$B$160</c:f>
              <c:numCache>
                <c:formatCode>General</c:formatCode>
                <c:ptCount val="52"/>
                <c:pt idx="0">
                  <c:v>0.1241701058675758</c:v>
                </c:pt>
                <c:pt idx="1">
                  <c:v>0.12124403692460195</c:v>
                </c:pt>
                <c:pt idx="2">
                  <c:v>0.12557179515787126</c:v>
                </c:pt>
                <c:pt idx="3">
                  <c:v>0.13490629939038157</c:v>
                </c:pt>
                <c:pt idx="4">
                  <c:v>0.11956459467201375</c:v>
                </c:pt>
                <c:pt idx="5">
                  <c:v>0.12042446643615119</c:v>
                </c:pt>
                <c:pt idx="6">
                  <c:v>0.131292332701165</c:v>
                </c:pt>
                <c:pt idx="7">
                  <c:v>0.12793695219857112</c:v>
                </c:pt>
                <c:pt idx="8">
                  <c:v>0.1245531361715957</c:v>
                </c:pt>
                <c:pt idx="9">
                  <c:v>0.13298197372441187</c:v>
                </c:pt>
                <c:pt idx="10">
                  <c:v>0.14395563770794825</c:v>
                </c:pt>
                <c:pt idx="11">
                  <c:v>0.15904273122838336</c:v>
                </c:pt>
                <c:pt idx="12">
                  <c:v>0.15511170859740092</c:v>
                </c:pt>
                <c:pt idx="13">
                  <c:v>0.14386746120096916</c:v>
                </c:pt>
                <c:pt idx="14">
                  <c:v>0.13905368253508898</c:v>
                </c:pt>
                <c:pt idx="15">
                  <c:v>0.1314507535393515</c:v>
                </c:pt>
                <c:pt idx="16">
                  <c:v>0.11813687223523289</c:v>
                </c:pt>
                <c:pt idx="17">
                  <c:v>0.10493046776232617</c:v>
                </c:pt>
                <c:pt idx="18">
                  <c:v>0.11312893921589574</c:v>
                </c:pt>
                <c:pt idx="19">
                  <c:v>0.11665676371558724</c:v>
                </c:pt>
                <c:pt idx="20">
                  <c:v>0.10049719665714588</c:v>
                </c:pt>
                <c:pt idx="21">
                  <c:v>0.10556951977774838</c:v>
                </c:pt>
                <c:pt idx="22">
                  <c:v>0.10143213769544081</c:v>
                </c:pt>
                <c:pt idx="23">
                  <c:v>0.10108352763681251</c:v>
                </c:pt>
                <c:pt idx="24">
                  <c:v>0.09230769230769231</c:v>
                </c:pt>
                <c:pt idx="25">
                  <c:v>0.10199376101993761</c:v>
                </c:pt>
                <c:pt idx="26">
                  <c:v>0.08668076109936575</c:v>
                </c:pt>
                <c:pt idx="27">
                  <c:v>0.08998875140607424</c:v>
                </c:pt>
                <c:pt idx="28">
                  <c:v>0.09841810172206648</c:v>
                </c:pt>
                <c:pt idx="29">
                  <c:v>0.09672796751850968</c:v>
                </c:pt>
                <c:pt idx="30">
                  <c:v>0.1038523874828575</c:v>
                </c:pt>
                <c:pt idx="31">
                  <c:v>0.10535451996261183</c:v>
                </c:pt>
                <c:pt idx="32">
                  <c:v>0.10899593731863029</c:v>
                </c:pt>
                <c:pt idx="33">
                  <c:v>0.12797111623708757</c:v>
                </c:pt>
                <c:pt idx="34">
                  <c:v>0.14625793518209154</c:v>
                </c:pt>
                <c:pt idx="35">
                  <c:v>0.1358259823576584</c:v>
                </c:pt>
                <c:pt idx="36">
                  <c:v>0.10390372761960669</c:v>
                </c:pt>
                <c:pt idx="37">
                  <c:v>0.09606135447809697</c:v>
                </c:pt>
                <c:pt idx="38">
                  <c:v>0.09649749821300929</c:v>
                </c:pt>
                <c:pt idx="39">
                  <c:v>0.11560693641618497</c:v>
                </c:pt>
                <c:pt idx="40">
                  <c:v>0.0975940006249349</c:v>
                </c:pt>
                <c:pt idx="41">
                  <c:v>0.09644470634452956</c:v>
                </c:pt>
                <c:pt idx="42">
                  <c:v>0.09403215150847831</c:v>
                </c:pt>
                <c:pt idx="43">
                  <c:v>0.09792354884379424</c:v>
                </c:pt>
                <c:pt idx="44">
                  <c:v>0.09888431398592111</c:v>
                </c:pt>
                <c:pt idx="45">
                  <c:v>0.12067536772322353</c:v>
                </c:pt>
                <c:pt idx="46">
                  <c:v>0.10888216776742177</c:v>
                </c:pt>
                <c:pt idx="47">
                  <c:v>0.11330506998083513</c:v>
                </c:pt>
                <c:pt idx="48">
                  <c:v>0.11072238099931014</c:v>
                </c:pt>
                <c:pt idx="49">
                  <c:v>0.12743919356330344</c:v>
                </c:pt>
                <c:pt idx="50">
                  <c:v>0.16603508343010817</c:v>
                </c:pt>
                <c:pt idx="51">
                  <c:v>0.1441753171856978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5678213737409987</c:v>
                </c:pt>
              </c:numCache>
            </c:numRef>
          </c:xVal>
          <c:yVal>
            <c:numRef>
              <c:f>Sheet1!$B$163:$B$164</c:f>
              <c:numCache>
                <c:formatCode>General</c:formatCode>
                <c:ptCount val="2"/>
                <c:pt idx="0">
                  <c:v>0.19752850259336924</c:v>
                </c:pt>
                <c:pt idx="1">
                  <c:v>0.1975285025933692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5678213737409987</c:v>
                </c:pt>
                <c:pt idx="1">
                  <c:v>0.05678213737409987</c:v>
                </c:pt>
              </c:numCache>
            </c:numRef>
          </c:xVal>
          <c:yVal>
            <c:numRef>
              <c:f>Sheet1!$B$167:$B$168</c:f>
              <c:numCache>
                <c:formatCode>General</c:formatCode>
                <c:ptCount val="2"/>
                <c:pt idx="0">
                  <c:v>0.1975285025933692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23372914206019</c:v>
                </c:pt>
              </c:numCache>
            </c:numRef>
          </c:xVal>
          <c:yVal>
            <c:numRef>
              <c:f>Sheet1!$B$171:$B$172</c:f>
              <c:numCache>
                <c:formatCode>General</c:formatCode>
                <c:ptCount val="2"/>
                <c:pt idx="0">
                  <c:v>0.13709299379460488</c:v>
                </c:pt>
                <c:pt idx="1">
                  <c:v>0.1370929937946048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23372914206019</c:v>
                </c:pt>
                <c:pt idx="1">
                  <c:v>0.0823372914206019</c:v>
                </c:pt>
              </c:numCache>
            </c:numRef>
          </c:xVal>
          <c:yVal>
            <c:numRef>
              <c:f>Sheet1!$B$175:$B$176</c:f>
              <c:numCache>
                <c:formatCode>General</c:formatCode>
                <c:ptCount val="2"/>
                <c:pt idx="0">
                  <c:v>0.137092993794604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9178599408685069</c:v>
                </c:pt>
              </c:numCache>
            </c:numRef>
          </c:xVal>
          <c:yVal>
            <c:numRef>
              <c:f>Sheet1!$B$179:$B$180</c:f>
              <c:numCache>
                <c:formatCode>General</c:formatCode>
                <c:ptCount val="2"/>
                <c:pt idx="0">
                  <c:v>0.11474771064413408</c:v>
                </c:pt>
                <c:pt idx="1">
                  <c:v>0.1147477106441340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9178599408685069</c:v>
                </c:pt>
                <c:pt idx="1">
                  <c:v>0.09178599408685069</c:v>
                </c:pt>
              </c:numCache>
            </c:numRef>
          </c:xVal>
          <c:yVal>
            <c:numRef>
              <c:f>Sheet1!$B$183:$B$184</c:f>
              <c:numCache>
                <c:formatCode>General</c:formatCode>
                <c:ptCount val="2"/>
                <c:pt idx="0">
                  <c:v>0.1147477106441340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9368284117240666</c:v>
                </c:pt>
                <c:pt idx="1">
                  <c:v>0.09277108145923262</c:v>
                </c:pt>
                <c:pt idx="2">
                  <c:v>0.09182581699392069</c:v>
                </c:pt>
                <c:pt idx="3">
                  <c:v>0.09062943653816097</c:v>
                </c:pt>
                <c:pt idx="4">
                  <c:v>0.08893407421069907</c:v>
                </c:pt>
                <c:pt idx="5">
                  <c:v>0.09205600527360074</c:v>
                </c:pt>
                <c:pt idx="6">
                  <c:v>0.08399108367892964</c:v>
                </c:pt>
                <c:pt idx="7">
                  <c:v>0.0867961003776658</c:v>
                </c:pt>
                <c:pt idx="8">
                  <c:v>0.09620234129163273</c:v>
                </c:pt>
                <c:pt idx="9">
                  <c:v>0.08927132968270578</c:v>
                </c:pt>
                <c:pt idx="10">
                  <c:v>0.0905530578528421</c:v>
                </c:pt>
                <c:pt idx="11">
                  <c:v>0.08314674468293723</c:v>
                </c:pt>
                <c:pt idx="12">
                  <c:v>0.08417208312054011</c:v>
                </c:pt>
                <c:pt idx="13">
                  <c:v>0.08832889114163003</c:v>
                </c:pt>
                <c:pt idx="14">
                  <c:v>0.09054630041857287</c:v>
                </c:pt>
                <c:pt idx="15">
                  <c:v>0.09169140551302284</c:v>
                </c:pt>
                <c:pt idx="16">
                  <c:v>0.09271080231903063</c:v>
                </c:pt>
                <c:pt idx="17">
                  <c:v>0.09220363013083342</c:v>
                </c:pt>
                <c:pt idx="18">
                  <c:v>0.0843762698662</c:v>
                </c:pt>
                <c:pt idx="19">
                  <c:v>0.09068484419850754</c:v>
                </c:pt>
                <c:pt idx="20">
                  <c:v>0.09020208605897641</c:v>
                </c:pt>
                <c:pt idx="21">
                  <c:v>0.08729973923306697</c:v>
                </c:pt>
                <c:pt idx="22">
                  <c:v>0.09172357311503894</c:v>
                </c:pt>
                <c:pt idx="23">
                  <c:v>0.08788760199472533</c:v>
                </c:pt>
                <c:pt idx="24">
                  <c:v>0.09469586404598987</c:v>
                </c:pt>
                <c:pt idx="25">
                  <c:v>0.08932950692535448</c:v>
                </c:pt>
                <c:pt idx="26">
                  <c:v>0.09477902673807516</c:v>
                </c:pt>
                <c:pt idx="27">
                  <c:v>0.0953225047454055</c:v>
                </c:pt>
                <c:pt idx="28">
                  <c:v>0.09108683392042007</c:v>
                </c:pt>
                <c:pt idx="29">
                  <c:v>0.08937786256011958</c:v>
                </c:pt>
                <c:pt idx="30">
                  <c:v>0.08665476664859424</c:v>
                </c:pt>
                <c:pt idx="31">
                  <c:v>0.08547853931870787</c:v>
                </c:pt>
                <c:pt idx="32">
                  <c:v>0.08455832281355659</c:v>
                </c:pt>
                <c:pt idx="33">
                  <c:v>0.08855425343763536</c:v>
                </c:pt>
                <c:pt idx="34">
                  <c:v>0.08963489503521167</c:v>
                </c:pt>
                <c:pt idx="35">
                  <c:v>0.08894557096909629</c:v>
                </c:pt>
                <c:pt idx="36">
                  <c:v>0.09014774528363052</c:v>
                </c:pt>
                <c:pt idx="37">
                  <c:v>0.09675787455244284</c:v>
                </c:pt>
                <c:pt idx="38">
                  <c:v>0.09829164501831304</c:v>
                </c:pt>
                <c:pt idx="39">
                  <c:v>0.09474940850119788</c:v>
                </c:pt>
                <c:pt idx="40">
                  <c:v>0.09864294114078649</c:v>
                </c:pt>
                <c:pt idx="41">
                  <c:v>0.10067942452767871</c:v>
                </c:pt>
                <c:pt idx="42">
                  <c:v>0.10112489389236934</c:v>
                </c:pt>
                <c:pt idx="43">
                  <c:v>0.10093444313706038</c:v>
                </c:pt>
                <c:pt idx="44">
                  <c:v>0.09627203148537539</c:v>
                </c:pt>
                <c:pt idx="45">
                  <c:v>0.09408335615389614</c:v>
                </c:pt>
                <c:pt idx="46">
                  <c:v>0.09239112373214418</c:v>
                </c:pt>
                <c:pt idx="47">
                  <c:v>0.09108431615029934</c:v>
                </c:pt>
                <c:pt idx="48">
                  <c:v>0.08781160943959156</c:v>
                </c:pt>
                <c:pt idx="49">
                  <c:v>0.08879667086692704</c:v>
                </c:pt>
                <c:pt idx="50">
                  <c:v>0.08272453009917695</c:v>
                </c:pt>
                <c:pt idx="51">
                  <c:v>0.08081396294265354</c:v>
                </c:pt>
                <c:pt idx="52">
                  <c:v>0.0823372914206019</c:v>
                </c:pt>
                <c:pt idx="53">
                  <c:v>0.05678213737409987</c:v>
                </c:pt>
                <c:pt idx="54">
                  <c:v>0.09178599408685069</c:v>
                </c:pt>
              </c:numCache>
            </c:numRef>
          </c:xVal>
          <c:yVal>
            <c:numRef>
              <c:f>Sheet1!$B$187:$B$241</c:f>
              <c:numCache>
                <c:formatCode>General</c:formatCode>
                <c:ptCount val="55"/>
                <c:pt idx="0">
                  <c:v>0.11026184769373171</c:v>
                </c:pt>
                <c:pt idx="1">
                  <c:v>0.11241807269897411</c:v>
                </c:pt>
                <c:pt idx="2">
                  <c:v>0.11465353325642427</c:v>
                </c:pt>
                <c:pt idx="3">
                  <c:v>0.11748285924793136</c:v>
                </c:pt>
                <c:pt idx="4">
                  <c:v>0.1214922299084241</c:v>
                </c:pt>
                <c:pt idx="5">
                  <c:v>0.11410915986792261</c:v>
                </c:pt>
                <c:pt idx="6">
                  <c:v>0.1331819323939331</c:v>
                </c:pt>
                <c:pt idx="7">
                  <c:v>0.12654833468332355</c:v>
                </c:pt>
                <c:pt idx="8">
                  <c:v>0.1043034695385111</c:v>
                </c:pt>
                <c:pt idx="9">
                  <c:v>0.12069465279310701</c:v>
                </c:pt>
                <c:pt idx="10">
                  <c:v>0.11766348757442188</c:v>
                </c:pt>
                <c:pt idx="11">
                  <c:v>0.13517871381534755</c:v>
                </c:pt>
                <c:pt idx="12">
                  <c:v>0.13275388592917237</c:v>
                </c:pt>
                <c:pt idx="13">
                  <c:v>0.122923430308509</c:v>
                </c:pt>
                <c:pt idx="14">
                  <c:v>0.11767946826377684</c:v>
                </c:pt>
                <c:pt idx="15">
                  <c:v>0.11497140362502684</c:v>
                </c:pt>
                <c:pt idx="16">
                  <c:v>0.11256062713247234</c:v>
                </c:pt>
                <c:pt idx="17">
                  <c:v>0.11376004112099714</c:v>
                </c:pt>
                <c:pt idx="18">
                  <c:v>0.1322710036956525</c:v>
                </c:pt>
                <c:pt idx="19">
                  <c:v>0.11735182540097036</c:v>
                </c:pt>
                <c:pt idx="20">
                  <c:v>0.1184935024863919</c:v>
                </c:pt>
                <c:pt idx="21">
                  <c:v>0.12535727669081018</c:v>
                </c:pt>
                <c:pt idx="22">
                  <c:v>0.11489533030568225</c:v>
                </c:pt>
                <c:pt idx="23">
                  <c:v>0.12396703717043708</c:v>
                </c:pt>
                <c:pt idx="24">
                  <c:v>0.10786614494514399</c:v>
                </c:pt>
                <c:pt idx="25">
                  <c:v>0.12055706914741326</c:v>
                </c:pt>
                <c:pt idx="26">
                  <c:v>0.10766947308786995</c:v>
                </c:pt>
                <c:pt idx="27">
                  <c:v>0.10638419929009985</c:v>
                </c:pt>
                <c:pt idx="28">
                  <c:v>0.11640115794142583</c:v>
                </c:pt>
                <c:pt idx="29">
                  <c:v>0.12044271267024242</c:v>
                </c:pt>
                <c:pt idx="30">
                  <c:v>0.12688257551048993</c:v>
                </c:pt>
                <c:pt idx="31">
                  <c:v>0.1296642412760471</c:v>
                </c:pt>
                <c:pt idx="32">
                  <c:v>0.13184046578999992</c:v>
                </c:pt>
                <c:pt idx="33">
                  <c:v>0.12239046991240435</c:v>
                </c:pt>
                <c:pt idx="34">
                  <c:v>0.11983485531271174</c:v>
                </c:pt>
                <c:pt idx="35">
                  <c:v>0.1214650411682581</c:v>
                </c:pt>
                <c:pt idx="36">
                  <c:v>0.1186220132517965</c:v>
                </c:pt>
                <c:pt idx="37">
                  <c:v>0.10298968621282262</c:v>
                </c:pt>
                <c:pt idx="38">
                  <c:v>0.09936246493617873</c:v>
                </c:pt>
                <c:pt idx="39">
                  <c:v>0.10773951740112839</c:v>
                </c:pt>
                <c:pt idx="40">
                  <c:v>0.09853168301789789</c:v>
                </c:pt>
                <c:pt idx="41">
                  <c:v>0.09371559349548278</c:v>
                </c:pt>
                <c:pt idx="42">
                  <c:v>0.09266210081606668</c:v>
                </c:pt>
                <c:pt idx="43">
                  <c:v>0.0931124987388208</c:v>
                </c:pt>
                <c:pt idx="44">
                  <c:v>0.10413865885846363</c:v>
                </c:pt>
                <c:pt idx="45">
                  <c:v>0.10931466785502683</c:v>
                </c:pt>
                <c:pt idx="46">
                  <c:v>0.11331663658619726</c:v>
                </c:pt>
                <c:pt idx="47">
                  <c:v>0.11640711222829914</c:v>
                </c:pt>
                <c:pt idx="48">
                  <c:v>0.12414675233576422</c:v>
                </c:pt>
                <c:pt idx="49">
                  <c:v>0.12181717574817147</c:v>
                </c:pt>
                <c:pt idx="50">
                  <c:v>0.13617721114959874</c:v>
                </c:pt>
                <c:pt idx="51">
                  <c:v>0.14069552076293898</c:v>
                </c:pt>
                <c:pt idx="52">
                  <c:v>0.13709299379460488</c:v>
                </c:pt>
                <c:pt idx="53">
                  <c:v>0.19752850259336924</c:v>
                </c:pt>
                <c:pt idx="54">
                  <c:v>0.1147477106441340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04283604135893"/>
          <c:min val="0.0662343038498689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4.7395</c:v>
                </c:pt>
                <c:pt idx="1">
                  <c:v>844.4047</c:v>
                </c:pt>
                <c:pt idx="2">
                  <c:v>870.2162</c:v>
                </c:pt>
                <c:pt idx="3">
                  <c:v>883.7203</c:v>
                </c:pt>
                <c:pt idx="4">
                  <c:v>892.2127</c:v>
                </c:pt>
                <c:pt idx="5">
                  <c:v>900.7778</c:v>
                </c:pt>
                <c:pt idx="6">
                  <c:v>874.1441</c:v>
                </c:pt>
                <c:pt idx="7">
                  <c:v>878.1715</c:v>
                </c:pt>
                <c:pt idx="8">
                  <c:v>873.7214</c:v>
                </c:pt>
                <c:pt idx="9">
                  <c:v>829.0708</c:v>
                </c:pt>
                <c:pt idx="10">
                  <c:v>818.2476</c:v>
                </c:pt>
                <c:pt idx="11">
                  <c:v>851.1822</c:v>
                </c:pt>
                <c:pt idx="12">
                  <c:v>847.582</c:v>
                </c:pt>
                <c:pt idx="13">
                  <c:v>846.3009</c:v>
                </c:pt>
                <c:pt idx="14">
                  <c:v>890.6905</c:v>
                </c:pt>
                <c:pt idx="15">
                  <c:v>900.8294</c:v>
                </c:pt>
                <c:pt idx="16">
                  <c:v>905.8495</c:v>
                </c:pt>
                <c:pt idx="17">
                  <c:v>913.7769</c:v>
                </c:pt>
                <c:pt idx="18">
                  <c:v>940.1416</c:v>
                </c:pt>
                <c:pt idx="19">
                  <c:v>966.3358</c:v>
                </c:pt>
                <c:pt idx="20">
                  <c:v>974.0241</c:v>
                </c:pt>
                <c:pt idx="21">
                  <c:v>978.0425</c:v>
                </c:pt>
                <c:pt idx="22">
                  <c:v>958.2454</c:v>
                </c:pt>
                <c:pt idx="23">
                  <c:v>946.8698</c:v>
                </c:pt>
                <c:pt idx="24">
                  <c:v>937.3111</c:v>
                </c:pt>
                <c:pt idx="25">
                  <c:v>921.574</c:v>
                </c:pt>
                <c:pt idx="26">
                  <c:v>918.7037</c:v>
                </c:pt>
                <c:pt idx="27">
                  <c:v>956.3955</c:v>
                </c:pt>
                <c:pt idx="28">
                  <c:v>957.1646</c:v>
                </c:pt>
                <c:pt idx="29">
                  <c:v>791.5038</c:v>
                </c:pt>
                <c:pt idx="30">
                  <c:v>848.0671</c:v>
                </c:pt>
                <c:pt idx="31">
                  <c:v>884.5903</c:v>
                </c:pt>
                <c:pt idx="32">
                  <c:v>864.0503</c:v>
                </c:pt>
                <c:pt idx="33">
                  <c:v>784.5681</c:v>
                </c:pt>
                <c:pt idx="34">
                  <c:v>900.7358</c:v>
                </c:pt>
                <c:pt idx="35">
                  <c:v>962.9496</c:v>
                </c:pt>
                <c:pt idx="36">
                  <c:v>1030.8847</c:v>
                </c:pt>
                <c:pt idx="37">
                  <c:v>1038.3681</c:v>
                </c:pt>
                <c:pt idx="38">
                  <c:v>1065.7465</c:v>
                </c:pt>
                <c:pt idx="39">
                  <c:v>1090.5426</c:v>
                </c:pt>
                <c:pt idx="40">
                  <c:v>1115.1897</c:v>
                </c:pt>
                <c:pt idx="41">
                  <c:v>1133.7055</c:v>
                </c:pt>
                <c:pt idx="42">
                  <c:v>1143.3923</c:v>
                </c:pt>
                <c:pt idx="43">
                  <c:v>1132.605</c:v>
                </c:pt>
                <c:pt idx="44">
                  <c:v>1063.7021</c:v>
                </c:pt>
                <c:pt idx="45">
                  <c:v>1024.7738</c:v>
                </c:pt>
                <c:pt idx="46">
                  <c:v>1011.3422</c:v>
                </c:pt>
                <c:pt idx="47">
                  <c:v>993.8071</c:v>
                </c:pt>
                <c:pt idx="48">
                  <c:v>987.1598</c:v>
                </c:pt>
                <c:pt idx="49">
                  <c:v>971.8994</c:v>
                </c:pt>
                <c:pt idx="50">
                  <c:v>967.8056</c:v>
                </c:pt>
                <c:pt idx="51">
                  <c:v>954.7659</c:v>
                </c:pt>
                <c:pt idx="52">
                  <c:v>961.2862</c:v>
                </c:pt>
                <c:pt idx="53">
                  <c:v>1065.0158</c:v>
                </c:pt>
                <c:pt idx="54">
                  <c:v>1067.3335</c:v>
                </c:pt>
                <c:pt idx="55">
                  <c:v>1073.6227</c:v>
                </c:pt>
                <c:pt idx="56">
                  <c:v>1097.0604</c:v>
                </c:pt>
                <c:pt idx="57">
                  <c:v>1095.9327</c:v>
                </c:pt>
                <c:pt idx="58">
                  <c:v>1064.1597</c:v>
                </c:pt>
                <c:pt idx="59">
                  <c:v>1059.3384</c:v>
                </c:pt>
                <c:pt idx="60">
                  <c:v>1079.1316</c:v>
                </c:pt>
                <c:pt idx="61">
                  <c:v>1049.1863</c:v>
                </c:pt>
                <c:pt idx="62">
                  <c:v>992.0157</c:v>
                </c:pt>
                <c:pt idx="63">
                  <c:v>1028.8909</c:v>
                </c:pt>
                <c:pt idx="64">
                  <c:v>1026.505</c:v>
                </c:pt>
                <c:pt idx="65">
                  <c:v>1020.3602</c:v>
                </c:pt>
                <c:pt idx="66">
                  <c:v>1044.012</c:v>
                </c:pt>
                <c:pt idx="67">
                  <c:v>1062.4589</c:v>
                </c:pt>
                <c:pt idx="68">
                  <c:v>1047.5018</c:v>
                </c:pt>
                <c:pt idx="69">
                  <c:v>1051.1609</c:v>
                </c:pt>
                <c:pt idx="70">
                  <c:v>1059.9428</c:v>
                </c:pt>
                <c:pt idx="71">
                  <c:v>1091.8</c:v>
                </c:pt>
                <c:pt idx="72">
                  <c:v>1148.2741</c:v>
                </c:pt>
                <c:pt idx="73">
                  <c:v>1189.5775</c:v>
                </c:pt>
                <c:pt idx="74">
                  <c:v>1158.1922</c:v>
                </c:pt>
                <c:pt idx="75">
                  <c:v>1137.3933</c:v>
                </c:pt>
                <c:pt idx="76">
                  <c:v>1145.8753</c:v>
                </c:pt>
                <c:pt idx="77">
                  <c:v>1141.6081</c:v>
                </c:pt>
                <c:pt idx="78">
                  <c:v>1139.9126</c:v>
                </c:pt>
                <c:pt idx="79">
                  <c:v>1166.4725</c:v>
                </c:pt>
                <c:pt idx="80">
                  <c:v>1164.5252</c:v>
                </c:pt>
                <c:pt idx="81">
                  <c:v>1154.0077</c:v>
                </c:pt>
                <c:pt idx="82">
                  <c:v>1169.0915</c:v>
                </c:pt>
                <c:pt idx="83">
                  <c:v>1159.0233</c:v>
                </c:pt>
                <c:pt idx="84">
                  <c:v>1128.1737</c:v>
                </c:pt>
                <c:pt idx="85">
                  <c:v>1111.4616</c:v>
                </c:pt>
                <c:pt idx="86">
                  <c:v>1133.234</c:v>
                </c:pt>
                <c:pt idx="87">
                  <c:v>1158.7054</c:v>
                </c:pt>
                <c:pt idx="88">
                  <c:v>1157.9677</c:v>
                </c:pt>
                <c:pt idx="89">
                  <c:v>1144.054</c:v>
                </c:pt>
                <c:pt idx="90">
                  <c:v>1191.777</c:v>
                </c:pt>
                <c:pt idx="91">
                  <c:v>1204.7724</c:v>
                </c:pt>
                <c:pt idx="92">
                  <c:v>1139.6722</c:v>
                </c:pt>
                <c:pt idx="93">
                  <c:v>1178.0642</c:v>
                </c:pt>
                <c:pt idx="94">
                  <c:v>1166.7915</c:v>
                </c:pt>
                <c:pt idx="95">
                  <c:v>1150.5536</c:v>
                </c:pt>
                <c:pt idx="96">
                  <c:v>1081.9811</c:v>
                </c:pt>
                <c:pt idx="97">
                  <c:v>1097.1846</c:v>
                </c:pt>
                <c:pt idx="98">
                  <c:v>1078.9228</c:v>
                </c:pt>
                <c:pt idx="99">
                  <c:v>1032.2882</c:v>
                </c:pt>
                <c:pt idx="100">
                  <c:v>1027.3333</c:v>
                </c:pt>
                <c:pt idx="101">
                  <c:v>1075.6902</c:v>
                </c:pt>
                <c:pt idx="102">
                  <c:v>1089.6114</c:v>
                </c:pt>
                <c:pt idx="103">
                  <c:v>1040.7115</c:v>
                </c:pt>
                <c:pt idx="104">
                  <c:v>1087.4354</c:v>
                </c:pt>
              </c:numCache>
            </c:numRef>
          </c:xVal>
          <c:yVal>
            <c:numRef>
              <c:f>Sheet1!$B$2:$B$106</c:f>
              <c:numCache>
                <c:formatCode>General</c:formatCode>
                <c:ptCount val="105"/>
                <c:pt idx="0">
                  <c:v>0.2336903003446578</c:v>
                </c:pt>
                <c:pt idx="1">
                  <c:v>0.22766497461928933</c:v>
                </c:pt>
                <c:pt idx="2">
                  <c:v>0.19406018858336627</c:v>
                </c:pt>
                <c:pt idx="3">
                  <c:v>0.18538291605301915</c:v>
                </c:pt>
                <c:pt idx="4">
                  <c:v>0.16204192429497813</c:v>
                </c:pt>
                <c:pt idx="5">
                  <c:v>0.1393648797358906</c:v>
                </c:pt>
                <c:pt idx="6">
                  <c:v>0.15394402035623408</c:v>
                </c:pt>
                <c:pt idx="7">
                  <c:v>0.14659300184162063</c:v>
                </c:pt>
                <c:pt idx="8">
                  <c:v>0.16634615384615384</c:v>
                </c:pt>
                <c:pt idx="9">
                  <c:v>0.19188557671882744</c:v>
                </c:pt>
                <c:pt idx="10">
                  <c:v>0.20462159020988582</c:v>
                </c:pt>
                <c:pt idx="11">
                  <c:v>0.19413645330249643</c:v>
                </c:pt>
                <c:pt idx="12">
                  <c:v>0.2111118055121555</c:v>
                </c:pt>
                <c:pt idx="13">
                  <c:v>0.21688463032500324</c:v>
                </c:pt>
                <c:pt idx="14">
                  <c:v>0.21993649953697578</c:v>
                </c:pt>
                <c:pt idx="15">
                  <c:v>0.21430289425158341</c:v>
                </c:pt>
                <c:pt idx="16">
                  <c:v>0.2086924288759151</c:v>
                </c:pt>
                <c:pt idx="17">
                  <c:v>0.19300671671276176</c:v>
                </c:pt>
                <c:pt idx="18">
                  <c:v>0.1821827246125501</c:v>
                </c:pt>
                <c:pt idx="19">
                  <c:v>0.1677987421383648</c:v>
                </c:pt>
                <c:pt idx="20">
                  <c:v>0.1888670052866176</c:v>
                </c:pt>
                <c:pt idx="21">
                  <c:v>0.1744434662306628</c:v>
                </c:pt>
                <c:pt idx="22">
                  <c:v>0.17539975399754</c:v>
                </c:pt>
                <c:pt idx="23">
                  <c:v>0.17809278350515464</c:v>
                </c:pt>
                <c:pt idx="24">
                  <c:v>0.17713950762016412</c:v>
                </c:pt>
                <c:pt idx="25">
                  <c:v>0.17013056221689316</c:v>
                </c:pt>
                <c:pt idx="26">
                  <c:v>0.1763819095477387</c:v>
                </c:pt>
                <c:pt idx="27">
                  <c:v>0.16479446981854093</c:v>
                </c:pt>
                <c:pt idx="28">
                  <c:v>0.16121897272057018</c:v>
                </c:pt>
                <c:pt idx="29">
                  <c:v>0.18130880642774078</c:v>
                </c:pt>
                <c:pt idx="30">
                  <c:v>0.16392757660167132</c:v>
                </c:pt>
                <c:pt idx="31">
                  <c:v>0.15785245682152899</c:v>
                </c:pt>
                <c:pt idx="32">
                  <c:v>0.17159913628858123</c:v>
                </c:pt>
                <c:pt idx="33">
                  <c:v>0.19846338056276192</c:v>
                </c:pt>
                <c:pt idx="34">
                  <c:v>0.1836734693877551</c:v>
                </c:pt>
                <c:pt idx="35">
                  <c:v>0.18745454545454546</c:v>
                </c:pt>
                <c:pt idx="36">
                  <c:v>0.14620119059630712</c:v>
                </c:pt>
                <c:pt idx="37">
                  <c:v>0.13155825188181103</c:v>
                </c:pt>
                <c:pt idx="38">
                  <c:v>0.12670086995315638</c:v>
                </c:pt>
                <c:pt idx="39">
                  <c:v>0.11745994344957587</c:v>
                </c:pt>
                <c:pt idx="40">
                  <c:v>0.11861296242634985</c:v>
                </c:pt>
                <c:pt idx="41">
                  <c:v>0.09699696557497123</c:v>
                </c:pt>
                <c:pt idx="42">
                  <c:v>0.10267937421327099</c:v>
                </c:pt>
                <c:pt idx="43">
                  <c:v>0.10876937984496124</c:v>
                </c:pt>
                <c:pt idx="44">
                  <c:v>0.13106005280602212</c:v>
                </c:pt>
                <c:pt idx="45">
                  <c:v>0.14652833200319235</c:v>
                </c:pt>
                <c:pt idx="46">
                  <c:v>0.14924378364521917</c:v>
                </c:pt>
                <c:pt idx="47">
                  <c:v>0.1453833066969119</c:v>
                </c:pt>
                <c:pt idx="48">
                  <c:v>0.16200567644276254</c:v>
                </c:pt>
                <c:pt idx="49">
                  <c:v>0.18696397941680962</c:v>
                </c:pt>
                <c:pt idx="50">
                  <c:v>0.14947868277072365</c:v>
                </c:pt>
                <c:pt idx="51">
                  <c:v>0.1366100249710701</c:v>
                </c:pt>
                <c:pt idx="52">
                  <c:v>0.15429433491130418</c:v>
                </c:pt>
                <c:pt idx="53">
                  <c:v>0.13236322043591536</c:v>
                </c:pt>
                <c:pt idx="54">
                  <c:v>0.12499148559362441</c:v>
                </c:pt>
                <c:pt idx="55">
                  <c:v>0.11914417563977066</c:v>
                </c:pt>
                <c:pt idx="56">
                  <c:v>0.12371940808195789</c:v>
                </c:pt>
                <c:pt idx="57">
                  <c:v>0.11464546056991386</c:v>
                </c:pt>
                <c:pt idx="58">
                  <c:v>0.13095514757146176</c:v>
                </c:pt>
                <c:pt idx="59">
                  <c:v>0.1409935737099319</c:v>
                </c:pt>
                <c:pt idx="60">
                  <c:v>0.1477252995311686</c:v>
                </c:pt>
                <c:pt idx="61">
                  <c:v>0.1442077549066539</c:v>
                </c:pt>
                <c:pt idx="62">
                  <c:v>0.15994631499095524</c:v>
                </c:pt>
                <c:pt idx="63">
                  <c:v>0.1794679253379103</c:v>
                </c:pt>
                <c:pt idx="64">
                  <c:v>0.1860388721598686</c:v>
                </c:pt>
                <c:pt idx="65">
                  <c:v>0.1751884532226962</c:v>
                </c:pt>
                <c:pt idx="66">
                  <c:v>0.16538995114301225</c:v>
                </c:pt>
                <c:pt idx="67">
                  <c:v>0.1515056264537625</c:v>
                </c:pt>
                <c:pt idx="68">
                  <c:v>0.13681221157259496</c:v>
                </c:pt>
                <c:pt idx="69">
                  <c:v>0.12007764836383805</c:v>
                </c:pt>
                <c:pt idx="70">
                  <c:v>0.10860744194077528</c:v>
                </c:pt>
                <c:pt idx="71">
                  <c:v>0.11649494105634456</c:v>
                </c:pt>
                <c:pt idx="72">
                  <c:v>0.12022680960396917</c:v>
                </c:pt>
                <c:pt idx="73">
                  <c:v>0.11500232234091964</c:v>
                </c:pt>
                <c:pt idx="74">
                  <c:v>0.10718075698620445</c:v>
                </c:pt>
                <c:pt idx="75">
                  <c:v>0.10917488977535167</c:v>
                </c:pt>
                <c:pt idx="76">
                  <c:v>0.1050294215610081</c:v>
                </c:pt>
                <c:pt idx="77">
                  <c:v>0.10326456585808207</c:v>
                </c:pt>
                <c:pt idx="78">
                  <c:v>0.09955860716037274</c:v>
                </c:pt>
                <c:pt idx="79">
                  <c:v>0.09373926977223303</c:v>
                </c:pt>
                <c:pt idx="80">
                  <c:v>0.08714748035136384</c:v>
                </c:pt>
                <c:pt idx="81">
                  <c:v>0.09712364587224505</c:v>
                </c:pt>
                <c:pt idx="82">
                  <c:v>0.08849883392659874</c:v>
                </c:pt>
                <c:pt idx="83">
                  <c:v>0.08279287981233614</c:v>
                </c:pt>
                <c:pt idx="84">
                  <c:v>0.0865411632481034</c:v>
                </c:pt>
                <c:pt idx="85">
                  <c:v>0.09759391112202308</c:v>
                </c:pt>
                <c:pt idx="86">
                  <c:v>0.10509885535900104</c:v>
                </c:pt>
                <c:pt idx="87">
                  <c:v>0.12609274040288865</c:v>
                </c:pt>
                <c:pt idx="88">
                  <c:v>0.10473524609283881</c:v>
                </c:pt>
                <c:pt idx="89">
                  <c:v>0.09010214007782101</c:v>
                </c:pt>
                <c:pt idx="90">
                  <c:v>0.08617482951022938</c:v>
                </c:pt>
                <c:pt idx="91">
                  <c:v>0.09022828844063292</c:v>
                </c:pt>
                <c:pt idx="92">
                  <c:v>0.0951813214108296</c:v>
                </c:pt>
                <c:pt idx="93">
                  <c:v>0.09130434782608696</c:v>
                </c:pt>
                <c:pt idx="94">
                  <c:v>0.09576345984112974</c:v>
                </c:pt>
                <c:pt idx="95">
                  <c:v>0.10623068163331706</c:v>
                </c:pt>
                <c:pt idx="96">
                  <c:v>0.10862857142857144</c:v>
                </c:pt>
                <c:pt idx="97">
                  <c:v>0.11879259980525804</c:v>
                </c:pt>
                <c:pt idx="98">
                  <c:v>0.13888515180052918</c:v>
                </c:pt>
                <c:pt idx="99">
                  <c:v>0.14448152747593915</c:v>
                </c:pt>
                <c:pt idx="100">
                  <c:v>0.16821783604667914</c:v>
                </c:pt>
                <c:pt idx="101">
                  <c:v>0.13859708573364962</c:v>
                </c:pt>
                <c:pt idx="102">
                  <c:v>0.10829657885326022</c:v>
                </c:pt>
                <c:pt idx="103">
                  <c:v>0.11819780968053112</c:v>
                </c:pt>
                <c:pt idx="104">
                  <c:v>0.1251913477537437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8.933</c:v>
                </c:pt>
                <c:pt idx="1">
                  <c:v>1130.1058</c:v>
                </c:pt>
                <c:pt idx="2">
                  <c:v>1130.3505</c:v>
                </c:pt>
                <c:pt idx="3">
                  <c:v>1112.1749</c:v>
                </c:pt>
                <c:pt idx="4">
                  <c:v>1121.0077</c:v>
                </c:pt>
                <c:pt idx="5">
                  <c:v>1125.9822</c:v>
                </c:pt>
                <c:pt idx="6">
                  <c:v>1030.5625</c:v>
                </c:pt>
                <c:pt idx="7">
                  <c:v>1069.4974</c:v>
                </c:pt>
                <c:pt idx="8">
                  <c:v>1148.955</c:v>
                </c:pt>
                <c:pt idx="9">
                  <c:v>1080.3153</c:v>
                </c:pt>
                <c:pt idx="10">
                  <c:v>1100.3071</c:v>
                </c:pt>
                <c:pt idx="11">
                  <c:v>1003.2767</c:v>
                </c:pt>
                <c:pt idx="12">
                  <c:v>1041.5539</c:v>
                </c:pt>
                <c:pt idx="13">
                  <c:v>1079.1156</c:v>
                </c:pt>
                <c:pt idx="14">
                  <c:v>1100.0661</c:v>
                </c:pt>
                <c:pt idx="15">
                  <c:v>1115.22</c:v>
                </c:pt>
                <c:pt idx="16">
                  <c:v>1147.3216</c:v>
                </c:pt>
                <c:pt idx="17">
                  <c:v>1126.6781</c:v>
                </c:pt>
                <c:pt idx="18">
                  <c:v>1046.322</c:v>
                </c:pt>
                <c:pt idx="19">
                  <c:v>1109.9576</c:v>
                </c:pt>
                <c:pt idx="20">
                  <c:v>1103.3842</c:v>
                </c:pt>
                <c:pt idx="21">
                  <c:v>1069.1992</c:v>
                </c:pt>
                <c:pt idx="22">
                  <c:v>1103.035</c:v>
                </c:pt>
                <c:pt idx="23">
                  <c:v>1088.7015</c:v>
                </c:pt>
                <c:pt idx="24">
                  <c:v>1152.668</c:v>
                </c:pt>
                <c:pt idx="25">
                  <c:v>1114.5372</c:v>
                </c:pt>
                <c:pt idx="26">
                  <c:v>1154.1191</c:v>
                </c:pt>
                <c:pt idx="27">
                  <c:v>1153.0175</c:v>
                </c:pt>
                <c:pt idx="28">
                  <c:v>1090.6205</c:v>
                </c:pt>
                <c:pt idx="29">
                  <c:v>1079.4531</c:v>
                </c:pt>
                <c:pt idx="30">
                  <c:v>1064.8908</c:v>
                </c:pt>
                <c:pt idx="31">
                  <c:v>1049.3004</c:v>
                </c:pt>
                <c:pt idx="32">
                  <c:v>1044.6028</c:v>
                </c:pt>
                <c:pt idx="33">
                  <c:v>1071.1442</c:v>
                </c:pt>
                <c:pt idx="34">
                  <c:v>1099.8629</c:v>
                </c:pt>
                <c:pt idx="35">
                  <c:v>1127.293</c:v>
                </c:pt>
                <c:pt idx="36">
                  <c:v>1120.9661</c:v>
                </c:pt>
                <c:pt idx="37">
                  <c:v>1225.6522</c:v>
                </c:pt>
                <c:pt idx="38">
                  <c:v>1227.4904</c:v>
                </c:pt>
                <c:pt idx="39">
                  <c:v>1193.7889</c:v>
                </c:pt>
                <c:pt idx="40">
                  <c:v>1227.2038</c:v>
                </c:pt>
                <c:pt idx="41">
                  <c:v>1278.1202</c:v>
                </c:pt>
                <c:pt idx="42">
                  <c:v>1262.3501</c:v>
                </c:pt>
                <c:pt idx="43">
                  <c:v>1265.3888</c:v>
                </c:pt>
                <c:pt idx="44">
                  <c:v>1187.728</c:v>
                </c:pt>
                <c:pt idx="45">
                  <c:v>1159.4189</c:v>
                </c:pt>
                <c:pt idx="46">
                  <c:v>1159.2925</c:v>
                </c:pt>
                <c:pt idx="47">
                  <c:v>1141.9672</c:v>
                </c:pt>
                <c:pt idx="48">
                  <c:v>1113.4272</c:v>
                </c:pt>
                <c:pt idx="49">
                  <c:v>1113.2721</c:v>
                </c:pt>
                <c:pt idx="50">
                  <c:v>1017.7432</c:v>
                </c:pt>
                <c:pt idx="51">
                  <c:v>1000.3989</c:v>
                </c:pt>
              </c:numCache>
            </c:numRef>
          </c:xVal>
          <c:yVal>
            <c:numRef>
              <c:f>Sheet1!$B$109:$B$160</c:f>
              <c:numCache>
                <c:formatCode>General</c:formatCode>
                <c:ptCount val="52"/>
                <c:pt idx="0">
                  <c:v>0.1241701058675758</c:v>
                </c:pt>
                <c:pt idx="1">
                  <c:v>0.12124403692460195</c:v>
                </c:pt>
                <c:pt idx="2">
                  <c:v>0.12557179515787126</c:v>
                </c:pt>
                <c:pt idx="3">
                  <c:v>0.13490629939038157</c:v>
                </c:pt>
                <c:pt idx="4">
                  <c:v>0.11956459467201375</c:v>
                </c:pt>
                <c:pt idx="5">
                  <c:v>0.12042446643615119</c:v>
                </c:pt>
                <c:pt idx="6">
                  <c:v>0.131292332701165</c:v>
                </c:pt>
                <c:pt idx="7">
                  <c:v>0.12793695219857112</c:v>
                </c:pt>
                <c:pt idx="8">
                  <c:v>0.1245531361715957</c:v>
                </c:pt>
                <c:pt idx="9">
                  <c:v>0.13298197372441187</c:v>
                </c:pt>
                <c:pt idx="10">
                  <c:v>0.14395563770794825</c:v>
                </c:pt>
                <c:pt idx="11">
                  <c:v>0.15904273122838336</c:v>
                </c:pt>
                <c:pt idx="12">
                  <c:v>0.15511170859740092</c:v>
                </c:pt>
                <c:pt idx="13">
                  <c:v>0.14386746120096916</c:v>
                </c:pt>
                <c:pt idx="14">
                  <c:v>0.13905368253508898</c:v>
                </c:pt>
                <c:pt idx="15">
                  <c:v>0.1314507535393515</c:v>
                </c:pt>
                <c:pt idx="16">
                  <c:v>0.11813687223523289</c:v>
                </c:pt>
                <c:pt idx="17">
                  <c:v>0.10493046776232617</c:v>
                </c:pt>
                <c:pt idx="18">
                  <c:v>0.11312893921589574</c:v>
                </c:pt>
                <c:pt idx="19">
                  <c:v>0.11665676371558724</c:v>
                </c:pt>
                <c:pt idx="20">
                  <c:v>0.10049719665714588</c:v>
                </c:pt>
                <c:pt idx="21">
                  <c:v>0.10556951977774838</c:v>
                </c:pt>
                <c:pt idx="22">
                  <c:v>0.10143213769544081</c:v>
                </c:pt>
                <c:pt idx="23">
                  <c:v>0.10108352763681251</c:v>
                </c:pt>
                <c:pt idx="24">
                  <c:v>0.09230769230769231</c:v>
                </c:pt>
                <c:pt idx="25">
                  <c:v>0.10199376101993761</c:v>
                </c:pt>
                <c:pt idx="26">
                  <c:v>0.08668076109936575</c:v>
                </c:pt>
                <c:pt idx="27">
                  <c:v>0.08998875140607424</c:v>
                </c:pt>
                <c:pt idx="28">
                  <c:v>0.09841810172206648</c:v>
                </c:pt>
                <c:pt idx="29">
                  <c:v>0.09672796751850968</c:v>
                </c:pt>
                <c:pt idx="30">
                  <c:v>0.1038523874828575</c:v>
                </c:pt>
                <c:pt idx="31">
                  <c:v>0.10535451996261183</c:v>
                </c:pt>
                <c:pt idx="32">
                  <c:v>0.10899593731863029</c:v>
                </c:pt>
                <c:pt idx="33">
                  <c:v>0.12797111623708757</c:v>
                </c:pt>
                <c:pt idx="34">
                  <c:v>0.14625793518209154</c:v>
                </c:pt>
                <c:pt idx="35">
                  <c:v>0.1358259823576584</c:v>
                </c:pt>
                <c:pt idx="36">
                  <c:v>0.10390372761960669</c:v>
                </c:pt>
                <c:pt idx="37">
                  <c:v>0.09606135447809697</c:v>
                </c:pt>
                <c:pt idx="38">
                  <c:v>0.09649749821300929</c:v>
                </c:pt>
                <c:pt idx="39">
                  <c:v>0.11560693641618497</c:v>
                </c:pt>
                <c:pt idx="40">
                  <c:v>0.0975940006249349</c:v>
                </c:pt>
                <c:pt idx="41">
                  <c:v>0.09644470634452956</c:v>
                </c:pt>
                <c:pt idx="42">
                  <c:v>0.09403215150847831</c:v>
                </c:pt>
                <c:pt idx="43">
                  <c:v>0.09792354884379424</c:v>
                </c:pt>
                <c:pt idx="44">
                  <c:v>0.09888431398592111</c:v>
                </c:pt>
                <c:pt idx="45">
                  <c:v>0.12067536772322353</c:v>
                </c:pt>
                <c:pt idx="46">
                  <c:v>0.10888216776742177</c:v>
                </c:pt>
                <c:pt idx="47">
                  <c:v>0.11330506998083513</c:v>
                </c:pt>
                <c:pt idx="48">
                  <c:v>0.11072238099931014</c:v>
                </c:pt>
                <c:pt idx="49">
                  <c:v>0.12743919356330344</c:v>
                </c:pt>
                <c:pt idx="50">
                  <c:v>0.16603508343010817</c:v>
                </c:pt>
                <c:pt idx="51">
                  <c:v>0.1441753171856978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55.1476600697432</c:v>
                </c:pt>
              </c:numCache>
            </c:numRef>
          </c:xVal>
          <c:yVal>
            <c:numRef>
              <c:f>Sheet1!$B$163:$B$164</c:f>
              <c:numCache>
                <c:formatCode>General</c:formatCode>
                <c:ptCount val="2"/>
                <c:pt idx="0">
                  <c:v>0.19752850259336924</c:v>
                </c:pt>
                <c:pt idx="1">
                  <c:v>0.1975285025933692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55.1476600697432</c:v>
                </c:pt>
                <c:pt idx="1">
                  <c:v>655.1476600697432</c:v>
                </c:pt>
              </c:numCache>
            </c:numRef>
          </c:xVal>
          <c:yVal>
            <c:numRef>
              <c:f>Sheet1!$B$167:$B$168</c:f>
              <c:numCache>
                <c:formatCode>General</c:formatCode>
                <c:ptCount val="2"/>
                <c:pt idx="0">
                  <c:v>0.1975285025933692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3.2859075798295</c:v>
                </c:pt>
              </c:numCache>
            </c:numRef>
          </c:xVal>
          <c:yVal>
            <c:numRef>
              <c:f>Sheet1!$B$171:$B$172</c:f>
              <c:numCache>
                <c:formatCode>General</c:formatCode>
                <c:ptCount val="2"/>
                <c:pt idx="0">
                  <c:v>0.13709299379460488</c:v>
                </c:pt>
                <c:pt idx="1">
                  <c:v>0.1370929937946048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3.2859075798295</c:v>
                </c:pt>
                <c:pt idx="1">
                  <c:v>1003.2859075798295</c:v>
                </c:pt>
              </c:numCache>
            </c:numRef>
          </c:xVal>
          <c:yVal>
            <c:numRef>
              <c:f>Sheet1!$B$175:$B$176</c:f>
              <c:numCache>
                <c:formatCode>General</c:formatCode>
                <c:ptCount val="2"/>
                <c:pt idx="0">
                  <c:v>0.137092993794604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32.0057259572106</c:v>
                </c:pt>
              </c:numCache>
            </c:numRef>
          </c:xVal>
          <c:yVal>
            <c:numRef>
              <c:f>Sheet1!$B$179:$B$180</c:f>
              <c:numCache>
                <c:formatCode>General</c:formatCode>
                <c:ptCount val="2"/>
                <c:pt idx="0">
                  <c:v>0.11474771064413408</c:v>
                </c:pt>
                <c:pt idx="1">
                  <c:v>0.1147477106441340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32.0057259572106</c:v>
                </c:pt>
                <c:pt idx="1">
                  <c:v>1132.0057259572106</c:v>
                </c:pt>
              </c:numCache>
            </c:numRef>
          </c:xVal>
          <c:yVal>
            <c:numRef>
              <c:f>Sheet1!$B$183:$B$184</c:f>
              <c:numCache>
                <c:formatCode>General</c:formatCode>
                <c:ptCount val="2"/>
                <c:pt idx="0">
                  <c:v>0.1147477106441340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8.933</c:v>
                </c:pt>
                <c:pt idx="1">
                  <c:v>1130.1058</c:v>
                </c:pt>
                <c:pt idx="2">
                  <c:v>1130.3505</c:v>
                </c:pt>
                <c:pt idx="3">
                  <c:v>1112.1749</c:v>
                </c:pt>
                <c:pt idx="4">
                  <c:v>1121.0077</c:v>
                </c:pt>
                <c:pt idx="5">
                  <c:v>1125.9822</c:v>
                </c:pt>
                <c:pt idx="6">
                  <c:v>1030.5625</c:v>
                </c:pt>
                <c:pt idx="7">
                  <c:v>1069.4974</c:v>
                </c:pt>
                <c:pt idx="8">
                  <c:v>1148.955</c:v>
                </c:pt>
                <c:pt idx="9">
                  <c:v>1080.3153</c:v>
                </c:pt>
                <c:pt idx="10">
                  <c:v>1100.3071</c:v>
                </c:pt>
                <c:pt idx="11">
                  <c:v>1003.2767</c:v>
                </c:pt>
                <c:pt idx="12">
                  <c:v>1041.5539</c:v>
                </c:pt>
                <c:pt idx="13">
                  <c:v>1079.1156</c:v>
                </c:pt>
                <c:pt idx="14">
                  <c:v>1100.0661</c:v>
                </c:pt>
                <c:pt idx="15">
                  <c:v>1115.22</c:v>
                </c:pt>
                <c:pt idx="16">
                  <c:v>1147.3216</c:v>
                </c:pt>
                <c:pt idx="17">
                  <c:v>1126.6781</c:v>
                </c:pt>
                <c:pt idx="18">
                  <c:v>1046.322</c:v>
                </c:pt>
                <c:pt idx="19">
                  <c:v>1109.9576</c:v>
                </c:pt>
                <c:pt idx="20">
                  <c:v>1103.3842</c:v>
                </c:pt>
                <c:pt idx="21">
                  <c:v>1069.1992</c:v>
                </c:pt>
                <c:pt idx="22">
                  <c:v>1103.035</c:v>
                </c:pt>
                <c:pt idx="23">
                  <c:v>1088.7015</c:v>
                </c:pt>
                <c:pt idx="24">
                  <c:v>1152.668</c:v>
                </c:pt>
                <c:pt idx="25">
                  <c:v>1114.5372</c:v>
                </c:pt>
                <c:pt idx="26">
                  <c:v>1154.1191</c:v>
                </c:pt>
                <c:pt idx="27">
                  <c:v>1153.0175</c:v>
                </c:pt>
                <c:pt idx="28">
                  <c:v>1090.6205</c:v>
                </c:pt>
                <c:pt idx="29">
                  <c:v>1079.4531</c:v>
                </c:pt>
                <c:pt idx="30">
                  <c:v>1064.8908</c:v>
                </c:pt>
                <c:pt idx="31">
                  <c:v>1049.3004</c:v>
                </c:pt>
                <c:pt idx="32">
                  <c:v>1044.6028</c:v>
                </c:pt>
                <c:pt idx="33">
                  <c:v>1071.1442</c:v>
                </c:pt>
                <c:pt idx="34">
                  <c:v>1099.8629</c:v>
                </c:pt>
                <c:pt idx="35">
                  <c:v>1127.293</c:v>
                </c:pt>
                <c:pt idx="36">
                  <c:v>1120.9661</c:v>
                </c:pt>
                <c:pt idx="37">
                  <c:v>1225.6522</c:v>
                </c:pt>
                <c:pt idx="38">
                  <c:v>1227.4904</c:v>
                </c:pt>
                <c:pt idx="39">
                  <c:v>1193.7889</c:v>
                </c:pt>
                <c:pt idx="40">
                  <c:v>1227.2038</c:v>
                </c:pt>
                <c:pt idx="41">
                  <c:v>1278.1202</c:v>
                </c:pt>
                <c:pt idx="42">
                  <c:v>1262.3501</c:v>
                </c:pt>
                <c:pt idx="43">
                  <c:v>1265.3888</c:v>
                </c:pt>
                <c:pt idx="44">
                  <c:v>1187.728</c:v>
                </c:pt>
                <c:pt idx="45">
                  <c:v>1159.4189</c:v>
                </c:pt>
                <c:pt idx="46">
                  <c:v>1159.2925</c:v>
                </c:pt>
                <c:pt idx="47">
                  <c:v>1141.9672</c:v>
                </c:pt>
                <c:pt idx="48">
                  <c:v>1113.4272</c:v>
                </c:pt>
                <c:pt idx="49">
                  <c:v>1113.2721</c:v>
                </c:pt>
                <c:pt idx="50">
                  <c:v>1017.7432</c:v>
                </c:pt>
                <c:pt idx="51">
                  <c:v>1000.3989</c:v>
                </c:pt>
                <c:pt idx="52">
                  <c:v>1003.2859075798295</c:v>
                </c:pt>
                <c:pt idx="53">
                  <c:v>655.1476600697432</c:v>
                </c:pt>
                <c:pt idx="54">
                  <c:v>1132.0057259572106</c:v>
                </c:pt>
              </c:numCache>
            </c:numRef>
          </c:xVal>
          <c:yVal>
            <c:numRef>
              <c:f>Sheet1!$B$187:$B$241</c:f>
              <c:numCache>
                <c:formatCode>General</c:formatCode>
                <c:ptCount val="55"/>
                <c:pt idx="0">
                  <c:v>0.11354516155807792</c:v>
                </c:pt>
                <c:pt idx="1">
                  <c:v>0.11507753074498547</c:v>
                </c:pt>
                <c:pt idx="2">
                  <c:v>0.11503505173238396</c:v>
                </c:pt>
                <c:pt idx="3">
                  <c:v>0.11819026849348113</c:v>
                </c:pt>
                <c:pt idx="4">
                  <c:v>0.1166569271673395</c:v>
                </c:pt>
                <c:pt idx="5">
                  <c:v>0.11579337241381957</c:v>
                </c:pt>
                <c:pt idx="6">
                  <c:v>0.13235787849773778</c:v>
                </c:pt>
                <c:pt idx="7">
                  <c:v>0.1255989242364401</c:v>
                </c:pt>
                <c:pt idx="8">
                  <c:v>0.11180537952173714</c:v>
                </c:pt>
                <c:pt idx="9">
                  <c:v>0.12372097691146192</c:v>
                </c:pt>
                <c:pt idx="10">
                  <c:v>0.12025047456521185</c:v>
                </c:pt>
                <c:pt idx="11">
                  <c:v>0.13709459219631967</c:v>
                </c:pt>
                <c:pt idx="12">
                  <c:v>0.13044981221613364</c:v>
                </c:pt>
                <c:pt idx="13">
                  <c:v>0.12392924038272493</c:v>
                </c:pt>
                <c:pt idx="14">
                  <c:v>0.12029231127153375</c:v>
                </c:pt>
                <c:pt idx="15">
                  <c:v>0.11766165042534488</c:v>
                </c:pt>
                <c:pt idx="16">
                  <c:v>0.1120889317047504</c:v>
                </c:pt>
                <c:pt idx="17">
                  <c:v>0.11567256675436138</c:v>
                </c:pt>
                <c:pt idx="18">
                  <c:v>0.1296220877372396</c:v>
                </c:pt>
                <c:pt idx="19">
                  <c:v>0.11857518355127183</c:v>
                </c:pt>
                <c:pt idx="20">
                  <c:v>0.11971630141573827</c:v>
                </c:pt>
                <c:pt idx="21">
                  <c:v>0.12565069065065249</c:v>
                </c:pt>
                <c:pt idx="22">
                  <c:v>0.11977692124083206</c:v>
                </c:pt>
                <c:pt idx="23">
                  <c:v>0.12226516368923471</c:v>
                </c:pt>
                <c:pt idx="24">
                  <c:v>0.11116081649031292</c:v>
                </c:pt>
                <c:pt idx="25">
                  <c:v>0.11778018197338055</c:v>
                </c:pt>
                <c:pt idx="26">
                  <c:v>0.11090891091129337</c:v>
                </c:pt>
                <c:pt idx="27">
                  <c:v>0.11110014458633158</c:v>
                </c:pt>
                <c:pt idx="28">
                  <c:v>0.12193203240528558</c:v>
                </c:pt>
                <c:pt idx="29">
                  <c:v>0.1238706516342451</c:v>
                </c:pt>
                <c:pt idx="30">
                  <c:v>0.12639861291420976</c:v>
                </c:pt>
                <c:pt idx="31">
                  <c:v>0.12910504854176585</c:v>
                </c:pt>
                <c:pt idx="32">
                  <c:v>0.12992053448208865</c:v>
                </c:pt>
                <c:pt idx="33">
                  <c:v>0.12531304586311678</c:v>
                </c:pt>
                <c:pt idx="34">
                  <c:v>0.1203275860380259</c:v>
                </c:pt>
                <c:pt idx="35">
                  <c:v>0.11556582239453841</c:v>
                </c:pt>
                <c:pt idx="36">
                  <c:v>0.11666414877307807</c:v>
                </c:pt>
                <c:pt idx="37">
                  <c:v>0.09849103001089721</c:v>
                </c:pt>
                <c:pt idx="38">
                  <c:v>0.09817192530732491</c:v>
                </c:pt>
                <c:pt idx="39">
                  <c:v>0.1040223807351576</c:v>
                </c:pt>
                <c:pt idx="40">
                  <c:v>0.0982216780045525</c:v>
                </c:pt>
                <c:pt idx="41">
                  <c:v>0.08938277977314732</c:v>
                </c:pt>
                <c:pt idx="42">
                  <c:v>0.09212041065433849</c:v>
                </c:pt>
                <c:pt idx="43">
                  <c:v>0.09159290360246974</c:v>
                </c:pt>
                <c:pt idx="44">
                  <c:v>0.10507453050008056</c:v>
                </c:pt>
                <c:pt idx="45">
                  <c:v>0.1099888852840534</c:v>
                </c:pt>
                <c:pt idx="46">
                  <c:v>0.11001082785533589</c:v>
                </c:pt>
                <c:pt idx="47">
                  <c:v>0.11301843568952222</c:v>
                </c:pt>
                <c:pt idx="48">
                  <c:v>0.11797287385726982</c:v>
                </c:pt>
                <c:pt idx="49">
                  <c:v>0.11799979864212681</c:v>
                </c:pt>
                <c:pt idx="50">
                  <c:v>0.13458326144110871</c:v>
                </c:pt>
                <c:pt idx="51">
                  <c:v>0.13759416760483908</c:v>
                </c:pt>
                <c:pt idx="52">
                  <c:v>0.13709299379460488</c:v>
                </c:pt>
                <c:pt idx="53">
                  <c:v>0.19752850259336924</c:v>
                </c:pt>
                <c:pt idx="54">
                  <c:v>0.1147477106441340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34.0"/>
          <c:min val="52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04283604135893"/>
          <c:min val="0.0662343038498689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1653221908380022</c:v>
                </c:pt>
                <c:pt idx="1">
                  <c:v>0.12876293634098945</c:v>
                </c:pt>
                <c:pt idx="2">
                  <c:v>0.1288334167704912</c:v>
                </c:pt>
                <c:pt idx="3">
                  <c:v>0.1260861249038075</c:v>
                </c:pt>
                <c:pt idx="4">
                  <c:v>0.12951111252526498</c:v>
                </c:pt>
                <c:pt idx="5">
                  <c:v>0.1363732726566318</c:v>
                </c:pt>
                <c:pt idx="6">
                  <c:v>0.14377589986162617</c:v>
                </c:pt>
                <c:pt idx="7">
                  <c:v>0.13368515907132109</c:v>
                </c:pt>
                <c:pt idx="8">
                  <c:v>0.137611689421127</c:v>
                </c:pt>
                <c:pt idx="9">
                  <c:v>0.1359477565739434</c:v>
                </c:pt>
                <c:pt idx="10">
                  <c:v>0.13444071954428596</c:v>
                </c:pt>
                <c:pt idx="11">
                  <c:v>0.14521059858230753</c:v>
                </c:pt>
                <c:pt idx="12">
                  <c:v>0.14557259110116255</c:v>
                </c:pt>
                <c:pt idx="13">
                  <c:v>0.1403699499754075</c:v>
                </c:pt>
                <c:pt idx="14">
                  <c:v>0.14634959997924435</c:v>
                </c:pt>
                <c:pt idx="15">
                  <c:v>0.14733811662824847</c:v>
                </c:pt>
                <c:pt idx="16">
                  <c:v>0.13956584390744642</c:v>
                </c:pt>
                <c:pt idx="17">
                  <c:v>0.1346115408699985</c:v>
                </c:pt>
                <c:pt idx="18">
                  <c:v>0.12997988725943085</c:v>
                </c:pt>
                <c:pt idx="19">
                  <c:v>0.13287372068577843</c:v>
                </c:pt>
                <c:pt idx="20">
                  <c:v>0.13813232780781293</c:v>
                </c:pt>
                <c:pt idx="21">
                  <c:v>0.13370740889774024</c:v>
                </c:pt>
                <c:pt idx="22">
                  <c:v>0.12943641822985727</c:v>
                </c:pt>
                <c:pt idx="23">
                  <c:v>0.13546235230373674</c:v>
                </c:pt>
                <c:pt idx="24">
                  <c:v>0.12701817159554712</c:v>
                </c:pt>
                <c:pt idx="25">
                  <c:v>0.12988303192812586</c:v>
                </c:pt>
                <c:pt idx="26">
                  <c:v>0.13320644142984062</c:v>
                </c:pt>
                <c:pt idx="27">
                  <c:v>0.1272632225267396</c:v>
                </c:pt>
                <c:pt idx="28">
                  <c:v>0.12558519426479542</c:v>
                </c:pt>
                <c:pt idx="29">
                  <c:v>0.1086923931193967</c:v>
                </c:pt>
                <c:pt idx="30">
                  <c:v>0.11441501345106497</c:v>
                </c:pt>
                <c:pt idx="31">
                  <c:v>0.11684255719410788</c:v>
                </c:pt>
                <c:pt idx="32">
                  <c:v>0.11067541323844768</c:v>
                </c:pt>
                <c:pt idx="33">
                  <c:v>0.10627287394476267</c:v>
                </c:pt>
                <c:pt idx="34">
                  <c:v>0.12478241697079817</c:v>
                </c:pt>
                <c:pt idx="35">
                  <c:v>0.13749071817687875</c:v>
                </c:pt>
                <c:pt idx="36">
                  <c:v>0.13613788763342924</c:v>
                </c:pt>
                <c:pt idx="37">
                  <c:v>0.13202828233391417</c:v>
                </c:pt>
                <c:pt idx="38">
                  <c:v>0.1275196658525084</c:v>
                </c:pt>
                <c:pt idx="39">
                  <c:v>0.1366523122810782</c:v>
                </c:pt>
                <c:pt idx="40">
                  <c:v>0.1472568088845797</c:v>
                </c:pt>
                <c:pt idx="41">
                  <c:v>0.1461306287280724</c:v>
                </c:pt>
                <c:pt idx="42">
                  <c:v>0.14745686522338858</c:v>
                </c:pt>
                <c:pt idx="43">
                  <c:v>0.15114878037511903</c:v>
                </c:pt>
                <c:pt idx="44">
                  <c:v>0.15023002293838583</c:v>
                </c:pt>
                <c:pt idx="45">
                  <c:v>0.15228183475711624</c:v>
                </c:pt>
                <c:pt idx="46">
                  <c:v>0.1489844056826495</c:v>
                </c:pt>
                <c:pt idx="47">
                  <c:v>0.14506875725338603</c:v>
                </c:pt>
                <c:pt idx="48">
                  <c:v>0.15451215706612542</c:v>
                </c:pt>
                <c:pt idx="49">
                  <c:v>0.16579874040304216</c:v>
                </c:pt>
                <c:pt idx="50">
                  <c:v>0.14591036406415273</c:v>
                </c:pt>
                <c:pt idx="51">
                  <c:v>0.14325346172470785</c:v>
                </c:pt>
                <c:pt idx="52">
                  <c:v>0.1473583208274455</c:v>
                </c:pt>
                <c:pt idx="53">
                  <c:v>0.16055069064867455</c:v>
                </c:pt>
                <c:pt idx="54">
                  <c:v>0.15468698296777741</c:v>
                </c:pt>
                <c:pt idx="55">
                  <c:v>0.15681785383763266</c:v>
                </c:pt>
                <c:pt idx="56">
                  <c:v>0.15322869800139743</c:v>
                </c:pt>
                <c:pt idx="57">
                  <c:v>0.15537336563161755</c:v>
                </c:pt>
                <c:pt idx="58">
                  <c:v>0.15007759003438037</c:v>
                </c:pt>
                <c:pt idx="59">
                  <c:v>0.1681866181745369</c:v>
                </c:pt>
                <c:pt idx="60">
                  <c:v>0.17123884207150564</c:v>
                </c:pt>
                <c:pt idx="61">
                  <c:v>0.15838136060724559</c:v>
                </c:pt>
                <c:pt idx="62">
                  <c:v>0.15182922005354926</c:v>
                </c:pt>
                <c:pt idx="63">
                  <c:v>0.16208513364974006</c:v>
                </c:pt>
                <c:pt idx="64">
                  <c:v>0.16616634894488122</c:v>
                </c:pt>
                <c:pt idx="65">
                  <c:v>0.16022259058315447</c:v>
                </c:pt>
                <c:pt idx="66">
                  <c:v>0.1594428264221033</c:v>
                </c:pt>
                <c:pt idx="67">
                  <c:v>0.16354884080563659</c:v>
                </c:pt>
                <c:pt idx="68">
                  <c:v>0.15500886116435827</c:v>
                </c:pt>
                <c:pt idx="69">
                  <c:v>0.14897025863684082</c:v>
                </c:pt>
                <c:pt idx="70">
                  <c:v>0.1481519375636153</c:v>
                </c:pt>
                <c:pt idx="71">
                  <c:v>0.14673452580738158</c:v>
                </c:pt>
                <c:pt idx="72">
                  <c:v>0.15602402044176814</c:v>
                </c:pt>
                <c:pt idx="73">
                  <c:v>0.15839692410151188</c:v>
                </c:pt>
                <c:pt idx="74">
                  <c:v>0.15111114080063898</c:v>
                </c:pt>
                <c:pt idx="75">
                  <c:v>0.14587454568962224</c:v>
                </c:pt>
                <c:pt idx="76">
                  <c:v>0.15058066728582292</c:v>
                </c:pt>
                <c:pt idx="77">
                  <c:v>0.14853827327668395</c:v>
                </c:pt>
                <c:pt idx="78">
                  <c:v>0.15084169037213105</c:v>
                </c:pt>
                <c:pt idx="79">
                  <c:v>0.15514978551981712</c:v>
                </c:pt>
                <c:pt idx="80">
                  <c:v>0.15505955089973605</c:v>
                </c:pt>
                <c:pt idx="81">
                  <c:v>0.15793354072304916</c:v>
                </c:pt>
                <c:pt idx="82">
                  <c:v>0.1519572057529953</c:v>
                </c:pt>
                <c:pt idx="83">
                  <c:v>0.14831418342251607</c:v>
                </c:pt>
                <c:pt idx="84">
                  <c:v>0.14373559505031464</c:v>
                </c:pt>
                <c:pt idx="85">
                  <c:v>0.14260763456941836</c:v>
                </c:pt>
                <c:pt idx="86">
                  <c:v>0.14657805608664576</c:v>
                </c:pt>
                <c:pt idx="87">
                  <c:v>0.15445895819857786</c:v>
                </c:pt>
                <c:pt idx="88">
                  <c:v>0.15592098307394162</c:v>
                </c:pt>
                <c:pt idx="89">
                  <c:v>0.1396927166593126</c:v>
                </c:pt>
                <c:pt idx="90">
                  <c:v>0.14242262987493373</c:v>
                </c:pt>
                <c:pt idx="91">
                  <c:v>0.14807548527265962</c:v>
                </c:pt>
                <c:pt idx="92">
                  <c:v>0.14572969110612902</c:v>
                </c:pt>
                <c:pt idx="93">
                  <c:v>0.14540541820182598</c:v>
                </c:pt>
                <c:pt idx="94">
                  <c:v>0.14651633773291564</c:v>
                </c:pt>
                <c:pt idx="95">
                  <c:v>0.14734550013654918</c:v>
                </c:pt>
                <c:pt idx="96">
                  <c:v>0.14814955441189342</c:v>
                </c:pt>
                <c:pt idx="97">
                  <c:v>0.1539886101003771</c:v>
                </c:pt>
                <c:pt idx="98">
                  <c:v>0.16447192722924228</c:v>
                </c:pt>
                <c:pt idx="99">
                  <c:v>0.16318710412882162</c:v>
                </c:pt>
                <c:pt idx="100">
                  <c:v>0.16805659068676365</c:v>
                </c:pt>
                <c:pt idx="101">
                  <c:v>0.16412702061015955</c:v>
                </c:pt>
                <c:pt idx="102">
                  <c:v>0.16390072545468665</c:v>
                </c:pt>
                <c:pt idx="103">
                  <c:v>0.15527838778202513</c:v>
                </c:pt>
                <c:pt idx="104">
                  <c:v>0.15792305041053648</c:v>
                </c:pt>
              </c:numCache>
            </c:numRef>
          </c:xVal>
          <c:yVal>
            <c:numRef>
              <c:f>Sheet1!$B$2:$B$106</c:f>
              <c:numCache>
                <c:formatCode>General</c:formatCode>
                <c:ptCount val="105"/>
                <c:pt idx="0">
                  <c:v>0.2336903003446578</c:v>
                </c:pt>
                <c:pt idx="1">
                  <c:v>0.22766497461928933</c:v>
                </c:pt>
                <c:pt idx="2">
                  <c:v>0.19406018858336627</c:v>
                </c:pt>
                <c:pt idx="3">
                  <c:v>0.18538291605301915</c:v>
                </c:pt>
                <c:pt idx="4">
                  <c:v>0.16204192429497813</c:v>
                </c:pt>
                <c:pt idx="5">
                  <c:v>0.1393648797358906</c:v>
                </c:pt>
                <c:pt idx="6">
                  <c:v>0.15394402035623408</c:v>
                </c:pt>
                <c:pt idx="7">
                  <c:v>0.14659300184162063</c:v>
                </c:pt>
                <c:pt idx="8">
                  <c:v>0.16634615384615384</c:v>
                </c:pt>
                <c:pt idx="9">
                  <c:v>0.19188557671882744</c:v>
                </c:pt>
                <c:pt idx="10">
                  <c:v>0.20462159020988582</c:v>
                </c:pt>
                <c:pt idx="11">
                  <c:v>0.19413645330249643</c:v>
                </c:pt>
                <c:pt idx="12">
                  <c:v>0.2111118055121555</c:v>
                </c:pt>
                <c:pt idx="13">
                  <c:v>0.21688463032500324</c:v>
                </c:pt>
                <c:pt idx="14">
                  <c:v>0.21993649953697578</c:v>
                </c:pt>
                <c:pt idx="15">
                  <c:v>0.21430289425158341</c:v>
                </c:pt>
                <c:pt idx="16">
                  <c:v>0.2086924288759151</c:v>
                </c:pt>
                <c:pt idx="17">
                  <c:v>0.19300671671276176</c:v>
                </c:pt>
                <c:pt idx="18">
                  <c:v>0.1821827246125501</c:v>
                </c:pt>
                <c:pt idx="19">
                  <c:v>0.1677987421383648</c:v>
                </c:pt>
                <c:pt idx="20">
                  <c:v>0.1888670052866176</c:v>
                </c:pt>
                <c:pt idx="21">
                  <c:v>0.1744434662306628</c:v>
                </c:pt>
                <c:pt idx="22">
                  <c:v>0.17539975399754</c:v>
                </c:pt>
                <c:pt idx="23">
                  <c:v>0.17809278350515464</c:v>
                </c:pt>
                <c:pt idx="24">
                  <c:v>0.17713950762016412</c:v>
                </c:pt>
                <c:pt idx="25">
                  <c:v>0.17013056221689316</c:v>
                </c:pt>
                <c:pt idx="26">
                  <c:v>0.1763819095477387</c:v>
                </c:pt>
                <c:pt idx="27">
                  <c:v>0.16479446981854093</c:v>
                </c:pt>
                <c:pt idx="28">
                  <c:v>0.16121897272057018</c:v>
                </c:pt>
                <c:pt idx="29">
                  <c:v>0.18130880642774078</c:v>
                </c:pt>
                <c:pt idx="30">
                  <c:v>0.16392757660167132</c:v>
                </c:pt>
                <c:pt idx="31">
                  <c:v>0.15785245682152899</c:v>
                </c:pt>
                <c:pt idx="32">
                  <c:v>0.17159913628858123</c:v>
                </c:pt>
                <c:pt idx="33">
                  <c:v>0.19846338056276192</c:v>
                </c:pt>
                <c:pt idx="34">
                  <c:v>0.1836734693877551</c:v>
                </c:pt>
                <c:pt idx="35">
                  <c:v>0.18745454545454546</c:v>
                </c:pt>
                <c:pt idx="36">
                  <c:v>0.14620119059630712</c:v>
                </c:pt>
                <c:pt idx="37">
                  <c:v>0.13155825188181103</c:v>
                </c:pt>
                <c:pt idx="38">
                  <c:v>0.12670086995315638</c:v>
                </c:pt>
                <c:pt idx="39">
                  <c:v>0.11745994344957587</c:v>
                </c:pt>
                <c:pt idx="40">
                  <c:v>0.11861296242634985</c:v>
                </c:pt>
                <c:pt idx="41">
                  <c:v>0.09699696557497123</c:v>
                </c:pt>
                <c:pt idx="42">
                  <c:v>0.10267937421327099</c:v>
                </c:pt>
                <c:pt idx="43">
                  <c:v>0.10876937984496124</c:v>
                </c:pt>
                <c:pt idx="44">
                  <c:v>0.13106005280602212</c:v>
                </c:pt>
                <c:pt idx="45">
                  <c:v>0.14652833200319235</c:v>
                </c:pt>
                <c:pt idx="46">
                  <c:v>0.14924378364521917</c:v>
                </c:pt>
                <c:pt idx="47">
                  <c:v>0.1453833066969119</c:v>
                </c:pt>
                <c:pt idx="48">
                  <c:v>0.16200567644276254</c:v>
                </c:pt>
                <c:pt idx="49">
                  <c:v>0.18696397941680962</c:v>
                </c:pt>
                <c:pt idx="50">
                  <c:v>0.14947868277072365</c:v>
                </c:pt>
                <c:pt idx="51">
                  <c:v>0.1366100249710701</c:v>
                </c:pt>
                <c:pt idx="52">
                  <c:v>0.15429433491130418</c:v>
                </c:pt>
                <c:pt idx="53">
                  <c:v>0.13236322043591536</c:v>
                </c:pt>
                <c:pt idx="54">
                  <c:v>0.12499148559362441</c:v>
                </c:pt>
                <c:pt idx="55">
                  <c:v>0.11914417563977066</c:v>
                </c:pt>
                <c:pt idx="56">
                  <c:v>0.12371940808195789</c:v>
                </c:pt>
                <c:pt idx="57">
                  <c:v>0.11464546056991386</c:v>
                </c:pt>
                <c:pt idx="58">
                  <c:v>0.13095514757146176</c:v>
                </c:pt>
                <c:pt idx="59">
                  <c:v>0.1409935737099319</c:v>
                </c:pt>
                <c:pt idx="60">
                  <c:v>0.1477252995311686</c:v>
                </c:pt>
                <c:pt idx="61">
                  <c:v>0.1442077549066539</c:v>
                </c:pt>
                <c:pt idx="62">
                  <c:v>0.15994631499095524</c:v>
                </c:pt>
                <c:pt idx="63">
                  <c:v>0.1794679253379103</c:v>
                </c:pt>
                <c:pt idx="64">
                  <c:v>0.1860388721598686</c:v>
                </c:pt>
                <c:pt idx="65">
                  <c:v>0.1751884532226962</c:v>
                </c:pt>
                <c:pt idx="66">
                  <c:v>0.16538995114301225</c:v>
                </c:pt>
                <c:pt idx="67">
                  <c:v>0.1515056264537625</c:v>
                </c:pt>
                <c:pt idx="68">
                  <c:v>0.13681221157259496</c:v>
                </c:pt>
                <c:pt idx="69">
                  <c:v>0.12007764836383805</c:v>
                </c:pt>
                <c:pt idx="70">
                  <c:v>0.10860744194077528</c:v>
                </c:pt>
                <c:pt idx="71">
                  <c:v>0.11649494105634456</c:v>
                </c:pt>
                <c:pt idx="72">
                  <c:v>0.12022680960396917</c:v>
                </c:pt>
                <c:pt idx="73">
                  <c:v>0.11500232234091964</c:v>
                </c:pt>
                <c:pt idx="74">
                  <c:v>0.10718075698620445</c:v>
                </c:pt>
                <c:pt idx="75">
                  <c:v>0.10917488977535167</c:v>
                </c:pt>
                <c:pt idx="76">
                  <c:v>0.1050294215610081</c:v>
                </c:pt>
                <c:pt idx="77">
                  <c:v>0.10326456585808207</c:v>
                </c:pt>
                <c:pt idx="78">
                  <c:v>0.09955860716037274</c:v>
                </c:pt>
                <c:pt idx="79">
                  <c:v>0.09373926977223303</c:v>
                </c:pt>
                <c:pt idx="80">
                  <c:v>0.08714748035136384</c:v>
                </c:pt>
                <c:pt idx="81">
                  <c:v>0.09712364587224505</c:v>
                </c:pt>
                <c:pt idx="82">
                  <c:v>0.08849883392659874</c:v>
                </c:pt>
                <c:pt idx="83">
                  <c:v>0.08279287981233614</c:v>
                </c:pt>
                <c:pt idx="84">
                  <c:v>0.0865411632481034</c:v>
                </c:pt>
                <c:pt idx="85">
                  <c:v>0.09759391112202308</c:v>
                </c:pt>
                <c:pt idx="86">
                  <c:v>0.10509885535900104</c:v>
                </c:pt>
                <c:pt idx="87">
                  <c:v>0.12609274040288865</c:v>
                </c:pt>
                <c:pt idx="88">
                  <c:v>0.10473524609283881</c:v>
                </c:pt>
                <c:pt idx="89">
                  <c:v>0.09010214007782101</c:v>
                </c:pt>
                <c:pt idx="90">
                  <c:v>0.08617482951022938</c:v>
                </c:pt>
                <c:pt idx="91">
                  <c:v>0.09022828844063292</c:v>
                </c:pt>
                <c:pt idx="92">
                  <c:v>0.0951813214108296</c:v>
                </c:pt>
                <c:pt idx="93">
                  <c:v>0.09130434782608696</c:v>
                </c:pt>
                <c:pt idx="94">
                  <c:v>0.09576345984112974</c:v>
                </c:pt>
                <c:pt idx="95">
                  <c:v>0.10623068163331706</c:v>
                </c:pt>
                <c:pt idx="96">
                  <c:v>0.10862857142857144</c:v>
                </c:pt>
                <c:pt idx="97">
                  <c:v>0.11879259980525804</c:v>
                </c:pt>
                <c:pt idx="98">
                  <c:v>0.13888515180052918</c:v>
                </c:pt>
                <c:pt idx="99">
                  <c:v>0.14448152747593915</c:v>
                </c:pt>
                <c:pt idx="100">
                  <c:v>0.16821783604667914</c:v>
                </c:pt>
                <c:pt idx="101">
                  <c:v>0.13859708573364962</c:v>
                </c:pt>
                <c:pt idx="102">
                  <c:v>0.10829657885326022</c:v>
                </c:pt>
                <c:pt idx="103">
                  <c:v>0.11819780968053112</c:v>
                </c:pt>
                <c:pt idx="104">
                  <c:v>0.1251913477537437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6737852773386547</c:v>
                </c:pt>
                <c:pt idx="1">
                  <c:v>0.16779766553234188</c:v>
                </c:pt>
                <c:pt idx="2">
                  <c:v>0.16942828579810423</c:v>
                </c:pt>
                <c:pt idx="3">
                  <c:v>0.16648085963543044</c:v>
                </c:pt>
                <c:pt idx="4">
                  <c:v>0.16800206157045933</c:v>
                </c:pt>
                <c:pt idx="5">
                  <c:v>0.16962508181790284</c:v>
                </c:pt>
                <c:pt idx="6">
                  <c:v>0.15357430146185522</c:v>
                </c:pt>
                <c:pt idx="7">
                  <c:v>0.15701040769396618</c:v>
                </c:pt>
                <c:pt idx="8">
                  <c:v>0.17068817467459044</c:v>
                </c:pt>
                <c:pt idx="9">
                  <c:v>0.15893217977539198</c:v>
                </c:pt>
                <c:pt idx="10">
                  <c:v>0.17204695226881056</c:v>
                </c:pt>
                <c:pt idx="11">
                  <c:v>0.15899248497824464</c:v>
                </c:pt>
                <c:pt idx="12">
                  <c:v>0.16814823452441077</c:v>
                </c:pt>
                <c:pt idx="13">
                  <c:v>0.16785723652091344</c:v>
                </c:pt>
                <c:pt idx="14">
                  <c:v>0.17262656230793996</c:v>
                </c:pt>
                <c:pt idx="15">
                  <c:v>0.17412103786892913</c:v>
                </c:pt>
                <c:pt idx="16">
                  <c:v>0.1744622223030508</c:v>
                </c:pt>
                <c:pt idx="17">
                  <c:v>0.16990633540817027</c:v>
                </c:pt>
                <c:pt idx="18">
                  <c:v>0.13141405444702753</c:v>
                </c:pt>
                <c:pt idx="19">
                  <c:v>0.133106244606218</c:v>
                </c:pt>
                <c:pt idx="20">
                  <c:v>0.1303518321227711</c:v>
                </c:pt>
                <c:pt idx="21">
                  <c:v>0.12032506202197776</c:v>
                </c:pt>
                <c:pt idx="22">
                  <c:v>0.13363881332450822</c:v>
                </c:pt>
                <c:pt idx="23">
                  <c:v>0.13223589393430282</c:v>
                </c:pt>
                <c:pt idx="24">
                  <c:v>0.13809591322749734</c:v>
                </c:pt>
                <c:pt idx="25">
                  <c:v>0.13357306091106994</c:v>
                </c:pt>
                <c:pt idx="26">
                  <c:v>0.14221912056064434</c:v>
                </c:pt>
                <c:pt idx="27">
                  <c:v>0.1399817759362839</c:v>
                </c:pt>
                <c:pt idx="28">
                  <c:v>0.1440674931233371</c:v>
                </c:pt>
                <c:pt idx="29">
                  <c:v>0.13926260709688826</c:v>
                </c:pt>
                <c:pt idx="30">
                  <c:v>0.13150007790171925</c:v>
                </c:pt>
                <c:pt idx="31">
                  <c:v>0.12493803109359088</c:v>
                </c:pt>
                <c:pt idx="32">
                  <c:v>0.13310139655303982</c:v>
                </c:pt>
                <c:pt idx="33">
                  <c:v>0.1392424284317796</c:v>
                </c:pt>
                <c:pt idx="34">
                  <c:v>0.15380594094961558</c:v>
                </c:pt>
                <c:pt idx="35">
                  <c:v>0.15160789556982113</c:v>
                </c:pt>
                <c:pt idx="36">
                  <c:v>0.135252853384586</c:v>
                </c:pt>
                <c:pt idx="37">
                  <c:v>0.15213034731656525</c:v>
                </c:pt>
                <c:pt idx="38">
                  <c:v>0.15144668059222074</c:v>
                </c:pt>
                <c:pt idx="39">
                  <c:v>0.16161466546644526</c:v>
                </c:pt>
                <c:pt idx="40">
                  <c:v>0.16379760364794502</c:v>
                </c:pt>
                <c:pt idx="41">
                  <c:v>0.17232207888357012</c:v>
                </c:pt>
                <c:pt idx="42">
                  <c:v>0.1596736482630959</c:v>
                </c:pt>
                <c:pt idx="43">
                  <c:v>0.17557265963451285</c:v>
                </c:pt>
                <c:pt idx="44">
                  <c:v>0.17379151678593038</c:v>
                </c:pt>
                <c:pt idx="45">
                  <c:v>0.18306157327378703</c:v>
                </c:pt>
                <c:pt idx="46">
                  <c:v>0.17175295806123567</c:v>
                </c:pt>
                <c:pt idx="47">
                  <c:v>0.17372581952755292</c:v>
                </c:pt>
                <c:pt idx="48">
                  <c:v>0.17865975339523063</c:v>
                </c:pt>
                <c:pt idx="49">
                  <c:v>0.1879320875113947</c:v>
                </c:pt>
                <c:pt idx="50">
                  <c:v>0.17857336552605818</c:v>
                </c:pt>
                <c:pt idx="51">
                  <c:v>0.1632150123258142</c:v>
                </c:pt>
              </c:numCache>
            </c:numRef>
          </c:xVal>
          <c:yVal>
            <c:numRef>
              <c:f>Sheet1!$B$109:$B$160</c:f>
              <c:numCache>
                <c:formatCode>General</c:formatCode>
                <c:ptCount val="52"/>
                <c:pt idx="0">
                  <c:v>0.1241701058675758</c:v>
                </c:pt>
                <c:pt idx="1">
                  <c:v>0.12124403692460195</c:v>
                </c:pt>
                <c:pt idx="2">
                  <c:v>0.12557179515787126</c:v>
                </c:pt>
                <c:pt idx="3">
                  <c:v>0.13490629939038157</c:v>
                </c:pt>
                <c:pt idx="4">
                  <c:v>0.11956459467201375</c:v>
                </c:pt>
                <c:pt idx="5">
                  <c:v>0.12042446643615119</c:v>
                </c:pt>
                <c:pt idx="6">
                  <c:v>0.131292332701165</c:v>
                </c:pt>
                <c:pt idx="7">
                  <c:v>0.12793695219857112</c:v>
                </c:pt>
                <c:pt idx="8">
                  <c:v>0.1245531361715957</c:v>
                </c:pt>
                <c:pt idx="9">
                  <c:v>0.13298197372441187</c:v>
                </c:pt>
                <c:pt idx="10">
                  <c:v>0.14395563770794825</c:v>
                </c:pt>
                <c:pt idx="11">
                  <c:v>0.15904273122838336</c:v>
                </c:pt>
                <c:pt idx="12">
                  <c:v>0.15511170859740092</c:v>
                </c:pt>
                <c:pt idx="13">
                  <c:v>0.14386746120096916</c:v>
                </c:pt>
                <c:pt idx="14">
                  <c:v>0.13905368253508898</c:v>
                </c:pt>
                <c:pt idx="15">
                  <c:v>0.1314507535393515</c:v>
                </c:pt>
                <c:pt idx="16">
                  <c:v>0.11813687223523289</c:v>
                </c:pt>
                <c:pt idx="17">
                  <c:v>0.10493046776232617</c:v>
                </c:pt>
                <c:pt idx="18">
                  <c:v>0.11312893921589574</c:v>
                </c:pt>
                <c:pt idx="19">
                  <c:v>0.11665676371558724</c:v>
                </c:pt>
                <c:pt idx="20">
                  <c:v>0.10049719665714588</c:v>
                </c:pt>
                <c:pt idx="21">
                  <c:v>0.10556951977774838</c:v>
                </c:pt>
                <c:pt idx="22">
                  <c:v>0.10143213769544081</c:v>
                </c:pt>
                <c:pt idx="23">
                  <c:v>0.10108352763681251</c:v>
                </c:pt>
                <c:pt idx="24">
                  <c:v>0.09230769230769231</c:v>
                </c:pt>
                <c:pt idx="25">
                  <c:v>0.10199376101993761</c:v>
                </c:pt>
                <c:pt idx="26">
                  <c:v>0.08668076109936575</c:v>
                </c:pt>
                <c:pt idx="27">
                  <c:v>0.08998875140607424</c:v>
                </c:pt>
                <c:pt idx="28">
                  <c:v>0.09841810172206648</c:v>
                </c:pt>
                <c:pt idx="29">
                  <c:v>0.09672796751850968</c:v>
                </c:pt>
                <c:pt idx="30">
                  <c:v>0.1038523874828575</c:v>
                </c:pt>
                <c:pt idx="31">
                  <c:v>0.10535451996261183</c:v>
                </c:pt>
                <c:pt idx="32">
                  <c:v>0.10899593731863029</c:v>
                </c:pt>
                <c:pt idx="33">
                  <c:v>0.12797111623708757</c:v>
                </c:pt>
                <c:pt idx="34">
                  <c:v>0.14625793518209154</c:v>
                </c:pt>
                <c:pt idx="35">
                  <c:v>0.1358259823576584</c:v>
                </c:pt>
                <c:pt idx="36">
                  <c:v>0.10390372761960669</c:v>
                </c:pt>
                <c:pt idx="37">
                  <c:v>0.09606135447809697</c:v>
                </c:pt>
                <c:pt idx="38">
                  <c:v>0.09649749821300929</c:v>
                </c:pt>
                <c:pt idx="39">
                  <c:v>0.11560693641618497</c:v>
                </c:pt>
                <c:pt idx="40">
                  <c:v>0.0975940006249349</c:v>
                </c:pt>
                <c:pt idx="41">
                  <c:v>0.09644470634452956</c:v>
                </c:pt>
                <c:pt idx="42">
                  <c:v>0.09403215150847831</c:v>
                </c:pt>
                <c:pt idx="43">
                  <c:v>0.09792354884379424</c:v>
                </c:pt>
                <c:pt idx="44">
                  <c:v>0.09888431398592111</c:v>
                </c:pt>
                <c:pt idx="45">
                  <c:v>0.12067536772322353</c:v>
                </c:pt>
                <c:pt idx="46">
                  <c:v>0.10888216776742177</c:v>
                </c:pt>
                <c:pt idx="47">
                  <c:v>0.11330506998083513</c:v>
                </c:pt>
                <c:pt idx="48">
                  <c:v>0.11072238099931014</c:v>
                </c:pt>
                <c:pt idx="49">
                  <c:v>0.12743919356330344</c:v>
                </c:pt>
                <c:pt idx="50">
                  <c:v>0.16603508343010817</c:v>
                </c:pt>
                <c:pt idx="51">
                  <c:v>0.1441753171856978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295025887221074</c:v>
                </c:pt>
              </c:numCache>
            </c:numRef>
          </c:xVal>
          <c:yVal>
            <c:numRef>
              <c:f>Sheet1!$B$163:$B$164</c:f>
              <c:numCache>
                <c:formatCode>General</c:formatCode>
                <c:ptCount val="2"/>
                <c:pt idx="0">
                  <c:v>0.19752850259336924</c:v>
                </c:pt>
                <c:pt idx="1">
                  <c:v>0.1975285025933692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295025887221074</c:v>
                </c:pt>
                <c:pt idx="1">
                  <c:v>0.3295025887221074</c:v>
                </c:pt>
              </c:numCache>
            </c:numRef>
          </c:xVal>
          <c:yVal>
            <c:numRef>
              <c:f>Sheet1!$B$167:$B$168</c:f>
              <c:numCache>
                <c:formatCode>General</c:formatCode>
                <c:ptCount val="2"/>
                <c:pt idx="0">
                  <c:v>0.1975285025933692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9987634046624658</c:v>
                </c:pt>
              </c:numCache>
            </c:numRef>
          </c:xVal>
          <c:yVal>
            <c:numRef>
              <c:f>Sheet1!$B$171:$B$172</c:f>
              <c:numCache>
                <c:formatCode>General</c:formatCode>
                <c:ptCount val="2"/>
                <c:pt idx="0">
                  <c:v>0.13709299379460488</c:v>
                </c:pt>
                <c:pt idx="1">
                  <c:v>0.1370929937946048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9987634046624658</c:v>
                </c:pt>
                <c:pt idx="1">
                  <c:v>0.19987634046624658</c:v>
                </c:pt>
              </c:numCache>
            </c:numRef>
          </c:xVal>
          <c:yVal>
            <c:numRef>
              <c:f>Sheet1!$B$175:$B$176</c:f>
              <c:numCache>
                <c:formatCode>General</c:formatCode>
                <c:ptCount val="2"/>
                <c:pt idx="0">
                  <c:v>0.137092993794604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5194863573465917</c:v>
                </c:pt>
              </c:numCache>
            </c:numRef>
          </c:xVal>
          <c:yVal>
            <c:numRef>
              <c:f>Sheet1!$B$179:$B$180</c:f>
              <c:numCache>
                <c:formatCode>General</c:formatCode>
                <c:ptCount val="2"/>
                <c:pt idx="0">
                  <c:v>0.11474771064413408</c:v>
                </c:pt>
                <c:pt idx="1">
                  <c:v>0.1147477106441340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5194863573465917</c:v>
                </c:pt>
                <c:pt idx="1">
                  <c:v>0.15194863573465917</c:v>
                </c:pt>
              </c:numCache>
            </c:numRef>
          </c:xVal>
          <c:yVal>
            <c:numRef>
              <c:f>Sheet1!$B$183:$B$184</c:f>
              <c:numCache>
                <c:formatCode>General</c:formatCode>
                <c:ptCount val="2"/>
                <c:pt idx="0">
                  <c:v>0.1147477106441340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6737852773386547</c:v>
                </c:pt>
                <c:pt idx="1">
                  <c:v>0.16779766553234188</c:v>
                </c:pt>
                <c:pt idx="2">
                  <c:v>0.16942828579810423</c:v>
                </c:pt>
                <c:pt idx="3">
                  <c:v>0.16648085963543044</c:v>
                </c:pt>
                <c:pt idx="4">
                  <c:v>0.16800206157045933</c:v>
                </c:pt>
                <c:pt idx="5">
                  <c:v>0.16962508181790284</c:v>
                </c:pt>
                <c:pt idx="6">
                  <c:v>0.15357430146185522</c:v>
                </c:pt>
                <c:pt idx="7">
                  <c:v>0.15701040769396618</c:v>
                </c:pt>
                <c:pt idx="8">
                  <c:v>0.17068817467459044</c:v>
                </c:pt>
                <c:pt idx="9">
                  <c:v>0.15893217977539198</c:v>
                </c:pt>
                <c:pt idx="10">
                  <c:v>0.17204695226881056</c:v>
                </c:pt>
                <c:pt idx="11">
                  <c:v>0.15899248497824464</c:v>
                </c:pt>
                <c:pt idx="12">
                  <c:v>0.16814823452441077</c:v>
                </c:pt>
                <c:pt idx="13">
                  <c:v>0.16785723652091344</c:v>
                </c:pt>
                <c:pt idx="14">
                  <c:v>0.17262656230793996</c:v>
                </c:pt>
                <c:pt idx="15">
                  <c:v>0.17412103786892913</c:v>
                </c:pt>
                <c:pt idx="16">
                  <c:v>0.1744622223030508</c:v>
                </c:pt>
                <c:pt idx="17">
                  <c:v>0.16990633540817027</c:v>
                </c:pt>
                <c:pt idx="18">
                  <c:v>0.13141405444702753</c:v>
                </c:pt>
                <c:pt idx="19">
                  <c:v>0.133106244606218</c:v>
                </c:pt>
                <c:pt idx="20">
                  <c:v>0.1303518321227711</c:v>
                </c:pt>
                <c:pt idx="21">
                  <c:v>0.12032506202197776</c:v>
                </c:pt>
                <c:pt idx="22">
                  <c:v>0.13363881332450822</c:v>
                </c:pt>
                <c:pt idx="23">
                  <c:v>0.13223589393430282</c:v>
                </c:pt>
                <c:pt idx="24">
                  <c:v>0.13809591322749734</c:v>
                </c:pt>
                <c:pt idx="25">
                  <c:v>0.13357306091106994</c:v>
                </c:pt>
                <c:pt idx="26">
                  <c:v>0.14221912056064434</c:v>
                </c:pt>
                <c:pt idx="27">
                  <c:v>0.1399817759362839</c:v>
                </c:pt>
                <c:pt idx="28">
                  <c:v>0.1440674931233371</c:v>
                </c:pt>
                <c:pt idx="29">
                  <c:v>0.13926260709688826</c:v>
                </c:pt>
                <c:pt idx="30">
                  <c:v>0.13150007790171925</c:v>
                </c:pt>
                <c:pt idx="31">
                  <c:v>0.12493803109359088</c:v>
                </c:pt>
                <c:pt idx="32">
                  <c:v>0.13310139655303982</c:v>
                </c:pt>
                <c:pt idx="33">
                  <c:v>0.1392424284317796</c:v>
                </c:pt>
                <c:pt idx="34">
                  <c:v>0.15380594094961558</c:v>
                </c:pt>
                <c:pt idx="35">
                  <c:v>0.15160789556982113</c:v>
                </c:pt>
                <c:pt idx="36">
                  <c:v>0.135252853384586</c:v>
                </c:pt>
                <c:pt idx="37">
                  <c:v>0.15213034731656525</c:v>
                </c:pt>
                <c:pt idx="38">
                  <c:v>0.15144668059222074</c:v>
                </c:pt>
                <c:pt idx="39">
                  <c:v>0.16161466546644526</c:v>
                </c:pt>
                <c:pt idx="40">
                  <c:v>0.16379760364794502</c:v>
                </c:pt>
                <c:pt idx="41">
                  <c:v>0.17232207888357012</c:v>
                </c:pt>
                <c:pt idx="42">
                  <c:v>0.1596736482630959</c:v>
                </c:pt>
                <c:pt idx="43">
                  <c:v>0.17557265963451285</c:v>
                </c:pt>
                <c:pt idx="44">
                  <c:v>0.17379151678593038</c:v>
                </c:pt>
                <c:pt idx="45">
                  <c:v>0.18306157327378703</c:v>
                </c:pt>
                <c:pt idx="46">
                  <c:v>0.17175295806123567</c:v>
                </c:pt>
                <c:pt idx="47">
                  <c:v>0.17372581952755292</c:v>
                </c:pt>
                <c:pt idx="48">
                  <c:v>0.17865975339523063</c:v>
                </c:pt>
                <c:pt idx="49">
                  <c:v>0.1879320875113947</c:v>
                </c:pt>
                <c:pt idx="50">
                  <c:v>0.17857336552605818</c:v>
                </c:pt>
                <c:pt idx="51">
                  <c:v>0.1632150123258142</c:v>
                </c:pt>
                <c:pt idx="52">
                  <c:v>0.19987634046624658</c:v>
                </c:pt>
                <c:pt idx="53">
                  <c:v>0.3295025887221074</c:v>
                </c:pt>
                <c:pt idx="54">
                  <c:v>0.15194863573465917</c:v>
                </c:pt>
              </c:numCache>
            </c:numRef>
          </c:xVal>
          <c:yVal>
            <c:numRef>
              <c:f>Sheet1!$B$187:$B$241</c:f>
              <c:numCache>
                <c:formatCode>General</c:formatCode>
                <c:ptCount val="55"/>
                <c:pt idx="0">
                  <c:v>0.12194157289216728</c:v>
                </c:pt>
                <c:pt idx="1">
                  <c:v>0.12213698706521128</c:v>
                </c:pt>
                <c:pt idx="2">
                  <c:v>0.12289722942927638</c:v>
                </c:pt>
                <c:pt idx="3">
                  <c:v>0.12152305404285015</c:v>
                </c:pt>
                <c:pt idx="4">
                  <c:v>0.1222322824141571</c:v>
                </c:pt>
                <c:pt idx="5">
                  <c:v>0.12298898142970938</c:v>
                </c:pt>
                <c:pt idx="6">
                  <c:v>0.11550564305891693</c:v>
                </c:pt>
                <c:pt idx="7">
                  <c:v>0.11710765523791898</c:v>
                </c:pt>
                <c:pt idx="8">
                  <c:v>0.1234846260893267</c:v>
                </c:pt>
                <c:pt idx="9">
                  <c:v>0.11800364100545413</c:v>
                </c:pt>
                <c:pt idx="10">
                  <c:v>0.12411812753178893</c:v>
                </c:pt>
                <c:pt idx="11">
                  <c:v>0.1180317570364791</c:v>
                </c:pt>
                <c:pt idx="12">
                  <c:v>0.12230043247607386</c:v>
                </c:pt>
                <c:pt idx="13">
                  <c:v>0.12216476078428755</c:v>
                </c:pt>
                <c:pt idx="14">
                  <c:v>0.12438835850808407</c:v>
                </c:pt>
                <c:pt idx="15">
                  <c:v>0.12508512627025384</c:v>
                </c:pt>
                <c:pt idx="16">
                  <c:v>0.1252441963285777</c:v>
                </c:pt>
                <c:pt idx="17">
                  <c:v>0.12312010999400864</c:v>
                </c:pt>
                <c:pt idx="18">
                  <c:v>0.10517389450129518</c:v>
                </c:pt>
                <c:pt idx="19">
                  <c:v>0.10596284253173634</c:v>
                </c:pt>
                <c:pt idx="20">
                  <c:v>0.10467865570909368</c:v>
                </c:pt>
                <c:pt idx="21">
                  <c:v>0.10000388527638324</c:v>
                </c:pt>
                <c:pt idx="22">
                  <c:v>0.10621114148270686</c:v>
                </c:pt>
                <c:pt idx="23">
                  <c:v>0.10555705985732987</c:v>
                </c:pt>
                <c:pt idx="24">
                  <c:v>0.1082891704623961</c:v>
                </c:pt>
                <c:pt idx="25">
                  <c:v>0.1061804858044445</c:v>
                </c:pt>
                <c:pt idx="26">
                  <c:v>0.11021152906194208</c:v>
                </c:pt>
                <c:pt idx="27">
                  <c:v>0.1091684142410571</c:v>
                </c:pt>
                <c:pt idx="28">
                  <c:v>0.111073293849391</c:v>
                </c:pt>
                <c:pt idx="29">
                  <c:v>0.10883311691273126</c:v>
                </c:pt>
                <c:pt idx="30">
                  <c:v>0.10521400112570861</c:v>
                </c:pt>
                <c:pt idx="31">
                  <c:v>0.1021545849739138</c:v>
                </c:pt>
                <c:pt idx="32">
                  <c:v>0.10596058222902413</c:v>
                </c:pt>
                <c:pt idx="33">
                  <c:v>0.1088237090350126</c:v>
                </c:pt>
                <c:pt idx="34">
                  <c:v>0.11561364009261223</c:v>
                </c:pt>
                <c:pt idx="35">
                  <c:v>0.11458884771700906</c:v>
                </c:pt>
                <c:pt idx="36">
                  <c:v>0.10696365367498949</c:v>
                </c:pt>
                <c:pt idx="37">
                  <c:v>0.1148324298430223</c:v>
                </c:pt>
                <c:pt idx="38">
                  <c:v>0.1145136846282955</c:v>
                </c:pt>
                <c:pt idx="39">
                  <c:v>0.11925429347565612</c:v>
                </c:pt>
                <c:pt idx="40">
                  <c:v>0.12027204243815626</c:v>
                </c:pt>
                <c:pt idx="41">
                  <c:v>0.12424639952276915</c:v>
                </c:pt>
                <c:pt idx="42">
                  <c:v>0.11834933507525539</c:v>
                </c:pt>
                <c:pt idx="43">
                  <c:v>0.12576191435265865</c:v>
                </c:pt>
                <c:pt idx="44">
                  <c:v>0.1249314940038039</c:v>
                </c:pt>
                <c:pt idx="45">
                  <c:v>0.1292534626480794</c:v>
                </c:pt>
                <c:pt idx="46">
                  <c:v>0.12398105892294045</c:v>
                </c:pt>
                <c:pt idx="47">
                  <c:v>0.12490086404042729</c:v>
                </c:pt>
                <c:pt idx="48">
                  <c:v>0.12720120681578856</c:v>
                </c:pt>
                <c:pt idx="49">
                  <c:v>0.13152423735630397</c:v>
                </c:pt>
                <c:pt idx="50">
                  <c:v>0.12716093029079673</c:v>
                </c:pt>
                <c:pt idx="51">
                  <c:v>0.12000042150143653</c:v>
                </c:pt>
                <c:pt idx="52">
                  <c:v>0.13709299379460488</c:v>
                </c:pt>
                <c:pt idx="53">
                  <c:v>0.19752850259336924</c:v>
                </c:pt>
                <c:pt idx="54">
                  <c:v>0.1147477106441340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ve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04283604135893"/>
          <c:min val="0.0662343038498689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4.7395</c:v>
                </c:pt>
                <c:pt idx="1">
                  <c:v>844.4047</c:v>
                </c:pt>
                <c:pt idx="2">
                  <c:v>870.2162</c:v>
                </c:pt>
                <c:pt idx="3">
                  <c:v>883.7203</c:v>
                </c:pt>
                <c:pt idx="4">
                  <c:v>892.2127</c:v>
                </c:pt>
                <c:pt idx="5">
                  <c:v>900.7778</c:v>
                </c:pt>
                <c:pt idx="6">
                  <c:v>874.1441</c:v>
                </c:pt>
                <c:pt idx="7">
                  <c:v>878.1715</c:v>
                </c:pt>
                <c:pt idx="8">
                  <c:v>873.7214</c:v>
                </c:pt>
                <c:pt idx="9">
                  <c:v>829.0708</c:v>
                </c:pt>
                <c:pt idx="10">
                  <c:v>818.2476</c:v>
                </c:pt>
                <c:pt idx="11">
                  <c:v>851.1822</c:v>
                </c:pt>
                <c:pt idx="12">
                  <c:v>847.582</c:v>
                </c:pt>
                <c:pt idx="13">
                  <c:v>846.3009</c:v>
                </c:pt>
                <c:pt idx="14">
                  <c:v>890.6905</c:v>
                </c:pt>
                <c:pt idx="15">
                  <c:v>900.8294</c:v>
                </c:pt>
                <c:pt idx="16">
                  <c:v>905.8495</c:v>
                </c:pt>
                <c:pt idx="17">
                  <c:v>913.7769</c:v>
                </c:pt>
                <c:pt idx="18">
                  <c:v>940.1416</c:v>
                </c:pt>
                <c:pt idx="19">
                  <c:v>966.3358</c:v>
                </c:pt>
                <c:pt idx="20">
                  <c:v>974.0241</c:v>
                </c:pt>
                <c:pt idx="21">
                  <c:v>978.0425</c:v>
                </c:pt>
                <c:pt idx="22">
                  <c:v>958.2454</c:v>
                </c:pt>
                <c:pt idx="23">
                  <c:v>946.8698</c:v>
                </c:pt>
                <c:pt idx="24">
                  <c:v>937.3111</c:v>
                </c:pt>
                <c:pt idx="25">
                  <c:v>921.574</c:v>
                </c:pt>
                <c:pt idx="26">
                  <c:v>918.7037</c:v>
                </c:pt>
                <c:pt idx="27">
                  <c:v>956.3955</c:v>
                </c:pt>
                <c:pt idx="28">
                  <c:v>957.1646</c:v>
                </c:pt>
                <c:pt idx="29">
                  <c:v>791.5038</c:v>
                </c:pt>
                <c:pt idx="30">
                  <c:v>848.0671</c:v>
                </c:pt>
                <c:pt idx="31">
                  <c:v>884.5903</c:v>
                </c:pt>
                <c:pt idx="32">
                  <c:v>864.0503</c:v>
                </c:pt>
                <c:pt idx="33">
                  <c:v>784.5681</c:v>
                </c:pt>
                <c:pt idx="34">
                  <c:v>900.7358</c:v>
                </c:pt>
                <c:pt idx="35">
                  <c:v>962.9496</c:v>
                </c:pt>
                <c:pt idx="36">
                  <c:v>1030.8847</c:v>
                </c:pt>
                <c:pt idx="37">
                  <c:v>1038.3681</c:v>
                </c:pt>
                <c:pt idx="38">
                  <c:v>1065.7465</c:v>
                </c:pt>
                <c:pt idx="39">
                  <c:v>1090.5426</c:v>
                </c:pt>
                <c:pt idx="40">
                  <c:v>1115.1897</c:v>
                </c:pt>
                <c:pt idx="41">
                  <c:v>1133.7055</c:v>
                </c:pt>
                <c:pt idx="42">
                  <c:v>1143.3923</c:v>
                </c:pt>
                <c:pt idx="43">
                  <c:v>1132.605</c:v>
                </c:pt>
                <c:pt idx="44">
                  <c:v>1063.7021</c:v>
                </c:pt>
                <c:pt idx="45">
                  <c:v>1024.7738</c:v>
                </c:pt>
                <c:pt idx="46">
                  <c:v>1011.3422</c:v>
                </c:pt>
                <c:pt idx="47">
                  <c:v>993.8071</c:v>
                </c:pt>
                <c:pt idx="48">
                  <c:v>987.1598</c:v>
                </c:pt>
                <c:pt idx="49">
                  <c:v>971.8994</c:v>
                </c:pt>
                <c:pt idx="50">
                  <c:v>967.8056</c:v>
                </c:pt>
                <c:pt idx="51">
                  <c:v>954.7659</c:v>
                </c:pt>
                <c:pt idx="52">
                  <c:v>961.2862</c:v>
                </c:pt>
                <c:pt idx="53">
                  <c:v>1065.0158</c:v>
                </c:pt>
                <c:pt idx="54">
                  <c:v>1067.3335</c:v>
                </c:pt>
                <c:pt idx="55">
                  <c:v>1073.6227</c:v>
                </c:pt>
                <c:pt idx="56">
                  <c:v>1097.0604</c:v>
                </c:pt>
                <c:pt idx="57">
                  <c:v>1095.9327</c:v>
                </c:pt>
                <c:pt idx="58">
                  <c:v>1064.1597</c:v>
                </c:pt>
                <c:pt idx="59">
                  <c:v>1059.3384</c:v>
                </c:pt>
                <c:pt idx="60">
                  <c:v>1079.1316</c:v>
                </c:pt>
                <c:pt idx="61">
                  <c:v>1049.1863</c:v>
                </c:pt>
                <c:pt idx="62">
                  <c:v>992.0157</c:v>
                </c:pt>
                <c:pt idx="63">
                  <c:v>1028.8909</c:v>
                </c:pt>
                <c:pt idx="64">
                  <c:v>1026.505</c:v>
                </c:pt>
                <c:pt idx="65">
                  <c:v>1020.3602</c:v>
                </c:pt>
                <c:pt idx="66">
                  <c:v>1044.012</c:v>
                </c:pt>
                <c:pt idx="67">
                  <c:v>1062.4589</c:v>
                </c:pt>
                <c:pt idx="68">
                  <c:v>1047.5018</c:v>
                </c:pt>
                <c:pt idx="69">
                  <c:v>1051.1609</c:v>
                </c:pt>
                <c:pt idx="70">
                  <c:v>1059.9428</c:v>
                </c:pt>
                <c:pt idx="71">
                  <c:v>1091.8</c:v>
                </c:pt>
                <c:pt idx="72">
                  <c:v>1148.2741</c:v>
                </c:pt>
                <c:pt idx="73">
                  <c:v>1189.5775</c:v>
                </c:pt>
                <c:pt idx="74">
                  <c:v>1158.1922</c:v>
                </c:pt>
                <c:pt idx="75">
                  <c:v>1137.3933</c:v>
                </c:pt>
                <c:pt idx="76">
                  <c:v>1145.8753</c:v>
                </c:pt>
                <c:pt idx="77">
                  <c:v>1141.6081</c:v>
                </c:pt>
                <c:pt idx="78">
                  <c:v>1139.9126</c:v>
                </c:pt>
                <c:pt idx="79">
                  <c:v>1166.4725</c:v>
                </c:pt>
                <c:pt idx="80">
                  <c:v>1164.5252</c:v>
                </c:pt>
                <c:pt idx="81">
                  <c:v>1154.0077</c:v>
                </c:pt>
                <c:pt idx="82">
                  <c:v>1169.0915</c:v>
                </c:pt>
                <c:pt idx="83">
                  <c:v>1159.0233</c:v>
                </c:pt>
                <c:pt idx="84">
                  <c:v>1128.1737</c:v>
                </c:pt>
                <c:pt idx="85">
                  <c:v>1111.4616</c:v>
                </c:pt>
                <c:pt idx="86">
                  <c:v>1133.234</c:v>
                </c:pt>
                <c:pt idx="87">
                  <c:v>1158.7054</c:v>
                </c:pt>
                <c:pt idx="88">
                  <c:v>1157.9677</c:v>
                </c:pt>
                <c:pt idx="89">
                  <c:v>1144.054</c:v>
                </c:pt>
                <c:pt idx="90">
                  <c:v>1191.777</c:v>
                </c:pt>
                <c:pt idx="91">
                  <c:v>1204.7724</c:v>
                </c:pt>
                <c:pt idx="92">
                  <c:v>1139.6722</c:v>
                </c:pt>
                <c:pt idx="93">
                  <c:v>1178.0642</c:v>
                </c:pt>
                <c:pt idx="94">
                  <c:v>1166.7915</c:v>
                </c:pt>
                <c:pt idx="95">
                  <c:v>1150.5536</c:v>
                </c:pt>
                <c:pt idx="96">
                  <c:v>1081.9811</c:v>
                </c:pt>
                <c:pt idx="97">
                  <c:v>1097.1846</c:v>
                </c:pt>
                <c:pt idx="98">
                  <c:v>1078.9228</c:v>
                </c:pt>
                <c:pt idx="99">
                  <c:v>1032.2882</c:v>
                </c:pt>
                <c:pt idx="100">
                  <c:v>1027.3333</c:v>
                </c:pt>
                <c:pt idx="101">
                  <c:v>1075.6902</c:v>
                </c:pt>
                <c:pt idx="102">
                  <c:v>1089.6114</c:v>
                </c:pt>
                <c:pt idx="103">
                  <c:v>1040.7115</c:v>
                </c:pt>
                <c:pt idx="104">
                  <c:v>1087.4354</c:v>
                </c:pt>
              </c:numCache>
            </c:numRef>
          </c:xVal>
          <c:yVal>
            <c:numRef>
              <c:f>Sheet1!$B$2:$B$106</c:f>
              <c:numCache>
                <c:formatCode>General</c:formatCode>
                <c:ptCount val="105"/>
                <c:pt idx="0">
                  <c:v>0.2336903003446578</c:v>
                </c:pt>
                <c:pt idx="1">
                  <c:v>0.22766497461928933</c:v>
                </c:pt>
                <c:pt idx="2">
                  <c:v>0.19406018858336627</c:v>
                </c:pt>
                <c:pt idx="3">
                  <c:v>0.18538291605301915</c:v>
                </c:pt>
                <c:pt idx="4">
                  <c:v>0.16204192429497813</c:v>
                </c:pt>
                <c:pt idx="5">
                  <c:v>0.1393648797358906</c:v>
                </c:pt>
                <c:pt idx="6">
                  <c:v>0.15394402035623408</c:v>
                </c:pt>
                <c:pt idx="7">
                  <c:v>0.14659300184162063</c:v>
                </c:pt>
                <c:pt idx="8">
                  <c:v>0.16634615384615384</c:v>
                </c:pt>
                <c:pt idx="9">
                  <c:v>0.19188557671882744</c:v>
                </c:pt>
                <c:pt idx="10">
                  <c:v>0.20462159020988582</c:v>
                </c:pt>
                <c:pt idx="11">
                  <c:v>0.19413645330249643</c:v>
                </c:pt>
                <c:pt idx="12">
                  <c:v>0.2111118055121555</c:v>
                </c:pt>
                <c:pt idx="13">
                  <c:v>0.21688463032500324</c:v>
                </c:pt>
                <c:pt idx="14">
                  <c:v>0.21993649953697578</c:v>
                </c:pt>
                <c:pt idx="15">
                  <c:v>0.21430289425158341</c:v>
                </c:pt>
                <c:pt idx="16">
                  <c:v>0.2086924288759151</c:v>
                </c:pt>
                <c:pt idx="17">
                  <c:v>0.19300671671276176</c:v>
                </c:pt>
                <c:pt idx="18">
                  <c:v>0.1821827246125501</c:v>
                </c:pt>
                <c:pt idx="19">
                  <c:v>0.1677987421383648</c:v>
                </c:pt>
                <c:pt idx="20">
                  <c:v>0.1888670052866176</c:v>
                </c:pt>
                <c:pt idx="21">
                  <c:v>0.1744434662306628</c:v>
                </c:pt>
                <c:pt idx="22">
                  <c:v>0.17539975399754</c:v>
                </c:pt>
                <c:pt idx="23">
                  <c:v>0.17809278350515464</c:v>
                </c:pt>
                <c:pt idx="24">
                  <c:v>0.17713950762016412</c:v>
                </c:pt>
                <c:pt idx="25">
                  <c:v>0.17013056221689316</c:v>
                </c:pt>
                <c:pt idx="26">
                  <c:v>0.1763819095477387</c:v>
                </c:pt>
                <c:pt idx="27">
                  <c:v>0.16479446981854093</c:v>
                </c:pt>
                <c:pt idx="28">
                  <c:v>0.16121897272057018</c:v>
                </c:pt>
                <c:pt idx="29">
                  <c:v>0.18130880642774078</c:v>
                </c:pt>
                <c:pt idx="30">
                  <c:v>0.16392757660167132</c:v>
                </c:pt>
                <c:pt idx="31">
                  <c:v>0.15785245682152899</c:v>
                </c:pt>
                <c:pt idx="32">
                  <c:v>0.17159913628858123</c:v>
                </c:pt>
                <c:pt idx="33">
                  <c:v>0.19846338056276192</c:v>
                </c:pt>
                <c:pt idx="34">
                  <c:v>0.1836734693877551</c:v>
                </c:pt>
                <c:pt idx="35">
                  <c:v>0.18745454545454546</c:v>
                </c:pt>
                <c:pt idx="36">
                  <c:v>0.14620119059630712</c:v>
                </c:pt>
                <c:pt idx="37">
                  <c:v>0.13155825188181103</c:v>
                </c:pt>
                <c:pt idx="38">
                  <c:v>0.12670086995315638</c:v>
                </c:pt>
                <c:pt idx="39">
                  <c:v>0.11745994344957587</c:v>
                </c:pt>
                <c:pt idx="40">
                  <c:v>0.11861296242634985</c:v>
                </c:pt>
                <c:pt idx="41">
                  <c:v>0.09699696557497123</c:v>
                </c:pt>
                <c:pt idx="42">
                  <c:v>0.10267937421327099</c:v>
                </c:pt>
                <c:pt idx="43">
                  <c:v>0.10876937984496124</c:v>
                </c:pt>
                <c:pt idx="44">
                  <c:v>0.13106005280602212</c:v>
                </c:pt>
                <c:pt idx="45">
                  <c:v>0.14652833200319235</c:v>
                </c:pt>
                <c:pt idx="46">
                  <c:v>0.14924378364521917</c:v>
                </c:pt>
                <c:pt idx="47">
                  <c:v>0.1453833066969119</c:v>
                </c:pt>
                <c:pt idx="48">
                  <c:v>0.16200567644276254</c:v>
                </c:pt>
                <c:pt idx="49">
                  <c:v>0.18696397941680962</c:v>
                </c:pt>
                <c:pt idx="50">
                  <c:v>0.14947868277072365</c:v>
                </c:pt>
                <c:pt idx="51">
                  <c:v>0.1366100249710701</c:v>
                </c:pt>
                <c:pt idx="52">
                  <c:v>0.15429433491130418</c:v>
                </c:pt>
                <c:pt idx="53">
                  <c:v>0.13236322043591536</c:v>
                </c:pt>
                <c:pt idx="54">
                  <c:v>0.12499148559362441</c:v>
                </c:pt>
                <c:pt idx="55">
                  <c:v>0.11914417563977066</c:v>
                </c:pt>
                <c:pt idx="56">
                  <c:v>0.12371940808195789</c:v>
                </c:pt>
                <c:pt idx="57">
                  <c:v>0.11464546056991386</c:v>
                </c:pt>
                <c:pt idx="58">
                  <c:v>0.13095514757146176</c:v>
                </c:pt>
                <c:pt idx="59">
                  <c:v>0.1409935737099319</c:v>
                </c:pt>
                <c:pt idx="60">
                  <c:v>0.1477252995311686</c:v>
                </c:pt>
                <c:pt idx="61">
                  <c:v>0.1442077549066539</c:v>
                </c:pt>
                <c:pt idx="62">
                  <c:v>0.15994631499095524</c:v>
                </c:pt>
                <c:pt idx="63">
                  <c:v>0.1794679253379103</c:v>
                </c:pt>
                <c:pt idx="64">
                  <c:v>0.1860388721598686</c:v>
                </c:pt>
                <c:pt idx="65">
                  <c:v>0.1751884532226962</c:v>
                </c:pt>
                <c:pt idx="66">
                  <c:v>0.16538995114301225</c:v>
                </c:pt>
                <c:pt idx="67">
                  <c:v>0.1515056264537625</c:v>
                </c:pt>
                <c:pt idx="68">
                  <c:v>0.13681221157259496</c:v>
                </c:pt>
                <c:pt idx="69">
                  <c:v>0.12007764836383805</c:v>
                </c:pt>
                <c:pt idx="70">
                  <c:v>0.10860744194077528</c:v>
                </c:pt>
                <c:pt idx="71">
                  <c:v>0.11649494105634456</c:v>
                </c:pt>
                <c:pt idx="72">
                  <c:v>0.12022680960396917</c:v>
                </c:pt>
                <c:pt idx="73">
                  <c:v>0.11500232234091964</c:v>
                </c:pt>
                <c:pt idx="74">
                  <c:v>0.10718075698620445</c:v>
                </c:pt>
                <c:pt idx="75">
                  <c:v>0.10917488977535167</c:v>
                </c:pt>
                <c:pt idx="76">
                  <c:v>0.1050294215610081</c:v>
                </c:pt>
                <c:pt idx="77">
                  <c:v>0.10326456585808207</c:v>
                </c:pt>
                <c:pt idx="78">
                  <c:v>0.09955860716037274</c:v>
                </c:pt>
                <c:pt idx="79">
                  <c:v>0.09373926977223303</c:v>
                </c:pt>
                <c:pt idx="80">
                  <c:v>0.08714748035136384</c:v>
                </c:pt>
                <c:pt idx="81">
                  <c:v>0.09712364587224505</c:v>
                </c:pt>
                <c:pt idx="82">
                  <c:v>0.08849883392659874</c:v>
                </c:pt>
                <c:pt idx="83">
                  <c:v>0.08279287981233614</c:v>
                </c:pt>
                <c:pt idx="84">
                  <c:v>0.0865411632481034</c:v>
                </c:pt>
                <c:pt idx="85">
                  <c:v>0.09759391112202308</c:v>
                </c:pt>
                <c:pt idx="86">
                  <c:v>0.10509885535900104</c:v>
                </c:pt>
                <c:pt idx="87">
                  <c:v>0.12609274040288865</c:v>
                </c:pt>
                <c:pt idx="88">
                  <c:v>0.10473524609283881</c:v>
                </c:pt>
                <c:pt idx="89">
                  <c:v>0.09010214007782101</c:v>
                </c:pt>
                <c:pt idx="90">
                  <c:v>0.08617482951022938</c:v>
                </c:pt>
                <c:pt idx="91">
                  <c:v>0.09022828844063292</c:v>
                </c:pt>
                <c:pt idx="92">
                  <c:v>0.0951813214108296</c:v>
                </c:pt>
                <c:pt idx="93">
                  <c:v>0.09130434782608696</c:v>
                </c:pt>
                <c:pt idx="94">
                  <c:v>0.09576345984112974</c:v>
                </c:pt>
                <c:pt idx="95">
                  <c:v>0.10623068163331706</c:v>
                </c:pt>
                <c:pt idx="96">
                  <c:v>0.10862857142857144</c:v>
                </c:pt>
                <c:pt idx="97">
                  <c:v>0.11879259980525804</c:v>
                </c:pt>
                <c:pt idx="98">
                  <c:v>0.13888515180052918</c:v>
                </c:pt>
                <c:pt idx="99">
                  <c:v>0.14448152747593915</c:v>
                </c:pt>
                <c:pt idx="100">
                  <c:v>0.16821783604667914</c:v>
                </c:pt>
                <c:pt idx="101">
                  <c:v>0.13859708573364962</c:v>
                </c:pt>
                <c:pt idx="102">
                  <c:v>0.10829657885326022</c:v>
                </c:pt>
                <c:pt idx="103">
                  <c:v>0.11819780968053112</c:v>
                </c:pt>
                <c:pt idx="104">
                  <c:v>0.1251913477537437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8.933</c:v>
                </c:pt>
                <c:pt idx="1">
                  <c:v>1130.1058</c:v>
                </c:pt>
                <c:pt idx="2">
                  <c:v>1130.3505</c:v>
                </c:pt>
                <c:pt idx="3">
                  <c:v>1112.1749</c:v>
                </c:pt>
                <c:pt idx="4">
                  <c:v>1121.0077</c:v>
                </c:pt>
                <c:pt idx="5">
                  <c:v>1125.9822</c:v>
                </c:pt>
                <c:pt idx="6">
                  <c:v>1030.5625</c:v>
                </c:pt>
                <c:pt idx="7">
                  <c:v>1069.4974</c:v>
                </c:pt>
                <c:pt idx="8">
                  <c:v>1148.955</c:v>
                </c:pt>
                <c:pt idx="9">
                  <c:v>1080.3153</c:v>
                </c:pt>
                <c:pt idx="10">
                  <c:v>1100.3071</c:v>
                </c:pt>
                <c:pt idx="11">
                  <c:v>1003.2767</c:v>
                </c:pt>
                <c:pt idx="12">
                  <c:v>1041.5539</c:v>
                </c:pt>
                <c:pt idx="13">
                  <c:v>1079.1156</c:v>
                </c:pt>
                <c:pt idx="14">
                  <c:v>1100.0661</c:v>
                </c:pt>
                <c:pt idx="15">
                  <c:v>1115.22</c:v>
                </c:pt>
                <c:pt idx="16">
                  <c:v>1147.3216</c:v>
                </c:pt>
                <c:pt idx="17">
                  <c:v>1126.6781</c:v>
                </c:pt>
                <c:pt idx="18">
                  <c:v>1046.322</c:v>
                </c:pt>
                <c:pt idx="19">
                  <c:v>1109.9576</c:v>
                </c:pt>
                <c:pt idx="20">
                  <c:v>1103.3842</c:v>
                </c:pt>
                <c:pt idx="21">
                  <c:v>1069.1992</c:v>
                </c:pt>
                <c:pt idx="22">
                  <c:v>1103.035</c:v>
                </c:pt>
                <c:pt idx="23">
                  <c:v>1088.7015</c:v>
                </c:pt>
                <c:pt idx="24">
                  <c:v>1152.668</c:v>
                </c:pt>
                <c:pt idx="25">
                  <c:v>1114.5372</c:v>
                </c:pt>
                <c:pt idx="26">
                  <c:v>1154.1191</c:v>
                </c:pt>
                <c:pt idx="27">
                  <c:v>1153.0175</c:v>
                </c:pt>
                <c:pt idx="28">
                  <c:v>1090.6205</c:v>
                </c:pt>
                <c:pt idx="29">
                  <c:v>1079.4531</c:v>
                </c:pt>
                <c:pt idx="30">
                  <c:v>1064.8908</c:v>
                </c:pt>
                <c:pt idx="31">
                  <c:v>1049.3004</c:v>
                </c:pt>
                <c:pt idx="32">
                  <c:v>1044.6028</c:v>
                </c:pt>
                <c:pt idx="33">
                  <c:v>1071.1442</c:v>
                </c:pt>
                <c:pt idx="34">
                  <c:v>1099.8629</c:v>
                </c:pt>
                <c:pt idx="35">
                  <c:v>1127.293</c:v>
                </c:pt>
                <c:pt idx="36">
                  <c:v>1120.9661</c:v>
                </c:pt>
                <c:pt idx="37">
                  <c:v>1225.6522</c:v>
                </c:pt>
                <c:pt idx="38">
                  <c:v>1227.4904</c:v>
                </c:pt>
                <c:pt idx="39">
                  <c:v>1193.7889</c:v>
                </c:pt>
                <c:pt idx="40">
                  <c:v>1227.2038</c:v>
                </c:pt>
                <c:pt idx="41">
                  <c:v>1278.1202</c:v>
                </c:pt>
                <c:pt idx="42">
                  <c:v>1262.3501</c:v>
                </c:pt>
                <c:pt idx="43">
                  <c:v>1265.3888</c:v>
                </c:pt>
                <c:pt idx="44">
                  <c:v>1187.728</c:v>
                </c:pt>
                <c:pt idx="45">
                  <c:v>1159.4189</c:v>
                </c:pt>
                <c:pt idx="46">
                  <c:v>1159.2925</c:v>
                </c:pt>
                <c:pt idx="47">
                  <c:v>1141.9672</c:v>
                </c:pt>
                <c:pt idx="48">
                  <c:v>1113.4272</c:v>
                </c:pt>
                <c:pt idx="49">
                  <c:v>1113.2721</c:v>
                </c:pt>
                <c:pt idx="50">
                  <c:v>1017.7432</c:v>
                </c:pt>
                <c:pt idx="51">
                  <c:v>1000.3989</c:v>
                </c:pt>
              </c:numCache>
            </c:numRef>
          </c:xVal>
          <c:yVal>
            <c:numRef>
              <c:f>Sheet1!$B$109:$B$160</c:f>
              <c:numCache>
                <c:formatCode>General</c:formatCode>
                <c:ptCount val="52"/>
                <c:pt idx="0">
                  <c:v>0.1241701058675758</c:v>
                </c:pt>
                <c:pt idx="1">
                  <c:v>0.12124403692460195</c:v>
                </c:pt>
                <c:pt idx="2">
                  <c:v>0.12557179515787126</c:v>
                </c:pt>
                <c:pt idx="3">
                  <c:v>0.13490629939038157</c:v>
                </c:pt>
                <c:pt idx="4">
                  <c:v>0.11956459467201375</c:v>
                </c:pt>
                <c:pt idx="5">
                  <c:v>0.12042446643615119</c:v>
                </c:pt>
                <c:pt idx="6">
                  <c:v>0.131292332701165</c:v>
                </c:pt>
                <c:pt idx="7">
                  <c:v>0.12793695219857112</c:v>
                </c:pt>
                <c:pt idx="8">
                  <c:v>0.1245531361715957</c:v>
                </c:pt>
                <c:pt idx="9">
                  <c:v>0.13298197372441187</c:v>
                </c:pt>
                <c:pt idx="10">
                  <c:v>0.14395563770794825</c:v>
                </c:pt>
                <c:pt idx="11">
                  <c:v>0.15904273122838336</c:v>
                </c:pt>
                <c:pt idx="12">
                  <c:v>0.15511170859740092</c:v>
                </c:pt>
                <c:pt idx="13">
                  <c:v>0.14386746120096916</c:v>
                </c:pt>
                <c:pt idx="14">
                  <c:v>0.13905368253508898</c:v>
                </c:pt>
                <c:pt idx="15">
                  <c:v>0.1314507535393515</c:v>
                </c:pt>
                <c:pt idx="16">
                  <c:v>0.11813687223523289</c:v>
                </c:pt>
                <c:pt idx="17">
                  <c:v>0.10493046776232617</c:v>
                </c:pt>
                <c:pt idx="18">
                  <c:v>0.11312893921589574</c:v>
                </c:pt>
                <c:pt idx="19">
                  <c:v>0.11665676371558724</c:v>
                </c:pt>
                <c:pt idx="20">
                  <c:v>0.10049719665714588</c:v>
                </c:pt>
                <c:pt idx="21">
                  <c:v>0.10556951977774838</c:v>
                </c:pt>
                <c:pt idx="22">
                  <c:v>0.10143213769544081</c:v>
                </c:pt>
                <c:pt idx="23">
                  <c:v>0.10108352763681251</c:v>
                </c:pt>
                <c:pt idx="24">
                  <c:v>0.09230769230769231</c:v>
                </c:pt>
                <c:pt idx="25">
                  <c:v>0.10199376101993761</c:v>
                </c:pt>
                <c:pt idx="26">
                  <c:v>0.08668076109936575</c:v>
                </c:pt>
                <c:pt idx="27">
                  <c:v>0.08998875140607424</c:v>
                </c:pt>
                <c:pt idx="28">
                  <c:v>0.09841810172206648</c:v>
                </c:pt>
                <c:pt idx="29">
                  <c:v>0.09672796751850968</c:v>
                </c:pt>
                <c:pt idx="30">
                  <c:v>0.1038523874828575</c:v>
                </c:pt>
                <c:pt idx="31">
                  <c:v>0.10535451996261183</c:v>
                </c:pt>
                <c:pt idx="32">
                  <c:v>0.10899593731863029</c:v>
                </c:pt>
                <c:pt idx="33">
                  <c:v>0.12797111623708757</c:v>
                </c:pt>
                <c:pt idx="34">
                  <c:v>0.14625793518209154</c:v>
                </c:pt>
                <c:pt idx="35">
                  <c:v>0.1358259823576584</c:v>
                </c:pt>
                <c:pt idx="36">
                  <c:v>0.10390372761960669</c:v>
                </c:pt>
                <c:pt idx="37">
                  <c:v>0.09606135447809697</c:v>
                </c:pt>
                <c:pt idx="38">
                  <c:v>0.09649749821300929</c:v>
                </c:pt>
                <c:pt idx="39">
                  <c:v>0.11560693641618497</c:v>
                </c:pt>
                <c:pt idx="40">
                  <c:v>0.0975940006249349</c:v>
                </c:pt>
                <c:pt idx="41">
                  <c:v>0.09644470634452956</c:v>
                </c:pt>
                <c:pt idx="42">
                  <c:v>0.09403215150847831</c:v>
                </c:pt>
                <c:pt idx="43">
                  <c:v>0.09792354884379424</c:v>
                </c:pt>
                <c:pt idx="44">
                  <c:v>0.09888431398592111</c:v>
                </c:pt>
                <c:pt idx="45">
                  <c:v>0.12067536772322353</c:v>
                </c:pt>
                <c:pt idx="46">
                  <c:v>0.10888216776742177</c:v>
                </c:pt>
                <c:pt idx="47">
                  <c:v>0.11330506998083513</c:v>
                </c:pt>
                <c:pt idx="48">
                  <c:v>0.11072238099931014</c:v>
                </c:pt>
                <c:pt idx="49">
                  <c:v>0.12743919356330344</c:v>
                </c:pt>
                <c:pt idx="50">
                  <c:v>0.16603508343010817</c:v>
                </c:pt>
                <c:pt idx="51">
                  <c:v>0.1441753171856978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55.1476600697432</c:v>
                </c:pt>
              </c:numCache>
            </c:numRef>
          </c:xVal>
          <c:yVal>
            <c:numRef>
              <c:f>Sheet1!$B$163:$B$164</c:f>
              <c:numCache>
                <c:formatCode>General</c:formatCode>
                <c:ptCount val="2"/>
                <c:pt idx="0">
                  <c:v>0.19752850259336924</c:v>
                </c:pt>
                <c:pt idx="1">
                  <c:v>0.1975285025933692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55.1476600697432</c:v>
                </c:pt>
                <c:pt idx="1">
                  <c:v>655.1476600697432</c:v>
                </c:pt>
              </c:numCache>
            </c:numRef>
          </c:xVal>
          <c:yVal>
            <c:numRef>
              <c:f>Sheet1!$B$167:$B$168</c:f>
              <c:numCache>
                <c:formatCode>General</c:formatCode>
                <c:ptCount val="2"/>
                <c:pt idx="0">
                  <c:v>0.1975285025933692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3.2859075798295</c:v>
                </c:pt>
              </c:numCache>
            </c:numRef>
          </c:xVal>
          <c:yVal>
            <c:numRef>
              <c:f>Sheet1!$B$171:$B$172</c:f>
              <c:numCache>
                <c:formatCode>General</c:formatCode>
                <c:ptCount val="2"/>
                <c:pt idx="0">
                  <c:v>0.13709299379460488</c:v>
                </c:pt>
                <c:pt idx="1">
                  <c:v>0.1370929937946048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3.2859075798295</c:v>
                </c:pt>
                <c:pt idx="1">
                  <c:v>1003.2859075798295</c:v>
                </c:pt>
              </c:numCache>
            </c:numRef>
          </c:xVal>
          <c:yVal>
            <c:numRef>
              <c:f>Sheet1!$B$175:$B$176</c:f>
              <c:numCache>
                <c:formatCode>General</c:formatCode>
                <c:ptCount val="2"/>
                <c:pt idx="0">
                  <c:v>0.137092993794604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32.0057259572106</c:v>
                </c:pt>
              </c:numCache>
            </c:numRef>
          </c:xVal>
          <c:yVal>
            <c:numRef>
              <c:f>Sheet1!$B$179:$B$180</c:f>
              <c:numCache>
                <c:formatCode>General</c:formatCode>
                <c:ptCount val="2"/>
                <c:pt idx="0">
                  <c:v>0.11474771064413408</c:v>
                </c:pt>
                <c:pt idx="1">
                  <c:v>0.1147477106441340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32.0057259572106</c:v>
                </c:pt>
                <c:pt idx="1">
                  <c:v>1132.0057259572106</c:v>
                </c:pt>
              </c:numCache>
            </c:numRef>
          </c:xVal>
          <c:yVal>
            <c:numRef>
              <c:f>Sheet1!$B$183:$B$184</c:f>
              <c:numCache>
                <c:formatCode>General</c:formatCode>
                <c:ptCount val="2"/>
                <c:pt idx="0">
                  <c:v>0.1147477106441340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8.933</c:v>
                </c:pt>
                <c:pt idx="1">
                  <c:v>1130.1058</c:v>
                </c:pt>
                <c:pt idx="2">
                  <c:v>1130.3505</c:v>
                </c:pt>
                <c:pt idx="3">
                  <c:v>1112.1749</c:v>
                </c:pt>
                <c:pt idx="4">
                  <c:v>1121.0077</c:v>
                </c:pt>
                <c:pt idx="5">
                  <c:v>1125.9822</c:v>
                </c:pt>
                <c:pt idx="6">
                  <c:v>1030.5625</c:v>
                </c:pt>
                <c:pt idx="7">
                  <c:v>1069.4974</c:v>
                </c:pt>
                <c:pt idx="8">
                  <c:v>1148.955</c:v>
                </c:pt>
                <c:pt idx="9">
                  <c:v>1080.3153</c:v>
                </c:pt>
                <c:pt idx="10">
                  <c:v>1100.3071</c:v>
                </c:pt>
                <c:pt idx="11">
                  <c:v>1003.2767</c:v>
                </c:pt>
                <c:pt idx="12">
                  <c:v>1041.5539</c:v>
                </c:pt>
                <c:pt idx="13">
                  <c:v>1079.1156</c:v>
                </c:pt>
                <c:pt idx="14">
                  <c:v>1100.0661</c:v>
                </c:pt>
                <c:pt idx="15">
                  <c:v>1115.22</c:v>
                </c:pt>
                <c:pt idx="16">
                  <c:v>1147.3216</c:v>
                </c:pt>
                <c:pt idx="17">
                  <c:v>1126.6781</c:v>
                </c:pt>
                <c:pt idx="18">
                  <c:v>1046.322</c:v>
                </c:pt>
                <c:pt idx="19">
                  <c:v>1109.9576</c:v>
                </c:pt>
                <c:pt idx="20">
                  <c:v>1103.3842</c:v>
                </c:pt>
                <c:pt idx="21">
                  <c:v>1069.1992</c:v>
                </c:pt>
                <c:pt idx="22">
                  <c:v>1103.035</c:v>
                </c:pt>
                <c:pt idx="23">
                  <c:v>1088.7015</c:v>
                </c:pt>
                <c:pt idx="24">
                  <c:v>1152.668</c:v>
                </c:pt>
                <c:pt idx="25">
                  <c:v>1114.5372</c:v>
                </c:pt>
                <c:pt idx="26">
                  <c:v>1154.1191</c:v>
                </c:pt>
                <c:pt idx="27">
                  <c:v>1153.0175</c:v>
                </c:pt>
                <c:pt idx="28">
                  <c:v>1090.6205</c:v>
                </c:pt>
                <c:pt idx="29">
                  <c:v>1079.4531</c:v>
                </c:pt>
                <c:pt idx="30">
                  <c:v>1064.8908</c:v>
                </c:pt>
                <c:pt idx="31">
                  <c:v>1049.3004</c:v>
                </c:pt>
                <c:pt idx="32">
                  <c:v>1044.6028</c:v>
                </c:pt>
                <c:pt idx="33">
                  <c:v>1071.1442</c:v>
                </c:pt>
                <c:pt idx="34">
                  <c:v>1099.8629</c:v>
                </c:pt>
                <c:pt idx="35">
                  <c:v>1127.293</c:v>
                </c:pt>
                <c:pt idx="36">
                  <c:v>1120.9661</c:v>
                </c:pt>
                <c:pt idx="37">
                  <c:v>1225.6522</c:v>
                </c:pt>
                <c:pt idx="38">
                  <c:v>1227.4904</c:v>
                </c:pt>
                <c:pt idx="39">
                  <c:v>1193.7889</c:v>
                </c:pt>
                <c:pt idx="40">
                  <c:v>1227.2038</c:v>
                </c:pt>
                <c:pt idx="41">
                  <c:v>1278.1202</c:v>
                </c:pt>
                <c:pt idx="42">
                  <c:v>1262.3501</c:v>
                </c:pt>
                <c:pt idx="43">
                  <c:v>1265.3888</c:v>
                </c:pt>
                <c:pt idx="44">
                  <c:v>1187.728</c:v>
                </c:pt>
                <c:pt idx="45">
                  <c:v>1159.4189</c:v>
                </c:pt>
                <c:pt idx="46">
                  <c:v>1159.2925</c:v>
                </c:pt>
                <c:pt idx="47">
                  <c:v>1141.9672</c:v>
                </c:pt>
                <c:pt idx="48">
                  <c:v>1113.4272</c:v>
                </c:pt>
                <c:pt idx="49">
                  <c:v>1113.2721</c:v>
                </c:pt>
                <c:pt idx="50">
                  <c:v>1017.7432</c:v>
                </c:pt>
                <c:pt idx="51">
                  <c:v>1000.3989</c:v>
                </c:pt>
                <c:pt idx="52">
                  <c:v>1003.2859075798295</c:v>
                </c:pt>
                <c:pt idx="53">
                  <c:v>655.1476600697432</c:v>
                </c:pt>
                <c:pt idx="54">
                  <c:v>1132.0057259572106</c:v>
                </c:pt>
              </c:numCache>
            </c:numRef>
          </c:xVal>
          <c:yVal>
            <c:numRef>
              <c:f>Sheet1!$B$187:$B$241</c:f>
              <c:numCache>
                <c:formatCode>General</c:formatCode>
                <c:ptCount val="55"/>
                <c:pt idx="0">
                  <c:v>0.11354516155807792</c:v>
                </c:pt>
                <c:pt idx="1">
                  <c:v>0.11507753074498547</c:v>
                </c:pt>
                <c:pt idx="2">
                  <c:v>0.11503505173238396</c:v>
                </c:pt>
                <c:pt idx="3">
                  <c:v>0.11819026849348113</c:v>
                </c:pt>
                <c:pt idx="4">
                  <c:v>0.1166569271673395</c:v>
                </c:pt>
                <c:pt idx="5">
                  <c:v>0.11579337241381957</c:v>
                </c:pt>
                <c:pt idx="6">
                  <c:v>0.13235787849773778</c:v>
                </c:pt>
                <c:pt idx="7">
                  <c:v>0.1255989242364401</c:v>
                </c:pt>
                <c:pt idx="8">
                  <c:v>0.11180537952173714</c:v>
                </c:pt>
                <c:pt idx="9">
                  <c:v>0.12372097691146192</c:v>
                </c:pt>
                <c:pt idx="10">
                  <c:v>0.12025047456521185</c:v>
                </c:pt>
                <c:pt idx="11">
                  <c:v>0.13709459219631967</c:v>
                </c:pt>
                <c:pt idx="12">
                  <c:v>0.13044981221613364</c:v>
                </c:pt>
                <c:pt idx="13">
                  <c:v>0.12392924038272493</c:v>
                </c:pt>
                <c:pt idx="14">
                  <c:v>0.12029231127153375</c:v>
                </c:pt>
                <c:pt idx="15">
                  <c:v>0.11766165042534488</c:v>
                </c:pt>
                <c:pt idx="16">
                  <c:v>0.1120889317047504</c:v>
                </c:pt>
                <c:pt idx="17">
                  <c:v>0.11567256675436138</c:v>
                </c:pt>
                <c:pt idx="18">
                  <c:v>0.1296220877372396</c:v>
                </c:pt>
                <c:pt idx="19">
                  <c:v>0.11857518355127183</c:v>
                </c:pt>
                <c:pt idx="20">
                  <c:v>0.11971630141573827</c:v>
                </c:pt>
                <c:pt idx="21">
                  <c:v>0.12565069065065249</c:v>
                </c:pt>
                <c:pt idx="22">
                  <c:v>0.11977692124083206</c:v>
                </c:pt>
                <c:pt idx="23">
                  <c:v>0.12226516368923471</c:v>
                </c:pt>
                <c:pt idx="24">
                  <c:v>0.11116081649031292</c:v>
                </c:pt>
                <c:pt idx="25">
                  <c:v>0.11778018197338055</c:v>
                </c:pt>
                <c:pt idx="26">
                  <c:v>0.11090891091129337</c:v>
                </c:pt>
                <c:pt idx="27">
                  <c:v>0.11110014458633158</c:v>
                </c:pt>
                <c:pt idx="28">
                  <c:v>0.12193203240528558</c:v>
                </c:pt>
                <c:pt idx="29">
                  <c:v>0.1238706516342451</c:v>
                </c:pt>
                <c:pt idx="30">
                  <c:v>0.12639861291420976</c:v>
                </c:pt>
                <c:pt idx="31">
                  <c:v>0.12910504854176585</c:v>
                </c:pt>
                <c:pt idx="32">
                  <c:v>0.12992053448208865</c:v>
                </c:pt>
                <c:pt idx="33">
                  <c:v>0.12531304586311678</c:v>
                </c:pt>
                <c:pt idx="34">
                  <c:v>0.1203275860380259</c:v>
                </c:pt>
                <c:pt idx="35">
                  <c:v>0.11556582239453841</c:v>
                </c:pt>
                <c:pt idx="36">
                  <c:v>0.11666414877307807</c:v>
                </c:pt>
                <c:pt idx="37">
                  <c:v>0.09849103001089721</c:v>
                </c:pt>
                <c:pt idx="38">
                  <c:v>0.09817192530732491</c:v>
                </c:pt>
                <c:pt idx="39">
                  <c:v>0.1040223807351576</c:v>
                </c:pt>
                <c:pt idx="40">
                  <c:v>0.0982216780045525</c:v>
                </c:pt>
                <c:pt idx="41">
                  <c:v>0.08938277977314732</c:v>
                </c:pt>
                <c:pt idx="42">
                  <c:v>0.09212041065433849</c:v>
                </c:pt>
                <c:pt idx="43">
                  <c:v>0.09159290360246974</c:v>
                </c:pt>
                <c:pt idx="44">
                  <c:v>0.10507453050008056</c:v>
                </c:pt>
                <c:pt idx="45">
                  <c:v>0.1099888852840534</c:v>
                </c:pt>
                <c:pt idx="46">
                  <c:v>0.11001082785533589</c:v>
                </c:pt>
                <c:pt idx="47">
                  <c:v>0.11301843568952222</c:v>
                </c:pt>
                <c:pt idx="48">
                  <c:v>0.11797287385726982</c:v>
                </c:pt>
                <c:pt idx="49">
                  <c:v>0.11799979864212681</c:v>
                </c:pt>
                <c:pt idx="50">
                  <c:v>0.13458326144110871</c:v>
                </c:pt>
                <c:pt idx="51">
                  <c:v>0.13759416760483908</c:v>
                </c:pt>
                <c:pt idx="52">
                  <c:v>0.13709299379460488</c:v>
                </c:pt>
                <c:pt idx="53">
                  <c:v>0.19752850259336924</c:v>
                </c:pt>
                <c:pt idx="54">
                  <c:v>0.1147477106441340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34.0"/>
          <c:min val="52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04283604135893"/>
          <c:min val="0.0662343038498689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7745543769969534</c:v>
                </c:pt>
                <c:pt idx="2">
                  <c:v>1.09237999844515</c:v>
                </c:pt>
                <c:pt idx="3">
                  <c:v>1.1355421430145682</c:v>
                </c:pt>
                <c:pt idx="4">
                  <c:v>0.49965842969238355</c:v>
                </c:pt>
                <c:pt idx="5">
                  <c:v>0.5030144282829465</c:v>
                </c:pt>
                <c:pt idx="6">
                  <c:v>0.49901222791354116</c:v>
                </c:pt>
                <c:pt idx="7">
                  <c:v>0.5019773814396574</c:v>
                </c:pt>
                <c:pt idx="8">
                  <c:v>0.6260430953285854</c:v>
                </c:pt>
                <c:pt idx="9">
                  <c:v>0.45693040292604775</c:v>
                </c:pt>
                <c:pt idx="10">
                  <c:v>0.47828668120112156</c:v>
                </c:pt>
                <c:pt idx="11">
                  <c:v>0.5303970776678185</c:v>
                </c:pt>
                <c:pt idx="12">
                  <c:v>0.3979760981159396</c:v>
                </c:pt>
                <c:pt idx="13">
                  <c:v>0.3829896462138752</c:v>
                </c:pt>
                <c:pt idx="14">
                  <c:v>0.3757406665161905</c:v>
                </c:pt>
                <c:pt idx="15">
                  <c:v>0.4355798927081497</c:v>
                </c:pt>
                <c:pt idx="16">
                  <c:v>0.40795897530226377</c:v>
                </c:pt>
              </c:numCache>
            </c:numRef>
          </c:xVal>
          <c:yVal>
            <c:numRef>
              <c:f>Sheet1!$B$4:$B$20</c:f>
              <c:numCache>
                <c:formatCode>General</c:formatCode>
                <c:ptCount val="17"/>
                <c:pt idx="0">
                  <c:v>0.0</c:v>
                </c:pt>
                <c:pt idx="1">
                  <c:v>0.002512562814070352</c:v>
                </c:pt>
                <c:pt idx="2">
                  <c:v>0.002304147465437788</c:v>
                </c:pt>
                <c:pt idx="3">
                  <c:v>0.002512562814070352</c:v>
                </c:pt>
                <c:pt idx="4">
                  <c:v>0.009433962264150943</c:v>
                </c:pt>
                <c:pt idx="5">
                  <c:v>0.008264462809917356</c:v>
                </c:pt>
                <c:pt idx="6">
                  <c:v>0.0125</c:v>
                </c:pt>
                <c:pt idx="7">
                  <c:v>0.012552301255230125</c:v>
                </c:pt>
                <c:pt idx="8">
                  <c:v>0.006578947368421052</c:v>
                </c:pt>
                <c:pt idx="9">
                  <c:v>0.012987012987012988</c:v>
                </c:pt>
                <c:pt idx="10">
                  <c:v>0.01195219123505976</c:v>
                </c:pt>
                <c:pt idx="11">
                  <c:v>0.011477761836441894</c:v>
                </c:pt>
                <c:pt idx="12">
                  <c:v>0.017857142857142856</c:v>
                </c:pt>
                <c:pt idx="13">
                  <c:v>0.01773049645390071</c:v>
                </c:pt>
                <c:pt idx="14">
                  <c:v>0.019767441860465116</c:v>
                </c:pt>
                <c:pt idx="15">
                  <c:v>0.018579234972677595</c:v>
                </c:pt>
                <c:pt idx="16">
                  <c:v>0.012145748987854251</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13918945363035187</c:v>
                </c:pt>
              </c:numCache>
            </c:numRef>
          </c:xVal>
          <c:yVal>
            <c:numRef>
              <c:f>Sheet1!$B$23:$B$24</c:f>
              <c:numCache>
                <c:formatCode>General</c:formatCode>
                <c:ptCount val="2"/>
                <c:pt idx="0">
                  <c:v>0.01705573056872442</c:v>
                </c:pt>
                <c:pt idx="1">
                  <c:v>0.01705573056872442</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13918945363035187</c:v>
                </c:pt>
                <c:pt idx="1">
                  <c:v>-0.13918945363035187</c:v>
                </c:pt>
              </c:numCache>
            </c:numRef>
          </c:xVal>
          <c:yVal>
            <c:numRef>
              <c:f>Sheet1!$B$27:$B$28</c:f>
              <c:numCache>
                <c:formatCode>General</c:formatCode>
                <c:ptCount val="2"/>
                <c:pt idx="0">
                  <c:v>0.0170557305687244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13918945363035187</c:v>
                </c:pt>
              </c:numCache>
            </c:numRef>
          </c:xVal>
          <c:yVal>
            <c:numRef>
              <c:f>Sheet1!$B$31:$B$32</c:f>
              <c:numCache>
                <c:formatCode>General</c:formatCode>
                <c:ptCount val="2"/>
                <c:pt idx="0">
                  <c:v>0.01705573056872442</c:v>
                </c:pt>
                <c:pt idx="1">
                  <c:v>0.01705573056872442</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13918945363035187</c:v>
                </c:pt>
                <c:pt idx="1">
                  <c:v>-0.13918945363035187</c:v>
                </c:pt>
              </c:numCache>
            </c:numRef>
          </c:xVal>
          <c:yVal>
            <c:numRef>
              <c:f>Sheet1!$B$35:$B$36</c:f>
              <c:numCache>
                <c:formatCode>General</c:formatCode>
                <c:ptCount val="2"/>
                <c:pt idx="0">
                  <c:v>0.0170557305687244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257981864522582</c:v>
                </c:pt>
              </c:numCache>
            </c:numRef>
          </c:xVal>
          <c:yVal>
            <c:numRef>
              <c:f>Sheet1!$B$39:$B$40</c:f>
              <c:numCache>
                <c:formatCode>General</c:formatCode>
                <c:ptCount val="2"/>
                <c:pt idx="0">
                  <c:v>0.013217438837559587</c:v>
                </c:pt>
                <c:pt idx="1">
                  <c:v>0.013217438837559587</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257981864522582</c:v>
                </c:pt>
                <c:pt idx="1">
                  <c:v>0.257981864522582</c:v>
                </c:pt>
              </c:numCache>
            </c:numRef>
          </c:xVal>
          <c:yVal>
            <c:numRef>
              <c:f>Sheet1!$B$43:$B$44</c:f>
              <c:numCache>
                <c:formatCode>General</c:formatCode>
                <c:ptCount val="2"/>
                <c:pt idx="0">
                  <c:v>0.01321743883755958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0</c:v>
                </c:pt>
                <c:pt idx="1">
                  <c:v>0.7745543769969534</c:v>
                </c:pt>
                <c:pt idx="2">
                  <c:v>1.09237999844515</c:v>
                </c:pt>
                <c:pt idx="3">
                  <c:v>1.1355421430145682</c:v>
                </c:pt>
                <c:pt idx="4">
                  <c:v>0.49965842969238355</c:v>
                </c:pt>
                <c:pt idx="5">
                  <c:v>0.5030144282829465</c:v>
                </c:pt>
                <c:pt idx="6">
                  <c:v>0.49901222791354116</c:v>
                </c:pt>
                <c:pt idx="7">
                  <c:v>0.5019773814396574</c:v>
                </c:pt>
                <c:pt idx="8">
                  <c:v>0.6260430953285854</c:v>
                </c:pt>
                <c:pt idx="9">
                  <c:v>0.45693040292604775</c:v>
                </c:pt>
                <c:pt idx="10">
                  <c:v>0.47828668120112156</c:v>
                </c:pt>
                <c:pt idx="11">
                  <c:v>0.5303970776678185</c:v>
                </c:pt>
                <c:pt idx="12">
                  <c:v>0.3979760981159396</c:v>
                </c:pt>
                <c:pt idx="13">
                  <c:v>0.3829896462138752</c:v>
                </c:pt>
                <c:pt idx="14">
                  <c:v>0.3757406665161905</c:v>
                </c:pt>
                <c:pt idx="15">
                  <c:v>0.4355798927081497</c:v>
                </c:pt>
                <c:pt idx="16">
                  <c:v>0.40795897530226377</c:v>
                </c:pt>
                <c:pt idx="17">
                  <c:v>-0.13918945363035187</c:v>
                </c:pt>
                <c:pt idx="18">
                  <c:v>-0.13918945363035187</c:v>
                </c:pt>
                <c:pt idx="19">
                  <c:v>0.257981864522582</c:v>
                </c:pt>
              </c:numCache>
            </c:numRef>
          </c:xVal>
          <c:yVal>
            <c:numRef>
              <c:f>Sheet1!$B$47:$B$66</c:f>
              <c:numCache>
                <c:formatCode>General</c:formatCode>
                <c:ptCount val="20"/>
                <c:pt idx="0">
                  <c:v>0.01571059383674869</c:v>
                </c:pt>
                <c:pt idx="1">
                  <c:v>0.008225245513030683</c:v>
                </c:pt>
                <c:pt idx="2">
                  <c:v>0.0051537562110584734</c:v>
                </c:pt>
                <c:pt idx="3">
                  <c:v>0.004736634190841629</c:v>
                </c:pt>
                <c:pt idx="4">
                  <c:v>0.010881859405435592</c:v>
                </c:pt>
                <c:pt idx="5">
                  <c:v>0.010849426797512482</c:v>
                </c:pt>
                <c:pt idx="6">
                  <c:v>0.010888104345165704</c:v>
                </c:pt>
                <c:pt idx="7">
                  <c:v>0.01085944889161016</c:v>
                </c:pt>
                <c:pt idx="8">
                  <c:v>0.009660469050982369</c:v>
                </c:pt>
                <c:pt idx="9">
                  <c:v>0.011294786080475771</c:v>
                </c:pt>
                <c:pt idx="10">
                  <c:v>0.011088397495587808</c:v>
                </c:pt>
                <c:pt idx="11">
                  <c:v>0.010584798935661518</c:v>
                </c:pt>
                <c:pt idx="12">
                  <c:v>0.011864524655057527</c:v>
                </c:pt>
                <c:pt idx="13">
                  <c:v>0.012009354787008403</c:v>
                </c:pt>
                <c:pt idx="14">
                  <c:v>0.012079409439903281</c:v>
                </c:pt>
                <c:pt idx="15">
                  <c:v>0.011501118922450915</c:v>
                </c:pt>
                <c:pt idx="16">
                  <c:v>0.011768049423322016</c:v>
                </c:pt>
                <c:pt idx="17">
                  <c:v>0.01705573056872442</c:v>
                </c:pt>
                <c:pt idx="18">
                  <c:v>0.01705573056872442</c:v>
                </c:pt>
                <c:pt idx="19">
                  <c:v>0.01321743883755958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372093023255813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677793978721144</c:v>
                </c:pt>
                <c:pt idx="1">
                  <c:v>0.17499509654897982</c:v>
                </c:pt>
                <c:pt idx="2">
                  <c:v>0.178392982643695</c:v>
                </c:pt>
                <c:pt idx="3">
                  <c:v>0.18111153513395492</c:v>
                </c:pt>
                <c:pt idx="4">
                  <c:v>0.1745183600093396</c:v>
                </c:pt>
                <c:pt idx="5">
                  <c:v>0.17209385127800708</c:v>
                </c:pt>
                <c:pt idx="6">
                  <c:v>0.1741355736299369</c:v>
                </c:pt>
                <c:pt idx="7">
                  <c:v>0.17100629283184762</c:v>
                </c:pt>
                <c:pt idx="8">
                  <c:v>0.17018236789712843</c:v>
                </c:pt>
                <c:pt idx="9">
                  <c:v>0.16799833096648667</c:v>
                </c:pt>
                <c:pt idx="10">
                  <c:v>0.17133630644447215</c:v>
                </c:pt>
                <c:pt idx="11">
                  <c:v>0.1789936837067275</c:v>
                </c:pt>
                <c:pt idx="12">
                  <c:v>0.1805095019248056</c:v>
                </c:pt>
                <c:pt idx="13">
                  <c:v>0.1730517710606467</c:v>
                </c:pt>
                <c:pt idx="14">
                  <c:v>0.1802898438857593</c:v>
                </c:pt>
                <c:pt idx="15">
                  <c:v>0.18055483049857526</c:v>
                </c:pt>
                <c:pt idx="16">
                  <c:v>0.17149726114476</c:v>
                </c:pt>
                <c:pt idx="17">
                  <c:v>0.1705998212317504</c:v>
                </c:pt>
                <c:pt idx="18">
                  <c:v>0.16257369517001014</c:v>
                </c:pt>
                <c:pt idx="19">
                  <c:v>0.16598941931396397</c:v>
                </c:pt>
                <c:pt idx="20">
                  <c:v>0.17413945957646595</c:v>
                </c:pt>
                <c:pt idx="21">
                  <c:v>0.16633630717830244</c:v>
                </c:pt>
                <c:pt idx="22">
                  <c:v>0.15707447916958792</c:v>
                </c:pt>
                <c:pt idx="23">
                  <c:v>0.15298651968089022</c:v>
                </c:pt>
                <c:pt idx="24">
                  <c:v>0.15537394618177927</c:v>
                </c:pt>
                <c:pt idx="25">
                  <c:v>0.14720188799355582</c:v>
                </c:pt>
                <c:pt idx="26">
                  <c:v>0.15239295232243377</c:v>
                </c:pt>
                <c:pt idx="27">
                  <c:v>0.1528845977925333</c:v>
                </c:pt>
                <c:pt idx="28">
                  <c:v>0.15019288306863085</c:v>
                </c:pt>
                <c:pt idx="29">
                  <c:v>0.14465772063376678</c:v>
                </c:pt>
                <c:pt idx="30">
                  <c:v>0.13971838436144088</c:v>
                </c:pt>
                <c:pt idx="31">
                  <c:v>0.13420401990601522</c:v>
                </c:pt>
                <c:pt idx="32">
                  <c:v>0.13450806181932345</c:v>
                </c:pt>
                <c:pt idx="33">
                  <c:v>0.13270489753925202</c:v>
                </c:pt>
                <c:pt idx="34">
                  <c:v>0.15046581857159375</c:v>
                </c:pt>
                <c:pt idx="35">
                  <c:v>0.16323638859834644</c:v>
                </c:pt>
                <c:pt idx="36">
                  <c:v>0.1541394594286292</c:v>
                </c:pt>
                <c:pt idx="37">
                  <c:v>0.1441934685603717</c:v>
                </c:pt>
                <c:pt idx="38">
                  <c:v>0.1519943650557668</c:v>
                </c:pt>
                <c:pt idx="39">
                  <c:v>0.15340631712523306</c:v>
                </c:pt>
                <c:pt idx="40">
                  <c:v>0.1709213947363425</c:v>
                </c:pt>
                <c:pt idx="41">
                  <c:v>0.16380061209981364</c:v>
                </c:pt>
                <c:pt idx="42">
                  <c:v>0.16475725469169403</c:v>
                </c:pt>
                <c:pt idx="43">
                  <c:v>0.17338450400537242</c:v>
                </c:pt>
                <c:pt idx="44">
                  <c:v>0.1709316092109892</c:v>
                </c:pt>
                <c:pt idx="45">
                  <c:v>0.17266681622819816</c:v>
                </c:pt>
                <c:pt idx="46">
                  <c:v>0.17105955221080948</c:v>
                </c:pt>
                <c:pt idx="47">
                  <c:v>0.16401563683385229</c:v>
                </c:pt>
                <c:pt idx="48">
                  <c:v>0.18661390575618148</c:v>
                </c:pt>
                <c:pt idx="49">
                  <c:v>0.19729878587176966</c:v>
                </c:pt>
                <c:pt idx="50">
                  <c:v>0.17206209168820272</c:v>
                </c:pt>
                <c:pt idx="51">
                  <c:v>0.1642192483183242</c:v>
                </c:pt>
                <c:pt idx="52">
                  <c:v>0.181194431514472</c:v>
                </c:pt>
                <c:pt idx="53">
                  <c:v>0.17913998242323742</c:v>
                </c:pt>
                <c:pt idx="54">
                  <c:v>0.17613717105051696</c:v>
                </c:pt>
                <c:pt idx="55">
                  <c:v>0.17205132776440735</c:v>
                </c:pt>
                <c:pt idx="56">
                  <c:v>0.177279720937455</c:v>
                </c:pt>
                <c:pt idx="57">
                  <c:v>0.17283936839334055</c:v>
                </c:pt>
                <c:pt idx="58">
                  <c:v>0.18331012004555022</c:v>
                </c:pt>
                <c:pt idx="59">
                  <c:v>0.2083560245390256</c:v>
                </c:pt>
                <c:pt idx="60">
                  <c:v>0.2107396911409565</c:v>
                </c:pt>
                <c:pt idx="61">
                  <c:v>0.19592714758892624</c:v>
                </c:pt>
                <c:pt idx="62">
                  <c:v>0.19466730532249396</c:v>
                </c:pt>
                <c:pt idx="63">
                  <c:v>0.1994920352626023</c:v>
                </c:pt>
                <c:pt idx="64">
                  <c:v>0.2032235102744244</c:v>
                </c:pt>
                <c:pt idx="65">
                  <c:v>0.19210912218286189</c:v>
                </c:pt>
                <c:pt idx="66">
                  <c:v>0.18786758605230505</c:v>
                </c:pt>
                <c:pt idx="67">
                  <c:v>0.1902543653523277</c:v>
                </c:pt>
                <c:pt idx="68">
                  <c:v>0.1749482645173101</c:v>
                </c:pt>
                <c:pt idx="69">
                  <c:v>0.16497914207709954</c:v>
                </c:pt>
                <c:pt idx="70">
                  <c:v>0.16114928829923178</c:v>
                </c:pt>
                <c:pt idx="71">
                  <c:v>0.16475342152801903</c:v>
                </c:pt>
                <c:pt idx="72">
                  <c:v>0.17435313193931634</c:v>
                </c:pt>
                <c:pt idx="73">
                  <c:v>0.17472183262493854</c:v>
                </c:pt>
                <c:pt idx="74">
                  <c:v>0.17124576094654304</c:v>
                </c:pt>
                <c:pt idx="75">
                  <c:v>0.16576602399500873</c:v>
                </c:pt>
                <c:pt idx="76">
                  <c:v>0.16063827431877015</c:v>
                </c:pt>
                <c:pt idx="77">
                  <c:v>0.16096443854149403</c:v>
                </c:pt>
                <c:pt idx="78">
                  <c:v>0.16284677230224634</c:v>
                </c:pt>
                <c:pt idx="79">
                  <c:v>0.11299295173810743</c:v>
                </c:pt>
                <c:pt idx="80">
                  <c:v>0.11283815657040223</c:v>
                </c:pt>
                <c:pt idx="81">
                  <c:v>0.1459535520948229</c:v>
                </c:pt>
                <c:pt idx="82">
                  <c:v>0.1401214535641252</c:v>
                </c:pt>
                <c:pt idx="83">
                  <c:v>0.13274815236627874</c:v>
                </c:pt>
                <c:pt idx="84">
                  <c:v>0.12987018989291826</c:v>
                </c:pt>
                <c:pt idx="85">
                  <c:v>0.13722176699869484</c:v>
                </c:pt>
                <c:pt idx="86">
                  <c:v>0.1575176449562385</c:v>
                </c:pt>
                <c:pt idx="87">
                  <c:v>0.17691363894278517</c:v>
                </c:pt>
                <c:pt idx="88">
                  <c:v>0.15579302015755694</c:v>
                </c:pt>
                <c:pt idx="89">
                  <c:v>0.14286457729120067</c:v>
                </c:pt>
                <c:pt idx="90">
                  <c:v>0.14980558427975138</c:v>
                </c:pt>
                <c:pt idx="91">
                  <c:v>0.15873601818346886</c:v>
                </c:pt>
                <c:pt idx="92">
                  <c:v>0.16625607624424962</c:v>
                </c:pt>
                <c:pt idx="93">
                  <c:v>0.1664400666606935</c:v>
                </c:pt>
                <c:pt idx="94">
                  <c:v>0.16175706654860553</c:v>
                </c:pt>
                <c:pt idx="95">
                  <c:v>0.17356083965327812</c:v>
                </c:pt>
                <c:pt idx="96">
                  <c:v>0.17816066505473588</c:v>
                </c:pt>
                <c:pt idx="97">
                  <c:v>0.19063811115263873</c:v>
                </c:pt>
                <c:pt idx="98">
                  <c:v>0.20006311266839283</c:v>
                </c:pt>
                <c:pt idx="99">
                  <c:v>0.2017066926065482</c:v>
                </c:pt>
                <c:pt idx="100">
                  <c:v>0.21780505110443082</c:v>
                </c:pt>
                <c:pt idx="101">
                  <c:v>0.20407159014679108</c:v>
                </c:pt>
                <c:pt idx="102">
                  <c:v>0.20756088393453673</c:v>
                </c:pt>
                <c:pt idx="103">
                  <c:v>0.18014899366069584</c:v>
                </c:pt>
                <c:pt idx="104">
                  <c:v>0.19183524779612704</c:v>
                </c:pt>
              </c:numCache>
            </c:numRef>
          </c:xVal>
          <c:yVal>
            <c:numRef>
              <c:f>Sheet1!$B$2:$B$106</c:f>
              <c:numCache>
                <c:formatCode>General</c:formatCode>
                <c:ptCount val="105"/>
                <c:pt idx="0">
                  <c:v>0.22760837033584377</c:v>
                </c:pt>
                <c:pt idx="1">
                  <c:v>0.2325046891924022</c:v>
                </c:pt>
                <c:pt idx="2">
                  <c:v>0.21503914608665006</c:v>
                </c:pt>
                <c:pt idx="3">
                  <c:v>0.21465353931534992</c:v>
                </c:pt>
                <c:pt idx="4">
                  <c:v>0.20793685458459427</c:v>
                </c:pt>
                <c:pt idx="5">
                  <c:v>0.1966485796361315</c:v>
                </c:pt>
                <c:pt idx="6">
                  <c:v>0.21195170411126393</c:v>
                </c:pt>
                <c:pt idx="7">
                  <c:v>0.20612980769230768</c:v>
                </c:pt>
                <c:pt idx="8">
                  <c:v>0.21598764524194736</c:v>
                </c:pt>
                <c:pt idx="9">
                  <c:v>0.21518105849582173</c:v>
                </c:pt>
                <c:pt idx="10">
                  <c:v>0.22739490377378777</c:v>
                </c:pt>
                <c:pt idx="11">
                  <c:v>0.22329282485722793</c:v>
                </c:pt>
                <c:pt idx="12">
                  <c:v>0.2305631356983379</c:v>
                </c:pt>
                <c:pt idx="13">
                  <c:v>0.23892725478996832</c:v>
                </c:pt>
                <c:pt idx="14">
                  <c:v>0.23104343039865805</c:v>
                </c:pt>
                <c:pt idx="15">
                  <c:v>0.22596273291925467</c:v>
                </c:pt>
                <c:pt idx="16">
                  <c:v>0.21038387579232248</c:v>
                </c:pt>
                <c:pt idx="17">
                  <c:v>0.20514723111770677</c:v>
                </c:pt>
                <c:pt idx="18">
                  <c:v>0.18550875820402485</c:v>
                </c:pt>
                <c:pt idx="19">
                  <c:v>0.17197875166002657</c:v>
                </c:pt>
                <c:pt idx="20">
                  <c:v>0.18437369082530372</c:v>
                </c:pt>
                <c:pt idx="21">
                  <c:v>0.18039854881960146</c:v>
                </c:pt>
                <c:pt idx="22">
                  <c:v>0.1794175973280451</c:v>
                </c:pt>
                <c:pt idx="23">
                  <c:v>0.17912721732506257</c:v>
                </c:pt>
                <c:pt idx="24">
                  <c:v>0.18612306913142568</c:v>
                </c:pt>
                <c:pt idx="25">
                  <c:v>0.1827140455625761</c:v>
                </c:pt>
                <c:pt idx="26">
                  <c:v>0.1862462709597778</c:v>
                </c:pt>
                <c:pt idx="27">
                  <c:v>0.18021255060728744</c:v>
                </c:pt>
                <c:pt idx="28">
                  <c:v>0.17628913680530564</c:v>
                </c:pt>
                <c:pt idx="29">
                  <c:v>0.18736804276537442</c:v>
                </c:pt>
                <c:pt idx="30">
                  <c:v>0.17649434571890146</c:v>
                </c:pt>
                <c:pt idx="31">
                  <c:v>0.16942195231668916</c:v>
                </c:pt>
                <c:pt idx="32">
                  <c:v>0.1783959816746702</c:v>
                </c:pt>
                <c:pt idx="33">
                  <c:v>0.19256418079588544</c:v>
                </c:pt>
                <c:pt idx="34">
                  <c:v>0.1910329127599645</c:v>
                </c:pt>
                <c:pt idx="35">
                  <c:v>0.19439806453811292</c:v>
                </c:pt>
                <c:pt idx="36">
                  <c:v>0.1634170522141441</c:v>
                </c:pt>
                <c:pt idx="37">
                  <c:v>0.14788562611504893</c:v>
                </c:pt>
                <c:pt idx="38">
                  <c:v>0.1440997390547985</c:v>
                </c:pt>
                <c:pt idx="39">
                  <c:v>0.14272555140473875</c:v>
                </c:pt>
                <c:pt idx="40">
                  <c:v>0.14606043022340118</c:v>
                </c:pt>
                <c:pt idx="41">
                  <c:v>0.1362635345935034</c:v>
                </c:pt>
                <c:pt idx="42">
                  <c:v>0.14438356164383562</c:v>
                </c:pt>
                <c:pt idx="43">
                  <c:v>0.15096437880104258</c:v>
                </c:pt>
                <c:pt idx="44">
                  <c:v>0.16644399128050066</c:v>
                </c:pt>
                <c:pt idx="45">
                  <c:v>0.18401017919626764</c:v>
                </c:pt>
                <c:pt idx="46">
                  <c:v>0.191180093619118</c:v>
                </c:pt>
                <c:pt idx="47">
                  <c:v>0.19401514039465684</c:v>
                </c:pt>
                <c:pt idx="48">
                  <c:v>0.20776936606255259</c:v>
                </c:pt>
                <c:pt idx="49">
                  <c:v>0.24055718692688513</c:v>
                </c:pt>
                <c:pt idx="50">
                  <c:v>0.20537331455021132</c:v>
                </c:pt>
                <c:pt idx="51">
                  <c:v>0.18708201775103797</c:v>
                </c:pt>
                <c:pt idx="52">
                  <c:v>0.20016477944904512</c:v>
                </c:pt>
                <c:pt idx="53">
                  <c:v>0.19037838691839798</c:v>
                </c:pt>
                <c:pt idx="54">
                  <c:v>0.18361277154104097</c:v>
                </c:pt>
                <c:pt idx="55">
                  <c:v>0.180431336184978</c:v>
                </c:pt>
                <c:pt idx="56">
                  <c:v>0.1921937356391341</c:v>
                </c:pt>
                <c:pt idx="57">
                  <c:v>0.1869673664518811</c:v>
                </c:pt>
                <c:pt idx="58">
                  <c:v>0.20230027679679297</c:v>
                </c:pt>
                <c:pt idx="59">
                  <c:v>0.20680500793289244</c:v>
                </c:pt>
                <c:pt idx="60">
                  <c:v>0.21535680468279245</c:v>
                </c:pt>
                <c:pt idx="61">
                  <c:v>0.21254020047418953</c:v>
                </c:pt>
                <c:pt idx="62">
                  <c:v>0.21977724058468698</c:v>
                </c:pt>
                <c:pt idx="63">
                  <c:v>0.23405083253118153</c:v>
                </c:pt>
                <c:pt idx="64">
                  <c:v>0.22663326653306612</c:v>
                </c:pt>
                <c:pt idx="65">
                  <c:v>0.21906008068912877</c:v>
                </c:pt>
                <c:pt idx="66">
                  <c:v>0.21964273616223662</c:v>
                </c:pt>
                <c:pt idx="67">
                  <c:v>0.2167344705350558</c:v>
                </c:pt>
                <c:pt idx="68">
                  <c:v>0.19713190401817407</c:v>
                </c:pt>
                <c:pt idx="69">
                  <c:v>0.18215920174056568</c:v>
                </c:pt>
                <c:pt idx="70">
                  <c:v>0.17000035910511008</c:v>
                </c:pt>
                <c:pt idx="71">
                  <c:v>0.17906644531099186</c:v>
                </c:pt>
                <c:pt idx="72">
                  <c:v>0.18262489044697633</c:v>
                </c:pt>
                <c:pt idx="73">
                  <c:v>0.18369408930167488</c:v>
                </c:pt>
                <c:pt idx="74">
                  <c:v>0.17798172038966412</c:v>
                </c:pt>
                <c:pt idx="75">
                  <c:v>0.17587279337684525</c:v>
                </c:pt>
                <c:pt idx="76">
                  <c:v>0.17318383555244102</c:v>
                </c:pt>
                <c:pt idx="77">
                  <c:v>0.16938785339305495</c:v>
                </c:pt>
                <c:pt idx="78">
                  <c:v>0.16006449879064769</c:v>
                </c:pt>
                <c:pt idx="79">
                  <c:v>0.20537501191270371</c:v>
                </c:pt>
                <c:pt idx="80">
                  <c:v>0.1914609739826551</c:v>
                </c:pt>
                <c:pt idx="81">
                  <c:v>0.16176890156918688</c:v>
                </c:pt>
                <c:pt idx="82">
                  <c:v>0.1631413612565445</c:v>
                </c:pt>
                <c:pt idx="83">
                  <c:v>0.1470696419813634</c:v>
                </c:pt>
                <c:pt idx="84">
                  <c:v>0.14775611265861963</c:v>
                </c:pt>
                <c:pt idx="85">
                  <c:v>0.14966431963320778</c:v>
                </c:pt>
                <c:pt idx="86">
                  <c:v>0.1466328451026921</c:v>
                </c:pt>
                <c:pt idx="87">
                  <c:v>0.1682031189982331</c:v>
                </c:pt>
                <c:pt idx="88">
                  <c:v>0.15206499002772778</c:v>
                </c:pt>
                <c:pt idx="89">
                  <c:v>0.14356117420184272</c:v>
                </c:pt>
                <c:pt idx="90">
                  <c:v>0.13762376237623763</c:v>
                </c:pt>
                <c:pt idx="91">
                  <c:v>0.14078597981943708</c:v>
                </c:pt>
                <c:pt idx="92">
                  <c:v>0.14561866643958102</c:v>
                </c:pt>
                <c:pt idx="93">
                  <c:v>0.1377233240452385</c:v>
                </c:pt>
                <c:pt idx="94">
                  <c:v>0.13904559326736335</c:v>
                </c:pt>
                <c:pt idx="95">
                  <c:v>0.14864864864864866</c:v>
                </c:pt>
                <c:pt idx="96">
                  <c:v>0.145429833503228</c:v>
                </c:pt>
                <c:pt idx="97">
                  <c:v>0.15325840794124496</c:v>
                </c:pt>
                <c:pt idx="98">
                  <c:v>0.1700043933513949</c:v>
                </c:pt>
                <c:pt idx="99">
                  <c:v>0.17778411250475104</c:v>
                </c:pt>
                <c:pt idx="100">
                  <c:v>0.20069152307958277</c:v>
                </c:pt>
                <c:pt idx="101">
                  <c:v>0.18210413864050012</c:v>
                </c:pt>
                <c:pt idx="102">
                  <c:v>0.1514782002787179</c:v>
                </c:pt>
                <c:pt idx="103">
                  <c:v>0.17233793587643342</c:v>
                </c:pt>
                <c:pt idx="104">
                  <c:v>0.176800976800976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005895861949822</c:v>
                </c:pt>
                <c:pt idx="1">
                  <c:v>0.20685718962326963</c:v>
                </c:pt>
                <c:pt idx="2">
                  <c:v>0.20297434947771312</c:v>
                </c:pt>
                <c:pt idx="3">
                  <c:v>0.20717834669759275</c:v>
                </c:pt>
                <c:pt idx="4">
                  <c:v>0.19727250718069547</c:v>
                </c:pt>
                <c:pt idx="5">
                  <c:v>0.20544848306280492</c:v>
                </c:pt>
                <c:pt idx="6">
                  <c:v>0.19269448667301411</c:v>
                </c:pt>
                <c:pt idx="7">
                  <c:v>0.18549025630236093</c:v>
                </c:pt>
                <c:pt idx="8">
                  <c:v>0.2027614224639611</c:v>
                </c:pt>
                <c:pt idx="9">
                  <c:v>0.19651182487978505</c:v>
                </c:pt>
                <c:pt idx="10">
                  <c:v>0.2026760668939966</c:v>
                </c:pt>
                <c:pt idx="11">
                  <c:v>0.1962257400644817</c:v>
                </c:pt>
                <c:pt idx="12">
                  <c:v>0.19701231491784355</c:v>
                </c:pt>
                <c:pt idx="13">
                  <c:v>0.18981275908686984</c:v>
                </c:pt>
                <c:pt idx="14">
                  <c:v>0.19419308553842698</c:v>
                </c:pt>
                <c:pt idx="15">
                  <c:v>0.18602154195605988</c:v>
                </c:pt>
                <c:pt idx="16">
                  <c:v>0.1842595288423498</c:v>
                </c:pt>
                <c:pt idx="17">
                  <c:v>0.1771807253397745</c:v>
                </c:pt>
                <c:pt idx="18">
                  <c:v>0.1579186467982729</c:v>
                </c:pt>
                <c:pt idx="19">
                  <c:v>0.1817466147792825</c:v>
                </c:pt>
                <c:pt idx="20">
                  <c:v>0.16509544781546162</c:v>
                </c:pt>
                <c:pt idx="21">
                  <c:v>0.16074857124988562</c:v>
                </c:pt>
                <c:pt idx="22">
                  <c:v>0.16196376605820512</c:v>
                </c:pt>
                <c:pt idx="23">
                  <c:v>0.14772966405618237</c:v>
                </c:pt>
                <c:pt idx="24">
                  <c:v>0.14745755457826037</c:v>
                </c:pt>
                <c:pt idx="25">
                  <c:v>0.14130445354228732</c:v>
                </c:pt>
                <c:pt idx="26">
                  <c:v>0.15197097759196387</c:v>
                </c:pt>
                <c:pt idx="27">
                  <c:v>0.15676967822591584</c:v>
                </c:pt>
                <c:pt idx="28">
                  <c:v>0.16365866443951307</c:v>
                </c:pt>
                <c:pt idx="29">
                  <c:v>0.15558695609555817</c:v>
                </c:pt>
                <c:pt idx="30">
                  <c:v>0.151278355222439</c:v>
                </c:pt>
                <c:pt idx="31">
                  <c:v>0.14316246681237244</c:v>
                </c:pt>
                <c:pt idx="32">
                  <c:v>0.14203204804549963</c:v>
                </c:pt>
                <c:pt idx="33">
                  <c:v>0.15869206824834417</c:v>
                </c:pt>
                <c:pt idx="34">
                  <c:v>0.17928372357780728</c:v>
                </c:pt>
                <c:pt idx="35">
                  <c:v>0.16750257048310543</c:v>
                </c:pt>
                <c:pt idx="36">
                  <c:v>0.14859866647288478</c:v>
                </c:pt>
                <c:pt idx="37">
                  <c:v>0.15418338888760952</c:v>
                </c:pt>
                <c:pt idx="38">
                  <c:v>0.15310758184005788</c:v>
                </c:pt>
                <c:pt idx="39">
                  <c:v>0.16543044373936056</c:v>
                </c:pt>
                <c:pt idx="40">
                  <c:v>0.1669124295223463</c:v>
                </c:pt>
                <c:pt idx="41">
                  <c:v>0.1754469754794882</c:v>
                </c:pt>
                <c:pt idx="42">
                  <c:v>0.1705126464046668</c:v>
                </c:pt>
                <c:pt idx="43">
                  <c:v>0.17803603058472156</c:v>
                </c:pt>
                <c:pt idx="44">
                  <c:v>0.17770477926715353</c:v>
                </c:pt>
                <c:pt idx="45">
                  <c:v>0.1831085752287887</c:v>
                </c:pt>
                <c:pt idx="46">
                  <c:v>0.16723596316164593</c:v>
                </c:pt>
                <c:pt idx="47">
                  <c:v>0.16817712804164417</c:v>
                </c:pt>
                <c:pt idx="48">
                  <c:v>0.16992210156120874</c:v>
                </c:pt>
                <c:pt idx="49">
                  <c:v>0.19011549062106353</c:v>
                </c:pt>
                <c:pt idx="50">
                  <c:v>0.19327299446486731</c:v>
                </c:pt>
                <c:pt idx="51">
                  <c:v>0.1681067267894688</c:v>
                </c:pt>
              </c:numCache>
            </c:numRef>
          </c:xVal>
          <c:yVal>
            <c:numRef>
              <c:f>Sheet1!$B$109:$B$160</c:f>
              <c:numCache>
                <c:formatCode>General</c:formatCode>
                <c:ptCount val="52"/>
                <c:pt idx="0">
                  <c:v>0.175662656554927</c:v>
                </c:pt>
                <c:pt idx="1">
                  <c:v>0.17459402828706128</c:v>
                </c:pt>
                <c:pt idx="2">
                  <c:v>0.1826517212269018</c:v>
                </c:pt>
                <c:pt idx="3">
                  <c:v>0.19290184955109121</c:v>
                </c:pt>
                <c:pt idx="4">
                  <c:v>0.1808049836959167</c:v>
                </c:pt>
                <c:pt idx="5">
                  <c:v>0.17299134432001564</c:v>
                </c:pt>
                <c:pt idx="6">
                  <c:v>0.17752865773816362</c:v>
                </c:pt>
                <c:pt idx="7">
                  <c:v>0.17669243824250425</c:v>
                </c:pt>
                <c:pt idx="8">
                  <c:v>0.17478963312016157</c:v>
                </c:pt>
                <c:pt idx="9">
                  <c:v>0.18824222504728536</c:v>
                </c:pt>
                <c:pt idx="10">
                  <c:v>0.189738567910027</c:v>
                </c:pt>
                <c:pt idx="11">
                  <c:v>0.19920649152694342</c:v>
                </c:pt>
                <c:pt idx="12">
                  <c:v>0.20091186175974207</c:v>
                </c:pt>
                <c:pt idx="13">
                  <c:v>0.19532071503680337</c:v>
                </c:pt>
                <c:pt idx="14">
                  <c:v>0.19452253296623678</c:v>
                </c:pt>
                <c:pt idx="15">
                  <c:v>0.18382466908459655</c:v>
                </c:pt>
                <c:pt idx="16">
                  <c:v>0.17105357784969435</c:v>
                </c:pt>
                <c:pt idx="17">
                  <c:v>0.16143362698591973</c:v>
                </c:pt>
                <c:pt idx="18">
                  <c:v>0.15984129879605982</c:v>
                </c:pt>
                <c:pt idx="19">
                  <c:v>0.16725263686589653</c:v>
                </c:pt>
                <c:pt idx="20">
                  <c:v>0.16279501951310166</c:v>
                </c:pt>
                <c:pt idx="21">
                  <c:v>0.15986218776916453</c:v>
                </c:pt>
                <c:pt idx="22">
                  <c:v>0.16070922789327594</c:v>
                </c:pt>
                <c:pt idx="23">
                  <c:v>0.1702065585249154</c:v>
                </c:pt>
                <c:pt idx="24">
                  <c:v>0.16856911008926156</c:v>
                </c:pt>
                <c:pt idx="25">
                  <c:v>0.17782949256442274</c:v>
                </c:pt>
                <c:pt idx="26">
                  <c:v>0.1581707119303746</c:v>
                </c:pt>
                <c:pt idx="27">
                  <c:v>0.14686719247538332</c:v>
                </c:pt>
                <c:pt idx="28">
                  <c:v>0.14542954716813766</c:v>
                </c:pt>
                <c:pt idx="29">
                  <c:v>0.14433539577554938</c:v>
                </c:pt>
                <c:pt idx="30">
                  <c:v>0.15105035011670556</c:v>
                </c:pt>
                <c:pt idx="31">
                  <c:v>0.14772658473088332</c:v>
                </c:pt>
                <c:pt idx="32">
                  <c:v>0.1481618815552495</c:v>
                </c:pt>
                <c:pt idx="33">
                  <c:v>0.17092807219322304</c:v>
                </c:pt>
                <c:pt idx="34">
                  <c:v>0.18945165053874133</c:v>
                </c:pt>
                <c:pt idx="35">
                  <c:v>0.1863625133821955</c:v>
                </c:pt>
                <c:pt idx="36">
                  <c:v>0.15510415990654813</c:v>
                </c:pt>
                <c:pt idx="37">
                  <c:v>0.14670209079357746</c:v>
                </c:pt>
                <c:pt idx="38">
                  <c:v>0.14790558941771495</c:v>
                </c:pt>
                <c:pt idx="39">
                  <c:v>0.16470086684666763</c:v>
                </c:pt>
                <c:pt idx="40">
                  <c:v>0.14769102759672723</c:v>
                </c:pt>
                <c:pt idx="41">
                  <c:v>0.14965277777777777</c:v>
                </c:pt>
                <c:pt idx="42">
                  <c:v>0.1479838119849822</c:v>
                </c:pt>
                <c:pt idx="43">
                  <c:v>0.14525119702708497</c:v>
                </c:pt>
                <c:pt idx="44">
                  <c:v>0.14397752545944048</c:v>
                </c:pt>
                <c:pt idx="45">
                  <c:v>0.16196872935476767</c:v>
                </c:pt>
                <c:pt idx="46">
                  <c:v>0.15774751952712687</c:v>
                </c:pt>
                <c:pt idx="47">
                  <c:v>0.16018034533158274</c:v>
                </c:pt>
                <c:pt idx="48">
                  <c:v>0.15172915152144564</c:v>
                </c:pt>
                <c:pt idx="49">
                  <c:v>0.16467122053745684</c:v>
                </c:pt>
                <c:pt idx="50">
                  <c:v>0.20337764110703302</c:v>
                </c:pt>
                <c:pt idx="51">
                  <c:v>0.1886950543548317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589587971566736</c:v>
                </c:pt>
              </c:numCache>
            </c:numRef>
          </c:xVal>
          <c:yVal>
            <c:numRef>
              <c:f>Sheet1!$B$163:$B$164</c:f>
              <c:numCache>
                <c:formatCode>General</c:formatCode>
                <c:ptCount val="2"/>
                <c:pt idx="0">
                  <c:v>0.21427337068849897</c:v>
                </c:pt>
                <c:pt idx="1">
                  <c:v>0.2142733706884989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589587971566736</c:v>
                </c:pt>
                <c:pt idx="1">
                  <c:v>0.2589587971566736</c:v>
                </c:pt>
              </c:numCache>
            </c:numRef>
          </c:xVal>
          <c:yVal>
            <c:numRef>
              <c:f>Sheet1!$B$167:$B$168</c:f>
              <c:numCache>
                <c:formatCode>General</c:formatCode>
                <c:ptCount val="2"/>
                <c:pt idx="0">
                  <c:v>0.2142733706884989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9565643804850588</c:v>
                </c:pt>
              </c:numCache>
            </c:numRef>
          </c:xVal>
          <c:yVal>
            <c:numRef>
              <c:f>Sheet1!$B$171:$B$172</c:f>
              <c:numCache>
                <c:formatCode>General</c:formatCode>
                <c:ptCount val="2"/>
                <c:pt idx="0">
                  <c:v>0.17953887777780547</c:v>
                </c:pt>
                <c:pt idx="1">
                  <c:v>0.1795388777778054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9565643804850588</c:v>
                </c:pt>
                <c:pt idx="1">
                  <c:v>0.19565643804850588</c:v>
                </c:pt>
              </c:numCache>
            </c:numRef>
          </c:xVal>
          <c:yVal>
            <c:numRef>
              <c:f>Sheet1!$B$175:$B$176</c:f>
              <c:numCache>
                <c:formatCode>General</c:formatCode>
                <c:ptCount val="2"/>
                <c:pt idx="0">
                  <c:v>0.179538877777805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6111674592512104</c:v>
                </c:pt>
              </c:numCache>
            </c:numRef>
          </c:xVal>
          <c:yVal>
            <c:numRef>
              <c:f>Sheet1!$B$179:$B$180</c:f>
              <c:numCache>
                <c:formatCode>General</c:formatCode>
                <c:ptCount val="2"/>
                <c:pt idx="0">
                  <c:v>0.16058668218668648</c:v>
                </c:pt>
                <c:pt idx="1">
                  <c:v>0.1605866821866864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6111674592512104</c:v>
                </c:pt>
                <c:pt idx="1">
                  <c:v>0.16111674592512104</c:v>
                </c:pt>
              </c:numCache>
            </c:numRef>
          </c:xVal>
          <c:yVal>
            <c:numRef>
              <c:f>Sheet1!$B$183:$B$184</c:f>
              <c:numCache>
                <c:formatCode>General</c:formatCode>
                <c:ptCount val="2"/>
                <c:pt idx="0">
                  <c:v>0.1605866821866864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005895861949822</c:v>
                </c:pt>
                <c:pt idx="1">
                  <c:v>0.20685718962326963</c:v>
                </c:pt>
                <c:pt idx="2">
                  <c:v>0.20297434947771312</c:v>
                </c:pt>
                <c:pt idx="3">
                  <c:v>0.20717834669759275</c:v>
                </c:pt>
                <c:pt idx="4">
                  <c:v>0.19727250718069547</c:v>
                </c:pt>
                <c:pt idx="5">
                  <c:v>0.20544848306280492</c:v>
                </c:pt>
                <c:pt idx="6">
                  <c:v>0.19269448667301411</c:v>
                </c:pt>
                <c:pt idx="7">
                  <c:v>0.18549025630236093</c:v>
                </c:pt>
                <c:pt idx="8">
                  <c:v>0.2027614224639611</c:v>
                </c:pt>
                <c:pt idx="9">
                  <c:v>0.19651182487978505</c:v>
                </c:pt>
                <c:pt idx="10">
                  <c:v>0.2026760668939966</c:v>
                </c:pt>
                <c:pt idx="11">
                  <c:v>0.1962257400644817</c:v>
                </c:pt>
                <c:pt idx="12">
                  <c:v>0.19701231491784355</c:v>
                </c:pt>
                <c:pt idx="13">
                  <c:v>0.18981275908686984</c:v>
                </c:pt>
                <c:pt idx="14">
                  <c:v>0.19419308553842698</c:v>
                </c:pt>
                <c:pt idx="15">
                  <c:v>0.18602154195605988</c:v>
                </c:pt>
                <c:pt idx="16">
                  <c:v>0.1842595288423498</c:v>
                </c:pt>
                <c:pt idx="17">
                  <c:v>0.1771807253397745</c:v>
                </c:pt>
                <c:pt idx="18">
                  <c:v>0.1579186467982729</c:v>
                </c:pt>
                <c:pt idx="19">
                  <c:v>0.1817466147792825</c:v>
                </c:pt>
                <c:pt idx="20">
                  <c:v>0.16509544781546162</c:v>
                </c:pt>
                <c:pt idx="21">
                  <c:v>0.16074857124988562</c:v>
                </c:pt>
                <c:pt idx="22">
                  <c:v>0.16196376605820512</c:v>
                </c:pt>
                <c:pt idx="23">
                  <c:v>0.14772966405618237</c:v>
                </c:pt>
                <c:pt idx="24">
                  <c:v>0.14745755457826037</c:v>
                </c:pt>
                <c:pt idx="25">
                  <c:v>0.14130445354228732</c:v>
                </c:pt>
                <c:pt idx="26">
                  <c:v>0.15197097759196387</c:v>
                </c:pt>
                <c:pt idx="27">
                  <c:v>0.15676967822591584</c:v>
                </c:pt>
                <c:pt idx="28">
                  <c:v>0.16365866443951307</c:v>
                </c:pt>
                <c:pt idx="29">
                  <c:v>0.15558695609555817</c:v>
                </c:pt>
                <c:pt idx="30">
                  <c:v>0.151278355222439</c:v>
                </c:pt>
                <c:pt idx="31">
                  <c:v>0.14316246681237244</c:v>
                </c:pt>
                <c:pt idx="32">
                  <c:v>0.14203204804549963</c:v>
                </c:pt>
                <c:pt idx="33">
                  <c:v>0.15869206824834417</c:v>
                </c:pt>
                <c:pt idx="34">
                  <c:v>0.17928372357780728</c:v>
                </c:pt>
                <c:pt idx="35">
                  <c:v>0.16750257048310543</c:v>
                </c:pt>
                <c:pt idx="36">
                  <c:v>0.14859866647288478</c:v>
                </c:pt>
                <c:pt idx="37">
                  <c:v>0.15418338888760952</c:v>
                </c:pt>
                <c:pt idx="38">
                  <c:v>0.15310758184005788</c:v>
                </c:pt>
                <c:pt idx="39">
                  <c:v>0.16543044373936056</c:v>
                </c:pt>
                <c:pt idx="40">
                  <c:v>0.1669124295223463</c:v>
                </c:pt>
                <c:pt idx="41">
                  <c:v>0.1754469754794882</c:v>
                </c:pt>
                <c:pt idx="42">
                  <c:v>0.1705126464046668</c:v>
                </c:pt>
                <c:pt idx="43">
                  <c:v>0.17803603058472156</c:v>
                </c:pt>
                <c:pt idx="44">
                  <c:v>0.17770477926715353</c:v>
                </c:pt>
                <c:pt idx="45">
                  <c:v>0.1831085752287887</c:v>
                </c:pt>
                <c:pt idx="46">
                  <c:v>0.16723596316164593</c:v>
                </c:pt>
                <c:pt idx="47">
                  <c:v>0.16817712804164417</c:v>
                </c:pt>
                <c:pt idx="48">
                  <c:v>0.16992210156120874</c:v>
                </c:pt>
                <c:pt idx="49">
                  <c:v>0.19011549062106353</c:v>
                </c:pt>
                <c:pt idx="50">
                  <c:v>0.19327299446486731</c:v>
                </c:pt>
                <c:pt idx="51">
                  <c:v>0.1681067267894688</c:v>
                </c:pt>
                <c:pt idx="52">
                  <c:v>0.19565643804850588</c:v>
                </c:pt>
                <c:pt idx="53">
                  <c:v>0.2589587971566736</c:v>
                </c:pt>
                <c:pt idx="54">
                  <c:v>0.16111674592512104</c:v>
                </c:pt>
              </c:numCache>
            </c:numRef>
          </c:xVal>
          <c:yVal>
            <c:numRef>
              <c:f>Sheet1!$B$187:$B$241</c:f>
              <c:numCache>
                <c:formatCode>General</c:formatCode>
                <c:ptCount val="55"/>
                <c:pt idx="0">
                  <c:v>0.1874416519511096</c:v>
                </c:pt>
                <c:pt idx="1">
                  <c:v>0.1856848165966618</c:v>
                </c:pt>
                <c:pt idx="2">
                  <c:v>0.18355427224714185</c:v>
                </c:pt>
                <c:pt idx="3">
                  <c:v>0.18586103796152803</c:v>
                </c:pt>
                <c:pt idx="4">
                  <c:v>0.1804256273809176</c:v>
                </c:pt>
                <c:pt idx="5">
                  <c:v>0.18491184843675326</c:v>
                </c:pt>
                <c:pt idx="6">
                  <c:v>0.17791363220239115</c:v>
                </c:pt>
                <c:pt idx="7">
                  <c:v>0.173960615407095</c:v>
                </c:pt>
                <c:pt idx="8">
                  <c:v>0.1834374375516603</c:v>
                </c:pt>
                <c:pt idx="9">
                  <c:v>0.1800082351326585</c:v>
                </c:pt>
                <c:pt idx="10">
                  <c:v>0.18339060229178078</c:v>
                </c:pt>
                <c:pt idx="11">
                  <c:v>0.17985125818694891</c:v>
                </c:pt>
                <c:pt idx="12">
                  <c:v>0.18028285787853612</c:v>
                </c:pt>
                <c:pt idx="13">
                  <c:v>0.17633240603923284</c:v>
                </c:pt>
                <c:pt idx="14">
                  <c:v>0.17873592496367216</c:v>
                </c:pt>
                <c:pt idx="15">
                  <c:v>0.17425213594490663</c:v>
                </c:pt>
                <c:pt idx="16">
                  <c:v>0.17328530575296813</c:v>
                </c:pt>
                <c:pt idx="17">
                  <c:v>0.16940111164803356</c:v>
                </c:pt>
                <c:pt idx="18">
                  <c:v>0.158831860517886</c:v>
                </c:pt>
                <c:pt idx="19">
                  <c:v>0.1719064504158448</c:v>
                </c:pt>
                <c:pt idx="20">
                  <c:v>0.1627698266152796</c:v>
                </c:pt>
                <c:pt idx="21">
                  <c:v>0.16038466190139172</c:v>
                </c:pt>
                <c:pt idx="22">
                  <c:v>0.16105144866967885</c:v>
                </c:pt>
                <c:pt idx="23">
                  <c:v>0.15324108706475797</c:v>
                </c:pt>
                <c:pt idx="24">
                  <c:v>0.1530917784945092</c:v>
                </c:pt>
                <c:pt idx="25">
                  <c:v>0.14971552447611494</c:v>
                </c:pt>
                <c:pt idx="26">
                  <c:v>0.15556832852962815</c:v>
                </c:pt>
                <c:pt idx="27">
                  <c:v>0.15820141259630138</c:v>
                </c:pt>
                <c:pt idx="28">
                  <c:v>0.1619814524900624</c:v>
                </c:pt>
                <c:pt idx="29">
                  <c:v>0.15755244383698502</c:v>
                </c:pt>
                <c:pt idx="30">
                  <c:v>0.1551882812908998</c:v>
                </c:pt>
                <c:pt idx="31">
                  <c:v>0.15073503069463468</c:v>
                </c:pt>
                <c:pt idx="32">
                  <c:v>0.1501147611944575</c:v>
                </c:pt>
                <c:pt idx="33">
                  <c:v>0.15925624283559037</c:v>
                </c:pt>
                <c:pt idx="34">
                  <c:v>0.17055504300887483</c:v>
                </c:pt>
                <c:pt idx="35">
                  <c:v>0.16409063339740243</c:v>
                </c:pt>
                <c:pt idx="36">
                  <c:v>0.1537179153963964</c:v>
                </c:pt>
                <c:pt idx="37">
                  <c:v>0.15678229567945948</c:v>
                </c:pt>
                <c:pt idx="38">
                  <c:v>0.1561919920510812</c:v>
                </c:pt>
                <c:pt idx="39">
                  <c:v>0.16295364146369457</c:v>
                </c:pt>
                <c:pt idx="40">
                  <c:v>0.1637668184984542</c:v>
                </c:pt>
                <c:pt idx="41">
                  <c:v>0.16844978972134</c:v>
                </c:pt>
                <c:pt idx="42">
                  <c:v>0.16574228528259471</c:v>
                </c:pt>
                <c:pt idx="43">
                  <c:v>0.16987042423583665</c:v>
                </c:pt>
                <c:pt idx="44">
                  <c:v>0.16968866408181038</c:v>
                </c:pt>
                <c:pt idx="45">
                  <c:v>0.17265376862395743</c:v>
                </c:pt>
                <c:pt idx="46">
                  <c:v>0.16394434390286167</c:v>
                </c:pt>
                <c:pt idx="47">
                  <c:v>0.16446076833494688</c:v>
                </c:pt>
                <c:pt idx="48">
                  <c:v>0.165418248770093</c:v>
                </c:pt>
                <c:pt idx="49">
                  <c:v>0.17649851716805073</c:v>
                </c:pt>
                <c:pt idx="50">
                  <c:v>0.17823106389179422</c:v>
                </c:pt>
                <c:pt idx="51">
                  <c:v>0.16442213862463215</c:v>
                </c:pt>
                <c:pt idx="52">
                  <c:v>0.17953887777780547</c:v>
                </c:pt>
                <c:pt idx="53">
                  <c:v>0.214273370688499</c:v>
                </c:pt>
                <c:pt idx="54">
                  <c:v>0.1605866821866864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866862431226215"/>
          <c:min val="0.1090108276748027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9612.0</c:v>
                </c:pt>
                <c:pt idx="2">
                  <c:v>13322.0</c:v>
                </c:pt>
                <c:pt idx="3">
                  <c:v>14209.0</c:v>
                </c:pt>
                <c:pt idx="4">
                  <c:v>6198.0</c:v>
                </c:pt>
                <c:pt idx="5">
                  <c:v>6366.25</c:v>
                </c:pt>
                <c:pt idx="6">
                  <c:v>6216.3333</c:v>
                </c:pt>
                <c:pt idx="7">
                  <c:v>6130.0</c:v>
                </c:pt>
                <c:pt idx="8">
                  <c:v>7577.25</c:v>
                </c:pt>
                <c:pt idx="9">
                  <c:v>5610.8889</c:v>
                </c:pt>
                <c:pt idx="10">
                  <c:v>5785.1111</c:v>
                </c:pt>
                <c:pt idx="11">
                  <c:v>6207.75</c:v>
                </c:pt>
                <c:pt idx="12">
                  <c:v>4815.3077</c:v>
                </c:pt>
                <c:pt idx="13">
                  <c:v>4687.0667</c:v>
                </c:pt>
                <c:pt idx="14">
                  <c:v>4610.6471</c:v>
                </c:pt>
                <c:pt idx="15">
                  <c:v>5356.5294</c:v>
                </c:pt>
                <c:pt idx="16">
                  <c:v>5044.3333</c:v>
                </c:pt>
              </c:numCache>
            </c:numRef>
          </c:xVal>
          <c:yVal>
            <c:numRef>
              <c:f>Sheet1!$B$4:$B$20</c:f>
              <c:numCache>
                <c:formatCode>General</c:formatCode>
                <c:ptCount val="17"/>
                <c:pt idx="0">
                  <c:v>0.0</c:v>
                </c:pt>
                <c:pt idx="1">
                  <c:v>0.002512562814070352</c:v>
                </c:pt>
                <c:pt idx="2">
                  <c:v>0.002304147465437788</c:v>
                </c:pt>
                <c:pt idx="3">
                  <c:v>0.002512562814070352</c:v>
                </c:pt>
                <c:pt idx="4">
                  <c:v>0.009433962264150943</c:v>
                </c:pt>
                <c:pt idx="5">
                  <c:v>0.008264462809917356</c:v>
                </c:pt>
                <c:pt idx="6">
                  <c:v>0.0125</c:v>
                </c:pt>
                <c:pt idx="7">
                  <c:v>0.012552301255230125</c:v>
                </c:pt>
                <c:pt idx="8">
                  <c:v>0.006578947368421052</c:v>
                </c:pt>
                <c:pt idx="9">
                  <c:v>0.012987012987012988</c:v>
                </c:pt>
                <c:pt idx="10">
                  <c:v>0.01195219123505976</c:v>
                </c:pt>
                <c:pt idx="11">
                  <c:v>0.011477761836441894</c:v>
                </c:pt>
                <c:pt idx="12">
                  <c:v>0.017857142857142856</c:v>
                </c:pt>
                <c:pt idx="13">
                  <c:v>0.01773049645390071</c:v>
                </c:pt>
                <c:pt idx="14">
                  <c:v>0.019767441860465116</c:v>
                </c:pt>
                <c:pt idx="15">
                  <c:v>0.018579234972677595</c:v>
                </c:pt>
                <c:pt idx="16">
                  <c:v>0.012145748987854251</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1679.313590910697</c:v>
                </c:pt>
              </c:numCache>
            </c:numRef>
          </c:xVal>
          <c:yVal>
            <c:numRef>
              <c:f>Sheet1!$B$23:$B$24</c:f>
              <c:numCache>
                <c:formatCode>General</c:formatCode>
                <c:ptCount val="2"/>
                <c:pt idx="0">
                  <c:v>0.01705573056872442</c:v>
                </c:pt>
                <c:pt idx="1">
                  <c:v>0.01705573056872442</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1679.313590910697</c:v>
                </c:pt>
                <c:pt idx="1">
                  <c:v>-1679.313590910697</c:v>
                </c:pt>
              </c:numCache>
            </c:numRef>
          </c:xVal>
          <c:yVal>
            <c:numRef>
              <c:f>Sheet1!$B$27:$B$28</c:f>
              <c:numCache>
                <c:formatCode>General</c:formatCode>
                <c:ptCount val="2"/>
                <c:pt idx="0">
                  <c:v>0.0170557305687244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1679.313590910697</c:v>
                </c:pt>
              </c:numCache>
            </c:numRef>
          </c:xVal>
          <c:yVal>
            <c:numRef>
              <c:f>Sheet1!$B$31:$B$32</c:f>
              <c:numCache>
                <c:formatCode>General</c:formatCode>
                <c:ptCount val="2"/>
                <c:pt idx="0">
                  <c:v>0.01705573056872442</c:v>
                </c:pt>
                <c:pt idx="1">
                  <c:v>0.01705573056872442</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1679.313590910697</c:v>
                </c:pt>
                <c:pt idx="1">
                  <c:v>-1679.313590910697</c:v>
                </c:pt>
              </c:numCache>
            </c:numRef>
          </c:xVal>
          <c:yVal>
            <c:numRef>
              <c:f>Sheet1!$B$35:$B$36</c:f>
              <c:numCache>
                <c:formatCode>General</c:formatCode>
                <c:ptCount val="2"/>
                <c:pt idx="0">
                  <c:v>0.0170557305687244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3181.1705184121834</c:v>
                </c:pt>
              </c:numCache>
            </c:numRef>
          </c:xVal>
          <c:yVal>
            <c:numRef>
              <c:f>Sheet1!$B$39:$B$40</c:f>
              <c:numCache>
                <c:formatCode>General</c:formatCode>
                <c:ptCount val="2"/>
                <c:pt idx="0">
                  <c:v>0.013217438837559587</c:v>
                </c:pt>
                <c:pt idx="1">
                  <c:v>0.013217438837559587</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3181.1705184121834</c:v>
                </c:pt>
                <c:pt idx="1">
                  <c:v>3181.1705184121834</c:v>
                </c:pt>
              </c:numCache>
            </c:numRef>
          </c:xVal>
          <c:yVal>
            <c:numRef>
              <c:f>Sheet1!$B$43:$B$44</c:f>
              <c:numCache>
                <c:formatCode>General</c:formatCode>
                <c:ptCount val="2"/>
                <c:pt idx="0">
                  <c:v>0.01321743883755958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9612.0</c:v>
                </c:pt>
                <c:pt idx="2">
                  <c:v>13322.0</c:v>
                </c:pt>
                <c:pt idx="3">
                  <c:v>14209.0</c:v>
                </c:pt>
                <c:pt idx="4">
                  <c:v>6198.0</c:v>
                </c:pt>
                <c:pt idx="5">
                  <c:v>6366.25</c:v>
                </c:pt>
                <c:pt idx="6">
                  <c:v>6216.3333</c:v>
                </c:pt>
                <c:pt idx="7">
                  <c:v>6130.0</c:v>
                </c:pt>
                <c:pt idx="8">
                  <c:v>7577.25</c:v>
                </c:pt>
                <c:pt idx="9">
                  <c:v>5610.8889</c:v>
                </c:pt>
                <c:pt idx="10">
                  <c:v>5785.1111</c:v>
                </c:pt>
                <c:pt idx="11">
                  <c:v>6207.75</c:v>
                </c:pt>
                <c:pt idx="12">
                  <c:v>4815.3077</c:v>
                </c:pt>
                <c:pt idx="13">
                  <c:v>4687.0667</c:v>
                </c:pt>
                <c:pt idx="14">
                  <c:v>4610.6471</c:v>
                </c:pt>
                <c:pt idx="15">
                  <c:v>5356.5294</c:v>
                </c:pt>
                <c:pt idx="16">
                  <c:v>5044.3333</c:v>
                </c:pt>
                <c:pt idx="17">
                  <c:v>-1679.313590910697</c:v>
                </c:pt>
                <c:pt idx="18">
                  <c:v>-1679.313590910697</c:v>
                </c:pt>
                <c:pt idx="19">
                  <c:v>3181.1705184121834</c:v>
                </c:pt>
              </c:numCache>
            </c:numRef>
          </c:xVal>
          <c:yVal>
            <c:numRef>
              <c:f>Sheet1!$B$47:$B$66</c:f>
              <c:numCache>
                <c:formatCode>General</c:formatCode>
                <c:ptCount val="20"/>
                <c:pt idx="0">
                  <c:v>0.01572958787901543</c:v>
                </c:pt>
                <c:pt idx="1">
                  <c:v>0.008139055888757352</c:v>
                </c:pt>
                <c:pt idx="2">
                  <c:v>0.0052092937493631065</c:v>
                </c:pt>
                <c:pt idx="3">
                  <c:v>0.0045088357931251846</c:v>
                </c:pt>
                <c:pt idx="4">
                  <c:v>0.010835068811639278</c:v>
                </c:pt>
                <c:pt idx="5">
                  <c:v>0.0107022029140778</c:v>
                </c:pt>
                <c:pt idx="6">
                  <c:v>0.010820591127480206</c:v>
                </c:pt>
                <c:pt idx="7">
                  <c:v>0.010888767955973188</c:v>
                </c:pt>
                <c:pt idx="8">
                  <c:v>0.009745884328954773</c:v>
                </c:pt>
                <c:pt idx="9">
                  <c:v>0.011298706513094293</c:v>
                </c:pt>
                <c:pt idx="10">
                  <c:v>0.01116112440921236</c:v>
                </c:pt>
                <c:pt idx="11">
                  <c:v>0.010827369301973755</c:v>
                </c:pt>
                <c:pt idx="12">
                  <c:v>0.011926971655567026</c:v>
                </c:pt>
                <c:pt idx="13">
                  <c:v>0.01202824271392769</c:v>
                </c:pt>
                <c:pt idx="14">
                  <c:v>0.012088590759962096</c:v>
                </c:pt>
                <c:pt idx="15">
                  <c:v>0.011499572505788432</c:v>
                </c:pt>
                <c:pt idx="16">
                  <c:v>0.011746111673941136</c:v>
                </c:pt>
                <c:pt idx="17">
                  <c:v>0.01705573056872442</c:v>
                </c:pt>
                <c:pt idx="18">
                  <c:v>0.01705573056872442</c:v>
                </c:pt>
                <c:pt idx="19">
                  <c:v>0.01321743883755958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5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372093023255813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7561352505069713</c:v>
                </c:pt>
                <c:pt idx="2">
                  <c:v>1.0882455738131356</c:v>
                </c:pt>
                <c:pt idx="3">
                  <c:v>1.1199854286025566</c:v>
                </c:pt>
                <c:pt idx="4">
                  <c:v>0.4668930703832942</c:v>
                </c:pt>
                <c:pt idx="5">
                  <c:v>0.4997853896218953</c:v>
                </c:pt>
                <c:pt idx="6">
                  <c:v>0.48941027200863557</c:v>
                </c:pt>
                <c:pt idx="7">
                  <c:v>0.49151138194430616</c:v>
                </c:pt>
                <c:pt idx="8">
                  <c:v>0.6137673129606029</c:v>
                </c:pt>
                <c:pt idx="9">
                  <c:v>0.45160030969883147</c:v>
                </c:pt>
                <c:pt idx="10">
                  <c:v>0.4604877387683566</c:v>
                </c:pt>
                <c:pt idx="11">
                  <c:v>0.49694284189889665</c:v>
                </c:pt>
                <c:pt idx="12">
                  <c:v>0.3823629596089243</c:v>
                </c:pt>
                <c:pt idx="13">
                  <c:v>0.3693336391659174</c:v>
                </c:pt>
                <c:pt idx="14">
                  <c:v>0.3746687064853104</c:v>
                </c:pt>
                <c:pt idx="15">
                  <c:v>0.43387075664943686</c:v>
                </c:pt>
                <c:pt idx="16">
                  <c:v>0.38516987052764023</c:v>
                </c:pt>
              </c:numCache>
            </c:numRef>
          </c:xVal>
          <c:yVal>
            <c:numRef>
              <c:f>Sheet1!$B$4:$B$20</c:f>
              <c:numCache>
                <c:formatCode>General</c:formatCode>
                <c:ptCount val="17"/>
                <c:pt idx="0">
                  <c:v>0.0</c:v>
                </c:pt>
                <c:pt idx="1">
                  <c:v>0.002512562814070352</c:v>
                </c:pt>
                <c:pt idx="2">
                  <c:v>0.002304147465437788</c:v>
                </c:pt>
                <c:pt idx="3">
                  <c:v>0.002512562814070352</c:v>
                </c:pt>
                <c:pt idx="4">
                  <c:v>0.009433962264150943</c:v>
                </c:pt>
                <c:pt idx="5">
                  <c:v>0.008264462809917356</c:v>
                </c:pt>
                <c:pt idx="6">
                  <c:v>0.0125</c:v>
                </c:pt>
                <c:pt idx="7">
                  <c:v>0.012552301255230125</c:v>
                </c:pt>
                <c:pt idx="8">
                  <c:v>0.006578947368421052</c:v>
                </c:pt>
                <c:pt idx="9">
                  <c:v>0.012987012987012988</c:v>
                </c:pt>
                <c:pt idx="10">
                  <c:v>0.01195219123505976</c:v>
                </c:pt>
                <c:pt idx="11">
                  <c:v>0.011477761836441894</c:v>
                </c:pt>
                <c:pt idx="12">
                  <c:v>0.017857142857142856</c:v>
                </c:pt>
                <c:pt idx="13">
                  <c:v>0.01773049645390071</c:v>
                </c:pt>
                <c:pt idx="14">
                  <c:v>0.019767441860465116</c:v>
                </c:pt>
                <c:pt idx="15">
                  <c:v>0.018579234972677595</c:v>
                </c:pt>
                <c:pt idx="16">
                  <c:v>0.012145748987854251</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14666940022950506</c:v>
                </c:pt>
              </c:numCache>
            </c:numRef>
          </c:xVal>
          <c:yVal>
            <c:numRef>
              <c:f>Sheet1!$B$23:$B$24</c:f>
              <c:numCache>
                <c:formatCode>General</c:formatCode>
                <c:ptCount val="2"/>
                <c:pt idx="0">
                  <c:v>0.01705573056872442</c:v>
                </c:pt>
                <c:pt idx="1">
                  <c:v>0.01705573056872442</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14666940022950506</c:v>
                </c:pt>
                <c:pt idx="1">
                  <c:v>-0.14666940022950506</c:v>
                </c:pt>
              </c:numCache>
            </c:numRef>
          </c:xVal>
          <c:yVal>
            <c:numRef>
              <c:f>Sheet1!$B$27:$B$28</c:f>
              <c:numCache>
                <c:formatCode>General</c:formatCode>
                <c:ptCount val="2"/>
                <c:pt idx="0">
                  <c:v>0.0170557305687244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14666940022950506</c:v>
                </c:pt>
              </c:numCache>
            </c:numRef>
          </c:xVal>
          <c:yVal>
            <c:numRef>
              <c:f>Sheet1!$B$31:$B$32</c:f>
              <c:numCache>
                <c:formatCode>General</c:formatCode>
                <c:ptCount val="2"/>
                <c:pt idx="0">
                  <c:v>0.01705573056872442</c:v>
                </c:pt>
                <c:pt idx="1">
                  <c:v>0.01705573056872442</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14666940022950506</c:v>
                </c:pt>
                <c:pt idx="1">
                  <c:v>-0.14666940022950506</c:v>
                </c:pt>
              </c:numCache>
            </c:numRef>
          </c:xVal>
          <c:yVal>
            <c:numRef>
              <c:f>Sheet1!$B$35:$B$36</c:f>
              <c:numCache>
                <c:formatCode>General</c:formatCode>
                <c:ptCount val="2"/>
                <c:pt idx="0">
                  <c:v>0.0170557305687244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24735926688674048</c:v>
                </c:pt>
              </c:numCache>
            </c:numRef>
          </c:xVal>
          <c:yVal>
            <c:numRef>
              <c:f>Sheet1!$B$39:$B$40</c:f>
              <c:numCache>
                <c:formatCode>General</c:formatCode>
                <c:ptCount val="2"/>
                <c:pt idx="0">
                  <c:v>0.013217438837559587</c:v>
                </c:pt>
                <c:pt idx="1">
                  <c:v>0.013217438837559587</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24735926688674048</c:v>
                </c:pt>
                <c:pt idx="1">
                  <c:v>0.24735926688674048</c:v>
                </c:pt>
              </c:numCache>
            </c:numRef>
          </c:xVal>
          <c:yVal>
            <c:numRef>
              <c:f>Sheet1!$B$43:$B$44</c:f>
              <c:numCache>
                <c:formatCode>General</c:formatCode>
                <c:ptCount val="2"/>
                <c:pt idx="0">
                  <c:v>0.01321743883755958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0</c:v>
                </c:pt>
                <c:pt idx="1">
                  <c:v>0.7561352505069713</c:v>
                </c:pt>
                <c:pt idx="2">
                  <c:v>1.0882455738131356</c:v>
                </c:pt>
                <c:pt idx="3">
                  <c:v>1.1199854286025566</c:v>
                </c:pt>
                <c:pt idx="4">
                  <c:v>0.4668930703832942</c:v>
                </c:pt>
                <c:pt idx="5">
                  <c:v>0.4997853896218953</c:v>
                </c:pt>
                <c:pt idx="6">
                  <c:v>0.48941027200863557</c:v>
                </c:pt>
                <c:pt idx="7">
                  <c:v>0.49151138194430616</c:v>
                </c:pt>
                <c:pt idx="8">
                  <c:v>0.6137673129606029</c:v>
                </c:pt>
                <c:pt idx="9">
                  <c:v>0.45160030969883147</c:v>
                </c:pt>
                <c:pt idx="10">
                  <c:v>0.4604877387683566</c:v>
                </c:pt>
                <c:pt idx="11">
                  <c:v>0.49694284189889665</c:v>
                </c:pt>
                <c:pt idx="12">
                  <c:v>0.3823629596089243</c:v>
                </c:pt>
                <c:pt idx="13">
                  <c:v>0.3693336391659174</c:v>
                </c:pt>
                <c:pt idx="14">
                  <c:v>0.3746687064853104</c:v>
                </c:pt>
                <c:pt idx="15">
                  <c:v>0.43387075664943686</c:v>
                </c:pt>
                <c:pt idx="16">
                  <c:v>0.38516987052764023</c:v>
                </c:pt>
                <c:pt idx="17">
                  <c:v>-0.14666940022950506</c:v>
                </c:pt>
                <c:pt idx="18">
                  <c:v>-0.14666940022950506</c:v>
                </c:pt>
                <c:pt idx="19">
                  <c:v>0.24735926688674048</c:v>
                </c:pt>
              </c:numCache>
            </c:numRef>
          </c:xVal>
          <c:yVal>
            <c:numRef>
              <c:f>Sheet1!$B$47:$B$66</c:f>
              <c:numCache>
                <c:formatCode>General</c:formatCode>
                <c:ptCount val="20"/>
                <c:pt idx="0">
                  <c:v>0.015627002171280862</c:v>
                </c:pt>
                <c:pt idx="1">
                  <c:v>0.008261376464644303</c:v>
                </c:pt>
                <c:pt idx="2">
                  <c:v>0.005026240510933455</c:v>
                </c:pt>
                <c:pt idx="3">
                  <c:v>0.0047170578743547156</c:v>
                </c:pt>
                <c:pt idx="4">
                  <c:v>0.011078927472792833</c:v>
                </c:pt>
                <c:pt idx="5">
                  <c:v>0.010758518508956934</c:v>
                </c:pt>
                <c:pt idx="6">
                  <c:v>0.01085958406958298</c:v>
                </c:pt>
                <c:pt idx="7">
                  <c:v>0.01083911684583661</c:v>
                </c:pt>
                <c:pt idx="8">
                  <c:v>0.009648203675635032</c:v>
                </c:pt>
                <c:pt idx="9">
                  <c:v>0.011227896524490128</c:v>
                </c:pt>
                <c:pt idx="10">
                  <c:v>0.011141322758782851</c:v>
                </c:pt>
                <c:pt idx="11">
                  <c:v>0.010786208188239606</c:v>
                </c:pt>
                <c:pt idx="12">
                  <c:v>0.011902347828459474</c:v>
                </c:pt>
                <c:pt idx="13">
                  <c:v>0.012029268372807423</c:v>
                </c:pt>
                <c:pt idx="14">
                  <c:v>0.011977298690177217</c:v>
                </c:pt>
                <c:pt idx="15">
                  <c:v>0.011400602732301812</c:v>
                </c:pt>
                <c:pt idx="16">
                  <c:v>0.011875005292576811</c:v>
                </c:pt>
                <c:pt idx="17">
                  <c:v>0.01705573056872442</c:v>
                </c:pt>
                <c:pt idx="18">
                  <c:v>0.01705573056872442</c:v>
                </c:pt>
                <c:pt idx="19">
                  <c:v>0.01321743883755958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372093023255813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9612.0</c:v>
                </c:pt>
                <c:pt idx="2">
                  <c:v>13322.0</c:v>
                </c:pt>
                <c:pt idx="3">
                  <c:v>14209.0</c:v>
                </c:pt>
                <c:pt idx="4">
                  <c:v>6198.0</c:v>
                </c:pt>
                <c:pt idx="5">
                  <c:v>6366.25</c:v>
                </c:pt>
                <c:pt idx="6">
                  <c:v>6216.3333</c:v>
                </c:pt>
                <c:pt idx="7">
                  <c:v>6130.0</c:v>
                </c:pt>
                <c:pt idx="8">
                  <c:v>7577.25</c:v>
                </c:pt>
                <c:pt idx="9">
                  <c:v>5610.8889</c:v>
                </c:pt>
                <c:pt idx="10">
                  <c:v>5785.1111</c:v>
                </c:pt>
                <c:pt idx="11">
                  <c:v>6207.75</c:v>
                </c:pt>
                <c:pt idx="12">
                  <c:v>4815.3077</c:v>
                </c:pt>
                <c:pt idx="13">
                  <c:v>4687.0667</c:v>
                </c:pt>
                <c:pt idx="14">
                  <c:v>4610.6471</c:v>
                </c:pt>
                <c:pt idx="15">
                  <c:v>5356.5294</c:v>
                </c:pt>
                <c:pt idx="16">
                  <c:v>5044.3333</c:v>
                </c:pt>
              </c:numCache>
            </c:numRef>
          </c:xVal>
          <c:yVal>
            <c:numRef>
              <c:f>Sheet1!$B$4:$B$20</c:f>
              <c:numCache>
                <c:formatCode>General</c:formatCode>
                <c:ptCount val="17"/>
                <c:pt idx="0">
                  <c:v>0.0</c:v>
                </c:pt>
                <c:pt idx="1">
                  <c:v>0.002512562814070352</c:v>
                </c:pt>
                <c:pt idx="2">
                  <c:v>0.002304147465437788</c:v>
                </c:pt>
                <c:pt idx="3">
                  <c:v>0.002512562814070352</c:v>
                </c:pt>
                <c:pt idx="4">
                  <c:v>0.009433962264150943</c:v>
                </c:pt>
                <c:pt idx="5">
                  <c:v>0.008264462809917356</c:v>
                </c:pt>
                <c:pt idx="6">
                  <c:v>0.0125</c:v>
                </c:pt>
                <c:pt idx="7">
                  <c:v>0.012552301255230125</c:v>
                </c:pt>
                <c:pt idx="8">
                  <c:v>0.006578947368421052</c:v>
                </c:pt>
                <c:pt idx="9">
                  <c:v>0.012987012987012988</c:v>
                </c:pt>
                <c:pt idx="10">
                  <c:v>0.01195219123505976</c:v>
                </c:pt>
                <c:pt idx="11">
                  <c:v>0.011477761836441894</c:v>
                </c:pt>
                <c:pt idx="12">
                  <c:v>0.017857142857142856</c:v>
                </c:pt>
                <c:pt idx="13">
                  <c:v>0.01773049645390071</c:v>
                </c:pt>
                <c:pt idx="14">
                  <c:v>0.019767441860465116</c:v>
                </c:pt>
                <c:pt idx="15">
                  <c:v>0.018579234972677595</c:v>
                </c:pt>
                <c:pt idx="16">
                  <c:v>0.012145748987854251</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1679.313590910697</c:v>
                </c:pt>
              </c:numCache>
            </c:numRef>
          </c:xVal>
          <c:yVal>
            <c:numRef>
              <c:f>Sheet1!$B$23:$B$24</c:f>
              <c:numCache>
                <c:formatCode>General</c:formatCode>
                <c:ptCount val="2"/>
                <c:pt idx="0">
                  <c:v>0.01705573056872442</c:v>
                </c:pt>
                <c:pt idx="1">
                  <c:v>0.01705573056872442</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1679.313590910697</c:v>
                </c:pt>
                <c:pt idx="1">
                  <c:v>-1679.313590910697</c:v>
                </c:pt>
              </c:numCache>
            </c:numRef>
          </c:xVal>
          <c:yVal>
            <c:numRef>
              <c:f>Sheet1!$B$27:$B$28</c:f>
              <c:numCache>
                <c:formatCode>General</c:formatCode>
                <c:ptCount val="2"/>
                <c:pt idx="0">
                  <c:v>0.0170557305687244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1679.313590910697</c:v>
                </c:pt>
              </c:numCache>
            </c:numRef>
          </c:xVal>
          <c:yVal>
            <c:numRef>
              <c:f>Sheet1!$B$31:$B$32</c:f>
              <c:numCache>
                <c:formatCode>General</c:formatCode>
                <c:ptCount val="2"/>
                <c:pt idx="0">
                  <c:v>0.01705573056872442</c:v>
                </c:pt>
                <c:pt idx="1">
                  <c:v>0.01705573056872442</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1679.313590910697</c:v>
                </c:pt>
                <c:pt idx="1">
                  <c:v>-1679.313590910697</c:v>
                </c:pt>
              </c:numCache>
            </c:numRef>
          </c:xVal>
          <c:yVal>
            <c:numRef>
              <c:f>Sheet1!$B$35:$B$36</c:f>
              <c:numCache>
                <c:formatCode>General</c:formatCode>
                <c:ptCount val="2"/>
                <c:pt idx="0">
                  <c:v>0.0170557305687244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3181.1705184121834</c:v>
                </c:pt>
              </c:numCache>
            </c:numRef>
          </c:xVal>
          <c:yVal>
            <c:numRef>
              <c:f>Sheet1!$B$39:$B$40</c:f>
              <c:numCache>
                <c:formatCode>General</c:formatCode>
                <c:ptCount val="2"/>
                <c:pt idx="0">
                  <c:v>0.013217438837559587</c:v>
                </c:pt>
                <c:pt idx="1">
                  <c:v>0.013217438837559587</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3181.1705184121834</c:v>
                </c:pt>
                <c:pt idx="1">
                  <c:v>3181.1705184121834</c:v>
                </c:pt>
              </c:numCache>
            </c:numRef>
          </c:xVal>
          <c:yVal>
            <c:numRef>
              <c:f>Sheet1!$B$43:$B$44</c:f>
              <c:numCache>
                <c:formatCode>General</c:formatCode>
                <c:ptCount val="2"/>
                <c:pt idx="0">
                  <c:v>0.01321743883755958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9612.0</c:v>
                </c:pt>
                <c:pt idx="2">
                  <c:v>13322.0</c:v>
                </c:pt>
                <c:pt idx="3">
                  <c:v>14209.0</c:v>
                </c:pt>
                <c:pt idx="4">
                  <c:v>6198.0</c:v>
                </c:pt>
                <c:pt idx="5">
                  <c:v>6366.25</c:v>
                </c:pt>
                <c:pt idx="6">
                  <c:v>6216.3333</c:v>
                </c:pt>
                <c:pt idx="7">
                  <c:v>6130.0</c:v>
                </c:pt>
                <c:pt idx="8">
                  <c:v>7577.25</c:v>
                </c:pt>
                <c:pt idx="9">
                  <c:v>5610.8889</c:v>
                </c:pt>
                <c:pt idx="10">
                  <c:v>5785.1111</c:v>
                </c:pt>
                <c:pt idx="11">
                  <c:v>6207.75</c:v>
                </c:pt>
                <c:pt idx="12">
                  <c:v>4815.3077</c:v>
                </c:pt>
                <c:pt idx="13">
                  <c:v>4687.0667</c:v>
                </c:pt>
                <c:pt idx="14">
                  <c:v>4610.6471</c:v>
                </c:pt>
                <c:pt idx="15">
                  <c:v>5356.5294</c:v>
                </c:pt>
                <c:pt idx="16">
                  <c:v>5044.3333</c:v>
                </c:pt>
                <c:pt idx="17">
                  <c:v>-1679.313590910697</c:v>
                </c:pt>
                <c:pt idx="18">
                  <c:v>-1679.313590910697</c:v>
                </c:pt>
                <c:pt idx="19">
                  <c:v>3181.1705184121834</c:v>
                </c:pt>
              </c:numCache>
            </c:numRef>
          </c:xVal>
          <c:yVal>
            <c:numRef>
              <c:f>Sheet1!$B$47:$B$66</c:f>
              <c:numCache>
                <c:formatCode>General</c:formatCode>
                <c:ptCount val="20"/>
                <c:pt idx="0">
                  <c:v>0.01572958787901543</c:v>
                </c:pt>
                <c:pt idx="1">
                  <c:v>0.008139055888757352</c:v>
                </c:pt>
                <c:pt idx="2">
                  <c:v>0.0052092937493631065</c:v>
                </c:pt>
                <c:pt idx="3">
                  <c:v>0.0045088357931251846</c:v>
                </c:pt>
                <c:pt idx="4">
                  <c:v>0.010835068811639278</c:v>
                </c:pt>
                <c:pt idx="5">
                  <c:v>0.0107022029140778</c:v>
                </c:pt>
                <c:pt idx="6">
                  <c:v>0.010820591127480206</c:v>
                </c:pt>
                <c:pt idx="7">
                  <c:v>0.010888767955973188</c:v>
                </c:pt>
                <c:pt idx="8">
                  <c:v>0.009745884328954773</c:v>
                </c:pt>
                <c:pt idx="9">
                  <c:v>0.011298706513094293</c:v>
                </c:pt>
                <c:pt idx="10">
                  <c:v>0.01116112440921236</c:v>
                </c:pt>
                <c:pt idx="11">
                  <c:v>0.010827369301973755</c:v>
                </c:pt>
                <c:pt idx="12">
                  <c:v>0.011926971655567026</c:v>
                </c:pt>
                <c:pt idx="13">
                  <c:v>0.01202824271392769</c:v>
                </c:pt>
                <c:pt idx="14">
                  <c:v>0.012088590759962096</c:v>
                </c:pt>
                <c:pt idx="15">
                  <c:v>0.011499572505788432</c:v>
                </c:pt>
                <c:pt idx="16">
                  <c:v>0.011746111673941136</c:v>
                </c:pt>
                <c:pt idx="17">
                  <c:v>0.01705573056872442</c:v>
                </c:pt>
                <c:pt idx="18">
                  <c:v>0.01705573056872442</c:v>
                </c:pt>
                <c:pt idx="19">
                  <c:v>0.01321743883755958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5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372093023255813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5721320206899414</c:v>
                </c:pt>
                <c:pt idx="2">
                  <c:v>0.7759418422211787</c:v>
                </c:pt>
                <c:pt idx="3">
                  <c:v>0.7808998824467863</c:v>
                </c:pt>
                <c:pt idx="4">
                  <c:v>0.35613481609299796</c:v>
                </c:pt>
                <c:pt idx="5">
                  <c:v>0.4175695039150982</c:v>
                </c:pt>
                <c:pt idx="6">
                  <c:v>0.3369507012212621</c:v>
                </c:pt>
                <c:pt idx="7">
                  <c:v>0.3372800992213127</c:v>
                </c:pt>
                <c:pt idx="8">
                  <c:v>0.4542736770770844</c:v>
                </c:pt>
                <c:pt idx="9">
                  <c:v>0.330923520320286</c:v>
                </c:pt>
                <c:pt idx="10">
                  <c:v>0.3482200410803877</c:v>
                </c:pt>
                <c:pt idx="11">
                  <c:v>0.3539368389897061</c:v>
                </c:pt>
                <c:pt idx="12">
                  <c:v>0.28044786298347946</c:v>
                </c:pt>
                <c:pt idx="13">
                  <c:v>0.28232947208248205</c:v>
                </c:pt>
                <c:pt idx="14">
                  <c:v>0.2686667354535677</c:v>
                </c:pt>
                <c:pt idx="15">
                  <c:v>0.30628429133014085</c:v>
                </c:pt>
                <c:pt idx="16">
                  <c:v>0.29296924509979316</c:v>
                </c:pt>
              </c:numCache>
            </c:numRef>
          </c:xVal>
          <c:yVal>
            <c:numRef>
              <c:f>Sheet1!$B$4:$B$20</c:f>
              <c:numCache>
                <c:formatCode>General</c:formatCode>
                <c:ptCount val="17"/>
                <c:pt idx="0">
                  <c:v>0.0</c:v>
                </c:pt>
                <c:pt idx="1">
                  <c:v>0.002512562814070352</c:v>
                </c:pt>
                <c:pt idx="2">
                  <c:v>0.002304147465437788</c:v>
                </c:pt>
                <c:pt idx="3">
                  <c:v>0.002512562814070352</c:v>
                </c:pt>
                <c:pt idx="4">
                  <c:v>0.009433962264150943</c:v>
                </c:pt>
                <c:pt idx="5">
                  <c:v>0.008264462809917356</c:v>
                </c:pt>
                <c:pt idx="6">
                  <c:v>0.0125</c:v>
                </c:pt>
                <c:pt idx="7">
                  <c:v>0.012552301255230125</c:v>
                </c:pt>
                <c:pt idx="8">
                  <c:v>0.006578947368421052</c:v>
                </c:pt>
                <c:pt idx="9">
                  <c:v>0.012987012987012988</c:v>
                </c:pt>
                <c:pt idx="10">
                  <c:v>0.01195219123505976</c:v>
                </c:pt>
                <c:pt idx="11">
                  <c:v>0.011477761836441894</c:v>
                </c:pt>
                <c:pt idx="12">
                  <c:v>0.017857142857142856</c:v>
                </c:pt>
                <c:pt idx="13">
                  <c:v>0.01773049645390071</c:v>
                </c:pt>
                <c:pt idx="14">
                  <c:v>0.019767441860465116</c:v>
                </c:pt>
                <c:pt idx="15">
                  <c:v>0.018579234972677595</c:v>
                </c:pt>
                <c:pt idx="16">
                  <c:v>0.012145748987854251</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07783320603406056</c:v>
                </c:pt>
              </c:numCache>
            </c:numRef>
          </c:xVal>
          <c:yVal>
            <c:numRef>
              <c:f>Sheet1!$B$23:$B$24</c:f>
              <c:numCache>
                <c:formatCode>General</c:formatCode>
                <c:ptCount val="2"/>
                <c:pt idx="0">
                  <c:v>0.01705573056872442</c:v>
                </c:pt>
                <c:pt idx="1">
                  <c:v>0.01705573056872442</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07783320603406056</c:v>
                </c:pt>
                <c:pt idx="1">
                  <c:v>-0.07783320603406056</c:v>
                </c:pt>
              </c:numCache>
            </c:numRef>
          </c:xVal>
          <c:yVal>
            <c:numRef>
              <c:f>Sheet1!$B$27:$B$28</c:f>
              <c:numCache>
                <c:formatCode>General</c:formatCode>
                <c:ptCount val="2"/>
                <c:pt idx="0">
                  <c:v>0.0170557305687244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07783320603406056</c:v>
                </c:pt>
              </c:numCache>
            </c:numRef>
          </c:xVal>
          <c:yVal>
            <c:numRef>
              <c:f>Sheet1!$B$31:$B$32</c:f>
              <c:numCache>
                <c:formatCode>General</c:formatCode>
                <c:ptCount val="2"/>
                <c:pt idx="0">
                  <c:v>0.01705573056872442</c:v>
                </c:pt>
                <c:pt idx="1">
                  <c:v>0.01705573056872442</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07783320603406056</c:v>
                </c:pt>
                <c:pt idx="1">
                  <c:v>-0.07783320603406056</c:v>
                </c:pt>
              </c:numCache>
            </c:numRef>
          </c:xVal>
          <c:yVal>
            <c:numRef>
              <c:f>Sheet1!$B$35:$B$36</c:f>
              <c:numCache>
                <c:formatCode>General</c:formatCode>
                <c:ptCount val="2"/>
                <c:pt idx="0">
                  <c:v>0.0170557305687244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1930202487690198</c:v>
                </c:pt>
              </c:numCache>
            </c:numRef>
          </c:xVal>
          <c:yVal>
            <c:numRef>
              <c:f>Sheet1!$B$39:$B$40</c:f>
              <c:numCache>
                <c:formatCode>General</c:formatCode>
                <c:ptCount val="2"/>
                <c:pt idx="0">
                  <c:v>0.013217438837559587</c:v>
                </c:pt>
                <c:pt idx="1">
                  <c:v>0.013217438837559587</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1930202487690198</c:v>
                </c:pt>
                <c:pt idx="1">
                  <c:v>0.1930202487690198</c:v>
                </c:pt>
              </c:numCache>
            </c:numRef>
          </c:xVal>
          <c:yVal>
            <c:numRef>
              <c:f>Sheet1!$B$43:$B$44</c:f>
              <c:numCache>
                <c:formatCode>General</c:formatCode>
                <c:ptCount val="2"/>
                <c:pt idx="0">
                  <c:v>0.01321743883755958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0</c:v>
                </c:pt>
                <c:pt idx="1">
                  <c:v>0.5721320206899414</c:v>
                </c:pt>
                <c:pt idx="2">
                  <c:v>0.7759418422211787</c:v>
                </c:pt>
                <c:pt idx="3">
                  <c:v>0.7808998824467863</c:v>
                </c:pt>
                <c:pt idx="4">
                  <c:v>0.35613481609299796</c:v>
                </c:pt>
                <c:pt idx="5">
                  <c:v>0.4175695039150982</c:v>
                </c:pt>
                <c:pt idx="6">
                  <c:v>0.3369507012212621</c:v>
                </c:pt>
                <c:pt idx="7">
                  <c:v>0.3372800992213127</c:v>
                </c:pt>
                <c:pt idx="8">
                  <c:v>0.4542736770770844</c:v>
                </c:pt>
                <c:pt idx="9">
                  <c:v>0.330923520320286</c:v>
                </c:pt>
                <c:pt idx="10">
                  <c:v>0.3482200410803877</c:v>
                </c:pt>
                <c:pt idx="11">
                  <c:v>0.3539368389897061</c:v>
                </c:pt>
                <c:pt idx="12">
                  <c:v>0.28044786298347946</c:v>
                </c:pt>
                <c:pt idx="13">
                  <c:v>0.28232947208248205</c:v>
                </c:pt>
                <c:pt idx="14">
                  <c:v>0.2686667354535677</c:v>
                </c:pt>
                <c:pt idx="15">
                  <c:v>0.30628429133014085</c:v>
                </c:pt>
                <c:pt idx="16">
                  <c:v>0.29296924509979316</c:v>
                </c:pt>
                <c:pt idx="17">
                  <c:v>-0.07783320603406056</c:v>
                </c:pt>
                <c:pt idx="18">
                  <c:v>-0.07783320603406056</c:v>
                </c:pt>
                <c:pt idx="19">
                  <c:v>0.1930202487690198</c:v>
                </c:pt>
              </c:numCache>
            </c:numRef>
          </c:xVal>
          <c:yVal>
            <c:numRef>
              <c:f>Sheet1!$B$47:$B$66</c:f>
              <c:numCache>
                <c:formatCode>General</c:formatCode>
                <c:ptCount val="20"/>
                <c:pt idx="0">
                  <c:v>0.015952748325622584</c:v>
                </c:pt>
                <c:pt idx="1">
                  <c:v>0.007845007533667752</c:v>
                </c:pt>
                <c:pt idx="2">
                  <c:v>0.004956797917577482</c:v>
                </c:pt>
                <c:pt idx="3">
                  <c:v>0.004886537027552771</c:v>
                </c:pt>
                <c:pt idx="4">
                  <c:v>0.010905925789120398</c:v>
                </c:pt>
                <c:pt idx="5">
                  <c:v>0.010035328607904091</c:v>
                </c:pt>
                <c:pt idx="6">
                  <c:v>0.011177785823305432</c:v>
                </c:pt>
                <c:pt idx="7">
                  <c:v>0.011173117890896093</c:v>
                </c:pt>
                <c:pt idx="8">
                  <c:v>0.0095151900538313</c:v>
                </c:pt>
                <c:pt idx="9">
                  <c:v>0.011263197614088276</c:v>
                </c:pt>
                <c:pt idx="10">
                  <c:v>0.011018086867172802</c:v>
                </c:pt>
                <c:pt idx="11">
                  <c:v>0.010937073545190145</c:v>
                </c:pt>
                <c:pt idx="12">
                  <c:v>0.011978493264726477</c:v>
                </c:pt>
                <c:pt idx="13">
                  <c:v>0.011951828791676883</c:v>
                </c:pt>
                <c:pt idx="14">
                  <c:v>0.012145444815758879</c:v>
                </c:pt>
                <c:pt idx="15">
                  <c:v>0.011612362622760247</c:v>
                </c:pt>
                <c:pt idx="16">
                  <c:v>0.011801051491001479</c:v>
                </c:pt>
                <c:pt idx="17">
                  <c:v>0.01705573056872442</c:v>
                </c:pt>
                <c:pt idx="18">
                  <c:v>0.01705573056872442</c:v>
                </c:pt>
                <c:pt idx="19">
                  <c:v>0.01321743883755958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ve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372093023255813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9612.0</c:v>
                </c:pt>
                <c:pt idx="2">
                  <c:v>13322.0</c:v>
                </c:pt>
                <c:pt idx="3">
                  <c:v>14209.0</c:v>
                </c:pt>
                <c:pt idx="4">
                  <c:v>6198.0</c:v>
                </c:pt>
                <c:pt idx="5">
                  <c:v>6366.25</c:v>
                </c:pt>
                <c:pt idx="6">
                  <c:v>6216.3333</c:v>
                </c:pt>
                <c:pt idx="7">
                  <c:v>6130.0</c:v>
                </c:pt>
                <c:pt idx="8">
                  <c:v>7577.25</c:v>
                </c:pt>
                <c:pt idx="9">
                  <c:v>5610.8889</c:v>
                </c:pt>
                <c:pt idx="10">
                  <c:v>5785.1111</c:v>
                </c:pt>
                <c:pt idx="11">
                  <c:v>6207.75</c:v>
                </c:pt>
                <c:pt idx="12">
                  <c:v>4815.3077</c:v>
                </c:pt>
                <c:pt idx="13">
                  <c:v>4687.0667</c:v>
                </c:pt>
                <c:pt idx="14">
                  <c:v>4610.6471</c:v>
                </c:pt>
                <c:pt idx="15">
                  <c:v>5356.5294</c:v>
                </c:pt>
                <c:pt idx="16">
                  <c:v>5044.3333</c:v>
                </c:pt>
              </c:numCache>
            </c:numRef>
          </c:xVal>
          <c:yVal>
            <c:numRef>
              <c:f>Sheet1!$B$4:$B$20</c:f>
              <c:numCache>
                <c:formatCode>General</c:formatCode>
                <c:ptCount val="17"/>
                <c:pt idx="0">
                  <c:v>0.0</c:v>
                </c:pt>
                <c:pt idx="1">
                  <c:v>0.002512562814070352</c:v>
                </c:pt>
                <c:pt idx="2">
                  <c:v>0.002304147465437788</c:v>
                </c:pt>
                <c:pt idx="3">
                  <c:v>0.002512562814070352</c:v>
                </c:pt>
                <c:pt idx="4">
                  <c:v>0.009433962264150943</c:v>
                </c:pt>
                <c:pt idx="5">
                  <c:v>0.008264462809917356</c:v>
                </c:pt>
                <c:pt idx="6">
                  <c:v>0.0125</c:v>
                </c:pt>
                <c:pt idx="7">
                  <c:v>0.012552301255230125</c:v>
                </c:pt>
                <c:pt idx="8">
                  <c:v>0.006578947368421052</c:v>
                </c:pt>
                <c:pt idx="9">
                  <c:v>0.012987012987012988</c:v>
                </c:pt>
                <c:pt idx="10">
                  <c:v>0.01195219123505976</c:v>
                </c:pt>
                <c:pt idx="11">
                  <c:v>0.011477761836441894</c:v>
                </c:pt>
                <c:pt idx="12">
                  <c:v>0.017857142857142856</c:v>
                </c:pt>
                <c:pt idx="13">
                  <c:v>0.01773049645390071</c:v>
                </c:pt>
                <c:pt idx="14">
                  <c:v>0.019767441860465116</c:v>
                </c:pt>
                <c:pt idx="15">
                  <c:v>0.018579234972677595</c:v>
                </c:pt>
                <c:pt idx="16">
                  <c:v>0.012145748987854251</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1679.313590910697</c:v>
                </c:pt>
              </c:numCache>
            </c:numRef>
          </c:xVal>
          <c:yVal>
            <c:numRef>
              <c:f>Sheet1!$B$23:$B$24</c:f>
              <c:numCache>
                <c:formatCode>General</c:formatCode>
                <c:ptCount val="2"/>
                <c:pt idx="0">
                  <c:v>0.01705573056872442</c:v>
                </c:pt>
                <c:pt idx="1">
                  <c:v>0.01705573056872442</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1679.313590910697</c:v>
                </c:pt>
                <c:pt idx="1">
                  <c:v>-1679.313590910697</c:v>
                </c:pt>
              </c:numCache>
            </c:numRef>
          </c:xVal>
          <c:yVal>
            <c:numRef>
              <c:f>Sheet1!$B$27:$B$28</c:f>
              <c:numCache>
                <c:formatCode>General</c:formatCode>
                <c:ptCount val="2"/>
                <c:pt idx="0">
                  <c:v>0.0170557305687244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1679.313590910697</c:v>
                </c:pt>
              </c:numCache>
            </c:numRef>
          </c:xVal>
          <c:yVal>
            <c:numRef>
              <c:f>Sheet1!$B$31:$B$32</c:f>
              <c:numCache>
                <c:formatCode>General</c:formatCode>
                <c:ptCount val="2"/>
                <c:pt idx="0">
                  <c:v>0.01705573056872442</c:v>
                </c:pt>
                <c:pt idx="1">
                  <c:v>0.01705573056872442</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1679.313590910697</c:v>
                </c:pt>
                <c:pt idx="1">
                  <c:v>-1679.313590910697</c:v>
                </c:pt>
              </c:numCache>
            </c:numRef>
          </c:xVal>
          <c:yVal>
            <c:numRef>
              <c:f>Sheet1!$B$35:$B$36</c:f>
              <c:numCache>
                <c:formatCode>General</c:formatCode>
                <c:ptCount val="2"/>
                <c:pt idx="0">
                  <c:v>0.0170557305687244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3181.1705184121834</c:v>
                </c:pt>
              </c:numCache>
            </c:numRef>
          </c:xVal>
          <c:yVal>
            <c:numRef>
              <c:f>Sheet1!$B$39:$B$40</c:f>
              <c:numCache>
                <c:formatCode>General</c:formatCode>
                <c:ptCount val="2"/>
                <c:pt idx="0">
                  <c:v>0.013217438837559587</c:v>
                </c:pt>
                <c:pt idx="1">
                  <c:v>0.013217438837559587</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3181.1705184121834</c:v>
                </c:pt>
                <c:pt idx="1">
                  <c:v>3181.1705184121834</c:v>
                </c:pt>
              </c:numCache>
            </c:numRef>
          </c:xVal>
          <c:yVal>
            <c:numRef>
              <c:f>Sheet1!$B$43:$B$44</c:f>
              <c:numCache>
                <c:formatCode>General</c:formatCode>
                <c:ptCount val="2"/>
                <c:pt idx="0">
                  <c:v>0.01321743883755958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9612.0</c:v>
                </c:pt>
                <c:pt idx="2">
                  <c:v>13322.0</c:v>
                </c:pt>
                <c:pt idx="3">
                  <c:v>14209.0</c:v>
                </c:pt>
                <c:pt idx="4">
                  <c:v>6198.0</c:v>
                </c:pt>
                <c:pt idx="5">
                  <c:v>6366.25</c:v>
                </c:pt>
                <c:pt idx="6">
                  <c:v>6216.3333</c:v>
                </c:pt>
                <c:pt idx="7">
                  <c:v>6130.0</c:v>
                </c:pt>
                <c:pt idx="8">
                  <c:v>7577.25</c:v>
                </c:pt>
                <c:pt idx="9">
                  <c:v>5610.8889</c:v>
                </c:pt>
                <c:pt idx="10">
                  <c:v>5785.1111</c:v>
                </c:pt>
                <c:pt idx="11">
                  <c:v>6207.75</c:v>
                </c:pt>
                <c:pt idx="12">
                  <c:v>4815.3077</c:v>
                </c:pt>
                <c:pt idx="13">
                  <c:v>4687.0667</c:v>
                </c:pt>
                <c:pt idx="14">
                  <c:v>4610.6471</c:v>
                </c:pt>
                <c:pt idx="15">
                  <c:v>5356.5294</c:v>
                </c:pt>
                <c:pt idx="16">
                  <c:v>5044.3333</c:v>
                </c:pt>
                <c:pt idx="17">
                  <c:v>-1679.313590910697</c:v>
                </c:pt>
                <c:pt idx="18">
                  <c:v>-1679.313590910697</c:v>
                </c:pt>
                <c:pt idx="19">
                  <c:v>3181.1705184121834</c:v>
                </c:pt>
              </c:numCache>
            </c:numRef>
          </c:xVal>
          <c:yVal>
            <c:numRef>
              <c:f>Sheet1!$B$47:$B$66</c:f>
              <c:numCache>
                <c:formatCode>General</c:formatCode>
                <c:ptCount val="20"/>
                <c:pt idx="0">
                  <c:v>0.01572958787901543</c:v>
                </c:pt>
                <c:pt idx="1">
                  <c:v>0.008139055888757352</c:v>
                </c:pt>
                <c:pt idx="2">
                  <c:v>0.0052092937493631065</c:v>
                </c:pt>
                <c:pt idx="3">
                  <c:v>0.0045088357931251846</c:v>
                </c:pt>
                <c:pt idx="4">
                  <c:v>0.010835068811639278</c:v>
                </c:pt>
                <c:pt idx="5">
                  <c:v>0.0107022029140778</c:v>
                </c:pt>
                <c:pt idx="6">
                  <c:v>0.010820591127480206</c:v>
                </c:pt>
                <c:pt idx="7">
                  <c:v>0.010888767955973188</c:v>
                </c:pt>
                <c:pt idx="8">
                  <c:v>0.009745884328954773</c:v>
                </c:pt>
                <c:pt idx="9">
                  <c:v>0.011298706513094293</c:v>
                </c:pt>
                <c:pt idx="10">
                  <c:v>0.01116112440921236</c:v>
                </c:pt>
                <c:pt idx="11">
                  <c:v>0.010827369301973755</c:v>
                </c:pt>
                <c:pt idx="12">
                  <c:v>0.011926971655567026</c:v>
                </c:pt>
                <c:pt idx="13">
                  <c:v>0.01202824271392769</c:v>
                </c:pt>
                <c:pt idx="14">
                  <c:v>0.012088590759962096</c:v>
                </c:pt>
                <c:pt idx="15">
                  <c:v>0.011499572505788432</c:v>
                </c:pt>
                <c:pt idx="16">
                  <c:v>0.011746111673941136</c:v>
                </c:pt>
                <c:pt idx="17">
                  <c:v>0.01705573056872442</c:v>
                </c:pt>
                <c:pt idx="18">
                  <c:v>0.01705573056872442</c:v>
                </c:pt>
                <c:pt idx="19">
                  <c:v>0.01321743883755958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5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372093023255813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57614604287087</c:v>
                </c:pt>
                <c:pt idx="1">
                  <c:v>0.7718463184628641</c:v>
                </c:pt>
                <c:pt idx="2">
                  <c:v>0.7468795090208343</c:v>
                </c:pt>
                <c:pt idx="3">
                  <c:v>0.7537076383352466</c:v>
                </c:pt>
                <c:pt idx="4">
                  <c:v>0.7252625272411932</c:v>
                </c:pt>
                <c:pt idx="5">
                  <c:v>0.7294850259065987</c:v>
                </c:pt>
                <c:pt idx="6">
                  <c:v>0.7095456133390826</c:v>
                </c:pt>
                <c:pt idx="7">
                  <c:v>0.7017542668556643</c:v>
                </c:pt>
                <c:pt idx="8">
                  <c:v>0.7164250858961206</c:v>
                </c:pt>
                <c:pt idx="9">
                  <c:v>0.7448748614736717</c:v>
                </c:pt>
                <c:pt idx="10">
                  <c:v>0.7604911910148736</c:v>
                </c:pt>
                <c:pt idx="11">
                  <c:v>0.8004122135597633</c:v>
                </c:pt>
                <c:pt idx="12">
                  <c:v>0.8220582510987647</c:v>
                </c:pt>
                <c:pt idx="13">
                  <c:v>0.839277590468249</c:v>
                </c:pt>
                <c:pt idx="14">
                  <c:v>0.856931244097321</c:v>
                </c:pt>
                <c:pt idx="15">
                  <c:v>0.8764060184289675</c:v>
                </c:pt>
                <c:pt idx="16">
                  <c:v>0.878008990191441</c:v>
                </c:pt>
                <c:pt idx="17">
                  <c:v>0.8784349850566388</c:v>
                </c:pt>
                <c:pt idx="18">
                  <c:v>0.9191531207302862</c:v>
                </c:pt>
                <c:pt idx="19">
                  <c:v>0.9242996693406978</c:v>
                </c:pt>
                <c:pt idx="20">
                  <c:v>0.9351772668937005</c:v>
                </c:pt>
                <c:pt idx="21">
                  <c:v>0.8553823759392478</c:v>
                </c:pt>
                <c:pt idx="22">
                  <c:v>0.8138028037211337</c:v>
                </c:pt>
                <c:pt idx="23">
                  <c:v>0.7993269002479017</c:v>
                </c:pt>
                <c:pt idx="24">
                  <c:v>0.7965982833388356</c:v>
                </c:pt>
                <c:pt idx="25">
                  <c:v>0.7777548227303822</c:v>
                </c:pt>
                <c:pt idx="26">
                  <c:v>0.7727489713370032</c:v>
                </c:pt>
                <c:pt idx="27">
                  <c:v>0.7905042391320264</c:v>
                </c:pt>
                <c:pt idx="28">
                  <c:v>0.7754789407216518</c:v>
                </c:pt>
                <c:pt idx="29">
                  <c:v>0.763261577387078</c:v>
                </c:pt>
                <c:pt idx="30">
                  <c:v>0.7648624836217622</c:v>
                </c:pt>
                <c:pt idx="31">
                  <c:v>0.7687042843075461</c:v>
                </c:pt>
                <c:pt idx="32">
                  <c:v>0.7507649079217676</c:v>
                </c:pt>
                <c:pt idx="33">
                  <c:v>0.7325228056486547</c:v>
                </c:pt>
                <c:pt idx="34">
                  <c:v>0.7750429201089257</c:v>
                </c:pt>
                <c:pt idx="35">
                  <c:v>0.8150165612058027</c:v>
                </c:pt>
                <c:pt idx="36">
                  <c:v>0.8806483577944899</c:v>
                </c:pt>
                <c:pt idx="37">
                  <c:v>0.8885004860187465</c:v>
                </c:pt>
                <c:pt idx="38">
                  <c:v>0.9250303146770236</c:v>
                </c:pt>
                <c:pt idx="39">
                  <c:v>0.9660416452340085</c:v>
                </c:pt>
                <c:pt idx="40">
                  <c:v>0.926317653853477</c:v>
                </c:pt>
                <c:pt idx="41">
                  <c:v>0.9350592777328015</c:v>
                </c:pt>
                <c:pt idx="42">
                  <c:v>0.9323823784020319</c:v>
                </c:pt>
                <c:pt idx="43">
                  <c:v>0.9302846396327361</c:v>
                </c:pt>
                <c:pt idx="44">
                  <c:v>0.936809118154093</c:v>
                </c:pt>
                <c:pt idx="45">
                  <c:v>0.9236104565804868</c:v>
                </c:pt>
                <c:pt idx="46">
                  <c:v>0.9279543554841801</c:v>
                </c:pt>
                <c:pt idx="47">
                  <c:v>0.9495217176605502</c:v>
                </c:pt>
                <c:pt idx="48">
                  <c:v>0.9214223683690089</c:v>
                </c:pt>
                <c:pt idx="49">
                  <c:v>0.8701286428444286</c:v>
                </c:pt>
                <c:pt idx="50">
                  <c:v>0.8712332380397492</c:v>
                </c:pt>
                <c:pt idx="51">
                  <c:v>0.8688500265951598</c:v>
                </c:pt>
                <c:pt idx="52">
                  <c:v>0.8468007117579385</c:v>
                </c:pt>
                <c:pt idx="53">
                  <c:v>0.8601009440695869</c:v>
                </c:pt>
                <c:pt idx="54">
                  <c:v>0.8361191196865966</c:v>
                </c:pt>
                <c:pt idx="55">
                  <c:v>0.8633653947523998</c:v>
                </c:pt>
                <c:pt idx="56">
                  <c:v>0.8438780810906311</c:v>
                </c:pt>
                <c:pt idx="57">
                  <c:v>0.8388758004270573</c:v>
                </c:pt>
                <c:pt idx="58">
                  <c:v>0.8278966404874669</c:v>
                </c:pt>
                <c:pt idx="59">
                  <c:v>0.813595414703037</c:v>
                </c:pt>
                <c:pt idx="60">
                  <c:v>0.81600565650064</c:v>
                </c:pt>
                <c:pt idx="61">
                  <c:v>0.8838900835185757</c:v>
                </c:pt>
                <c:pt idx="62">
                  <c:v>0.8779025625091605</c:v>
                </c:pt>
                <c:pt idx="63">
                  <c:v>0.8884213031363721</c:v>
                </c:pt>
                <c:pt idx="64">
                  <c:v>0.9275075500855714</c:v>
                </c:pt>
                <c:pt idx="65">
                  <c:v>0.9071951556154116</c:v>
                </c:pt>
                <c:pt idx="66">
                  <c:v>0.9247347244214816</c:v>
                </c:pt>
                <c:pt idx="67">
                  <c:v>0.9646191603209786</c:v>
                </c:pt>
                <c:pt idx="68">
                  <c:v>0.9956598011525961</c:v>
                </c:pt>
                <c:pt idx="69">
                  <c:v>1.0205950858730273</c:v>
                </c:pt>
                <c:pt idx="70">
                  <c:v>0.9875111586092142</c:v>
                </c:pt>
                <c:pt idx="71">
                  <c:v>0.9482028713355845</c:v>
                </c:pt>
                <c:pt idx="72">
                  <c:v>1.0467701313953997</c:v>
                </c:pt>
                <c:pt idx="73">
                  <c:v>0.968210382883779</c:v>
                </c:pt>
                <c:pt idx="74">
                  <c:v>0.9555466677036366</c:v>
                </c:pt>
                <c:pt idx="75">
                  <c:v>0.922415122853225</c:v>
                </c:pt>
                <c:pt idx="76">
                  <c:v>0.8968796877991875</c:v>
                </c:pt>
                <c:pt idx="77">
                  <c:v>0.9197311267763535</c:v>
                </c:pt>
                <c:pt idx="78">
                  <c:v>0.9554606467358145</c:v>
                </c:pt>
                <c:pt idx="79">
                  <c:v>0.953781727012814</c:v>
                </c:pt>
                <c:pt idx="80">
                  <c:v>0.9972290682578446</c:v>
                </c:pt>
                <c:pt idx="81">
                  <c:v>0.9711179322776844</c:v>
                </c:pt>
                <c:pt idx="82">
                  <c:v>0.9756490843955964</c:v>
                </c:pt>
                <c:pt idx="83">
                  <c:v>0.9538878653538952</c:v>
                </c:pt>
                <c:pt idx="84">
                  <c:v>0.9828196136156864</c:v>
                </c:pt>
                <c:pt idx="85">
                  <c:v>0.95287489503126</c:v>
                </c:pt>
                <c:pt idx="86">
                  <c:v>0.9699690165789154</c:v>
                </c:pt>
                <c:pt idx="87">
                  <c:v>0.9553554389802671</c:v>
                </c:pt>
                <c:pt idx="88">
                  <c:v>0.9417138079848703</c:v>
                </c:pt>
                <c:pt idx="89">
                  <c:v>0.9384227457117594</c:v>
                </c:pt>
                <c:pt idx="90">
                  <c:v>0.9628627752063337</c:v>
                </c:pt>
                <c:pt idx="91">
                  <c:v>0.9740651402979353</c:v>
                </c:pt>
                <c:pt idx="92">
                  <c:v>0.9628375979271475</c:v>
                </c:pt>
                <c:pt idx="93">
                  <c:v>0.9564436572816729</c:v>
                </c:pt>
                <c:pt idx="94">
                  <c:v>0.9923304282734573</c:v>
                </c:pt>
                <c:pt idx="95">
                  <c:v>0.9765843388795983</c:v>
                </c:pt>
                <c:pt idx="96">
                  <c:v>0.9644442424125372</c:v>
                </c:pt>
                <c:pt idx="97">
                  <c:v>0.9975569180196072</c:v>
                </c:pt>
                <c:pt idx="98">
                  <c:v>0.9763376745260188</c:v>
                </c:pt>
                <c:pt idx="99">
                  <c:v>0.9561404573536698</c:v>
                </c:pt>
                <c:pt idx="100">
                  <c:v>0.9027398603037907</c:v>
                </c:pt>
                <c:pt idx="101">
                  <c:v>0.8872014243515582</c:v>
                </c:pt>
                <c:pt idx="102">
                  <c:v>0.8866565433223051</c:v>
                </c:pt>
                <c:pt idx="103">
                  <c:v>0.8926872533229702</c:v>
                </c:pt>
                <c:pt idx="104">
                  <c:v>0.8825575040007096</c:v>
                </c:pt>
              </c:numCache>
            </c:numRef>
          </c:xVal>
          <c:yVal>
            <c:numRef>
              <c:f>Sheet1!$B$2:$B$106</c:f>
              <c:numCache>
                <c:formatCode>General</c:formatCode>
                <c:ptCount val="105"/>
                <c:pt idx="0">
                  <c:v>0.4239107556303936</c:v>
                </c:pt>
                <c:pt idx="1">
                  <c:v>0.4512462450271982</c:v>
                </c:pt>
                <c:pt idx="2">
                  <c:v>0.4753843637553157</c:v>
                </c:pt>
                <c:pt idx="3">
                  <c:v>0.4804006968641115</c:v>
                </c:pt>
                <c:pt idx="4">
                  <c:v>0.4858619344773791</c:v>
                </c:pt>
                <c:pt idx="5">
                  <c:v>0.46897702729236207</c:v>
                </c:pt>
                <c:pt idx="6">
                  <c:v>0.4864984115778327</c:v>
                </c:pt>
                <c:pt idx="7">
                  <c:v>0.5017370249499947</c:v>
                </c:pt>
                <c:pt idx="8">
                  <c:v>0.4819883937369977</c:v>
                </c:pt>
                <c:pt idx="9">
                  <c:v>0.47369289130793335</c:v>
                </c:pt>
                <c:pt idx="10">
                  <c:v>0.45149223387818166</c:v>
                </c:pt>
                <c:pt idx="11">
                  <c:v>0.4095262096774194</c:v>
                </c:pt>
                <c:pt idx="12">
                  <c:v>0.38759749197124943</c:v>
                </c:pt>
                <c:pt idx="13">
                  <c:v>0.3695235049568276</c:v>
                </c:pt>
                <c:pt idx="14">
                  <c:v>0.34246018849528764</c:v>
                </c:pt>
                <c:pt idx="15">
                  <c:v>0.34064755217476106</c:v>
                </c:pt>
                <c:pt idx="16">
                  <c:v>0.3369942844334865</c:v>
                </c:pt>
                <c:pt idx="17">
                  <c:v>0.3341232227488152</c:v>
                </c:pt>
                <c:pt idx="18">
                  <c:v>0.32799313402946645</c:v>
                </c:pt>
                <c:pt idx="19">
                  <c:v>0.3379831932773109</c:v>
                </c:pt>
                <c:pt idx="20">
                  <c:v>0.34795986622073577</c:v>
                </c:pt>
                <c:pt idx="21">
                  <c:v>0.3787775891341256</c:v>
                </c:pt>
                <c:pt idx="22">
                  <c:v>0.41098169717138106</c:v>
                </c:pt>
                <c:pt idx="23">
                  <c:v>0.4266851980542043</c:v>
                </c:pt>
                <c:pt idx="24">
                  <c:v>0.4353413654618474</c:v>
                </c:pt>
                <c:pt idx="25">
                  <c:v>0.43551027833363654</c:v>
                </c:pt>
                <c:pt idx="26">
                  <c:v>0.43415826458906204</c:v>
                </c:pt>
                <c:pt idx="27">
                  <c:v>0.43204599056603776</c:v>
                </c:pt>
                <c:pt idx="28">
                  <c:v>0.42945163277880466</c:v>
                </c:pt>
                <c:pt idx="29">
                  <c:v>0.42727522683530383</c:v>
                </c:pt>
                <c:pt idx="30">
                  <c:v>0.4351931330472103</c:v>
                </c:pt>
                <c:pt idx="31">
                  <c:v>0.43981327109036344</c:v>
                </c:pt>
                <c:pt idx="32">
                  <c:v>0.45374449339207046</c:v>
                </c:pt>
                <c:pt idx="33">
                  <c:v>0.45726610946346724</c:v>
                </c:pt>
                <c:pt idx="34">
                  <c:v>0.4426210562810586</c:v>
                </c:pt>
                <c:pt idx="35">
                  <c:v>0.4407240667792159</c:v>
                </c:pt>
                <c:pt idx="36">
                  <c:v>0.4074610648315828</c:v>
                </c:pt>
                <c:pt idx="37">
                  <c:v>0.4107889802394346</c:v>
                </c:pt>
                <c:pt idx="38">
                  <c:v>0.39714285714285713</c:v>
                </c:pt>
                <c:pt idx="39">
                  <c:v>0.38832208444514205</c:v>
                </c:pt>
                <c:pt idx="40">
                  <c:v>0.39433745695702077</c:v>
                </c:pt>
                <c:pt idx="41">
                  <c:v>0.3854439592430859</c:v>
                </c:pt>
                <c:pt idx="42">
                  <c:v>0.3819291819291819</c:v>
                </c:pt>
                <c:pt idx="43">
                  <c:v>0.376271186440678</c:v>
                </c:pt>
                <c:pt idx="44">
                  <c:v>0.36918229987111556</c:v>
                </c:pt>
                <c:pt idx="45">
                  <c:v>0.37949891898766375</c:v>
                </c:pt>
                <c:pt idx="46">
                  <c:v>0.3818250046907249</c:v>
                </c:pt>
                <c:pt idx="47">
                  <c:v>0.37446509548444784</c:v>
                </c:pt>
                <c:pt idx="48">
                  <c:v>0.3740657698056801</c:v>
                </c:pt>
                <c:pt idx="49">
                  <c:v>0.3957670273711012</c:v>
                </c:pt>
                <c:pt idx="50">
                  <c:v>0.3829800307219662</c:v>
                </c:pt>
                <c:pt idx="51">
                  <c:v>0.38265905000391265</c:v>
                </c:pt>
                <c:pt idx="52">
                  <c:v>0.38758292007470857</c:v>
                </c:pt>
                <c:pt idx="53">
                  <c:v>0.3900463939266132</c:v>
                </c:pt>
                <c:pt idx="54">
                  <c:v>0.4068548767821735</c:v>
                </c:pt>
                <c:pt idx="55">
                  <c:v>0.40231000679413764</c:v>
                </c:pt>
                <c:pt idx="56">
                  <c:v>0.40492992744260015</c:v>
                </c:pt>
                <c:pt idx="57">
                  <c:v>0.4032900432900433</c:v>
                </c:pt>
                <c:pt idx="58">
                  <c:v>0.40355446606404166</c:v>
                </c:pt>
                <c:pt idx="59">
                  <c:v>0.4095966279468706</c:v>
                </c:pt>
                <c:pt idx="60">
                  <c:v>0.41369964927197367</c:v>
                </c:pt>
                <c:pt idx="61">
                  <c:v>0.4078808843435103</c:v>
                </c:pt>
                <c:pt idx="62">
                  <c:v>0.42490685010031526</c:v>
                </c:pt>
                <c:pt idx="63">
                  <c:v>0.4329307464987794</c:v>
                </c:pt>
                <c:pt idx="64">
                  <c:v>0.40296859666339546</c:v>
                </c:pt>
                <c:pt idx="65">
                  <c:v>0.3858246556936513</c:v>
                </c:pt>
                <c:pt idx="66">
                  <c:v>0.3937115026500501</c:v>
                </c:pt>
                <c:pt idx="67">
                  <c:v>0.3806010298977788</c:v>
                </c:pt>
                <c:pt idx="68">
                  <c:v>0.3738595985786997</c:v>
                </c:pt>
                <c:pt idx="69">
                  <c:v>0.3586266948625451</c:v>
                </c:pt>
                <c:pt idx="70">
                  <c:v>0.35929799254718114</c:v>
                </c:pt>
                <c:pt idx="71">
                  <c:v>0.3719270420301348</c:v>
                </c:pt>
                <c:pt idx="72">
                  <c:v>0.36006764101944677</c:v>
                </c:pt>
                <c:pt idx="73">
                  <c:v>0.37508205330182487</c:v>
                </c:pt>
                <c:pt idx="74">
                  <c:v>0.3689893283113622</c:v>
                </c:pt>
                <c:pt idx="75">
                  <c:v>0.3894919669995658</c:v>
                </c:pt>
                <c:pt idx="76">
                  <c:v>0.38619084561675715</c:v>
                </c:pt>
                <c:pt idx="77">
                  <c:v>0.3844660194174757</c:v>
                </c:pt>
                <c:pt idx="78">
                  <c:v>0.3721391241665165</c:v>
                </c:pt>
                <c:pt idx="79">
                  <c:v>0.3736413043478261</c:v>
                </c:pt>
                <c:pt idx="80">
                  <c:v>0.3575949367088608</c:v>
                </c:pt>
                <c:pt idx="81">
                  <c:v>0.36902301226402096</c:v>
                </c:pt>
                <c:pt idx="82">
                  <c:v>0.3699607563325009</c:v>
                </c:pt>
                <c:pt idx="83">
                  <c:v>0.3690276613579212</c:v>
                </c:pt>
                <c:pt idx="84">
                  <c:v>0.36804832326598624</c:v>
                </c:pt>
                <c:pt idx="85">
                  <c:v>0.3832346410066617</c:v>
                </c:pt>
                <c:pt idx="86">
                  <c:v>0.37422092560668346</c:v>
                </c:pt>
                <c:pt idx="87">
                  <c:v>0.38972738972738974</c:v>
                </c:pt>
                <c:pt idx="88">
                  <c:v>0.38807325563795975</c:v>
                </c:pt>
                <c:pt idx="89">
                  <c:v>0.38534528202424884</c:v>
                </c:pt>
                <c:pt idx="90">
                  <c:v>0.3770341927226184</c:v>
                </c:pt>
                <c:pt idx="91">
                  <c:v>0.3520099608680185</c:v>
                </c:pt>
                <c:pt idx="92">
                  <c:v>0.3580113482842475</c:v>
                </c:pt>
                <c:pt idx="93">
                  <c:v>0.3381950774840474</c:v>
                </c:pt>
                <c:pt idx="94">
                  <c:v>0.34188157326033713</c:v>
                </c:pt>
                <c:pt idx="95">
                  <c:v>0.3420349434737924</c:v>
                </c:pt>
                <c:pt idx="96">
                  <c:v>0.3489128827096583</c:v>
                </c:pt>
                <c:pt idx="97">
                  <c:v>0.35034832172260927</c:v>
                </c:pt>
                <c:pt idx="98">
                  <c:v>0.36162021472725303</c:v>
                </c:pt>
                <c:pt idx="99">
                  <c:v>0.3682985896766228</c:v>
                </c:pt>
                <c:pt idx="100">
                  <c:v>0.3678157019746217</c:v>
                </c:pt>
                <c:pt idx="101">
                  <c:v>0.3711527954835185</c:v>
                </c:pt>
                <c:pt idx="102">
                  <c:v>0.3555750658472344</c:v>
                </c:pt>
                <c:pt idx="103">
                  <c:v>0.3484848484848485</c:v>
                </c:pt>
                <c:pt idx="104">
                  <c:v>0.3540372670807453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806382495913433</c:v>
                </c:pt>
                <c:pt idx="1">
                  <c:v>0.8448610539551131</c:v>
                </c:pt>
                <c:pt idx="2">
                  <c:v>0.8636178192297651</c:v>
                </c:pt>
                <c:pt idx="3">
                  <c:v>0.8469114631466416</c:v>
                </c:pt>
                <c:pt idx="4">
                  <c:v>0.8593221771299024</c:v>
                </c:pt>
                <c:pt idx="5">
                  <c:v>0.8693703737643543</c:v>
                </c:pt>
                <c:pt idx="6">
                  <c:v>0.8645289055882943</c:v>
                </c:pt>
                <c:pt idx="7">
                  <c:v>0.9032998953319261</c:v>
                </c:pt>
                <c:pt idx="8">
                  <c:v>0.9099680955526466</c:v>
                </c:pt>
                <c:pt idx="9">
                  <c:v>0.8680266102466465</c:v>
                </c:pt>
                <c:pt idx="10">
                  <c:v>0.899346191989554</c:v>
                </c:pt>
                <c:pt idx="11">
                  <c:v>0.8710840757326129</c:v>
                </c:pt>
                <c:pt idx="12">
                  <c:v>0.8819543334115024</c:v>
                </c:pt>
                <c:pt idx="13">
                  <c:v>0.8567387511142109</c:v>
                </c:pt>
                <c:pt idx="14">
                  <c:v>0.8665115121689788</c:v>
                </c:pt>
                <c:pt idx="15">
                  <c:v>0.864003174015931</c:v>
                </c:pt>
                <c:pt idx="16">
                  <c:v>0.9111386555177733</c:v>
                </c:pt>
                <c:pt idx="17">
                  <c:v>0.9040432528590386</c:v>
                </c:pt>
                <c:pt idx="18">
                  <c:v>0.9255875685207178</c:v>
                </c:pt>
                <c:pt idx="19">
                  <c:v>0.9160790251363264</c:v>
                </c:pt>
                <c:pt idx="20">
                  <c:v>0.8743238727760274</c:v>
                </c:pt>
                <c:pt idx="21">
                  <c:v>0.8260901862934067</c:v>
                </c:pt>
                <c:pt idx="22">
                  <c:v>0.8600074377683731</c:v>
                </c:pt>
                <c:pt idx="23">
                  <c:v>0.8278305833747791</c:v>
                </c:pt>
                <c:pt idx="24">
                  <c:v>0.8239739181742506</c:v>
                </c:pt>
                <c:pt idx="25">
                  <c:v>0.8692912424037937</c:v>
                </c:pt>
                <c:pt idx="26">
                  <c:v>0.9035938298829532</c:v>
                </c:pt>
                <c:pt idx="27">
                  <c:v>0.930333245614503</c:v>
                </c:pt>
                <c:pt idx="28">
                  <c:v>0.9357360190278653</c:v>
                </c:pt>
                <c:pt idx="29">
                  <c:v>0.9227592915394744</c:v>
                </c:pt>
                <c:pt idx="30">
                  <c:v>0.8948247603960517</c:v>
                </c:pt>
                <c:pt idx="31">
                  <c:v>0.8952529195987926</c:v>
                </c:pt>
                <c:pt idx="32">
                  <c:v>0.9024983000637363</c:v>
                </c:pt>
                <c:pt idx="33">
                  <c:v>0.9115514377345877</c:v>
                </c:pt>
                <c:pt idx="34">
                  <c:v>0.9145863535460189</c:v>
                </c:pt>
                <c:pt idx="35">
                  <c:v>0.9122246206224283</c:v>
                </c:pt>
                <c:pt idx="36">
                  <c:v>0.8915871928872283</c:v>
                </c:pt>
                <c:pt idx="37">
                  <c:v>0.875739361060113</c:v>
                </c:pt>
                <c:pt idx="38">
                  <c:v>0.9018488476609847</c:v>
                </c:pt>
                <c:pt idx="39">
                  <c:v>0.923607758911781</c:v>
                </c:pt>
                <c:pt idx="40">
                  <c:v>0.9500319567896616</c:v>
                </c:pt>
                <c:pt idx="41">
                  <c:v>0.9651177123135709</c:v>
                </c:pt>
                <c:pt idx="42">
                  <c:v>0.9284541734651489</c:v>
                </c:pt>
                <c:pt idx="43">
                  <c:v>0.9629660724630104</c:v>
                </c:pt>
                <c:pt idx="44">
                  <c:v>0.9676408176888722</c:v>
                </c:pt>
                <c:pt idx="45">
                  <c:v>0.9409742723973074</c:v>
                </c:pt>
                <c:pt idx="46">
                  <c:v>0.9304478166832167</c:v>
                </c:pt>
                <c:pt idx="47">
                  <c:v>0.9304771247803073</c:v>
                </c:pt>
                <c:pt idx="48">
                  <c:v>0.9686320522398987</c:v>
                </c:pt>
                <c:pt idx="49">
                  <c:v>0.9767432429069952</c:v>
                </c:pt>
                <c:pt idx="50">
                  <c:v>0.9091941529965688</c:v>
                </c:pt>
                <c:pt idx="51">
                  <c:v>0.919084010487614</c:v>
                </c:pt>
              </c:numCache>
            </c:numRef>
          </c:xVal>
          <c:yVal>
            <c:numRef>
              <c:f>Sheet1!$B$109:$B$160</c:f>
              <c:numCache>
                <c:formatCode>General</c:formatCode>
                <c:ptCount val="52"/>
                <c:pt idx="0">
                  <c:v>0.37497133246693676</c:v>
                </c:pt>
                <c:pt idx="1">
                  <c:v>0.3773307163886163</c:v>
                </c:pt>
                <c:pt idx="2">
                  <c:v>0.38332150461320086</c:v>
                </c:pt>
                <c:pt idx="3">
                  <c:v>0.3962141931769109</c:v>
                </c:pt>
                <c:pt idx="4">
                  <c:v>0.3872872258856004</c:v>
                </c:pt>
                <c:pt idx="5">
                  <c:v>0.37981790591805764</c:v>
                </c:pt>
                <c:pt idx="6">
                  <c:v>0.3899407428819194</c:v>
                </c:pt>
                <c:pt idx="7">
                  <c:v>0.3738589627846324</c:v>
                </c:pt>
                <c:pt idx="8">
                  <c:v>0.37846326416152554</c:v>
                </c:pt>
                <c:pt idx="9">
                  <c:v>0.3818398096748612</c:v>
                </c:pt>
                <c:pt idx="10">
                  <c:v>0.37817380473316087</c:v>
                </c:pt>
                <c:pt idx="11">
                  <c:v>0.3849095966620306</c:v>
                </c:pt>
                <c:pt idx="12">
                  <c:v>0.38493856520015857</c:v>
                </c:pt>
                <c:pt idx="13">
                  <c:v>0.39378934116659675</c:v>
                </c:pt>
                <c:pt idx="14">
                  <c:v>0.3924946456839557</c:v>
                </c:pt>
                <c:pt idx="15">
                  <c:v>0.3900994075710413</c:v>
                </c:pt>
                <c:pt idx="16">
                  <c:v>0.37129760225669955</c:v>
                </c:pt>
                <c:pt idx="17">
                  <c:v>0.36655281776042936</c:v>
                </c:pt>
                <c:pt idx="18">
                  <c:v>0.3758927270077248</c:v>
                </c:pt>
                <c:pt idx="19">
                  <c:v>0.37719772788747635</c:v>
                </c:pt>
                <c:pt idx="20">
                  <c:v>0.3799126637554585</c:v>
                </c:pt>
                <c:pt idx="21">
                  <c:v>0.39872825883673085</c:v>
                </c:pt>
                <c:pt idx="22">
                  <c:v>0.38453038674033146</c:v>
                </c:pt>
                <c:pt idx="23">
                  <c:v>0.3996343692870201</c:v>
                </c:pt>
                <c:pt idx="24">
                  <c:v>0.4043537881384985</c:v>
                </c:pt>
                <c:pt idx="25">
                  <c:v>0.3878340365682138</c:v>
                </c:pt>
                <c:pt idx="26">
                  <c:v>0.3788494077834179</c:v>
                </c:pt>
                <c:pt idx="27">
                  <c:v>0.36995550099739144</c:v>
                </c:pt>
                <c:pt idx="28">
                  <c:v>0.36761519572439694</c:v>
                </c:pt>
                <c:pt idx="29">
                  <c:v>0.37344761238411756</c:v>
                </c:pt>
                <c:pt idx="30">
                  <c:v>0.375846099038119</c:v>
                </c:pt>
                <c:pt idx="31">
                  <c:v>0.3678982916170044</c:v>
                </c:pt>
                <c:pt idx="32">
                  <c:v>0.3681654676258993</c:v>
                </c:pt>
                <c:pt idx="33">
                  <c:v>0.36993243243243246</c:v>
                </c:pt>
                <c:pt idx="34">
                  <c:v>0.38923351908316683</c:v>
                </c:pt>
                <c:pt idx="35">
                  <c:v>0.3751405371642723</c:v>
                </c:pt>
                <c:pt idx="36">
                  <c:v>0.37576914916189263</c:v>
                </c:pt>
                <c:pt idx="37">
                  <c:v>0.3866439005881237</c:v>
                </c:pt>
                <c:pt idx="38">
                  <c:v>0.38306716254648876</c:v>
                </c:pt>
                <c:pt idx="39">
                  <c:v>0.38282227784730916</c:v>
                </c:pt>
                <c:pt idx="40">
                  <c:v>0.37203206907184705</c:v>
                </c:pt>
                <c:pt idx="41">
                  <c:v>0.3687472971024939</c:v>
                </c:pt>
                <c:pt idx="42">
                  <c:v>0.3794006877353856</c:v>
                </c:pt>
                <c:pt idx="43">
                  <c:v>0.37003058103975534</c:v>
                </c:pt>
                <c:pt idx="44">
                  <c:v>0.3628257207965917</c:v>
                </c:pt>
                <c:pt idx="45">
                  <c:v>0.37526546793147386</c:v>
                </c:pt>
                <c:pt idx="46">
                  <c:v>0.38572265461544897</c:v>
                </c:pt>
                <c:pt idx="47">
                  <c:v>0.3863967487155893</c:v>
                </c:pt>
                <c:pt idx="48">
                  <c:v>0.36995686374016745</c:v>
                </c:pt>
                <c:pt idx="49">
                  <c:v>0.38308429337287553</c:v>
                </c:pt>
                <c:pt idx="50">
                  <c:v>0.3921795206321989</c:v>
                </c:pt>
                <c:pt idx="51">
                  <c:v>0.392361809045226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4287891284740596</c:v>
                </c:pt>
              </c:numCache>
            </c:numRef>
          </c:xVal>
          <c:yVal>
            <c:numRef>
              <c:f>Sheet1!$B$163:$B$164</c:f>
              <c:numCache>
                <c:formatCode>General</c:formatCode>
                <c:ptCount val="2"/>
                <c:pt idx="0">
                  <c:v>0.47288942814573165</c:v>
                </c:pt>
                <c:pt idx="1">
                  <c:v>0.4728894281457316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4287891284740596</c:v>
                </c:pt>
                <c:pt idx="1">
                  <c:v>0.34287891284740596</c:v>
                </c:pt>
              </c:numCache>
            </c:numRef>
          </c:xVal>
          <c:yVal>
            <c:numRef>
              <c:f>Sheet1!$B$167:$B$168</c:f>
              <c:numCache>
                <c:formatCode>General</c:formatCode>
                <c:ptCount val="2"/>
                <c:pt idx="0">
                  <c:v>0.4728894281457316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767562708375</c:v>
                </c:pt>
              </c:numCache>
            </c:numRef>
          </c:xVal>
          <c:yVal>
            <c:numRef>
              <c:f>Sheet1!$B$171:$B$172</c:f>
              <c:numCache>
                <c:formatCode>General</c:formatCode>
                <c:ptCount val="2"/>
                <c:pt idx="0">
                  <c:v>0.384395621697617</c:v>
                </c:pt>
                <c:pt idx="1">
                  <c:v>0.38439562169761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767562708375</c:v>
                </c:pt>
                <c:pt idx="1">
                  <c:v>0.8767562708375</c:v>
                </c:pt>
              </c:numCache>
            </c:numRef>
          </c:xVal>
          <c:yVal>
            <c:numRef>
              <c:f>Sheet1!$B$175:$B$176</c:f>
              <c:numCache>
                <c:formatCode>General</c:formatCode>
                <c:ptCount val="2"/>
                <c:pt idx="0">
                  <c:v>0.38439562169761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1217288814726</c:v>
                </c:pt>
              </c:numCache>
            </c:numRef>
          </c:xVal>
          <c:yVal>
            <c:numRef>
              <c:f>Sheet1!$B$179:$B$180</c:f>
              <c:numCache>
                <c:formatCode>General</c:formatCode>
                <c:ptCount val="2"/>
                <c:pt idx="0">
                  <c:v>0.37852507628048954</c:v>
                </c:pt>
                <c:pt idx="1">
                  <c:v>0.3785250762804895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1217288814726</c:v>
                </c:pt>
                <c:pt idx="1">
                  <c:v>0.91217288814726</c:v>
                </c:pt>
              </c:numCache>
            </c:numRef>
          </c:xVal>
          <c:yVal>
            <c:numRef>
              <c:f>Sheet1!$B$183:$B$184</c:f>
              <c:numCache>
                <c:formatCode>General</c:formatCode>
                <c:ptCount val="2"/>
                <c:pt idx="0">
                  <c:v>0.378525076280489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806382495913433</c:v>
                </c:pt>
                <c:pt idx="1">
                  <c:v>0.8448610539551131</c:v>
                </c:pt>
                <c:pt idx="2">
                  <c:v>0.8636178192297651</c:v>
                </c:pt>
                <c:pt idx="3">
                  <c:v>0.8469114631466416</c:v>
                </c:pt>
                <c:pt idx="4">
                  <c:v>0.8593221771299024</c:v>
                </c:pt>
                <c:pt idx="5">
                  <c:v>0.8693703737643543</c:v>
                </c:pt>
                <c:pt idx="6">
                  <c:v>0.8645289055882943</c:v>
                </c:pt>
                <c:pt idx="7">
                  <c:v>0.9032998953319261</c:v>
                </c:pt>
                <c:pt idx="8">
                  <c:v>0.9099680955526466</c:v>
                </c:pt>
                <c:pt idx="9">
                  <c:v>0.8680266102466465</c:v>
                </c:pt>
                <c:pt idx="10">
                  <c:v>0.899346191989554</c:v>
                </c:pt>
                <c:pt idx="11">
                  <c:v>0.8710840757326129</c:v>
                </c:pt>
                <c:pt idx="12">
                  <c:v>0.8819543334115024</c:v>
                </c:pt>
                <c:pt idx="13">
                  <c:v>0.8567387511142109</c:v>
                </c:pt>
                <c:pt idx="14">
                  <c:v>0.8665115121689788</c:v>
                </c:pt>
                <c:pt idx="15">
                  <c:v>0.864003174015931</c:v>
                </c:pt>
                <c:pt idx="16">
                  <c:v>0.9111386555177733</c:v>
                </c:pt>
                <c:pt idx="17">
                  <c:v>0.9040432528590386</c:v>
                </c:pt>
                <c:pt idx="18">
                  <c:v>0.9255875685207178</c:v>
                </c:pt>
                <c:pt idx="19">
                  <c:v>0.9160790251363264</c:v>
                </c:pt>
                <c:pt idx="20">
                  <c:v>0.8743238727760274</c:v>
                </c:pt>
                <c:pt idx="21">
                  <c:v>0.8260901862934067</c:v>
                </c:pt>
                <c:pt idx="22">
                  <c:v>0.8600074377683731</c:v>
                </c:pt>
                <c:pt idx="23">
                  <c:v>0.8278305833747791</c:v>
                </c:pt>
                <c:pt idx="24">
                  <c:v>0.8239739181742506</c:v>
                </c:pt>
                <c:pt idx="25">
                  <c:v>0.8692912424037937</c:v>
                </c:pt>
                <c:pt idx="26">
                  <c:v>0.9035938298829532</c:v>
                </c:pt>
                <c:pt idx="27">
                  <c:v>0.930333245614503</c:v>
                </c:pt>
                <c:pt idx="28">
                  <c:v>0.9357360190278653</c:v>
                </c:pt>
                <c:pt idx="29">
                  <c:v>0.9227592915394744</c:v>
                </c:pt>
                <c:pt idx="30">
                  <c:v>0.8948247603960517</c:v>
                </c:pt>
                <c:pt idx="31">
                  <c:v>0.8952529195987926</c:v>
                </c:pt>
                <c:pt idx="32">
                  <c:v>0.9024983000637363</c:v>
                </c:pt>
                <c:pt idx="33">
                  <c:v>0.9115514377345877</c:v>
                </c:pt>
                <c:pt idx="34">
                  <c:v>0.9145863535460189</c:v>
                </c:pt>
                <c:pt idx="35">
                  <c:v>0.9122246206224283</c:v>
                </c:pt>
                <c:pt idx="36">
                  <c:v>0.8915871928872283</c:v>
                </c:pt>
                <c:pt idx="37">
                  <c:v>0.875739361060113</c:v>
                </c:pt>
                <c:pt idx="38">
                  <c:v>0.9018488476609847</c:v>
                </c:pt>
                <c:pt idx="39">
                  <c:v>0.923607758911781</c:v>
                </c:pt>
                <c:pt idx="40">
                  <c:v>0.9500319567896616</c:v>
                </c:pt>
                <c:pt idx="41">
                  <c:v>0.9651177123135709</c:v>
                </c:pt>
                <c:pt idx="42">
                  <c:v>0.9284541734651489</c:v>
                </c:pt>
                <c:pt idx="43">
                  <c:v>0.9629660724630104</c:v>
                </c:pt>
                <c:pt idx="44">
                  <c:v>0.9676408176888722</c:v>
                </c:pt>
                <c:pt idx="45">
                  <c:v>0.9409742723973074</c:v>
                </c:pt>
                <c:pt idx="46">
                  <c:v>0.9304478166832167</c:v>
                </c:pt>
                <c:pt idx="47">
                  <c:v>0.9304771247803073</c:v>
                </c:pt>
                <c:pt idx="48">
                  <c:v>0.9686320522398987</c:v>
                </c:pt>
                <c:pt idx="49">
                  <c:v>0.9767432429069952</c:v>
                </c:pt>
                <c:pt idx="50">
                  <c:v>0.9091941529965688</c:v>
                </c:pt>
                <c:pt idx="51">
                  <c:v>0.919084010487614</c:v>
                </c:pt>
                <c:pt idx="52">
                  <c:v>0.8767562708375</c:v>
                </c:pt>
                <c:pt idx="53">
                  <c:v>0.34287891284740596</c:v>
                </c:pt>
                <c:pt idx="54">
                  <c:v>0.91217288814726</c:v>
                </c:pt>
              </c:numCache>
            </c:numRef>
          </c:xVal>
          <c:yVal>
            <c:numRef>
              <c:f>Sheet1!$B$187:$B$241</c:f>
              <c:numCache>
                <c:formatCode>General</c:formatCode>
                <c:ptCount val="55"/>
                <c:pt idx="0">
                  <c:v>0.3837521572926615</c:v>
                </c:pt>
                <c:pt idx="1">
                  <c:v>0.38968247102203235</c:v>
                </c:pt>
                <c:pt idx="2">
                  <c:v>0.38657340949139035</c:v>
                </c:pt>
                <c:pt idx="3">
                  <c:v>0.3893426017404099</c:v>
                </c:pt>
                <c:pt idx="4">
                  <c:v>0.3872854414119549</c:v>
                </c:pt>
                <c:pt idx="5">
                  <c:v>0.3856198844168627</c:v>
                </c:pt>
                <c:pt idx="6">
                  <c:v>0.38642239072525886</c:v>
                </c:pt>
                <c:pt idx="7">
                  <c:v>0.3799958352423825</c:v>
                </c:pt>
                <c:pt idx="8">
                  <c:v>0.3788905356621357</c:v>
                </c:pt>
                <c:pt idx="9">
                  <c:v>0.3858426223675706</c:v>
                </c:pt>
                <c:pt idx="10">
                  <c:v>0.3806511884861506</c:v>
                </c:pt>
                <c:pt idx="11">
                  <c:v>0.38533582664962607</c:v>
                </c:pt>
                <c:pt idx="12">
                  <c:v>0.38353400744025135</c:v>
                </c:pt>
                <c:pt idx="13">
                  <c:v>0.38771366186068557</c:v>
                </c:pt>
                <c:pt idx="14">
                  <c:v>0.38609376018794905</c:v>
                </c:pt>
                <c:pt idx="15">
                  <c:v>0.3865095343122871</c:v>
                </c:pt>
                <c:pt idx="16">
                  <c:v>0.37869650737934846</c:v>
                </c:pt>
                <c:pt idx="17">
                  <c:v>0.37987261867186956</c:v>
                </c:pt>
                <c:pt idx="18">
                  <c:v>0.37630150168837484</c:v>
                </c:pt>
                <c:pt idx="19">
                  <c:v>0.377877607483589</c:v>
                </c:pt>
                <c:pt idx="20">
                  <c:v>0.3847988082348155</c:v>
                </c:pt>
                <c:pt idx="21">
                  <c:v>0.3927938701193303</c:v>
                </c:pt>
                <c:pt idx="22">
                  <c:v>0.38717185479622795</c:v>
                </c:pt>
                <c:pt idx="23">
                  <c:v>0.3925053874553686</c:v>
                </c:pt>
                <c:pt idx="24">
                  <c:v>0.3931446559665406</c:v>
                </c:pt>
                <c:pt idx="25">
                  <c:v>0.385633000978561</c:v>
                </c:pt>
                <c:pt idx="26">
                  <c:v>0.3799471135895952</c:v>
                </c:pt>
                <c:pt idx="27">
                  <c:v>0.37551487340396184</c:v>
                </c:pt>
                <c:pt idx="28">
                  <c:v>0.3746193269314067</c:v>
                </c:pt>
                <c:pt idx="29">
                  <c:v>0.37677030785146454</c:v>
                </c:pt>
                <c:pt idx="30">
                  <c:v>0.3814006465523441</c:v>
                </c:pt>
                <c:pt idx="31">
                  <c:v>0.3813296762498032</c:v>
                </c:pt>
                <c:pt idx="32">
                  <c:v>0.38012870511493146</c:v>
                </c:pt>
                <c:pt idx="33">
                  <c:v>0.37862808591690333</c:v>
                </c:pt>
                <c:pt idx="34">
                  <c:v>0.3781250279610196</c:v>
                </c:pt>
                <c:pt idx="35">
                  <c:v>0.37851650127056247</c:v>
                </c:pt>
                <c:pt idx="36">
                  <c:v>0.3819372954066187</c:v>
                </c:pt>
                <c:pt idx="37">
                  <c:v>0.3845641814158153</c:v>
                </c:pt>
                <c:pt idx="38">
                  <c:v>0.38023635627182395</c:v>
                </c:pt>
                <c:pt idx="39">
                  <c:v>0.37662966860857716</c:v>
                </c:pt>
                <c:pt idx="40">
                  <c:v>0.3722496779280299</c:v>
                </c:pt>
                <c:pt idx="41">
                  <c:v>0.3697491112539114</c:v>
                </c:pt>
                <c:pt idx="42">
                  <c:v>0.37582634240446977</c:v>
                </c:pt>
                <c:pt idx="43">
                  <c:v>0.3701057602063944</c:v>
                </c:pt>
                <c:pt idx="44">
                  <c:v>0.36933088936195724</c:v>
                </c:pt>
                <c:pt idx="45">
                  <c:v>0.37375105077609877</c:v>
                </c:pt>
                <c:pt idx="46">
                  <c:v>0.3754958824693819</c:v>
                </c:pt>
                <c:pt idx="47">
                  <c:v>0.37549102445277477</c:v>
                </c:pt>
                <c:pt idx="48">
                  <c:v>0.36916658548731185</c:v>
                </c:pt>
                <c:pt idx="49">
                  <c:v>0.36782210041744473</c:v>
                </c:pt>
                <c:pt idx="50">
                  <c:v>0.3790188219094067</c:v>
                </c:pt>
                <c:pt idx="51">
                  <c:v>0.3773795107052252</c:v>
                </c:pt>
                <c:pt idx="52">
                  <c:v>0.384395621697617</c:v>
                </c:pt>
                <c:pt idx="53">
                  <c:v>0.47288942814573165</c:v>
                </c:pt>
                <c:pt idx="54">
                  <c:v>0.378525076280489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020844299399937"/>
          <c:min val="0.2623945072235731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41.0894</c:v>
                </c:pt>
                <c:pt idx="1">
                  <c:v>915.3158</c:v>
                </c:pt>
                <c:pt idx="2">
                  <c:v>942.7571</c:v>
                </c:pt>
                <c:pt idx="3">
                  <c:v>957.3966</c:v>
                </c:pt>
                <c:pt idx="4">
                  <c:v>948.7038</c:v>
                </c:pt>
                <c:pt idx="5">
                  <c:v>937.417</c:v>
                </c:pt>
                <c:pt idx="6">
                  <c:v>901.5913</c:v>
                </c:pt>
                <c:pt idx="7">
                  <c:v>909.5936</c:v>
                </c:pt>
                <c:pt idx="8">
                  <c:v>919.9055</c:v>
                </c:pt>
                <c:pt idx="9">
                  <c:v>887.7651</c:v>
                </c:pt>
                <c:pt idx="10">
                  <c:v>887.8959</c:v>
                </c:pt>
                <c:pt idx="11">
                  <c:v>946.7932</c:v>
                </c:pt>
                <c:pt idx="12">
                  <c:v>956.4739</c:v>
                </c:pt>
                <c:pt idx="13">
                  <c:v>968.3537</c:v>
                </c:pt>
                <c:pt idx="14">
                  <c:v>1006.0743</c:v>
                </c:pt>
                <c:pt idx="15">
                  <c:v>1026.6937</c:v>
                </c:pt>
                <c:pt idx="16">
                  <c:v>1037.2591</c:v>
                </c:pt>
                <c:pt idx="17">
                  <c:v>1057.1474</c:v>
                </c:pt>
                <c:pt idx="18">
                  <c:v>1101.7257</c:v>
                </c:pt>
                <c:pt idx="19">
                  <c:v>1107.3953</c:v>
                </c:pt>
                <c:pt idx="20">
                  <c:v>1126.466</c:v>
                </c:pt>
                <c:pt idx="21">
                  <c:v>1128.6087</c:v>
                </c:pt>
                <c:pt idx="22">
                  <c:v>1088.7814</c:v>
                </c:pt>
                <c:pt idx="23">
                  <c:v>1080.0358</c:v>
                </c:pt>
                <c:pt idx="24">
                  <c:v>1080.2557</c:v>
                </c:pt>
                <c:pt idx="25">
                  <c:v>1057.1074</c:v>
                </c:pt>
                <c:pt idx="26">
                  <c:v>1049.7692</c:v>
                </c:pt>
                <c:pt idx="27">
                  <c:v>1052.7141</c:v>
                </c:pt>
                <c:pt idx="28">
                  <c:v>1059.3641</c:v>
                </c:pt>
                <c:pt idx="29">
                  <c:v>1053.898</c:v>
                </c:pt>
                <c:pt idx="30">
                  <c:v>1056.4107</c:v>
                </c:pt>
                <c:pt idx="31">
                  <c:v>1027.1585</c:v>
                </c:pt>
                <c:pt idx="32">
                  <c:v>1022.5373</c:v>
                </c:pt>
                <c:pt idx="33">
                  <c:v>981.9959</c:v>
                </c:pt>
                <c:pt idx="34">
                  <c:v>997.5131</c:v>
                </c:pt>
                <c:pt idx="35">
                  <c:v>1027.727</c:v>
                </c:pt>
                <c:pt idx="36">
                  <c:v>1093.216</c:v>
                </c:pt>
                <c:pt idx="37">
                  <c:v>1101.8992</c:v>
                </c:pt>
                <c:pt idx="38">
                  <c:v>1152.3715</c:v>
                </c:pt>
                <c:pt idx="39">
                  <c:v>1177.5412</c:v>
                </c:pt>
                <c:pt idx="40">
                  <c:v>1170.9977</c:v>
                </c:pt>
                <c:pt idx="41">
                  <c:v>1210.213</c:v>
                </c:pt>
                <c:pt idx="42">
                  <c:v>1225.1621</c:v>
                </c:pt>
                <c:pt idx="43">
                  <c:v>1231.6123</c:v>
                </c:pt>
                <c:pt idx="44">
                  <c:v>1170.7964</c:v>
                </c:pt>
                <c:pt idx="45">
                  <c:v>1134.7624</c:v>
                </c:pt>
                <c:pt idx="46">
                  <c:v>1125.4867</c:v>
                </c:pt>
                <c:pt idx="47">
                  <c:v>1116.7963</c:v>
                </c:pt>
                <c:pt idx="48">
                  <c:v>1111.2093</c:v>
                </c:pt>
                <c:pt idx="49">
                  <c:v>1059.7965</c:v>
                </c:pt>
                <c:pt idx="50">
                  <c:v>1064.2317</c:v>
                </c:pt>
                <c:pt idx="51">
                  <c:v>1070.4155</c:v>
                </c:pt>
                <c:pt idx="52">
                  <c:v>1063.6198</c:v>
                </c:pt>
                <c:pt idx="53">
                  <c:v>1180.2011</c:v>
                </c:pt>
                <c:pt idx="54">
                  <c:v>1167.9503</c:v>
                </c:pt>
                <c:pt idx="55">
                  <c:v>1185.8227</c:v>
                </c:pt>
                <c:pt idx="56">
                  <c:v>1198.8824</c:v>
                </c:pt>
                <c:pt idx="57">
                  <c:v>1167.2362</c:v>
                </c:pt>
                <c:pt idx="58">
                  <c:v>1157.2249</c:v>
                </c:pt>
                <c:pt idx="59">
                  <c:v>1130.9894</c:v>
                </c:pt>
                <c:pt idx="60">
                  <c:v>1148.0772</c:v>
                </c:pt>
                <c:pt idx="61">
                  <c:v>1169.1847</c:v>
                </c:pt>
                <c:pt idx="62">
                  <c:v>1103.899</c:v>
                </c:pt>
                <c:pt idx="63">
                  <c:v>1119.955</c:v>
                </c:pt>
                <c:pt idx="64">
                  <c:v>1132.6213</c:v>
                </c:pt>
                <c:pt idx="65">
                  <c:v>1127.5593</c:v>
                </c:pt>
                <c:pt idx="66">
                  <c:v>1168.5132</c:v>
                </c:pt>
                <c:pt idx="67">
                  <c:v>1191.0501</c:v>
                </c:pt>
                <c:pt idx="68">
                  <c:v>1211.0706</c:v>
                </c:pt>
                <c:pt idx="69">
                  <c:v>1239.64</c:v>
                </c:pt>
                <c:pt idx="70">
                  <c:v>1223.0381</c:v>
                </c:pt>
                <c:pt idx="71">
                  <c:v>1271.9492</c:v>
                </c:pt>
                <c:pt idx="72">
                  <c:v>1332.9977</c:v>
                </c:pt>
                <c:pt idx="73">
                  <c:v>1311.5495</c:v>
                </c:pt>
                <c:pt idx="74">
                  <c:v>1309.7295</c:v>
                </c:pt>
                <c:pt idx="75">
                  <c:v>1261.7722</c:v>
                </c:pt>
                <c:pt idx="76">
                  <c:v>1237.4954</c:v>
                </c:pt>
                <c:pt idx="77">
                  <c:v>1233.0345</c:v>
                </c:pt>
                <c:pt idx="78">
                  <c:v>1304.0082</c:v>
                </c:pt>
                <c:pt idx="79">
                  <c:v>1276.5923</c:v>
                </c:pt>
                <c:pt idx="80">
                  <c:v>1295.53</c:v>
                </c:pt>
                <c:pt idx="81">
                  <c:v>1271.5388</c:v>
                </c:pt>
                <c:pt idx="82">
                  <c:v>1290.8534</c:v>
                </c:pt>
                <c:pt idx="83">
                  <c:v>1249.4401</c:v>
                </c:pt>
                <c:pt idx="84">
                  <c:v>1268.1177</c:v>
                </c:pt>
                <c:pt idx="85">
                  <c:v>1244.099</c:v>
                </c:pt>
                <c:pt idx="86">
                  <c:v>1262.4171</c:v>
                </c:pt>
                <c:pt idx="87">
                  <c:v>1256.5578</c:v>
                </c:pt>
                <c:pt idx="88">
                  <c:v>1301.9119</c:v>
                </c:pt>
                <c:pt idx="89">
                  <c:v>1291.8564</c:v>
                </c:pt>
                <c:pt idx="90">
                  <c:v>1341.7798</c:v>
                </c:pt>
                <c:pt idx="91">
                  <c:v>1341.4942</c:v>
                </c:pt>
                <c:pt idx="92">
                  <c:v>1294.837</c:v>
                </c:pt>
                <c:pt idx="93">
                  <c:v>1316.9003</c:v>
                </c:pt>
                <c:pt idx="94">
                  <c:v>1300.4783</c:v>
                </c:pt>
                <c:pt idx="95">
                  <c:v>1270.262</c:v>
                </c:pt>
                <c:pt idx="96">
                  <c:v>1228.4379</c:v>
                </c:pt>
                <c:pt idx="97">
                  <c:v>1217.9749</c:v>
                </c:pt>
                <c:pt idx="98">
                  <c:v>1192.1991</c:v>
                </c:pt>
                <c:pt idx="99">
                  <c:v>1157.9252</c:v>
                </c:pt>
                <c:pt idx="100">
                  <c:v>1129.0952</c:v>
                </c:pt>
                <c:pt idx="101">
                  <c:v>1179.4375</c:v>
                </c:pt>
                <c:pt idx="102">
                  <c:v>1197.7587</c:v>
                </c:pt>
                <c:pt idx="103">
                  <c:v>1174.2717</c:v>
                </c:pt>
                <c:pt idx="104">
                  <c:v>1209.7717</c:v>
                </c:pt>
              </c:numCache>
            </c:numRef>
          </c:xVal>
          <c:yVal>
            <c:numRef>
              <c:f>Sheet1!$B$2:$B$106</c:f>
              <c:numCache>
                <c:formatCode>General</c:formatCode>
                <c:ptCount val="105"/>
                <c:pt idx="0">
                  <c:v>0.4239107556303936</c:v>
                </c:pt>
                <c:pt idx="1">
                  <c:v>0.4512462450271982</c:v>
                </c:pt>
                <c:pt idx="2">
                  <c:v>0.4753843637553157</c:v>
                </c:pt>
                <c:pt idx="3">
                  <c:v>0.4804006968641115</c:v>
                </c:pt>
                <c:pt idx="4">
                  <c:v>0.4858619344773791</c:v>
                </c:pt>
                <c:pt idx="5">
                  <c:v>0.46897702729236207</c:v>
                </c:pt>
                <c:pt idx="6">
                  <c:v>0.4864984115778327</c:v>
                </c:pt>
                <c:pt idx="7">
                  <c:v>0.5017370249499947</c:v>
                </c:pt>
                <c:pt idx="8">
                  <c:v>0.4819883937369977</c:v>
                </c:pt>
                <c:pt idx="9">
                  <c:v>0.47369289130793335</c:v>
                </c:pt>
                <c:pt idx="10">
                  <c:v>0.45149223387818166</c:v>
                </c:pt>
                <c:pt idx="11">
                  <c:v>0.4095262096774194</c:v>
                </c:pt>
                <c:pt idx="12">
                  <c:v>0.38759749197124943</c:v>
                </c:pt>
                <c:pt idx="13">
                  <c:v>0.3695235049568276</c:v>
                </c:pt>
                <c:pt idx="14">
                  <c:v>0.34246018849528764</c:v>
                </c:pt>
                <c:pt idx="15">
                  <c:v>0.34064755217476106</c:v>
                </c:pt>
                <c:pt idx="16">
                  <c:v>0.3369942844334865</c:v>
                </c:pt>
                <c:pt idx="17">
                  <c:v>0.3341232227488152</c:v>
                </c:pt>
                <c:pt idx="18">
                  <c:v>0.32799313402946645</c:v>
                </c:pt>
                <c:pt idx="19">
                  <c:v>0.3379831932773109</c:v>
                </c:pt>
                <c:pt idx="20">
                  <c:v>0.34795986622073577</c:v>
                </c:pt>
                <c:pt idx="21">
                  <c:v>0.3787775891341256</c:v>
                </c:pt>
                <c:pt idx="22">
                  <c:v>0.41098169717138106</c:v>
                </c:pt>
                <c:pt idx="23">
                  <c:v>0.4266851980542043</c:v>
                </c:pt>
                <c:pt idx="24">
                  <c:v>0.4353413654618474</c:v>
                </c:pt>
                <c:pt idx="25">
                  <c:v>0.43551027833363654</c:v>
                </c:pt>
                <c:pt idx="26">
                  <c:v>0.43415826458906204</c:v>
                </c:pt>
                <c:pt idx="27">
                  <c:v>0.43204599056603776</c:v>
                </c:pt>
                <c:pt idx="28">
                  <c:v>0.42945163277880466</c:v>
                </c:pt>
                <c:pt idx="29">
                  <c:v>0.42727522683530383</c:v>
                </c:pt>
                <c:pt idx="30">
                  <c:v>0.4351931330472103</c:v>
                </c:pt>
                <c:pt idx="31">
                  <c:v>0.43981327109036344</c:v>
                </c:pt>
                <c:pt idx="32">
                  <c:v>0.45374449339207046</c:v>
                </c:pt>
                <c:pt idx="33">
                  <c:v>0.45726610946346724</c:v>
                </c:pt>
                <c:pt idx="34">
                  <c:v>0.4426210562810586</c:v>
                </c:pt>
                <c:pt idx="35">
                  <c:v>0.4407240667792159</c:v>
                </c:pt>
                <c:pt idx="36">
                  <c:v>0.4074610648315828</c:v>
                </c:pt>
                <c:pt idx="37">
                  <c:v>0.4107889802394346</c:v>
                </c:pt>
                <c:pt idx="38">
                  <c:v>0.39714285714285713</c:v>
                </c:pt>
                <c:pt idx="39">
                  <c:v>0.38832208444514205</c:v>
                </c:pt>
                <c:pt idx="40">
                  <c:v>0.39433745695702077</c:v>
                </c:pt>
                <c:pt idx="41">
                  <c:v>0.3854439592430859</c:v>
                </c:pt>
                <c:pt idx="42">
                  <c:v>0.3819291819291819</c:v>
                </c:pt>
                <c:pt idx="43">
                  <c:v>0.376271186440678</c:v>
                </c:pt>
                <c:pt idx="44">
                  <c:v>0.36918229987111556</c:v>
                </c:pt>
                <c:pt idx="45">
                  <c:v>0.37949891898766375</c:v>
                </c:pt>
                <c:pt idx="46">
                  <c:v>0.3818250046907249</c:v>
                </c:pt>
                <c:pt idx="47">
                  <c:v>0.37446509548444784</c:v>
                </c:pt>
                <c:pt idx="48">
                  <c:v>0.3740657698056801</c:v>
                </c:pt>
                <c:pt idx="49">
                  <c:v>0.3957670273711012</c:v>
                </c:pt>
                <c:pt idx="50">
                  <c:v>0.3829800307219662</c:v>
                </c:pt>
                <c:pt idx="51">
                  <c:v>0.38265905000391265</c:v>
                </c:pt>
                <c:pt idx="52">
                  <c:v>0.38758292007470857</c:v>
                </c:pt>
                <c:pt idx="53">
                  <c:v>0.3900463939266132</c:v>
                </c:pt>
                <c:pt idx="54">
                  <c:v>0.4068548767821735</c:v>
                </c:pt>
                <c:pt idx="55">
                  <c:v>0.40231000679413764</c:v>
                </c:pt>
                <c:pt idx="56">
                  <c:v>0.40492992744260015</c:v>
                </c:pt>
                <c:pt idx="57">
                  <c:v>0.4032900432900433</c:v>
                </c:pt>
                <c:pt idx="58">
                  <c:v>0.40355446606404166</c:v>
                </c:pt>
                <c:pt idx="59">
                  <c:v>0.4095966279468706</c:v>
                </c:pt>
                <c:pt idx="60">
                  <c:v>0.41369964927197367</c:v>
                </c:pt>
                <c:pt idx="61">
                  <c:v>0.4078808843435103</c:v>
                </c:pt>
                <c:pt idx="62">
                  <c:v>0.42490685010031526</c:v>
                </c:pt>
                <c:pt idx="63">
                  <c:v>0.4329307464987794</c:v>
                </c:pt>
                <c:pt idx="64">
                  <c:v>0.40296859666339546</c:v>
                </c:pt>
                <c:pt idx="65">
                  <c:v>0.3858246556936513</c:v>
                </c:pt>
                <c:pt idx="66">
                  <c:v>0.3937115026500501</c:v>
                </c:pt>
                <c:pt idx="67">
                  <c:v>0.3806010298977788</c:v>
                </c:pt>
                <c:pt idx="68">
                  <c:v>0.3738595985786997</c:v>
                </c:pt>
                <c:pt idx="69">
                  <c:v>0.3586266948625451</c:v>
                </c:pt>
                <c:pt idx="70">
                  <c:v>0.35929799254718114</c:v>
                </c:pt>
                <c:pt idx="71">
                  <c:v>0.3719270420301348</c:v>
                </c:pt>
                <c:pt idx="72">
                  <c:v>0.36006764101944677</c:v>
                </c:pt>
                <c:pt idx="73">
                  <c:v>0.37508205330182487</c:v>
                </c:pt>
                <c:pt idx="74">
                  <c:v>0.3689893283113622</c:v>
                </c:pt>
                <c:pt idx="75">
                  <c:v>0.3894919669995658</c:v>
                </c:pt>
                <c:pt idx="76">
                  <c:v>0.38619084561675715</c:v>
                </c:pt>
                <c:pt idx="77">
                  <c:v>0.3844660194174757</c:v>
                </c:pt>
                <c:pt idx="78">
                  <c:v>0.3721391241665165</c:v>
                </c:pt>
                <c:pt idx="79">
                  <c:v>0.3736413043478261</c:v>
                </c:pt>
                <c:pt idx="80">
                  <c:v>0.3575949367088608</c:v>
                </c:pt>
                <c:pt idx="81">
                  <c:v>0.36902301226402096</c:v>
                </c:pt>
                <c:pt idx="82">
                  <c:v>0.3699607563325009</c:v>
                </c:pt>
                <c:pt idx="83">
                  <c:v>0.3690276613579212</c:v>
                </c:pt>
                <c:pt idx="84">
                  <c:v>0.36804832326598624</c:v>
                </c:pt>
                <c:pt idx="85">
                  <c:v>0.3832346410066617</c:v>
                </c:pt>
                <c:pt idx="86">
                  <c:v>0.37422092560668346</c:v>
                </c:pt>
                <c:pt idx="87">
                  <c:v>0.38972738972738974</c:v>
                </c:pt>
                <c:pt idx="88">
                  <c:v>0.38807325563795975</c:v>
                </c:pt>
                <c:pt idx="89">
                  <c:v>0.38534528202424884</c:v>
                </c:pt>
                <c:pt idx="90">
                  <c:v>0.3770341927226184</c:v>
                </c:pt>
                <c:pt idx="91">
                  <c:v>0.3520099608680185</c:v>
                </c:pt>
                <c:pt idx="92">
                  <c:v>0.3580113482842475</c:v>
                </c:pt>
                <c:pt idx="93">
                  <c:v>0.3381950774840474</c:v>
                </c:pt>
                <c:pt idx="94">
                  <c:v>0.34188157326033713</c:v>
                </c:pt>
                <c:pt idx="95">
                  <c:v>0.3420349434737924</c:v>
                </c:pt>
                <c:pt idx="96">
                  <c:v>0.3489128827096583</c:v>
                </c:pt>
                <c:pt idx="97">
                  <c:v>0.35034832172260927</c:v>
                </c:pt>
                <c:pt idx="98">
                  <c:v>0.36162021472725303</c:v>
                </c:pt>
                <c:pt idx="99">
                  <c:v>0.3682985896766228</c:v>
                </c:pt>
                <c:pt idx="100">
                  <c:v>0.3678157019746217</c:v>
                </c:pt>
                <c:pt idx="101">
                  <c:v>0.3711527954835185</c:v>
                </c:pt>
                <c:pt idx="102">
                  <c:v>0.3555750658472344</c:v>
                </c:pt>
                <c:pt idx="103">
                  <c:v>0.3484848484848485</c:v>
                </c:pt>
                <c:pt idx="104">
                  <c:v>0.3540372670807453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8.5498</c:v>
                </c:pt>
                <c:pt idx="1">
                  <c:v>1260.5479</c:v>
                </c:pt>
                <c:pt idx="2">
                  <c:v>1274.755</c:v>
                </c:pt>
                <c:pt idx="3">
                  <c:v>1288.2073</c:v>
                </c:pt>
                <c:pt idx="4">
                  <c:v>1295.4916</c:v>
                </c:pt>
                <c:pt idx="5">
                  <c:v>1278.8546</c:v>
                </c:pt>
                <c:pt idx="6">
                  <c:v>1189.0313</c:v>
                </c:pt>
                <c:pt idx="7">
                  <c:v>1240.4097</c:v>
                </c:pt>
                <c:pt idx="8">
                  <c:v>1279.7673</c:v>
                </c:pt>
                <c:pt idx="9">
                  <c:v>1199.7902</c:v>
                </c:pt>
                <c:pt idx="10">
                  <c:v>1242.1087</c:v>
                </c:pt>
                <c:pt idx="11">
                  <c:v>1137.6865</c:v>
                </c:pt>
                <c:pt idx="12">
                  <c:v>1179.7904</c:v>
                </c:pt>
                <c:pt idx="13">
                  <c:v>1210.568</c:v>
                </c:pt>
                <c:pt idx="14">
                  <c:v>1222.9661</c:v>
                </c:pt>
                <c:pt idx="15">
                  <c:v>1225.6044</c:v>
                </c:pt>
                <c:pt idx="16">
                  <c:v>1280.962</c:v>
                </c:pt>
                <c:pt idx="17">
                  <c:v>1253.011</c:v>
                </c:pt>
                <c:pt idx="18">
                  <c:v>1245.8728</c:v>
                </c:pt>
                <c:pt idx="19">
                  <c:v>1334.9448</c:v>
                </c:pt>
                <c:pt idx="20">
                  <c:v>1299.9241</c:v>
                </c:pt>
                <c:pt idx="21">
                  <c:v>1218.8166</c:v>
                </c:pt>
                <c:pt idx="22">
                  <c:v>1253.6288</c:v>
                </c:pt>
                <c:pt idx="23">
                  <c:v>1232.2168</c:v>
                </c:pt>
                <c:pt idx="24">
                  <c:v>1218.284</c:v>
                </c:pt>
                <c:pt idx="25">
                  <c:v>1218.388</c:v>
                </c:pt>
                <c:pt idx="26">
                  <c:v>1242.6713</c:v>
                </c:pt>
                <c:pt idx="27">
                  <c:v>1255.7333</c:v>
                </c:pt>
                <c:pt idx="28">
                  <c:v>1291.077</c:v>
                </c:pt>
                <c:pt idx="29">
                  <c:v>1298.859</c:v>
                </c:pt>
                <c:pt idx="30">
                  <c:v>1287.7739</c:v>
                </c:pt>
                <c:pt idx="31">
                  <c:v>1264.9255</c:v>
                </c:pt>
                <c:pt idx="32">
                  <c:v>1287.701</c:v>
                </c:pt>
                <c:pt idx="33">
                  <c:v>1294.8322</c:v>
                </c:pt>
                <c:pt idx="34">
                  <c:v>1316.7072</c:v>
                </c:pt>
                <c:pt idx="35">
                  <c:v>1337.9344</c:v>
                </c:pt>
                <c:pt idx="36">
                  <c:v>1356.1084</c:v>
                </c:pt>
                <c:pt idx="37">
                  <c:v>1348.8121</c:v>
                </c:pt>
                <c:pt idx="38">
                  <c:v>1362.3381</c:v>
                </c:pt>
                <c:pt idx="39">
                  <c:v>1332.0768</c:v>
                </c:pt>
                <c:pt idx="40">
                  <c:v>1349.5317</c:v>
                </c:pt>
                <c:pt idx="41">
                  <c:v>1382.778</c:v>
                </c:pt>
                <c:pt idx="42">
                  <c:v>1364.3129</c:v>
                </c:pt>
                <c:pt idx="43">
                  <c:v>1374.0846</c:v>
                </c:pt>
                <c:pt idx="44">
                  <c:v>1296.4741</c:v>
                </c:pt>
                <c:pt idx="45">
                  <c:v>1256.9157</c:v>
                </c:pt>
                <c:pt idx="46">
                  <c:v>1252.8518</c:v>
                </c:pt>
                <c:pt idx="47">
                  <c:v>1220.7885</c:v>
                </c:pt>
                <c:pt idx="48">
                  <c:v>1200.6759</c:v>
                </c:pt>
                <c:pt idx="49">
                  <c:v>1209.0374</c:v>
                </c:pt>
                <c:pt idx="50">
                  <c:v>1157.2245</c:v>
                </c:pt>
                <c:pt idx="51">
                  <c:v>1139.0471</c:v>
                </c:pt>
              </c:numCache>
            </c:numRef>
          </c:xVal>
          <c:yVal>
            <c:numRef>
              <c:f>Sheet1!$B$109:$B$160</c:f>
              <c:numCache>
                <c:formatCode>General</c:formatCode>
                <c:ptCount val="52"/>
                <c:pt idx="0">
                  <c:v>0.37497133246693676</c:v>
                </c:pt>
                <c:pt idx="1">
                  <c:v>0.3773307163886163</c:v>
                </c:pt>
                <c:pt idx="2">
                  <c:v>0.38332150461320086</c:v>
                </c:pt>
                <c:pt idx="3">
                  <c:v>0.3962141931769109</c:v>
                </c:pt>
                <c:pt idx="4">
                  <c:v>0.3872872258856004</c:v>
                </c:pt>
                <c:pt idx="5">
                  <c:v>0.37981790591805764</c:v>
                </c:pt>
                <c:pt idx="6">
                  <c:v>0.3899407428819194</c:v>
                </c:pt>
                <c:pt idx="7">
                  <c:v>0.3738589627846324</c:v>
                </c:pt>
                <c:pt idx="8">
                  <c:v>0.37846326416152554</c:v>
                </c:pt>
                <c:pt idx="9">
                  <c:v>0.3818398096748612</c:v>
                </c:pt>
                <c:pt idx="10">
                  <c:v>0.37817380473316087</c:v>
                </c:pt>
                <c:pt idx="11">
                  <c:v>0.3849095966620306</c:v>
                </c:pt>
                <c:pt idx="12">
                  <c:v>0.38493856520015857</c:v>
                </c:pt>
                <c:pt idx="13">
                  <c:v>0.39378934116659675</c:v>
                </c:pt>
                <c:pt idx="14">
                  <c:v>0.3924946456839557</c:v>
                </c:pt>
                <c:pt idx="15">
                  <c:v>0.3900994075710413</c:v>
                </c:pt>
                <c:pt idx="16">
                  <c:v>0.37129760225669955</c:v>
                </c:pt>
                <c:pt idx="17">
                  <c:v>0.36655281776042936</c:v>
                </c:pt>
                <c:pt idx="18">
                  <c:v>0.3758927270077248</c:v>
                </c:pt>
                <c:pt idx="19">
                  <c:v>0.37719772788747635</c:v>
                </c:pt>
                <c:pt idx="20">
                  <c:v>0.3799126637554585</c:v>
                </c:pt>
                <c:pt idx="21">
                  <c:v>0.39872825883673085</c:v>
                </c:pt>
                <c:pt idx="22">
                  <c:v>0.38453038674033146</c:v>
                </c:pt>
                <c:pt idx="23">
                  <c:v>0.3996343692870201</c:v>
                </c:pt>
                <c:pt idx="24">
                  <c:v>0.4043537881384985</c:v>
                </c:pt>
                <c:pt idx="25">
                  <c:v>0.3878340365682138</c:v>
                </c:pt>
                <c:pt idx="26">
                  <c:v>0.3788494077834179</c:v>
                </c:pt>
                <c:pt idx="27">
                  <c:v>0.36995550099739144</c:v>
                </c:pt>
                <c:pt idx="28">
                  <c:v>0.36761519572439694</c:v>
                </c:pt>
                <c:pt idx="29">
                  <c:v>0.37344761238411756</c:v>
                </c:pt>
                <c:pt idx="30">
                  <c:v>0.375846099038119</c:v>
                </c:pt>
                <c:pt idx="31">
                  <c:v>0.3678982916170044</c:v>
                </c:pt>
                <c:pt idx="32">
                  <c:v>0.3681654676258993</c:v>
                </c:pt>
                <c:pt idx="33">
                  <c:v>0.36993243243243246</c:v>
                </c:pt>
                <c:pt idx="34">
                  <c:v>0.38923351908316683</c:v>
                </c:pt>
                <c:pt idx="35">
                  <c:v>0.3751405371642723</c:v>
                </c:pt>
                <c:pt idx="36">
                  <c:v>0.37576914916189263</c:v>
                </c:pt>
                <c:pt idx="37">
                  <c:v>0.3866439005881237</c:v>
                </c:pt>
                <c:pt idx="38">
                  <c:v>0.38306716254648876</c:v>
                </c:pt>
                <c:pt idx="39">
                  <c:v>0.38282227784730916</c:v>
                </c:pt>
                <c:pt idx="40">
                  <c:v>0.37203206907184705</c:v>
                </c:pt>
                <c:pt idx="41">
                  <c:v>0.3687472971024939</c:v>
                </c:pt>
                <c:pt idx="42">
                  <c:v>0.3794006877353856</c:v>
                </c:pt>
                <c:pt idx="43">
                  <c:v>0.37003058103975534</c:v>
                </c:pt>
                <c:pt idx="44">
                  <c:v>0.3628257207965917</c:v>
                </c:pt>
                <c:pt idx="45">
                  <c:v>0.37526546793147386</c:v>
                </c:pt>
                <c:pt idx="46">
                  <c:v>0.38572265461544897</c:v>
                </c:pt>
                <c:pt idx="47">
                  <c:v>0.3863967487155893</c:v>
                </c:pt>
                <c:pt idx="48">
                  <c:v>0.36995686374016745</c:v>
                </c:pt>
                <c:pt idx="49">
                  <c:v>0.38308429337287553</c:v>
                </c:pt>
                <c:pt idx="50">
                  <c:v>0.3921795206321989</c:v>
                </c:pt>
                <c:pt idx="51">
                  <c:v>0.392361809045226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5.15167893279582</c:v>
                </c:pt>
              </c:numCache>
            </c:numRef>
          </c:xVal>
          <c:yVal>
            <c:numRef>
              <c:f>Sheet1!$B$163:$B$164</c:f>
              <c:numCache>
                <c:formatCode>General</c:formatCode>
                <c:ptCount val="2"/>
                <c:pt idx="0">
                  <c:v>0.47288942814573165</c:v>
                </c:pt>
                <c:pt idx="1">
                  <c:v>0.4728894281457316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5.15167893279582</c:v>
                </c:pt>
                <c:pt idx="1">
                  <c:v>-45.15167893279582</c:v>
                </c:pt>
              </c:numCache>
            </c:numRef>
          </c:xVal>
          <c:yVal>
            <c:numRef>
              <c:f>Sheet1!$B$167:$B$168</c:f>
              <c:numCache>
                <c:formatCode>General</c:formatCode>
                <c:ptCount val="2"/>
                <c:pt idx="0">
                  <c:v>0.4728894281457316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13.080902330808</c:v>
                </c:pt>
              </c:numCache>
            </c:numRef>
          </c:xVal>
          <c:yVal>
            <c:numRef>
              <c:f>Sheet1!$B$171:$B$172</c:f>
              <c:numCache>
                <c:formatCode>General</c:formatCode>
                <c:ptCount val="2"/>
                <c:pt idx="0">
                  <c:v>0.384395621697617</c:v>
                </c:pt>
                <c:pt idx="1">
                  <c:v>0.38439562169761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13.080902330808</c:v>
                </c:pt>
                <c:pt idx="1">
                  <c:v>1213.080902330808</c:v>
                </c:pt>
              </c:numCache>
            </c:numRef>
          </c:xVal>
          <c:yVal>
            <c:numRef>
              <c:f>Sheet1!$B$175:$B$176</c:f>
              <c:numCache>
                <c:formatCode>General</c:formatCode>
                <c:ptCount val="2"/>
                <c:pt idx="0">
                  <c:v>0.38439562169761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96.550150745931</c:v>
                </c:pt>
              </c:numCache>
            </c:numRef>
          </c:xVal>
          <c:yVal>
            <c:numRef>
              <c:f>Sheet1!$B$179:$B$180</c:f>
              <c:numCache>
                <c:formatCode>General</c:formatCode>
                <c:ptCount val="2"/>
                <c:pt idx="0">
                  <c:v>0.37852507628048954</c:v>
                </c:pt>
                <c:pt idx="1">
                  <c:v>0.3785250762804895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96.550150745931</c:v>
                </c:pt>
                <c:pt idx="1">
                  <c:v>1296.550150745931</c:v>
                </c:pt>
              </c:numCache>
            </c:numRef>
          </c:xVal>
          <c:yVal>
            <c:numRef>
              <c:f>Sheet1!$B$183:$B$184</c:f>
              <c:numCache>
                <c:formatCode>General</c:formatCode>
                <c:ptCount val="2"/>
                <c:pt idx="0">
                  <c:v>0.378525076280489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8.5498</c:v>
                </c:pt>
                <c:pt idx="1">
                  <c:v>1260.5479</c:v>
                </c:pt>
                <c:pt idx="2">
                  <c:v>1274.755</c:v>
                </c:pt>
                <c:pt idx="3">
                  <c:v>1288.2073</c:v>
                </c:pt>
                <c:pt idx="4">
                  <c:v>1295.4916</c:v>
                </c:pt>
                <c:pt idx="5">
                  <c:v>1278.8546</c:v>
                </c:pt>
                <c:pt idx="6">
                  <c:v>1189.0313</c:v>
                </c:pt>
                <c:pt idx="7">
                  <c:v>1240.4097</c:v>
                </c:pt>
                <c:pt idx="8">
                  <c:v>1279.7673</c:v>
                </c:pt>
                <c:pt idx="9">
                  <c:v>1199.7902</c:v>
                </c:pt>
                <c:pt idx="10">
                  <c:v>1242.1087</c:v>
                </c:pt>
                <c:pt idx="11">
                  <c:v>1137.6865</c:v>
                </c:pt>
                <c:pt idx="12">
                  <c:v>1179.7904</c:v>
                </c:pt>
                <c:pt idx="13">
                  <c:v>1210.568</c:v>
                </c:pt>
                <c:pt idx="14">
                  <c:v>1222.9661</c:v>
                </c:pt>
                <c:pt idx="15">
                  <c:v>1225.6044</c:v>
                </c:pt>
                <c:pt idx="16">
                  <c:v>1280.962</c:v>
                </c:pt>
                <c:pt idx="17">
                  <c:v>1253.011</c:v>
                </c:pt>
                <c:pt idx="18">
                  <c:v>1245.8728</c:v>
                </c:pt>
                <c:pt idx="19">
                  <c:v>1334.9448</c:v>
                </c:pt>
                <c:pt idx="20">
                  <c:v>1299.9241</c:v>
                </c:pt>
                <c:pt idx="21">
                  <c:v>1218.8166</c:v>
                </c:pt>
                <c:pt idx="22">
                  <c:v>1253.6288</c:v>
                </c:pt>
                <c:pt idx="23">
                  <c:v>1232.2168</c:v>
                </c:pt>
                <c:pt idx="24">
                  <c:v>1218.284</c:v>
                </c:pt>
                <c:pt idx="25">
                  <c:v>1218.388</c:v>
                </c:pt>
                <c:pt idx="26">
                  <c:v>1242.6713</c:v>
                </c:pt>
                <c:pt idx="27">
                  <c:v>1255.7333</c:v>
                </c:pt>
                <c:pt idx="28">
                  <c:v>1291.077</c:v>
                </c:pt>
                <c:pt idx="29">
                  <c:v>1298.859</c:v>
                </c:pt>
                <c:pt idx="30">
                  <c:v>1287.7739</c:v>
                </c:pt>
                <c:pt idx="31">
                  <c:v>1264.9255</c:v>
                </c:pt>
                <c:pt idx="32">
                  <c:v>1287.701</c:v>
                </c:pt>
                <c:pt idx="33">
                  <c:v>1294.8322</c:v>
                </c:pt>
                <c:pt idx="34">
                  <c:v>1316.7072</c:v>
                </c:pt>
                <c:pt idx="35">
                  <c:v>1337.9344</c:v>
                </c:pt>
                <c:pt idx="36">
                  <c:v>1356.1084</c:v>
                </c:pt>
                <c:pt idx="37">
                  <c:v>1348.8121</c:v>
                </c:pt>
                <c:pt idx="38">
                  <c:v>1362.3381</c:v>
                </c:pt>
                <c:pt idx="39">
                  <c:v>1332.0768</c:v>
                </c:pt>
                <c:pt idx="40">
                  <c:v>1349.5317</c:v>
                </c:pt>
                <c:pt idx="41">
                  <c:v>1382.778</c:v>
                </c:pt>
                <c:pt idx="42">
                  <c:v>1364.3129</c:v>
                </c:pt>
                <c:pt idx="43">
                  <c:v>1374.0846</c:v>
                </c:pt>
                <c:pt idx="44">
                  <c:v>1296.4741</c:v>
                </c:pt>
                <c:pt idx="45">
                  <c:v>1256.9157</c:v>
                </c:pt>
                <c:pt idx="46">
                  <c:v>1252.8518</c:v>
                </c:pt>
                <c:pt idx="47">
                  <c:v>1220.7885</c:v>
                </c:pt>
                <c:pt idx="48">
                  <c:v>1200.6759</c:v>
                </c:pt>
                <c:pt idx="49">
                  <c:v>1209.0374</c:v>
                </c:pt>
                <c:pt idx="50">
                  <c:v>1157.2245</c:v>
                </c:pt>
                <c:pt idx="51">
                  <c:v>1139.0471</c:v>
                </c:pt>
                <c:pt idx="52">
                  <c:v>1213.080902330808</c:v>
                </c:pt>
                <c:pt idx="53">
                  <c:v>-45.15167893279582</c:v>
                </c:pt>
                <c:pt idx="54">
                  <c:v>1296.550150745931</c:v>
                </c:pt>
              </c:numCache>
            </c:numRef>
          </c:xVal>
          <c:yVal>
            <c:numRef>
              <c:f>Sheet1!$B$187:$B$241</c:f>
              <c:numCache>
                <c:formatCode>General</c:formatCode>
                <c:ptCount val="55"/>
                <c:pt idx="0">
                  <c:v>0.38119771068365665</c:v>
                </c:pt>
                <c:pt idx="1">
                  <c:v>0.38105718064390326</c:v>
                </c:pt>
                <c:pt idx="2">
                  <c:v>0.3800579692291691</c:v>
                </c:pt>
                <c:pt idx="3">
                  <c:v>0.3791118442835836</c:v>
                </c:pt>
                <c:pt idx="4">
                  <c:v>0.3785995260970185</c:v>
                </c:pt>
                <c:pt idx="5">
                  <c:v>0.37976963683791093</c:v>
                </c:pt>
                <c:pt idx="6">
                  <c:v>0.3860870743634503</c:v>
                </c:pt>
                <c:pt idx="7">
                  <c:v>0.382473537205918</c:v>
                </c:pt>
                <c:pt idx="8">
                  <c:v>0.3797054449719969</c:v>
                </c:pt>
                <c:pt idx="9">
                  <c:v>0.3853303811825771</c:v>
                </c:pt>
                <c:pt idx="10">
                  <c:v>0.382354043418049</c:v>
                </c:pt>
                <c:pt idx="11">
                  <c:v>0.38969824837132255</c:v>
                </c:pt>
                <c:pt idx="12">
                  <c:v>0.3867370038186112</c:v>
                </c:pt>
                <c:pt idx="13">
                  <c:v>0.38457235873002016</c:v>
                </c:pt>
                <c:pt idx="14">
                  <c:v>0.3837003776050182</c:v>
                </c:pt>
                <c:pt idx="15">
                  <c:v>0.383514821124421</c:v>
                </c:pt>
                <c:pt idx="16">
                  <c:v>0.3796214195285789</c:v>
                </c:pt>
                <c:pt idx="17">
                  <c:v>0.38158726465201964</c:v>
                </c:pt>
                <c:pt idx="18">
                  <c:v>0.3820893073574736</c:v>
                </c:pt>
                <c:pt idx="19">
                  <c:v>0.37582471013965996</c:v>
                </c:pt>
                <c:pt idx="20">
                  <c:v>0.3782877802378489</c:v>
                </c:pt>
                <c:pt idx="21">
                  <c:v>0.38399221955484886</c:v>
                </c:pt>
                <c:pt idx="22">
                  <c:v>0.38154381364428247</c:v>
                </c:pt>
                <c:pt idx="23">
                  <c:v>0.38304975889787307</c:v>
                </c:pt>
                <c:pt idx="24">
                  <c:v>0.3840296782902338</c:v>
                </c:pt>
                <c:pt idx="25">
                  <c:v>0.38402236377938137</c:v>
                </c:pt>
                <c:pt idx="26">
                  <c:v>0.3823144747276105</c:v>
                </c:pt>
                <c:pt idx="27">
                  <c:v>0.38139580029727227</c:v>
                </c:pt>
                <c:pt idx="28">
                  <c:v>0.37891001301633953</c:v>
                </c:pt>
                <c:pt idx="29">
                  <c:v>0.37836269067543526</c:v>
                </c:pt>
                <c:pt idx="30">
                  <c:v>0.37914232610092463</c:v>
                </c:pt>
                <c:pt idx="31">
                  <c:v>0.3807492960024817</c:v>
                </c:pt>
                <c:pt idx="32">
                  <c:v>0.37914745329170485</c:v>
                </c:pt>
                <c:pt idx="33">
                  <c:v>0.3786459029090967</c:v>
                </c:pt>
                <c:pt idx="34">
                  <c:v>0.3771073940158455</c:v>
                </c:pt>
                <c:pt idx="35">
                  <c:v>0.375614446085385</c:v>
                </c:pt>
                <c:pt idx="36">
                  <c:v>0.37433623531391313</c:v>
                </c:pt>
                <c:pt idx="37">
                  <c:v>0.37484939748249957</c:v>
                </c:pt>
                <c:pt idx="38">
                  <c:v>0.3738980890806657</c:v>
                </c:pt>
                <c:pt idx="39">
                  <c:v>0.3760264218427843</c:v>
                </c:pt>
                <c:pt idx="40">
                  <c:v>0.3747987866939472</c:v>
                </c:pt>
                <c:pt idx="41">
                  <c:v>0.3724605134039953</c:v>
                </c:pt>
                <c:pt idx="42">
                  <c:v>0.37375919777267064</c:v>
                </c:pt>
                <c:pt idx="43">
                  <c:v>0.37307193617942797</c:v>
                </c:pt>
                <c:pt idx="44">
                  <c:v>0.37853042506901313</c:v>
                </c:pt>
                <c:pt idx="45">
                  <c:v>0.38131263993542636</c:v>
                </c:pt>
                <c:pt idx="46">
                  <c:v>0.38159846148017074</c:v>
                </c:pt>
                <c:pt idx="47">
                  <c:v>0.3838535322091756</c:v>
                </c:pt>
                <c:pt idx="48">
                  <c:v>0.3852680882762113</c:v>
                </c:pt>
                <c:pt idx="49">
                  <c:v>0.3846800086368549</c:v>
                </c:pt>
                <c:pt idx="50">
                  <c:v>0.3883241049767469</c:v>
                </c:pt>
                <c:pt idx="51">
                  <c:v>0.38960255487645823</c:v>
                </c:pt>
                <c:pt idx="52">
                  <c:v>0.384395621697617</c:v>
                </c:pt>
                <c:pt idx="53">
                  <c:v>0.47288942814573165</c:v>
                </c:pt>
                <c:pt idx="54">
                  <c:v>0.378525076280489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5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020844299399937"/>
          <c:min val="0.2623945072235731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23091763337933258</c:v>
                </c:pt>
                <c:pt idx="1">
                  <c:v>0.2531113240875692</c:v>
                </c:pt>
                <c:pt idx="2">
                  <c:v>0.2463036700864584</c:v>
                </c:pt>
                <c:pt idx="3">
                  <c:v>0.2357502398817689</c:v>
                </c:pt>
                <c:pt idx="4">
                  <c:v>0.23042845190008104</c:v>
                </c:pt>
                <c:pt idx="5">
                  <c:v>0.19335075232374554</c:v>
                </c:pt>
                <c:pt idx="6">
                  <c:v>0.1890220565668219</c:v>
                </c:pt>
                <c:pt idx="7">
                  <c:v>0.2132187907179319</c:v>
                </c:pt>
                <c:pt idx="8">
                  <c:v>0.18736160930826623</c:v>
                </c:pt>
                <c:pt idx="9">
                  <c:v>0.20588036739425286</c:v>
                </c:pt>
                <c:pt idx="10">
                  <c:v>0.20038944657952434</c:v>
                </c:pt>
                <c:pt idx="11">
                  <c:v>0.21989042559368285</c:v>
                </c:pt>
                <c:pt idx="12">
                  <c:v>0.21314923541182648</c:v>
                </c:pt>
                <c:pt idx="13">
                  <c:v>0.23137285954042575</c:v>
                </c:pt>
                <c:pt idx="14">
                  <c:v>0.2530714339724265</c:v>
                </c:pt>
                <c:pt idx="15">
                  <c:v>0.2444991753609237</c:v>
                </c:pt>
                <c:pt idx="16">
                  <c:v>0.25608150275034924</c:v>
                </c:pt>
                <c:pt idx="17">
                  <c:v>0.2629124358049642</c:v>
                </c:pt>
                <c:pt idx="18">
                  <c:v>0.3163151593453919</c:v>
                </c:pt>
                <c:pt idx="19">
                  <c:v>0.30406444787823395</c:v>
                </c:pt>
                <c:pt idx="20">
                  <c:v>0.296278937219452</c:v>
                </c:pt>
                <c:pt idx="21">
                  <c:v>0.28664821644389543</c:v>
                </c:pt>
                <c:pt idx="22">
                  <c:v>0.2586821747474034</c:v>
                </c:pt>
                <c:pt idx="23">
                  <c:v>0.2734001161861351</c:v>
                </c:pt>
                <c:pt idx="24">
                  <c:v>0.2327103528923746</c:v>
                </c:pt>
                <c:pt idx="25">
                  <c:v>0.2224404783874001</c:v>
                </c:pt>
                <c:pt idx="26">
                  <c:v>0.24055883149049198</c:v>
                </c:pt>
                <c:pt idx="27">
                  <c:v>0.20169157320826106</c:v>
                </c:pt>
                <c:pt idx="28">
                  <c:v>0.18531983782267808</c:v>
                </c:pt>
                <c:pt idx="29">
                  <c:v>0.18762053872529802</c:v>
                </c:pt>
                <c:pt idx="30">
                  <c:v>0.20457306407706075</c:v>
                </c:pt>
                <c:pt idx="31">
                  <c:v>0.17822489301996827</c:v>
                </c:pt>
                <c:pt idx="32">
                  <c:v>0.16909109928984659</c:v>
                </c:pt>
                <c:pt idx="33">
                  <c:v>0.15713536929350203</c:v>
                </c:pt>
                <c:pt idx="34">
                  <c:v>0.14337430819031832</c:v>
                </c:pt>
                <c:pt idx="35">
                  <c:v>0.1665219636327012</c:v>
                </c:pt>
                <c:pt idx="36">
                  <c:v>0.20121882117940293</c:v>
                </c:pt>
                <c:pt idx="37">
                  <c:v>0.17335150449833242</c:v>
                </c:pt>
                <c:pt idx="38">
                  <c:v>0.1881670715417665</c:v>
                </c:pt>
                <c:pt idx="39">
                  <c:v>0.16662851443502194</c:v>
                </c:pt>
                <c:pt idx="40">
                  <c:v>0.18462147108411375</c:v>
                </c:pt>
                <c:pt idx="41">
                  <c:v>0.1717038840982005</c:v>
                </c:pt>
                <c:pt idx="42">
                  <c:v>0.19923006872170199</c:v>
                </c:pt>
                <c:pt idx="43">
                  <c:v>0.21259284855916016</c:v>
                </c:pt>
                <c:pt idx="44">
                  <c:v>0.2126366144049617</c:v>
                </c:pt>
                <c:pt idx="45">
                  <c:v>0.18535458193153062</c:v>
                </c:pt>
                <c:pt idx="46">
                  <c:v>0.16948573745230155</c:v>
                </c:pt>
                <c:pt idx="47">
                  <c:v>0.16573648586108602</c:v>
                </c:pt>
                <c:pt idx="48">
                  <c:v>0.17638759140823107</c:v>
                </c:pt>
                <c:pt idx="49">
                  <c:v>0.20064892857132038</c:v>
                </c:pt>
                <c:pt idx="50">
                  <c:v>0.1531315189481948</c:v>
                </c:pt>
                <c:pt idx="51">
                  <c:v>0.15493782551181973</c:v>
                </c:pt>
                <c:pt idx="52">
                  <c:v>0.15011700327101063</c:v>
                </c:pt>
                <c:pt idx="53">
                  <c:v>0.1675842613505501</c:v>
                </c:pt>
                <c:pt idx="54">
                  <c:v>0.1673991479336111</c:v>
                </c:pt>
                <c:pt idx="55">
                  <c:v>0.1628164141122304</c:v>
                </c:pt>
                <c:pt idx="56">
                  <c:v>0.15780533506747563</c:v>
                </c:pt>
                <c:pt idx="57">
                  <c:v>0.1657877880713165</c:v>
                </c:pt>
                <c:pt idx="58">
                  <c:v>0.17559709884995023</c:v>
                </c:pt>
                <c:pt idx="59">
                  <c:v>0.1780539366165811</c:v>
                </c:pt>
                <c:pt idx="60">
                  <c:v>0.15987208642270934</c:v>
                </c:pt>
                <c:pt idx="61">
                  <c:v>0.15696868241822093</c:v>
                </c:pt>
                <c:pt idx="62">
                  <c:v>0.14064261080011115</c:v>
                </c:pt>
                <c:pt idx="63">
                  <c:v>0.15687246597891294</c:v>
                </c:pt>
                <c:pt idx="64">
                  <c:v>0.15519714297929063</c:v>
                </c:pt>
                <c:pt idx="65">
                  <c:v>0.1426125650075148</c:v>
                </c:pt>
                <c:pt idx="66">
                  <c:v>0.13799374128396621</c:v>
                </c:pt>
                <c:pt idx="67">
                  <c:v>0.13615955527564186</c:v>
                </c:pt>
                <c:pt idx="68">
                  <c:v>0.1422505184411995</c:v>
                </c:pt>
                <c:pt idx="69">
                  <c:v>0.1372687761260139</c:v>
                </c:pt>
                <c:pt idx="70">
                  <c:v>0.14816729250153296</c:v>
                </c:pt>
                <c:pt idx="71">
                  <c:v>0.1367227364781349</c:v>
                </c:pt>
                <c:pt idx="72">
                  <c:v>0.14064598252023813</c:v>
                </c:pt>
                <c:pt idx="73">
                  <c:v>0.16153659237212234</c:v>
                </c:pt>
                <c:pt idx="74">
                  <c:v>0.1432014831302787</c:v>
                </c:pt>
                <c:pt idx="75">
                  <c:v>0.15524037437106303</c:v>
                </c:pt>
                <c:pt idx="76">
                  <c:v>0.14549562448647202</c:v>
                </c:pt>
                <c:pt idx="77">
                  <c:v>0.14357772952112252</c:v>
                </c:pt>
                <c:pt idx="78">
                  <c:v>0.14329627063800845</c:v>
                </c:pt>
                <c:pt idx="79">
                  <c:v>0.14140240396170145</c:v>
                </c:pt>
                <c:pt idx="80">
                  <c:v>0.13405688642349964</c:v>
                </c:pt>
                <c:pt idx="81">
                  <c:v>0.15268714510853407</c:v>
                </c:pt>
                <c:pt idx="82">
                  <c:v>0.14684995698491288</c:v>
                </c:pt>
                <c:pt idx="83">
                  <c:v>0.14008918328923106</c:v>
                </c:pt>
                <c:pt idx="84">
                  <c:v>0.13069197015874323</c:v>
                </c:pt>
                <c:pt idx="85">
                  <c:v>0.11653474091602019</c:v>
                </c:pt>
                <c:pt idx="86">
                  <c:v>0.12717033961243487</c:v>
                </c:pt>
                <c:pt idx="87">
                  <c:v>0.12054213781341516</c:v>
                </c:pt>
                <c:pt idx="88">
                  <c:v>0.15274933740198127</c:v>
                </c:pt>
                <c:pt idx="89">
                  <c:v>0.1416055343051176</c:v>
                </c:pt>
                <c:pt idx="90">
                  <c:v>0.14312572363286716</c:v>
                </c:pt>
                <c:pt idx="91">
                  <c:v>0.1467222602977461</c:v>
                </c:pt>
                <c:pt idx="92">
                  <c:v>0.14086121224297427</c:v>
                </c:pt>
                <c:pt idx="93">
                  <c:v>0.13171394661842697</c:v>
                </c:pt>
                <c:pt idx="94">
                  <c:v>0.1317866614290264</c:v>
                </c:pt>
                <c:pt idx="95">
                  <c:v>0.1368444101027441</c:v>
                </c:pt>
                <c:pt idx="96">
                  <c:v>0.12691071492992995</c:v>
                </c:pt>
                <c:pt idx="97">
                  <c:v>0.1406222032649015</c:v>
                </c:pt>
                <c:pt idx="98">
                  <c:v>0.1334947850326994</c:v>
                </c:pt>
                <c:pt idx="99">
                  <c:v>0.13259623538634688</c:v>
                </c:pt>
                <c:pt idx="100">
                  <c:v>0.13130175974062075</c:v>
                </c:pt>
                <c:pt idx="101">
                  <c:v>0.1421966173568493</c:v>
                </c:pt>
                <c:pt idx="102">
                  <c:v>0.14232699277078004</c:v>
                </c:pt>
                <c:pt idx="103">
                  <c:v>0.12782719019420014</c:v>
                </c:pt>
                <c:pt idx="104">
                  <c:v>0.14015871903844004</c:v>
                </c:pt>
              </c:numCache>
            </c:numRef>
          </c:xVal>
          <c:yVal>
            <c:numRef>
              <c:f>Sheet1!$B$2:$B$106</c:f>
              <c:numCache>
                <c:formatCode>General</c:formatCode>
                <c:ptCount val="105"/>
                <c:pt idx="0">
                  <c:v>0.4239107556303936</c:v>
                </c:pt>
                <c:pt idx="1">
                  <c:v>0.4512462450271982</c:v>
                </c:pt>
                <c:pt idx="2">
                  <c:v>0.4753843637553157</c:v>
                </c:pt>
                <c:pt idx="3">
                  <c:v>0.4804006968641115</c:v>
                </c:pt>
                <c:pt idx="4">
                  <c:v>0.4858619344773791</c:v>
                </c:pt>
                <c:pt idx="5">
                  <c:v>0.46897702729236207</c:v>
                </c:pt>
                <c:pt idx="6">
                  <c:v>0.4864984115778327</c:v>
                </c:pt>
                <c:pt idx="7">
                  <c:v>0.5017370249499947</c:v>
                </c:pt>
                <c:pt idx="8">
                  <c:v>0.4819883937369977</c:v>
                </c:pt>
                <c:pt idx="9">
                  <c:v>0.47369289130793335</c:v>
                </c:pt>
                <c:pt idx="10">
                  <c:v>0.45149223387818166</c:v>
                </c:pt>
                <c:pt idx="11">
                  <c:v>0.4095262096774194</c:v>
                </c:pt>
                <c:pt idx="12">
                  <c:v>0.38759749197124943</c:v>
                </c:pt>
                <c:pt idx="13">
                  <c:v>0.3695235049568276</c:v>
                </c:pt>
                <c:pt idx="14">
                  <c:v>0.34246018849528764</c:v>
                </c:pt>
                <c:pt idx="15">
                  <c:v>0.34064755217476106</c:v>
                </c:pt>
                <c:pt idx="16">
                  <c:v>0.3369942844334865</c:v>
                </c:pt>
                <c:pt idx="17">
                  <c:v>0.3341232227488152</c:v>
                </c:pt>
                <c:pt idx="18">
                  <c:v>0.32799313402946645</c:v>
                </c:pt>
                <c:pt idx="19">
                  <c:v>0.3379831932773109</c:v>
                </c:pt>
                <c:pt idx="20">
                  <c:v>0.34795986622073577</c:v>
                </c:pt>
                <c:pt idx="21">
                  <c:v>0.3787775891341256</c:v>
                </c:pt>
                <c:pt idx="22">
                  <c:v>0.41098169717138106</c:v>
                </c:pt>
                <c:pt idx="23">
                  <c:v>0.4266851980542043</c:v>
                </c:pt>
                <c:pt idx="24">
                  <c:v>0.4353413654618474</c:v>
                </c:pt>
                <c:pt idx="25">
                  <c:v>0.43551027833363654</c:v>
                </c:pt>
                <c:pt idx="26">
                  <c:v>0.43415826458906204</c:v>
                </c:pt>
                <c:pt idx="27">
                  <c:v>0.43204599056603776</c:v>
                </c:pt>
                <c:pt idx="28">
                  <c:v>0.42945163277880466</c:v>
                </c:pt>
                <c:pt idx="29">
                  <c:v>0.42727522683530383</c:v>
                </c:pt>
                <c:pt idx="30">
                  <c:v>0.4351931330472103</c:v>
                </c:pt>
                <c:pt idx="31">
                  <c:v>0.43981327109036344</c:v>
                </c:pt>
                <c:pt idx="32">
                  <c:v>0.45374449339207046</c:v>
                </c:pt>
                <c:pt idx="33">
                  <c:v>0.45726610946346724</c:v>
                </c:pt>
                <c:pt idx="34">
                  <c:v>0.4426210562810586</c:v>
                </c:pt>
                <c:pt idx="35">
                  <c:v>0.4407240667792159</c:v>
                </c:pt>
                <c:pt idx="36">
                  <c:v>0.4074610648315828</c:v>
                </c:pt>
                <c:pt idx="37">
                  <c:v>0.4107889802394346</c:v>
                </c:pt>
                <c:pt idx="38">
                  <c:v>0.39714285714285713</c:v>
                </c:pt>
                <c:pt idx="39">
                  <c:v>0.38832208444514205</c:v>
                </c:pt>
                <c:pt idx="40">
                  <c:v>0.39433745695702077</c:v>
                </c:pt>
                <c:pt idx="41">
                  <c:v>0.3854439592430859</c:v>
                </c:pt>
                <c:pt idx="42">
                  <c:v>0.3819291819291819</c:v>
                </c:pt>
                <c:pt idx="43">
                  <c:v>0.376271186440678</c:v>
                </c:pt>
                <c:pt idx="44">
                  <c:v>0.36918229987111556</c:v>
                </c:pt>
                <c:pt idx="45">
                  <c:v>0.37949891898766375</c:v>
                </c:pt>
                <c:pt idx="46">
                  <c:v>0.3818250046907249</c:v>
                </c:pt>
                <c:pt idx="47">
                  <c:v>0.37446509548444784</c:v>
                </c:pt>
                <c:pt idx="48">
                  <c:v>0.3740657698056801</c:v>
                </c:pt>
                <c:pt idx="49">
                  <c:v>0.3957670273711012</c:v>
                </c:pt>
                <c:pt idx="50">
                  <c:v>0.3829800307219662</c:v>
                </c:pt>
                <c:pt idx="51">
                  <c:v>0.38265905000391265</c:v>
                </c:pt>
                <c:pt idx="52">
                  <c:v>0.38758292007470857</c:v>
                </c:pt>
                <c:pt idx="53">
                  <c:v>0.3900463939266132</c:v>
                </c:pt>
                <c:pt idx="54">
                  <c:v>0.4068548767821735</c:v>
                </c:pt>
                <c:pt idx="55">
                  <c:v>0.40231000679413764</c:v>
                </c:pt>
                <c:pt idx="56">
                  <c:v>0.40492992744260015</c:v>
                </c:pt>
                <c:pt idx="57">
                  <c:v>0.4032900432900433</c:v>
                </c:pt>
                <c:pt idx="58">
                  <c:v>0.40355446606404166</c:v>
                </c:pt>
                <c:pt idx="59">
                  <c:v>0.4095966279468706</c:v>
                </c:pt>
                <c:pt idx="60">
                  <c:v>0.41369964927197367</c:v>
                </c:pt>
                <c:pt idx="61">
                  <c:v>0.4078808843435103</c:v>
                </c:pt>
                <c:pt idx="62">
                  <c:v>0.42490685010031526</c:v>
                </c:pt>
                <c:pt idx="63">
                  <c:v>0.4329307464987794</c:v>
                </c:pt>
                <c:pt idx="64">
                  <c:v>0.40296859666339546</c:v>
                </c:pt>
                <c:pt idx="65">
                  <c:v>0.3858246556936513</c:v>
                </c:pt>
                <c:pt idx="66">
                  <c:v>0.3937115026500501</c:v>
                </c:pt>
                <c:pt idx="67">
                  <c:v>0.3806010298977788</c:v>
                </c:pt>
                <c:pt idx="68">
                  <c:v>0.3738595985786997</c:v>
                </c:pt>
                <c:pt idx="69">
                  <c:v>0.3586266948625451</c:v>
                </c:pt>
                <c:pt idx="70">
                  <c:v>0.35929799254718114</c:v>
                </c:pt>
                <c:pt idx="71">
                  <c:v>0.3719270420301348</c:v>
                </c:pt>
                <c:pt idx="72">
                  <c:v>0.36006764101944677</c:v>
                </c:pt>
                <c:pt idx="73">
                  <c:v>0.37508205330182487</c:v>
                </c:pt>
                <c:pt idx="74">
                  <c:v>0.3689893283113622</c:v>
                </c:pt>
                <c:pt idx="75">
                  <c:v>0.3894919669995658</c:v>
                </c:pt>
                <c:pt idx="76">
                  <c:v>0.38619084561675715</c:v>
                </c:pt>
                <c:pt idx="77">
                  <c:v>0.3844660194174757</c:v>
                </c:pt>
                <c:pt idx="78">
                  <c:v>0.3721391241665165</c:v>
                </c:pt>
                <c:pt idx="79">
                  <c:v>0.3736413043478261</c:v>
                </c:pt>
                <c:pt idx="80">
                  <c:v>0.3575949367088608</c:v>
                </c:pt>
                <c:pt idx="81">
                  <c:v>0.36902301226402096</c:v>
                </c:pt>
                <c:pt idx="82">
                  <c:v>0.3699607563325009</c:v>
                </c:pt>
                <c:pt idx="83">
                  <c:v>0.3690276613579212</c:v>
                </c:pt>
                <c:pt idx="84">
                  <c:v>0.36804832326598624</c:v>
                </c:pt>
                <c:pt idx="85">
                  <c:v>0.3832346410066617</c:v>
                </c:pt>
                <c:pt idx="86">
                  <c:v>0.37422092560668346</c:v>
                </c:pt>
                <c:pt idx="87">
                  <c:v>0.38972738972738974</c:v>
                </c:pt>
                <c:pt idx="88">
                  <c:v>0.38807325563795975</c:v>
                </c:pt>
                <c:pt idx="89">
                  <c:v>0.38534528202424884</c:v>
                </c:pt>
                <c:pt idx="90">
                  <c:v>0.3770341927226184</c:v>
                </c:pt>
                <c:pt idx="91">
                  <c:v>0.3520099608680185</c:v>
                </c:pt>
                <c:pt idx="92">
                  <c:v>0.3580113482842475</c:v>
                </c:pt>
                <c:pt idx="93">
                  <c:v>0.3381950774840474</c:v>
                </c:pt>
                <c:pt idx="94">
                  <c:v>0.34188157326033713</c:v>
                </c:pt>
                <c:pt idx="95">
                  <c:v>0.3420349434737924</c:v>
                </c:pt>
                <c:pt idx="96">
                  <c:v>0.3489128827096583</c:v>
                </c:pt>
                <c:pt idx="97">
                  <c:v>0.35034832172260927</c:v>
                </c:pt>
                <c:pt idx="98">
                  <c:v>0.36162021472725303</c:v>
                </c:pt>
                <c:pt idx="99">
                  <c:v>0.3682985896766228</c:v>
                </c:pt>
                <c:pt idx="100">
                  <c:v>0.3678157019746217</c:v>
                </c:pt>
                <c:pt idx="101">
                  <c:v>0.3711527954835185</c:v>
                </c:pt>
                <c:pt idx="102">
                  <c:v>0.3555750658472344</c:v>
                </c:pt>
                <c:pt idx="103">
                  <c:v>0.3484848484848485</c:v>
                </c:pt>
                <c:pt idx="104">
                  <c:v>0.3540372670807453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215542625586976</c:v>
                </c:pt>
                <c:pt idx="1">
                  <c:v>0.1271574087670678</c:v>
                </c:pt>
                <c:pt idx="2">
                  <c:v>0.1390802852922327</c:v>
                </c:pt>
                <c:pt idx="3">
                  <c:v>0.14194987712347445</c:v>
                </c:pt>
                <c:pt idx="4">
                  <c:v>0.1563473620891165</c:v>
                </c:pt>
                <c:pt idx="5">
                  <c:v>0.16155246962414566</c:v>
                </c:pt>
                <c:pt idx="6">
                  <c:v>0.15140301698923786</c:v>
                </c:pt>
                <c:pt idx="7">
                  <c:v>0.14394223649255292</c:v>
                </c:pt>
                <c:pt idx="8">
                  <c:v>0.16660863379200003</c:v>
                </c:pt>
                <c:pt idx="9">
                  <c:v>0.14594732367973554</c:v>
                </c:pt>
                <c:pt idx="10">
                  <c:v>0.1536712061234571</c:v>
                </c:pt>
                <c:pt idx="11">
                  <c:v>0.14404296884273224</c:v>
                </c:pt>
                <c:pt idx="12">
                  <c:v>0.16323266960085706</c:v>
                </c:pt>
                <c:pt idx="13">
                  <c:v>0.147633963558155</c:v>
                </c:pt>
                <c:pt idx="14">
                  <c:v>0.13661802021752514</c:v>
                </c:pt>
                <c:pt idx="15">
                  <c:v>0.13411638080060428</c:v>
                </c:pt>
                <c:pt idx="16">
                  <c:v>0.11887292907772203</c:v>
                </c:pt>
                <c:pt idx="17">
                  <c:v>0.11797111239521388</c:v>
                </c:pt>
                <c:pt idx="18">
                  <c:v>0.13595355605534198</c:v>
                </c:pt>
                <c:pt idx="19">
                  <c:v>0.15575718096547542</c:v>
                </c:pt>
                <c:pt idx="20">
                  <c:v>0.14069154472912998</c:v>
                </c:pt>
                <c:pt idx="21">
                  <c:v>0.11684360783336566</c:v>
                </c:pt>
                <c:pt idx="22">
                  <c:v>0.13302418583264058</c:v>
                </c:pt>
                <c:pt idx="23">
                  <c:v>0.12928381624338667</c:v>
                </c:pt>
                <c:pt idx="24">
                  <c:v>0.13154514669182504</c:v>
                </c:pt>
                <c:pt idx="25">
                  <c:v>0.14224754122633299</c:v>
                </c:pt>
                <c:pt idx="26">
                  <c:v>0.12603263676659662</c:v>
                </c:pt>
                <c:pt idx="27">
                  <c:v>0.1480153439172087</c:v>
                </c:pt>
                <c:pt idx="28">
                  <c:v>0.1451587997650524</c:v>
                </c:pt>
                <c:pt idx="29">
                  <c:v>0.1469507198685568</c:v>
                </c:pt>
                <c:pt idx="30">
                  <c:v>0.1581860475874499</c:v>
                </c:pt>
                <c:pt idx="31">
                  <c:v>0.13069927611068122</c:v>
                </c:pt>
                <c:pt idx="32">
                  <c:v>0.12954648503949018</c:v>
                </c:pt>
                <c:pt idx="33">
                  <c:v>0.1531983199242783</c:v>
                </c:pt>
                <c:pt idx="34">
                  <c:v>0.1309602605863192</c:v>
                </c:pt>
                <c:pt idx="35">
                  <c:v>0.14937007061576288</c:v>
                </c:pt>
                <c:pt idx="36">
                  <c:v>0.13777806834841025</c:v>
                </c:pt>
                <c:pt idx="37">
                  <c:v>0.14716283124432653</c:v>
                </c:pt>
                <c:pt idx="38">
                  <c:v>0.13579461084808017</c:v>
                </c:pt>
                <c:pt idx="39">
                  <c:v>0.15309247942076457</c:v>
                </c:pt>
                <c:pt idx="40">
                  <c:v>0.145323335695998</c:v>
                </c:pt>
                <c:pt idx="41">
                  <c:v>0.14835896845359417</c:v>
                </c:pt>
                <c:pt idx="42">
                  <c:v>0.14913461367662864</c:v>
                </c:pt>
                <c:pt idx="43">
                  <c:v>0.16468323870902235</c:v>
                </c:pt>
                <c:pt idx="44">
                  <c:v>0.17033448883254138</c:v>
                </c:pt>
                <c:pt idx="45">
                  <c:v>0.1675789912620027</c:v>
                </c:pt>
                <c:pt idx="46">
                  <c:v>0.15494612079027417</c:v>
                </c:pt>
                <c:pt idx="47">
                  <c:v>0.1520218656523744</c:v>
                </c:pt>
                <c:pt idx="48">
                  <c:v>0.16025938168535256</c:v>
                </c:pt>
                <c:pt idx="49">
                  <c:v>0.16090353924933434</c:v>
                </c:pt>
                <c:pt idx="50">
                  <c:v>0.17829248654514934</c:v>
                </c:pt>
                <c:pt idx="51">
                  <c:v>0.16219602514279033</c:v>
                </c:pt>
              </c:numCache>
            </c:numRef>
          </c:xVal>
          <c:yVal>
            <c:numRef>
              <c:f>Sheet1!$B$109:$B$160</c:f>
              <c:numCache>
                <c:formatCode>General</c:formatCode>
                <c:ptCount val="52"/>
                <c:pt idx="0">
                  <c:v>0.37497133246693676</c:v>
                </c:pt>
                <c:pt idx="1">
                  <c:v>0.3773307163886163</c:v>
                </c:pt>
                <c:pt idx="2">
                  <c:v>0.38332150461320086</c:v>
                </c:pt>
                <c:pt idx="3">
                  <c:v>0.3962141931769109</c:v>
                </c:pt>
                <c:pt idx="4">
                  <c:v>0.3872872258856004</c:v>
                </c:pt>
                <c:pt idx="5">
                  <c:v>0.37981790591805764</c:v>
                </c:pt>
                <c:pt idx="6">
                  <c:v>0.3899407428819194</c:v>
                </c:pt>
                <c:pt idx="7">
                  <c:v>0.3738589627846324</c:v>
                </c:pt>
                <c:pt idx="8">
                  <c:v>0.37846326416152554</c:v>
                </c:pt>
                <c:pt idx="9">
                  <c:v>0.3818398096748612</c:v>
                </c:pt>
                <c:pt idx="10">
                  <c:v>0.37817380473316087</c:v>
                </c:pt>
                <c:pt idx="11">
                  <c:v>0.3849095966620306</c:v>
                </c:pt>
                <c:pt idx="12">
                  <c:v>0.38493856520015857</c:v>
                </c:pt>
                <c:pt idx="13">
                  <c:v>0.39378934116659675</c:v>
                </c:pt>
                <c:pt idx="14">
                  <c:v>0.3924946456839557</c:v>
                </c:pt>
                <c:pt idx="15">
                  <c:v>0.3900994075710413</c:v>
                </c:pt>
                <c:pt idx="16">
                  <c:v>0.37129760225669955</c:v>
                </c:pt>
                <c:pt idx="17">
                  <c:v>0.36655281776042936</c:v>
                </c:pt>
                <c:pt idx="18">
                  <c:v>0.3758927270077248</c:v>
                </c:pt>
                <c:pt idx="19">
                  <c:v>0.37719772788747635</c:v>
                </c:pt>
                <c:pt idx="20">
                  <c:v>0.3799126637554585</c:v>
                </c:pt>
                <c:pt idx="21">
                  <c:v>0.39872825883673085</c:v>
                </c:pt>
                <c:pt idx="22">
                  <c:v>0.38453038674033146</c:v>
                </c:pt>
                <c:pt idx="23">
                  <c:v>0.3996343692870201</c:v>
                </c:pt>
                <c:pt idx="24">
                  <c:v>0.4043537881384985</c:v>
                </c:pt>
                <c:pt idx="25">
                  <c:v>0.3878340365682138</c:v>
                </c:pt>
                <c:pt idx="26">
                  <c:v>0.3788494077834179</c:v>
                </c:pt>
                <c:pt idx="27">
                  <c:v>0.36995550099739144</c:v>
                </c:pt>
                <c:pt idx="28">
                  <c:v>0.36761519572439694</c:v>
                </c:pt>
                <c:pt idx="29">
                  <c:v>0.37344761238411756</c:v>
                </c:pt>
                <c:pt idx="30">
                  <c:v>0.375846099038119</c:v>
                </c:pt>
                <c:pt idx="31">
                  <c:v>0.3678982916170044</c:v>
                </c:pt>
                <c:pt idx="32">
                  <c:v>0.3681654676258993</c:v>
                </c:pt>
                <c:pt idx="33">
                  <c:v>0.36993243243243246</c:v>
                </c:pt>
                <c:pt idx="34">
                  <c:v>0.38923351908316683</c:v>
                </c:pt>
                <c:pt idx="35">
                  <c:v>0.3751405371642723</c:v>
                </c:pt>
                <c:pt idx="36">
                  <c:v>0.37576914916189263</c:v>
                </c:pt>
                <c:pt idx="37">
                  <c:v>0.3866439005881237</c:v>
                </c:pt>
                <c:pt idx="38">
                  <c:v>0.38306716254648876</c:v>
                </c:pt>
                <c:pt idx="39">
                  <c:v>0.38282227784730916</c:v>
                </c:pt>
                <c:pt idx="40">
                  <c:v>0.37203206907184705</c:v>
                </c:pt>
                <c:pt idx="41">
                  <c:v>0.3687472971024939</c:v>
                </c:pt>
                <c:pt idx="42">
                  <c:v>0.3794006877353856</c:v>
                </c:pt>
                <c:pt idx="43">
                  <c:v>0.37003058103975534</c:v>
                </c:pt>
                <c:pt idx="44">
                  <c:v>0.3628257207965917</c:v>
                </c:pt>
                <c:pt idx="45">
                  <c:v>0.37526546793147386</c:v>
                </c:pt>
                <c:pt idx="46">
                  <c:v>0.38572265461544897</c:v>
                </c:pt>
                <c:pt idx="47">
                  <c:v>0.3863967487155893</c:v>
                </c:pt>
                <c:pt idx="48">
                  <c:v>0.36995686374016745</c:v>
                </c:pt>
                <c:pt idx="49">
                  <c:v>0.38308429337287553</c:v>
                </c:pt>
                <c:pt idx="50">
                  <c:v>0.3921795206321989</c:v>
                </c:pt>
                <c:pt idx="51">
                  <c:v>0.392361809045226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3863884856557012</c:v>
                </c:pt>
              </c:numCache>
            </c:numRef>
          </c:xVal>
          <c:yVal>
            <c:numRef>
              <c:f>Sheet1!$B$163:$B$164</c:f>
              <c:numCache>
                <c:formatCode>General</c:formatCode>
                <c:ptCount val="2"/>
                <c:pt idx="0">
                  <c:v>0.47288942814573165</c:v>
                </c:pt>
                <c:pt idx="1">
                  <c:v>0.4728894281457316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3863884856557012</c:v>
                </c:pt>
                <c:pt idx="1">
                  <c:v>-1.3863884856557012</c:v>
                </c:pt>
              </c:numCache>
            </c:numRef>
          </c:xVal>
          <c:yVal>
            <c:numRef>
              <c:f>Sheet1!$B$167:$B$168</c:f>
              <c:numCache>
                <c:formatCode>General</c:formatCode>
                <c:ptCount val="2"/>
                <c:pt idx="0">
                  <c:v>0.4728894281457316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384443972635862</c:v>
                </c:pt>
              </c:numCache>
            </c:numRef>
          </c:xVal>
          <c:yVal>
            <c:numRef>
              <c:f>Sheet1!$B$171:$B$172</c:f>
              <c:numCache>
                <c:formatCode>General</c:formatCode>
                <c:ptCount val="2"/>
                <c:pt idx="0">
                  <c:v>0.384395621697617</c:v>
                </c:pt>
                <c:pt idx="1">
                  <c:v>0.38439562169761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384443972635862</c:v>
                </c:pt>
                <c:pt idx="1">
                  <c:v>0.08384443972635862</c:v>
                </c:pt>
              </c:numCache>
            </c:numRef>
          </c:xVal>
          <c:yVal>
            <c:numRef>
              <c:f>Sheet1!$B$175:$B$176</c:f>
              <c:numCache>
                <c:formatCode>General</c:formatCode>
                <c:ptCount val="2"/>
                <c:pt idx="0">
                  <c:v>0.38439562169761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813774706653325</c:v>
                </c:pt>
              </c:numCache>
            </c:numRef>
          </c:xVal>
          <c:yVal>
            <c:numRef>
              <c:f>Sheet1!$B$179:$B$180</c:f>
              <c:numCache>
                <c:formatCode>General</c:formatCode>
                <c:ptCount val="2"/>
                <c:pt idx="0">
                  <c:v>0.37852507628048954</c:v>
                </c:pt>
                <c:pt idx="1">
                  <c:v>0.3785250762804895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813774706653325</c:v>
                </c:pt>
                <c:pt idx="1">
                  <c:v>0.1813774706653325</c:v>
                </c:pt>
              </c:numCache>
            </c:numRef>
          </c:xVal>
          <c:yVal>
            <c:numRef>
              <c:f>Sheet1!$B$183:$B$184</c:f>
              <c:numCache>
                <c:formatCode>General</c:formatCode>
                <c:ptCount val="2"/>
                <c:pt idx="0">
                  <c:v>0.378525076280489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215542625586976</c:v>
                </c:pt>
                <c:pt idx="1">
                  <c:v>0.1271574087670678</c:v>
                </c:pt>
                <c:pt idx="2">
                  <c:v>0.1390802852922327</c:v>
                </c:pt>
                <c:pt idx="3">
                  <c:v>0.14194987712347445</c:v>
                </c:pt>
                <c:pt idx="4">
                  <c:v>0.1563473620891165</c:v>
                </c:pt>
                <c:pt idx="5">
                  <c:v>0.16155246962414566</c:v>
                </c:pt>
                <c:pt idx="6">
                  <c:v>0.15140301698923786</c:v>
                </c:pt>
                <c:pt idx="7">
                  <c:v>0.14394223649255292</c:v>
                </c:pt>
                <c:pt idx="8">
                  <c:v>0.16660863379200003</c:v>
                </c:pt>
                <c:pt idx="9">
                  <c:v>0.14594732367973554</c:v>
                </c:pt>
                <c:pt idx="10">
                  <c:v>0.1536712061234571</c:v>
                </c:pt>
                <c:pt idx="11">
                  <c:v>0.14404296884273224</c:v>
                </c:pt>
                <c:pt idx="12">
                  <c:v>0.16323266960085706</c:v>
                </c:pt>
                <c:pt idx="13">
                  <c:v>0.147633963558155</c:v>
                </c:pt>
                <c:pt idx="14">
                  <c:v>0.13661802021752514</c:v>
                </c:pt>
                <c:pt idx="15">
                  <c:v>0.13411638080060428</c:v>
                </c:pt>
                <c:pt idx="16">
                  <c:v>0.11887292907772203</c:v>
                </c:pt>
                <c:pt idx="17">
                  <c:v>0.11797111239521388</c:v>
                </c:pt>
                <c:pt idx="18">
                  <c:v>0.13595355605534198</c:v>
                </c:pt>
                <c:pt idx="19">
                  <c:v>0.15575718096547542</c:v>
                </c:pt>
                <c:pt idx="20">
                  <c:v>0.14069154472912998</c:v>
                </c:pt>
                <c:pt idx="21">
                  <c:v>0.11684360783336566</c:v>
                </c:pt>
                <c:pt idx="22">
                  <c:v>0.13302418583264058</c:v>
                </c:pt>
                <c:pt idx="23">
                  <c:v>0.12928381624338667</c:v>
                </c:pt>
                <c:pt idx="24">
                  <c:v>0.13154514669182504</c:v>
                </c:pt>
                <c:pt idx="25">
                  <c:v>0.14224754122633299</c:v>
                </c:pt>
                <c:pt idx="26">
                  <c:v>0.12603263676659662</c:v>
                </c:pt>
                <c:pt idx="27">
                  <c:v>0.1480153439172087</c:v>
                </c:pt>
                <c:pt idx="28">
                  <c:v>0.1451587997650524</c:v>
                </c:pt>
                <c:pt idx="29">
                  <c:v>0.1469507198685568</c:v>
                </c:pt>
                <c:pt idx="30">
                  <c:v>0.1581860475874499</c:v>
                </c:pt>
                <c:pt idx="31">
                  <c:v>0.13069927611068122</c:v>
                </c:pt>
                <c:pt idx="32">
                  <c:v>0.12954648503949018</c:v>
                </c:pt>
                <c:pt idx="33">
                  <c:v>0.1531983199242783</c:v>
                </c:pt>
                <c:pt idx="34">
                  <c:v>0.1309602605863192</c:v>
                </c:pt>
                <c:pt idx="35">
                  <c:v>0.14937007061576288</c:v>
                </c:pt>
                <c:pt idx="36">
                  <c:v>0.13777806834841025</c:v>
                </c:pt>
                <c:pt idx="37">
                  <c:v>0.14716283124432653</c:v>
                </c:pt>
                <c:pt idx="38">
                  <c:v>0.13579461084808017</c:v>
                </c:pt>
                <c:pt idx="39">
                  <c:v>0.15309247942076457</c:v>
                </c:pt>
                <c:pt idx="40">
                  <c:v>0.145323335695998</c:v>
                </c:pt>
                <c:pt idx="41">
                  <c:v>0.14835896845359417</c:v>
                </c:pt>
                <c:pt idx="42">
                  <c:v>0.14913461367662864</c:v>
                </c:pt>
                <c:pt idx="43">
                  <c:v>0.16468323870902235</c:v>
                </c:pt>
                <c:pt idx="44">
                  <c:v>0.17033448883254138</c:v>
                </c:pt>
                <c:pt idx="45">
                  <c:v>0.1675789912620027</c:v>
                </c:pt>
                <c:pt idx="46">
                  <c:v>0.15494612079027417</c:v>
                </c:pt>
                <c:pt idx="47">
                  <c:v>0.1520218656523744</c:v>
                </c:pt>
                <c:pt idx="48">
                  <c:v>0.16025938168535256</c:v>
                </c:pt>
                <c:pt idx="49">
                  <c:v>0.16090353924933434</c:v>
                </c:pt>
                <c:pt idx="50">
                  <c:v>0.17829248654514934</c:v>
                </c:pt>
                <c:pt idx="51">
                  <c:v>0.16219602514279033</c:v>
                </c:pt>
                <c:pt idx="52">
                  <c:v>0.08384443972635862</c:v>
                </c:pt>
                <c:pt idx="53">
                  <c:v>-1.3863884856557012</c:v>
                </c:pt>
                <c:pt idx="54">
                  <c:v>0.1813774706653325</c:v>
                </c:pt>
              </c:numCache>
            </c:numRef>
          </c:xVal>
          <c:yVal>
            <c:numRef>
              <c:f>Sheet1!$B$187:$B$241</c:f>
              <c:numCache>
                <c:formatCode>General</c:formatCode>
                <c:ptCount val="55"/>
                <c:pt idx="0">
                  <c:v>0.38212585497881596</c:v>
                </c:pt>
                <c:pt idx="1">
                  <c:v>0.38178859975380786</c:v>
                </c:pt>
                <c:pt idx="2">
                  <c:v>0.38107095786910544</c:v>
                </c:pt>
                <c:pt idx="3">
                  <c:v>0.38089823618690466</c:v>
                </c:pt>
                <c:pt idx="4">
                  <c:v>0.38003164680103707</c:v>
                </c:pt>
                <c:pt idx="5">
                  <c:v>0.3797183496555342</c:v>
                </c:pt>
                <c:pt idx="6">
                  <c:v>0.3803292485692519</c:v>
                </c:pt>
                <c:pt idx="7">
                  <c:v>0.3807783154169787</c:v>
                </c:pt>
                <c:pt idx="8">
                  <c:v>0.37941401746060416</c:v>
                </c:pt>
                <c:pt idx="9">
                  <c:v>0.3806576285554679</c:v>
                </c:pt>
                <c:pt idx="10">
                  <c:v>0.38019272551445826</c:v>
                </c:pt>
                <c:pt idx="11">
                  <c:v>0.38077225230347744</c:v>
                </c:pt>
                <c:pt idx="12">
                  <c:v>0.3796172178627643</c:v>
                </c:pt>
                <c:pt idx="13">
                  <c:v>0.3805561091428825</c:v>
                </c:pt>
                <c:pt idx="14">
                  <c:v>0.38121916241899917</c:v>
                </c:pt>
                <c:pt idx="15">
                  <c:v>0.38136973692358417</c:v>
                </c:pt>
                <c:pt idx="16">
                  <c:v>0.38228724532859787</c:v>
                </c:pt>
                <c:pt idx="17">
                  <c:v>0.382341525973233</c:v>
                </c:pt>
                <c:pt idx="18">
                  <c:v>0.38125915673686867</c:v>
                </c:pt>
                <c:pt idx="19">
                  <c:v>0.3800671699982279</c:v>
                </c:pt>
                <c:pt idx="20">
                  <c:v>0.3809739756302473</c:v>
                </c:pt>
                <c:pt idx="21">
                  <c:v>0.38240939084603176</c:v>
                </c:pt>
                <c:pt idx="22">
                  <c:v>0.38143547650023896</c:v>
                </c:pt>
                <c:pt idx="23">
                  <c:v>0.38166061058393513</c:v>
                </c:pt>
                <c:pt idx="24">
                  <c:v>0.381524500355709</c:v>
                </c:pt>
                <c:pt idx="25">
                  <c:v>0.38088031968602226</c:v>
                </c:pt>
                <c:pt idx="26">
                  <c:v>0.3818563001528328</c:v>
                </c:pt>
                <c:pt idx="27">
                  <c:v>0.3805331537328284</c:v>
                </c:pt>
                <c:pt idx="28">
                  <c:v>0.3807050900709061</c:v>
                </c:pt>
                <c:pt idx="29">
                  <c:v>0.38059723380672345</c:v>
                </c:pt>
                <c:pt idx="30">
                  <c:v>0.37992097571225963</c:v>
                </c:pt>
                <c:pt idx="31">
                  <c:v>0.381575413585984</c:v>
                </c:pt>
                <c:pt idx="32">
                  <c:v>0.3816448004621503</c:v>
                </c:pt>
                <c:pt idx="33">
                  <c:v>0.3802211886913193</c:v>
                </c:pt>
                <c:pt idx="34">
                  <c:v>0.3815597048440056</c:v>
                </c:pt>
                <c:pt idx="35">
                  <c:v>0.3804516122844074</c:v>
                </c:pt>
                <c:pt idx="36">
                  <c:v>0.38114933873800766</c:v>
                </c:pt>
                <c:pt idx="37">
                  <c:v>0.3805844667528038</c:v>
                </c:pt>
                <c:pt idx="38">
                  <c:v>0.381268723701507</c:v>
                </c:pt>
                <c:pt idx="39">
                  <c:v>0.3802275592662606</c:v>
                </c:pt>
                <c:pt idx="40">
                  <c:v>0.38069518659875856</c:v>
                </c:pt>
                <c:pt idx="41">
                  <c:v>0.3805124708582384</c:v>
                </c:pt>
                <c:pt idx="42">
                  <c:v>0.38046578451551366</c:v>
                </c:pt>
                <c:pt idx="43">
                  <c:v>0.3795299076279835</c:v>
                </c:pt>
                <c:pt idx="44">
                  <c:v>0.3791897570123995</c:v>
                </c:pt>
                <c:pt idx="45">
                  <c:v>0.37935561132328166</c:v>
                </c:pt>
                <c:pt idx="46">
                  <c:v>0.3801159879786465</c:v>
                </c:pt>
                <c:pt idx="47">
                  <c:v>0.3802919998633694</c:v>
                </c:pt>
                <c:pt idx="48">
                  <c:v>0.37979618104660184</c:v>
                </c:pt>
                <c:pt idx="49">
                  <c:v>0.37975740898959987</c:v>
                </c:pt>
                <c:pt idx="50">
                  <c:v>0.37871076249585983</c:v>
                </c:pt>
                <c:pt idx="51">
                  <c:v>0.37967961383584037</c:v>
                </c:pt>
                <c:pt idx="52">
                  <c:v>0.384395621697617</c:v>
                </c:pt>
                <c:pt idx="53">
                  <c:v>0.47288942814573165</c:v>
                </c:pt>
                <c:pt idx="54">
                  <c:v>0.378525076280489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020844299399937"/>
          <c:min val="0.2623945072235731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41.0894</c:v>
                </c:pt>
                <c:pt idx="1">
                  <c:v>915.3158</c:v>
                </c:pt>
                <c:pt idx="2">
                  <c:v>942.7571</c:v>
                </c:pt>
                <c:pt idx="3">
                  <c:v>957.3966</c:v>
                </c:pt>
                <c:pt idx="4">
                  <c:v>948.7038</c:v>
                </c:pt>
                <c:pt idx="5">
                  <c:v>937.417</c:v>
                </c:pt>
                <c:pt idx="6">
                  <c:v>901.5913</c:v>
                </c:pt>
                <c:pt idx="7">
                  <c:v>909.5936</c:v>
                </c:pt>
                <c:pt idx="8">
                  <c:v>919.9055</c:v>
                </c:pt>
                <c:pt idx="9">
                  <c:v>887.7651</c:v>
                </c:pt>
                <c:pt idx="10">
                  <c:v>887.8959</c:v>
                </c:pt>
                <c:pt idx="11">
                  <c:v>946.7932</c:v>
                </c:pt>
                <c:pt idx="12">
                  <c:v>956.4739</c:v>
                </c:pt>
                <c:pt idx="13">
                  <c:v>968.3537</c:v>
                </c:pt>
                <c:pt idx="14">
                  <c:v>1006.0743</c:v>
                </c:pt>
                <c:pt idx="15">
                  <c:v>1026.6937</c:v>
                </c:pt>
                <c:pt idx="16">
                  <c:v>1037.2591</c:v>
                </c:pt>
                <c:pt idx="17">
                  <c:v>1057.1474</c:v>
                </c:pt>
                <c:pt idx="18">
                  <c:v>1101.7257</c:v>
                </c:pt>
                <c:pt idx="19">
                  <c:v>1107.3953</c:v>
                </c:pt>
                <c:pt idx="20">
                  <c:v>1126.466</c:v>
                </c:pt>
                <c:pt idx="21">
                  <c:v>1128.6087</c:v>
                </c:pt>
                <c:pt idx="22">
                  <c:v>1088.7814</c:v>
                </c:pt>
                <c:pt idx="23">
                  <c:v>1080.0358</c:v>
                </c:pt>
                <c:pt idx="24">
                  <c:v>1080.2557</c:v>
                </c:pt>
                <c:pt idx="25">
                  <c:v>1057.1074</c:v>
                </c:pt>
                <c:pt idx="26">
                  <c:v>1049.7692</c:v>
                </c:pt>
                <c:pt idx="27">
                  <c:v>1052.7141</c:v>
                </c:pt>
                <c:pt idx="28">
                  <c:v>1059.3641</c:v>
                </c:pt>
                <c:pt idx="29">
                  <c:v>1053.898</c:v>
                </c:pt>
                <c:pt idx="30">
                  <c:v>1056.4107</c:v>
                </c:pt>
                <c:pt idx="31">
                  <c:v>1027.1585</c:v>
                </c:pt>
                <c:pt idx="32">
                  <c:v>1022.5373</c:v>
                </c:pt>
                <c:pt idx="33">
                  <c:v>981.9959</c:v>
                </c:pt>
                <c:pt idx="34">
                  <c:v>997.5131</c:v>
                </c:pt>
                <c:pt idx="35">
                  <c:v>1027.727</c:v>
                </c:pt>
                <c:pt idx="36">
                  <c:v>1093.216</c:v>
                </c:pt>
                <c:pt idx="37">
                  <c:v>1101.8992</c:v>
                </c:pt>
                <c:pt idx="38">
                  <c:v>1152.3715</c:v>
                </c:pt>
                <c:pt idx="39">
                  <c:v>1177.5412</c:v>
                </c:pt>
                <c:pt idx="40">
                  <c:v>1170.9977</c:v>
                </c:pt>
                <c:pt idx="41">
                  <c:v>1210.213</c:v>
                </c:pt>
                <c:pt idx="42">
                  <c:v>1225.1621</c:v>
                </c:pt>
                <c:pt idx="43">
                  <c:v>1231.6123</c:v>
                </c:pt>
                <c:pt idx="44">
                  <c:v>1170.7964</c:v>
                </c:pt>
                <c:pt idx="45">
                  <c:v>1134.7624</c:v>
                </c:pt>
                <c:pt idx="46">
                  <c:v>1125.4867</c:v>
                </c:pt>
                <c:pt idx="47">
                  <c:v>1116.7963</c:v>
                </c:pt>
                <c:pt idx="48">
                  <c:v>1111.2093</c:v>
                </c:pt>
                <c:pt idx="49">
                  <c:v>1059.7965</c:v>
                </c:pt>
                <c:pt idx="50">
                  <c:v>1064.2317</c:v>
                </c:pt>
                <c:pt idx="51">
                  <c:v>1070.4155</c:v>
                </c:pt>
                <c:pt idx="52">
                  <c:v>1063.6198</c:v>
                </c:pt>
                <c:pt idx="53">
                  <c:v>1180.2011</c:v>
                </c:pt>
                <c:pt idx="54">
                  <c:v>1167.9503</c:v>
                </c:pt>
                <c:pt idx="55">
                  <c:v>1185.8227</c:v>
                </c:pt>
                <c:pt idx="56">
                  <c:v>1198.8824</c:v>
                </c:pt>
                <c:pt idx="57">
                  <c:v>1167.2362</c:v>
                </c:pt>
                <c:pt idx="58">
                  <c:v>1157.2249</c:v>
                </c:pt>
                <c:pt idx="59">
                  <c:v>1130.9894</c:v>
                </c:pt>
                <c:pt idx="60">
                  <c:v>1148.0772</c:v>
                </c:pt>
                <c:pt idx="61">
                  <c:v>1169.1847</c:v>
                </c:pt>
                <c:pt idx="62">
                  <c:v>1103.899</c:v>
                </c:pt>
                <c:pt idx="63">
                  <c:v>1119.955</c:v>
                </c:pt>
                <c:pt idx="64">
                  <c:v>1132.6213</c:v>
                </c:pt>
                <c:pt idx="65">
                  <c:v>1127.5593</c:v>
                </c:pt>
                <c:pt idx="66">
                  <c:v>1168.5132</c:v>
                </c:pt>
                <c:pt idx="67">
                  <c:v>1191.0501</c:v>
                </c:pt>
                <c:pt idx="68">
                  <c:v>1211.0706</c:v>
                </c:pt>
                <c:pt idx="69">
                  <c:v>1239.64</c:v>
                </c:pt>
                <c:pt idx="70">
                  <c:v>1223.0381</c:v>
                </c:pt>
                <c:pt idx="71">
                  <c:v>1271.9492</c:v>
                </c:pt>
                <c:pt idx="72">
                  <c:v>1332.9977</c:v>
                </c:pt>
                <c:pt idx="73">
                  <c:v>1311.5495</c:v>
                </c:pt>
                <c:pt idx="74">
                  <c:v>1309.7295</c:v>
                </c:pt>
                <c:pt idx="75">
                  <c:v>1261.7722</c:v>
                </c:pt>
                <c:pt idx="76">
                  <c:v>1237.4954</c:v>
                </c:pt>
                <c:pt idx="77">
                  <c:v>1233.0345</c:v>
                </c:pt>
                <c:pt idx="78">
                  <c:v>1304.0082</c:v>
                </c:pt>
                <c:pt idx="79">
                  <c:v>1276.5923</c:v>
                </c:pt>
                <c:pt idx="80">
                  <c:v>1295.53</c:v>
                </c:pt>
                <c:pt idx="81">
                  <c:v>1271.5388</c:v>
                </c:pt>
                <c:pt idx="82">
                  <c:v>1290.8534</c:v>
                </c:pt>
                <c:pt idx="83">
                  <c:v>1249.4401</c:v>
                </c:pt>
                <c:pt idx="84">
                  <c:v>1268.1177</c:v>
                </c:pt>
                <c:pt idx="85">
                  <c:v>1244.099</c:v>
                </c:pt>
                <c:pt idx="86">
                  <c:v>1262.4171</c:v>
                </c:pt>
                <c:pt idx="87">
                  <c:v>1256.5578</c:v>
                </c:pt>
                <c:pt idx="88">
                  <c:v>1301.9119</c:v>
                </c:pt>
                <c:pt idx="89">
                  <c:v>1291.8564</c:v>
                </c:pt>
                <c:pt idx="90">
                  <c:v>1341.7798</c:v>
                </c:pt>
                <c:pt idx="91">
                  <c:v>1341.4942</c:v>
                </c:pt>
                <c:pt idx="92">
                  <c:v>1294.837</c:v>
                </c:pt>
                <c:pt idx="93">
                  <c:v>1316.9003</c:v>
                </c:pt>
                <c:pt idx="94">
                  <c:v>1300.4783</c:v>
                </c:pt>
                <c:pt idx="95">
                  <c:v>1270.262</c:v>
                </c:pt>
                <c:pt idx="96">
                  <c:v>1228.4379</c:v>
                </c:pt>
                <c:pt idx="97">
                  <c:v>1217.9749</c:v>
                </c:pt>
                <c:pt idx="98">
                  <c:v>1192.1991</c:v>
                </c:pt>
                <c:pt idx="99">
                  <c:v>1157.9252</c:v>
                </c:pt>
                <c:pt idx="100">
                  <c:v>1129.0952</c:v>
                </c:pt>
                <c:pt idx="101">
                  <c:v>1179.4375</c:v>
                </c:pt>
                <c:pt idx="102">
                  <c:v>1197.7587</c:v>
                </c:pt>
                <c:pt idx="103">
                  <c:v>1174.2717</c:v>
                </c:pt>
                <c:pt idx="104">
                  <c:v>1209.7717</c:v>
                </c:pt>
              </c:numCache>
            </c:numRef>
          </c:xVal>
          <c:yVal>
            <c:numRef>
              <c:f>Sheet1!$B$2:$B$106</c:f>
              <c:numCache>
                <c:formatCode>General</c:formatCode>
                <c:ptCount val="105"/>
                <c:pt idx="0">
                  <c:v>0.4239107556303936</c:v>
                </c:pt>
                <c:pt idx="1">
                  <c:v>0.4512462450271982</c:v>
                </c:pt>
                <c:pt idx="2">
                  <c:v>0.4753843637553157</c:v>
                </c:pt>
                <c:pt idx="3">
                  <c:v>0.4804006968641115</c:v>
                </c:pt>
                <c:pt idx="4">
                  <c:v>0.4858619344773791</c:v>
                </c:pt>
                <c:pt idx="5">
                  <c:v>0.46897702729236207</c:v>
                </c:pt>
                <c:pt idx="6">
                  <c:v>0.4864984115778327</c:v>
                </c:pt>
                <c:pt idx="7">
                  <c:v>0.5017370249499947</c:v>
                </c:pt>
                <c:pt idx="8">
                  <c:v>0.4819883937369977</c:v>
                </c:pt>
                <c:pt idx="9">
                  <c:v>0.47369289130793335</c:v>
                </c:pt>
                <c:pt idx="10">
                  <c:v>0.45149223387818166</c:v>
                </c:pt>
                <c:pt idx="11">
                  <c:v>0.4095262096774194</c:v>
                </c:pt>
                <c:pt idx="12">
                  <c:v>0.38759749197124943</c:v>
                </c:pt>
                <c:pt idx="13">
                  <c:v>0.3695235049568276</c:v>
                </c:pt>
                <c:pt idx="14">
                  <c:v>0.34246018849528764</c:v>
                </c:pt>
                <c:pt idx="15">
                  <c:v>0.34064755217476106</c:v>
                </c:pt>
                <c:pt idx="16">
                  <c:v>0.3369942844334865</c:v>
                </c:pt>
                <c:pt idx="17">
                  <c:v>0.3341232227488152</c:v>
                </c:pt>
                <c:pt idx="18">
                  <c:v>0.32799313402946645</c:v>
                </c:pt>
                <c:pt idx="19">
                  <c:v>0.3379831932773109</c:v>
                </c:pt>
                <c:pt idx="20">
                  <c:v>0.34795986622073577</c:v>
                </c:pt>
                <c:pt idx="21">
                  <c:v>0.3787775891341256</c:v>
                </c:pt>
                <c:pt idx="22">
                  <c:v>0.41098169717138106</c:v>
                </c:pt>
                <c:pt idx="23">
                  <c:v>0.4266851980542043</c:v>
                </c:pt>
                <c:pt idx="24">
                  <c:v>0.4353413654618474</c:v>
                </c:pt>
                <c:pt idx="25">
                  <c:v>0.43551027833363654</c:v>
                </c:pt>
                <c:pt idx="26">
                  <c:v>0.43415826458906204</c:v>
                </c:pt>
                <c:pt idx="27">
                  <c:v>0.43204599056603776</c:v>
                </c:pt>
                <c:pt idx="28">
                  <c:v>0.42945163277880466</c:v>
                </c:pt>
                <c:pt idx="29">
                  <c:v>0.42727522683530383</c:v>
                </c:pt>
                <c:pt idx="30">
                  <c:v>0.4351931330472103</c:v>
                </c:pt>
                <c:pt idx="31">
                  <c:v>0.43981327109036344</c:v>
                </c:pt>
                <c:pt idx="32">
                  <c:v>0.45374449339207046</c:v>
                </c:pt>
                <c:pt idx="33">
                  <c:v>0.45726610946346724</c:v>
                </c:pt>
                <c:pt idx="34">
                  <c:v>0.4426210562810586</c:v>
                </c:pt>
                <c:pt idx="35">
                  <c:v>0.4407240667792159</c:v>
                </c:pt>
                <c:pt idx="36">
                  <c:v>0.4074610648315828</c:v>
                </c:pt>
                <c:pt idx="37">
                  <c:v>0.4107889802394346</c:v>
                </c:pt>
                <c:pt idx="38">
                  <c:v>0.39714285714285713</c:v>
                </c:pt>
                <c:pt idx="39">
                  <c:v>0.38832208444514205</c:v>
                </c:pt>
                <c:pt idx="40">
                  <c:v>0.39433745695702077</c:v>
                </c:pt>
                <c:pt idx="41">
                  <c:v>0.3854439592430859</c:v>
                </c:pt>
                <c:pt idx="42">
                  <c:v>0.3819291819291819</c:v>
                </c:pt>
                <c:pt idx="43">
                  <c:v>0.376271186440678</c:v>
                </c:pt>
                <c:pt idx="44">
                  <c:v>0.36918229987111556</c:v>
                </c:pt>
                <c:pt idx="45">
                  <c:v>0.37949891898766375</c:v>
                </c:pt>
                <c:pt idx="46">
                  <c:v>0.3818250046907249</c:v>
                </c:pt>
                <c:pt idx="47">
                  <c:v>0.37446509548444784</c:v>
                </c:pt>
                <c:pt idx="48">
                  <c:v>0.3740657698056801</c:v>
                </c:pt>
                <c:pt idx="49">
                  <c:v>0.3957670273711012</c:v>
                </c:pt>
                <c:pt idx="50">
                  <c:v>0.3829800307219662</c:v>
                </c:pt>
                <c:pt idx="51">
                  <c:v>0.38265905000391265</c:v>
                </c:pt>
                <c:pt idx="52">
                  <c:v>0.38758292007470857</c:v>
                </c:pt>
                <c:pt idx="53">
                  <c:v>0.3900463939266132</c:v>
                </c:pt>
                <c:pt idx="54">
                  <c:v>0.4068548767821735</c:v>
                </c:pt>
                <c:pt idx="55">
                  <c:v>0.40231000679413764</c:v>
                </c:pt>
                <c:pt idx="56">
                  <c:v>0.40492992744260015</c:v>
                </c:pt>
                <c:pt idx="57">
                  <c:v>0.4032900432900433</c:v>
                </c:pt>
                <c:pt idx="58">
                  <c:v>0.40355446606404166</c:v>
                </c:pt>
                <c:pt idx="59">
                  <c:v>0.4095966279468706</c:v>
                </c:pt>
                <c:pt idx="60">
                  <c:v>0.41369964927197367</c:v>
                </c:pt>
                <c:pt idx="61">
                  <c:v>0.4078808843435103</c:v>
                </c:pt>
                <c:pt idx="62">
                  <c:v>0.42490685010031526</c:v>
                </c:pt>
                <c:pt idx="63">
                  <c:v>0.4329307464987794</c:v>
                </c:pt>
                <c:pt idx="64">
                  <c:v>0.40296859666339546</c:v>
                </c:pt>
                <c:pt idx="65">
                  <c:v>0.3858246556936513</c:v>
                </c:pt>
                <c:pt idx="66">
                  <c:v>0.3937115026500501</c:v>
                </c:pt>
                <c:pt idx="67">
                  <c:v>0.3806010298977788</c:v>
                </c:pt>
                <c:pt idx="68">
                  <c:v>0.3738595985786997</c:v>
                </c:pt>
                <c:pt idx="69">
                  <c:v>0.3586266948625451</c:v>
                </c:pt>
                <c:pt idx="70">
                  <c:v>0.35929799254718114</c:v>
                </c:pt>
                <c:pt idx="71">
                  <c:v>0.3719270420301348</c:v>
                </c:pt>
                <c:pt idx="72">
                  <c:v>0.36006764101944677</c:v>
                </c:pt>
                <c:pt idx="73">
                  <c:v>0.37508205330182487</c:v>
                </c:pt>
                <c:pt idx="74">
                  <c:v>0.3689893283113622</c:v>
                </c:pt>
                <c:pt idx="75">
                  <c:v>0.3894919669995658</c:v>
                </c:pt>
                <c:pt idx="76">
                  <c:v>0.38619084561675715</c:v>
                </c:pt>
                <c:pt idx="77">
                  <c:v>0.3844660194174757</c:v>
                </c:pt>
                <c:pt idx="78">
                  <c:v>0.3721391241665165</c:v>
                </c:pt>
                <c:pt idx="79">
                  <c:v>0.3736413043478261</c:v>
                </c:pt>
                <c:pt idx="80">
                  <c:v>0.3575949367088608</c:v>
                </c:pt>
                <c:pt idx="81">
                  <c:v>0.36902301226402096</c:v>
                </c:pt>
                <c:pt idx="82">
                  <c:v>0.3699607563325009</c:v>
                </c:pt>
                <c:pt idx="83">
                  <c:v>0.3690276613579212</c:v>
                </c:pt>
                <c:pt idx="84">
                  <c:v>0.36804832326598624</c:v>
                </c:pt>
                <c:pt idx="85">
                  <c:v>0.3832346410066617</c:v>
                </c:pt>
                <c:pt idx="86">
                  <c:v>0.37422092560668346</c:v>
                </c:pt>
                <c:pt idx="87">
                  <c:v>0.38972738972738974</c:v>
                </c:pt>
                <c:pt idx="88">
                  <c:v>0.38807325563795975</c:v>
                </c:pt>
                <c:pt idx="89">
                  <c:v>0.38534528202424884</c:v>
                </c:pt>
                <c:pt idx="90">
                  <c:v>0.3770341927226184</c:v>
                </c:pt>
                <c:pt idx="91">
                  <c:v>0.3520099608680185</c:v>
                </c:pt>
                <c:pt idx="92">
                  <c:v>0.3580113482842475</c:v>
                </c:pt>
                <c:pt idx="93">
                  <c:v>0.3381950774840474</c:v>
                </c:pt>
                <c:pt idx="94">
                  <c:v>0.34188157326033713</c:v>
                </c:pt>
                <c:pt idx="95">
                  <c:v>0.3420349434737924</c:v>
                </c:pt>
                <c:pt idx="96">
                  <c:v>0.3489128827096583</c:v>
                </c:pt>
                <c:pt idx="97">
                  <c:v>0.35034832172260927</c:v>
                </c:pt>
                <c:pt idx="98">
                  <c:v>0.36162021472725303</c:v>
                </c:pt>
                <c:pt idx="99">
                  <c:v>0.3682985896766228</c:v>
                </c:pt>
                <c:pt idx="100">
                  <c:v>0.3678157019746217</c:v>
                </c:pt>
                <c:pt idx="101">
                  <c:v>0.3711527954835185</c:v>
                </c:pt>
                <c:pt idx="102">
                  <c:v>0.3555750658472344</c:v>
                </c:pt>
                <c:pt idx="103">
                  <c:v>0.3484848484848485</c:v>
                </c:pt>
                <c:pt idx="104">
                  <c:v>0.3540372670807453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8.5498</c:v>
                </c:pt>
                <c:pt idx="1">
                  <c:v>1260.5479</c:v>
                </c:pt>
                <c:pt idx="2">
                  <c:v>1274.755</c:v>
                </c:pt>
                <c:pt idx="3">
                  <c:v>1288.2073</c:v>
                </c:pt>
                <c:pt idx="4">
                  <c:v>1295.4916</c:v>
                </c:pt>
                <c:pt idx="5">
                  <c:v>1278.8546</c:v>
                </c:pt>
                <c:pt idx="6">
                  <c:v>1189.0313</c:v>
                </c:pt>
                <c:pt idx="7">
                  <c:v>1240.4097</c:v>
                </c:pt>
                <c:pt idx="8">
                  <c:v>1279.7673</c:v>
                </c:pt>
                <c:pt idx="9">
                  <c:v>1199.7902</c:v>
                </c:pt>
                <c:pt idx="10">
                  <c:v>1242.1087</c:v>
                </c:pt>
                <c:pt idx="11">
                  <c:v>1137.6865</c:v>
                </c:pt>
                <c:pt idx="12">
                  <c:v>1179.7904</c:v>
                </c:pt>
                <c:pt idx="13">
                  <c:v>1210.568</c:v>
                </c:pt>
                <c:pt idx="14">
                  <c:v>1222.9661</c:v>
                </c:pt>
                <c:pt idx="15">
                  <c:v>1225.6044</c:v>
                </c:pt>
                <c:pt idx="16">
                  <c:v>1280.962</c:v>
                </c:pt>
                <c:pt idx="17">
                  <c:v>1253.011</c:v>
                </c:pt>
                <c:pt idx="18">
                  <c:v>1245.8728</c:v>
                </c:pt>
                <c:pt idx="19">
                  <c:v>1334.9448</c:v>
                </c:pt>
                <c:pt idx="20">
                  <c:v>1299.9241</c:v>
                </c:pt>
                <c:pt idx="21">
                  <c:v>1218.8166</c:v>
                </c:pt>
                <c:pt idx="22">
                  <c:v>1253.6288</c:v>
                </c:pt>
                <c:pt idx="23">
                  <c:v>1232.2168</c:v>
                </c:pt>
                <c:pt idx="24">
                  <c:v>1218.284</c:v>
                </c:pt>
                <c:pt idx="25">
                  <c:v>1218.388</c:v>
                </c:pt>
                <c:pt idx="26">
                  <c:v>1242.6713</c:v>
                </c:pt>
                <c:pt idx="27">
                  <c:v>1255.7333</c:v>
                </c:pt>
                <c:pt idx="28">
                  <c:v>1291.077</c:v>
                </c:pt>
                <c:pt idx="29">
                  <c:v>1298.859</c:v>
                </c:pt>
                <c:pt idx="30">
                  <c:v>1287.7739</c:v>
                </c:pt>
                <c:pt idx="31">
                  <c:v>1264.9255</c:v>
                </c:pt>
                <c:pt idx="32">
                  <c:v>1287.701</c:v>
                </c:pt>
                <c:pt idx="33">
                  <c:v>1294.8322</c:v>
                </c:pt>
                <c:pt idx="34">
                  <c:v>1316.7072</c:v>
                </c:pt>
                <c:pt idx="35">
                  <c:v>1337.9344</c:v>
                </c:pt>
                <c:pt idx="36">
                  <c:v>1356.1084</c:v>
                </c:pt>
                <c:pt idx="37">
                  <c:v>1348.8121</c:v>
                </c:pt>
                <c:pt idx="38">
                  <c:v>1362.3381</c:v>
                </c:pt>
                <c:pt idx="39">
                  <c:v>1332.0768</c:v>
                </c:pt>
                <c:pt idx="40">
                  <c:v>1349.5317</c:v>
                </c:pt>
                <c:pt idx="41">
                  <c:v>1382.778</c:v>
                </c:pt>
                <c:pt idx="42">
                  <c:v>1364.3129</c:v>
                </c:pt>
                <c:pt idx="43">
                  <c:v>1374.0846</c:v>
                </c:pt>
                <c:pt idx="44">
                  <c:v>1296.4741</c:v>
                </c:pt>
                <c:pt idx="45">
                  <c:v>1256.9157</c:v>
                </c:pt>
                <c:pt idx="46">
                  <c:v>1252.8518</c:v>
                </c:pt>
                <c:pt idx="47">
                  <c:v>1220.7885</c:v>
                </c:pt>
                <c:pt idx="48">
                  <c:v>1200.6759</c:v>
                </c:pt>
                <c:pt idx="49">
                  <c:v>1209.0374</c:v>
                </c:pt>
                <c:pt idx="50">
                  <c:v>1157.2245</c:v>
                </c:pt>
                <c:pt idx="51">
                  <c:v>1139.0471</c:v>
                </c:pt>
              </c:numCache>
            </c:numRef>
          </c:xVal>
          <c:yVal>
            <c:numRef>
              <c:f>Sheet1!$B$109:$B$160</c:f>
              <c:numCache>
                <c:formatCode>General</c:formatCode>
                <c:ptCount val="52"/>
                <c:pt idx="0">
                  <c:v>0.37497133246693676</c:v>
                </c:pt>
                <c:pt idx="1">
                  <c:v>0.3773307163886163</c:v>
                </c:pt>
                <c:pt idx="2">
                  <c:v>0.38332150461320086</c:v>
                </c:pt>
                <c:pt idx="3">
                  <c:v>0.3962141931769109</c:v>
                </c:pt>
                <c:pt idx="4">
                  <c:v>0.3872872258856004</c:v>
                </c:pt>
                <c:pt idx="5">
                  <c:v>0.37981790591805764</c:v>
                </c:pt>
                <c:pt idx="6">
                  <c:v>0.3899407428819194</c:v>
                </c:pt>
                <c:pt idx="7">
                  <c:v>0.3738589627846324</c:v>
                </c:pt>
                <c:pt idx="8">
                  <c:v>0.37846326416152554</c:v>
                </c:pt>
                <c:pt idx="9">
                  <c:v>0.3818398096748612</c:v>
                </c:pt>
                <c:pt idx="10">
                  <c:v>0.37817380473316087</c:v>
                </c:pt>
                <c:pt idx="11">
                  <c:v>0.3849095966620306</c:v>
                </c:pt>
                <c:pt idx="12">
                  <c:v>0.38493856520015857</c:v>
                </c:pt>
                <c:pt idx="13">
                  <c:v>0.39378934116659675</c:v>
                </c:pt>
                <c:pt idx="14">
                  <c:v>0.3924946456839557</c:v>
                </c:pt>
                <c:pt idx="15">
                  <c:v>0.3900994075710413</c:v>
                </c:pt>
                <c:pt idx="16">
                  <c:v>0.37129760225669955</c:v>
                </c:pt>
                <c:pt idx="17">
                  <c:v>0.36655281776042936</c:v>
                </c:pt>
                <c:pt idx="18">
                  <c:v>0.3758927270077248</c:v>
                </c:pt>
                <c:pt idx="19">
                  <c:v>0.37719772788747635</c:v>
                </c:pt>
                <c:pt idx="20">
                  <c:v>0.3799126637554585</c:v>
                </c:pt>
                <c:pt idx="21">
                  <c:v>0.39872825883673085</c:v>
                </c:pt>
                <c:pt idx="22">
                  <c:v>0.38453038674033146</c:v>
                </c:pt>
                <c:pt idx="23">
                  <c:v>0.3996343692870201</c:v>
                </c:pt>
                <c:pt idx="24">
                  <c:v>0.4043537881384985</c:v>
                </c:pt>
                <c:pt idx="25">
                  <c:v>0.3878340365682138</c:v>
                </c:pt>
                <c:pt idx="26">
                  <c:v>0.3788494077834179</c:v>
                </c:pt>
                <c:pt idx="27">
                  <c:v>0.36995550099739144</c:v>
                </c:pt>
                <c:pt idx="28">
                  <c:v>0.36761519572439694</c:v>
                </c:pt>
                <c:pt idx="29">
                  <c:v>0.37344761238411756</c:v>
                </c:pt>
                <c:pt idx="30">
                  <c:v>0.375846099038119</c:v>
                </c:pt>
                <c:pt idx="31">
                  <c:v>0.3678982916170044</c:v>
                </c:pt>
                <c:pt idx="32">
                  <c:v>0.3681654676258993</c:v>
                </c:pt>
                <c:pt idx="33">
                  <c:v>0.36993243243243246</c:v>
                </c:pt>
                <c:pt idx="34">
                  <c:v>0.38923351908316683</c:v>
                </c:pt>
                <c:pt idx="35">
                  <c:v>0.3751405371642723</c:v>
                </c:pt>
                <c:pt idx="36">
                  <c:v>0.37576914916189263</c:v>
                </c:pt>
                <c:pt idx="37">
                  <c:v>0.3866439005881237</c:v>
                </c:pt>
                <c:pt idx="38">
                  <c:v>0.38306716254648876</c:v>
                </c:pt>
                <c:pt idx="39">
                  <c:v>0.38282227784730916</c:v>
                </c:pt>
                <c:pt idx="40">
                  <c:v>0.37203206907184705</c:v>
                </c:pt>
                <c:pt idx="41">
                  <c:v>0.3687472971024939</c:v>
                </c:pt>
                <c:pt idx="42">
                  <c:v>0.3794006877353856</c:v>
                </c:pt>
                <c:pt idx="43">
                  <c:v>0.37003058103975534</c:v>
                </c:pt>
                <c:pt idx="44">
                  <c:v>0.3628257207965917</c:v>
                </c:pt>
                <c:pt idx="45">
                  <c:v>0.37526546793147386</c:v>
                </c:pt>
                <c:pt idx="46">
                  <c:v>0.38572265461544897</c:v>
                </c:pt>
                <c:pt idx="47">
                  <c:v>0.3863967487155893</c:v>
                </c:pt>
                <c:pt idx="48">
                  <c:v>0.36995686374016745</c:v>
                </c:pt>
                <c:pt idx="49">
                  <c:v>0.38308429337287553</c:v>
                </c:pt>
                <c:pt idx="50">
                  <c:v>0.3921795206321989</c:v>
                </c:pt>
                <c:pt idx="51">
                  <c:v>0.392361809045226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5.15167893279582</c:v>
                </c:pt>
              </c:numCache>
            </c:numRef>
          </c:xVal>
          <c:yVal>
            <c:numRef>
              <c:f>Sheet1!$B$163:$B$164</c:f>
              <c:numCache>
                <c:formatCode>General</c:formatCode>
                <c:ptCount val="2"/>
                <c:pt idx="0">
                  <c:v>0.47288942814573165</c:v>
                </c:pt>
                <c:pt idx="1">
                  <c:v>0.4728894281457316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5.15167893279582</c:v>
                </c:pt>
                <c:pt idx="1">
                  <c:v>-45.15167893279582</c:v>
                </c:pt>
              </c:numCache>
            </c:numRef>
          </c:xVal>
          <c:yVal>
            <c:numRef>
              <c:f>Sheet1!$B$167:$B$168</c:f>
              <c:numCache>
                <c:formatCode>General</c:formatCode>
                <c:ptCount val="2"/>
                <c:pt idx="0">
                  <c:v>0.4728894281457316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13.080902330808</c:v>
                </c:pt>
              </c:numCache>
            </c:numRef>
          </c:xVal>
          <c:yVal>
            <c:numRef>
              <c:f>Sheet1!$B$171:$B$172</c:f>
              <c:numCache>
                <c:formatCode>General</c:formatCode>
                <c:ptCount val="2"/>
                <c:pt idx="0">
                  <c:v>0.384395621697617</c:v>
                </c:pt>
                <c:pt idx="1">
                  <c:v>0.38439562169761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13.080902330808</c:v>
                </c:pt>
                <c:pt idx="1">
                  <c:v>1213.080902330808</c:v>
                </c:pt>
              </c:numCache>
            </c:numRef>
          </c:xVal>
          <c:yVal>
            <c:numRef>
              <c:f>Sheet1!$B$175:$B$176</c:f>
              <c:numCache>
                <c:formatCode>General</c:formatCode>
                <c:ptCount val="2"/>
                <c:pt idx="0">
                  <c:v>0.38439562169761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96.550150745931</c:v>
                </c:pt>
              </c:numCache>
            </c:numRef>
          </c:xVal>
          <c:yVal>
            <c:numRef>
              <c:f>Sheet1!$B$179:$B$180</c:f>
              <c:numCache>
                <c:formatCode>General</c:formatCode>
                <c:ptCount val="2"/>
                <c:pt idx="0">
                  <c:v>0.37852507628048954</c:v>
                </c:pt>
                <c:pt idx="1">
                  <c:v>0.3785250762804895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96.550150745931</c:v>
                </c:pt>
                <c:pt idx="1">
                  <c:v>1296.550150745931</c:v>
                </c:pt>
              </c:numCache>
            </c:numRef>
          </c:xVal>
          <c:yVal>
            <c:numRef>
              <c:f>Sheet1!$B$183:$B$184</c:f>
              <c:numCache>
                <c:formatCode>General</c:formatCode>
                <c:ptCount val="2"/>
                <c:pt idx="0">
                  <c:v>0.378525076280489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8.5498</c:v>
                </c:pt>
                <c:pt idx="1">
                  <c:v>1260.5479</c:v>
                </c:pt>
                <c:pt idx="2">
                  <c:v>1274.755</c:v>
                </c:pt>
                <c:pt idx="3">
                  <c:v>1288.2073</c:v>
                </c:pt>
                <c:pt idx="4">
                  <c:v>1295.4916</c:v>
                </c:pt>
                <c:pt idx="5">
                  <c:v>1278.8546</c:v>
                </c:pt>
                <c:pt idx="6">
                  <c:v>1189.0313</c:v>
                </c:pt>
                <c:pt idx="7">
                  <c:v>1240.4097</c:v>
                </c:pt>
                <c:pt idx="8">
                  <c:v>1279.7673</c:v>
                </c:pt>
                <c:pt idx="9">
                  <c:v>1199.7902</c:v>
                </c:pt>
                <c:pt idx="10">
                  <c:v>1242.1087</c:v>
                </c:pt>
                <c:pt idx="11">
                  <c:v>1137.6865</c:v>
                </c:pt>
                <c:pt idx="12">
                  <c:v>1179.7904</c:v>
                </c:pt>
                <c:pt idx="13">
                  <c:v>1210.568</c:v>
                </c:pt>
                <c:pt idx="14">
                  <c:v>1222.9661</c:v>
                </c:pt>
                <c:pt idx="15">
                  <c:v>1225.6044</c:v>
                </c:pt>
                <c:pt idx="16">
                  <c:v>1280.962</c:v>
                </c:pt>
                <c:pt idx="17">
                  <c:v>1253.011</c:v>
                </c:pt>
                <c:pt idx="18">
                  <c:v>1245.8728</c:v>
                </c:pt>
                <c:pt idx="19">
                  <c:v>1334.9448</c:v>
                </c:pt>
                <c:pt idx="20">
                  <c:v>1299.9241</c:v>
                </c:pt>
                <c:pt idx="21">
                  <c:v>1218.8166</c:v>
                </c:pt>
                <c:pt idx="22">
                  <c:v>1253.6288</c:v>
                </c:pt>
                <c:pt idx="23">
                  <c:v>1232.2168</c:v>
                </c:pt>
                <c:pt idx="24">
                  <c:v>1218.284</c:v>
                </c:pt>
                <c:pt idx="25">
                  <c:v>1218.388</c:v>
                </c:pt>
                <c:pt idx="26">
                  <c:v>1242.6713</c:v>
                </c:pt>
                <c:pt idx="27">
                  <c:v>1255.7333</c:v>
                </c:pt>
                <c:pt idx="28">
                  <c:v>1291.077</c:v>
                </c:pt>
                <c:pt idx="29">
                  <c:v>1298.859</c:v>
                </c:pt>
                <c:pt idx="30">
                  <c:v>1287.7739</c:v>
                </c:pt>
                <c:pt idx="31">
                  <c:v>1264.9255</c:v>
                </c:pt>
                <c:pt idx="32">
                  <c:v>1287.701</c:v>
                </c:pt>
                <c:pt idx="33">
                  <c:v>1294.8322</c:v>
                </c:pt>
                <c:pt idx="34">
                  <c:v>1316.7072</c:v>
                </c:pt>
                <c:pt idx="35">
                  <c:v>1337.9344</c:v>
                </c:pt>
                <c:pt idx="36">
                  <c:v>1356.1084</c:v>
                </c:pt>
                <c:pt idx="37">
                  <c:v>1348.8121</c:v>
                </c:pt>
                <c:pt idx="38">
                  <c:v>1362.3381</c:v>
                </c:pt>
                <c:pt idx="39">
                  <c:v>1332.0768</c:v>
                </c:pt>
                <c:pt idx="40">
                  <c:v>1349.5317</c:v>
                </c:pt>
                <c:pt idx="41">
                  <c:v>1382.778</c:v>
                </c:pt>
                <c:pt idx="42">
                  <c:v>1364.3129</c:v>
                </c:pt>
                <c:pt idx="43">
                  <c:v>1374.0846</c:v>
                </c:pt>
                <c:pt idx="44">
                  <c:v>1296.4741</c:v>
                </c:pt>
                <c:pt idx="45">
                  <c:v>1256.9157</c:v>
                </c:pt>
                <c:pt idx="46">
                  <c:v>1252.8518</c:v>
                </c:pt>
                <c:pt idx="47">
                  <c:v>1220.7885</c:v>
                </c:pt>
                <c:pt idx="48">
                  <c:v>1200.6759</c:v>
                </c:pt>
                <c:pt idx="49">
                  <c:v>1209.0374</c:v>
                </c:pt>
                <c:pt idx="50">
                  <c:v>1157.2245</c:v>
                </c:pt>
                <c:pt idx="51">
                  <c:v>1139.0471</c:v>
                </c:pt>
                <c:pt idx="52">
                  <c:v>1213.080902330808</c:v>
                </c:pt>
                <c:pt idx="53">
                  <c:v>-45.15167893279582</c:v>
                </c:pt>
                <c:pt idx="54">
                  <c:v>1296.550150745931</c:v>
                </c:pt>
              </c:numCache>
            </c:numRef>
          </c:xVal>
          <c:yVal>
            <c:numRef>
              <c:f>Sheet1!$B$187:$B$241</c:f>
              <c:numCache>
                <c:formatCode>General</c:formatCode>
                <c:ptCount val="55"/>
                <c:pt idx="0">
                  <c:v>0.38119771068365665</c:v>
                </c:pt>
                <c:pt idx="1">
                  <c:v>0.38105718064390326</c:v>
                </c:pt>
                <c:pt idx="2">
                  <c:v>0.3800579692291691</c:v>
                </c:pt>
                <c:pt idx="3">
                  <c:v>0.3791118442835836</c:v>
                </c:pt>
                <c:pt idx="4">
                  <c:v>0.3785995260970185</c:v>
                </c:pt>
                <c:pt idx="5">
                  <c:v>0.37976963683791093</c:v>
                </c:pt>
                <c:pt idx="6">
                  <c:v>0.3860870743634503</c:v>
                </c:pt>
                <c:pt idx="7">
                  <c:v>0.382473537205918</c:v>
                </c:pt>
                <c:pt idx="8">
                  <c:v>0.3797054449719969</c:v>
                </c:pt>
                <c:pt idx="9">
                  <c:v>0.3853303811825771</c:v>
                </c:pt>
                <c:pt idx="10">
                  <c:v>0.382354043418049</c:v>
                </c:pt>
                <c:pt idx="11">
                  <c:v>0.38969824837132255</c:v>
                </c:pt>
                <c:pt idx="12">
                  <c:v>0.3867370038186112</c:v>
                </c:pt>
                <c:pt idx="13">
                  <c:v>0.38457235873002016</c:v>
                </c:pt>
                <c:pt idx="14">
                  <c:v>0.3837003776050182</c:v>
                </c:pt>
                <c:pt idx="15">
                  <c:v>0.383514821124421</c:v>
                </c:pt>
                <c:pt idx="16">
                  <c:v>0.3796214195285789</c:v>
                </c:pt>
                <c:pt idx="17">
                  <c:v>0.38158726465201964</c:v>
                </c:pt>
                <c:pt idx="18">
                  <c:v>0.3820893073574736</c:v>
                </c:pt>
                <c:pt idx="19">
                  <c:v>0.37582471013965996</c:v>
                </c:pt>
                <c:pt idx="20">
                  <c:v>0.3782877802378489</c:v>
                </c:pt>
                <c:pt idx="21">
                  <c:v>0.38399221955484886</c:v>
                </c:pt>
                <c:pt idx="22">
                  <c:v>0.38154381364428247</c:v>
                </c:pt>
                <c:pt idx="23">
                  <c:v>0.38304975889787307</c:v>
                </c:pt>
                <c:pt idx="24">
                  <c:v>0.3840296782902338</c:v>
                </c:pt>
                <c:pt idx="25">
                  <c:v>0.38402236377938137</c:v>
                </c:pt>
                <c:pt idx="26">
                  <c:v>0.3823144747276105</c:v>
                </c:pt>
                <c:pt idx="27">
                  <c:v>0.38139580029727227</c:v>
                </c:pt>
                <c:pt idx="28">
                  <c:v>0.37891001301633953</c:v>
                </c:pt>
                <c:pt idx="29">
                  <c:v>0.37836269067543526</c:v>
                </c:pt>
                <c:pt idx="30">
                  <c:v>0.37914232610092463</c:v>
                </c:pt>
                <c:pt idx="31">
                  <c:v>0.3807492960024817</c:v>
                </c:pt>
                <c:pt idx="32">
                  <c:v>0.37914745329170485</c:v>
                </c:pt>
                <c:pt idx="33">
                  <c:v>0.3786459029090967</c:v>
                </c:pt>
                <c:pt idx="34">
                  <c:v>0.3771073940158455</c:v>
                </c:pt>
                <c:pt idx="35">
                  <c:v>0.375614446085385</c:v>
                </c:pt>
                <c:pt idx="36">
                  <c:v>0.37433623531391313</c:v>
                </c:pt>
                <c:pt idx="37">
                  <c:v>0.37484939748249957</c:v>
                </c:pt>
                <c:pt idx="38">
                  <c:v>0.3738980890806657</c:v>
                </c:pt>
                <c:pt idx="39">
                  <c:v>0.3760264218427843</c:v>
                </c:pt>
                <c:pt idx="40">
                  <c:v>0.3747987866939472</c:v>
                </c:pt>
                <c:pt idx="41">
                  <c:v>0.3724605134039953</c:v>
                </c:pt>
                <c:pt idx="42">
                  <c:v>0.37375919777267064</c:v>
                </c:pt>
                <c:pt idx="43">
                  <c:v>0.37307193617942797</c:v>
                </c:pt>
                <c:pt idx="44">
                  <c:v>0.37853042506901313</c:v>
                </c:pt>
                <c:pt idx="45">
                  <c:v>0.38131263993542636</c:v>
                </c:pt>
                <c:pt idx="46">
                  <c:v>0.38159846148017074</c:v>
                </c:pt>
                <c:pt idx="47">
                  <c:v>0.3838535322091756</c:v>
                </c:pt>
                <c:pt idx="48">
                  <c:v>0.3852680882762113</c:v>
                </c:pt>
                <c:pt idx="49">
                  <c:v>0.3846800086368549</c:v>
                </c:pt>
                <c:pt idx="50">
                  <c:v>0.3883241049767469</c:v>
                </c:pt>
                <c:pt idx="51">
                  <c:v>0.38960255487645823</c:v>
                </c:pt>
                <c:pt idx="52">
                  <c:v>0.384395621697617</c:v>
                </c:pt>
                <c:pt idx="53">
                  <c:v>0.47288942814573165</c:v>
                </c:pt>
                <c:pt idx="54">
                  <c:v>0.378525076280489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5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020844299399937"/>
          <c:min val="0.2623945072235731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9</c:f>
              <c:numCache>
                <c:formatCode>General</c:formatCode>
                <c:ptCount val="68"/>
                <c:pt idx="0">
                  <c:v>0.0</c:v>
                </c:pt>
                <c:pt idx="1">
                  <c:v>0.12099658756824863</c:v>
                </c:pt>
                <c:pt idx="2">
                  <c:v>0.1408302710648074</c:v>
                </c:pt>
                <c:pt idx="3">
                  <c:v>0.1586377410385655</c:v>
                </c:pt>
                <c:pt idx="4">
                  <c:v>0.17819467469271283</c:v>
                </c:pt>
                <c:pt idx="5">
                  <c:v>0.1612643733852744</c:v>
                </c:pt>
                <c:pt idx="6">
                  <c:v>0.16382906414300066</c:v>
                </c:pt>
                <c:pt idx="7">
                  <c:v>0.15579886613260635</c:v>
                </c:pt>
                <c:pt idx="8">
                  <c:v>0.1518234035691028</c:v>
                </c:pt>
                <c:pt idx="9">
                  <c:v>0.15078867899249732</c:v>
                </c:pt>
                <c:pt idx="10">
                  <c:v>0.16049419903091247</c:v>
                </c:pt>
                <c:pt idx="11">
                  <c:v>0.15524983138098153</c:v>
                </c:pt>
                <c:pt idx="12">
                  <c:v>0.15458271812305446</c:v>
                </c:pt>
                <c:pt idx="13">
                  <c:v>0.1494182800982801</c:v>
                </c:pt>
                <c:pt idx="14">
                  <c:v>0.14699471299093655</c:v>
                </c:pt>
                <c:pt idx="15">
                  <c:v>0.16370115700364798</c:v>
                </c:pt>
                <c:pt idx="16">
                  <c:v>0.17886652862342223</c:v>
                </c:pt>
                <c:pt idx="17">
                  <c:v>0.1838318775868099</c:v>
                </c:pt>
                <c:pt idx="18">
                  <c:v>0.1627518089288067</c:v>
                </c:pt>
                <c:pt idx="19">
                  <c:v>0.16730234303470448</c:v>
                </c:pt>
                <c:pt idx="20">
                  <c:v>0.1769508341922505</c:v>
                </c:pt>
                <c:pt idx="21">
                  <c:v>0.1662264437225206</c:v>
                </c:pt>
                <c:pt idx="22">
                  <c:v>0.16197962787044445</c:v>
                </c:pt>
                <c:pt idx="23">
                  <c:v>0.17236380568044377</c:v>
                </c:pt>
                <c:pt idx="24">
                  <c:v>0.16437958092640467</c:v>
                </c:pt>
                <c:pt idx="25">
                  <c:v>0.16897617824062436</c:v>
                </c:pt>
                <c:pt idx="26">
                  <c:v>0.17217260129755407</c:v>
                </c:pt>
                <c:pt idx="27">
                  <c:v>0.1793755450670681</c:v>
                </c:pt>
                <c:pt idx="28">
                  <c:v>0.17040951158789477</c:v>
                </c:pt>
                <c:pt idx="29">
                  <c:v>0.17488785452368483</c:v>
                </c:pt>
                <c:pt idx="30">
                  <c:v>0.17291761003942674</c:v>
                </c:pt>
                <c:pt idx="31">
                  <c:v>0.17669228219838723</c:v>
                </c:pt>
                <c:pt idx="32">
                  <c:v>0.17532812853586788</c:v>
                </c:pt>
                <c:pt idx="33">
                  <c:v>0.18400790339726533</c:v>
                </c:pt>
                <c:pt idx="34">
                  <c:v>0.2024523465522222</c:v>
                </c:pt>
                <c:pt idx="35">
                  <c:v>0.20194463474522972</c:v>
                </c:pt>
                <c:pt idx="36">
                  <c:v>0.20395147403921682</c:v>
                </c:pt>
                <c:pt idx="37">
                  <c:v>0.2102249224386704</c:v>
                </c:pt>
                <c:pt idx="38">
                  <c:v>0.19385938333812106</c:v>
                </c:pt>
                <c:pt idx="39">
                  <c:v>0.17354380186814042</c:v>
                </c:pt>
                <c:pt idx="40">
                  <c:v>0.1633848433036111</c:v>
                </c:pt>
                <c:pt idx="41">
                  <c:v>0.1666924565375482</c:v>
                </c:pt>
                <c:pt idx="42">
                  <c:v>0.170019341514821</c:v>
                </c:pt>
                <c:pt idx="43">
                  <c:v>0.18531193670606025</c:v>
                </c:pt>
                <c:pt idx="44">
                  <c:v>0.2155613307690992</c:v>
                </c:pt>
                <c:pt idx="45">
                  <c:v>0.21466850645110547</c:v>
                </c:pt>
                <c:pt idx="46">
                  <c:v>0.20957774793879755</c:v>
                </c:pt>
                <c:pt idx="47">
                  <c:v>0.23971820149170656</c:v>
                </c:pt>
                <c:pt idx="48">
                  <c:v>0.21302784557511562</c:v>
                </c:pt>
                <c:pt idx="49">
                  <c:v>0.22925588332835078</c:v>
                </c:pt>
                <c:pt idx="50">
                  <c:v>0.22557389444704445</c:v>
                </c:pt>
                <c:pt idx="51">
                  <c:v>0.19364540971463096</c:v>
                </c:pt>
                <c:pt idx="52">
                  <c:v>0.1972534081986102</c:v>
                </c:pt>
                <c:pt idx="53">
                  <c:v>0.2310716961102099</c:v>
                </c:pt>
                <c:pt idx="54">
                  <c:v>0.2229080253085034</c:v>
                </c:pt>
                <c:pt idx="55">
                  <c:v>0.23632154741584807</c:v>
                </c:pt>
                <c:pt idx="56">
                  <c:v>0.22565408225773978</c:v>
                </c:pt>
                <c:pt idx="57">
                  <c:v>0.22591860332200564</c:v>
                </c:pt>
                <c:pt idx="58">
                  <c:v>0.20558801144076563</c:v>
                </c:pt>
                <c:pt idx="59">
                  <c:v>0.20379753475632845</c:v>
                </c:pt>
                <c:pt idx="60">
                  <c:v>0.20590785129461311</c:v>
                </c:pt>
                <c:pt idx="61">
                  <c:v>0.20788584383694994</c:v>
                </c:pt>
                <c:pt idx="62">
                  <c:v>0.2055639348685939</c:v>
                </c:pt>
                <c:pt idx="63">
                  <c:v>0.21105430550744353</c:v>
                </c:pt>
                <c:pt idx="64">
                  <c:v>0.1999779614134496</c:v>
                </c:pt>
                <c:pt idx="65">
                  <c:v>0.1934081522619345</c:v>
                </c:pt>
                <c:pt idx="66">
                  <c:v>0.20387587748561423</c:v>
                </c:pt>
                <c:pt idx="67">
                  <c:v>0.20878867634064174</c:v>
                </c:pt>
              </c:numCache>
            </c:numRef>
          </c:xVal>
          <c:yVal>
            <c:numRef>
              <c:f>Sheet1!$B$2:$B$69</c:f>
              <c:numCache>
                <c:formatCode>General</c:formatCode>
                <c:ptCount val="68"/>
                <c:pt idx="0">
                  <c:v>0.4107889802394346</c:v>
                </c:pt>
                <c:pt idx="1">
                  <c:v>0.39714285714285713</c:v>
                </c:pt>
                <c:pt idx="2">
                  <c:v>0.38832208444514205</c:v>
                </c:pt>
                <c:pt idx="3">
                  <c:v>0.39433745695702077</c:v>
                </c:pt>
                <c:pt idx="4">
                  <c:v>0.3854439592430859</c:v>
                </c:pt>
                <c:pt idx="5">
                  <c:v>0.3819291819291819</c:v>
                </c:pt>
                <c:pt idx="6">
                  <c:v>0.376271186440678</c:v>
                </c:pt>
                <c:pt idx="7">
                  <c:v>0.36918229987111556</c:v>
                </c:pt>
                <c:pt idx="8">
                  <c:v>0.37949891898766375</c:v>
                </c:pt>
                <c:pt idx="9">
                  <c:v>0.3818250046907249</c:v>
                </c:pt>
                <c:pt idx="10">
                  <c:v>0.37446509548444784</c:v>
                </c:pt>
                <c:pt idx="11">
                  <c:v>0.3740657698056801</c:v>
                </c:pt>
                <c:pt idx="12">
                  <c:v>0.3957670273711012</c:v>
                </c:pt>
                <c:pt idx="13">
                  <c:v>0.3829800307219662</c:v>
                </c:pt>
                <c:pt idx="14">
                  <c:v>0.38265905000391265</c:v>
                </c:pt>
                <c:pt idx="15">
                  <c:v>0.38758292007470857</c:v>
                </c:pt>
                <c:pt idx="16">
                  <c:v>0.3900463939266132</c:v>
                </c:pt>
                <c:pt idx="17">
                  <c:v>0.4068548767821735</c:v>
                </c:pt>
                <c:pt idx="18">
                  <c:v>0.40231000679413764</c:v>
                </c:pt>
                <c:pt idx="19">
                  <c:v>0.40492992744260015</c:v>
                </c:pt>
                <c:pt idx="20">
                  <c:v>0.4032900432900433</c:v>
                </c:pt>
                <c:pt idx="21">
                  <c:v>0.40355446606404166</c:v>
                </c:pt>
                <c:pt idx="22">
                  <c:v>0.4095966279468706</c:v>
                </c:pt>
                <c:pt idx="23">
                  <c:v>0.41369964927197367</c:v>
                </c:pt>
                <c:pt idx="24">
                  <c:v>0.4078808843435103</c:v>
                </c:pt>
                <c:pt idx="25">
                  <c:v>0.42490685010031526</c:v>
                </c:pt>
                <c:pt idx="26">
                  <c:v>0.4329307464987794</c:v>
                </c:pt>
                <c:pt idx="27">
                  <c:v>0.40296859666339546</c:v>
                </c:pt>
                <c:pt idx="28">
                  <c:v>0.3858246556936513</c:v>
                </c:pt>
                <c:pt idx="29">
                  <c:v>0.3937115026500501</c:v>
                </c:pt>
                <c:pt idx="30">
                  <c:v>0.3806010298977788</c:v>
                </c:pt>
                <c:pt idx="31">
                  <c:v>0.3738595985786997</c:v>
                </c:pt>
                <c:pt idx="32">
                  <c:v>0.3586266948625451</c:v>
                </c:pt>
                <c:pt idx="33">
                  <c:v>0.35929799254718114</c:v>
                </c:pt>
                <c:pt idx="34">
                  <c:v>0.3719270420301348</c:v>
                </c:pt>
                <c:pt idx="35">
                  <c:v>0.36006764101944677</c:v>
                </c:pt>
                <c:pt idx="36">
                  <c:v>0.37508205330182487</c:v>
                </c:pt>
                <c:pt idx="37">
                  <c:v>0.3689893283113622</c:v>
                </c:pt>
                <c:pt idx="38">
                  <c:v>0.3894919669995658</c:v>
                </c:pt>
                <c:pt idx="39">
                  <c:v>0.38619084561675715</c:v>
                </c:pt>
                <c:pt idx="40">
                  <c:v>0.3844660194174757</c:v>
                </c:pt>
                <c:pt idx="41">
                  <c:v>0.3721391241665165</c:v>
                </c:pt>
                <c:pt idx="42">
                  <c:v>0.3736413043478261</c:v>
                </c:pt>
                <c:pt idx="43">
                  <c:v>0.3575949367088608</c:v>
                </c:pt>
                <c:pt idx="44">
                  <c:v>0.36902301226402096</c:v>
                </c:pt>
                <c:pt idx="45">
                  <c:v>0.3699607563325009</c:v>
                </c:pt>
                <c:pt idx="46">
                  <c:v>0.3690276613579212</c:v>
                </c:pt>
                <c:pt idx="47">
                  <c:v>0.36804832326598624</c:v>
                </c:pt>
                <c:pt idx="48">
                  <c:v>0.3832346410066617</c:v>
                </c:pt>
                <c:pt idx="49">
                  <c:v>0.37422092560668346</c:v>
                </c:pt>
                <c:pt idx="50">
                  <c:v>0.38972738972738974</c:v>
                </c:pt>
                <c:pt idx="51">
                  <c:v>0.38807325563795975</c:v>
                </c:pt>
                <c:pt idx="52">
                  <c:v>0.38534528202424884</c:v>
                </c:pt>
                <c:pt idx="53">
                  <c:v>0.3770341927226184</c:v>
                </c:pt>
                <c:pt idx="54">
                  <c:v>0.3520099608680185</c:v>
                </c:pt>
                <c:pt idx="55">
                  <c:v>0.3580113482842475</c:v>
                </c:pt>
                <c:pt idx="56">
                  <c:v>0.3381950774840474</c:v>
                </c:pt>
                <c:pt idx="57">
                  <c:v>0.34188157326033713</c:v>
                </c:pt>
                <c:pt idx="58">
                  <c:v>0.3420349434737924</c:v>
                </c:pt>
                <c:pt idx="59">
                  <c:v>0.3489128827096583</c:v>
                </c:pt>
                <c:pt idx="60">
                  <c:v>0.35034832172260927</c:v>
                </c:pt>
                <c:pt idx="61">
                  <c:v>0.36162021472725303</c:v>
                </c:pt>
                <c:pt idx="62">
                  <c:v>0.3682985896766228</c:v>
                </c:pt>
                <c:pt idx="63">
                  <c:v>0.3678157019746217</c:v>
                </c:pt>
                <c:pt idx="64">
                  <c:v>0.3711527954835185</c:v>
                </c:pt>
                <c:pt idx="65">
                  <c:v>0.3555750658472344</c:v>
                </c:pt>
                <c:pt idx="66">
                  <c:v>0.3484848484848485</c:v>
                </c:pt>
                <c:pt idx="67">
                  <c:v>0.35403726708074534</c:v>
                </c:pt>
              </c:numCache>
            </c:numRef>
          </c:yVal>
          <c:smooth val="0"/>
          <c:extLst>
            <c:ext xmlns:c16="http://schemas.microsoft.com/office/drawing/2014/chart" uri="{C3380CC4-5D6E-409C-BE32-E72D297353CC}">
              <c16:uniqueId val="{00000000-096C-4121-9522-6AB7243CCAAE}"/>
            </c:ext>
          </c:extLst>
        </c:ser>
        <c:ser>
          <c:idx val="1"/>
          <c:order val="1"/>
          <c:tx>
            <c:strRef>
              <c:f>Sheet1!$B$7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2:$A$123</c:f>
              <c:numCache>
                <c:formatCode>General</c:formatCode>
                <c:ptCount val="52"/>
                <c:pt idx="0">
                  <c:v>0.2164960168717434</c:v>
                </c:pt>
                <c:pt idx="1">
                  <c:v>0.21656307310582287</c:v>
                </c:pt>
                <c:pt idx="2">
                  <c:v>0.22072823113478834</c:v>
                </c:pt>
                <c:pt idx="3">
                  <c:v>0.24198011949790443</c:v>
                </c:pt>
                <c:pt idx="4">
                  <c:v>0.24121862615354178</c:v>
                </c:pt>
                <c:pt idx="5">
                  <c:v>0.23788820248965004</c:v>
                </c:pt>
                <c:pt idx="6">
                  <c:v>0.2171117776131294</c:v>
                </c:pt>
                <c:pt idx="7">
                  <c:v>0.2106230837189137</c:v>
                </c:pt>
                <c:pt idx="8">
                  <c:v>0.21310662192545501</c:v>
                </c:pt>
                <c:pt idx="9">
                  <c:v>0.20645277035106133</c:v>
                </c:pt>
                <c:pt idx="10">
                  <c:v>0.22660895151084043</c:v>
                </c:pt>
                <c:pt idx="11">
                  <c:v>0.20393058871087666</c:v>
                </c:pt>
                <c:pt idx="12">
                  <c:v>0.19543857756001978</c:v>
                </c:pt>
                <c:pt idx="13">
                  <c:v>0.2002689922218106</c:v>
                </c:pt>
                <c:pt idx="14">
                  <c:v>0.20552950877186615</c:v>
                </c:pt>
                <c:pt idx="15">
                  <c:v>0.18991931541770654</c:v>
                </c:pt>
                <c:pt idx="16">
                  <c:v>0.1940153353906738</c:v>
                </c:pt>
                <c:pt idx="17">
                  <c:v>0.19161682086078077</c:v>
                </c:pt>
                <c:pt idx="18">
                  <c:v>0.19998221485419232</c:v>
                </c:pt>
                <c:pt idx="19">
                  <c:v>0.2066663218473247</c:v>
                </c:pt>
                <c:pt idx="20">
                  <c:v>0.1956755643985335</c:v>
                </c:pt>
                <c:pt idx="21">
                  <c:v>0.18260198896822144</c:v>
                </c:pt>
                <c:pt idx="22">
                  <c:v>0.2101970560512885</c:v>
                </c:pt>
                <c:pt idx="23">
                  <c:v>0.19103862167808255</c:v>
                </c:pt>
                <c:pt idx="24">
                  <c:v>0.17295238958378817</c:v>
                </c:pt>
                <c:pt idx="25">
                  <c:v>0.17724032839651216</c:v>
                </c:pt>
                <c:pt idx="26">
                  <c:v>0.19995453733020369</c:v>
                </c:pt>
                <c:pt idx="27">
                  <c:v>0.2066912769310835</c:v>
                </c:pt>
                <c:pt idx="28">
                  <c:v>0.21497755008944597</c:v>
                </c:pt>
                <c:pt idx="29">
                  <c:v>0.18938757729627217</c:v>
                </c:pt>
                <c:pt idx="30">
                  <c:v>0.19397408599495283</c:v>
                </c:pt>
                <c:pt idx="31">
                  <c:v>0.2077815709593024</c:v>
                </c:pt>
                <c:pt idx="32">
                  <c:v>0.1961771192360771</c:v>
                </c:pt>
                <c:pt idx="33">
                  <c:v>0.17656441653040925</c:v>
                </c:pt>
                <c:pt idx="34">
                  <c:v>0.1752310909758598</c:v>
                </c:pt>
                <c:pt idx="35">
                  <c:v>0.1783695564604855</c:v>
                </c:pt>
                <c:pt idx="36">
                  <c:v>0.1656836684514519</c:v>
                </c:pt>
                <c:pt idx="37">
                  <c:v>0.18666580401857924</c:v>
                </c:pt>
                <c:pt idx="38">
                  <c:v>0.19015947028187075</c:v>
                </c:pt>
                <c:pt idx="39">
                  <c:v>0.1962619065506252</c:v>
                </c:pt>
                <c:pt idx="40">
                  <c:v>0.21652887923594427</c:v>
                </c:pt>
                <c:pt idx="41">
                  <c:v>0.22096675484064396</c:v>
                </c:pt>
                <c:pt idx="42">
                  <c:v>0.20204423650310832</c:v>
                </c:pt>
                <c:pt idx="43">
                  <c:v>0.20071899427569773</c:v>
                </c:pt>
                <c:pt idx="44">
                  <c:v>0.20993178368034948</c:v>
                </c:pt>
                <c:pt idx="45">
                  <c:v>0.21013601276000685</c:v>
                </c:pt>
                <c:pt idx="46">
                  <c:v>0.1963116804193024</c:v>
                </c:pt>
                <c:pt idx="47">
                  <c:v>0.20584039863945097</c:v>
                </c:pt>
                <c:pt idx="48">
                  <c:v>0.27207774994730327</c:v>
                </c:pt>
                <c:pt idx="49">
                  <c:v>0.2211778260447219</c:v>
                </c:pt>
                <c:pt idx="50">
                  <c:v>0.20139598994475408</c:v>
                </c:pt>
                <c:pt idx="51">
                  <c:v>0.21098502277590092</c:v>
                </c:pt>
              </c:numCache>
            </c:numRef>
          </c:xVal>
          <c:yVal>
            <c:numRef>
              <c:f>Sheet1!$B$72:$B$123</c:f>
              <c:numCache>
                <c:formatCode>General</c:formatCode>
                <c:ptCount val="52"/>
                <c:pt idx="0">
                  <c:v>0.37497133246693676</c:v>
                </c:pt>
                <c:pt idx="1">
                  <c:v>0.3773307163886163</c:v>
                </c:pt>
                <c:pt idx="2">
                  <c:v>0.38332150461320086</c:v>
                </c:pt>
                <c:pt idx="3">
                  <c:v>0.3962141931769109</c:v>
                </c:pt>
                <c:pt idx="4">
                  <c:v>0.3872872258856004</c:v>
                </c:pt>
                <c:pt idx="5">
                  <c:v>0.37981790591805764</c:v>
                </c:pt>
                <c:pt idx="6">
                  <c:v>0.3899407428819194</c:v>
                </c:pt>
                <c:pt idx="7">
                  <c:v>0.3738589627846324</c:v>
                </c:pt>
                <c:pt idx="8">
                  <c:v>0.37846326416152554</c:v>
                </c:pt>
                <c:pt idx="9">
                  <c:v>0.3818398096748612</c:v>
                </c:pt>
                <c:pt idx="10">
                  <c:v>0.37817380473316087</c:v>
                </c:pt>
                <c:pt idx="11">
                  <c:v>0.3849095966620306</c:v>
                </c:pt>
                <c:pt idx="12">
                  <c:v>0.38493856520015857</c:v>
                </c:pt>
                <c:pt idx="13">
                  <c:v>0.39378934116659675</c:v>
                </c:pt>
                <c:pt idx="14">
                  <c:v>0.3924946456839557</c:v>
                </c:pt>
                <c:pt idx="15">
                  <c:v>0.3900994075710413</c:v>
                </c:pt>
                <c:pt idx="16">
                  <c:v>0.37129760225669955</c:v>
                </c:pt>
                <c:pt idx="17">
                  <c:v>0.36655281776042936</c:v>
                </c:pt>
                <c:pt idx="18">
                  <c:v>0.3758927270077248</c:v>
                </c:pt>
                <c:pt idx="19">
                  <c:v>0.37719772788747635</c:v>
                </c:pt>
                <c:pt idx="20">
                  <c:v>0.3799126637554585</c:v>
                </c:pt>
                <c:pt idx="21">
                  <c:v>0.39872825883673085</c:v>
                </c:pt>
                <c:pt idx="22">
                  <c:v>0.38453038674033146</c:v>
                </c:pt>
                <c:pt idx="23">
                  <c:v>0.3996343692870201</c:v>
                </c:pt>
                <c:pt idx="24">
                  <c:v>0.4043537881384985</c:v>
                </c:pt>
                <c:pt idx="25">
                  <c:v>0.3878340365682138</c:v>
                </c:pt>
                <c:pt idx="26">
                  <c:v>0.3788494077834179</c:v>
                </c:pt>
                <c:pt idx="27">
                  <c:v>0.36995550099739144</c:v>
                </c:pt>
                <c:pt idx="28">
                  <c:v>0.36761519572439694</c:v>
                </c:pt>
                <c:pt idx="29">
                  <c:v>0.37344761238411756</c:v>
                </c:pt>
                <c:pt idx="30">
                  <c:v>0.375846099038119</c:v>
                </c:pt>
                <c:pt idx="31">
                  <c:v>0.3678982916170044</c:v>
                </c:pt>
                <c:pt idx="32">
                  <c:v>0.3681654676258993</c:v>
                </c:pt>
                <c:pt idx="33">
                  <c:v>0.36993243243243246</c:v>
                </c:pt>
                <c:pt idx="34">
                  <c:v>0.38923351908316683</c:v>
                </c:pt>
                <c:pt idx="35">
                  <c:v>0.3751405371642723</c:v>
                </c:pt>
                <c:pt idx="36">
                  <c:v>0.37576914916189263</c:v>
                </c:pt>
                <c:pt idx="37">
                  <c:v>0.3866439005881237</c:v>
                </c:pt>
                <c:pt idx="38">
                  <c:v>0.38306716254648876</c:v>
                </c:pt>
                <c:pt idx="39">
                  <c:v>0.38282227784730916</c:v>
                </c:pt>
                <c:pt idx="40">
                  <c:v>0.37203206907184705</c:v>
                </c:pt>
                <c:pt idx="41">
                  <c:v>0.3687472971024939</c:v>
                </c:pt>
                <c:pt idx="42">
                  <c:v>0.3794006877353856</c:v>
                </c:pt>
                <c:pt idx="43">
                  <c:v>0.37003058103975534</c:v>
                </c:pt>
                <c:pt idx="44">
                  <c:v>0.3628257207965917</c:v>
                </c:pt>
                <c:pt idx="45">
                  <c:v>0.37526546793147386</c:v>
                </c:pt>
                <c:pt idx="46">
                  <c:v>0.38572265461544897</c:v>
                </c:pt>
                <c:pt idx="47">
                  <c:v>0.3863967487155893</c:v>
                </c:pt>
                <c:pt idx="48">
                  <c:v>0.36995686374016745</c:v>
                </c:pt>
                <c:pt idx="49">
                  <c:v>0.38308429337287553</c:v>
                </c:pt>
                <c:pt idx="50">
                  <c:v>0.3921795206321989</c:v>
                </c:pt>
                <c:pt idx="51">
                  <c:v>0.3923618090452261</c:v>
                </c:pt>
              </c:numCache>
            </c:numRef>
          </c:yVal>
          <c:smooth val="0"/>
          <c:extLst>
            <c:ext xmlns:c16="http://schemas.microsoft.com/office/drawing/2014/chart" uri="{C3380CC4-5D6E-409C-BE32-E72D297353CC}">
              <c16:uniqueId val="{00000002-096C-4121-9522-6AB7243CCAAE}"/>
            </c:ext>
          </c:extLst>
        </c:ser>
        <c:ser>
          <c:idx val="2"/>
          <c:order val="2"/>
          <c:tx>
            <c:strRef>
              <c:f>Sheet1!$B$12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6:$A$127</c:f>
              <c:numCache>
                <c:formatCode>General</c:formatCode>
                <c:ptCount val="2"/>
                <c:pt idx="0">
                  <c:v>0</c:v>
                </c:pt>
                <c:pt idx="1">
                  <c:v>0.006898599336902143</c:v>
                </c:pt>
              </c:numCache>
            </c:numRef>
          </c:xVal>
          <c:yVal>
            <c:numRef>
              <c:f>Sheet1!$B$126:$B$127</c:f>
              <c:numCache>
                <c:formatCode>General</c:formatCode>
                <c:ptCount val="2"/>
                <c:pt idx="0">
                  <c:v>0.3967182145766017</c:v>
                </c:pt>
                <c:pt idx="1">
                  <c:v>0.3967182145766017</c:v>
                </c:pt>
              </c:numCache>
            </c:numRef>
          </c:yVal>
          <c:smooth val="0"/>
          <c:extLst>
            <c:ext xmlns:c16="http://schemas.microsoft.com/office/drawing/2014/chart" uri="{C3380CC4-5D6E-409C-BE32-E72D297353CC}">
              <c16:uniqueId val="{00000005-096C-4121-9522-6AB7243CCAAE}"/>
            </c:ext>
          </c:extLst>
        </c:ser>
        <c:ser>
          <c:idx val="3"/>
          <c:order val="3"/>
          <c:tx>
            <c:strRef>
              <c:f>Sheet1!$B$12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0:$A$131</c:f>
              <c:numCache>
                <c:formatCode>General</c:formatCode>
                <c:ptCount val="2"/>
                <c:pt idx="0">
                  <c:v>0.006898599336902143</c:v>
                </c:pt>
                <c:pt idx="1">
                  <c:v>0.006898599336902143</c:v>
                </c:pt>
              </c:numCache>
            </c:numRef>
          </c:xVal>
          <c:yVal>
            <c:numRef>
              <c:f>Sheet1!$B$130:$B$131</c:f>
              <c:numCache>
                <c:formatCode>General</c:formatCode>
                <c:ptCount val="2"/>
                <c:pt idx="0">
                  <c:v>0.396718214576601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4:$A$135</c:f>
              <c:numCache>
                <c:formatCode>General</c:formatCode>
                <c:ptCount val="2"/>
                <c:pt idx="0">
                  <c:v>0</c:v>
                </c:pt>
                <c:pt idx="1">
                  <c:v>0.1584692935497412</c:v>
                </c:pt>
              </c:numCache>
            </c:numRef>
          </c:xVal>
          <c:yVal>
            <c:numRef>
              <c:f>Sheet1!$B$134:$B$135</c:f>
              <c:numCache>
                <c:formatCode>General</c:formatCode>
                <c:ptCount val="2"/>
                <c:pt idx="0">
                  <c:v>0.384395621697617</c:v>
                </c:pt>
                <c:pt idx="1">
                  <c:v>0.384395621697617</c:v>
                </c:pt>
              </c:numCache>
            </c:numRef>
          </c:yVal>
          <c:smooth val="0"/>
          <c:extLst>
            <c:ext xmlns:c16="http://schemas.microsoft.com/office/drawing/2014/chart" uri="{C3380CC4-5D6E-409C-BE32-E72D297353CC}">
              <c16:uniqueId val="{0000000D-096C-4121-9522-6AB7243CCAAE}"/>
            </c:ext>
          </c:extLst>
        </c:ser>
        <c:ser>
          <c:idx val="5"/>
          <c:order val="5"/>
          <c:tx>
            <c:strRef>
              <c:f>Sheet1!$B$13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8:$A$139</c:f>
              <c:numCache>
                <c:formatCode>General</c:formatCode>
                <c:ptCount val="2"/>
                <c:pt idx="0">
                  <c:v>0.1584692935497412</c:v>
                </c:pt>
                <c:pt idx="1">
                  <c:v>0.1584692935497412</c:v>
                </c:pt>
              </c:numCache>
            </c:numRef>
          </c:xVal>
          <c:yVal>
            <c:numRef>
              <c:f>Sheet1!$B$138:$B$139</c:f>
              <c:numCache>
                <c:formatCode>General</c:formatCode>
                <c:ptCount val="2"/>
                <c:pt idx="0">
                  <c:v>0.38439562169761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4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42:$A$143</c:f>
              <c:numCache>
                <c:formatCode>General</c:formatCode>
                <c:ptCount val="2"/>
                <c:pt idx="0">
                  <c:v>0</c:v>
                </c:pt>
                <c:pt idx="1">
                  <c:v>0.23067833697269646</c:v>
                </c:pt>
              </c:numCache>
            </c:numRef>
          </c:xVal>
          <c:yVal>
            <c:numRef>
              <c:f>Sheet1!$B$142:$B$143</c:f>
              <c:numCache>
                <c:formatCode>General</c:formatCode>
                <c:ptCount val="2"/>
                <c:pt idx="0">
                  <c:v>0.37852507628048954</c:v>
                </c:pt>
                <c:pt idx="1">
                  <c:v>0.37852507628048954</c:v>
                </c:pt>
              </c:numCache>
            </c:numRef>
          </c:yVal>
          <c:smooth val="0"/>
          <c:extLst>
            <c:ext xmlns:c16="http://schemas.microsoft.com/office/drawing/2014/chart" uri="{C3380CC4-5D6E-409C-BE32-E72D297353CC}">
              <c16:uniqueId val="{00000015-096C-4121-9522-6AB7243CCAAE}"/>
            </c:ext>
          </c:extLst>
        </c:ser>
        <c:ser>
          <c:idx val="7"/>
          <c:order val="7"/>
          <c:tx>
            <c:strRef>
              <c:f>Sheet1!$B$14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6:$A$147</c:f>
              <c:numCache>
                <c:formatCode>General</c:formatCode>
                <c:ptCount val="2"/>
                <c:pt idx="0">
                  <c:v>0.23067833697269646</c:v>
                </c:pt>
                <c:pt idx="1">
                  <c:v>0.23067833697269646</c:v>
                </c:pt>
              </c:numCache>
            </c:numRef>
          </c:xVal>
          <c:yVal>
            <c:numRef>
              <c:f>Sheet1!$B$146:$B$147</c:f>
              <c:numCache>
                <c:formatCode>General</c:formatCode>
                <c:ptCount val="2"/>
                <c:pt idx="0">
                  <c:v>0.378525076280489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50:$A$204</c:f>
              <c:numCache>
                <c:formatCode>General</c:formatCode>
                <c:ptCount val="55"/>
                <c:pt idx="0">
                  <c:v>0.2164960168717434</c:v>
                </c:pt>
                <c:pt idx="1">
                  <c:v>0.21656307310582287</c:v>
                </c:pt>
                <c:pt idx="2">
                  <c:v>0.22072823113478834</c:v>
                </c:pt>
                <c:pt idx="3">
                  <c:v>0.24198011949790443</c:v>
                </c:pt>
                <c:pt idx="4">
                  <c:v>0.24121862615354178</c:v>
                </c:pt>
                <c:pt idx="5">
                  <c:v>0.23788820248965004</c:v>
                </c:pt>
                <c:pt idx="6">
                  <c:v>0.2171117776131294</c:v>
                </c:pt>
                <c:pt idx="7">
                  <c:v>0.2106230837189137</c:v>
                </c:pt>
                <c:pt idx="8">
                  <c:v>0.21310662192545501</c:v>
                </c:pt>
                <c:pt idx="9">
                  <c:v>0.20645277035106133</c:v>
                </c:pt>
                <c:pt idx="10">
                  <c:v>0.22660895151084043</c:v>
                </c:pt>
                <c:pt idx="11">
                  <c:v>0.20393058871087666</c:v>
                </c:pt>
                <c:pt idx="12">
                  <c:v>0.19543857756001978</c:v>
                </c:pt>
                <c:pt idx="13">
                  <c:v>0.2002689922218106</c:v>
                </c:pt>
                <c:pt idx="14">
                  <c:v>0.20552950877186615</c:v>
                </c:pt>
                <c:pt idx="15">
                  <c:v>0.18991931541770654</c:v>
                </c:pt>
                <c:pt idx="16">
                  <c:v>0.1940153353906738</c:v>
                </c:pt>
                <c:pt idx="17">
                  <c:v>0.19161682086078077</c:v>
                </c:pt>
                <c:pt idx="18">
                  <c:v>0.19998221485419232</c:v>
                </c:pt>
                <c:pt idx="19">
                  <c:v>0.2066663218473247</c:v>
                </c:pt>
                <c:pt idx="20">
                  <c:v>0.1956755643985335</c:v>
                </c:pt>
                <c:pt idx="21">
                  <c:v>0.18260198896822144</c:v>
                </c:pt>
                <c:pt idx="22">
                  <c:v>0.2101970560512885</c:v>
                </c:pt>
                <c:pt idx="23">
                  <c:v>0.19103862167808255</c:v>
                </c:pt>
                <c:pt idx="24">
                  <c:v>0.17295238958378817</c:v>
                </c:pt>
                <c:pt idx="25">
                  <c:v>0.17724032839651216</c:v>
                </c:pt>
                <c:pt idx="26">
                  <c:v>0.19995453733020369</c:v>
                </c:pt>
                <c:pt idx="27">
                  <c:v>0.2066912769310835</c:v>
                </c:pt>
                <c:pt idx="28">
                  <c:v>0.21497755008944597</c:v>
                </c:pt>
                <c:pt idx="29">
                  <c:v>0.18938757729627217</c:v>
                </c:pt>
                <c:pt idx="30">
                  <c:v>0.19397408599495283</c:v>
                </c:pt>
                <c:pt idx="31">
                  <c:v>0.2077815709593024</c:v>
                </c:pt>
                <c:pt idx="32">
                  <c:v>0.1961771192360771</c:v>
                </c:pt>
                <c:pt idx="33">
                  <c:v>0.17656441653040925</c:v>
                </c:pt>
                <c:pt idx="34">
                  <c:v>0.1752310909758598</c:v>
                </c:pt>
                <c:pt idx="35">
                  <c:v>0.1783695564604855</c:v>
                </c:pt>
                <c:pt idx="36">
                  <c:v>0.1656836684514519</c:v>
                </c:pt>
                <c:pt idx="37">
                  <c:v>0.18666580401857924</c:v>
                </c:pt>
                <c:pt idx="38">
                  <c:v>0.19015947028187075</c:v>
                </c:pt>
                <c:pt idx="39">
                  <c:v>0.1962619065506252</c:v>
                </c:pt>
                <c:pt idx="40">
                  <c:v>0.21652887923594427</c:v>
                </c:pt>
                <c:pt idx="41">
                  <c:v>0.22096675484064396</c:v>
                </c:pt>
                <c:pt idx="42">
                  <c:v>0.20204423650310832</c:v>
                </c:pt>
                <c:pt idx="43">
                  <c:v>0.20071899427569773</c:v>
                </c:pt>
                <c:pt idx="44">
                  <c:v>0.20993178368034948</c:v>
                </c:pt>
                <c:pt idx="45">
                  <c:v>0.21013601276000685</c:v>
                </c:pt>
                <c:pt idx="46">
                  <c:v>0.1963116804193024</c:v>
                </c:pt>
                <c:pt idx="47">
                  <c:v>0.20584039863945097</c:v>
                </c:pt>
                <c:pt idx="48">
                  <c:v>0.27207774994730327</c:v>
                </c:pt>
                <c:pt idx="49">
                  <c:v>0.2211778260447219</c:v>
                </c:pt>
                <c:pt idx="50">
                  <c:v>0.20139598994475408</c:v>
                </c:pt>
                <c:pt idx="51">
                  <c:v>0.21098502277590092</c:v>
                </c:pt>
                <c:pt idx="52">
                  <c:v>0.1584692935497412</c:v>
                </c:pt>
                <c:pt idx="53">
                  <c:v>0.006898599336902143</c:v>
                </c:pt>
                <c:pt idx="54">
                  <c:v>0.23067833697269646</c:v>
                </c:pt>
              </c:numCache>
            </c:numRef>
          </c:xVal>
          <c:yVal>
            <c:numRef>
              <c:f>Sheet1!$B$150:$B$204</c:f>
              <c:numCache>
                <c:formatCode>General</c:formatCode>
                <c:ptCount val="55"/>
                <c:pt idx="0">
                  <c:v>0.37967808912107254</c:v>
                </c:pt>
                <c:pt idx="1">
                  <c:v>0.3796726374955004</c:v>
                </c:pt>
                <c:pt idx="2">
                  <c:v>0.3793340130210654</c:v>
                </c:pt>
                <c:pt idx="3">
                  <c:v>0.3776062491576857</c:v>
                </c:pt>
                <c:pt idx="4">
                  <c:v>0.37766815804126885</c:v>
                </c:pt>
                <c:pt idx="5">
                  <c:v>0.377938919187662</c:v>
                </c:pt>
                <c:pt idx="6">
                  <c:v>0.3796280281975783</c:v>
                </c:pt>
                <c:pt idx="7">
                  <c:v>0.380155554534975</c:v>
                </c:pt>
                <c:pt idx="8">
                  <c:v>0.37995364459204345</c:v>
                </c:pt>
                <c:pt idx="9">
                  <c:v>0.38049459813490516</c:v>
                </c:pt>
                <c:pt idx="10">
                  <c:v>0.378855914511287</c:v>
                </c:pt>
                <c:pt idx="11">
                  <c:v>0.3806996497623339</c:v>
                </c:pt>
                <c:pt idx="12">
                  <c:v>0.381390044410714</c:v>
                </c:pt>
                <c:pt idx="13">
                  <c:v>0.3809973350309553</c:v>
                </c:pt>
                <c:pt idx="14">
                  <c:v>0.3805696586643849</c:v>
                </c:pt>
                <c:pt idx="15">
                  <c:v>0.3818387566154402</c:v>
                </c:pt>
                <c:pt idx="16">
                  <c:v>0.38150575301726314</c:v>
                </c:pt>
                <c:pt idx="17">
                  <c:v>0.3817007505939365</c:v>
                </c:pt>
                <c:pt idx="18">
                  <c:v>0.3810206498331103</c:v>
                </c:pt>
                <c:pt idx="19">
                  <c:v>0.3804772365455767</c:v>
                </c:pt>
                <c:pt idx="20">
                  <c:v>0.38137077754422744</c:v>
                </c:pt>
                <c:pt idx="21">
                  <c:v>0.382433650207951</c:v>
                </c:pt>
                <c:pt idx="22">
                  <c:v>0.3801901902904592</c:v>
                </c:pt>
                <c:pt idx="23">
                  <c:v>0.3817477577886212</c:v>
                </c:pt>
                <c:pt idx="24">
                  <c:v>0.38321815598116266</c:v>
                </c:pt>
                <c:pt idx="25">
                  <c:v>0.38286954951370794</c:v>
                </c:pt>
                <c:pt idx="26">
                  <c:v>0.3810228999967173</c:v>
                </c:pt>
                <c:pt idx="27">
                  <c:v>0.3804752077144823</c:v>
                </c:pt>
                <c:pt idx="28">
                  <c:v>0.3798015394229643</c:v>
                </c:pt>
                <c:pt idx="29">
                  <c:v>0.3818819865578951</c:v>
                </c:pt>
                <c:pt idx="30">
                  <c:v>0.3815091065646795</c:v>
                </c:pt>
                <c:pt idx="31">
                  <c:v>0.38038656756212363</c:v>
                </c:pt>
                <c:pt idx="32">
                  <c:v>0.38133000148193097</c:v>
                </c:pt>
                <c:pt idx="33">
                  <c:v>0.3829245006821467</c:v>
                </c:pt>
                <c:pt idx="34">
                  <c:v>0.38303289912994154</c:v>
                </c:pt>
                <c:pt idx="35">
                  <c:v>0.382777744051101</c:v>
                </c:pt>
                <c:pt idx="36">
                  <c:v>0.38380909799491947</c:v>
                </c:pt>
                <c:pt idx="37">
                  <c:v>0.38210326484776563</c:v>
                </c:pt>
                <c:pt idx="38">
                  <c:v>0.38181923219065367</c:v>
                </c:pt>
                <c:pt idx="39">
                  <c:v>0.3813231083317485</c:v>
                </c:pt>
                <c:pt idx="40">
                  <c:v>0.379675417433533</c:v>
                </c:pt>
                <c:pt idx="41">
                  <c:v>0.37931462120832404</c:v>
                </c:pt>
                <c:pt idx="42">
                  <c:v>0.3808530088955319</c:v>
                </c:pt>
                <c:pt idx="43">
                  <c:v>0.3809607501744066</c:v>
                </c:pt>
                <c:pt idx="44">
                  <c:v>0.3802117567512193</c:v>
                </c:pt>
                <c:pt idx="45">
                  <c:v>0.3801951530679299</c:v>
                </c:pt>
                <c:pt idx="46">
                  <c:v>0.38131906175056135</c:v>
                </c:pt>
                <c:pt idx="47">
                  <c:v>0.38054438353261655</c:v>
                </c:pt>
                <c:pt idx="48">
                  <c:v>0.3751593325648958</c:v>
                </c:pt>
                <c:pt idx="49">
                  <c:v>0.37929746126503927</c:v>
                </c:pt>
                <c:pt idx="50">
                  <c:v>0.3809057108935355</c:v>
                </c:pt>
                <c:pt idx="51">
                  <c:v>0.38012612913932436</c:v>
                </c:pt>
                <c:pt idx="52">
                  <c:v>0.384395621697617</c:v>
                </c:pt>
                <c:pt idx="53">
                  <c:v>0.3967182145766017</c:v>
                </c:pt>
                <c:pt idx="54">
                  <c:v>0.378525076280489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oreal Pari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195168957985352"/>
          <c:min val="0.27055606198723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2.0793</c:v>
                </c:pt>
                <c:pt idx="1">
                  <c:v>898.0923</c:v>
                </c:pt>
                <c:pt idx="2">
                  <c:v>933.1302</c:v>
                </c:pt>
                <c:pt idx="3">
                  <c:v>950.5945</c:v>
                </c:pt>
                <c:pt idx="4">
                  <c:v>945.88</c:v>
                </c:pt>
                <c:pt idx="5">
                  <c:v>940.4877</c:v>
                </c:pt>
                <c:pt idx="6">
                  <c:v>912.8367</c:v>
                </c:pt>
                <c:pt idx="7">
                  <c:v>928.7985</c:v>
                </c:pt>
                <c:pt idx="8">
                  <c:v>926.0689</c:v>
                </c:pt>
                <c:pt idx="9">
                  <c:v>895.5168</c:v>
                </c:pt>
                <c:pt idx="10">
                  <c:v>877.4496</c:v>
                </c:pt>
                <c:pt idx="11">
                  <c:v>892.3339</c:v>
                </c:pt>
                <c:pt idx="12">
                  <c:v>883.8966</c:v>
                </c:pt>
                <c:pt idx="13">
                  <c:v>867.6505</c:v>
                </c:pt>
                <c:pt idx="14">
                  <c:v>916.5349</c:v>
                </c:pt>
                <c:pt idx="15">
                  <c:v>927.2595</c:v>
                </c:pt>
                <c:pt idx="16">
                  <c:v>935.8397</c:v>
                </c:pt>
                <c:pt idx="17">
                  <c:v>952.7421</c:v>
                </c:pt>
                <c:pt idx="18">
                  <c:v>983.7015</c:v>
                </c:pt>
                <c:pt idx="19">
                  <c:v>1011.8266</c:v>
                </c:pt>
                <c:pt idx="20">
                  <c:v>1022.6555</c:v>
                </c:pt>
                <c:pt idx="21">
                  <c:v>1032.3699</c:v>
                </c:pt>
                <c:pt idx="22">
                  <c:v>1019.3834</c:v>
                </c:pt>
                <c:pt idx="23">
                  <c:v>1006.6252</c:v>
                </c:pt>
                <c:pt idx="24">
                  <c:v>999.2128</c:v>
                </c:pt>
                <c:pt idx="25">
                  <c:v>992.7928</c:v>
                </c:pt>
                <c:pt idx="26">
                  <c:v>996.5822</c:v>
                </c:pt>
                <c:pt idx="27">
                  <c:v>1017.7953</c:v>
                </c:pt>
                <c:pt idx="28">
                  <c:v>1017.9128</c:v>
                </c:pt>
                <c:pt idx="29">
                  <c:v>949.6234</c:v>
                </c:pt>
                <c:pt idx="30">
                  <c:v>975.2913</c:v>
                </c:pt>
                <c:pt idx="31">
                  <c:v>984.7113</c:v>
                </c:pt>
                <c:pt idx="32">
                  <c:v>965.6392</c:v>
                </c:pt>
                <c:pt idx="33">
                  <c:v>913.9941</c:v>
                </c:pt>
                <c:pt idx="34">
                  <c:v>975.6922</c:v>
                </c:pt>
                <c:pt idx="35">
                  <c:v>1029.8247</c:v>
                </c:pt>
                <c:pt idx="36">
                  <c:v>1079.3761</c:v>
                </c:pt>
                <c:pt idx="37">
                  <c:v>1095.4522</c:v>
                </c:pt>
                <c:pt idx="38">
                  <c:v>1123.0701</c:v>
                </c:pt>
                <c:pt idx="39">
                  <c:v>1140.4306</c:v>
                </c:pt>
                <c:pt idx="40">
                  <c:v>1168.4861</c:v>
                </c:pt>
                <c:pt idx="41">
                  <c:v>1173.1724</c:v>
                </c:pt>
                <c:pt idx="42">
                  <c:v>1196.5161</c:v>
                </c:pt>
                <c:pt idx="43">
                  <c:v>1194.1835</c:v>
                </c:pt>
                <c:pt idx="44">
                  <c:v>1077.0994</c:v>
                </c:pt>
                <c:pt idx="45">
                  <c:v>1030.341</c:v>
                </c:pt>
                <c:pt idx="46">
                  <c:v>1016.2726</c:v>
                </c:pt>
                <c:pt idx="47">
                  <c:v>996.3513</c:v>
                </c:pt>
                <c:pt idx="48">
                  <c:v>991.7153</c:v>
                </c:pt>
                <c:pt idx="49">
                  <c:v>960.2496</c:v>
                </c:pt>
                <c:pt idx="50">
                  <c:v>969.312</c:v>
                </c:pt>
                <c:pt idx="51">
                  <c:v>991.035</c:v>
                </c:pt>
                <c:pt idx="52">
                  <c:v>1003.8741</c:v>
                </c:pt>
                <c:pt idx="53">
                  <c:v>1076.7501</c:v>
                </c:pt>
                <c:pt idx="54">
                  <c:v>1090.5007</c:v>
                </c:pt>
                <c:pt idx="55">
                  <c:v>1091.1888</c:v>
                </c:pt>
                <c:pt idx="56">
                  <c:v>1108.0917</c:v>
                </c:pt>
                <c:pt idx="57">
                  <c:v>1087.2018</c:v>
                </c:pt>
                <c:pt idx="58">
                  <c:v>1071.9741</c:v>
                </c:pt>
                <c:pt idx="59">
                  <c:v>1078.1859</c:v>
                </c:pt>
                <c:pt idx="60">
                  <c:v>1098.0564</c:v>
                </c:pt>
                <c:pt idx="61">
                  <c:v>1082.2921</c:v>
                </c:pt>
                <c:pt idx="62">
                  <c:v>1035.29</c:v>
                </c:pt>
                <c:pt idx="63">
                  <c:v>1060.3345</c:v>
                </c:pt>
                <c:pt idx="64">
                  <c:v>1050.5276</c:v>
                </c:pt>
                <c:pt idx="65">
                  <c:v>1036.2601</c:v>
                </c:pt>
                <c:pt idx="66">
                  <c:v>1033.8859</c:v>
                </c:pt>
                <c:pt idx="67">
                  <c:v>1031.3079</c:v>
                </c:pt>
                <c:pt idx="68">
                  <c:v>1021.1138</c:v>
                </c:pt>
                <c:pt idx="69">
                  <c:v>1031.6969</c:v>
                </c:pt>
                <c:pt idx="70">
                  <c:v>1030.9094</c:v>
                </c:pt>
                <c:pt idx="71">
                  <c:v>1058.6699</c:v>
                </c:pt>
                <c:pt idx="72">
                  <c:v>1071.7634</c:v>
                </c:pt>
                <c:pt idx="73">
                  <c:v>1087.9704</c:v>
                </c:pt>
                <c:pt idx="74">
                  <c:v>1071.8278</c:v>
                </c:pt>
                <c:pt idx="75">
                  <c:v>1067.6917</c:v>
                </c:pt>
                <c:pt idx="76">
                  <c:v>1064.3747</c:v>
                </c:pt>
                <c:pt idx="77">
                  <c:v>1049.3514</c:v>
                </c:pt>
                <c:pt idx="78">
                  <c:v>1110.6592</c:v>
                </c:pt>
                <c:pt idx="79">
                  <c:v>811.7668</c:v>
                </c:pt>
                <c:pt idx="80">
                  <c:v>820.9709</c:v>
                </c:pt>
                <c:pt idx="81">
                  <c:v>1003.2159</c:v>
                </c:pt>
                <c:pt idx="82">
                  <c:v>1006.7705</c:v>
                </c:pt>
                <c:pt idx="83">
                  <c:v>1011.4731</c:v>
                </c:pt>
                <c:pt idx="84">
                  <c:v>1022.8312</c:v>
                </c:pt>
                <c:pt idx="85">
                  <c:v>1047.4643</c:v>
                </c:pt>
                <c:pt idx="86">
                  <c:v>1143.1328</c:v>
                </c:pt>
                <c:pt idx="87">
                  <c:v>1172.5488</c:v>
                </c:pt>
                <c:pt idx="88">
                  <c:v>1166.9299</c:v>
                </c:pt>
                <c:pt idx="89">
                  <c:v>1117.5828</c:v>
                </c:pt>
                <c:pt idx="90">
                  <c:v>1153.5831</c:v>
                </c:pt>
                <c:pt idx="91">
                  <c:v>1176.1614</c:v>
                </c:pt>
                <c:pt idx="92">
                  <c:v>1169.5088</c:v>
                </c:pt>
                <c:pt idx="93">
                  <c:v>1198.366</c:v>
                </c:pt>
                <c:pt idx="94">
                  <c:v>1188.7466</c:v>
                </c:pt>
                <c:pt idx="95">
                  <c:v>1187.3917</c:v>
                </c:pt>
                <c:pt idx="96">
                  <c:v>1134.213</c:v>
                </c:pt>
                <c:pt idx="97">
                  <c:v>1150.1076</c:v>
                </c:pt>
                <c:pt idx="98">
                  <c:v>1132.3011</c:v>
                </c:pt>
                <c:pt idx="99">
                  <c:v>1088.5472</c:v>
                </c:pt>
                <c:pt idx="100">
                  <c:v>1080.571</c:v>
                </c:pt>
                <c:pt idx="101">
                  <c:v>1123.449</c:v>
                </c:pt>
                <c:pt idx="102">
                  <c:v>1158.3854</c:v>
                </c:pt>
                <c:pt idx="103">
                  <c:v>1029.2894</c:v>
                </c:pt>
                <c:pt idx="104">
                  <c:v>1098.1199</c:v>
                </c:pt>
              </c:numCache>
            </c:numRef>
          </c:xVal>
          <c:yVal>
            <c:numRef>
              <c:f>Sheet1!$B$2:$B$106</c:f>
              <c:numCache>
                <c:formatCode>General</c:formatCode>
                <c:ptCount val="105"/>
                <c:pt idx="0">
                  <c:v>0.22760837033584377</c:v>
                </c:pt>
                <c:pt idx="1">
                  <c:v>0.2325046891924022</c:v>
                </c:pt>
                <c:pt idx="2">
                  <c:v>0.21503914608665006</c:v>
                </c:pt>
                <c:pt idx="3">
                  <c:v>0.21465353931534992</c:v>
                </c:pt>
                <c:pt idx="4">
                  <c:v>0.20793685458459427</c:v>
                </c:pt>
                <c:pt idx="5">
                  <c:v>0.1966485796361315</c:v>
                </c:pt>
                <c:pt idx="6">
                  <c:v>0.21195170411126393</c:v>
                </c:pt>
                <c:pt idx="7">
                  <c:v>0.20612980769230768</c:v>
                </c:pt>
                <c:pt idx="8">
                  <c:v>0.21598764524194736</c:v>
                </c:pt>
                <c:pt idx="9">
                  <c:v>0.21518105849582173</c:v>
                </c:pt>
                <c:pt idx="10">
                  <c:v>0.22739490377378777</c:v>
                </c:pt>
                <c:pt idx="11">
                  <c:v>0.22329282485722793</c:v>
                </c:pt>
                <c:pt idx="12">
                  <c:v>0.2305631356983379</c:v>
                </c:pt>
                <c:pt idx="13">
                  <c:v>0.23892725478996832</c:v>
                </c:pt>
                <c:pt idx="14">
                  <c:v>0.23104343039865805</c:v>
                </c:pt>
                <c:pt idx="15">
                  <c:v>0.22596273291925467</c:v>
                </c:pt>
                <c:pt idx="16">
                  <c:v>0.21038387579232248</c:v>
                </c:pt>
                <c:pt idx="17">
                  <c:v>0.20514723111770677</c:v>
                </c:pt>
                <c:pt idx="18">
                  <c:v>0.18550875820402485</c:v>
                </c:pt>
                <c:pt idx="19">
                  <c:v>0.17197875166002657</c:v>
                </c:pt>
                <c:pt idx="20">
                  <c:v>0.18437369082530372</c:v>
                </c:pt>
                <c:pt idx="21">
                  <c:v>0.18039854881960146</c:v>
                </c:pt>
                <c:pt idx="22">
                  <c:v>0.1794175973280451</c:v>
                </c:pt>
                <c:pt idx="23">
                  <c:v>0.17912721732506257</c:v>
                </c:pt>
                <c:pt idx="24">
                  <c:v>0.18612306913142568</c:v>
                </c:pt>
                <c:pt idx="25">
                  <c:v>0.1827140455625761</c:v>
                </c:pt>
                <c:pt idx="26">
                  <c:v>0.1862462709597778</c:v>
                </c:pt>
                <c:pt idx="27">
                  <c:v>0.18021255060728744</c:v>
                </c:pt>
                <c:pt idx="28">
                  <c:v>0.17628913680530564</c:v>
                </c:pt>
                <c:pt idx="29">
                  <c:v>0.18736804276537442</c:v>
                </c:pt>
                <c:pt idx="30">
                  <c:v>0.17649434571890146</c:v>
                </c:pt>
                <c:pt idx="31">
                  <c:v>0.16942195231668916</c:v>
                </c:pt>
                <c:pt idx="32">
                  <c:v>0.1783959816746702</c:v>
                </c:pt>
                <c:pt idx="33">
                  <c:v>0.19256418079588544</c:v>
                </c:pt>
                <c:pt idx="34">
                  <c:v>0.1910329127599645</c:v>
                </c:pt>
                <c:pt idx="35">
                  <c:v>0.19439806453811292</c:v>
                </c:pt>
                <c:pt idx="36">
                  <c:v>0.1634170522141441</c:v>
                </c:pt>
                <c:pt idx="37">
                  <c:v>0.14788562611504893</c:v>
                </c:pt>
                <c:pt idx="38">
                  <c:v>0.1440997390547985</c:v>
                </c:pt>
                <c:pt idx="39">
                  <c:v>0.14272555140473875</c:v>
                </c:pt>
                <c:pt idx="40">
                  <c:v>0.14606043022340118</c:v>
                </c:pt>
                <c:pt idx="41">
                  <c:v>0.1362635345935034</c:v>
                </c:pt>
                <c:pt idx="42">
                  <c:v>0.14438356164383562</c:v>
                </c:pt>
                <c:pt idx="43">
                  <c:v>0.15096437880104258</c:v>
                </c:pt>
                <c:pt idx="44">
                  <c:v>0.16644399128050066</c:v>
                </c:pt>
                <c:pt idx="45">
                  <c:v>0.18401017919626764</c:v>
                </c:pt>
                <c:pt idx="46">
                  <c:v>0.191180093619118</c:v>
                </c:pt>
                <c:pt idx="47">
                  <c:v>0.19401514039465684</c:v>
                </c:pt>
                <c:pt idx="48">
                  <c:v>0.20776936606255259</c:v>
                </c:pt>
                <c:pt idx="49">
                  <c:v>0.24055718692688513</c:v>
                </c:pt>
                <c:pt idx="50">
                  <c:v>0.20537331455021132</c:v>
                </c:pt>
                <c:pt idx="51">
                  <c:v>0.18708201775103797</c:v>
                </c:pt>
                <c:pt idx="52">
                  <c:v>0.20016477944904512</c:v>
                </c:pt>
                <c:pt idx="53">
                  <c:v>0.19037838691839798</c:v>
                </c:pt>
                <c:pt idx="54">
                  <c:v>0.18361277154104097</c:v>
                </c:pt>
                <c:pt idx="55">
                  <c:v>0.180431336184978</c:v>
                </c:pt>
                <c:pt idx="56">
                  <c:v>0.1921937356391341</c:v>
                </c:pt>
                <c:pt idx="57">
                  <c:v>0.1869673664518811</c:v>
                </c:pt>
                <c:pt idx="58">
                  <c:v>0.20230027679679297</c:v>
                </c:pt>
                <c:pt idx="59">
                  <c:v>0.20680500793289244</c:v>
                </c:pt>
                <c:pt idx="60">
                  <c:v>0.21535680468279245</c:v>
                </c:pt>
                <c:pt idx="61">
                  <c:v>0.21254020047418953</c:v>
                </c:pt>
                <c:pt idx="62">
                  <c:v>0.21977724058468698</c:v>
                </c:pt>
                <c:pt idx="63">
                  <c:v>0.23405083253118153</c:v>
                </c:pt>
                <c:pt idx="64">
                  <c:v>0.22663326653306612</c:v>
                </c:pt>
                <c:pt idx="65">
                  <c:v>0.21906008068912877</c:v>
                </c:pt>
                <c:pt idx="66">
                  <c:v>0.21964273616223662</c:v>
                </c:pt>
                <c:pt idx="67">
                  <c:v>0.2167344705350558</c:v>
                </c:pt>
                <c:pt idx="68">
                  <c:v>0.19713190401817407</c:v>
                </c:pt>
                <c:pt idx="69">
                  <c:v>0.18215920174056568</c:v>
                </c:pt>
                <c:pt idx="70">
                  <c:v>0.17000035910511008</c:v>
                </c:pt>
                <c:pt idx="71">
                  <c:v>0.17906644531099186</c:v>
                </c:pt>
                <c:pt idx="72">
                  <c:v>0.18262489044697633</c:v>
                </c:pt>
                <c:pt idx="73">
                  <c:v>0.18369408930167488</c:v>
                </c:pt>
                <c:pt idx="74">
                  <c:v>0.17798172038966412</c:v>
                </c:pt>
                <c:pt idx="75">
                  <c:v>0.17587279337684525</c:v>
                </c:pt>
                <c:pt idx="76">
                  <c:v>0.17318383555244102</c:v>
                </c:pt>
                <c:pt idx="77">
                  <c:v>0.16938785339305495</c:v>
                </c:pt>
                <c:pt idx="78">
                  <c:v>0.16006449879064769</c:v>
                </c:pt>
                <c:pt idx="79">
                  <c:v>0.20537501191270371</c:v>
                </c:pt>
                <c:pt idx="80">
                  <c:v>0.1914609739826551</c:v>
                </c:pt>
                <c:pt idx="81">
                  <c:v>0.16176890156918688</c:v>
                </c:pt>
                <c:pt idx="82">
                  <c:v>0.1631413612565445</c:v>
                </c:pt>
                <c:pt idx="83">
                  <c:v>0.1470696419813634</c:v>
                </c:pt>
                <c:pt idx="84">
                  <c:v>0.14775611265861963</c:v>
                </c:pt>
                <c:pt idx="85">
                  <c:v>0.14966431963320778</c:v>
                </c:pt>
                <c:pt idx="86">
                  <c:v>0.1466328451026921</c:v>
                </c:pt>
                <c:pt idx="87">
                  <c:v>0.1682031189982331</c:v>
                </c:pt>
                <c:pt idx="88">
                  <c:v>0.15206499002772778</c:v>
                </c:pt>
                <c:pt idx="89">
                  <c:v>0.14356117420184272</c:v>
                </c:pt>
                <c:pt idx="90">
                  <c:v>0.13762376237623763</c:v>
                </c:pt>
                <c:pt idx="91">
                  <c:v>0.14078597981943708</c:v>
                </c:pt>
                <c:pt idx="92">
                  <c:v>0.14561866643958102</c:v>
                </c:pt>
                <c:pt idx="93">
                  <c:v>0.1377233240452385</c:v>
                </c:pt>
                <c:pt idx="94">
                  <c:v>0.13904559326736335</c:v>
                </c:pt>
                <c:pt idx="95">
                  <c:v>0.14864864864864866</c:v>
                </c:pt>
                <c:pt idx="96">
                  <c:v>0.145429833503228</c:v>
                </c:pt>
                <c:pt idx="97">
                  <c:v>0.15325840794124496</c:v>
                </c:pt>
                <c:pt idx="98">
                  <c:v>0.1700043933513949</c:v>
                </c:pt>
                <c:pt idx="99">
                  <c:v>0.17778411250475104</c:v>
                </c:pt>
                <c:pt idx="100">
                  <c:v>0.20069152307958277</c:v>
                </c:pt>
                <c:pt idx="101">
                  <c:v>0.18210413864050012</c:v>
                </c:pt>
                <c:pt idx="102">
                  <c:v>0.1514782002787179</c:v>
                </c:pt>
                <c:pt idx="103">
                  <c:v>0.17233793587643342</c:v>
                </c:pt>
                <c:pt idx="104">
                  <c:v>0.176800976800976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8.5916</c:v>
                </c:pt>
                <c:pt idx="1">
                  <c:v>1167.7319</c:v>
                </c:pt>
                <c:pt idx="2">
                  <c:v>1157.0062</c:v>
                </c:pt>
                <c:pt idx="3">
                  <c:v>1169.1175</c:v>
                </c:pt>
                <c:pt idx="4">
                  <c:v>1161.9544</c:v>
                </c:pt>
                <c:pt idx="5">
                  <c:v>1183.7248</c:v>
                </c:pt>
                <c:pt idx="6">
                  <c:v>1117.2699</c:v>
                </c:pt>
                <c:pt idx="7">
                  <c:v>1141.1736</c:v>
                </c:pt>
                <c:pt idx="8">
                  <c:v>1209.0104</c:v>
                </c:pt>
                <c:pt idx="9">
                  <c:v>1152.1809</c:v>
                </c:pt>
                <c:pt idx="10">
                  <c:v>1164.4479</c:v>
                </c:pt>
                <c:pt idx="11">
                  <c:v>1099.6931</c:v>
                </c:pt>
                <c:pt idx="12">
                  <c:v>1106.4423</c:v>
                </c:pt>
                <c:pt idx="13">
                  <c:v>1122.9219</c:v>
                </c:pt>
                <c:pt idx="14">
                  <c:v>1153.7647</c:v>
                </c:pt>
                <c:pt idx="15">
                  <c:v>1159.7934</c:v>
                </c:pt>
                <c:pt idx="16">
                  <c:v>1194.0332</c:v>
                </c:pt>
                <c:pt idx="17">
                  <c:v>1157.0735</c:v>
                </c:pt>
                <c:pt idx="18">
                  <c:v>1132.6753</c:v>
                </c:pt>
                <c:pt idx="19">
                  <c:v>1193.0941</c:v>
                </c:pt>
                <c:pt idx="20">
                  <c:v>1161.3896</c:v>
                </c:pt>
                <c:pt idx="21">
                  <c:v>1171.0427</c:v>
                </c:pt>
                <c:pt idx="22">
                  <c:v>1157.2601</c:v>
                </c:pt>
                <c:pt idx="23">
                  <c:v>1119.5718</c:v>
                </c:pt>
                <c:pt idx="24">
                  <c:v>1125.9451</c:v>
                </c:pt>
                <c:pt idx="25">
                  <c:v>1089.6518</c:v>
                </c:pt>
                <c:pt idx="26">
                  <c:v>1148.3319</c:v>
                </c:pt>
                <c:pt idx="27">
                  <c:v>1193.031</c:v>
                </c:pt>
                <c:pt idx="28">
                  <c:v>1209.2025</c:v>
                </c:pt>
                <c:pt idx="29">
                  <c:v>1213.4693</c:v>
                </c:pt>
                <c:pt idx="30">
                  <c:v>1213.6685</c:v>
                </c:pt>
                <c:pt idx="31">
                  <c:v>1133.8963</c:v>
                </c:pt>
                <c:pt idx="32">
                  <c:v>1155.7744</c:v>
                </c:pt>
                <c:pt idx="33">
                  <c:v>1201.978</c:v>
                </c:pt>
                <c:pt idx="34">
                  <c:v>1254.7971</c:v>
                </c:pt>
                <c:pt idx="35">
                  <c:v>1239.7585</c:v>
                </c:pt>
                <c:pt idx="36">
                  <c:v>1220.2895</c:v>
                </c:pt>
                <c:pt idx="37">
                  <c:v>1258.7205</c:v>
                </c:pt>
                <c:pt idx="38">
                  <c:v>1236.5463</c:v>
                </c:pt>
                <c:pt idx="39">
                  <c:v>1237.4602</c:v>
                </c:pt>
                <c:pt idx="40">
                  <c:v>1258.6316</c:v>
                </c:pt>
                <c:pt idx="41">
                  <c:v>1300.8213</c:v>
                </c:pt>
                <c:pt idx="42">
                  <c:v>1285.5839</c:v>
                </c:pt>
                <c:pt idx="43">
                  <c:v>1284.3043</c:v>
                </c:pt>
                <c:pt idx="44">
                  <c:v>1215.6986</c:v>
                </c:pt>
                <c:pt idx="45">
                  <c:v>1177.9954</c:v>
                </c:pt>
                <c:pt idx="46">
                  <c:v>1151.3394</c:v>
                </c:pt>
                <c:pt idx="47">
                  <c:v>1144.6395</c:v>
                </c:pt>
                <c:pt idx="48">
                  <c:v>1117.0977</c:v>
                </c:pt>
                <c:pt idx="49">
                  <c:v>1129.409</c:v>
                </c:pt>
                <c:pt idx="50">
                  <c:v>1042.1477</c:v>
                </c:pt>
                <c:pt idx="51">
                  <c:v>1017.0188</c:v>
                </c:pt>
              </c:numCache>
            </c:numRef>
          </c:xVal>
          <c:yVal>
            <c:numRef>
              <c:f>Sheet1!$B$109:$B$160</c:f>
              <c:numCache>
                <c:formatCode>General</c:formatCode>
                <c:ptCount val="52"/>
                <c:pt idx="0">
                  <c:v>0.175662656554927</c:v>
                </c:pt>
                <c:pt idx="1">
                  <c:v>0.17459402828706128</c:v>
                </c:pt>
                <c:pt idx="2">
                  <c:v>0.1826517212269018</c:v>
                </c:pt>
                <c:pt idx="3">
                  <c:v>0.19290184955109121</c:v>
                </c:pt>
                <c:pt idx="4">
                  <c:v>0.1808049836959167</c:v>
                </c:pt>
                <c:pt idx="5">
                  <c:v>0.17299134432001564</c:v>
                </c:pt>
                <c:pt idx="6">
                  <c:v>0.17752865773816362</c:v>
                </c:pt>
                <c:pt idx="7">
                  <c:v>0.17669243824250425</c:v>
                </c:pt>
                <c:pt idx="8">
                  <c:v>0.17478963312016157</c:v>
                </c:pt>
                <c:pt idx="9">
                  <c:v>0.18824222504728536</c:v>
                </c:pt>
                <c:pt idx="10">
                  <c:v>0.189738567910027</c:v>
                </c:pt>
                <c:pt idx="11">
                  <c:v>0.19920649152694342</c:v>
                </c:pt>
                <c:pt idx="12">
                  <c:v>0.20091186175974207</c:v>
                </c:pt>
                <c:pt idx="13">
                  <c:v>0.19532071503680337</c:v>
                </c:pt>
                <c:pt idx="14">
                  <c:v>0.19452253296623678</c:v>
                </c:pt>
                <c:pt idx="15">
                  <c:v>0.18382466908459655</c:v>
                </c:pt>
                <c:pt idx="16">
                  <c:v>0.17105357784969435</c:v>
                </c:pt>
                <c:pt idx="17">
                  <c:v>0.16143362698591973</c:v>
                </c:pt>
                <c:pt idx="18">
                  <c:v>0.15984129879605982</c:v>
                </c:pt>
                <c:pt idx="19">
                  <c:v>0.16725263686589653</c:v>
                </c:pt>
                <c:pt idx="20">
                  <c:v>0.16279501951310166</c:v>
                </c:pt>
                <c:pt idx="21">
                  <c:v>0.15986218776916453</c:v>
                </c:pt>
                <c:pt idx="22">
                  <c:v>0.16070922789327594</c:v>
                </c:pt>
                <c:pt idx="23">
                  <c:v>0.1702065585249154</c:v>
                </c:pt>
                <c:pt idx="24">
                  <c:v>0.16856911008926156</c:v>
                </c:pt>
                <c:pt idx="25">
                  <c:v>0.17782949256442274</c:v>
                </c:pt>
                <c:pt idx="26">
                  <c:v>0.1581707119303746</c:v>
                </c:pt>
                <c:pt idx="27">
                  <c:v>0.14686719247538332</c:v>
                </c:pt>
                <c:pt idx="28">
                  <c:v>0.14542954716813766</c:v>
                </c:pt>
                <c:pt idx="29">
                  <c:v>0.14433539577554938</c:v>
                </c:pt>
                <c:pt idx="30">
                  <c:v>0.15105035011670556</c:v>
                </c:pt>
                <c:pt idx="31">
                  <c:v>0.14772658473088332</c:v>
                </c:pt>
                <c:pt idx="32">
                  <c:v>0.1481618815552495</c:v>
                </c:pt>
                <c:pt idx="33">
                  <c:v>0.17092807219322304</c:v>
                </c:pt>
                <c:pt idx="34">
                  <c:v>0.18945165053874133</c:v>
                </c:pt>
                <c:pt idx="35">
                  <c:v>0.1863625133821955</c:v>
                </c:pt>
                <c:pt idx="36">
                  <c:v>0.15510415990654813</c:v>
                </c:pt>
                <c:pt idx="37">
                  <c:v>0.14670209079357746</c:v>
                </c:pt>
                <c:pt idx="38">
                  <c:v>0.14790558941771495</c:v>
                </c:pt>
                <c:pt idx="39">
                  <c:v>0.16470086684666763</c:v>
                </c:pt>
                <c:pt idx="40">
                  <c:v>0.14769102759672723</c:v>
                </c:pt>
                <c:pt idx="41">
                  <c:v>0.14965277777777777</c:v>
                </c:pt>
                <c:pt idx="42">
                  <c:v>0.1479838119849822</c:v>
                </c:pt>
                <c:pt idx="43">
                  <c:v>0.14525119702708497</c:v>
                </c:pt>
                <c:pt idx="44">
                  <c:v>0.14397752545944048</c:v>
                </c:pt>
                <c:pt idx="45">
                  <c:v>0.16196872935476767</c:v>
                </c:pt>
                <c:pt idx="46">
                  <c:v>0.15774751952712687</c:v>
                </c:pt>
                <c:pt idx="47">
                  <c:v>0.16018034533158274</c:v>
                </c:pt>
                <c:pt idx="48">
                  <c:v>0.15172915152144564</c:v>
                </c:pt>
                <c:pt idx="49">
                  <c:v>0.16467122053745684</c:v>
                </c:pt>
                <c:pt idx="50">
                  <c:v>0.20337764110703302</c:v>
                </c:pt>
                <c:pt idx="51">
                  <c:v>0.1886950543548317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83.6298094932763</c:v>
                </c:pt>
              </c:numCache>
            </c:numRef>
          </c:xVal>
          <c:yVal>
            <c:numRef>
              <c:f>Sheet1!$B$163:$B$164</c:f>
              <c:numCache>
                <c:formatCode>General</c:formatCode>
                <c:ptCount val="2"/>
                <c:pt idx="0">
                  <c:v>0.21427337068849897</c:v>
                </c:pt>
                <c:pt idx="1">
                  <c:v>0.2142733706884989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83.6298094932763</c:v>
                </c:pt>
                <c:pt idx="1">
                  <c:v>883.6298094932763</c:v>
                </c:pt>
              </c:numCache>
            </c:numRef>
          </c:xVal>
          <c:yVal>
            <c:numRef>
              <c:f>Sheet1!$B$167:$B$168</c:f>
              <c:numCache>
                <c:formatCode>General</c:formatCode>
                <c:ptCount val="2"/>
                <c:pt idx="0">
                  <c:v>0.2142733706884989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1.6128736371313</c:v>
                </c:pt>
              </c:numCache>
            </c:numRef>
          </c:xVal>
          <c:yVal>
            <c:numRef>
              <c:f>Sheet1!$B$171:$B$172</c:f>
              <c:numCache>
                <c:formatCode>General</c:formatCode>
                <c:ptCount val="2"/>
                <c:pt idx="0">
                  <c:v>0.17953887777780547</c:v>
                </c:pt>
                <c:pt idx="1">
                  <c:v>0.1795388777778054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1.6128736371313</c:v>
                </c:pt>
                <c:pt idx="1">
                  <c:v>1101.6128736371313</c:v>
                </c:pt>
              </c:numCache>
            </c:numRef>
          </c:xVal>
          <c:yVal>
            <c:numRef>
              <c:f>Sheet1!$B$175:$B$176</c:f>
              <c:numCache>
                <c:formatCode>General</c:formatCode>
                <c:ptCount val="2"/>
                <c:pt idx="0">
                  <c:v>0.179538877777805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20.5510621930355</c:v>
                </c:pt>
              </c:numCache>
            </c:numRef>
          </c:xVal>
          <c:yVal>
            <c:numRef>
              <c:f>Sheet1!$B$179:$B$180</c:f>
              <c:numCache>
                <c:formatCode>General</c:formatCode>
                <c:ptCount val="2"/>
                <c:pt idx="0">
                  <c:v>0.16058668218668648</c:v>
                </c:pt>
                <c:pt idx="1">
                  <c:v>0.1605866821866864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20.5510621930355</c:v>
                </c:pt>
                <c:pt idx="1">
                  <c:v>1220.5510621930355</c:v>
                </c:pt>
              </c:numCache>
            </c:numRef>
          </c:xVal>
          <c:yVal>
            <c:numRef>
              <c:f>Sheet1!$B$183:$B$184</c:f>
              <c:numCache>
                <c:formatCode>General</c:formatCode>
                <c:ptCount val="2"/>
                <c:pt idx="0">
                  <c:v>0.1605866821866864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8.5916</c:v>
                </c:pt>
                <c:pt idx="1">
                  <c:v>1167.7319</c:v>
                </c:pt>
                <c:pt idx="2">
                  <c:v>1157.0062</c:v>
                </c:pt>
                <c:pt idx="3">
                  <c:v>1169.1175</c:v>
                </c:pt>
                <c:pt idx="4">
                  <c:v>1161.9544</c:v>
                </c:pt>
                <c:pt idx="5">
                  <c:v>1183.7248</c:v>
                </c:pt>
                <c:pt idx="6">
                  <c:v>1117.2699</c:v>
                </c:pt>
                <c:pt idx="7">
                  <c:v>1141.1736</c:v>
                </c:pt>
                <c:pt idx="8">
                  <c:v>1209.0104</c:v>
                </c:pt>
                <c:pt idx="9">
                  <c:v>1152.1809</c:v>
                </c:pt>
                <c:pt idx="10">
                  <c:v>1164.4479</c:v>
                </c:pt>
                <c:pt idx="11">
                  <c:v>1099.6931</c:v>
                </c:pt>
                <c:pt idx="12">
                  <c:v>1106.4423</c:v>
                </c:pt>
                <c:pt idx="13">
                  <c:v>1122.9219</c:v>
                </c:pt>
                <c:pt idx="14">
                  <c:v>1153.7647</c:v>
                </c:pt>
                <c:pt idx="15">
                  <c:v>1159.7934</c:v>
                </c:pt>
                <c:pt idx="16">
                  <c:v>1194.0332</c:v>
                </c:pt>
                <c:pt idx="17">
                  <c:v>1157.0735</c:v>
                </c:pt>
                <c:pt idx="18">
                  <c:v>1132.6753</c:v>
                </c:pt>
                <c:pt idx="19">
                  <c:v>1193.0941</c:v>
                </c:pt>
                <c:pt idx="20">
                  <c:v>1161.3896</c:v>
                </c:pt>
                <c:pt idx="21">
                  <c:v>1171.0427</c:v>
                </c:pt>
                <c:pt idx="22">
                  <c:v>1157.2601</c:v>
                </c:pt>
                <c:pt idx="23">
                  <c:v>1119.5718</c:v>
                </c:pt>
                <c:pt idx="24">
                  <c:v>1125.9451</c:v>
                </c:pt>
                <c:pt idx="25">
                  <c:v>1089.6518</c:v>
                </c:pt>
                <c:pt idx="26">
                  <c:v>1148.3319</c:v>
                </c:pt>
                <c:pt idx="27">
                  <c:v>1193.031</c:v>
                </c:pt>
                <c:pt idx="28">
                  <c:v>1209.2025</c:v>
                </c:pt>
                <c:pt idx="29">
                  <c:v>1213.4693</c:v>
                </c:pt>
                <c:pt idx="30">
                  <c:v>1213.6685</c:v>
                </c:pt>
                <c:pt idx="31">
                  <c:v>1133.8963</c:v>
                </c:pt>
                <c:pt idx="32">
                  <c:v>1155.7744</c:v>
                </c:pt>
                <c:pt idx="33">
                  <c:v>1201.978</c:v>
                </c:pt>
                <c:pt idx="34">
                  <c:v>1254.7971</c:v>
                </c:pt>
                <c:pt idx="35">
                  <c:v>1239.7585</c:v>
                </c:pt>
                <c:pt idx="36">
                  <c:v>1220.2895</c:v>
                </c:pt>
                <c:pt idx="37">
                  <c:v>1258.7205</c:v>
                </c:pt>
                <c:pt idx="38">
                  <c:v>1236.5463</c:v>
                </c:pt>
                <c:pt idx="39">
                  <c:v>1237.4602</c:v>
                </c:pt>
                <c:pt idx="40">
                  <c:v>1258.6316</c:v>
                </c:pt>
                <c:pt idx="41">
                  <c:v>1300.8213</c:v>
                </c:pt>
                <c:pt idx="42">
                  <c:v>1285.5839</c:v>
                </c:pt>
                <c:pt idx="43">
                  <c:v>1284.3043</c:v>
                </c:pt>
                <c:pt idx="44">
                  <c:v>1215.6986</c:v>
                </c:pt>
                <c:pt idx="45">
                  <c:v>1177.9954</c:v>
                </c:pt>
                <c:pt idx="46">
                  <c:v>1151.3394</c:v>
                </c:pt>
                <c:pt idx="47">
                  <c:v>1144.6395</c:v>
                </c:pt>
                <c:pt idx="48">
                  <c:v>1117.0977</c:v>
                </c:pt>
                <c:pt idx="49">
                  <c:v>1129.409</c:v>
                </c:pt>
                <c:pt idx="50">
                  <c:v>1042.1477</c:v>
                </c:pt>
                <c:pt idx="51">
                  <c:v>1017.0188</c:v>
                </c:pt>
                <c:pt idx="52">
                  <c:v>1101.6128736371313</c:v>
                </c:pt>
                <c:pt idx="53">
                  <c:v>883.6298094932763</c:v>
                </c:pt>
                <c:pt idx="54">
                  <c:v>1220.5510621930355</c:v>
                </c:pt>
              </c:numCache>
            </c:numRef>
          </c:xVal>
          <c:yVal>
            <c:numRef>
              <c:f>Sheet1!$B$187:$B$241</c:f>
              <c:numCache>
                <c:formatCode>General</c:formatCode>
                <c:ptCount val="55"/>
                <c:pt idx="0">
                  <c:v>0.16727270913930645</c:v>
                </c:pt>
                <c:pt idx="1">
                  <c:v>0.16900314711687944</c:v>
                </c:pt>
                <c:pt idx="2">
                  <c:v>0.17071223287579126</c:v>
                </c:pt>
                <c:pt idx="3">
                  <c:v>0.16878235880212625</c:v>
                </c:pt>
                <c:pt idx="4">
                  <c:v>0.16992376236549844</c:v>
                </c:pt>
                <c:pt idx="5">
                  <c:v>0.16645475981966798</c:v>
                </c:pt>
                <c:pt idx="6">
                  <c:v>0.1770440102368817</c:v>
                </c:pt>
                <c:pt idx="7">
                  <c:v>0.173235077183067</c:v>
                </c:pt>
                <c:pt idx="8">
                  <c:v>0.16242562802728702</c:v>
                </c:pt>
                <c:pt idx="9">
                  <c:v>0.1714811198959836</c:v>
                </c:pt>
                <c:pt idx="10">
                  <c:v>0.16952643581899368</c:v>
                </c:pt>
                <c:pt idx="11">
                  <c:v>0.1798447839455666</c:v>
                </c:pt>
                <c:pt idx="12">
                  <c:v>0.17876933324267097</c:v>
                </c:pt>
                <c:pt idx="13">
                  <c:v>0.17614339277514313</c:v>
                </c:pt>
                <c:pt idx="14">
                  <c:v>0.17122874941900176</c:v>
                </c:pt>
                <c:pt idx="15">
                  <c:v>0.17026810672763878</c:v>
                </c:pt>
                <c:pt idx="16">
                  <c:v>0.16481216869394502</c:v>
                </c:pt>
                <c:pt idx="17">
                  <c:v>0.17070150896298608</c:v>
                </c:pt>
                <c:pt idx="18">
                  <c:v>0.17458923807745713</c:v>
                </c:pt>
                <c:pt idx="19">
                  <c:v>0.16496180950398018</c:v>
                </c:pt>
                <c:pt idx="20">
                  <c:v>0.17001376037370616</c:v>
                </c:pt>
                <c:pt idx="21">
                  <c:v>0.168475587971033</c:v>
                </c:pt>
                <c:pt idx="22">
                  <c:v>0.17067177520177582</c:v>
                </c:pt>
                <c:pt idx="23">
                  <c:v>0.1766772141761641</c:v>
                </c:pt>
                <c:pt idx="24">
                  <c:v>0.17566166122696053</c:v>
                </c:pt>
                <c:pt idx="25">
                  <c:v>0.18144481404439103</c:v>
                </c:pt>
                <c:pt idx="26">
                  <c:v>0.17209443847528863</c:v>
                </c:pt>
                <c:pt idx="27">
                  <c:v>0.1649718641681408</c:v>
                </c:pt>
                <c:pt idx="28">
                  <c:v>0.16239501786904212</c:v>
                </c:pt>
                <c:pt idx="29">
                  <c:v>0.16171512498409057</c:v>
                </c:pt>
                <c:pt idx="30">
                  <c:v>0.1616833834769465</c:v>
                </c:pt>
                <c:pt idx="31">
                  <c:v>0.17439467793577582</c:v>
                </c:pt>
                <c:pt idx="32">
                  <c:v>0.1709085139425587</c:v>
                </c:pt>
                <c:pt idx="33">
                  <c:v>0.1635462052102188</c:v>
                </c:pt>
                <c:pt idx="34">
                  <c:v>0.15512975019016978</c:v>
                </c:pt>
                <c:pt idx="35">
                  <c:v>0.1575260746346323</c:v>
                </c:pt>
                <c:pt idx="36">
                  <c:v>0.1606283607922028</c:v>
                </c:pt>
                <c:pt idx="37">
                  <c:v>0.1545045763491604</c:v>
                </c:pt>
                <c:pt idx="38">
                  <c:v>0.15803792237182207</c:v>
                </c:pt>
                <c:pt idx="39">
                  <c:v>0.15789229705365454</c:v>
                </c:pt>
                <c:pt idx="40">
                  <c:v>0.15451874211213784</c:v>
                </c:pt>
                <c:pt idx="41">
                  <c:v>0.14779602793564936</c:v>
                </c:pt>
                <c:pt idx="42">
                  <c:v>0.15022403014928978</c:v>
                </c:pt>
                <c:pt idx="43">
                  <c:v>0.1504279279030125</c:v>
                </c:pt>
                <c:pt idx="44">
                  <c:v>0.16135989736422968</c:v>
                </c:pt>
                <c:pt idx="45">
                  <c:v>0.16736771057785713</c:v>
                </c:pt>
                <c:pt idx="46">
                  <c:v>0.1716152086422775</c:v>
                </c:pt>
                <c:pt idx="47">
                  <c:v>0.17268280364084482</c:v>
                </c:pt>
                <c:pt idx="48">
                  <c:v>0.17707144943131048</c:v>
                </c:pt>
                <c:pt idx="49">
                  <c:v>0.17510970637456907</c:v>
                </c:pt>
                <c:pt idx="50">
                  <c:v>0.18901435083918514</c:v>
                </c:pt>
                <c:pt idx="51">
                  <c:v>0.19301851328332578</c:v>
                </c:pt>
                <c:pt idx="52">
                  <c:v>0.17953887777780547</c:v>
                </c:pt>
                <c:pt idx="53">
                  <c:v>0.21427337068849897</c:v>
                </c:pt>
                <c:pt idx="54">
                  <c:v>0.1605866821866864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1.0"/>
          <c:min val="64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866862431226215"/>
          <c:min val="0.1090108276748027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9</c:f>
              <c:numCache>
                <c:formatCode>General</c:formatCode>
                <c:ptCount val="68"/>
                <c:pt idx="0">
                  <c:v>1101.8992</c:v>
                </c:pt>
                <c:pt idx="1">
                  <c:v>1152.3715</c:v>
                </c:pt>
                <c:pt idx="2">
                  <c:v>1177.5412</c:v>
                </c:pt>
                <c:pt idx="3">
                  <c:v>1170.9977</c:v>
                </c:pt>
                <c:pt idx="4">
                  <c:v>1210.213</c:v>
                </c:pt>
                <c:pt idx="5">
                  <c:v>1225.1621</c:v>
                </c:pt>
                <c:pt idx="6">
                  <c:v>1231.6123</c:v>
                </c:pt>
                <c:pt idx="7">
                  <c:v>1170.7964</c:v>
                </c:pt>
                <c:pt idx="8">
                  <c:v>1134.7624</c:v>
                </c:pt>
                <c:pt idx="9">
                  <c:v>1125.4867</c:v>
                </c:pt>
                <c:pt idx="10">
                  <c:v>1116.7963</c:v>
                </c:pt>
                <c:pt idx="11">
                  <c:v>1111.2093</c:v>
                </c:pt>
                <c:pt idx="12">
                  <c:v>1059.7965</c:v>
                </c:pt>
                <c:pt idx="13">
                  <c:v>1064.2317</c:v>
                </c:pt>
                <c:pt idx="14">
                  <c:v>1070.4155</c:v>
                </c:pt>
                <c:pt idx="15">
                  <c:v>1063.6198</c:v>
                </c:pt>
                <c:pt idx="16">
                  <c:v>1180.2011</c:v>
                </c:pt>
                <c:pt idx="17">
                  <c:v>1167.9503</c:v>
                </c:pt>
                <c:pt idx="18">
                  <c:v>1185.8227</c:v>
                </c:pt>
                <c:pt idx="19">
                  <c:v>1198.8824</c:v>
                </c:pt>
                <c:pt idx="20">
                  <c:v>1167.2362</c:v>
                </c:pt>
                <c:pt idx="21">
                  <c:v>1157.2249</c:v>
                </c:pt>
                <c:pt idx="22">
                  <c:v>1130.9894</c:v>
                </c:pt>
                <c:pt idx="23">
                  <c:v>1148.0772</c:v>
                </c:pt>
                <c:pt idx="24">
                  <c:v>1169.1847</c:v>
                </c:pt>
                <c:pt idx="25">
                  <c:v>1103.899</c:v>
                </c:pt>
                <c:pt idx="26">
                  <c:v>1119.955</c:v>
                </c:pt>
                <c:pt idx="27">
                  <c:v>1132.6213</c:v>
                </c:pt>
                <c:pt idx="28">
                  <c:v>1127.5593</c:v>
                </c:pt>
                <c:pt idx="29">
                  <c:v>1168.5132</c:v>
                </c:pt>
                <c:pt idx="30">
                  <c:v>1191.0501</c:v>
                </c:pt>
                <c:pt idx="31">
                  <c:v>1211.0706</c:v>
                </c:pt>
                <c:pt idx="32">
                  <c:v>1239.64</c:v>
                </c:pt>
                <c:pt idx="33">
                  <c:v>1223.0381</c:v>
                </c:pt>
                <c:pt idx="34">
                  <c:v>1271.9492</c:v>
                </c:pt>
                <c:pt idx="35">
                  <c:v>1332.9977</c:v>
                </c:pt>
                <c:pt idx="36">
                  <c:v>1311.5495</c:v>
                </c:pt>
                <c:pt idx="37">
                  <c:v>1309.7295</c:v>
                </c:pt>
                <c:pt idx="38">
                  <c:v>1261.7722</c:v>
                </c:pt>
                <c:pt idx="39">
                  <c:v>1237.4954</c:v>
                </c:pt>
                <c:pt idx="40">
                  <c:v>1233.0345</c:v>
                </c:pt>
                <c:pt idx="41">
                  <c:v>1304.0082</c:v>
                </c:pt>
                <c:pt idx="42">
                  <c:v>1276.5923</c:v>
                </c:pt>
                <c:pt idx="43">
                  <c:v>1295.53</c:v>
                </c:pt>
                <c:pt idx="44">
                  <c:v>1271.5388</c:v>
                </c:pt>
                <c:pt idx="45">
                  <c:v>1290.8534</c:v>
                </c:pt>
                <c:pt idx="46">
                  <c:v>1249.4401</c:v>
                </c:pt>
                <c:pt idx="47">
                  <c:v>1268.1177</c:v>
                </c:pt>
                <c:pt idx="48">
                  <c:v>1244.099</c:v>
                </c:pt>
                <c:pt idx="49">
                  <c:v>1262.4171</c:v>
                </c:pt>
                <c:pt idx="50">
                  <c:v>1256.5578</c:v>
                </c:pt>
                <c:pt idx="51">
                  <c:v>1301.9119</c:v>
                </c:pt>
                <c:pt idx="52">
                  <c:v>1291.8564</c:v>
                </c:pt>
                <c:pt idx="53">
                  <c:v>1341.7798</c:v>
                </c:pt>
                <c:pt idx="54">
                  <c:v>1341.4942</c:v>
                </c:pt>
                <c:pt idx="55">
                  <c:v>1294.837</c:v>
                </c:pt>
                <c:pt idx="56">
                  <c:v>1316.9003</c:v>
                </c:pt>
                <c:pt idx="57">
                  <c:v>1300.4783</c:v>
                </c:pt>
                <c:pt idx="58">
                  <c:v>1270.262</c:v>
                </c:pt>
                <c:pt idx="59">
                  <c:v>1228.4379</c:v>
                </c:pt>
                <c:pt idx="60">
                  <c:v>1217.9749</c:v>
                </c:pt>
                <c:pt idx="61">
                  <c:v>1192.1991</c:v>
                </c:pt>
                <c:pt idx="62">
                  <c:v>1157.9252</c:v>
                </c:pt>
                <c:pt idx="63">
                  <c:v>1129.0952</c:v>
                </c:pt>
                <c:pt idx="64">
                  <c:v>1179.4375</c:v>
                </c:pt>
                <c:pt idx="65">
                  <c:v>1197.7587</c:v>
                </c:pt>
                <c:pt idx="66">
                  <c:v>1174.2717</c:v>
                </c:pt>
                <c:pt idx="67">
                  <c:v>1209.7717</c:v>
                </c:pt>
              </c:numCache>
            </c:numRef>
          </c:xVal>
          <c:yVal>
            <c:numRef>
              <c:f>Sheet1!$B$2:$B$69</c:f>
              <c:numCache>
                <c:formatCode>General</c:formatCode>
                <c:ptCount val="68"/>
                <c:pt idx="0">
                  <c:v>0.4107889802394346</c:v>
                </c:pt>
                <c:pt idx="1">
                  <c:v>0.39714285714285713</c:v>
                </c:pt>
                <c:pt idx="2">
                  <c:v>0.38832208444514205</c:v>
                </c:pt>
                <c:pt idx="3">
                  <c:v>0.39433745695702077</c:v>
                </c:pt>
                <c:pt idx="4">
                  <c:v>0.3854439592430859</c:v>
                </c:pt>
                <c:pt idx="5">
                  <c:v>0.3819291819291819</c:v>
                </c:pt>
                <c:pt idx="6">
                  <c:v>0.376271186440678</c:v>
                </c:pt>
                <c:pt idx="7">
                  <c:v>0.36918229987111556</c:v>
                </c:pt>
                <c:pt idx="8">
                  <c:v>0.37949891898766375</c:v>
                </c:pt>
                <c:pt idx="9">
                  <c:v>0.3818250046907249</c:v>
                </c:pt>
                <c:pt idx="10">
                  <c:v>0.37446509548444784</c:v>
                </c:pt>
                <c:pt idx="11">
                  <c:v>0.3740657698056801</c:v>
                </c:pt>
                <c:pt idx="12">
                  <c:v>0.3957670273711012</c:v>
                </c:pt>
                <c:pt idx="13">
                  <c:v>0.3829800307219662</c:v>
                </c:pt>
                <c:pt idx="14">
                  <c:v>0.38265905000391265</c:v>
                </c:pt>
                <c:pt idx="15">
                  <c:v>0.38758292007470857</c:v>
                </c:pt>
                <c:pt idx="16">
                  <c:v>0.3900463939266132</c:v>
                </c:pt>
                <c:pt idx="17">
                  <c:v>0.4068548767821735</c:v>
                </c:pt>
                <c:pt idx="18">
                  <c:v>0.40231000679413764</c:v>
                </c:pt>
                <c:pt idx="19">
                  <c:v>0.40492992744260015</c:v>
                </c:pt>
                <c:pt idx="20">
                  <c:v>0.4032900432900433</c:v>
                </c:pt>
                <c:pt idx="21">
                  <c:v>0.40355446606404166</c:v>
                </c:pt>
                <c:pt idx="22">
                  <c:v>0.4095966279468706</c:v>
                </c:pt>
                <c:pt idx="23">
                  <c:v>0.41369964927197367</c:v>
                </c:pt>
                <c:pt idx="24">
                  <c:v>0.4078808843435103</c:v>
                </c:pt>
                <c:pt idx="25">
                  <c:v>0.42490685010031526</c:v>
                </c:pt>
                <c:pt idx="26">
                  <c:v>0.4329307464987794</c:v>
                </c:pt>
                <c:pt idx="27">
                  <c:v>0.40296859666339546</c:v>
                </c:pt>
                <c:pt idx="28">
                  <c:v>0.3858246556936513</c:v>
                </c:pt>
                <c:pt idx="29">
                  <c:v>0.3937115026500501</c:v>
                </c:pt>
                <c:pt idx="30">
                  <c:v>0.3806010298977788</c:v>
                </c:pt>
                <c:pt idx="31">
                  <c:v>0.3738595985786997</c:v>
                </c:pt>
                <c:pt idx="32">
                  <c:v>0.3586266948625451</c:v>
                </c:pt>
                <c:pt idx="33">
                  <c:v>0.35929799254718114</c:v>
                </c:pt>
                <c:pt idx="34">
                  <c:v>0.3719270420301348</c:v>
                </c:pt>
                <c:pt idx="35">
                  <c:v>0.36006764101944677</c:v>
                </c:pt>
                <c:pt idx="36">
                  <c:v>0.37508205330182487</c:v>
                </c:pt>
                <c:pt idx="37">
                  <c:v>0.3689893283113622</c:v>
                </c:pt>
                <c:pt idx="38">
                  <c:v>0.3894919669995658</c:v>
                </c:pt>
                <c:pt idx="39">
                  <c:v>0.38619084561675715</c:v>
                </c:pt>
                <c:pt idx="40">
                  <c:v>0.3844660194174757</c:v>
                </c:pt>
                <c:pt idx="41">
                  <c:v>0.3721391241665165</c:v>
                </c:pt>
                <c:pt idx="42">
                  <c:v>0.3736413043478261</c:v>
                </c:pt>
                <c:pt idx="43">
                  <c:v>0.3575949367088608</c:v>
                </c:pt>
                <c:pt idx="44">
                  <c:v>0.36902301226402096</c:v>
                </c:pt>
                <c:pt idx="45">
                  <c:v>0.3699607563325009</c:v>
                </c:pt>
                <c:pt idx="46">
                  <c:v>0.3690276613579212</c:v>
                </c:pt>
                <c:pt idx="47">
                  <c:v>0.36804832326598624</c:v>
                </c:pt>
                <c:pt idx="48">
                  <c:v>0.3832346410066617</c:v>
                </c:pt>
                <c:pt idx="49">
                  <c:v>0.37422092560668346</c:v>
                </c:pt>
                <c:pt idx="50">
                  <c:v>0.38972738972738974</c:v>
                </c:pt>
                <c:pt idx="51">
                  <c:v>0.38807325563795975</c:v>
                </c:pt>
                <c:pt idx="52">
                  <c:v>0.38534528202424884</c:v>
                </c:pt>
                <c:pt idx="53">
                  <c:v>0.3770341927226184</c:v>
                </c:pt>
                <c:pt idx="54">
                  <c:v>0.3520099608680185</c:v>
                </c:pt>
                <c:pt idx="55">
                  <c:v>0.3580113482842475</c:v>
                </c:pt>
                <c:pt idx="56">
                  <c:v>0.3381950774840474</c:v>
                </c:pt>
                <c:pt idx="57">
                  <c:v>0.34188157326033713</c:v>
                </c:pt>
                <c:pt idx="58">
                  <c:v>0.3420349434737924</c:v>
                </c:pt>
                <c:pt idx="59">
                  <c:v>0.3489128827096583</c:v>
                </c:pt>
                <c:pt idx="60">
                  <c:v>0.35034832172260927</c:v>
                </c:pt>
                <c:pt idx="61">
                  <c:v>0.36162021472725303</c:v>
                </c:pt>
                <c:pt idx="62">
                  <c:v>0.3682985896766228</c:v>
                </c:pt>
                <c:pt idx="63">
                  <c:v>0.3678157019746217</c:v>
                </c:pt>
                <c:pt idx="64">
                  <c:v>0.3711527954835185</c:v>
                </c:pt>
                <c:pt idx="65">
                  <c:v>0.3555750658472344</c:v>
                </c:pt>
                <c:pt idx="66">
                  <c:v>0.3484848484848485</c:v>
                </c:pt>
                <c:pt idx="67">
                  <c:v>0.35403726708074534</c:v>
                </c:pt>
              </c:numCache>
            </c:numRef>
          </c:yVal>
          <c:smooth val="0"/>
          <c:extLst>
            <c:ext xmlns:c16="http://schemas.microsoft.com/office/drawing/2014/chart" uri="{C3380CC4-5D6E-409C-BE32-E72D297353CC}">
              <c16:uniqueId val="{00000000-F32D-48B7-BC20-E66FC6253BAD}"/>
            </c:ext>
          </c:extLst>
        </c:ser>
        <c:ser>
          <c:idx val="1"/>
          <c:order val="1"/>
          <c:tx>
            <c:strRef>
              <c:f>Sheet1!$B$7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2:$A$123</c:f>
              <c:numCache>
                <c:formatCode>General</c:formatCode>
                <c:ptCount val="52"/>
                <c:pt idx="0">
                  <c:v>1258.5498</c:v>
                </c:pt>
                <c:pt idx="1">
                  <c:v>1260.5479</c:v>
                </c:pt>
                <c:pt idx="2">
                  <c:v>1274.755</c:v>
                </c:pt>
                <c:pt idx="3">
                  <c:v>1288.2073</c:v>
                </c:pt>
                <c:pt idx="4">
                  <c:v>1295.4916</c:v>
                </c:pt>
                <c:pt idx="5">
                  <c:v>1278.8546</c:v>
                </c:pt>
                <c:pt idx="6">
                  <c:v>1189.0313</c:v>
                </c:pt>
                <c:pt idx="7">
                  <c:v>1240.4097</c:v>
                </c:pt>
                <c:pt idx="8">
                  <c:v>1279.7673</c:v>
                </c:pt>
                <c:pt idx="9">
                  <c:v>1199.7902</c:v>
                </c:pt>
                <c:pt idx="10">
                  <c:v>1242.1087</c:v>
                </c:pt>
                <c:pt idx="11">
                  <c:v>1137.6865</c:v>
                </c:pt>
                <c:pt idx="12">
                  <c:v>1179.7904</c:v>
                </c:pt>
                <c:pt idx="13">
                  <c:v>1210.568</c:v>
                </c:pt>
                <c:pt idx="14">
                  <c:v>1222.9661</c:v>
                </c:pt>
                <c:pt idx="15">
                  <c:v>1225.6044</c:v>
                </c:pt>
                <c:pt idx="16">
                  <c:v>1280.962</c:v>
                </c:pt>
                <c:pt idx="17">
                  <c:v>1253.011</c:v>
                </c:pt>
                <c:pt idx="18">
                  <c:v>1245.8728</c:v>
                </c:pt>
                <c:pt idx="19">
                  <c:v>1334.9448</c:v>
                </c:pt>
                <c:pt idx="20">
                  <c:v>1299.9241</c:v>
                </c:pt>
                <c:pt idx="21">
                  <c:v>1218.8166</c:v>
                </c:pt>
                <c:pt idx="22">
                  <c:v>1253.6288</c:v>
                </c:pt>
                <c:pt idx="23">
                  <c:v>1232.2168</c:v>
                </c:pt>
                <c:pt idx="24">
                  <c:v>1218.284</c:v>
                </c:pt>
                <c:pt idx="25">
                  <c:v>1218.388</c:v>
                </c:pt>
                <c:pt idx="26">
                  <c:v>1242.6713</c:v>
                </c:pt>
                <c:pt idx="27">
                  <c:v>1255.7333</c:v>
                </c:pt>
                <c:pt idx="28">
                  <c:v>1291.077</c:v>
                </c:pt>
                <c:pt idx="29">
                  <c:v>1298.859</c:v>
                </c:pt>
                <c:pt idx="30">
                  <c:v>1287.7739</c:v>
                </c:pt>
                <c:pt idx="31">
                  <c:v>1264.9255</c:v>
                </c:pt>
                <c:pt idx="32">
                  <c:v>1287.701</c:v>
                </c:pt>
                <c:pt idx="33">
                  <c:v>1294.8322</c:v>
                </c:pt>
                <c:pt idx="34">
                  <c:v>1316.7072</c:v>
                </c:pt>
                <c:pt idx="35">
                  <c:v>1337.9344</c:v>
                </c:pt>
                <c:pt idx="36">
                  <c:v>1356.1084</c:v>
                </c:pt>
                <c:pt idx="37">
                  <c:v>1348.8121</c:v>
                </c:pt>
                <c:pt idx="38">
                  <c:v>1362.3381</c:v>
                </c:pt>
                <c:pt idx="39">
                  <c:v>1332.0768</c:v>
                </c:pt>
                <c:pt idx="40">
                  <c:v>1349.5317</c:v>
                </c:pt>
                <c:pt idx="41">
                  <c:v>1382.778</c:v>
                </c:pt>
                <c:pt idx="42">
                  <c:v>1364.3129</c:v>
                </c:pt>
                <c:pt idx="43">
                  <c:v>1374.0846</c:v>
                </c:pt>
                <c:pt idx="44">
                  <c:v>1296.4741</c:v>
                </c:pt>
                <c:pt idx="45">
                  <c:v>1256.9157</c:v>
                </c:pt>
                <c:pt idx="46">
                  <c:v>1252.8518</c:v>
                </c:pt>
                <c:pt idx="47">
                  <c:v>1220.7885</c:v>
                </c:pt>
                <c:pt idx="48">
                  <c:v>1200.6759</c:v>
                </c:pt>
                <c:pt idx="49">
                  <c:v>1209.0374</c:v>
                </c:pt>
                <c:pt idx="50">
                  <c:v>1157.2245</c:v>
                </c:pt>
                <c:pt idx="51">
                  <c:v>1139.0471</c:v>
                </c:pt>
              </c:numCache>
            </c:numRef>
          </c:xVal>
          <c:yVal>
            <c:numRef>
              <c:f>Sheet1!$B$72:$B$123</c:f>
              <c:numCache>
                <c:formatCode>General</c:formatCode>
                <c:ptCount val="52"/>
                <c:pt idx="0">
                  <c:v>0.37497133246693676</c:v>
                </c:pt>
                <c:pt idx="1">
                  <c:v>0.3773307163886163</c:v>
                </c:pt>
                <c:pt idx="2">
                  <c:v>0.38332150461320086</c:v>
                </c:pt>
                <c:pt idx="3">
                  <c:v>0.3962141931769109</c:v>
                </c:pt>
                <c:pt idx="4">
                  <c:v>0.3872872258856004</c:v>
                </c:pt>
                <c:pt idx="5">
                  <c:v>0.37981790591805764</c:v>
                </c:pt>
                <c:pt idx="6">
                  <c:v>0.3899407428819194</c:v>
                </c:pt>
                <c:pt idx="7">
                  <c:v>0.3738589627846324</c:v>
                </c:pt>
                <c:pt idx="8">
                  <c:v>0.37846326416152554</c:v>
                </c:pt>
                <c:pt idx="9">
                  <c:v>0.3818398096748612</c:v>
                </c:pt>
                <c:pt idx="10">
                  <c:v>0.37817380473316087</c:v>
                </c:pt>
                <c:pt idx="11">
                  <c:v>0.3849095966620306</c:v>
                </c:pt>
                <c:pt idx="12">
                  <c:v>0.38493856520015857</c:v>
                </c:pt>
                <c:pt idx="13">
                  <c:v>0.39378934116659675</c:v>
                </c:pt>
                <c:pt idx="14">
                  <c:v>0.3924946456839557</c:v>
                </c:pt>
                <c:pt idx="15">
                  <c:v>0.3900994075710413</c:v>
                </c:pt>
                <c:pt idx="16">
                  <c:v>0.37129760225669955</c:v>
                </c:pt>
                <c:pt idx="17">
                  <c:v>0.36655281776042936</c:v>
                </c:pt>
                <c:pt idx="18">
                  <c:v>0.3758927270077248</c:v>
                </c:pt>
                <c:pt idx="19">
                  <c:v>0.37719772788747635</c:v>
                </c:pt>
                <c:pt idx="20">
                  <c:v>0.3799126637554585</c:v>
                </c:pt>
                <c:pt idx="21">
                  <c:v>0.39872825883673085</c:v>
                </c:pt>
                <c:pt idx="22">
                  <c:v>0.38453038674033146</c:v>
                </c:pt>
                <c:pt idx="23">
                  <c:v>0.3996343692870201</c:v>
                </c:pt>
                <c:pt idx="24">
                  <c:v>0.4043537881384985</c:v>
                </c:pt>
                <c:pt idx="25">
                  <c:v>0.3878340365682138</c:v>
                </c:pt>
                <c:pt idx="26">
                  <c:v>0.3788494077834179</c:v>
                </c:pt>
                <c:pt idx="27">
                  <c:v>0.36995550099739144</c:v>
                </c:pt>
                <c:pt idx="28">
                  <c:v>0.36761519572439694</c:v>
                </c:pt>
                <c:pt idx="29">
                  <c:v>0.37344761238411756</c:v>
                </c:pt>
                <c:pt idx="30">
                  <c:v>0.375846099038119</c:v>
                </c:pt>
                <c:pt idx="31">
                  <c:v>0.3678982916170044</c:v>
                </c:pt>
                <c:pt idx="32">
                  <c:v>0.3681654676258993</c:v>
                </c:pt>
                <c:pt idx="33">
                  <c:v>0.36993243243243246</c:v>
                </c:pt>
                <c:pt idx="34">
                  <c:v>0.38923351908316683</c:v>
                </c:pt>
                <c:pt idx="35">
                  <c:v>0.3751405371642723</c:v>
                </c:pt>
                <c:pt idx="36">
                  <c:v>0.37576914916189263</c:v>
                </c:pt>
                <c:pt idx="37">
                  <c:v>0.3866439005881237</c:v>
                </c:pt>
                <c:pt idx="38">
                  <c:v>0.38306716254648876</c:v>
                </c:pt>
                <c:pt idx="39">
                  <c:v>0.38282227784730916</c:v>
                </c:pt>
                <c:pt idx="40">
                  <c:v>0.37203206907184705</c:v>
                </c:pt>
                <c:pt idx="41">
                  <c:v>0.3687472971024939</c:v>
                </c:pt>
                <c:pt idx="42">
                  <c:v>0.3794006877353856</c:v>
                </c:pt>
                <c:pt idx="43">
                  <c:v>0.37003058103975534</c:v>
                </c:pt>
                <c:pt idx="44">
                  <c:v>0.3628257207965917</c:v>
                </c:pt>
                <c:pt idx="45">
                  <c:v>0.37526546793147386</c:v>
                </c:pt>
                <c:pt idx="46">
                  <c:v>0.38572265461544897</c:v>
                </c:pt>
                <c:pt idx="47">
                  <c:v>0.3863967487155893</c:v>
                </c:pt>
                <c:pt idx="48">
                  <c:v>0.36995686374016745</c:v>
                </c:pt>
                <c:pt idx="49">
                  <c:v>0.38308429337287553</c:v>
                </c:pt>
                <c:pt idx="50">
                  <c:v>0.3921795206321989</c:v>
                </c:pt>
                <c:pt idx="51">
                  <c:v>0.3923618090452261</c:v>
                </c:pt>
              </c:numCache>
            </c:numRef>
          </c:yVal>
          <c:smooth val="0"/>
          <c:extLst>
            <c:ext xmlns:c16="http://schemas.microsoft.com/office/drawing/2014/chart" uri="{C3380CC4-5D6E-409C-BE32-E72D297353CC}">
              <c16:uniqueId val="{00000002-F32D-48B7-BC20-E66FC6253BAD}"/>
            </c:ext>
          </c:extLst>
        </c:ser>
        <c:ser>
          <c:idx val="2"/>
          <c:order val="2"/>
          <c:tx>
            <c:strRef>
              <c:f>Sheet1!$B$125</c:f>
              <c:strCache>
                <c:ptCount val="1"/>
                <c:pt idx="0">
                  <c:v>Custom Linep3yQ</c:v>
                </c:pt>
              </c:strCache>
            </c:strRef>
          </c:tx>
          <c:spPr>
            <a:ln w="19050" cap="rnd">
              <a:solidFill>
                <a:srgbClr val="C00000"/>
              </a:solidFill>
              <a:prstDash val="sysDot"/>
              <a:round/>
            </a:ln>
            <a:effectLst/>
          </c:spPr>
          <c:marker>
            <c:symbol val="none"/>
          </c:marker>
          <c:xVal>
            <c:numRef>
              <c:f>Sheet1!$A$126:$A$127</c:f>
              <c:numCache>
                <c:formatCode>General</c:formatCode>
                <c:ptCount val="2"/>
                <c:pt idx="0">
                  <c:v>0</c:v>
                </c:pt>
                <c:pt idx="1">
                  <c:v>1037.8744277954843</c:v>
                </c:pt>
              </c:numCache>
            </c:numRef>
          </c:xVal>
          <c:yVal>
            <c:numRef>
              <c:f>Sheet1!$B$126:$B$127</c:f>
              <c:numCache>
                <c:formatCode>General</c:formatCode>
                <c:ptCount val="2"/>
                <c:pt idx="0">
                  <c:v>0.3967182145766017</c:v>
                </c:pt>
                <c:pt idx="1">
                  <c:v>0.3967182145766017</c:v>
                </c:pt>
              </c:numCache>
            </c:numRef>
          </c:yVal>
          <c:smooth val="0"/>
          <c:extLst>
            <c:ext xmlns:c16="http://schemas.microsoft.com/office/drawing/2014/chart" uri="{C3380CC4-5D6E-409C-BE32-E72D297353CC}">
              <c16:uniqueId val="{00000003-F32D-48B7-BC20-E66FC6253BAD}"/>
            </c:ext>
          </c:extLst>
        </c:ser>
        <c:ser>
          <c:idx val="3"/>
          <c:order val="3"/>
          <c:tx>
            <c:strRef>
              <c:f>Sheet1!$B$12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0:$A$131</c:f>
              <c:numCache>
                <c:formatCode>General</c:formatCode>
                <c:ptCount val="2"/>
                <c:pt idx="0">
                  <c:v>1037.8744277954843</c:v>
                </c:pt>
                <c:pt idx="1">
                  <c:v>1037.8744277954843</c:v>
                </c:pt>
              </c:numCache>
            </c:numRef>
          </c:xVal>
          <c:yVal>
            <c:numRef>
              <c:f>Sheet1!$B$130:$B$131</c:f>
              <c:numCache>
                <c:formatCode>General</c:formatCode>
                <c:ptCount val="2"/>
                <c:pt idx="0">
                  <c:v>0.396718214576601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4:$A$135</c:f>
              <c:numCache>
                <c:formatCode>General</c:formatCode>
                <c:ptCount val="2"/>
                <c:pt idx="0">
                  <c:v>0</c:v>
                </c:pt>
                <c:pt idx="1">
                  <c:v>1213.080902330808</c:v>
                </c:pt>
              </c:numCache>
            </c:numRef>
          </c:xVal>
          <c:yVal>
            <c:numRef>
              <c:f>Sheet1!$B$134:$B$135</c:f>
              <c:numCache>
                <c:formatCode>General</c:formatCode>
                <c:ptCount val="2"/>
                <c:pt idx="0">
                  <c:v>0.384395621697617</c:v>
                </c:pt>
                <c:pt idx="1">
                  <c:v>0.384395621697617</c:v>
                </c:pt>
              </c:numCache>
            </c:numRef>
          </c:yVal>
          <c:smooth val="0"/>
          <c:extLst>
            <c:ext xmlns:c16="http://schemas.microsoft.com/office/drawing/2014/chart" uri="{C3380CC4-5D6E-409C-BE32-E72D297353CC}">
              <c16:uniqueId val="{0000000A-F32D-48B7-BC20-E66FC6253BAD}"/>
            </c:ext>
          </c:extLst>
        </c:ser>
        <c:ser>
          <c:idx val="5"/>
          <c:order val="5"/>
          <c:tx>
            <c:strRef>
              <c:f>Sheet1!$B$13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8:$A$139</c:f>
              <c:numCache>
                <c:formatCode>General</c:formatCode>
                <c:ptCount val="2"/>
                <c:pt idx="0">
                  <c:v>1213.080902330808</c:v>
                </c:pt>
                <c:pt idx="1">
                  <c:v>1213.080902330808</c:v>
                </c:pt>
              </c:numCache>
            </c:numRef>
          </c:xVal>
          <c:yVal>
            <c:numRef>
              <c:f>Sheet1!$B$138:$B$139</c:f>
              <c:numCache>
                <c:formatCode>General</c:formatCode>
                <c:ptCount val="2"/>
                <c:pt idx="0">
                  <c:v>0.38439562169761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4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42:$A$143</c:f>
              <c:numCache>
                <c:formatCode>General</c:formatCode>
                <c:ptCount val="2"/>
                <c:pt idx="0">
                  <c:v>0</c:v>
                </c:pt>
                <c:pt idx="1">
                  <c:v>1296.550150745931</c:v>
                </c:pt>
              </c:numCache>
            </c:numRef>
          </c:xVal>
          <c:yVal>
            <c:numRef>
              <c:f>Sheet1!$B$142:$B$143</c:f>
              <c:numCache>
                <c:formatCode>General</c:formatCode>
                <c:ptCount val="2"/>
                <c:pt idx="0">
                  <c:v>0.37852507628048954</c:v>
                </c:pt>
                <c:pt idx="1">
                  <c:v>0.37852507628048954</c:v>
                </c:pt>
              </c:numCache>
            </c:numRef>
          </c:yVal>
          <c:smooth val="0"/>
          <c:extLst>
            <c:ext xmlns:c16="http://schemas.microsoft.com/office/drawing/2014/chart" uri="{C3380CC4-5D6E-409C-BE32-E72D297353CC}">
              <c16:uniqueId val="{00000011-F32D-48B7-BC20-E66FC6253BAD}"/>
            </c:ext>
          </c:extLst>
        </c:ser>
        <c:ser>
          <c:idx val="7"/>
          <c:order val="7"/>
          <c:tx>
            <c:strRef>
              <c:f>Sheet1!$B$14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6:$A$147</c:f>
              <c:numCache>
                <c:formatCode>General</c:formatCode>
                <c:ptCount val="2"/>
                <c:pt idx="0">
                  <c:v>1296.550150745931</c:v>
                </c:pt>
                <c:pt idx="1">
                  <c:v>1296.550150745931</c:v>
                </c:pt>
              </c:numCache>
            </c:numRef>
          </c:xVal>
          <c:yVal>
            <c:numRef>
              <c:f>Sheet1!$B$146:$B$147</c:f>
              <c:numCache>
                <c:formatCode>General</c:formatCode>
                <c:ptCount val="2"/>
                <c:pt idx="0">
                  <c:v>0.378525076280489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50:$A$204</c:f>
              <c:numCache>
                <c:formatCode>General</c:formatCode>
                <c:ptCount val="55"/>
                <c:pt idx="0">
                  <c:v>1258.5498</c:v>
                </c:pt>
                <c:pt idx="1">
                  <c:v>1260.5479</c:v>
                </c:pt>
                <c:pt idx="2">
                  <c:v>1274.755</c:v>
                </c:pt>
                <c:pt idx="3">
                  <c:v>1288.2073</c:v>
                </c:pt>
                <c:pt idx="4">
                  <c:v>1295.4916</c:v>
                </c:pt>
                <c:pt idx="5">
                  <c:v>1278.8546</c:v>
                </c:pt>
                <c:pt idx="6">
                  <c:v>1189.0313</c:v>
                </c:pt>
                <c:pt idx="7">
                  <c:v>1240.4097</c:v>
                </c:pt>
                <c:pt idx="8">
                  <c:v>1279.7673</c:v>
                </c:pt>
                <c:pt idx="9">
                  <c:v>1199.7902</c:v>
                </c:pt>
                <c:pt idx="10">
                  <c:v>1242.1087</c:v>
                </c:pt>
                <c:pt idx="11">
                  <c:v>1137.6865</c:v>
                </c:pt>
                <c:pt idx="12">
                  <c:v>1179.7904</c:v>
                </c:pt>
                <c:pt idx="13">
                  <c:v>1210.568</c:v>
                </c:pt>
                <c:pt idx="14">
                  <c:v>1222.9661</c:v>
                </c:pt>
                <c:pt idx="15">
                  <c:v>1225.6044</c:v>
                </c:pt>
                <c:pt idx="16">
                  <c:v>1280.962</c:v>
                </c:pt>
                <c:pt idx="17">
                  <c:v>1253.011</c:v>
                </c:pt>
                <c:pt idx="18">
                  <c:v>1245.8728</c:v>
                </c:pt>
                <c:pt idx="19">
                  <c:v>1334.9448</c:v>
                </c:pt>
                <c:pt idx="20">
                  <c:v>1299.9241</c:v>
                </c:pt>
                <c:pt idx="21">
                  <c:v>1218.8166</c:v>
                </c:pt>
                <c:pt idx="22">
                  <c:v>1253.6288</c:v>
                </c:pt>
                <c:pt idx="23">
                  <c:v>1232.2168</c:v>
                </c:pt>
                <c:pt idx="24">
                  <c:v>1218.284</c:v>
                </c:pt>
                <c:pt idx="25">
                  <c:v>1218.388</c:v>
                </c:pt>
                <c:pt idx="26">
                  <c:v>1242.6713</c:v>
                </c:pt>
                <c:pt idx="27">
                  <c:v>1255.7333</c:v>
                </c:pt>
                <c:pt idx="28">
                  <c:v>1291.077</c:v>
                </c:pt>
                <c:pt idx="29">
                  <c:v>1298.859</c:v>
                </c:pt>
                <c:pt idx="30">
                  <c:v>1287.7739</c:v>
                </c:pt>
                <c:pt idx="31">
                  <c:v>1264.9255</c:v>
                </c:pt>
                <c:pt idx="32">
                  <c:v>1287.701</c:v>
                </c:pt>
                <c:pt idx="33">
                  <c:v>1294.8322</c:v>
                </c:pt>
                <c:pt idx="34">
                  <c:v>1316.7072</c:v>
                </c:pt>
                <c:pt idx="35">
                  <c:v>1337.9344</c:v>
                </c:pt>
                <c:pt idx="36">
                  <c:v>1356.1084</c:v>
                </c:pt>
                <c:pt idx="37">
                  <c:v>1348.8121</c:v>
                </c:pt>
                <c:pt idx="38">
                  <c:v>1362.3381</c:v>
                </c:pt>
                <c:pt idx="39">
                  <c:v>1332.0768</c:v>
                </c:pt>
                <c:pt idx="40">
                  <c:v>1349.5317</c:v>
                </c:pt>
                <c:pt idx="41">
                  <c:v>1382.778</c:v>
                </c:pt>
                <c:pt idx="42">
                  <c:v>1364.3129</c:v>
                </c:pt>
                <c:pt idx="43">
                  <c:v>1374.0846</c:v>
                </c:pt>
                <c:pt idx="44">
                  <c:v>1296.4741</c:v>
                </c:pt>
                <c:pt idx="45">
                  <c:v>1256.9157</c:v>
                </c:pt>
                <c:pt idx="46">
                  <c:v>1252.8518</c:v>
                </c:pt>
                <c:pt idx="47">
                  <c:v>1220.7885</c:v>
                </c:pt>
                <c:pt idx="48">
                  <c:v>1200.6759</c:v>
                </c:pt>
                <c:pt idx="49">
                  <c:v>1209.0374</c:v>
                </c:pt>
                <c:pt idx="50">
                  <c:v>1157.2245</c:v>
                </c:pt>
                <c:pt idx="51">
                  <c:v>1139.0471</c:v>
                </c:pt>
                <c:pt idx="52">
                  <c:v>1213.080902330808</c:v>
                </c:pt>
                <c:pt idx="53">
                  <c:v>1037.8744277954843</c:v>
                </c:pt>
                <c:pt idx="54">
                  <c:v>1296.550150745931</c:v>
                </c:pt>
              </c:numCache>
            </c:numRef>
          </c:xVal>
          <c:yVal>
            <c:numRef>
              <c:f>Sheet1!$B$150:$B$204</c:f>
              <c:numCache>
                <c:formatCode>General</c:formatCode>
                <c:ptCount val="55"/>
                <c:pt idx="0">
                  <c:v>0.38119771068365665</c:v>
                </c:pt>
                <c:pt idx="1">
                  <c:v>0.38105718064390326</c:v>
                </c:pt>
                <c:pt idx="2">
                  <c:v>0.3800579692291691</c:v>
                </c:pt>
                <c:pt idx="3">
                  <c:v>0.3791118442835836</c:v>
                </c:pt>
                <c:pt idx="4">
                  <c:v>0.3785995260970185</c:v>
                </c:pt>
                <c:pt idx="5">
                  <c:v>0.37976963683791093</c:v>
                </c:pt>
                <c:pt idx="6">
                  <c:v>0.3860870743634503</c:v>
                </c:pt>
                <c:pt idx="7">
                  <c:v>0.382473537205918</c:v>
                </c:pt>
                <c:pt idx="8">
                  <c:v>0.3797054449719969</c:v>
                </c:pt>
                <c:pt idx="9">
                  <c:v>0.3853303811825771</c:v>
                </c:pt>
                <c:pt idx="10">
                  <c:v>0.382354043418049</c:v>
                </c:pt>
                <c:pt idx="11">
                  <c:v>0.38969824837132255</c:v>
                </c:pt>
                <c:pt idx="12">
                  <c:v>0.3867370038186112</c:v>
                </c:pt>
                <c:pt idx="13">
                  <c:v>0.38457235873002016</c:v>
                </c:pt>
                <c:pt idx="14">
                  <c:v>0.3837003776050182</c:v>
                </c:pt>
                <c:pt idx="15">
                  <c:v>0.383514821124421</c:v>
                </c:pt>
                <c:pt idx="16">
                  <c:v>0.3796214195285789</c:v>
                </c:pt>
                <c:pt idx="17">
                  <c:v>0.38158726465201964</c:v>
                </c:pt>
                <c:pt idx="18">
                  <c:v>0.3820893073574736</c:v>
                </c:pt>
                <c:pt idx="19">
                  <c:v>0.37582471013965996</c:v>
                </c:pt>
                <c:pt idx="20">
                  <c:v>0.3782877802378489</c:v>
                </c:pt>
                <c:pt idx="21">
                  <c:v>0.38399221955484886</c:v>
                </c:pt>
                <c:pt idx="22">
                  <c:v>0.38154381364428247</c:v>
                </c:pt>
                <c:pt idx="23">
                  <c:v>0.38304975889787307</c:v>
                </c:pt>
                <c:pt idx="24">
                  <c:v>0.3840296782902338</c:v>
                </c:pt>
                <c:pt idx="25">
                  <c:v>0.38402236377938137</c:v>
                </c:pt>
                <c:pt idx="26">
                  <c:v>0.3823144747276105</c:v>
                </c:pt>
                <c:pt idx="27">
                  <c:v>0.38139580029727227</c:v>
                </c:pt>
                <c:pt idx="28">
                  <c:v>0.37891001301633953</c:v>
                </c:pt>
                <c:pt idx="29">
                  <c:v>0.37836269067543526</c:v>
                </c:pt>
                <c:pt idx="30">
                  <c:v>0.37914232610092463</c:v>
                </c:pt>
                <c:pt idx="31">
                  <c:v>0.3807492960024817</c:v>
                </c:pt>
                <c:pt idx="32">
                  <c:v>0.37914745329170485</c:v>
                </c:pt>
                <c:pt idx="33">
                  <c:v>0.3786459029090967</c:v>
                </c:pt>
                <c:pt idx="34">
                  <c:v>0.3771073940158455</c:v>
                </c:pt>
                <c:pt idx="35">
                  <c:v>0.375614446085385</c:v>
                </c:pt>
                <c:pt idx="36">
                  <c:v>0.37433623531391313</c:v>
                </c:pt>
                <c:pt idx="37">
                  <c:v>0.37484939748249957</c:v>
                </c:pt>
                <c:pt idx="38">
                  <c:v>0.3738980890806657</c:v>
                </c:pt>
                <c:pt idx="39">
                  <c:v>0.3760264218427843</c:v>
                </c:pt>
                <c:pt idx="40">
                  <c:v>0.3747987866939472</c:v>
                </c:pt>
                <c:pt idx="41">
                  <c:v>0.3724605134039953</c:v>
                </c:pt>
                <c:pt idx="42">
                  <c:v>0.37375919777267064</c:v>
                </c:pt>
                <c:pt idx="43">
                  <c:v>0.37307193617942797</c:v>
                </c:pt>
                <c:pt idx="44">
                  <c:v>0.37853042506901313</c:v>
                </c:pt>
                <c:pt idx="45">
                  <c:v>0.38131263993542636</c:v>
                </c:pt>
                <c:pt idx="46">
                  <c:v>0.38159846148017074</c:v>
                </c:pt>
                <c:pt idx="47">
                  <c:v>0.3838535322091756</c:v>
                </c:pt>
                <c:pt idx="48">
                  <c:v>0.3852680882762113</c:v>
                </c:pt>
                <c:pt idx="49">
                  <c:v>0.3846800086368549</c:v>
                </c:pt>
                <c:pt idx="50">
                  <c:v>0.3883241049767469</c:v>
                </c:pt>
                <c:pt idx="51">
                  <c:v>0.38960255487645823</c:v>
                </c:pt>
                <c:pt idx="52">
                  <c:v>0.384395621697617</c:v>
                </c:pt>
                <c:pt idx="53">
                  <c:v>0.3967182145766017</c:v>
                </c:pt>
                <c:pt idx="54">
                  <c:v>0.378525076280489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59.0"/>
          <c:min val="83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195168957985352"/>
          <c:min val="0.27055606198723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9625588540468581</c:v>
                </c:pt>
                <c:pt idx="1">
                  <c:v>0.8930263754720867</c:v>
                </c:pt>
                <c:pt idx="2">
                  <c:v>0.8800485287792632</c:v>
                </c:pt>
                <c:pt idx="3">
                  <c:v>0.8834425651720493</c:v>
                </c:pt>
                <c:pt idx="4">
                  <c:v>0.8451052773168193</c:v>
                </c:pt>
                <c:pt idx="5">
                  <c:v>0.8439450183395156</c:v>
                </c:pt>
                <c:pt idx="6">
                  <c:v>0.8353452666059161</c:v>
                </c:pt>
                <c:pt idx="7">
                  <c:v>0.8319194124911441</c:v>
                </c:pt>
                <c:pt idx="8">
                  <c:v>0.8285065854406378</c:v>
                </c:pt>
                <c:pt idx="9">
                  <c:v>0.8907930921761403</c:v>
                </c:pt>
                <c:pt idx="10">
                  <c:v>0.8913890398486718</c:v>
                </c:pt>
                <c:pt idx="11">
                  <c:v>0.867626694801341</c:v>
                </c:pt>
                <c:pt idx="12">
                  <c:v>0.8874128489191035</c:v>
                </c:pt>
                <c:pt idx="13">
                  <c:v>0.8879565447671218</c:v>
                </c:pt>
                <c:pt idx="14">
                  <c:v>0.9304794746905394</c:v>
                </c:pt>
                <c:pt idx="15">
                  <c:v>0.9233847252257781</c:v>
                </c:pt>
                <c:pt idx="16">
                  <c:v>0.9209564369154487</c:v>
                </c:pt>
                <c:pt idx="17">
                  <c:v>0.9331372350406637</c:v>
                </c:pt>
                <c:pt idx="18">
                  <c:v>0.973170148318336</c:v>
                </c:pt>
                <c:pt idx="19">
                  <c:v>0.9972123991896443</c:v>
                </c:pt>
                <c:pt idx="20">
                  <c:v>1.0117640798237946</c:v>
                </c:pt>
                <c:pt idx="21">
                  <c:v>0.9202729289935783</c:v>
                </c:pt>
                <c:pt idx="22">
                  <c:v>0.9094925649532318</c:v>
                </c:pt>
                <c:pt idx="23">
                  <c:v>0.8898004531737259</c:v>
                </c:pt>
                <c:pt idx="24">
                  <c:v>0.869833909489067</c:v>
                </c:pt>
                <c:pt idx="25">
                  <c:v>0.8631022775380005</c:v>
                </c:pt>
                <c:pt idx="26">
                  <c:v>0.8611959174867152</c:v>
                </c:pt>
                <c:pt idx="27">
                  <c:v>0.8713203691974053</c:v>
                </c:pt>
                <c:pt idx="28">
                  <c:v>0.8528550216634903</c:v>
                </c:pt>
                <c:pt idx="29">
                  <c:v>0.8278351212812562</c:v>
                </c:pt>
                <c:pt idx="30">
                  <c:v>0.8531717832315951</c:v>
                </c:pt>
                <c:pt idx="31">
                  <c:v>0.856205704357499</c:v>
                </c:pt>
                <c:pt idx="32">
                  <c:v>0.8606650249560572</c:v>
                </c:pt>
                <c:pt idx="33">
                  <c:v>0.8428969234659663</c:v>
                </c:pt>
                <c:pt idx="34">
                  <c:v>0.9034715561818321</c:v>
                </c:pt>
                <c:pt idx="35">
                  <c:v>0.9687341468693108</c:v>
                </c:pt>
                <c:pt idx="36">
                  <c:v>1.0235056042233124</c:v>
                </c:pt>
                <c:pt idx="37">
                  <c:v>1.0242351403447165</c:v>
                </c:pt>
                <c:pt idx="38">
                  <c:v>1.090810779743422</c:v>
                </c:pt>
                <c:pt idx="39">
                  <c:v>1.087571421000412</c:v>
                </c:pt>
                <c:pt idx="40">
                  <c:v>1.0933658043510435</c:v>
                </c:pt>
                <c:pt idx="41">
                  <c:v>1.061024131563946</c:v>
                </c:pt>
                <c:pt idx="42">
                  <c:v>1.0716195622187763</c:v>
                </c:pt>
                <c:pt idx="43">
                  <c:v>1.0727066533495389</c:v>
                </c:pt>
                <c:pt idx="44">
                  <c:v>1.0170359277963434</c:v>
                </c:pt>
                <c:pt idx="45">
                  <c:v>0.9872362051668226</c:v>
                </c:pt>
                <c:pt idx="46">
                  <c:v>1.0086486697734611</c:v>
                </c:pt>
                <c:pt idx="47">
                  <c:v>1.034575611358657</c:v>
                </c:pt>
                <c:pt idx="48">
                  <c:v>0.9859241307237971</c:v>
                </c:pt>
                <c:pt idx="49">
                  <c:v>0.9516967810881128</c:v>
                </c:pt>
                <c:pt idx="50">
                  <c:v>0.9628467177007592</c:v>
                </c:pt>
                <c:pt idx="51">
                  <c:v>0.9789974943812499</c:v>
                </c:pt>
                <c:pt idx="52">
                  <c:v>0.9532459426214824</c:v>
                </c:pt>
                <c:pt idx="53">
                  <c:v>0.9804055020173218</c:v>
                </c:pt>
                <c:pt idx="54">
                  <c:v>0.9726151461262664</c:v>
                </c:pt>
                <c:pt idx="55">
                  <c:v>0.9880775147201782</c:v>
                </c:pt>
                <c:pt idx="56">
                  <c:v>0.9652604171799177</c:v>
                </c:pt>
                <c:pt idx="57">
                  <c:v>0.9665433905327983</c:v>
                </c:pt>
                <c:pt idx="58">
                  <c:v>0.9414657762032914</c:v>
                </c:pt>
                <c:pt idx="59">
                  <c:v>0.9332452733332143</c:v>
                </c:pt>
                <c:pt idx="60">
                  <c:v>0.9183420903521922</c:v>
                </c:pt>
                <c:pt idx="61">
                  <c:v>0.9668105211814345</c:v>
                </c:pt>
                <c:pt idx="62">
                  <c:v>0.9825743460240299</c:v>
                </c:pt>
                <c:pt idx="63">
                  <c:v>0.9743863399736239</c:v>
                </c:pt>
                <c:pt idx="64">
                  <c:v>1.0022974337775257</c:v>
                </c:pt>
                <c:pt idx="65">
                  <c:v>0.9791166210250147</c:v>
                </c:pt>
                <c:pt idx="66">
                  <c:v>1.0074087943692562</c:v>
                </c:pt>
                <c:pt idx="67">
                  <c:v>1.0583773326138273</c:v>
                </c:pt>
                <c:pt idx="68">
                  <c:v>1.0845113798678636</c:v>
                </c:pt>
                <c:pt idx="69">
                  <c:v>1.1018402639103255</c:v>
                </c:pt>
                <c:pt idx="70">
                  <c:v>1.086143090511662</c:v>
                </c:pt>
                <c:pt idx="71">
                  <c:v>1.0360267371088274</c:v>
                </c:pt>
                <c:pt idx="72">
                  <c:v>1.1016974667333839</c:v>
                </c:pt>
                <c:pt idx="73">
                  <c:v>1.0216196946712641</c:v>
                </c:pt>
                <c:pt idx="74">
                  <c:v>0.9721280968386103</c:v>
                </c:pt>
                <c:pt idx="75">
                  <c:v>0.9709824675857296</c:v>
                </c:pt>
                <c:pt idx="76">
                  <c:v>0.9674080319842617</c:v>
                </c:pt>
                <c:pt idx="77">
                  <c:v>0.9841698040207013</c:v>
                </c:pt>
                <c:pt idx="78">
                  <c:v>1.0017461226602993</c:v>
                </c:pt>
                <c:pt idx="79">
                  <c:v>1.025913418122246</c:v>
                </c:pt>
                <c:pt idx="80">
                  <c:v>1.0470677371883856</c:v>
                </c:pt>
                <c:pt idx="81">
                  <c:v>1.0679282184359835</c:v>
                </c:pt>
                <c:pt idx="82">
                  <c:v>1.0490387744758143</c:v>
                </c:pt>
                <c:pt idx="83">
                  <c:v>1.046709077966493</c:v>
                </c:pt>
                <c:pt idx="84">
                  <c:v>1.0516065710428537</c:v>
                </c:pt>
                <c:pt idx="85">
                  <c:v>1.0464925352328858</c:v>
                </c:pt>
                <c:pt idx="86">
                  <c:v>1.039532847612663</c:v>
                </c:pt>
                <c:pt idx="87">
                  <c:v>1.0322325823487633</c:v>
                </c:pt>
                <c:pt idx="88">
                  <c:v>0.9866964158420869</c:v>
                </c:pt>
                <c:pt idx="89">
                  <c:v>0.9799900510320456</c:v>
                </c:pt>
                <c:pt idx="90">
                  <c:v>0.9919479406173537</c:v>
                </c:pt>
                <c:pt idx="91">
                  <c:v>1.01127691306785</c:v>
                </c:pt>
                <c:pt idx="92">
                  <c:v>1.0086818729883364</c:v>
                </c:pt>
                <c:pt idx="93">
                  <c:v>0.9870951674658455</c:v>
                </c:pt>
                <c:pt idx="94">
                  <c:v>1.0691326673684185</c:v>
                </c:pt>
                <c:pt idx="95">
                  <c:v>1.0250770496814376</c:v>
                </c:pt>
                <c:pt idx="96">
                  <c:v>0.9782405355248247</c:v>
                </c:pt>
                <c:pt idx="97">
                  <c:v>1.0426067141714481</c:v>
                </c:pt>
                <c:pt idx="98">
                  <c:v>1.023364805137692</c:v>
                </c:pt>
                <c:pt idx="99">
                  <c:v>1.0192506297681607</c:v>
                </c:pt>
                <c:pt idx="100">
                  <c:v>0.9919256767939303</c:v>
                </c:pt>
                <c:pt idx="101">
                  <c:v>0.9606455858844828</c:v>
                </c:pt>
                <c:pt idx="102">
                  <c:v>0.9774212358233143</c:v>
                </c:pt>
                <c:pt idx="103">
                  <c:v>0.7827647987972948</c:v>
                </c:pt>
                <c:pt idx="104">
                  <c:v>0.821119253247549</c:v>
                </c:pt>
              </c:numCache>
            </c:numRef>
          </c:xVal>
          <c:yVal>
            <c:numRef>
              <c:f>Sheet1!$B$2:$B$106</c:f>
              <c:numCache>
                <c:formatCode>General</c:formatCode>
                <c:ptCount val="105"/>
                <c:pt idx="0">
                  <c:v>0.18318950396407774</c:v>
                </c:pt>
                <c:pt idx="1">
                  <c:v>0.1894130064138995</c:v>
                </c:pt>
                <c:pt idx="2">
                  <c:v>0.18580307491004253</c:v>
                </c:pt>
                <c:pt idx="3">
                  <c:v>0.19294425087108014</c:v>
                </c:pt>
                <c:pt idx="4">
                  <c:v>0.1953978159126365</c:v>
                </c:pt>
                <c:pt idx="5">
                  <c:v>0.18869035931670922</c:v>
                </c:pt>
                <c:pt idx="6">
                  <c:v>0.19158136251323685</c:v>
                </c:pt>
                <c:pt idx="7">
                  <c:v>0.1915991156963891</c:v>
                </c:pt>
                <c:pt idx="8">
                  <c:v>0.2069418591919413</c:v>
                </c:pt>
                <c:pt idx="9">
                  <c:v>0.17738743196437406</c:v>
                </c:pt>
                <c:pt idx="10">
                  <c:v>0.1837846629259169</c:v>
                </c:pt>
                <c:pt idx="11">
                  <c:v>0.19010416666666666</c:v>
                </c:pt>
                <c:pt idx="12">
                  <c:v>0.18986083499005965</c:v>
                </c:pt>
                <c:pt idx="13">
                  <c:v>0.19203709625839463</c:v>
                </c:pt>
                <c:pt idx="14">
                  <c:v>0.18110172245693856</c:v>
                </c:pt>
                <c:pt idx="15">
                  <c:v>0.19173005656329237</c:v>
                </c:pt>
                <c:pt idx="16">
                  <c:v>0.1762860024655385</c:v>
                </c:pt>
                <c:pt idx="17">
                  <c:v>0.1853330007483163</c:v>
                </c:pt>
                <c:pt idx="18">
                  <c:v>0.16478329280503504</c:v>
                </c:pt>
                <c:pt idx="19">
                  <c:v>0.15008403361344538</c:v>
                </c:pt>
                <c:pt idx="20">
                  <c:v>0.15491638795986623</c:v>
                </c:pt>
                <c:pt idx="21">
                  <c:v>0.15585738539898134</c:v>
                </c:pt>
                <c:pt idx="22">
                  <c:v>0.1469217970049917</c:v>
                </c:pt>
                <c:pt idx="23">
                  <c:v>0.14541348158443362</c:v>
                </c:pt>
                <c:pt idx="24">
                  <c:v>0.15485943775100403</c:v>
                </c:pt>
                <c:pt idx="25">
                  <c:v>0.1540840458431872</c:v>
                </c:pt>
                <c:pt idx="26">
                  <c:v>0.15505652306752216</c:v>
                </c:pt>
                <c:pt idx="27">
                  <c:v>0.15271226415094338</c:v>
                </c:pt>
                <c:pt idx="28">
                  <c:v>0.15218730745532963</c:v>
                </c:pt>
                <c:pt idx="29">
                  <c:v>0.16263403904316745</c:v>
                </c:pt>
                <c:pt idx="30">
                  <c:v>0.14626609442060085</c:v>
                </c:pt>
                <c:pt idx="31">
                  <c:v>0.14021340446815606</c:v>
                </c:pt>
                <c:pt idx="32">
                  <c:v>0.1413080311758726</c:v>
                </c:pt>
                <c:pt idx="33">
                  <c:v>0.15084928552170396</c:v>
                </c:pt>
                <c:pt idx="34">
                  <c:v>0.1496590777764937</c:v>
                </c:pt>
                <c:pt idx="35">
                  <c:v>0.1492215344213093</c:v>
                </c:pt>
                <c:pt idx="36">
                  <c:v>0.13364722926475914</c:v>
                </c:pt>
                <c:pt idx="37">
                  <c:v>0.12736189239867302</c:v>
                </c:pt>
                <c:pt idx="38">
                  <c:v>0.11473684210526315</c:v>
                </c:pt>
                <c:pt idx="39">
                  <c:v>0.12917909276408726</c:v>
                </c:pt>
                <c:pt idx="40">
                  <c:v>0.1294477745185563</c:v>
                </c:pt>
                <c:pt idx="41">
                  <c:v>0.1314410480349345</c:v>
                </c:pt>
                <c:pt idx="42">
                  <c:v>0.13772893772893774</c:v>
                </c:pt>
                <c:pt idx="43">
                  <c:v>0.1395297977036632</c:v>
                </c:pt>
                <c:pt idx="44">
                  <c:v>0.14084204496634684</c:v>
                </c:pt>
                <c:pt idx="45">
                  <c:v>0.1541396413582602</c:v>
                </c:pt>
                <c:pt idx="46">
                  <c:v>0.16023516167365062</c:v>
                </c:pt>
                <c:pt idx="47">
                  <c:v>0.1565433991186051</c:v>
                </c:pt>
                <c:pt idx="48">
                  <c:v>0.1672272047832586</c:v>
                </c:pt>
                <c:pt idx="49">
                  <c:v>0.18160407383831953</c:v>
                </c:pt>
                <c:pt idx="50">
                  <c:v>0.1662672811059908</c:v>
                </c:pt>
                <c:pt idx="51">
                  <c:v>0.15697628922450896</c:v>
                </c:pt>
                <c:pt idx="52">
                  <c:v>0.16352160752238037</c:v>
                </c:pt>
                <c:pt idx="53">
                  <c:v>0.1539434837621257</c:v>
                </c:pt>
                <c:pt idx="54">
                  <c:v>0.14493437824568028</c:v>
                </c:pt>
                <c:pt idx="55">
                  <c:v>0.14723866834902455</c:v>
                </c:pt>
                <c:pt idx="56">
                  <c:v>0.16568929529867807</c:v>
                </c:pt>
                <c:pt idx="57">
                  <c:v>0.15792207792207794</c:v>
                </c:pt>
                <c:pt idx="58">
                  <c:v>0.1666922016240233</c:v>
                </c:pt>
                <c:pt idx="59">
                  <c:v>0.16105474685095328</c:v>
                </c:pt>
                <c:pt idx="60">
                  <c:v>0.17515145073865448</c:v>
                </c:pt>
                <c:pt idx="61">
                  <c:v>0.18491502481576177</c:v>
                </c:pt>
                <c:pt idx="62">
                  <c:v>0.18379191745485812</c:v>
                </c:pt>
                <c:pt idx="63">
                  <c:v>0.18938712578697162</c:v>
                </c:pt>
                <c:pt idx="64">
                  <c:v>0.17498773307163887</c:v>
                </c:pt>
                <c:pt idx="65">
                  <c:v>0.16728249916022842</c:v>
                </c:pt>
                <c:pt idx="66">
                  <c:v>0.15742730267869934</c:v>
                </c:pt>
                <c:pt idx="67">
                  <c:v>0.16017216201675505</c:v>
                </c:pt>
                <c:pt idx="68">
                  <c:v>0.14088159031979255</c:v>
                </c:pt>
                <c:pt idx="69">
                  <c:v>0.1369573330016171</c:v>
                </c:pt>
                <c:pt idx="70">
                  <c:v>0.1305445366029571</c:v>
                </c:pt>
                <c:pt idx="71">
                  <c:v>0.13758921490880255</c:v>
                </c:pt>
                <c:pt idx="72">
                  <c:v>0.13878487740065226</c:v>
                </c:pt>
                <c:pt idx="73">
                  <c:v>0.14861494026519628</c:v>
                </c:pt>
                <c:pt idx="74">
                  <c:v>0.15028248587570622</c:v>
                </c:pt>
                <c:pt idx="75">
                  <c:v>0.1395281516862064</c:v>
                </c:pt>
                <c:pt idx="76">
                  <c:v>0.14615981380915438</c:v>
                </c:pt>
                <c:pt idx="77">
                  <c:v>0.13737864077669903</c:v>
                </c:pt>
                <c:pt idx="78">
                  <c:v>0.14344927013876374</c:v>
                </c:pt>
                <c:pt idx="79">
                  <c:v>0.13620923913043478</c:v>
                </c:pt>
                <c:pt idx="80">
                  <c:v>0.1220852764823451</c:v>
                </c:pt>
                <c:pt idx="81">
                  <c:v>0.12071103761885077</c:v>
                </c:pt>
                <c:pt idx="82">
                  <c:v>0.12950410274705673</c:v>
                </c:pt>
                <c:pt idx="83">
                  <c:v>0.11986588432523052</c:v>
                </c:pt>
                <c:pt idx="84">
                  <c:v>0.12414080399916684</c:v>
                </c:pt>
                <c:pt idx="85">
                  <c:v>0.11991117690599556</c:v>
                </c:pt>
                <c:pt idx="86">
                  <c:v>0.12571277018963004</c:v>
                </c:pt>
                <c:pt idx="87">
                  <c:v>0.14543114543114544</c:v>
                </c:pt>
                <c:pt idx="88">
                  <c:v>0.1347056152565461</c:v>
                </c:pt>
                <c:pt idx="89">
                  <c:v>0.1289755754700404</c:v>
                </c:pt>
                <c:pt idx="90">
                  <c:v>0.12470287072590967</c:v>
                </c:pt>
                <c:pt idx="91">
                  <c:v>0.12860192102454643</c:v>
                </c:pt>
                <c:pt idx="92">
                  <c:v>0.13536881923804378</c:v>
                </c:pt>
                <c:pt idx="93">
                  <c:v>0.12579762989972654</c:v>
                </c:pt>
                <c:pt idx="94">
                  <c:v>0.12087595447341881</c:v>
                </c:pt>
                <c:pt idx="95">
                  <c:v>0.13340184994861254</c:v>
                </c:pt>
                <c:pt idx="96">
                  <c:v>0.12616476852536607</c:v>
                </c:pt>
                <c:pt idx="97">
                  <c:v>0.13153894870170996</c:v>
                </c:pt>
                <c:pt idx="98">
                  <c:v>0.14391063875935364</c:v>
                </c:pt>
                <c:pt idx="99">
                  <c:v>0.14492615983664942</c:v>
                </c:pt>
                <c:pt idx="100">
                  <c:v>0.15759652575150981</c:v>
                </c:pt>
                <c:pt idx="101">
                  <c:v>0.15528440478358527</c:v>
                </c:pt>
                <c:pt idx="102">
                  <c:v>0.1412722483837497</c:v>
                </c:pt>
                <c:pt idx="103">
                  <c:v>0.17290965207631875</c:v>
                </c:pt>
                <c:pt idx="104">
                  <c:v>0.1692753623188405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998166511642682</c:v>
                </c:pt>
                <c:pt idx="1">
                  <c:v>0.8397091053861281</c:v>
                </c:pt>
                <c:pt idx="2">
                  <c:v>0.8394780090128896</c:v>
                </c:pt>
                <c:pt idx="3">
                  <c:v>0.8536948686410422</c:v>
                </c:pt>
                <c:pt idx="4">
                  <c:v>0.8432582205925839</c:v>
                </c:pt>
                <c:pt idx="5">
                  <c:v>0.8669299456619127</c:v>
                </c:pt>
                <c:pt idx="6">
                  <c:v>0.8988906619303266</c:v>
                </c:pt>
                <c:pt idx="7">
                  <c:v>0.9416777521029195</c:v>
                </c:pt>
                <c:pt idx="8">
                  <c:v>0.9875005243933569</c:v>
                </c:pt>
                <c:pt idx="9">
                  <c:v>0.9592521192958147</c:v>
                </c:pt>
                <c:pt idx="10">
                  <c:v>0.9804764104833157</c:v>
                </c:pt>
                <c:pt idx="11">
                  <c:v>0.9850044967368222</c:v>
                </c:pt>
                <c:pt idx="12">
                  <c:v>0.9816774327818321</c:v>
                </c:pt>
                <c:pt idx="13">
                  <c:v>0.941298609938956</c:v>
                </c:pt>
                <c:pt idx="14">
                  <c:v>0.939995709125774</c:v>
                </c:pt>
                <c:pt idx="15">
                  <c:v>0.9387290288233131</c:v>
                </c:pt>
                <c:pt idx="16">
                  <c:v>0.9589446240299927</c:v>
                </c:pt>
                <c:pt idx="17">
                  <c:v>0.9325836405826864</c:v>
                </c:pt>
                <c:pt idx="18">
                  <c:v>1.00864428066294</c:v>
                </c:pt>
                <c:pt idx="19">
                  <c:v>0.9701657437332114</c:v>
                </c:pt>
                <c:pt idx="20">
                  <c:v>0.9382810353998087</c:v>
                </c:pt>
                <c:pt idx="21">
                  <c:v>0.9048141261395694</c:v>
                </c:pt>
                <c:pt idx="22">
                  <c:v>0.8894140634191521</c:v>
                </c:pt>
                <c:pt idx="23">
                  <c:v>0.849671724166472</c:v>
                </c:pt>
                <c:pt idx="24">
                  <c:v>0.8504557988965922</c:v>
                </c:pt>
                <c:pt idx="25">
                  <c:v>0.8751177057905327</c:v>
                </c:pt>
                <c:pt idx="26">
                  <c:v>0.9157704142426605</c:v>
                </c:pt>
                <c:pt idx="27">
                  <c:v>0.9681560642457455</c:v>
                </c:pt>
                <c:pt idx="28">
                  <c:v>0.9821375676039825</c:v>
                </c:pt>
                <c:pt idx="29">
                  <c:v>0.9644956285305235</c:v>
                </c:pt>
                <c:pt idx="30">
                  <c:v>0.9425468196075796</c:v>
                </c:pt>
                <c:pt idx="31">
                  <c:v>0.9012075868412859</c:v>
                </c:pt>
                <c:pt idx="32">
                  <c:v>0.8895243276263227</c:v>
                </c:pt>
                <c:pt idx="33">
                  <c:v>0.9310738383358531</c:v>
                </c:pt>
                <c:pt idx="34">
                  <c:v>0.9523593205161359</c:v>
                </c:pt>
                <c:pt idx="35">
                  <c:v>0.9103360594368708</c:v>
                </c:pt>
                <c:pt idx="36">
                  <c:v>0.8504644429787468</c:v>
                </c:pt>
                <c:pt idx="37">
                  <c:v>0.8969629945654394</c:v>
                </c:pt>
                <c:pt idx="38">
                  <c:v>0.9221943937988323</c:v>
                </c:pt>
                <c:pt idx="39">
                  <c:v>0.9598402860855697</c:v>
                </c:pt>
                <c:pt idx="40">
                  <c:v>0.9754780653368691</c:v>
                </c:pt>
                <c:pt idx="41">
                  <c:v>0.9941687201685033</c:v>
                </c:pt>
                <c:pt idx="42">
                  <c:v>0.9681496885628158</c:v>
                </c:pt>
                <c:pt idx="43">
                  <c:v>0.994197890939804</c:v>
                </c:pt>
                <c:pt idx="44">
                  <c:v>1.013184957284503</c:v>
                </c:pt>
                <c:pt idx="45">
                  <c:v>0.9723865044908145</c:v>
                </c:pt>
                <c:pt idx="46">
                  <c:v>0.9462484369709679</c:v>
                </c:pt>
                <c:pt idx="47">
                  <c:v>0.9595520649462078</c:v>
                </c:pt>
                <c:pt idx="48">
                  <c:v>0.9812906742667933</c:v>
                </c:pt>
                <c:pt idx="49">
                  <c:v>0.9825805776130587</c:v>
                </c:pt>
                <c:pt idx="50">
                  <c:v>0.8895097935076175</c:v>
                </c:pt>
                <c:pt idx="51">
                  <c:v>0.9207350657444684</c:v>
                </c:pt>
              </c:numCache>
            </c:numRef>
          </c:xVal>
          <c:yVal>
            <c:numRef>
              <c:f>Sheet1!$B$109:$B$160</c:f>
              <c:numCache>
                <c:formatCode>General</c:formatCode>
                <c:ptCount val="52"/>
                <c:pt idx="0">
                  <c:v>0.1541166577478786</c:v>
                </c:pt>
                <c:pt idx="1">
                  <c:v>0.1648675171736997</c:v>
                </c:pt>
                <c:pt idx="2">
                  <c:v>0.16437189496096521</c:v>
                </c:pt>
                <c:pt idx="3">
                  <c:v>0.16784223405786672</c:v>
                </c:pt>
                <c:pt idx="4">
                  <c:v>0.16508204263149823</c:v>
                </c:pt>
                <c:pt idx="5">
                  <c:v>0.160546282245827</c:v>
                </c:pt>
                <c:pt idx="6">
                  <c:v>0.15580286168521462</c:v>
                </c:pt>
                <c:pt idx="7">
                  <c:v>0.16119971912930084</c:v>
                </c:pt>
                <c:pt idx="8">
                  <c:v>0.16118900729108246</c:v>
                </c:pt>
                <c:pt idx="9">
                  <c:v>0.17793417922283902</c:v>
                </c:pt>
                <c:pt idx="10">
                  <c:v>0.16633132126089872</c:v>
                </c:pt>
                <c:pt idx="11">
                  <c:v>0.15987482614742698</c:v>
                </c:pt>
                <c:pt idx="12">
                  <c:v>0.15854141894569956</c:v>
                </c:pt>
                <c:pt idx="13">
                  <c:v>0.16072177926982795</c:v>
                </c:pt>
                <c:pt idx="14">
                  <c:v>0.16202625942825216</c:v>
                </c:pt>
                <c:pt idx="15">
                  <c:v>0.15814840847474645</c:v>
                </c:pt>
                <c:pt idx="16">
                  <c:v>0.1462153267512929</c:v>
                </c:pt>
                <c:pt idx="17">
                  <c:v>0.14662112710417174</c:v>
                </c:pt>
                <c:pt idx="18">
                  <c:v>0.13117621337997376</c:v>
                </c:pt>
                <c:pt idx="19">
                  <c:v>0.14606437652150392</c:v>
                </c:pt>
                <c:pt idx="20">
                  <c:v>0.14379288833437304</c:v>
                </c:pt>
                <c:pt idx="21">
                  <c:v>0.14924256592481766</c:v>
                </c:pt>
                <c:pt idx="22">
                  <c:v>0.156353591160221</c:v>
                </c:pt>
                <c:pt idx="23">
                  <c:v>0.16745886654478975</c:v>
                </c:pt>
                <c:pt idx="24">
                  <c:v>0.16643812135755914</c:v>
                </c:pt>
                <c:pt idx="25">
                  <c:v>0.17317158931082982</c:v>
                </c:pt>
                <c:pt idx="26">
                  <c:v>0.16548223350253807</c:v>
                </c:pt>
                <c:pt idx="27">
                  <c:v>0.14224336351081787</c:v>
                </c:pt>
                <c:pt idx="28">
                  <c:v>0.1382348692763253</c:v>
                </c:pt>
                <c:pt idx="29">
                  <c:v>0.14395662060521253</c:v>
                </c:pt>
                <c:pt idx="30">
                  <c:v>0.14962593516209477</c:v>
                </c:pt>
                <c:pt idx="31">
                  <c:v>0.14123957091775924</c:v>
                </c:pt>
                <c:pt idx="32">
                  <c:v>0.14424460431654676</c:v>
                </c:pt>
                <c:pt idx="33">
                  <c:v>0.15920608108108109</c:v>
                </c:pt>
                <c:pt idx="34">
                  <c:v>0.1731679108400799</c:v>
                </c:pt>
                <c:pt idx="35">
                  <c:v>0.18076202373516553</c:v>
                </c:pt>
                <c:pt idx="36">
                  <c:v>0.16656057712709527</c:v>
                </c:pt>
                <c:pt idx="37">
                  <c:v>0.14589261999620565</c:v>
                </c:pt>
                <c:pt idx="38">
                  <c:v>0.14241960183767227</c:v>
                </c:pt>
                <c:pt idx="39">
                  <c:v>0.15253441802252815</c:v>
                </c:pt>
                <c:pt idx="40">
                  <c:v>0.1427690410114092</c:v>
                </c:pt>
                <c:pt idx="41">
                  <c:v>0.14487530632838402</c:v>
                </c:pt>
                <c:pt idx="42">
                  <c:v>0.14507941706238742</c:v>
                </c:pt>
                <c:pt idx="43">
                  <c:v>0.14091743119266056</c:v>
                </c:pt>
                <c:pt idx="44">
                  <c:v>0.1319726543148717</c:v>
                </c:pt>
                <c:pt idx="45">
                  <c:v>0.14151210533767522</c:v>
                </c:pt>
                <c:pt idx="46">
                  <c:v>0.1411833626244874</c:v>
                </c:pt>
                <c:pt idx="47">
                  <c:v>0.14124683689901082</c:v>
                </c:pt>
                <c:pt idx="48">
                  <c:v>0.12496828216188785</c:v>
                </c:pt>
                <c:pt idx="49">
                  <c:v>0.1396714953804038</c:v>
                </c:pt>
                <c:pt idx="50">
                  <c:v>0.16539307414172288</c:v>
                </c:pt>
                <c:pt idx="51">
                  <c:v>0.1565159128978224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623140543376831</c:v>
                </c:pt>
              </c:numCache>
            </c:numRef>
          </c:xVal>
          <c:yVal>
            <c:numRef>
              <c:f>Sheet1!$B$163:$B$164</c:f>
              <c:numCache>
                <c:formatCode>General</c:formatCode>
                <c:ptCount val="2"/>
                <c:pt idx="0">
                  <c:v>0.19172892764333477</c:v>
                </c:pt>
                <c:pt idx="1">
                  <c:v>0.1917289276433347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623140543376831</c:v>
                </c:pt>
                <c:pt idx="1">
                  <c:v>0.6623140543376831</c:v>
                </c:pt>
              </c:numCache>
            </c:numRef>
          </c:xVal>
          <c:yVal>
            <c:numRef>
              <c:f>Sheet1!$B$167:$B$168</c:f>
              <c:numCache>
                <c:formatCode>General</c:formatCode>
                <c:ptCount val="2"/>
                <c:pt idx="0">
                  <c:v>0.1917289276433347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748278345343582</c:v>
                </c:pt>
              </c:numCache>
            </c:numRef>
          </c:xVal>
          <c:yVal>
            <c:numRef>
              <c:f>Sheet1!$B$171:$B$172</c:f>
              <c:numCache>
                <c:formatCode>General</c:formatCode>
                <c:ptCount val="2"/>
                <c:pt idx="0">
                  <c:v>0.16166869076925927</c:v>
                </c:pt>
                <c:pt idx="1">
                  <c:v>0.1616686907692592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748278345343582</c:v>
                </c:pt>
                <c:pt idx="1">
                  <c:v>0.8748278345343582</c:v>
                </c:pt>
              </c:numCache>
            </c:numRef>
          </c:xVal>
          <c:yVal>
            <c:numRef>
              <c:f>Sheet1!$B$175:$B$176</c:f>
              <c:numCache>
                <c:formatCode>General</c:formatCode>
                <c:ptCount val="2"/>
                <c:pt idx="0">
                  <c:v>0.1616686907692592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015659488447415</c:v>
                </c:pt>
              </c:numCache>
            </c:numRef>
          </c:xVal>
          <c:yVal>
            <c:numRef>
              <c:f>Sheet1!$B$179:$B$180</c:f>
              <c:numCache>
                <c:formatCode>General</c:formatCode>
                <c:ptCount val="2"/>
                <c:pt idx="0">
                  <c:v>0.14374148749040394</c:v>
                </c:pt>
                <c:pt idx="1">
                  <c:v>0.1437414874904039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015659488447415</c:v>
                </c:pt>
                <c:pt idx="1">
                  <c:v>1.0015659488447415</c:v>
                </c:pt>
              </c:numCache>
            </c:numRef>
          </c:xVal>
          <c:yVal>
            <c:numRef>
              <c:f>Sheet1!$B$183:$B$184</c:f>
              <c:numCache>
                <c:formatCode>General</c:formatCode>
                <c:ptCount val="2"/>
                <c:pt idx="0">
                  <c:v>0.1437414874904039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998166511642682</c:v>
                </c:pt>
                <c:pt idx="1">
                  <c:v>0.8397091053861281</c:v>
                </c:pt>
                <c:pt idx="2">
                  <c:v>0.8394780090128896</c:v>
                </c:pt>
                <c:pt idx="3">
                  <c:v>0.8536948686410422</c:v>
                </c:pt>
                <c:pt idx="4">
                  <c:v>0.8432582205925839</c:v>
                </c:pt>
                <c:pt idx="5">
                  <c:v>0.8669299456619127</c:v>
                </c:pt>
                <c:pt idx="6">
                  <c:v>0.8988906619303266</c:v>
                </c:pt>
                <c:pt idx="7">
                  <c:v>0.9416777521029195</c:v>
                </c:pt>
                <c:pt idx="8">
                  <c:v>0.9875005243933569</c:v>
                </c:pt>
                <c:pt idx="9">
                  <c:v>0.9592521192958147</c:v>
                </c:pt>
                <c:pt idx="10">
                  <c:v>0.9804764104833157</c:v>
                </c:pt>
                <c:pt idx="11">
                  <c:v>0.9850044967368222</c:v>
                </c:pt>
                <c:pt idx="12">
                  <c:v>0.9816774327818321</c:v>
                </c:pt>
                <c:pt idx="13">
                  <c:v>0.941298609938956</c:v>
                </c:pt>
                <c:pt idx="14">
                  <c:v>0.939995709125774</c:v>
                </c:pt>
                <c:pt idx="15">
                  <c:v>0.9387290288233131</c:v>
                </c:pt>
                <c:pt idx="16">
                  <c:v>0.9589446240299927</c:v>
                </c:pt>
                <c:pt idx="17">
                  <c:v>0.9325836405826864</c:v>
                </c:pt>
                <c:pt idx="18">
                  <c:v>1.00864428066294</c:v>
                </c:pt>
                <c:pt idx="19">
                  <c:v>0.9701657437332114</c:v>
                </c:pt>
                <c:pt idx="20">
                  <c:v>0.9382810353998087</c:v>
                </c:pt>
                <c:pt idx="21">
                  <c:v>0.9048141261395694</c:v>
                </c:pt>
                <c:pt idx="22">
                  <c:v>0.8894140634191521</c:v>
                </c:pt>
                <c:pt idx="23">
                  <c:v>0.849671724166472</c:v>
                </c:pt>
                <c:pt idx="24">
                  <c:v>0.8504557988965922</c:v>
                </c:pt>
                <c:pt idx="25">
                  <c:v>0.8751177057905327</c:v>
                </c:pt>
                <c:pt idx="26">
                  <c:v>0.9157704142426605</c:v>
                </c:pt>
                <c:pt idx="27">
                  <c:v>0.9681560642457455</c:v>
                </c:pt>
                <c:pt idx="28">
                  <c:v>0.9821375676039825</c:v>
                </c:pt>
                <c:pt idx="29">
                  <c:v>0.9644956285305235</c:v>
                </c:pt>
                <c:pt idx="30">
                  <c:v>0.9425468196075796</c:v>
                </c:pt>
                <c:pt idx="31">
                  <c:v>0.9012075868412859</c:v>
                </c:pt>
                <c:pt idx="32">
                  <c:v>0.8895243276263227</c:v>
                </c:pt>
                <c:pt idx="33">
                  <c:v>0.9310738383358531</c:v>
                </c:pt>
                <c:pt idx="34">
                  <c:v>0.9523593205161359</c:v>
                </c:pt>
                <c:pt idx="35">
                  <c:v>0.9103360594368708</c:v>
                </c:pt>
                <c:pt idx="36">
                  <c:v>0.8504644429787468</c:v>
                </c:pt>
                <c:pt idx="37">
                  <c:v>0.8969629945654394</c:v>
                </c:pt>
                <c:pt idx="38">
                  <c:v>0.9221943937988323</c:v>
                </c:pt>
                <c:pt idx="39">
                  <c:v>0.9598402860855697</c:v>
                </c:pt>
                <c:pt idx="40">
                  <c:v>0.9754780653368691</c:v>
                </c:pt>
                <c:pt idx="41">
                  <c:v>0.9941687201685033</c:v>
                </c:pt>
                <c:pt idx="42">
                  <c:v>0.9681496885628158</c:v>
                </c:pt>
                <c:pt idx="43">
                  <c:v>0.994197890939804</c:v>
                </c:pt>
                <c:pt idx="44">
                  <c:v>1.013184957284503</c:v>
                </c:pt>
                <c:pt idx="45">
                  <c:v>0.9723865044908145</c:v>
                </c:pt>
                <c:pt idx="46">
                  <c:v>0.9462484369709679</c:v>
                </c:pt>
                <c:pt idx="47">
                  <c:v>0.9595520649462078</c:v>
                </c:pt>
                <c:pt idx="48">
                  <c:v>0.9812906742667933</c:v>
                </c:pt>
                <c:pt idx="49">
                  <c:v>0.9825805776130587</c:v>
                </c:pt>
                <c:pt idx="50">
                  <c:v>0.8895097935076175</c:v>
                </c:pt>
                <c:pt idx="51">
                  <c:v>0.9207350657444684</c:v>
                </c:pt>
                <c:pt idx="52">
                  <c:v>0.8748278345343582</c:v>
                </c:pt>
                <c:pt idx="53">
                  <c:v>0.6623140543376831</c:v>
                </c:pt>
                <c:pt idx="54">
                  <c:v>1.0015659488447415</c:v>
                </c:pt>
              </c:numCache>
            </c:numRef>
          </c:xVal>
          <c:yVal>
            <c:numRef>
              <c:f>Sheet1!$B$187:$B$241</c:f>
              <c:numCache>
                <c:formatCode>General</c:formatCode>
                <c:ptCount val="55"/>
                <c:pt idx="0">
                  <c:v>0.15813400352967064</c:v>
                </c:pt>
                <c:pt idx="1">
                  <c:v>0.16663626188834293</c:v>
                </c:pt>
                <c:pt idx="2">
                  <c:v>0.16666895064722653</c:v>
                </c:pt>
                <c:pt idx="3">
                  <c:v>0.16465796497075774</c:v>
                </c:pt>
                <c:pt idx="4">
                  <c:v>0.1661342368257766</c:v>
                </c:pt>
                <c:pt idx="5">
                  <c:v>0.16278585319557873</c:v>
                </c:pt>
                <c:pt idx="6">
                  <c:v>0.15826498541559525</c:v>
                </c:pt>
                <c:pt idx="7">
                  <c:v>0.15221271875999184</c:v>
                </c:pt>
                <c:pt idx="8">
                  <c:v>0.14573105254520524</c:v>
                </c:pt>
                <c:pt idx="9">
                  <c:v>0.14972681106854005</c:v>
                </c:pt>
                <c:pt idx="10">
                  <c:v>0.14672461883427562</c:v>
                </c:pt>
                <c:pt idx="11">
                  <c:v>0.14608411756776632</c:v>
                </c:pt>
                <c:pt idx="12">
                  <c:v>0.14655473331084728</c:v>
                </c:pt>
                <c:pt idx="13">
                  <c:v>0.15226634870929273</c:v>
                </c:pt>
                <c:pt idx="14">
                  <c:v>0.1524506450266018</c:v>
                </c:pt>
                <c:pt idx="15">
                  <c:v>0.15262981792494498</c:v>
                </c:pt>
                <c:pt idx="16">
                  <c:v>0.14977030650925788</c:v>
                </c:pt>
                <c:pt idx="17">
                  <c:v>0.15349908779547022</c:v>
                </c:pt>
                <c:pt idx="18">
                  <c:v>0.14274025203672447</c:v>
                </c:pt>
                <c:pt idx="19">
                  <c:v>0.14818307053821195</c:v>
                </c:pt>
                <c:pt idx="20">
                  <c:v>0.15269318693760903</c:v>
                </c:pt>
                <c:pt idx="21">
                  <c:v>0.15742710686917744</c:v>
                </c:pt>
                <c:pt idx="22">
                  <c:v>0.15960545752871083</c:v>
                </c:pt>
                <c:pt idx="23">
                  <c:v>0.16522704183613696</c:v>
                </c:pt>
                <c:pt idx="24">
                  <c:v>0.16511613386540405</c:v>
                </c:pt>
                <c:pt idx="25">
                  <c:v>0.1616276882581961</c:v>
                </c:pt>
                <c:pt idx="26">
                  <c:v>0.15587733153068065</c:v>
                </c:pt>
                <c:pt idx="27">
                  <c:v>0.14846734123999084</c:v>
                </c:pt>
                <c:pt idx="28">
                  <c:v>0.1464896468880513</c:v>
                </c:pt>
                <c:pt idx="29">
                  <c:v>0.14898511267373066</c:v>
                </c:pt>
                <c:pt idx="30">
                  <c:v>0.1520897884962439</c:v>
                </c:pt>
                <c:pt idx="31">
                  <c:v>0.15793725461348715</c:v>
                </c:pt>
                <c:pt idx="32">
                  <c:v>0.1595898605722066</c:v>
                </c:pt>
                <c:pt idx="33">
                  <c:v>0.15371265047893864</c:v>
                </c:pt>
                <c:pt idx="34">
                  <c:v>0.15070180273190759</c:v>
                </c:pt>
                <c:pt idx="35">
                  <c:v>0.1566460251775991</c:v>
                </c:pt>
                <c:pt idx="36">
                  <c:v>0.1651149111533668</c:v>
                </c:pt>
                <c:pt idx="37">
                  <c:v>0.15853765543986054</c:v>
                </c:pt>
                <c:pt idx="38">
                  <c:v>0.15496865470532828</c:v>
                </c:pt>
                <c:pt idx="39">
                  <c:v>0.14964361442592639</c:v>
                </c:pt>
                <c:pt idx="40">
                  <c:v>0.14743163858114341</c:v>
                </c:pt>
                <c:pt idx="41">
                  <c:v>0.14478783114874755</c:v>
                </c:pt>
                <c:pt idx="42">
                  <c:v>0.1484682430852214</c:v>
                </c:pt>
                <c:pt idx="43">
                  <c:v>0.14478370492081877</c:v>
                </c:pt>
                <c:pt idx="44">
                  <c:v>0.14209796985301648</c:v>
                </c:pt>
                <c:pt idx="45">
                  <c:v>0.14786894222920335</c:v>
                </c:pt>
                <c:pt idx="46">
                  <c:v>0.15156619188684914</c:v>
                </c:pt>
                <c:pt idx="47">
                  <c:v>0.14968438352670335</c:v>
                </c:pt>
                <c:pt idx="48">
                  <c:v>0.1466094405988376</c:v>
                </c:pt>
                <c:pt idx="49">
                  <c:v>0.14642698278317257</c:v>
                </c:pt>
                <c:pt idx="50">
                  <c:v>0.15959191643442233</c:v>
                </c:pt>
                <c:pt idx="51">
                  <c:v>0.15517507777563724</c:v>
                </c:pt>
                <c:pt idx="52">
                  <c:v>0.16166869076925927</c:v>
                </c:pt>
                <c:pt idx="53">
                  <c:v>0.19172892764333477</c:v>
                </c:pt>
                <c:pt idx="54">
                  <c:v>0.14374148749040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4833023103032956"/>
          <c:min val="0.091789473684210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44.0115</c:v>
                </c:pt>
                <c:pt idx="1">
                  <c:v>1059.0206</c:v>
                </c:pt>
                <c:pt idx="2">
                  <c:v>1110.8512</c:v>
                </c:pt>
                <c:pt idx="3">
                  <c:v>1122.1923</c:v>
                </c:pt>
                <c:pt idx="4">
                  <c:v>1105.4681</c:v>
                </c:pt>
                <c:pt idx="5">
                  <c:v>1084.5026</c:v>
                </c:pt>
                <c:pt idx="6">
                  <c:v>1061.4399</c:v>
                </c:pt>
                <c:pt idx="7">
                  <c:v>1078.3099</c:v>
                </c:pt>
                <c:pt idx="8">
                  <c:v>1063.8206</c:v>
                </c:pt>
                <c:pt idx="9">
                  <c:v>1061.675</c:v>
                </c:pt>
                <c:pt idx="10">
                  <c:v>1040.723</c:v>
                </c:pt>
                <c:pt idx="11">
                  <c:v>1026.3</c:v>
                </c:pt>
                <c:pt idx="12">
                  <c:v>1032.5147</c:v>
                </c:pt>
                <c:pt idx="13">
                  <c:v>1024.5192</c:v>
                </c:pt>
                <c:pt idx="14">
                  <c:v>1092.4231</c:v>
                </c:pt>
                <c:pt idx="15">
                  <c:v>1081.7284</c:v>
                </c:pt>
                <c:pt idx="16">
                  <c:v>1087.9962</c:v>
                </c:pt>
                <c:pt idx="17">
                  <c:v>1122.9785</c:v>
                </c:pt>
                <c:pt idx="18">
                  <c:v>1166.4722</c:v>
                </c:pt>
                <c:pt idx="19">
                  <c:v>1194.7514</c:v>
                </c:pt>
                <c:pt idx="20">
                  <c:v>1218.7185</c:v>
                </c:pt>
                <c:pt idx="21">
                  <c:v>1214.2266</c:v>
                </c:pt>
                <c:pt idx="22">
                  <c:v>1216.8041</c:v>
                </c:pt>
                <c:pt idx="23">
                  <c:v>1202.282</c:v>
                </c:pt>
                <c:pt idx="24">
                  <c:v>1179.5695</c:v>
                </c:pt>
                <c:pt idx="25">
                  <c:v>1173.1098</c:v>
                </c:pt>
                <c:pt idx="26">
                  <c:v>1169.9232</c:v>
                </c:pt>
                <c:pt idx="27">
                  <c:v>1160.3369</c:v>
                </c:pt>
                <c:pt idx="28">
                  <c:v>1165.0658</c:v>
                </c:pt>
                <c:pt idx="29">
                  <c:v>1143.06</c:v>
                </c:pt>
                <c:pt idx="30">
                  <c:v>1178.3815</c:v>
                </c:pt>
                <c:pt idx="31">
                  <c:v>1144.0797</c:v>
                </c:pt>
                <c:pt idx="32">
                  <c:v>1172.2206</c:v>
                </c:pt>
                <c:pt idx="33">
                  <c:v>1129.9598</c:v>
                </c:pt>
                <c:pt idx="34">
                  <c:v>1162.8062</c:v>
                </c:pt>
                <c:pt idx="35">
                  <c:v>1221.5632</c:v>
                </c:pt>
                <c:pt idx="36">
                  <c:v>1270.5556</c:v>
                </c:pt>
                <c:pt idx="37">
                  <c:v>1270.2344</c:v>
                </c:pt>
                <c:pt idx="38">
                  <c:v>1358.8952</c:v>
                </c:pt>
                <c:pt idx="39">
                  <c:v>1325.678</c:v>
                </c:pt>
                <c:pt idx="40">
                  <c:v>1382.1704</c:v>
                </c:pt>
                <c:pt idx="41">
                  <c:v>1373.2447</c:v>
                </c:pt>
                <c:pt idx="42">
                  <c:v>1408.1215</c:v>
                </c:pt>
                <c:pt idx="43">
                  <c:v>1420.1661</c:v>
                </c:pt>
                <c:pt idx="44">
                  <c:v>1271.0615</c:v>
                </c:pt>
                <c:pt idx="45">
                  <c:v>1212.934</c:v>
                </c:pt>
                <c:pt idx="46">
                  <c:v>1223.3583</c:v>
                </c:pt>
                <c:pt idx="47">
                  <c:v>1216.8339</c:v>
                </c:pt>
                <c:pt idx="48">
                  <c:v>1188.9966</c:v>
                </c:pt>
                <c:pt idx="49">
                  <c:v>1159.1446</c:v>
                </c:pt>
                <c:pt idx="50">
                  <c:v>1176.1397</c:v>
                </c:pt>
                <c:pt idx="51">
                  <c:v>1206.1162</c:v>
                </c:pt>
                <c:pt idx="52">
                  <c:v>1197.3198</c:v>
                </c:pt>
                <c:pt idx="53">
                  <c:v>1345.2789</c:v>
                </c:pt>
                <c:pt idx="54">
                  <c:v>1358.6176</c:v>
                </c:pt>
                <c:pt idx="55">
                  <c:v>1357.1134</c:v>
                </c:pt>
                <c:pt idx="56">
                  <c:v>1371.3281</c:v>
                </c:pt>
                <c:pt idx="57">
                  <c:v>1344.8766</c:v>
                </c:pt>
                <c:pt idx="58">
                  <c:v>1315.9706</c:v>
                </c:pt>
                <c:pt idx="59">
                  <c:v>1297.3162</c:v>
                </c:pt>
                <c:pt idx="60">
                  <c:v>1292.0592</c:v>
                </c:pt>
                <c:pt idx="61">
                  <c:v>1278.8695</c:v>
                </c:pt>
                <c:pt idx="62">
                  <c:v>1235.5162</c:v>
                </c:pt>
                <c:pt idx="63">
                  <c:v>1228.3236</c:v>
                </c:pt>
                <c:pt idx="64">
                  <c:v>1223.9506</c:v>
                </c:pt>
                <c:pt idx="65">
                  <c:v>1216.951</c:v>
                </c:pt>
                <c:pt idx="66">
                  <c:v>1272.9818</c:v>
                </c:pt>
                <c:pt idx="67">
                  <c:v>1306.8167</c:v>
                </c:pt>
                <c:pt idx="68">
                  <c:v>1319.1452</c:v>
                </c:pt>
                <c:pt idx="69">
                  <c:v>1338.3224</c:v>
                </c:pt>
                <c:pt idx="70">
                  <c:v>1345.1943</c:v>
                </c:pt>
                <c:pt idx="71">
                  <c:v>1389.7589</c:v>
                </c:pt>
                <c:pt idx="72">
                  <c:v>1402.9443</c:v>
                </c:pt>
                <c:pt idx="73">
                  <c:v>1383.8984</c:v>
                </c:pt>
                <c:pt idx="74">
                  <c:v>1332.457</c:v>
                </c:pt>
                <c:pt idx="75">
                  <c:v>1328.2075</c:v>
                </c:pt>
                <c:pt idx="76">
                  <c:v>1334.8089</c:v>
                </c:pt>
                <c:pt idx="77">
                  <c:v>1319.424</c:v>
                </c:pt>
                <c:pt idx="78">
                  <c:v>1367.1784</c:v>
                </c:pt>
                <c:pt idx="79">
                  <c:v>1373.1372</c:v>
                </c:pt>
                <c:pt idx="80">
                  <c:v>1360.2769</c:v>
                </c:pt>
                <c:pt idx="81">
                  <c:v>1398.2979</c:v>
                </c:pt>
                <c:pt idx="82">
                  <c:v>1387.9532</c:v>
                </c:pt>
                <c:pt idx="83">
                  <c:v>1371.021</c:v>
                </c:pt>
                <c:pt idx="84">
                  <c:v>1356.8725</c:v>
                </c:pt>
                <c:pt idx="85">
                  <c:v>1366.3287</c:v>
                </c:pt>
                <c:pt idx="86">
                  <c:v>1352.9546</c:v>
                </c:pt>
                <c:pt idx="87">
                  <c:v>1357.6726</c:v>
                </c:pt>
                <c:pt idx="88">
                  <c:v>1364.1</c:v>
                </c:pt>
                <c:pt idx="89">
                  <c:v>1349.079</c:v>
                </c:pt>
                <c:pt idx="90">
                  <c:v>1382.3109</c:v>
                </c:pt>
                <c:pt idx="91">
                  <c:v>1392.7427</c:v>
                </c:pt>
                <c:pt idx="92">
                  <c:v>1356.489</c:v>
                </c:pt>
                <c:pt idx="93">
                  <c:v>1359.1035</c:v>
                </c:pt>
                <c:pt idx="94">
                  <c:v>1401.1299</c:v>
                </c:pt>
                <c:pt idx="95">
                  <c:v>1333.3374</c:v>
                </c:pt>
                <c:pt idx="96">
                  <c:v>1246.0106</c:v>
                </c:pt>
                <c:pt idx="97">
                  <c:v>1272.9788</c:v>
                </c:pt>
                <c:pt idx="98">
                  <c:v>1249.6236</c:v>
                </c:pt>
                <c:pt idx="99">
                  <c:v>1234.3542</c:v>
                </c:pt>
                <c:pt idx="100">
                  <c:v>1240.6437</c:v>
                </c:pt>
                <c:pt idx="101">
                  <c:v>1277.0735</c:v>
                </c:pt>
                <c:pt idx="102">
                  <c:v>1320.3701</c:v>
                </c:pt>
                <c:pt idx="103">
                  <c:v>1029.6759</c:v>
                </c:pt>
                <c:pt idx="104">
                  <c:v>1125.5548</c:v>
                </c:pt>
              </c:numCache>
            </c:numRef>
          </c:xVal>
          <c:yVal>
            <c:numRef>
              <c:f>Sheet1!$B$2:$B$106</c:f>
              <c:numCache>
                <c:formatCode>General</c:formatCode>
                <c:ptCount val="105"/>
                <c:pt idx="0">
                  <c:v>0.18318950396407774</c:v>
                </c:pt>
                <c:pt idx="1">
                  <c:v>0.1894130064138995</c:v>
                </c:pt>
                <c:pt idx="2">
                  <c:v>0.18580307491004253</c:v>
                </c:pt>
                <c:pt idx="3">
                  <c:v>0.19294425087108014</c:v>
                </c:pt>
                <c:pt idx="4">
                  <c:v>0.1953978159126365</c:v>
                </c:pt>
                <c:pt idx="5">
                  <c:v>0.18869035931670922</c:v>
                </c:pt>
                <c:pt idx="6">
                  <c:v>0.19158136251323685</c:v>
                </c:pt>
                <c:pt idx="7">
                  <c:v>0.1915991156963891</c:v>
                </c:pt>
                <c:pt idx="8">
                  <c:v>0.2069418591919413</c:v>
                </c:pt>
                <c:pt idx="9">
                  <c:v>0.17738743196437406</c:v>
                </c:pt>
                <c:pt idx="10">
                  <c:v>0.1837846629259169</c:v>
                </c:pt>
                <c:pt idx="11">
                  <c:v>0.19010416666666666</c:v>
                </c:pt>
                <c:pt idx="12">
                  <c:v>0.18986083499005965</c:v>
                </c:pt>
                <c:pt idx="13">
                  <c:v>0.19203709625839463</c:v>
                </c:pt>
                <c:pt idx="14">
                  <c:v>0.18110172245693856</c:v>
                </c:pt>
                <c:pt idx="15">
                  <c:v>0.19173005656329237</c:v>
                </c:pt>
                <c:pt idx="16">
                  <c:v>0.1762860024655385</c:v>
                </c:pt>
                <c:pt idx="17">
                  <c:v>0.1853330007483163</c:v>
                </c:pt>
                <c:pt idx="18">
                  <c:v>0.16478329280503504</c:v>
                </c:pt>
                <c:pt idx="19">
                  <c:v>0.15008403361344538</c:v>
                </c:pt>
                <c:pt idx="20">
                  <c:v>0.15491638795986623</c:v>
                </c:pt>
                <c:pt idx="21">
                  <c:v>0.15585738539898134</c:v>
                </c:pt>
                <c:pt idx="22">
                  <c:v>0.1469217970049917</c:v>
                </c:pt>
                <c:pt idx="23">
                  <c:v>0.14541348158443362</c:v>
                </c:pt>
                <c:pt idx="24">
                  <c:v>0.15485943775100403</c:v>
                </c:pt>
                <c:pt idx="25">
                  <c:v>0.1540840458431872</c:v>
                </c:pt>
                <c:pt idx="26">
                  <c:v>0.15505652306752216</c:v>
                </c:pt>
                <c:pt idx="27">
                  <c:v>0.15271226415094338</c:v>
                </c:pt>
                <c:pt idx="28">
                  <c:v>0.15218730745532963</c:v>
                </c:pt>
                <c:pt idx="29">
                  <c:v>0.16263403904316745</c:v>
                </c:pt>
                <c:pt idx="30">
                  <c:v>0.14626609442060085</c:v>
                </c:pt>
                <c:pt idx="31">
                  <c:v>0.14021340446815606</c:v>
                </c:pt>
                <c:pt idx="32">
                  <c:v>0.1413080311758726</c:v>
                </c:pt>
                <c:pt idx="33">
                  <c:v>0.15084928552170396</c:v>
                </c:pt>
                <c:pt idx="34">
                  <c:v>0.1496590777764937</c:v>
                </c:pt>
                <c:pt idx="35">
                  <c:v>0.1492215344213093</c:v>
                </c:pt>
                <c:pt idx="36">
                  <c:v>0.13364722926475914</c:v>
                </c:pt>
                <c:pt idx="37">
                  <c:v>0.12736189239867302</c:v>
                </c:pt>
                <c:pt idx="38">
                  <c:v>0.11473684210526315</c:v>
                </c:pt>
                <c:pt idx="39">
                  <c:v>0.12917909276408726</c:v>
                </c:pt>
                <c:pt idx="40">
                  <c:v>0.1294477745185563</c:v>
                </c:pt>
                <c:pt idx="41">
                  <c:v>0.1314410480349345</c:v>
                </c:pt>
                <c:pt idx="42">
                  <c:v>0.13772893772893774</c:v>
                </c:pt>
                <c:pt idx="43">
                  <c:v>0.1395297977036632</c:v>
                </c:pt>
                <c:pt idx="44">
                  <c:v>0.14084204496634684</c:v>
                </c:pt>
                <c:pt idx="45">
                  <c:v>0.1541396413582602</c:v>
                </c:pt>
                <c:pt idx="46">
                  <c:v>0.16023516167365062</c:v>
                </c:pt>
                <c:pt idx="47">
                  <c:v>0.1565433991186051</c:v>
                </c:pt>
                <c:pt idx="48">
                  <c:v>0.1672272047832586</c:v>
                </c:pt>
                <c:pt idx="49">
                  <c:v>0.18160407383831953</c:v>
                </c:pt>
                <c:pt idx="50">
                  <c:v>0.1662672811059908</c:v>
                </c:pt>
                <c:pt idx="51">
                  <c:v>0.15697628922450896</c:v>
                </c:pt>
                <c:pt idx="52">
                  <c:v>0.16352160752238037</c:v>
                </c:pt>
                <c:pt idx="53">
                  <c:v>0.1539434837621257</c:v>
                </c:pt>
                <c:pt idx="54">
                  <c:v>0.14493437824568028</c:v>
                </c:pt>
                <c:pt idx="55">
                  <c:v>0.14723866834902455</c:v>
                </c:pt>
                <c:pt idx="56">
                  <c:v>0.16568929529867807</c:v>
                </c:pt>
                <c:pt idx="57">
                  <c:v>0.15792207792207794</c:v>
                </c:pt>
                <c:pt idx="58">
                  <c:v>0.1666922016240233</c:v>
                </c:pt>
                <c:pt idx="59">
                  <c:v>0.16105474685095328</c:v>
                </c:pt>
                <c:pt idx="60">
                  <c:v>0.17515145073865448</c:v>
                </c:pt>
                <c:pt idx="61">
                  <c:v>0.18491502481576177</c:v>
                </c:pt>
                <c:pt idx="62">
                  <c:v>0.18379191745485812</c:v>
                </c:pt>
                <c:pt idx="63">
                  <c:v>0.18938712578697162</c:v>
                </c:pt>
                <c:pt idx="64">
                  <c:v>0.17498773307163887</c:v>
                </c:pt>
                <c:pt idx="65">
                  <c:v>0.16728249916022842</c:v>
                </c:pt>
                <c:pt idx="66">
                  <c:v>0.15742730267869934</c:v>
                </c:pt>
                <c:pt idx="67">
                  <c:v>0.16017216201675505</c:v>
                </c:pt>
                <c:pt idx="68">
                  <c:v>0.14088159031979255</c:v>
                </c:pt>
                <c:pt idx="69">
                  <c:v>0.1369573330016171</c:v>
                </c:pt>
                <c:pt idx="70">
                  <c:v>0.1305445366029571</c:v>
                </c:pt>
                <c:pt idx="71">
                  <c:v>0.13758921490880255</c:v>
                </c:pt>
                <c:pt idx="72">
                  <c:v>0.13878487740065226</c:v>
                </c:pt>
                <c:pt idx="73">
                  <c:v>0.14861494026519628</c:v>
                </c:pt>
                <c:pt idx="74">
                  <c:v>0.15028248587570622</c:v>
                </c:pt>
                <c:pt idx="75">
                  <c:v>0.1395281516862064</c:v>
                </c:pt>
                <c:pt idx="76">
                  <c:v>0.14615981380915438</c:v>
                </c:pt>
                <c:pt idx="77">
                  <c:v>0.13737864077669903</c:v>
                </c:pt>
                <c:pt idx="78">
                  <c:v>0.14344927013876374</c:v>
                </c:pt>
                <c:pt idx="79">
                  <c:v>0.13620923913043478</c:v>
                </c:pt>
                <c:pt idx="80">
                  <c:v>0.1220852764823451</c:v>
                </c:pt>
                <c:pt idx="81">
                  <c:v>0.12071103761885077</c:v>
                </c:pt>
                <c:pt idx="82">
                  <c:v>0.12950410274705673</c:v>
                </c:pt>
                <c:pt idx="83">
                  <c:v>0.11986588432523052</c:v>
                </c:pt>
                <c:pt idx="84">
                  <c:v>0.12414080399916684</c:v>
                </c:pt>
                <c:pt idx="85">
                  <c:v>0.11991117690599556</c:v>
                </c:pt>
                <c:pt idx="86">
                  <c:v>0.12571277018963004</c:v>
                </c:pt>
                <c:pt idx="87">
                  <c:v>0.14543114543114544</c:v>
                </c:pt>
                <c:pt idx="88">
                  <c:v>0.1347056152565461</c:v>
                </c:pt>
                <c:pt idx="89">
                  <c:v>0.1289755754700404</c:v>
                </c:pt>
                <c:pt idx="90">
                  <c:v>0.12470287072590967</c:v>
                </c:pt>
                <c:pt idx="91">
                  <c:v>0.12860192102454643</c:v>
                </c:pt>
                <c:pt idx="92">
                  <c:v>0.13536881923804378</c:v>
                </c:pt>
                <c:pt idx="93">
                  <c:v>0.12579762989972654</c:v>
                </c:pt>
                <c:pt idx="94">
                  <c:v>0.12087595447341881</c:v>
                </c:pt>
                <c:pt idx="95">
                  <c:v>0.13340184994861254</c:v>
                </c:pt>
                <c:pt idx="96">
                  <c:v>0.12616476852536607</c:v>
                </c:pt>
                <c:pt idx="97">
                  <c:v>0.13153894870170996</c:v>
                </c:pt>
                <c:pt idx="98">
                  <c:v>0.14391063875935364</c:v>
                </c:pt>
                <c:pt idx="99">
                  <c:v>0.14492615983664942</c:v>
                </c:pt>
                <c:pt idx="100">
                  <c:v>0.15759652575150981</c:v>
                </c:pt>
                <c:pt idx="101">
                  <c:v>0.15528440478358527</c:v>
                </c:pt>
                <c:pt idx="102">
                  <c:v>0.1412722483837497</c:v>
                </c:pt>
                <c:pt idx="103">
                  <c:v>0.17290965207631875</c:v>
                </c:pt>
                <c:pt idx="104">
                  <c:v>0.1692753623188405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85.9583</c:v>
                </c:pt>
                <c:pt idx="1">
                  <c:v>1252.8611</c:v>
                </c:pt>
                <c:pt idx="2">
                  <c:v>1239.1231</c:v>
                </c:pt>
                <c:pt idx="3">
                  <c:v>1298.5253</c:v>
                </c:pt>
                <c:pt idx="4">
                  <c:v>1271.274</c:v>
                </c:pt>
                <c:pt idx="5">
                  <c:v>1275.2647</c:v>
                </c:pt>
                <c:pt idx="6">
                  <c:v>1236.2908</c:v>
                </c:pt>
                <c:pt idx="7">
                  <c:v>1293.1101</c:v>
                </c:pt>
                <c:pt idx="8">
                  <c:v>1388.8079</c:v>
                </c:pt>
                <c:pt idx="9">
                  <c:v>1325.8825</c:v>
                </c:pt>
                <c:pt idx="10">
                  <c:v>1354.1596</c:v>
                </c:pt>
                <c:pt idx="11">
                  <c:v>1286.4732</c:v>
                </c:pt>
                <c:pt idx="12">
                  <c:v>1313.19</c:v>
                </c:pt>
                <c:pt idx="13">
                  <c:v>1330.0507</c:v>
                </c:pt>
                <c:pt idx="14">
                  <c:v>1326.6793</c:v>
                </c:pt>
                <c:pt idx="15">
                  <c:v>1331.6044</c:v>
                </c:pt>
                <c:pt idx="16">
                  <c:v>1348.172</c:v>
                </c:pt>
                <c:pt idx="17">
                  <c:v>1292.5682</c:v>
                </c:pt>
                <c:pt idx="18">
                  <c:v>1357.67</c:v>
                </c:pt>
                <c:pt idx="19">
                  <c:v>1413.762</c:v>
                </c:pt>
                <c:pt idx="20">
                  <c:v>1395.0141</c:v>
                </c:pt>
                <c:pt idx="21">
                  <c:v>1334.9662</c:v>
                </c:pt>
                <c:pt idx="22">
                  <c:v>1296.4947</c:v>
                </c:pt>
                <c:pt idx="23">
                  <c:v>1264.7271</c:v>
                </c:pt>
                <c:pt idx="24">
                  <c:v>1257.4387</c:v>
                </c:pt>
                <c:pt idx="25">
                  <c:v>1226.5543</c:v>
                </c:pt>
                <c:pt idx="26">
                  <c:v>1259.4172</c:v>
                </c:pt>
                <c:pt idx="27">
                  <c:v>1306.7853</c:v>
                </c:pt>
                <c:pt idx="28">
                  <c:v>1355.0993</c:v>
                </c:pt>
                <c:pt idx="29">
                  <c:v>1357.6063</c:v>
                </c:pt>
                <c:pt idx="30">
                  <c:v>1356.4524</c:v>
                </c:pt>
                <c:pt idx="31">
                  <c:v>1273.339</c:v>
                </c:pt>
                <c:pt idx="32">
                  <c:v>1269.1895</c:v>
                </c:pt>
                <c:pt idx="33">
                  <c:v>1322.5632</c:v>
                </c:pt>
                <c:pt idx="34">
                  <c:v>1371.088</c:v>
                </c:pt>
                <c:pt idx="35">
                  <c:v>1335.1645</c:v>
                </c:pt>
                <c:pt idx="36">
                  <c:v>1293.5605</c:v>
                </c:pt>
                <c:pt idx="37">
                  <c:v>1381.5007</c:v>
                </c:pt>
                <c:pt idx="38">
                  <c:v>1393.0722</c:v>
                </c:pt>
                <c:pt idx="39">
                  <c:v>1384.3333</c:v>
                </c:pt>
                <c:pt idx="40">
                  <c:v>1385.6782</c:v>
                </c:pt>
                <c:pt idx="41">
                  <c:v>1424.401</c:v>
                </c:pt>
                <c:pt idx="42">
                  <c:v>1422.6433</c:v>
                </c:pt>
                <c:pt idx="43">
                  <c:v>1418.6502</c:v>
                </c:pt>
                <c:pt idx="44">
                  <c:v>1357.4955</c:v>
                </c:pt>
                <c:pt idx="45">
                  <c:v>1298.8749</c:v>
                </c:pt>
                <c:pt idx="46">
                  <c:v>1274.1274</c:v>
                </c:pt>
                <c:pt idx="47">
                  <c:v>1258.9349</c:v>
                </c:pt>
                <c:pt idx="48">
                  <c:v>1216.367</c:v>
                </c:pt>
                <c:pt idx="49">
                  <c:v>1216.263</c:v>
                </c:pt>
                <c:pt idx="50">
                  <c:v>1132.1702</c:v>
                </c:pt>
                <c:pt idx="51">
                  <c:v>1141.0933</c:v>
                </c:pt>
              </c:numCache>
            </c:numRef>
          </c:xVal>
          <c:yVal>
            <c:numRef>
              <c:f>Sheet1!$B$109:$B$160</c:f>
              <c:numCache>
                <c:formatCode>General</c:formatCode>
                <c:ptCount val="52"/>
                <c:pt idx="0">
                  <c:v>0.1541166577478786</c:v>
                </c:pt>
                <c:pt idx="1">
                  <c:v>0.1648675171736997</c:v>
                </c:pt>
                <c:pt idx="2">
                  <c:v>0.16437189496096521</c:v>
                </c:pt>
                <c:pt idx="3">
                  <c:v>0.16784223405786672</c:v>
                </c:pt>
                <c:pt idx="4">
                  <c:v>0.16508204263149823</c:v>
                </c:pt>
                <c:pt idx="5">
                  <c:v>0.160546282245827</c:v>
                </c:pt>
                <c:pt idx="6">
                  <c:v>0.15580286168521462</c:v>
                </c:pt>
                <c:pt idx="7">
                  <c:v>0.16119971912930084</c:v>
                </c:pt>
                <c:pt idx="8">
                  <c:v>0.16118900729108246</c:v>
                </c:pt>
                <c:pt idx="9">
                  <c:v>0.17793417922283902</c:v>
                </c:pt>
                <c:pt idx="10">
                  <c:v>0.16633132126089872</c:v>
                </c:pt>
                <c:pt idx="11">
                  <c:v>0.15987482614742698</c:v>
                </c:pt>
                <c:pt idx="12">
                  <c:v>0.15854141894569956</c:v>
                </c:pt>
                <c:pt idx="13">
                  <c:v>0.16072177926982795</c:v>
                </c:pt>
                <c:pt idx="14">
                  <c:v>0.16202625942825216</c:v>
                </c:pt>
                <c:pt idx="15">
                  <c:v>0.15814840847474645</c:v>
                </c:pt>
                <c:pt idx="16">
                  <c:v>0.1462153267512929</c:v>
                </c:pt>
                <c:pt idx="17">
                  <c:v>0.14662112710417174</c:v>
                </c:pt>
                <c:pt idx="18">
                  <c:v>0.13117621337997376</c:v>
                </c:pt>
                <c:pt idx="19">
                  <c:v>0.14606437652150392</c:v>
                </c:pt>
                <c:pt idx="20">
                  <c:v>0.14379288833437304</c:v>
                </c:pt>
                <c:pt idx="21">
                  <c:v>0.14924256592481766</c:v>
                </c:pt>
                <c:pt idx="22">
                  <c:v>0.156353591160221</c:v>
                </c:pt>
                <c:pt idx="23">
                  <c:v>0.16745886654478975</c:v>
                </c:pt>
                <c:pt idx="24">
                  <c:v>0.16643812135755914</c:v>
                </c:pt>
                <c:pt idx="25">
                  <c:v>0.17317158931082982</c:v>
                </c:pt>
                <c:pt idx="26">
                  <c:v>0.16548223350253807</c:v>
                </c:pt>
                <c:pt idx="27">
                  <c:v>0.14224336351081787</c:v>
                </c:pt>
                <c:pt idx="28">
                  <c:v>0.1382348692763253</c:v>
                </c:pt>
                <c:pt idx="29">
                  <c:v>0.14395662060521253</c:v>
                </c:pt>
                <c:pt idx="30">
                  <c:v>0.14962593516209477</c:v>
                </c:pt>
                <c:pt idx="31">
                  <c:v>0.14123957091775924</c:v>
                </c:pt>
                <c:pt idx="32">
                  <c:v>0.14424460431654676</c:v>
                </c:pt>
                <c:pt idx="33">
                  <c:v>0.15920608108108109</c:v>
                </c:pt>
                <c:pt idx="34">
                  <c:v>0.1731679108400799</c:v>
                </c:pt>
                <c:pt idx="35">
                  <c:v>0.18076202373516553</c:v>
                </c:pt>
                <c:pt idx="36">
                  <c:v>0.16656057712709527</c:v>
                </c:pt>
                <c:pt idx="37">
                  <c:v>0.14589261999620565</c:v>
                </c:pt>
                <c:pt idx="38">
                  <c:v>0.14241960183767227</c:v>
                </c:pt>
                <c:pt idx="39">
                  <c:v>0.15253441802252815</c:v>
                </c:pt>
                <c:pt idx="40">
                  <c:v>0.1427690410114092</c:v>
                </c:pt>
                <c:pt idx="41">
                  <c:v>0.14487530632838402</c:v>
                </c:pt>
                <c:pt idx="42">
                  <c:v>0.14507941706238742</c:v>
                </c:pt>
                <c:pt idx="43">
                  <c:v>0.14091743119266056</c:v>
                </c:pt>
                <c:pt idx="44">
                  <c:v>0.1319726543148717</c:v>
                </c:pt>
                <c:pt idx="45">
                  <c:v>0.14151210533767522</c:v>
                </c:pt>
                <c:pt idx="46">
                  <c:v>0.1411833626244874</c:v>
                </c:pt>
                <c:pt idx="47">
                  <c:v>0.14124683689901082</c:v>
                </c:pt>
                <c:pt idx="48">
                  <c:v>0.12496828216188785</c:v>
                </c:pt>
                <c:pt idx="49">
                  <c:v>0.1396714953804038</c:v>
                </c:pt>
                <c:pt idx="50">
                  <c:v>0.16539307414172288</c:v>
                </c:pt>
                <c:pt idx="51">
                  <c:v>0.1565159128978224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71.40865991078516</c:v>
                </c:pt>
              </c:numCache>
            </c:numRef>
          </c:xVal>
          <c:yVal>
            <c:numRef>
              <c:f>Sheet1!$B$163:$B$164</c:f>
              <c:numCache>
                <c:formatCode>General</c:formatCode>
                <c:ptCount val="2"/>
                <c:pt idx="0">
                  <c:v>0.19172892764333477</c:v>
                </c:pt>
                <c:pt idx="1">
                  <c:v>0.1917289276433347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71.40865991078516</c:v>
                </c:pt>
                <c:pt idx="1">
                  <c:v>471.40865991078516</c:v>
                </c:pt>
              </c:numCache>
            </c:numRef>
          </c:xVal>
          <c:yVal>
            <c:numRef>
              <c:f>Sheet1!$B$167:$B$168</c:f>
              <c:numCache>
                <c:formatCode>General</c:formatCode>
                <c:ptCount val="2"/>
                <c:pt idx="0">
                  <c:v>0.1917289276433347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33.65989326259</c:v>
                </c:pt>
              </c:numCache>
            </c:numRef>
          </c:xVal>
          <c:yVal>
            <c:numRef>
              <c:f>Sheet1!$B$171:$B$172</c:f>
              <c:numCache>
                <c:formatCode>General</c:formatCode>
                <c:ptCount val="2"/>
                <c:pt idx="0">
                  <c:v>0.16166869076925927</c:v>
                </c:pt>
                <c:pt idx="1">
                  <c:v>0.1616686907692592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33.65989326259</c:v>
                </c:pt>
                <c:pt idx="1">
                  <c:v>1133.65989326259</c:v>
                </c:pt>
              </c:numCache>
            </c:numRef>
          </c:xVal>
          <c:yVal>
            <c:numRef>
              <c:f>Sheet1!$B$175:$B$176</c:f>
              <c:numCache>
                <c:formatCode>General</c:formatCode>
                <c:ptCount val="2"/>
                <c:pt idx="0">
                  <c:v>0.1616686907692592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528.6106227496675</c:v>
                </c:pt>
              </c:numCache>
            </c:numRef>
          </c:xVal>
          <c:yVal>
            <c:numRef>
              <c:f>Sheet1!$B$179:$B$180</c:f>
              <c:numCache>
                <c:formatCode>General</c:formatCode>
                <c:ptCount val="2"/>
                <c:pt idx="0">
                  <c:v>0.14374148749040394</c:v>
                </c:pt>
                <c:pt idx="1">
                  <c:v>0.1437414874904039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528.6106227496675</c:v>
                </c:pt>
                <c:pt idx="1">
                  <c:v>1528.6106227496675</c:v>
                </c:pt>
              </c:numCache>
            </c:numRef>
          </c:xVal>
          <c:yVal>
            <c:numRef>
              <c:f>Sheet1!$B$183:$B$184</c:f>
              <c:numCache>
                <c:formatCode>General</c:formatCode>
                <c:ptCount val="2"/>
                <c:pt idx="0">
                  <c:v>0.1437414874904039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85.9583</c:v>
                </c:pt>
                <c:pt idx="1">
                  <c:v>1252.8611</c:v>
                </c:pt>
                <c:pt idx="2">
                  <c:v>1239.1231</c:v>
                </c:pt>
                <c:pt idx="3">
                  <c:v>1298.5253</c:v>
                </c:pt>
                <c:pt idx="4">
                  <c:v>1271.274</c:v>
                </c:pt>
                <c:pt idx="5">
                  <c:v>1275.2647</c:v>
                </c:pt>
                <c:pt idx="6">
                  <c:v>1236.2908</c:v>
                </c:pt>
                <c:pt idx="7">
                  <c:v>1293.1101</c:v>
                </c:pt>
                <c:pt idx="8">
                  <c:v>1388.8079</c:v>
                </c:pt>
                <c:pt idx="9">
                  <c:v>1325.8825</c:v>
                </c:pt>
                <c:pt idx="10">
                  <c:v>1354.1596</c:v>
                </c:pt>
                <c:pt idx="11">
                  <c:v>1286.4732</c:v>
                </c:pt>
                <c:pt idx="12">
                  <c:v>1313.19</c:v>
                </c:pt>
                <c:pt idx="13">
                  <c:v>1330.0507</c:v>
                </c:pt>
                <c:pt idx="14">
                  <c:v>1326.6793</c:v>
                </c:pt>
                <c:pt idx="15">
                  <c:v>1331.6044</c:v>
                </c:pt>
                <c:pt idx="16">
                  <c:v>1348.172</c:v>
                </c:pt>
                <c:pt idx="17">
                  <c:v>1292.5682</c:v>
                </c:pt>
                <c:pt idx="18">
                  <c:v>1357.67</c:v>
                </c:pt>
                <c:pt idx="19">
                  <c:v>1413.762</c:v>
                </c:pt>
                <c:pt idx="20">
                  <c:v>1395.0141</c:v>
                </c:pt>
                <c:pt idx="21">
                  <c:v>1334.9662</c:v>
                </c:pt>
                <c:pt idx="22">
                  <c:v>1296.4947</c:v>
                </c:pt>
                <c:pt idx="23">
                  <c:v>1264.7271</c:v>
                </c:pt>
                <c:pt idx="24">
                  <c:v>1257.4387</c:v>
                </c:pt>
                <c:pt idx="25">
                  <c:v>1226.5543</c:v>
                </c:pt>
                <c:pt idx="26">
                  <c:v>1259.4172</c:v>
                </c:pt>
                <c:pt idx="27">
                  <c:v>1306.7853</c:v>
                </c:pt>
                <c:pt idx="28">
                  <c:v>1355.0993</c:v>
                </c:pt>
                <c:pt idx="29">
                  <c:v>1357.6063</c:v>
                </c:pt>
                <c:pt idx="30">
                  <c:v>1356.4524</c:v>
                </c:pt>
                <c:pt idx="31">
                  <c:v>1273.339</c:v>
                </c:pt>
                <c:pt idx="32">
                  <c:v>1269.1895</c:v>
                </c:pt>
                <c:pt idx="33">
                  <c:v>1322.5632</c:v>
                </c:pt>
                <c:pt idx="34">
                  <c:v>1371.088</c:v>
                </c:pt>
                <c:pt idx="35">
                  <c:v>1335.1645</c:v>
                </c:pt>
                <c:pt idx="36">
                  <c:v>1293.5605</c:v>
                </c:pt>
                <c:pt idx="37">
                  <c:v>1381.5007</c:v>
                </c:pt>
                <c:pt idx="38">
                  <c:v>1393.0722</c:v>
                </c:pt>
                <c:pt idx="39">
                  <c:v>1384.3333</c:v>
                </c:pt>
                <c:pt idx="40">
                  <c:v>1385.6782</c:v>
                </c:pt>
                <c:pt idx="41">
                  <c:v>1424.401</c:v>
                </c:pt>
                <c:pt idx="42">
                  <c:v>1422.6433</c:v>
                </c:pt>
                <c:pt idx="43">
                  <c:v>1418.6502</c:v>
                </c:pt>
                <c:pt idx="44">
                  <c:v>1357.4955</c:v>
                </c:pt>
                <c:pt idx="45">
                  <c:v>1298.8749</c:v>
                </c:pt>
                <c:pt idx="46">
                  <c:v>1274.1274</c:v>
                </c:pt>
                <c:pt idx="47">
                  <c:v>1258.9349</c:v>
                </c:pt>
                <c:pt idx="48">
                  <c:v>1216.367</c:v>
                </c:pt>
                <c:pt idx="49">
                  <c:v>1216.263</c:v>
                </c:pt>
                <c:pt idx="50">
                  <c:v>1132.1702</c:v>
                </c:pt>
                <c:pt idx="51">
                  <c:v>1141.0933</c:v>
                </c:pt>
                <c:pt idx="52">
                  <c:v>1133.65989326259</c:v>
                </c:pt>
                <c:pt idx="53">
                  <c:v>471.40865991078516</c:v>
                </c:pt>
                <c:pt idx="54">
                  <c:v>1528.6106227496675</c:v>
                </c:pt>
              </c:numCache>
            </c:numRef>
          </c:xVal>
          <c:yVal>
            <c:numRef>
              <c:f>Sheet1!$B$187:$B$241</c:f>
              <c:numCache>
                <c:formatCode>General</c:formatCode>
                <c:ptCount val="55"/>
                <c:pt idx="0">
                  <c:v>0.15475571582635145</c:v>
                </c:pt>
                <c:pt idx="1">
                  <c:v>0.15625803038880712</c:v>
                </c:pt>
                <c:pt idx="2">
                  <c:v>0.1568816117630326</c:v>
                </c:pt>
                <c:pt idx="3">
                  <c:v>0.15418528729746137</c:v>
                </c:pt>
                <c:pt idx="4">
                  <c:v>0.15542225069121818</c:v>
                </c:pt>
                <c:pt idx="5">
                  <c:v>0.15524110888090215</c:v>
                </c:pt>
                <c:pt idx="6">
                  <c:v>0.15701017265444467</c:v>
                </c:pt>
                <c:pt idx="7">
                  <c:v>0.1544310885682217</c:v>
                </c:pt>
                <c:pt idx="8">
                  <c:v>0.1500872710085801</c:v>
                </c:pt>
                <c:pt idx="9">
                  <c:v>0.15294351699822117</c:v>
                </c:pt>
                <c:pt idx="10">
                  <c:v>0.15165999153038656</c:v>
                </c:pt>
                <c:pt idx="11">
                  <c:v>0.15473234400733932</c:v>
                </c:pt>
                <c:pt idx="12">
                  <c:v>0.1535196420959324</c:v>
                </c:pt>
                <c:pt idx="13">
                  <c:v>0.15275431828777958</c:v>
                </c:pt>
                <c:pt idx="14">
                  <c:v>0.15290734946008003</c:v>
                </c:pt>
                <c:pt idx="15">
                  <c:v>0.15268379431186357</c:v>
                </c:pt>
                <c:pt idx="16">
                  <c:v>0.1519317746018899</c:v>
                </c:pt>
                <c:pt idx="17">
                  <c:v>0.15445568594387268</c:v>
                </c:pt>
                <c:pt idx="18">
                  <c:v>0.1515006510109455</c:v>
                </c:pt>
                <c:pt idx="19">
                  <c:v>0.1489545797892934</c:v>
                </c:pt>
                <c:pt idx="20">
                  <c:v>0.14980556546740098</c:v>
                </c:pt>
                <c:pt idx="21">
                  <c:v>0.15253119889303465</c:v>
                </c:pt>
                <c:pt idx="22">
                  <c:v>0.15427745823489783</c:v>
                </c:pt>
                <c:pt idx="23">
                  <c:v>0.1557194209415397</c:v>
                </c:pt>
                <c:pt idx="24">
                  <c:v>0.1560502486084421</c:v>
                </c:pt>
                <c:pt idx="25">
                  <c:v>0.1574521219956986</c:v>
                </c:pt>
                <c:pt idx="26">
                  <c:v>0.15596044254140867</c:v>
                </c:pt>
                <c:pt idx="27">
                  <c:v>0.15381035774795615</c:v>
                </c:pt>
                <c:pt idx="28">
                  <c:v>0.151617337620257</c:v>
                </c:pt>
                <c:pt idx="29">
                  <c:v>0.1515035424167934</c:v>
                </c:pt>
                <c:pt idx="30">
                  <c:v>0.15155591907625757</c:v>
                </c:pt>
                <c:pt idx="31">
                  <c:v>0.1553285183038419</c:v>
                </c:pt>
                <c:pt idx="32">
                  <c:v>0.15551686820283364</c:v>
                </c:pt>
                <c:pt idx="33">
                  <c:v>0.1530941833001186</c:v>
                </c:pt>
                <c:pt idx="34">
                  <c:v>0.15089159475243935</c:v>
                </c:pt>
                <c:pt idx="35">
                  <c:v>0.15252219786038734</c:v>
                </c:pt>
                <c:pt idx="36">
                  <c:v>0.15441064446784677</c:v>
                </c:pt>
                <c:pt idx="37">
                  <c:v>0.150418952026031</c:v>
                </c:pt>
                <c:pt idx="38">
                  <c:v>0.14989371022432402</c:v>
                </c:pt>
                <c:pt idx="39">
                  <c:v>0.15029037751732294</c:v>
                </c:pt>
                <c:pt idx="40">
                  <c:v>0.15022933117941378</c:v>
                </c:pt>
                <c:pt idx="41">
                  <c:v>0.14847166508261228</c:v>
                </c:pt>
                <c:pt idx="42">
                  <c:v>0.14855144881979937</c:v>
                </c:pt>
                <c:pt idx="43">
                  <c:v>0.1487326995684833</c:v>
                </c:pt>
                <c:pt idx="44">
                  <c:v>0.15150857173811122</c:v>
                </c:pt>
                <c:pt idx="45">
                  <c:v>0.154169418608538</c:v>
                </c:pt>
                <c:pt idx="46">
                  <c:v>0.1552927320499884</c:v>
                </c:pt>
                <c:pt idx="47">
                  <c:v>0.1559823346142569</c:v>
                </c:pt>
                <c:pt idx="48">
                  <c:v>0.15791453359372215</c:v>
                </c:pt>
                <c:pt idx="49">
                  <c:v>0.15791925425633094</c:v>
                </c:pt>
                <c:pt idx="50">
                  <c:v>0.16173630941621372</c:v>
                </c:pt>
                <c:pt idx="51">
                  <c:v>0.16133128110347889</c:v>
                </c:pt>
                <c:pt idx="52">
                  <c:v>0.16166869076925927</c:v>
                </c:pt>
                <c:pt idx="53">
                  <c:v>0.19172892764333477</c:v>
                </c:pt>
                <c:pt idx="54">
                  <c:v>0.1437414874904039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34.0"/>
          <c:min val="37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4833023103032956"/>
          <c:min val="0.091789473684210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25917447237222796</c:v>
                </c:pt>
                <c:pt idx="1">
                  <c:v>0.2928498626397709</c:v>
                </c:pt>
                <c:pt idx="2">
                  <c:v>0.29021974746193524</c:v>
                </c:pt>
                <c:pt idx="3">
                  <c:v>0.2763296881548085</c:v>
                </c:pt>
                <c:pt idx="4">
                  <c:v>0.268504566871055</c:v>
                </c:pt>
                <c:pt idx="5">
                  <c:v>0.22368849040187885</c:v>
                </c:pt>
                <c:pt idx="6">
                  <c:v>0.22253492554784168</c:v>
                </c:pt>
                <c:pt idx="7">
                  <c:v>0.2527677557286837</c:v>
                </c:pt>
                <c:pt idx="8">
                  <c:v>0.21667349486581544</c:v>
                </c:pt>
                <c:pt idx="9">
                  <c:v>0.24621156998995952</c:v>
                </c:pt>
                <c:pt idx="10">
                  <c:v>0.23488103280191103</c:v>
                </c:pt>
                <c:pt idx="11">
                  <c:v>0.23835568716251523</c:v>
                </c:pt>
                <c:pt idx="12">
                  <c:v>0.23009485032102955</c:v>
                </c:pt>
                <c:pt idx="13">
                  <c:v>0.24479272083957476</c:v>
                </c:pt>
                <c:pt idx="14">
                  <c:v>0.274791911911082</c:v>
                </c:pt>
                <c:pt idx="15">
                  <c:v>0.2576052641255044</c:v>
                </c:pt>
                <c:pt idx="16">
                  <c:v>0.2686076235751217</c:v>
                </c:pt>
                <c:pt idx="17">
                  <c:v>0.27928462274192317</c:v>
                </c:pt>
                <c:pt idx="18">
                  <c:v>0.3349044501866207</c:v>
                </c:pt>
                <c:pt idx="19">
                  <c:v>0.328050358162751</c:v>
                </c:pt>
                <c:pt idx="20">
                  <c:v>0.3205428498948789</c:v>
                </c:pt>
                <c:pt idx="21">
                  <c:v>0.3083937676971082</c:v>
                </c:pt>
                <c:pt idx="22">
                  <c:v>0.2890989236494644</c:v>
                </c:pt>
                <c:pt idx="23">
                  <c:v>0.3043455027032426</c:v>
                </c:pt>
                <c:pt idx="24">
                  <c:v>0.2541046852204361</c:v>
                </c:pt>
                <c:pt idx="25">
                  <c:v>0.2468501356749061</c:v>
                </c:pt>
                <c:pt idx="26">
                  <c:v>0.2680926035223906</c:v>
                </c:pt>
                <c:pt idx="27">
                  <c:v>0.22231123798246524</c:v>
                </c:pt>
                <c:pt idx="28">
                  <c:v>0.20381076261575098</c:v>
                </c:pt>
                <c:pt idx="29">
                  <c:v>0.2034936331555228</c:v>
                </c:pt>
                <c:pt idx="30">
                  <c:v>0.22819260928228288</c:v>
                </c:pt>
                <c:pt idx="31">
                  <c:v>0.19851218885772487</c:v>
                </c:pt>
                <c:pt idx="32">
                  <c:v>0.1938433638207658</c:v>
                </c:pt>
                <c:pt idx="33">
                  <c:v>0.18081200793181693</c:v>
                </c:pt>
                <c:pt idx="34">
                  <c:v>0.16713217549164308</c:v>
                </c:pt>
                <c:pt idx="35">
                  <c:v>0.19792912199975876</c:v>
                </c:pt>
                <c:pt idx="36">
                  <c:v>0.23386018872289557</c:v>
                </c:pt>
                <c:pt idx="37">
                  <c:v>0.1998341085151315</c:v>
                </c:pt>
                <c:pt idx="38">
                  <c:v>0.2218896686668866</c:v>
                </c:pt>
                <c:pt idx="39">
                  <c:v>0.18759068112367625</c:v>
                </c:pt>
                <c:pt idx="40">
                  <c:v>0.217915314895083</c:v>
                </c:pt>
                <c:pt idx="41">
                  <c:v>0.1948346686139284</c:v>
                </c:pt>
                <c:pt idx="42">
                  <c:v>0.22898206140518554</c:v>
                </c:pt>
                <c:pt idx="43">
                  <c:v>0.24513977054804753</c:v>
                </c:pt>
                <c:pt idx="44">
                  <c:v>0.23084646831890862</c:v>
                </c:pt>
                <c:pt idx="45">
                  <c:v>0.19812330271124523</c:v>
                </c:pt>
                <c:pt idx="46">
                  <c:v>0.18422410824036747</c:v>
                </c:pt>
                <c:pt idx="47">
                  <c:v>0.180582416383937</c:v>
                </c:pt>
                <c:pt idx="48">
                  <c:v>0.18873514329530533</c:v>
                </c:pt>
                <c:pt idx="49">
                  <c:v>0.21945828472657888</c:v>
                </c:pt>
                <c:pt idx="50">
                  <c:v>0.1692338790098755</c:v>
                </c:pt>
                <c:pt idx="51">
                  <c:v>0.17457989102603524</c:v>
                </c:pt>
                <c:pt idx="52">
                  <c:v>0.16898713274522134</c:v>
                </c:pt>
                <c:pt idx="53">
                  <c:v>0.19102470821877776</c:v>
                </c:pt>
                <c:pt idx="54">
                  <c:v>0.19472697477590242</c:v>
                </c:pt>
                <c:pt idx="55">
                  <c:v>0.18633505441551845</c:v>
                </c:pt>
                <c:pt idx="56">
                  <c:v>0.18050385117668316</c:v>
                </c:pt>
                <c:pt idx="57">
                  <c:v>0.19101885012037212</c:v>
                </c:pt>
                <c:pt idx="58">
                  <c:v>0.19968514290681816</c:v>
                </c:pt>
                <c:pt idx="59">
                  <c:v>0.2042390993642061</c:v>
                </c:pt>
                <c:pt idx="60">
                  <c:v>0.17992187292427433</c:v>
                </c:pt>
                <c:pt idx="61">
                  <c:v>0.17169439559023394</c:v>
                </c:pt>
                <c:pt idx="62">
                  <c:v>0.15741134293430134</c:v>
                </c:pt>
                <c:pt idx="63">
                  <c:v>0.1720516914984047</c:v>
                </c:pt>
                <c:pt idx="64">
                  <c:v>0.16771151687487118</c:v>
                </c:pt>
                <c:pt idx="65">
                  <c:v>0.1539187372215902</c:v>
                </c:pt>
                <c:pt idx="66">
                  <c:v>0.15033079743420752</c:v>
                </c:pt>
                <c:pt idx="67">
                  <c:v>0.14939386739380814</c:v>
                </c:pt>
                <c:pt idx="68">
                  <c:v>0.15494479727211594</c:v>
                </c:pt>
                <c:pt idx="69">
                  <c:v>0.1481961520360989</c:v>
                </c:pt>
                <c:pt idx="70">
                  <c:v>0.1629661392555922</c:v>
                </c:pt>
                <c:pt idx="71">
                  <c:v>0.1493861860621813</c:v>
                </c:pt>
                <c:pt idx="72">
                  <c:v>0.1480261214964345</c:v>
                </c:pt>
                <c:pt idx="73">
                  <c:v>0.1704474224764161</c:v>
                </c:pt>
                <c:pt idx="74">
                  <c:v>0.1456864326621045</c:v>
                </c:pt>
                <c:pt idx="75">
                  <c:v>0.16341414840369256</c:v>
                </c:pt>
                <c:pt idx="76">
                  <c:v>0.15693703142298612</c:v>
                </c:pt>
                <c:pt idx="77">
                  <c:v>0.15363714656457508</c:v>
                </c:pt>
                <c:pt idx="78">
                  <c:v>0.15023798624643572</c:v>
                </c:pt>
                <c:pt idx="79">
                  <c:v>0.15209624956161777</c:v>
                </c:pt>
                <c:pt idx="80">
                  <c:v>0.1407566678408143</c:v>
                </c:pt>
                <c:pt idx="81">
                  <c:v>0.16790845419916284</c:v>
                </c:pt>
                <c:pt idx="82">
                  <c:v>0.15789621634576953</c:v>
                </c:pt>
                <c:pt idx="83">
                  <c:v>0.15372102445118005</c:v>
                </c:pt>
                <c:pt idx="84">
                  <c:v>0.1398390230490587</c:v>
                </c:pt>
                <c:pt idx="85">
                  <c:v>0.12798399569537688</c:v>
                </c:pt>
                <c:pt idx="86">
                  <c:v>0.1362906886814239</c:v>
                </c:pt>
                <c:pt idx="87">
                  <c:v>0.13024212467957916</c:v>
                </c:pt>
                <c:pt idx="88">
                  <c:v>0.16004567678507478</c:v>
                </c:pt>
                <c:pt idx="89">
                  <c:v>0.1478779318001705</c:v>
                </c:pt>
                <c:pt idx="90">
                  <c:v>0.14744911784191406</c:v>
                </c:pt>
                <c:pt idx="91">
                  <c:v>0.15232742486488998</c:v>
                </c:pt>
                <c:pt idx="92">
                  <c:v>0.1475681378692916</c:v>
                </c:pt>
                <c:pt idx="93">
                  <c:v>0.13593503308330726</c:v>
                </c:pt>
                <c:pt idx="94">
                  <c:v>0.14198639973414826</c:v>
                </c:pt>
                <c:pt idx="95">
                  <c:v>0.14363947750222122</c:v>
                </c:pt>
                <c:pt idx="96">
                  <c:v>0.12872616194621722</c:v>
                </c:pt>
                <c:pt idx="97">
                  <c:v>0.1469727196886491</c:v>
                </c:pt>
                <c:pt idx="98">
                  <c:v>0.1399248110938751</c:v>
                </c:pt>
                <c:pt idx="99">
                  <c:v>0.14134826675619971</c:v>
                </c:pt>
                <c:pt idx="100">
                  <c:v>0.14427366356806298</c:v>
                </c:pt>
                <c:pt idx="101">
                  <c:v>0.15396791421001305</c:v>
                </c:pt>
                <c:pt idx="102">
                  <c:v>0.15689663174849333</c:v>
                </c:pt>
                <c:pt idx="103">
                  <c:v>0.11208698728555255</c:v>
                </c:pt>
                <c:pt idx="104">
                  <c:v>0.13040172701640115</c:v>
                </c:pt>
              </c:numCache>
            </c:numRef>
          </c:xVal>
          <c:yVal>
            <c:numRef>
              <c:f>Sheet1!$B$2:$B$106</c:f>
              <c:numCache>
                <c:formatCode>General</c:formatCode>
                <c:ptCount val="105"/>
                <c:pt idx="0">
                  <c:v>0.18318950396407774</c:v>
                </c:pt>
                <c:pt idx="1">
                  <c:v>0.1894130064138995</c:v>
                </c:pt>
                <c:pt idx="2">
                  <c:v>0.18580307491004253</c:v>
                </c:pt>
                <c:pt idx="3">
                  <c:v>0.19294425087108014</c:v>
                </c:pt>
                <c:pt idx="4">
                  <c:v>0.1953978159126365</c:v>
                </c:pt>
                <c:pt idx="5">
                  <c:v>0.18869035931670922</c:v>
                </c:pt>
                <c:pt idx="6">
                  <c:v>0.19158136251323685</c:v>
                </c:pt>
                <c:pt idx="7">
                  <c:v>0.1915991156963891</c:v>
                </c:pt>
                <c:pt idx="8">
                  <c:v>0.2069418591919413</c:v>
                </c:pt>
                <c:pt idx="9">
                  <c:v>0.17738743196437406</c:v>
                </c:pt>
                <c:pt idx="10">
                  <c:v>0.1837846629259169</c:v>
                </c:pt>
                <c:pt idx="11">
                  <c:v>0.19010416666666666</c:v>
                </c:pt>
                <c:pt idx="12">
                  <c:v>0.18986083499005965</c:v>
                </c:pt>
                <c:pt idx="13">
                  <c:v>0.19203709625839463</c:v>
                </c:pt>
                <c:pt idx="14">
                  <c:v>0.18110172245693856</c:v>
                </c:pt>
                <c:pt idx="15">
                  <c:v>0.19173005656329237</c:v>
                </c:pt>
                <c:pt idx="16">
                  <c:v>0.1762860024655385</c:v>
                </c:pt>
                <c:pt idx="17">
                  <c:v>0.1853330007483163</c:v>
                </c:pt>
                <c:pt idx="18">
                  <c:v>0.16478329280503504</c:v>
                </c:pt>
                <c:pt idx="19">
                  <c:v>0.15008403361344538</c:v>
                </c:pt>
                <c:pt idx="20">
                  <c:v>0.15491638795986623</c:v>
                </c:pt>
                <c:pt idx="21">
                  <c:v>0.15585738539898134</c:v>
                </c:pt>
                <c:pt idx="22">
                  <c:v>0.1469217970049917</c:v>
                </c:pt>
                <c:pt idx="23">
                  <c:v>0.14541348158443362</c:v>
                </c:pt>
                <c:pt idx="24">
                  <c:v>0.15485943775100403</c:v>
                </c:pt>
                <c:pt idx="25">
                  <c:v>0.1540840458431872</c:v>
                </c:pt>
                <c:pt idx="26">
                  <c:v>0.15505652306752216</c:v>
                </c:pt>
                <c:pt idx="27">
                  <c:v>0.15271226415094338</c:v>
                </c:pt>
                <c:pt idx="28">
                  <c:v>0.15218730745532963</c:v>
                </c:pt>
                <c:pt idx="29">
                  <c:v>0.16263403904316745</c:v>
                </c:pt>
                <c:pt idx="30">
                  <c:v>0.14626609442060085</c:v>
                </c:pt>
                <c:pt idx="31">
                  <c:v>0.14021340446815606</c:v>
                </c:pt>
                <c:pt idx="32">
                  <c:v>0.1413080311758726</c:v>
                </c:pt>
                <c:pt idx="33">
                  <c:v>0.15084928552170396</c:v>
                </c:pt>
                <c:pt idx="34">
                  <c:v>0.1496590777764937</c:v>
                </c:pt>
                <c:pt idx="35">
                  <c:v>0.1492215344213093</c:v>
                </c:pt>
                <c:pt idx="36">
                  <c:v>0.13364722926475914</c:v>
                </c:pt>
                <c:pt idx="37">
                  <c:v>0.12736189239867302</c:v>
                </c:pt>
                <c:pt idx="38">
                  <c:v>0.11473684210526315</c:v>
                </c:pt>
                <c:pt idx="39">
                  <c:v>0.12917909276408726</c:v>
                </c:pt>
                <c:pt idx="40">
                  <c:v>0.1294477745185563</c:v>
                </c:pt>
                <c:pt idx="41">
                  <c:v>0.1314410480349345</c:v>
                </c:pt>
                <c:pt idx="42">
                  <c:v>0.13772893772893774</c:v>
                </c:pt>
                <c:pt idx="43">
                  <c:v>0.1395297977036632</c:v>
                </c:pt>
                <c:pt idx="44">
                  <c:v>0.14084204496634684</c:v>
                </c:pt>
                <c:pt idx="45">
                  <c:v>0.1541396413582602</c:v>
                </c:pt>
                <c:pt idx="46">
                  <c:v>0.16023516167365062</c:v>
                </c:pt>
                <c:pt idx="47">
                  <c:v>0.1565433991186051</c:v>
                </c:pt>
                <c:pt idx="48">
                  <c:v>0.1672272047832586</c:v>
                </c:pt>
                <c:pt idx="49">
                  <c:v>0.18160407383831953</c:v>
                </c:pt>
                <c:pt idx="50">
                  <c:v>0.1662672811059908</c:v>
                </c:pt>
                <c:pt idx="51">
                  <c:v>0.15697628922450896</c:v>
                </c:pt>
                <c:pt idx="52">
                  <c:v>0.16352160752238037</c:v>
                </c:pt>
                <c:pt idx="53">
                  <c:v>0.1539434837621257</c:v>
                </c:pt>
                <c:pt idx="54">
                  <c:v>0.14493437824568028</c:v>
                </c:pt>
                <c:pt idx="55">
                  <c:v>0.14723866834902455</c:v>
                </c:pt>
                <c:pt idx="56">
                  <c:v>0.16568929529867807</c:v>
                </c:pt>
                <c:pt idx="57">
                  <c:v>0.15792207792207794</c:v>
                </c:pt>
                <c:pt idx="58">
                  <c:v>0.1666922016240233</c:v>
                </c:pt>
                <c:pt idx="59">
                  <c:v>0.16105474685095328</c:v>
                </c:pt>
                <c:pt idx="60">
                  <c:v>0.17515145073865448</c:v>
                </c:pt>
                <c:pt idx="61">
                  <c:v>0.18491502481576177</c:v>
                </c:pt>
                <c:pt idx="62">
                  <c:v>0.18379191745485812</c:v>
                </c:pt>
                <c:pt idx="63">
                  <c:v>0.18938712578697162</c:v>
                </c:pt>
                <c:pt idx="64">
                  <c:v>0.17498773307163887</c:v>
                </c:pt>
                <c:pt idx="65">
                  <c:v>0.16728249916022842</c:v>
                </c:pt>
                <c:pt idx="66">
                  <c:v>0.15742730267869934</c:v>
                </c:pt>
                <c:pt idx="67">
                  <c:v>0.16017216201675505</c:v>
                </c:pt>
                <c:pt idx="68">
                  <c:v>0.14088159031979255</c:v>
                </c:pt>
                <c:pt idx="69">
                  <c:v>0.1369573330016171</c:v>
                </c:pt>
                <c:pt idx="70">
                  <c:v>0.1305445366029571</c:v>
                </c:pt>
                <c:pt idx="71">
                  <c:v>0.13758921490880255</c:v>
                </c:pt>
                <c:pt idx="72">
                  <c:v>0.13878487740065226</c:v>
                </c:pt>
                <c:pt idx="73">
                  <c:v>0.14861494026519628</c:v>
                </c:pt>
                <c:pt idx="74">
                  <c:v>0.15028248587570622</c:v>
                </c:pt>
                <c:pt idx="75">
                  <c:v>0.1395281516862064</c:v>
                </c:pt>
                <c:pt idx="76">
                  <c:v>0.14615981380915438</c:v>
                </c:pt>
                <c:pt idx="77">
                  <c:v>0.13737864077669903</c:v>
                </c:pt>
                <c:pt idx="78">
                  <c:v>0.14344927013876374</c:v>
                </c:pt>
                <c:pt idx="79">
                  <c:v>0.13620923913043478</c:v>
                </c:pt>
                <c:pt idx="80">
                  <c:v>0.1220852764823451</c:v>
                </c:pt>
                <c:pt idx="81">
                  <c:v>0.12071103761885077</c:v>
                </c:pt>
                <c:pt idx="82">
                  <c:v>0.12950410274705673</c:v>
                </c:pt>
                <c:pt idx="83">
                  <c:v>0.11986588432523052</c:v>
                </c:pt>
                <c:pt idx="84">
                  <c:v>0.12414080399916684</c:v>
                </c:pt>
                <c:pt idx="85">
                  <c:v>0.11991117690599556</c:v>
                </c:pt>
                <c:pt idx="86">
                  <c:v>0.12571277018963004</c:v>
                </c:pt>
                <c:pt idx="87">
                  <c:v>0.14543114543114544</c:v>
                </c:pt>
                <c:pt idx="88">
                  <c:v>0.1347056152565461</c:v>
                </c:pt>
                <c:pt idx="89">
                  <c:v>0.1289755754700404</c:v>
                </c:pt>
                <c:pt idx="90">
                  <c:v>0.12470287072590967</c:v>
                </c:pt>
                <c:pt idx="91">
                  <c:v>0.12860192102454643</c:v>
                </c:pt>
                <c:pt idx="92">
                  <c:v>0.13536881923804378</c:v>
                </c:pt>
                <c:pt idx="93">
                  <c:v>0.12579762989972654</c:v>
                </c:pt>
                <c:pt idx="94">
                  <c:v>0.12087595447341881</c:v>
                </c:pt>
                <c:pt idx="95">
                  <c:v>0.13340184994861254</c:v>
                </c:pt>
                <c:pt idx="96">
                  <c:v>0.12616476852536607</c:v>
                </c:pt>
                <c:pt idx="97">
                  <c:v>0.13153894870170996</c:v>
                </c:pt>
                <c:pt idx="98">
                  <c:v>0.14391063875935364</c:v>
                </c:pt>
                <c:pt idx="99">
                  <c:v>0.14492615983664942</c:v>
                </c:pt>
                <c:pt idx="100">
                  <c:v>0.15759652575150981</c:v>
                </c:pt>
                <c:pt idx="101">
                  <c:v>0.15528440478358527</c:v>
                </c:pt>
                <c:pt idx="102">
                  <c:v>0.1412722483837497</c:v>
                </c:pt>
                <c:pt idx="103">
                  <c:v>0.17290965207631875</c:v>
                </c:pt>
                <c:pt idx="104">
                  <c:v>0.1692753623188405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2420145220930981</c:v>
                </c:pt>
                <c:pt idx="1">
                  <c:v>0.1263820050162776</c:v>
                </c:pt>
                <c:pt idx="2">
                  <c:v>0.13519271880494355</c:v>
                </c:pt>
                <c:pt idx="3">
                  <c:v>0.14308683608354245</c:v>
                </c:pt>
                <c:pt idx="4">
                  <c:v>0.15342464311808698</c:v>
                </c:pt>
                <c:pt idx="5">
                  <c:v>0.16109897224398712</c:v>
                </c:pt>
                <c:pt idx="6">
                  <c:v>0.15742071465741772</c:v>
                </c:pt>
                <c:pt idx="7">
                  <c:v>0.15005780737211968</c:v>
                </c:pt>
                <c:pt idx="8">
                  <c:v>0.1808042656024549</c:v>
                </c:pt>
                <c:pt idx="9">
                  <c:v>0.16128570010723287</c:v>
                </c:pt>
                <c:pt idx="10">
                  <c:v>0.16753391954798982</c:v>
                </c:pt>
                <c:pt idx="11">
                  <c:v>0.16288091584510322</c:v>
                </c:pt>
                <c:pt idx="12">
                  <c:v>0.18168948432971607</c:v>
                </c:pt>
                <c:pt idx="13">
                  <c:v>0.16220539166267287</c:v>
                </c:pt>
                <c:pt idx="14">
                  <c:v>0.14820386225715668</c:v>
                </c:pt>
                <c:pt idx="15">
                  <c:v>0.14571583031699314</c:v>
                </c:pt>
                <c:pt idx="16">
                  <c:v>0.1251099990011965</c:v>
                </c:pt>
                <c:pt idx="17">
                  <c:v>0.12169542677652415</c:v>
                </c:pt>
                <c:pt idx="18">
                  <c:v>0.1481532179285527</c:v>
                </c:pt>
                <c:pt idx="19">
                  <c:v>0.16495332516828595</c:v>
                </c:pt>
                <c:pt idx="20">
                  <c:v>0.1509831909785479</c:v>
                </c:pt>
                <c:pt idx="21">
                  <c:v>0.1279784564335589</c:v>
                </c:pt>
                <c:pt idx="22">
                  <c:v>0.1375727423491177</c:v>
                </c:pt>
                <c:pt idx="23">
                  <c:v>0.132694787146573</c:v>
                </c:pt>
                <c:pt idx="24">
                  <c:v>0.1357729053713894</c:v>
                </c:pt>
                <c:pt idx="25">
                  <c:v>0.14320096172613817</c:v>
                </c:pt>
                <c:pt idx="26">
                  <c:v>0.1277310182549514</c:v>
                </c:pt>
                <c:pt idx="27">
                  <c:v>0.15403292690052314</c:v>
                </c:pt>
                <c:pt idx="28">
                  <c:v>0.1523569763464632</c:v>
                </c:pt>
                <c:pt idx="29">
                  <c:v>0.1535972904549977</c:v>
                </c:pt>
                <c:pt idx="30">
                  <c:v>0.16662229596089081</c:v>
                </c:pt>
                <c:pt idx="31">
                  <c:v>0.13156860664402661</c:v>
                </c:pt>
                <c:pt idx="32">
                  <c:v>0.1276841740233393</c:v>
                </c:pt>
                <c:pt idx="33">
                  <c:v>0.15647931850449598</c:v>
                </c:pt>
                <c:pt idx="34">
                  <c:v>0.1363689981848472</c:v>
                </c:pt>
                <c:pt idx="35">
                  <c:v>0.14906083261530592</c:v>
                </c:pt>
                <c:pt idx="36">
                  <c:v>0.13142331909588034</c:v>
                </c:pt>
                <c:pt idx="37">
                  <c:v>0.15072933759863139</c:v>
                </c:pt>
                <c:pt idx="38">
                  <c:v>0.13885811259501507</c:v>
                </c:pt>
                <c:pt idx="39">
                  <c:v>0.15909819707221767</c:v>
                </c:pt>
                <c:pt idx="40">
                  <c:v>0.1492157451545794</c:v>
                </c:pt>
                <c:pt idx="41">
                  <c:v>0.1528247217010019</c:v>
                </c:pt>
                <c:pt idx="42">
                  <c:v>0.15551077684975645</c:v>
                </c:pt>
                <c:pt idx="43">
                  <c:v>0.17002439990318086</c:v>
                </c:pt>
                <c:pt idx="44">
                  <c:v>0.17835165552861812</c:v>
                </c:pt>
                <c:pt idx="45">
                  <c:v>0.1731732251554616</c:v>
                </c:pt>
                <c:pt idx="46">
                  <c:v>0.15757737509144976</c:v>
                </c:pt>
                <c:pt idx="47">
                  <c:v>0.15677214540674766</c:v>
                </c:pt>
                <c:pt idx="48">
                  <c:v>0.16235374035779948</c:v>
                </c:pt>
                <c:pt idx="49">
                  <c:v>0.16186515103504087</c:v>
                </c:pt>
                <c:pt idx="50">
                  <c:v>0.1744323941899943</c:v>
                </c:pt>
                <c:pt idx="51">
                  <c:v>0.1624873963307308</c:v>
                </c:pt>
              </c:numCache>
            </c:numRef>
          </c:xVal>
          <c:yVal>
            <c:numRef>
              <c:f>Sheet1!$B$109:$B$160</c:f>
              <c:numCache>
                <c:formatCode>General</c:formatCode>
                <c:ptCount val="52"/>
                <c:pt idx="0">
                  <c:v>0.1541166577478786</c:v>
                </c:pt>
                <c:pt idx="1">
                  <c:v>0.1648675171736997</c:v>
                </c:pt>
                <c:pt idx="2">
                  <c:v>0.16437189496096521</c:v>
                </c:pt>
                <c:pt idx="3">
                  <c:v>0.16784223405786672</c:v>
                </c:pt>
                <c:pt idx="4">
                  <c:v>0.16508204263149823</c:v>
                </c:pt>
                <c:pt idx="5">
                  <c:v>0.160546282245827</c:v>
                </c:pt>
                <c:pt idx="6">
                  <c:v>0.15580286168521462</c:v>
                </c:pt>
                <c:pt idx="7">
                  <c:v>0.16119971912930084</c:v>
                </c:pt>
                <c:pt idx="8">
                  <c:v>0.16118900729108246</c:v>
                </c:pt>
                <c:pt idx="9">
                  <c:v>0.17793417922283902</c:v>
                </c:pt>
                <c:pt idx="10">
                  <c:v>0.16633132126089872</c:v>
                </c:pt>
                <c:pt idx="11">
                  <c:v>0.15987482614742698</c:v>
                </c:pt>
                <c:pt idx="12">
                  <c:v>0.15854141894569956</c:v>
                </c:pt>
                <c:pt idx="13">
                  <c:v>0.16072177926982795</c:v>
                </c:pt>
                <c:pt idx="14">
                  <c:v>0.16202625942825216</c:v>
                </c:pt>
                <c:pt idx="15">
                  <c:v>0.15814840847474645</c:v>
                </c:pt>
                <c:pt idx="16">
                  <c:v>0.1462153267512929</c:v>
                </c:pt>
                <c:pt idx="17">
                  <c:v>0.14662112710417174</c:v>
                </c:pt>
                <c:pt idx="18">
                  <c:v>0.13117621337997376</c:v>
                </c:pt>
                <c:pt idx="19">
                  <c:v>0.14606437652150392</c:v>
                </c:pt>
                <c:pt idx="20">
                  <c:v>0.14379288833437304</c:v>
                </c:pt>
                <c:pt idx="21">
                  <c:v>0.14924256592481766</c:v>
                </c:pt>
                <c:pt idx="22">
                  <c:v>0.156353591160221</c:v>
                </c:pt>
                <c:pt idx="23">
                  <c:v>0.16745886654478975</c:v>
                </c:pt>
                <c:pt idx="24">
                  <c:v>0.16643812135755914</c:v>
                </c:pt>
                <c:pt idx="25">
                  <c:v>0.17317158931082982</c:v>
                </c:pt>
                <c:pt idx="26">
                  <c:v>0.16548223350253807</c:v>
                </c:pt>
                <c:pt idx="27">
                  <c:v>0.14224336351081787</c:v>
                </c:pt>
                <c:pt idx="28">
                  <c:v>0.1382348692763253</c:v>
                </c:pt>
                <c:pt idx="29">
                  <c:v>0.14395662060521253</c:v>
                </c:pt>
                <c:pt idx="30">
                  <c:v>0.14962593516209477</c:v>
                </c:pt>
                <c:pt idx="31">
                  <c:v>0.14123957091775924</c:v>
                </c:pt>
                <c:pt idx="32">
                  <c:v>0.14424460431654676</c:v>
                </c:pt>
                <c:pt idx="33">
                  <c:v>0.15920608108108109</c:v>
                </c:pt>
                <c:pt idx="34">
                  <c:v>0.1731679108400799</c:v>
                </c:pt>
                <c:pt idx="35">
                  <c:v>0.18076202373516553</c:v>
                </c:pt>
                <c:pt idx="36">
                  <c:v>0.16656057712709527</c:v>
                </c:pt>
                <c:pt idx="37">
                  <c:v>0.14589261999620565</c:v>
                </c:pt>
                <c:pt idx="38">
                  <c:v>0.14241960183767227</c:v>
                </c:pt>
                <c:pt idx="39">
                  <c:v>0.15253441802252815</c:v>
                </c:pt>
                <c:pt idx="40">
                  <c:v>0.1427690410114092</c:v>
                </c:pt>
                <c:pt idx="41">
                  <c:v>0.14487530632838402</c:v>
                </c:pt>
                <c:pt idx="42">
                  <c:v>0.14507941706238742</c:v>
                </c:pt>
                <c:pt idx="43">
                  <c:v>0.14091743119266056</c:v>
                </c:pt>
                <c:pt idx="44">
                  <c:v>0.1319726543148717</c:v>
                </c:pt>
                <c:pt idx="45">
                  <c:v>0.14151210533767522</c:v>
                </c:pt>
                <c:pt idx="46">
                  <c:v>0.1411833626244874</c:v>
                </c:pt>
                <c:pt idx="47">
                  <c:v>0.14124683689901082</c:v>
                </c:pt>
                <c:pt idx="48">
                  <c:v>0.12496828216188785</c:v>
                </c:pt>
                <c:pt idx="49">
                  <c:v>0.1396714953804038</c:v>
                </c:pt>
                <c:pt idx="50">
                  <c:v>0.16539307414172288</c:v>
                </c:pt>
                <c:pt idx="51">
                  <c:v>0.1565159128978224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5712151652490336</c:v>
                </c:pt>
              </c:numCache>
            </c:numRef>
          </c:xVal>
          <c:yVal>
            <c:numRef>
              <c:f>Sheet1!$B$163:$B$164</c:f>
              <c:numCache>
                <c:formatCode>General</c:formatCode>
                <c:ptCount val="2"/>
                <c:pt idx="0">
                  <c:v>0.19172892764333477</c:v>
                </c:pt>
                <c:pt idx="1">
                  <c:v>0.1917289276433347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5712151652490336</c:v>
                </c:pt>
                <c:pt idx="1">
                  <c:v>-0.15712151652490336</c:v>
                </c:pt>
              </c:numCache>
            </c:numRef>
          </c:xVal>
          <c:yVal>
            <c:numRef>
              <c:f>Sheet1!$B$167:$B$168</c:f>
              <c:numCache>
                <c:formatCode>General</c:formatCode>
                <c:ptCount val="2"/>
                <c:pt idx="0">
                  <c:v>0.1917289276433347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555886673876754</c:v>
                </c:pt>
              </c:numCache>
            </c:numRef>
          </c:xVal>
          <c:yVal>
            <c:numRef>
              <c:f>Sheet1!$B$171:$B$172</c:f>
              <c:numCache>
                <c:formatCode>General</c:formatCode>
                <c:ptCount val="2"/>
                <c:pt idx="0">
                  <c:v>0.16166869076925927</c:v>
                </c:pt>
                <c:pt idx="1">
                  <c:v>0.1616686907692592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555886673876754</c:v>
                </c:pt>
                <c:pt idx="1">
                  <c:v>0.08555886673876754</c:v>
                </c:pt>
              </c:numCache>
            </c:numRef>
          </c:xVal>
          <c:yVal>
            <c:numRef>
              <c:f>Sheet1!$B$175:$B$176</c:f>
              <c:numCache>
                <c:formatCode>General</c:formatCode>
                <c:ptCount val="2"/>
                <c:pt idx="0">
                  <c:v>0.1616686907692592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3028761857073898</c:v>
                </c:pt>
              </c:numCache>
            </c:numRef>
          </c:xVal>
          <c:yVal>
            <c:numRef>
              <c:f>Sheet1!$B$179:$B$180</c:f>
              <c:numCache>
                <c:formatCode>General</c:formatCode>
                <c:ptCount val="2"/>
                <c:pt idx="0">
                  <c:v>0.14374148749040394</c:v>
                </c:pt>
                <c:pt idx="1">
                  <c:v>0.1437414874904039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3028761857073898</c:v>
                </c:pt>
                <c:pt idx="1">
                  <c:v>0.23028761857073898</c:v>
                </c:pt>
              </c:numCache>
            </c:numRef>
          </c:xVal>
          <c:yVal>
            <c:numRef>
              <c:f>Sheet1!$B$183:$B$184</c:f>
              <c:numCache>
                <c:formatCode>General</c:formatCode>
                <c:ptCount val="2"/>
                <c:pt idx="0">
                  <c:v>0.1437414874904039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2420145220930981</c:v>
                </c:pt>
                <c:pt idx="1">
                  <c:v>0.1263820050162776</c:v>
                </c:pt>
                <c:pt idx="2">
                  <c:v>0.13519271880494355</c:v>
                </c:pt>
                <c:pt idx="3">
                  <c:v>0.14308683608354245</c:v>
                </c:pt>
                <c:pt idx="4">
                  <c:v>0.15342464311808698</c:v>
                </c:pt>
                <c:pt idx="5">
                  <c:v>0.16109897224398712</c:v>
                </c:pt>
                <c:pt idx="6">
                  <c:v>0.15742071465741772</c:v>
                </c:pt>
                <c:pt idx="7">
                  <c:v>0.15005780737211968</c:v>
                </c:pt>
                <c:pt idx="8">
                  <c:v>0.1808042656024549</c:v>
                </c:pt>
                <c:pt idx="9">
                  <c:v>0.16128570010723287</c:v>
                </c:pt>
                <c:pt idx="10">
                  <c:v>0.16753391954798982</c:v>
                </c:pt>
                <c:pt idx="11">
                  <c:v>0.16288091584510322</c:v>
                </c:pt>
                <c:pt idx="12">
                  <c:v>0.18168948432971607</c:v>
                </c:pt>
                <c:pt idx="13">
                  <c:v>0.16220539166267287</c:v>
                </c:pt>
                <c:pt idx="14">
                  <c:v>0.14820386225715668</c:v>
                </c:pt>
                <c:pt idx="15">
                  <c:v>0.14571583031699314</c:v>
                </c:pt>
                <c:pt idx="16">
                  <c:v>0.1251099990011965</c:v>
                </c:pt>
                <c:pt idx="17">
                  <c:v>0.12169542677652415</c:v>
                </c:pt>
                <c:pt idx="18">
                  <c:v>0.1481532179285527</c:v>
                </c:pt>
                <c:pt idx="19">
                  <c:v>0.16495332516828595</c:v>
                </c:pt>
                <c:pt idx="20">
                  <c:v>0.1509831909785479</c:v>
                </c:pt>
                <c:pt idx="21">
                  <c:v>0.1279784564335589</c:v>
                </c:pt>
                <c:pt idx="22">
                  <c:v>0.1375727423491177</c:v>
                </c:pt>
                <c:pt idx="23">
                  <c:v>0.132694787146573</c:v>
                </c:pt>
                <c:pt idx="24">
                  <c:v>0.1357729053713894</c:v>
                </c:pt>
                <c:pt idx="25">
                  <c:v>0.14320096172613817</c:v>
                </c:pt>
                <c:pt idx="26">
                  <c:v>0.1277310182549514</c:v>
                </c:pt>
                <c:pt idx="27">
                  <c:v>0.15403292690052314</c:v>
                </c:pt>
                <c:pt idx="28">
                  <c:v>0.1523569763464632</c:v>
                </c:pt>
                <c:pt idx="29">
                  <c:v>0.1535972904549977</c:v>
                </c:pt>
                <c:pt idx="30">
                  <c:v>0.16662229596089081</c:v>
                </c:pt>
                <c:pt idx="31">
                  <c:v>0.13156860664402661</c:v>
                </c:pt>
                <c:pt idx="32">
                  <c:v>0.1276841740233393</c:v>
                </c:pt>
                <c:pt idx="33">
                  <c:v>0.15647931850449598</c:v>
                </c:pt>
                <c:pt idx="34">
                  <c:v>0.1363689981848472</c:v>
                </c:pt>
                <c:pt idx="35">
                  <c:v>0.14906083261530592</c:v>
                </c:pt>
                <c:pt idx="36">
                  <c:v>0.13142331909588034</c:v>
                </c:pt>
                <c:pt idx="37">
                  <c:v>0.15072933759863139</c:v>
                </c:pt>
                <c:pt idx="38">
                  <c:v>0.13885811259501507</c:v>
                </c:pt>
                <c:pt idx="39">
                  <c:v>0.15909819707221767</c:v>
                </c:pt>
                <c:pt idx="40">
                  <c:v>0.1492157451545794</c:v>
                </c:pt>
                <c:pt idx="41">
                  <c:v>0.1528247217010019</c:v>
                </c:pt>
                <c:pt idx="42">
                  <c:v>0.15551077684975645</c:v>
                </c:pt>
                <c:pt idx="43">
                  <c:v>0.17002439990318086</c:v>
                </c:pt>
                <c:pt idx="44">
                  <c:v>0.17835165552861812</c:v>
                </c:pt>
                <c:pt idx="45">
                  <c:v>0.1731732251554616</c:v>
                </c:pt>
                <c:pt idx="46">
                  <c:v>0.15757737509144976</c:v>
                </c:pt>
                <c:pt idx="47">
                  <c:v>0.15677214540674766</c:v>
                </c:pt>
                <c:pt idx="48">
                  <c:v>0.16235374035779948</c:v>
                </c:pt>
                <c:pt idx="49">
                  <c:v>0.16186515103504087</c:v>
                </c:pt>
                <c:pt idx="50">
                  <c:v>0.1744323941899943</c:v>
                </c:pt>
                <c:pt idx="51">
                  <c:v>0.1624873963307308</c:v>
                </c:pt>
                <c:pt idx="52">
                  <c:v>0.08555886673876754</c:v>
                </c:pt>
                <c:pt idx="53">
                  <c:v>-0.15712151652490336</c:v>
                </c:pt>
                <c:pt idx="54">
                  <c:v>0.23028761857073898</c:v>
                </c:pt>
              </c:numCache>
            </c:numRef>
          </c:xVal>
          <c:yVal>
            <c:numRef>
              <c:f>Sheet1!$B$187:$B$241</c:f>
              <c:numCache>
                <c:formatCode>General</c:formatCode>
                <c:ptCount val="55"/>
                <c:pt idx="0">
                  <c:v>0.1568821264122666</c:v>
                </c:pt>
                <c:pt idx="1">
                  <c:v>0.15661202656730852</c:v>
                </c:pt>
                <c:pt idx="2">
                  <c:v>0.15552066458759212</c:v>
                </c:pt>
                <c:pt idx="3">
                  <c:v>0.15454283921862277</c:v>
                </c:pt>
                <c:pt idx="4">
                  <c:v>0.15326231986210248</c:v>
                </c:pt>
                <c:pt idx="5">
                  <c:v>0.15231171912432662</c:v>
                </c:pt>
                <c:pt idx="6">
                  <c:v>0.15276733606727505</c:v>
                </c:pt>
                <c:pt idx="7">
                  <c:v>0.15367936172877006</c:v>
                </c:pt>
                <c:pt idx="8">
                  <c:v>0.14987087170986912</c:v>
                </c:pt>
                <c:pt idx="9">
                  <c:v>0.15228858959187463</c:v>
                </c:pt>
                <c:pt idx="10">
                  <c:v>0.1515146376394983</c:v>
                </c:pt>
                <c:pt idx="11">
                  <c:v>0.1520909940454166</c:v>
                </c:pt>
                <c:pt idx="12">
                  <c:v>0.1497612217898015</c:v>
                </c:pt>
                <c:pt idx="13">
                  <c:v>0.15217466960528234</c:v>
                </c:pt>
                <c:pt idx="14">
                  <c:v>0.15390900546246555</c:v>
                </c:pt>
                <c:pt idx="15">
                  <c:v>0.15421719200999676</c:v>
                </c:pt>
                <c:pt idx="16">
                  <c:v>0.15676958690079887</c:v>
                </c:pt>
                <c:pt idx="17">
                  <c:v>0.15719254177056174</c:v>
                </c:pt>
                <c:pt idx="18">
                  <c:v>0.15391527865395177</c:v>
                </c:pt>
                <c:pt idx="19">
                  <c:v>0.15183428967435406</c:v>
                </c:pt>
                <c:pt idx="20">
                  <c:v>0.15356473668147733</c:v>
                </c:pt>
                <c:pt idx="21">
                  <c:v>0.1564142779602063</c:v>
                </c:pt>
                <c:pt idx="22">
                  <c:v>0.15522585678095524</c:v>
                </c:pt>
                <c:pt idx="23">
                  <c:v>0.15583007738946775</c:v>
                </c:pt>
                <c:pt idx="24">
                  <c:v>0.15544879826949926</c:v>
                </c:pt>
                <c:pt idx="25">
                  <c:v>0.15452870274906683</c:v>
                </c:pt>
                <c:pt idx="26">
                  <c:v>0.15644492753377545</c:v>
                </c:pt>
                <c:pt idx="27">
                  <c:v>0.15318697320927138</c:v>
                </c:pt>
                <c:pt idx="28">
                  <c:v>0.15339456918372452</c:v>
                </c:pt>
                <c:pt idx="29">
                  <c:v>0.15324093445066783</c:v>
                </c:pt>
                <c:pt idx="30">
                  <c:v>0.1516275582662076</c:v>
                </c:pt>
                <c:pt idx="31">
                  <c:v>0.15596957466656217</c:v>
                </c:pt>
                <c:pt idx="32">
                  <c:v>0.1564507300163639</c:v>
                </c:pt>
                <c:pt idx="33">
                  <c:v>0.15288394455028714</c:v>
                </c:pt>
                <c:pt idx="34">
                  <c:v>0.15537496168274884</c:v>
                </c:pt>
                <c:pt idx="35">
                  <c:v>0.15380285460011078</c:v>
                </c:pt>
                <c:pt idx="36">
                  <c:v>0.15598757108659989</c:v>
                </c:pt>
                <c:pt idx="37">
                  <c:v>0.15359618089064228</c:v>
                </c:pt>
                <c:pt idx="38">
                  <c:v>0.1550666410522551</c:v>
                </c:pt>
                <c:pt idx="39">
                  <c:v>0.15255955034490704</c:v>
                </c:pt>
                <c:pt idx="40">
                  <c:v>0.15378366595551288</c:v>
                </c:pt>
                <c:pt idx="41">
                  <c:v>0.15333663068879924</c:v>
                </c:pt>
                <c:pt idx="42">
                  <c:v>0.15300391548148617</c:v>
                </c:pt>
                <c:pt idx="43">
                  <c:v>0.1512061478126715</c:v>
                </c:pt>
                <c:pt idx="44">
                  <c:v>0.15017467063579704</c:v>
                </c:pt>
                <c:pt idx="45">
                  <c:v>0.1508161103828402</c:v>
                </c:pt>
                <c:pt idx="46">
                  <c:v>0.15274793091514668</c:v>
                </c:pt>
                <c:pt idx="47">
                  <c:v>0.1528476727844097</c:v>
                </c:pt>
                <c:pt idx="48">
                  <c:v>0.152156294008312</c:v>
                </c:pt>
                <c:pt idx="49">
                  <c:v>0.15221681439557505</c:v>
                </c:pt>
                <c:pt idx="50">
                  <c:v>0.15066014013533394</c:v>
                </c:pt>
                <c:pt idx="51">
                  <c:v>0.15213973836359146</c:v>
                </c:pt>
                <c:pt idx="52">
                  <c:v>0.16166869076925927</c:v>
                </c:pt>
                <c:pt idx="53">
                  <c:v>0.19172892764333477</c:v>
                </c:pt>
                <c:pt idx="54">
                  <c:v>0.1437414874904039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4833023103032956"/>
          <c:min val="0.091789473684210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44.0115</c:v>
                </c:pt>
                <c:pt idx="1">
                  <c:v>1059.0206</c:v>
                </c:pt>
                <c:pt idx="2">
                  <c:v>1110.8512</c:v>
                </c:pt>
                <c:pt idx="3">
                  <c:v>1122.1923</c:v>
                </c:pt>
                <c:pt idx="4">
                  <c:v>1105.4681</c:v>
                </c:pt>
                <c:pt idx="5">
                  <c:v>1084.5026</c:v>
                </c:pt>
                <c:pt idx="6">
                  <c:v>1061.4399</c:v>
                </c:pt>
                <c:pt idx="7">
                  <c:v>1078.3099</c:v>
                </c:pt>
                <c:pt idx="8">
                  <c:v>1063.8206</c:v>
                </c:pt>
                <c:pt idx="9">
                  <c:v>1061.675</c:v>
                </c:pt>
                <c:pt idx="10">
                  <c:v>1040.723</c:v>
                </c:pt>
                <c:pt idx="11">
                  <c:v>1026.3</c:v>
                </c:pt>
                <c:pt idx="12">
                  <c:v>1032.5147</c:v>
                </c:pt>
                <c:pt idx="13">
                  <c:v>1024.5192</c:v>
                </c:pt>
                <c:pt idx="14">
                  <c:v>1092.4231</c:v>
                </c:pt>
                <c:pt idx="15">
                  <c:v>1081.7284</c:v>
                </c:pt>
                <c:pt idx="16">
                  <c:v>1087.9962</c:v>
                </c:pt>
                <c:pt idx="17">
                  <c:v>1122.9785</c:v>
                </c:pt>
                <c:pt idx="18">
                  <c:v>1166.4722</c:v>
                </c:pt>
                <c:pt idx="19">
                  <c:v>1194.7514</c:v>
                </c:pt>
                <c:pt idx="20">
                  <c:v>1218.7185</c:v>
                </c:pt>
                <c:pt idx="21">
                  <c:v>1214.2266</c:v>
                </c:pt>
                <c:pt idx="22">
                  <c:v>1216.8041</c:v>
                </c:pt>
                <c:pt idx="23">
                  <c:v>1202.282</c:v>
                </c:pt>
                <c:pt idx="24">
                  <c:v>1179.5695</c:v>
                </c:pt>
                <c:pt idx="25">
                  <c:v>1173.1098</c:v>
                </c:pt>
                <c:pt idx="26">
                  <c:v>1169.9232</c:v>
                </c:pt>
                <c:pt idx="27">
                  <c:v>1160.3369</c:v>
                </c:pt>
                <c:pt idx="28">
                  <c:v>1165.0658</c:v>
                </c:pt>
                <c:pt idx="29">
                  <c:v>1143.06</c:v>
                </c:pt>
                <c:pt idx="30">
                  <c:v>1178.3815</c:v>
                </c:pt>
                <c:pt idx="31">
                  <c:v>1144.0797</c:v>
                </c:pt>
                <c:pt idx="32">
                  <c:v>1172.2206</c:v>
                </c:pt>
                <c:pt idx="33">
                  <c:v>1129.9598</c:v>
                </c:pt>
                <c:pt idx="34">
                  <c:v>1162.8062</c:v>
                </c:pt>
                <c:pt idx="35">
                  <c:v>1221.5632</c:v>
                </c:pt>
                <c:pt idx="36">
                  <c:v>1270.5556</c:v>
                </c:pt>
                <c:pt idx="37">
                  <c:v>1270.2344</c:v>
                </c:pt>
                <c:pt idx="38">
                  <c:v>1358.8952</c:v>
                </c:pt>
                <c:pt idx="39">
                  <c:v>1325.678</c:v>
                </c:pt>
                <c:pt idx="40">
                  <c:v>1382.1704</c:v>
                </c:pt>
                <c:pt idx="41">
                  <c:v>1373.2447</c:v>
                </c:pt>
                <c:pt idx="42">
                  <c:v>1408.1215</c:v>
                </c:pt>
                <c:pt idx="43">
                  <c:v>1420.1661</c:v>
                </c:pt>
                <c:pt idx="44">
                  <c:v>1271.0615</c:v>
                </c:pt>
                <c:pt idx="45">
                  <c:v>1212.934</c:v>
                </c:pt>
                <c:pt idx="46">
                  <c:v>1223.3583</c:v>
                </c:pt>
                <c:pt idx="47">
                  <c:v>1216.8339</c:v>
                </c:pt>
                <c:pt idx="48">
                  <c:v>1188.9966</c:v>
                </c:pt>
                <c:pt idx="49">
                  <c:v>1159.1446</c:v>
                </c:pt>
                <c:pt idx="50">
                  <c:v>1176.1397</c:v>
                </c:pt>
                <c:pt idx="51">
                  <c:v>1206.1162</c:v>
                </c:pt>
                <c:pt idx="52">
                  <c:v>1197.3198</c:v>
                </c:pt>
                <c:pt idx="53">
                  <c:v>1345.2789</c:v>
                </c:pt>
                <c:pt idx="54">
                  <c:v>1358.6176</c:v>
                </c:pt>
                <c:pt idx="55">
                  <c:v>1357.1134</c:v>
                </c:pt>
                <c:pt idx="56">
                  <c:v>1371.3281</c:v>
                </c:pt>
                <c:pt idx="57">
                  <c:v>1344.8766</c:v>
                </c:pt>
                <c:pt idx="58">
                  <c:v>1315.9706</c:v>
                </c:pt>
                <c:pt idx="59">
                  <c:v>1297.3162</c:v>
                </c:pt>
                <c:pt idx="60">
                  <c:v>1292.0592</c:v>
                </c:pt>
                <c:pt idx="61">
                  <c:v>1278.8695</c:v>
                </c:pt>
                <c:pt idx="62">
                  <c:v>1235.5162</c:v>
                </c:pt>
                <c:pt idx="63">
                  <c:v>1228.3236</c:v>
                </c:pt>
                <c:pt idx="64">
                  <c:v>1223.9506</c:v>
                </c:pt>
                <c:pt idx="65">
                  <c:v>1216.951</c:v>
                </c:pt>
                <c:pt idx="66">
                  <c:v>1272.9818</c:v>
                </c:pt>
                <c:pt idx="67">
                  <c:v>1306.8167</c:v>
                </c:pt>
                <c:pt idx="68">
                  <c:v>1319.1452</c:v>
                </c:pt>
                <c:pt idx="69">
                  <c:v>1338.3224</c:v>
                </c:pt>
                <c:pt idx="70">
                  <c:v>1345.1943</c:v>
                </c:pt>
                <c:pt idx="71">
                  <c:v>1389.7589</c:v>
                </c:pt>
                <c:pt idx="72">
                  <c:v>1402.9443</c:v>
                </c:pt>
                <c:pt idx="73">
                  <c:v>1383.8984</c:v>
                </c:pt>
                <c:pt idx="74">
                  <c:v>1332.457</c:v>
                </c:pt>
                <c:pt idx="75">
                  <c:v>1328.2075</c:v>
                </c:pt>
                <c:pt idx="76">
                  <c:v>1334.8089</c:v>
                </c:pt>
                <c:pt idx="77">
                  <c:v>1319.424</c:v>
                </c:pt>
                <c:pt idx="78">
                  <c:v>1367.1784</c:v>
                </c:pt>
                <c:pt idx="79">
                  <c:v>1373.1372</c:v>
                </c:pt>
                <c:pt idx="80">
                  <c:v>1360.2769</c:v>
                </c:pt>
                <c:pt idx="81">
                  <c:v>1398.2979</c:v>
                </c:pt>
                <c:pt idx="82">
                  <c:v>1387.9532</c:v>
                </c:pt>
                <c:pt idx="83">
                  <c:v>1371.021</c:v>
                </c:pt>
                <c:pt idx="84">
                  <c:v>1356.8725</c:v>
                </c:pt>
                <c:pt idx="85">
                  <c:v>1366.3287</c:v>
                </c:pt>
                <c:pt idx="86">
                  <c:v>1352.9546</c:v>
                </c:pt>
                <c:pt idx="87">
                  <c:v>1357.6726</c:v>
                </c:pt>
                <c:pt idx="88">
                  <c:v>1364.1</c:v>
                </c:pt>
                <c:pt idx="89">
                  <c:v>1349.079</c:v>
                </c:pt>
                <c:pt idx="90">
                  <c:v>1382.3109</c:v>
                </c:pt>
                <c:pt idx="91">
                  <c:v>1392.7427</c:v>
                </c:pt>
                <c:pt idx="92">
                  <c:v>1356.489</c:v>
                </c:pt>
                <c:pt idx="93">
                  <c:v>1359.1035</c:v>
                </c:pt>
                <c:pt idx="94">
                  <c:v>1401.1299</c:v>
                </c:pt>
                <c:pt idx="95">
                  <c:v>1333.3374</c:v>
                </c:pt>
                <c:pt idx="96">
                  <c:v>1246.0106</c:v>
                </c:pt>
                <c:pt idx="97">
                  <c:v>1272.9788</c:v>
                </c:pt>
                <c:pt idx="98">
                  <c:v>1249.6236</c:v>
                </c:pt>
                <c:pt idx="99">
                  <c:v>1234.3542</c:v>
                </c:pt>
                <c:pt idx="100">
                  <c:v>1240.6437</c:v>
                </c:pt>
                <c:pt idx="101">
                  <c:v>1277.0735</c:v>
                </c:pt>
                <c:pt idx="102">
                  <c:v>1320.3701</c:v>
                </c:pt>
                <c:pt idx="103">
                  <c:v>1029.6759</c:v>
                </c:pt>
                <c:pt idx="104">
                  <c:v>1125.5548</c:v>
                </c:pt>
              </c:numCache>
            </c:numRef>
          </c:xVal>
          <c:yVal>
            <c:numRef>
              <c:f>Sheet1!$B$2:$B$106</c:f>
              <c:numCache>
                <c:formatCode>General</c:formatCode>
                <c:ptCount val="105"/>
                <c:pt idx="0">
                  <c:v>0.18318950396407774</c:v>
                </c:pt>
                <c:pt idx="1">
                  <c:v>0.1894130064138995</c:v>
                </c:pt>
                <c:pt idx="2">
                  <c:v>0.18580307491004253</c:v>
                </c:pt>
                <c:pt idx="3">
                  <c:v>0.19294425087108014</c:v>
                </c:pt>
                <c:pt idx="4">
                  <c:v>0.1953978159126365</c:v>
                </c:pt>
                <c:pt idx="5">
                  <c:v>0.18869035931670922</c:v>
                </c:pt>
                <c:pt idx="6">
                  <c:v>0.19158136251323685</c:v>
                </c:pt>
                <c:pt idx="7">
                  <c:v>0.1915991156963891</c:v>
                </c:pt>
                <c:pt idx="8">
                  <c:v>0.2069418591919413</c:v>
                </c:pt>
                <c:pt idx="9">
                  <c:v>0.17738743196437406</c:v>
                </c:pt>
                <c:pt idx="10">
                  <c:v>0.1837846629259169</c:v>
                </c:pt>
                <c:pt idx="11">
                  <c:v>0.19010416666666666</c:v>
                </c:pt>
                <c:pt idx="12">
                  <c:v>0.18986083499005965</c:v>
                </c:pt>
                <c:pt idx="13">
                  <c:v>0.19203709625839463</c:v>
                </c:pt>
                <c:pt idx="14">
                  <c:v>0.18110172245693856</c:v>
                </c:pt>
                <c:pt idx="15">
                  <c:v>0.19173005656329237</c:v>
                </c:pt>
                <c:pt idx="16">
                  <c:v>0.1762860024655385</c:v>
                </c:pt>
                <c:pt idx="17">
                  <c:v>0.1853330007483163</c:v>
                </c:pt>
                <c:pt idx="18">
                  <c:v>0.16478329280503504</c:v>
                </c:pt>
                <c:pt idx="19">
                  <c:v>0.15008403361344538</c:v>
                </c:pt>
                <c:pt idx="20">
                  <c:v>0.15491638795986623</c:v>
                </c:pt>
                <c:pt idx="21">
                  <c:v>0.15585738539898134</c:v>
                </c:pt>
                <c:pt idx="22">
                  <c:v>0.1469217970049917</c:v>
                </c:pt>
                <c:pt idx="23">
                  <c:v>0.14541348158443362</c:v>
                </c:pt>
                <c:pt idx="24">
                  <c:v>0.15485943775100403</c:v>
                </c:pt>
                <c:pt idx="25">
                  <c:v>0.1540840458431872</c:v>
                </c:pt>
                <c:pt idx="26">
                  <c:v>0.15505652306752216</c:v>
                </c:pt>
                <c:pt idx="27">
                  <c:v>0.15271226415094338</c:v>
                </c:pt>
                <c:pt idx="28">
                  <c:v>0.15218730745532963</c:v>
                </c:pt>
                <c:pt idx="29">
                  <c:v>0.16263403904316745</c:v>
                </c:pt>
                <c:pt idx="30">
                  <c:v>0.14626609442060085</c:v>
                </c:pt>
                <c:pt idx="31">
                  <c:v>0.14021340446815606</c:v>
                </c:pt>
                <c:pt idx="32">
                  <c:v>0.1413080311758726</c:v>
                </c:pt>
                <c:pt idx="33">
                  <c:v>0.15084928552170396</c:v>
                </c:pt>
                <c:pt idx="34">
                  <c:v>0.1496590777764937</c:v>
                </c:pt>
                <c:pt idx="35">
                  <c:v>0.1492215344213093</c:v>
                </c:pt>
                <c:pt idx="36">
                  <c:v>0.13364722926475914</c:v>
                </c:pt>
                <c:pt idx="37">
                  <c:v>0.12736189239867302</c:v>
                </c:pt>
                <c:pt idx="38">
                  <c:v>0.11473684210526315</c:v>
                </c:pt>
                <c:pt idx="39">
                  <c:v>0.12917909276408726</c:v>
                </c:pt>
                <c:pt idx="40">
                  <c:v>0.1294477745185563</c:v>
                </c:pt>
                <c:pt idx="41">
                  <c:v>0.1314410480349345</c:v>
                </c:pt>
                <c:pt idx="42">
                  <c:v>0.13772893772893774</c:v>
                </c:pt>
                <c:pt idx="43">
                  <c:v>0.1395297977036632</c:v>
                </c:pt>
                <c:pt idx="44">
                  <c:v>0.14084204496634684</c:v>
                </c:pt>
                <c:pt idx="45">
                  <c:v>0.1541396413582602</c:v>
                </c:pt>
                <c:pt idx="46">
                  <c:v>0.16023516167365062</c:v>
                </c:pt>
                <c:pt idx="47">
                  <c:v>0.1565433991186051</c:v>
                </c:pt>
                <c:pt idx="48">
                  <c:v>0.1672272047832586</c:v>
                </c:pt>
                <c:pt idx="49">
                  <c:v>0.18160407383831953</c:v>
                </c:pt>
                <c:pt idx="50">
                  <c:v>0.1662672811059908</c:v>
                </c:pt>
                <c:pt idx="51">
                  <c:v>0.15697628922450896</c:v>
                </c:pt>
                <c:pt idx="52">
                  <c:v>0.16352160752238037</c:v>
                </c:pt>
                <c:pt idx="53">
                  <c:v>0.1539434837621257</c:v>
                </c:pt>
                <c:pt idx="54">
                  <c:v>0.14493437824568028</c:v>
                </c:pt>
                <c:pt idx="55">
                  <c:v>0.14723866834902455</c:v>
                </c:pt>
                <c:pt idx="56">
                  <c:v>0.16568929529867807</c:v>
                </c:pt>
                <c:pt idx="57">
                  <c:v>0.15792207792207794</c:v>
                </c:pt>
                <c:pt idx="58">
                  <c:v>0.1666922016240233</c:v>
                </c:pt>
                <c:pt idx="59">
                  <c:v>0.16105474685095328</c:v>
                </c:pt>
                <c:pt idx="60">
                  <c:v>0.17515145073865448</c:v>
                </c:pt>
                <c:pt idx="61">
                  <c:v>0.18491502481576177</c:v>
                </c:pt>
                <c:pt idx="62">
                  <c:v>0.18379191745485812</c:v>
                </c:pt>
                <c:pt idx="63">
                  <c:v>0.18938712578697162</c:v>
                </c:pt>
                <c:pt idx="64">
                  <c:v>0.17498773307163887</c:v>
                </c:pt>
                <c:pt idx="65">
                  <c:v>0.16728249916022842</c:v>
                </c:pt>
                <c:pt idx="66">
                  <c:v>0.15742730267869934</c:v>
                </c:pt>
                <c:pt idx="67">
                  <c:v>0.16017216201675505</c:v>
                </c:pt>
                <c:pt idx="68">
                  <c:v>0.14088159031979255</c:v>
                </c:pt>
                <c:pt idx="69">
                  <c:v>0.1369573330016171</c:v>
                </c:pt>
                <c:pt idx="70">
                  <c:v>0.1305445366029571</c:v>
                </c:pt>
                <c:pt idx="71">
                  <c:v>0.13758921490880255</c:v>
                </c:pt>
                <c:pt idx="72">
                  <c:v>0.13878487740065226</c:v>
                </c:pt>
                <c:pt idx="73">
                  <c:v>0.14861494026519628</c:v>
                </c:pt>
                <c:pt idx="74">
                  <c:v>0.15028248587570622</c:v>
                </c:pt>
                <c:pt idx="75">
                  <c:v>0.1395281516862064</c:v>
                </c:pt>
                <c:pt idx="76">
                  <c:v>0.14615981380915438</c:v>
                </c:pt>
                <c:pt idx="77">
                  <c:v>0.13737864077669903</c:v>
                </c:pt>
                <c:pt idx="78">
                  <c:v>0.14344927013876374</c:v>
                </c:pt>
                <c:pt idx="79">
                  <c:v>0.13620923913043478</c:v>
                </c:pt>
                <c:pt idx="80">
                  <c:v>0.1220852764823451</c:v>
                </c:pt>
                <c:pt idx="81">
                  <c:v>0.12071103761885077</c:v>
                </c:pt>
                <c:pt idx="82">
                  <c:v>0.12950410274705673</c:v>
                </c:pt>
                <c:pt idx="83">
                  <c:v>0.11986588432523052</c:v>
                </c:pt>
                <c:pt idx="84">
                  <c:v>0.12414080399916684</c:v>
                </c:pt>
                <c:pt idx="85">
                  <c:v>0.11991117690599556</c:v>
                </c:pt>
                <c:pt idx="86">
                  <c:v>0.12571277018963004</c:v>
                </c:pt>
                <c:pt idx="87">
                  <c:v>0.14543114543114544</c:v>
                </c:pt>
                <c:pt idx="88">
                  <c:v>0.1347056152565461</c:v>
                </c:pt>
                <c:pt idx="89">
                  <c:v>0.1289755754700404</c:v>
                </c:pt>
                <c:pt idx="90">
                  <c:v>0.12470287072590967</c:v>
                </c:pt>
                <c:pt idx="91">
                  <c:v>0.12860192102454643</c:v>
                </c:pt>
                <c:pt idx="92">
                  <c:v>0.13536881923804378</c:v>
                </c:pt>
                <c:pt idx="93">
                  <c:v>0.12579762989972654</c:v>
                </c:pt>
                <c:pt idx="94">
                  <c:v>0.12087595447341881</c:v>
                </c:pt>
                <c:pt idx="95">
                  <c:v>0.13340184994861254</c:v>
                </c:pt>
                <c:pt idx="96">
                  <c:v>0.12616476852536607</c:v>
                </c:pt>
                <c:pt idx="97">
                  <c:v>0.13153894870170996</c:v>
                </c:pt>
                <c:pt idx="98">
                  <c:v>0.14391063875935364</c:v>
                </c:pt>
                <c:pt idx="99">
                  <c:v>0.14492615983664942</c:v>
                </c:pt>
                <c:pt idx="100">
                  <c:v>0.15759652575150981</c:v>
                </c:pt>
                <c:pt idx="101">
                  <c:v>0.15528440478358527</c:v>
                </c:pt>
                <c:pt idx="102">
                  <c:v>0.1412722483837497</c:v>
                </c:pt>
                <c:pt idx="103">
                  <c:v>0.17290965207631875</c:v>
                </c:pt>
                <c:pt idx="104">
                  <c:v>0.1692753623188405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85.9583</c:v>
                </c:pt>
                <c:pt idx="1">
                  <c:v>1252.8611</c:v>
                </c:pt>
                <c:pt idx="2">
                  <c:v>1239.1231</c:v>
                </c:pt>
                <c:pt idx="3">
                  <c:v>1298.5253</c:v>
                </c:pt>
                <c:pt idx="4">
                  <c:v>1271.274</c:v>
                </c:pt>
                <c:pt idx="5">
                  <c:v>1275.2647</c:v>
                </c:pt>
                <c:pt idx="6">
                  <c:v>1236.2908</c:v>
                </c:pt>
                <c:pt idx="7">
                  <c:v>1293.1101</c:v>
                </c:pt>
                <c:pt idx="8">
                  <c:v>1388.8079</c:v>
                </c:pt>
                <c:pt idx="9">
                  <c:v>1325.8825</c:v>
                </c:pt>
                <c:pt idx="10">
                  <c:v>1354.1596</c:v>
                </c:pt>
                <c:pt idx="11">
                  <c:v>1286.4732</c:v>
                </c:pt>
                <c:pt idx="12">
                  <c:v>1313.19</c:v>
                </c:pt>
                <c:pt idx="13">
                  <c:v>1330.0507</c:v>
                </c:pt>
                <c:pt idx="14">
                  <c:v>1326.6793</c:v>
                </c:pt>
                <c:pt idx="15">
                  <c:v>1331.6044</c:v>
                </c:pt>
                <c:pt idx="16">
                  <c:v>1348.172</c:v>
                </c:pt>
                <c:pt idx="17">
                  <c:v>1292.5682</c:v>
                </c:pt>
                <c:pt idx="18">
                  <c:v>1357.67</c:v>
                </c:pt>
                <c:pt idx="19">
                  <c:v>1413.762</c:v>
                </c:pt>
                <c:pt idx="20">
                  <c:v>1395.0141</c:v>
                </c:pt>
                <c:pt idx="21">
                  <c:v>1334.9662</c:v>
                </c:pt>
                <c:pt idx="22">
                  <c:v>1296.4947</c:v>
                </c:pt>
                <c:pt idx="23">
                  <c:v>1264.7271</c:v>
                </c:pt>
                <c:pt idx="24">
                  <c:v>1257.4387</c:v>
                </c:pt>
                <c:pt idx="25">
                  <c:v>1226.5543</c:v>
                </c:pt>
                <c:pt idx="26">
                  <c:v>1259.4172</c:v>
                </c:pt>
                <c:pt idx="27">
                  <c:v>1306.7853</c:v>
                </c:pt>
                <c:pt idx="28">
                  <c:v>1355.0993</c:v>
                </c:pt>
                <c:pt idx="29">
                  <c:v>1357.6063</c:v>
                </c:pt>
                <c:pt idx="30">
                  <c:v>1356.4524</c:v>
                </c:pt>
                <c:pt idx="31">
                  <c:v>1273.339</c:v>
                </c:pt>
                <c:pt idx="32">
                  <c:v>1269.1895</c:v>
                </c:pt>
                <c:pt idx="33">
                  <c:v>1322.5632</c:v>
                </c:pt>
                <c:pt idx="34">
                  <c:v>1371.088</c:v>
                </c:pt>
                <c:pt idx="35">
                  <c:v>1335.1645</c:v>
                </c:pt>
                <c:pt idx="36">
                  <c:v>1293.5605</c:v>
                </c:pt>
                <c:pt idx="37">
                  <c:v>1381.5007</c:v>
                </c:pt>
                <c:pt idx="38">
                  <c:v>1393.0722</c:v>
                </c:pt>
                <c:pt idx="39">
                  <c:v>1384.3333</c:v>
                </c:pt>
                <c:pt idx="40">
                  <c:v>1385.6782</c:v>
                </c:pt>
                <c:pt idx="41">
                  <c:v>1424.401</c:v>
                </c:pt>
                <c:pt idx="42">
                  <c:v>1422.6433</c:v>
                </c:pt>
                <c:pt idx="43">
                  <c:v>1418.6502</c:v>
                </c:pt>
                <c:pt idx="44">
                  <c:v>1357.4955</c:v>
                </c:pt>
                <c:pt idx="45">
                  <c:v>1298.8749</c:v>
                </c:pt>
                <c:pt idx="46">
                  <c:v>1274.1274</c:v>
                </c:pt>
                <c:pt idx="47">
                  <c:v>1258.9349</c:v>
                </c:pt>
                <c:pt idx="48">
                  <c:v>1216.367</c:v>
                </c:pt>
                <c:pt idx="49">
                  <c:v>1216.263</c:v>
                </c:pt>
                <c:pt idx="50">
                  <c:v>1132.1702</c:v>
                </c:pt>
                <c:pt idx="51">
                  <c:v>1141.0933</c:v>
                </c:pt>
              </c:numCache>
            </c:numRef>
          </c:xVal>
          <c:yVal>
            <c:numRef>
              <c:f>Sheet1!$B$109:$B$160</c:f>
              <c:numCache>
                <c:formatCode>General</c:formatCode>
                <c:ptCount val="52"/>
                <c:pt idx="0">
                  <c:v>0.1541166577478786</c:v>
                </c:pt>
                <c:pt idx="1">
                  <c:v>0.1648675171736997</c:v>
                </c:pt>
                <c:pt idx="2">
                  <c:v>0.16437189496096521</c:v>
                </c:pt>
                <c:pt idx="3">
                  <c:v>0.16784223405786672</c:v>
                </c:pt>
                <c:pt idx="4">
                  <c:v>0.16508204263149823</c:v>
                </c:pt>
                <c:pt idx="5">
                  <c:v>0.160546282245827</c:v>
                </c:pt>
                <c:pt idx="6">
                  <c:v>0.15580286168521462</c:v>
                </c:pt>
                <c:pt idx="7">
                  <c:v>0.16119971912930084</c:v>
                </c:pt>
                <c:pt idx="8">
                  <c:v>0.16118900729108246</c:v>
                </c:pt>
                <c:pt idx="9">
                  <c:v>0.17793417922283902</c:v>
                </c:pt>
                <c:pt idx="10">
                  <c:v>0.16633132126089872</c:v>
                </c:pt>
                <c:pt idx="11">
                  <c:v>0.15987482614742698</c:v>
                </c:pt>
                <c:pt idx="12">
                  <c:v>0.15854141894569956</c:v>
                </c:pt>
                <c:pt idx="13">
                  <c:v>0.16072177926982795</c:v>
                </c:pt>
                <c:pt idx="14">
                  <c:v>0.16202625942825216</c:v>
                </c:pt>
                <c:pt idx="15">
                  <c:v>0.15814840847474645</c:v>
                </c:pt>
                <c:pt idx="16">
                  <c:v>0.1462153267512929</c:v>
                </c:pt>
                <c:pt idx="17">
                  <c:v>0.14662112710417174</c:v>
                </c:pt>
                <c:pt idx="18">
                  <c:v>0.13117621337997376</c:v>
                </c:pt>
                <c:pt idx="19">
                  <c:v>0.14606437652150392</c:v>
                </c:pt>
                <c:pt idx="20">
                  <c:v>0.14379288833437304</c:v>
                </c:pt>
                <c:pt idx="21">
                  <c:v>0.14924256592481766</c:v>
                </c:pt>
                <c:pt idx="22">
                  <c:v>0.156353591160221</c:v>
                </c:pt>
                <c:pt idx="23">
                  <c:v>0.16745886654478975</c:v>
                </c:pt>
                <c:pt idx="24">
                  <c:v>0.16643812135755914</c:v>
                </c:pt>
                <c:pt idx="25">
                  <c:v>0.17317158931082982</c:v>
                </c:pt>
                <c:pt idx="26">
                  <c:v>0.16548223350253807</c:v>
                </c:pt>
                <c:pt idx="27">
                  <c:v>0.14224336351081787</c:v>
                </c:pt>
                <c:pt idx="28">
                  <c:v>0.1382348692763253</c:v>
                </c:pt>
                <c:pt idx="29">
                  <c:v>0.14395662060521253</c:v>
                </c:pt>
                <c:pt idx="30">
                  <c:v>0.14962593516209477</c:v>
                </c:pt>
                <c:pt idx="31">
                  <c:v>0.14123957091775924</c:v>
                </c:pt>
                <c:pt idx="32">
                  <c:v>0.14424460431654676</c:v>
                </c:pt>
                <c:pt idx="33">
                  <c:v>0.15920608108108109</c:v>
                </c:pt>
                <c:pt idx="34">
                  <c:v>0.1731679108400799</c:v>
                </c:pt>
                <c:pt idx="35">
                  <c:v>0.18076202373516553</c:v>
                </c:pt>
                <c:pt idx="36">
                  <c:v>0.16656057712709527</c:v>
                </c:pt>
                <c:pt idx="37">
                  <c:v>0.14589261999620565</c:v>
                </c:pt>
                <c:pt idx="38">
                  <c:v>0.14241960183767227</c:v>
                </c:pt>
                <c:pt idx="39">
                  <c:v>0.15253441802252815</c:v>
                </c:pt>
                <c:pt idx="40">
                  <c:v>0.1427690410114092</c:v>
                </c:pt>
                <c:pt idx="41">
                  <c:v>0.14487530632838402</c:v>
                </c:pt>
                <c:pt idx="42">
                  <c:v>0.14507941706238742</c:v>
                </c:pt>
                <c:pt idx="43">
                  <c:v>0.14091743119266056</c:v>
                </c:pt>
                <c:pt idx="44">
                  <c:v>0.1319726543148717</c:v>
                </c:pt>
                <c:pt idx="45">
                  <c:v>0.14151210533767522</c:v>
                </c:pt>
                <c:pt idx="46">
                  <c:v>0.1411833626244874</c:v>
                </c:pt>
                <c:pt idx="47">
                  <c:v>0.14124683689901082</c:v>
                </c:pt>
                <c:pt idx="48">
                  <c:v>0.12496828216188785</c:v>
                </c:pt>
                <c:pt idx="49">
                  <c:v>0.1396714953804038</c:v>
                </c:pt>
                <c:pt idx="50">
                  <c:v>0.16539307414172288</c:v>
                </c:pt>
                <c:pt idx="51">
                  <c:v>0.1565159128978224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71.40865991078516</c:v>
                </c:pt>
              </c:numCache>
            </c:numRef>
          </c:xVal>
          <c:yVal>
            <c:numRef>
              <c:f>Sheet1!$B$163:$B$164</c:f>
              <c:numCache>
                <c:formatCode>General</c:formatCode>
                <c:ptCount val="2"/>
                <c:pt idx="0">
                  <c:v>0.19172892764333477</c:v>
                </c:pt>
                <c:pt idx="1">
                  <c:v>0.1917289276433347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71.40865991078516</c:v>
                </c:pt>
                <c:pt idx="1">
                  <c:v>471.40865991078516</c:v>
                </c:pt>
              </c:numCache>
            </c:numRef>
          </c:xVal>
          <c:yVal>
            <c:numRef>
              <c:f>Sheet1!$B$167:$B$168</c:f>
              <c:numCache>
                <c:formatCode>General</c:formatCode>
                <c:ptCount val="2"/>
                <c:pt idx="0">
                  <c:v>0.1917289276433347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33.65989326259</c:v>
                </c:pt>
              </c:numCache>
            </c:numRef>
          </c:xVal>
          <c:yVal>
            <c:numRef>
              <c:f>Sheet1!$B$171:$B$172</c:f>
              <c:numCache>
                <c:formatCode>General</c:formatCode>
                <c:ptCount val="2"/>
                <c:pt idx="0">
                  <c:v>0.16166869076925927</c:v>
                </c:pt>
                <c:pt idx="1">
                  <c:v>0.1616686907692592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33.65989326259</c:v>
                </c:pt>
                <c:pt idx="1">
                  <c:v>1133.65989326259</c:v>
                </c:pt>
              </c:numCache>
            </c:numRef>
          </c:xVal>
          <c:yVal>
            <c:numRef>
              <c:f>Sheet1!$B$175:$B$176</c:f>
              <c:numCache>
                <c:formatCode>General</c:formatCode>
                <c:ptCount val="2"/>
                <c:pt idx="0">
                  <c:v>0.1616686907692592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528.6106227496675</c:v>
                </c:pt>
              </c:numCache>
            </c:numRef>
          </c:xVal>
          <c:yVal>
            <c:numRef>
              <c:f>Sheet1!$B$179:$B$180</c:f>
              <c:numCache>
                <c:formatCode>General</c:formatCode>
                <c:ptCount val="2"/>
                <c:pt idx="0">
                  <c:v>0.14374148749040394</c:v>
                </c:pt>
                <c:pt idx="1">
                  <c:v>0.1437414874904039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528.6106227496675</c:v>
                </c:pt>
                <c:pt idx="1">
                  <c:v>1528.6106227496675</c:v>
                </c:pt>
              </c:numCache>
            </c:numRef>
          </c:xVal>
          <c:yVal>
            <c:numRef>
              <c:f>Sheet1!$B$183:$B$184</c:f>
              <c:numCache>
                <c:formatCode>General</c:formatCode>
                <c:ptCount val="2"/>
                <c:pt idx="0">
                  <c:v>0.1437414874904039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85.9583</c:v>
                </c:pt>
                <c:pt idx="1">
                  <c:v>1252.8611</c:v>
                </c:pt>
                <c:pt idx="2">
                  <c:v>1239.1231</c:v>
                </c:pt>
                <c:pt idx="3">
                  <c:v>1298.5253</c:v>
                </c:pt>
                <c:pt idx="4">
                  <c:v>1271.274</c:v>
                </c:pt>
                <c:pt idx="5">
                  <c:v>1275.2647</c:v>
                </c:pt>
                <c:pt idx="6">
                  <c:v>1236.2908</c:v>
                </c:pt>
                <c:pt idx="7">
                  <c:v>1293.1101</c:v>
                </c:pt>
                <c:pt idx="8">
                  <c:v>1388.8079</c:v>
                </c:pt>
                <c:pt idx="9">
                  <c:v>1325.8825</c:v>
                </c:pt>
                <c:pt idx="10">
                  <c:v>1354.1596</c:v>
                </c:pt>
                <c:pt idx="11">
                  <c:v>1286.4732</c:v>
                </c:pt>
                <c:pt idx="12">
                  <c:v>1313.19</c:v>
                </c:pt>
                <c:pt idx="13">
                  <c:v>1330.0507</c:v>
                </c:pt>
                <c:pt idx="14">
                  <c:v>1326.6793</c:v>
                </c:pt>
                <c:pt idx="15">
                  <c:v>1331.6044</c:v>
                </c:pt>
                <c:pt idx="16">
                  <c:v>1348.172</c:v>
                </c:pt>
                <c:pt idx="17">
                  <c:v>1292.5682</c:v>
                </c:pt>
                <c:pt idx="18">
                  <c:v>1357.67</c:v>
                </c:pt>
                <c:pt idx="19">
                  <c:v>1413.762</c:v>
                </c:pt>
                <c:pt idx="20">
                  <c:v>1395.0141</c:v>
                </c:pt>
                <c:pt idx="21">
                  <c:v>1334.9662</c:v>
                </c:pt>
                <c:pt idx="22">
                  <c:v>1296.4947</c:v>
                </c:pt>
                <c:pt idx="23">
                  <c:v>1264.7271</c:v>
                </c:pt>
                <c:pt idx="24">
                  <c:v>1257.4387</c:v>
                </c:pt>
                <c:pt idx="25">
                  <c:v>1226.5543</c:v>
                </c:pt>
                <c:pt idx="26">
                  <c:v>1259.4172</c:v>
                </c:pt>
                <c:pt idx="27">
                  <c:v>1306.7853</c:v>
                </c:pt>
                <c:pt idx="28">
                  <c:v>1355.0993</c:v>
                </c:pt>
                <c:pt idx="29">
                  <c:v>1357.6063</c:v>
                </c:pt>
                <c:pt idx="30">
                  <c:v>1356.4524</c:v>
                </c:pt>
                <c:pt idx="31">
                  <c:v>1273.339</c:v>
                </c:pt>
                <c:pt idx="32">
                  <c:v>1269.1895</c:v>
                </c:pt>
                <c:pt idx="33">
                  <c:v>1322.5632</c:v>
                </c:pt>
                <c:pt idx="34">
                  <c:v>1371.088</c:v>
                </c:pt>
                <c:pt idx="35">
                  <c:v>1335.1645</c:v>
                </c:pt>
                <c:pt idx="36">
                  <c:v>1293.5605</c:v>
                </c:pt>
                <c:pt idx="37">
                  <c:v>1381.5007</c:v>
                </c:pt>
                <c:pt idx="38">
                  <c:v>1393.0722</c:v>
                </c:pt>
                <c:pt idx="39">
                  <c:v>1384.3333</c:v>
                </c:pt>
                <c:pt idx="40">
                  <c:v>1385.6782</c:v>
                </c:pt>
                <c:pt idx="41">
                  <c:v>1424.401</c:v>
                </c:pt>
                <c:pt idx="42">
                  <c:v>1422.6433</c:v>
                </c:pt>
                <c:pt idx="43">
                  <c:v>1418.6502</c:v>
                </c:pt>
                <c:pt idx="44">
                  <c:v>1357.4955</c:v>
                </c:pt>
                <c:pt idx="45">
                  <c:v>1298.8749</c:v>
                </c:pt>
                <c:pt idx="46">
                  <c:v>1274.1274</c:v>
                </c:pt>
                <c:pt idx="47">
                  <c:v>1258.9349</c:v>
                </c:pt>
                <c:pt idx="48">
                  <c:v>1216.367</c:v>
                </c:pt>
                <c:pt idx="49">
                  <c:v>1216.263</c:v>
                </c:pt>
                <c:pt idx="50">
                  <c:v>1132.1702</c:v>
                </c:pt>
                <c:pt idx="51">
                  <c:v>1141.0933</c:v>
                </c:pt>
                <c:pt idx="52">
                  <c:v>1133.65989326259</c:v>
                </c:pt>
                <c:pt idx="53">
                  <c:v>471.40865991078516</c:v>
                </c:pt>
                <c:pt idx="54">
                  <c:v>1528.6106227496675</c:v>
                </c:pt>
              </c:numCache>
            </c:numRef>
          </c:xVal>
          <c:yVal>
            <c:numRef>
              <c:f>Sheet1!$B$187:$B$241</c:f>
              <c:numCache>
                <c:formatCode>General</c:formatCode>
                <c:ptCount val="55"/>
                <c:pt idx="0">
                  <c:v>0.15475571582635145</c:v>
                </c:pt>
                <c:pt idx="1">
                  <c:v>0.15625803038880712</c:v>
                </c:pt>
                <c:pt idx="2">
                  <c:v>0.1568816117630326</c:v>
                </c:pt>
                <c:pt idx="3">
                  <c:v>0.15418528729746137</c:v>
                </c:pt>
                <c:pt idx="4">
                  <c:v>0.15542225069121818</c:v>
                </c:pt>
                <c:pt idx="5">
                  <c:v>0.15524110888090215</c:v>
                </c:pt>
                <c:pt idx="6">
                  <c:v>0.15701017265444467</c:v>
                </c:pt>
                <c:pt idx="7">
                  <c:v>0.1544310885682217</c:v>
                </c:pt>
                <c:pt idx="8">
                  <c:v>0.1500872710085801</c:v>
                </c:pt>
                <c:pt idx="9">
                  <c:v>0.15294351699822117</c:v>
                </c:pt>
                <c:pt idx="10">
                  <c:v>0.15165999153038656</c:v>
                </c:pt>
                <c:pt idx="11">
                  <c:v>0.15473234400733932</c:v>
                </c:pt>
                <c:pt idx="12">
                  <c:v>0.1535196420959324</c:v>
                </c:pt>
                <c:pt idx="13">
                  <c:v>0.15275431828777958</c:v>
                </c:pt>
                <c:pt idx="14">
                  <c:v>0.15290734946008003</c:v>
                </c:pt>
                <c:pt idx="15">
                  <c:v>0.15268379431186357</c:v>
                </c:pt>
                <c:pt idx="16">
                  <c:v>0.1519317746018899</c:v>
                </c:pt>
                <c:pt idx="17">
                  <c:v>0.15445568594387268</c:v>
                </c:pt>
                <c:pt idx="18">
                  <c:v>0.1515006510109455</c:v>
                </c:pt>
                <c:pt idx="19">
                  <c:v>0.1489545797892934</c:v>
                </c:pt>
                <c:pt idx="20">
                  <c:v>0.14980556546740098</c:v>
                </c:pt>
                <c:pt idx="21">
                  <c:v>0.15253119889303465</c:v>
                </c:pt>
                <c:pt idx="22">
                  <c:v>0.15427745823489783</c:v>
                </c:pt>
                <c:pt idx="23">
                  <c:v>0.1557194209415397</c:v>
                </c:pt>
                <c:pt idx="24">
                  <c:v>0.1560502486084421</c:v>
                </c:pt>
                <c:pt idx="25">
                  <c:v>0.1574521219956986</c:v>
                </c:pt>
                <c:pt idx="26">
                  <c:v>0.15596044254140867</c:v>
                </c:pt>
                <c:pt idx="27">
                  <c:v>0.15381035774795615</c:v>
                </c:pt>
                <c:pt idx="28">
                  <c:v>0.151617337620257</c:v>
                </c:pt>
                <c:pt idx="29">
                  <c:v>0.1515035424167934</c:v>
                </c:pt>
                <c:pt idx="30">
                  <c:v>0.15155591907625757</c:v>
                </c:pt>
                <c:pt idx="31">
                  <c:v>0.1553285183038419</c:v>
                </c:pt>
                <c:pt idx="32">
                  <c:v>0.15551686820283364</c:v>
                </c:pt>
                <c:pt idx="33">
                  <c:v>0.1530941833001186</c:v>
                </c:pt>
                <c:pt idx="34">
                  <c:v>0.15089159475243935</c:v>
                </c:pt>
                <c:pt idx="35">
                  <c:v>0.15252219786038734</c:v>
                </c:pt>
                <c:pt idx="36">
                  <c:v>0.15441064446784677</c:v>
                </c:pt>
                <c:pt idx="37">
                  <c:v>0.150418952026031</c:v>
                </c:pt>
                <c:pt idx="38">
                  <c:v>0.14989371022432402</c:v>
                </c:pt>
                <c:pt idx="39">
                  <c:v>0.15029037751732294</c:v>
                </c:pt>
                <c:pt idx="40">
                  <c:v>0.15022933117941378</c:v>
                </c:pt>
                <c:pt idx="41">
                  <c:v>0.14847166508261228</c:v>
                </c:pt>
                <c:pt idx="42">
                  <c:v>0.14855144881979937</c:v>
                </c:pt>
                <c:pt idx="43">
                  <c:v>0.1487326995684833</c:v>
                </c:pt>
                <c:pt idx="44">
                  <c:v>0.15150857173811122</c:v>
                </c:pt>
                <c:pt idx="45">
                  <c:v>0.154169418608538</c:v>
                </c:pt>
                <c:pt idx="46">
                  <c:v>0.1552927320499884</c:v>
                </c:pt>
                <c:pt idx="47">
                  <c:v>0.1559823346142569</c:v>
                </c:pt>
                <c:pt idx="48">
                  <c:v>0.15791453359372215</c:v>
                </c:pt>
                <c:pt idx="49">
                  <c:v>0.15791925425633094</c:v>
                </c:pt>
                <c:pt idx="50">
                  <c:v>0.16173630941621372</c:v>
                </c:pt>
                <c:pt idx="51">
                  <c:v>0.16133128110347889</c:v>
                </c:pt>
                <c:pt idx="52">
                  <c:v>0.16166869076925927</c:v>
                </c:pt>
                <c:pt idx="53">
                  <c:v>0.19172892764333477</c:v>
                </c:pt>
                <c:pt idx="54">
                  <c:v>0.1437414874904039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34.0"/>
          <c:min val="37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4833023103032956"/>
          <c:min val="0.091789473684210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9</c:f>
              <c:numCache>
                <c:formatCode>General</c:formatCode>
                <c:ptCount val="68"/>
                <c:pt idx="0">
                  <c:v>0.0</c:v>
                </c:pt>
                <c:pt idx="1">
                  <c:v>0.14268114237715246</c:v>
                </c:pt>
                <c:pt idx="2">
                  <c:v>0.15854697235617043</c:v>
                </c:pt>
                <c:pt idx="3">
                  <c:v>0.18724579047966577</c:v>
                </c:pt>
                <c:pt idx="4">
                  <c:v>0.20219985456278522</c:v>
                </c:pt>
                <c:pt idx="5">
                  <c:v>0.18534676460186997</c:v>
                </c:pt>
                <c:pt idx="6">
                  <c:v>0.18891049000616109</c:v>
                </c:pt>
                <c:pt idx="7">
                  <c:v>0.16914122770176765</c:v>
                </c:pt>
                <c:pt idx="8">
                  <c:v>0.1622822259397087</c:v>
                </c:pt>
                <c:pt idx="9">
                  <c:v>0.16390116559485532</c:v>
                </c:pt>
                <c:pt idx="10">
                  <c:v>0.1748705490286469</c:v>
                </c:pt>
                <c:pt idx="11">
                  <c:v>0.16611768967606763</c:v>
                </c:pt>
                <c:pt idx="12">
                  <c:v>0.16907370704249422</c:v>
                </c:pt>
                <c:pt idx="13">
                  <c:v>0.165130179010179</c:v>
                </c:pt>
                <c:pt idx="14">
                  <c:v>0.1656297995056303</c:v>
                </c:pt>
                <c:pt idx="15">
                  <c:v>0.18427885280377107</c:v>
                </c:pt>
                <c:pt idx="16">
                  <c:v>0.20388505558360856</c:v>
                </c:pt>
                <c:pt idx="17">
                  <c:v>0.21384233929344895</c:v>
                </c:pt>
                <c:pt idx="18">
                  <c:v>0.18626111708902454</c:v>
                </c:pt>
                <c:pt idx="19">
                  <c:v>0.19136689653574823</c:v>
                </c:pt>
                <c:pt idx="20">
                  <c:v>0.20388078801500295</c:v>
                </c:pt>
                <c:pt idx="21">
                  <c:v>0.1890290408384677</c:v>
                </c:pt>
                <c:pt idx="22">
                  <c:v>0.18580085304627886</c:v>
                </c:pt>
                <c:pt idx="23">
                  <c:v>0.1939801965202598</c:v>
                </c:pt>
                <c:pt idx="24">
                  <c:v>0.1798005332002383</c:v>
                </c:pt>
                <c:pt idx="25">
                  <c:v>0.1891231042245522</c:v>
                </c:pt>
                <c:pt idx="26">
                  <c:v>0.1888322918752774</c:v>
                </c:pt>
                <c:pt idx="27">
                  <c:v>0.19383955255844565</c:v>
                </c:pt>
                <c:pt idx="28">
                  <c:v>0.18391939611193855</c:v>
                </c:pt>
                <c:pt idx="29">
                  <c:v>0.19052335553393698</c:v>
                </c:pt>
                <c:pt idx="30">
                  <c:v>0.18972469799852296</c:v>
                </c:pt>
                <c:pt idx="31">
                  <c:v>0.19246010590881155</c:v>
                </c:pt>
                <c:pt idx="32">
                  <c:v>0.18928524553066306</c:v>
                </c:pt>
                <c:pt idx="33">
                  <c:v>0.20238648559268266</c:v>
                </c:pt>
                <c:pt idx="34">
                  <c:v>0.22120376383493548</c:v>
                </c:pt>
                <c:pt idx="35">
                  <c:v>0.21254130763421575</c:v>
                </c:pt>
                <c:pt idx="36">
                  <c:v>0.21520203286304765</c:v>
                </c:pt>
                <c:pt idx="37">
                  <c:v>0.21387291763517846</c:v>
                </c:pt>
                <c:pt idx="38">
                  <c:v>0.20406653981999873</c:v>
                </c:pt>
                <c:pt idx="39">
                  <c:v>0.18719084634450395</c:v>
                </c:pt>
                <c:pt idx="40">
                  <c:v>0.17483199658324547</c:v>
                </c:pt>
                <c:pt idx="41">
                  <c:v>0.1747675559257025</c:v>
                </c:pt>
                <c:pt idx="42">
                  <c:v>0.1828774014644339</c:v>
                </c:pt>
                <c:pt idx="43">
                  <c:v>0.19457329957277397</c:v>
                </c:pt>
                <c:pt idx="44">
                  <c:v>0.2370505376128804</c:v>
                </c:pt>
                <c:pt idx="45">
                  <c:v>0.23081617205178562</c:v>
                </c:pt>
                <c:pt idx="46">
                  <c:v>0.22997140363655538</c:v>
                </c:pt>
                <c:pt idx="47">
                  <c:v>0.256495935159296</c:v>
                </c:pt>
                <c:pt idx="48">
                  <c:v>0.23395731313058565</c:v>
                </c:pt>
                <c:pt idx="49">
                  <c:v>0.24569756059717154</c:v>
                </c:pt>
                <c:pt idx="50">
                  <c:v>0.24372575281936446</c:v>
                </c:pt>
                <c:pt idx="51">
                  <c:v>0.20289522155203285</c:v>
                </c:pt>
                <c:pt idx="52">
                  <c:v>0.2059907205469376</c:v>
                </c:pt>
                <c:pt idx="53">
                  <c:v>0.23805167152958384</c:v>
                </c:pt>
                <c:pt idx="54">
                  <c:v>0.23142368041534084</c:v>
                </c:pt>
                <c:pt idx="55">
                  <c:v>0.2475736942430409</c:v>
                </c:pt>
                <c:pt idx="56">
                  <c:v>0.23288570363738395</c:v>
                </c:pt>
                <c:pt idx="57">
                  <c:v>0.2434037615857961</c:v>
                </c:pt>
                <c:pt idx="58">
                  <c:v>0.21579657160932209</c:v>
                </c:pt>
                <c:pt idx="59">
                  <c:v>0.2067128412109832</c:v>
                </c:pt>
                <c:pt idx="60">
                  <c:v>0.21520667581211658</c:v>
                </c:pt>
                <c:pt idx="61">
                  <c:v>0.21789905441512847</c:v>
                </c:pt>
                <c:pt idx="62">
                  <c:v>0.21913220851707463</c:v>
                </c:pt>
                <c:pt idx="63">
                  <c:v>0.23190532958220453</c:v>
                </c:pt>
                <c:pt idx="64">
                  <c:v>0.21653250393101714</c:v>
                </c:pt>
                <c:pt idx="65">
                  <c:v>0.21320683485154873</c:v>
                </c:pt>
                <c:pt idx="66">
                  <c:v>0.17877129938351538</c:v>
                </c:pt>
                <c:pt idx="67">
                  <c:v>0.19425408681725298</c:v>
                </c:pt>
              </c:numCache>
            </c:numRef>
          </c:xVal>
          <c:yVal>
            <c:numRef>
              <c:f>Sheet1!$B$2:$B$69</c:f>
              <c:numCache>
                <c:formatCode>General</c:formatCode>
                <c:ptCount val="68"/>
                <c:pt idx="0">
                  <c:v>0.12736189239867302</c:v>
                </c:pt>
                <c:pt idx="1">
                  <c:v>0.11473684210526315</c:v>
                </c:pt>
                <c:pt idx="2">
                  <c:v>0.12917909276408726</c:v>
                </c:pt>
                <c:pt idx="3">
                  <c:v>0.1294477745185563</c:v>
                </c:pt>
                <c:pt idx="4">
                  <c:v>0.1314410480349345</c:v>
                </c:pt>
                <c:pt idx="5">
                  <c:v>0.13772893772893774</c:v>
                </c:pt>
                <c:pt idx="6">
                  <c:v>0.1395297977036632</c:v>
                </c:pt>
                <c:pt idx="7">
                  <c:v>0.14084204496634684</c:v>
                </c:pt>
                <c:pt idx="8">
                  <c:v>0.1541396413582602</c:v>
                </c:pt>
                <c:pt idx="9">
                  <c:v>0.16023516167365062</c:v>
                </c:pt>
                <c:pt idx="10">
                  <c:v>0.1565433991186051</c:v>
                </c:pt>
                <c:pt idx="11">
                  <c:v>0.1672272047832586</c:v>
                </c:pt>
                <c:pt idx="12">
                  <c:v>0.18160407383831953</c:v>
                </c:pt>
                <c:pt idx="13">
                  <c:v>0.1662672811059908</c:v>
                </c:pt>
                <c:pt idx="14">
                  <c:v>0.15697628922450896</c:v>
                </c:pt>
                <c:pt idx="15">
                  <c:v>0.16352160752238037</c:v>
                </c:pt>
                <c:pt idx="16">
                  <c:v>0.1539434837621257</c:v>
                </c:pt>
                <c:pt idx="17">
                  <c:v>0.14493437824568028</c:v>
                </c:pt>
                <c:pt idx="18">
                  <c:v>0.14723866834902455</c:v>
                </c:pt>
                <c:pt idx="19">
                  <c:v>0.16568929529867807</c:v>
                </c:pt>
                <c:pt idx="20">
                  <c:v>0.15792207792207794</c:v>
                </c:pt>
                <c:pt idx="21">
                  <c:v>0.1666922016240233</c:v>
                </c:pt>
                <c:pt idx="22">
                  <c:v>0.16105474685095328</c:v>
                </c:pt>
                <c:pt idx="23">
                  <c:v>0.17515145073865448</c:v>
                </c:pt>
                <c:pt idx="24">
                  <c:v>0.18491502481576177</c:v>
                </c:pt>
                <c:pt idx="25">
                  <c:v>0.18379191745485812</c:v>
                </c:pt>
                <c:pt idx="26">
                  <c:v>0.18938712578697162</c:v>
                </c:pt>
                <c:pt idx="27">
                  <c:v>0.17498773307163887</c:v>
                </c:pt>
                <c:pt idx="28">
                  <c:v>0.16728249916022842</c:v>
                </c:pt>
                <c:pt idx="29">
                  <c:v>0.15742730267869934</c:v>
                </c:pt>
                <c:pt idx="30">
                  <c:v>0.16017216201675505</c:v>
                </c:pt>
                <c:pt idx="31">
                  <c:v>0.14088159031979255</c:v>
                </c:pt>
                <c:pt idx="32">
                  <c:v>0.1369573330016171</c:v>
                </c:pt>
                <c:pt idx="33">
                  <c:v>0.1305445366029571</c:v>
                </c:pt>
                <c:pt idx="34">
                  <c:v>0.13758921490880255</c:v>
                </c:pt>
                <c:pt idx="35">
                  <c:v>0.13878487740065226</c:v>
                </c:pt>
                <c:pt idx="36">
                  <c:v>0.14861494026519628</c:v>
                </c:pt>
                <c:pt idx="37">
                  <c:v>0.15028248587570622</c:v>
                </c:pt>
                <c:pt idx="38">
                  <c:v>0.1395281516862064</c:v>
                </c:pt>
                <c:pt idx="39">
                  <c:v>0.14615981380915438</c:v>
                </c:pt>
                <c:pt idx="40">
                  <c:v>0.13737864077669903</c:v>
                </c:pt>
                <c:pt idx="41">
                  <c:v>0.14344927013876374</c:v>
                </c:pt>
                <c:pt idx="42">
                  <c:v>0.13620923913043478</c:v>
                </c:pt>
                <c:pt idx="43">
                  <c:v>0.1220852764823451</c:v>
                </c:pt>
                <c:pt idx="44">
                  <c:v>0.12071103761885077</c:v>
                </c:pt>
                <c:pt idx="45">
                  <c:v>0.12950410274705673</c:v>
                </c:pt>
                <c:pt idx="46">
                  <c:v>0.11986588432523052</c:v>
                </c:pt>
                <c:pt idx="47">
                  <c:v>0.12414080399916684</c:v>
                </c:pt>
                <c:pt idx="48">
                  <c:v>0.11991117690599556</c:v>
                </c:pt>
                <c:pt idx="49">
                  <c:v>0.12571277018963004</c:v>
                </c:pt>
                <c:pt idx="50">
                  <c:v>0.14543114543114544</c:v>
                </c:pt>
                <c:pt idx="51">
                  <c:v>0.1347056152565461</c:v>
                </c:pt>
                <c:pt idx="52">
                  <c:v>0.1289755754700404</c:v>
                </c:pt>
                <c:pt idx="53">
                  <c:v>0.12470287072590967</c:v>
                </c:pt>
                <c:pt idx="54">
                  <c:v>0.12860192102454643</c:v>
                </c:pt>
                <c:pt idx="55">
                  <c:v>0.13536881923804378</c:v>
                </c:pt>
                <c:pt idx="56">
                  <c:v>0.12579762989972654</c:v>
                </c:pt>
                <c:pt idx="57">
                  <c:v>0.12087595447341881</c:v>
                </c:pt>
                <c:pt idx="58">
                  <c:v>0.13340184994861254</c:v>
                </c:pt>
                <c:pt idx="59">
                  <c:v>0.12616476852536607</c:v>
                </c:pt>
                <c:pt idx="60">
                  <c:v>0.13153894870170996</c:v>
                </c:pt>
                <c:pt idx="61">
                  <c:v>0.14391063875935364</c:v>
                </c:pt>
                <c:pt idx="62">
                  <c:v>0.14492615983664942</c:v>
                </c:pt>
                <c:pt idx="63">
                  <c:v>0.15759652575150981</c:v>
                </c:pt>
                <c:pt idx="64">
                  <c:v>0.15528440478358527</c:v>
                </c:pt>
                <c:pt idx="65">
                  <c:v>0.1412722483837497</c:v>
                </c:pt>
                <c:pt idx="66">
                  <c:v>0.17290965207631875</c:v>
                </c:pt>
                <c:pt idx="67">
                  <c:v>0.16927536231884058</c:v>
                </c:pt>
              </c:numCache>
            </c:numRef>
          </c:yVal>
          <c:smooth val="0"/>
          <c:extLst>
            <c:ext xmlns:c16="http://schemas.microsoft.com/office/drawing/2014/chart" uri="{C3380CC4-5D6E-409C-BE32-E72D297353CC}">
              <c16:uniqueId val="{00000000-096C-4121-9522-6AB7243CCAAE}"/>
            </c:ext>
          </c:extLst>
        </c:ser>
        <c:ser>
          <c:idx val="1"/>
          <c:order val="1"/>
          <c:tx>
            <c:strRef>
              <c:f>Sheet1!$B$7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2:$A$123</c:f>
              <c:numCache>
                <c:formatCode>General</c:formatCode>
                <c:ptCount val="52"/>
                <c:pt idx="0">
                  <c:v>0.22121083314554457</c:v>
                </c:pt>
                <c:pt idx="1">
                  <c:v>0.21524247511002295</c:v>
                </c:pt>
                <c:pt idx="2">
                  <c:v>0.2145584445805315</c:v>
                </c:pt>
                <c:pt idx="3">
                  <c:v>0.24391827873126645</c:v>
                </c:pt>
                <c:pt idx="4">
                  <c:v>0.23670934473424424</c:v>
                </c:pt>
                <c:pt idx="5">
                  <c:v>0.23722042144705335</c:v>
                </c:pt>
                <c:pt idx="6">
                  <c:v>0.22574115015707139</c:v>
                </c:pt>
                <c:pt idx="7">
                  <c:v>0.21957167607611655</c:v>
                </c:pt>
                <c:pt idx="8">
                  <c:v>0.23126404313689305</c:v>
                </c:pt>
                <c:pt idx="9">
                  <c:v>0.2281499842930798</c:v>
                </c:pt>
                <c:pt idx="10">
                  <c:v>0.24705139504645532</c:v>
                </c:pt>
                <c:pt idx="11">
                  <c:v>0.23060064177325243</c:v>
                </c:pt>
                <c:pt idx="12">
                  <c:v>0.21753693339600186</c:v>
                </c:pt>
                <c:pt idx="13">
                  <c:v>0.22003548193320305</c:v>
                </c:pt>
                <c:pt idx="14">
                  <c:v>0.22295936479907597</c:v>
                </c:pt>
                <c:pt idx="15">
                  <c:v>0.20634504580369153</c:v>
                </c:pt>
                <c:pt idx="16">
                  <c:v>0.20419500558511142</c:v>
                </c:pt>
                <c:pt idx="17">
                  <c:v>0.19766610925980846</c:v>
                </c:pt>
                <c:pt idx="18">
                  <c:v>0.21792742697415923</c:v>
                </c:pt>
                <c:pt idx="19">
                  <c:v>0.21886822024964436</c:v>
                </c:pt>
                <c:pt idx="20">
                  <c:v>0.2099893150387875</c:v>
                </c:pt>
                <c:pt idx="21">
                  <c:v>0.20000341587515996</c:v>
                </c:pt>
                <c:pt idx="22">
                  <c:v>0.2173844196353007</c:v>
                </c:pt>
                <c:pt idx="23">
                  <c:v>0.19607890590594002</c:v>
                </c:pt>
                <c:pt idx="24">
                  <c:v>0.17851094483727284</c:v>
                </c:pt>
                <c:pt idx="25">
                  <c:v>0.1784282896155856</c:v>
                </c:pt>
                <c:pt idx="26">
                  <c:v>0.2026490702180863</c:v>
                </c:pt>
                <c:pt idx="27">
                  <c:v>0.21509433757292973</c:v>
                </c:pt>
                <c:pt idx="28">
                  <c:v>0.22563791907215694</c:v>
                </c:pt>
                <c:pt idx="29">
                  <c:v>0.1979535639196834</c:v>
                </c:pt>
                <c:pt idx="30">
                  <c:v>0.20431895264041314</c:v>
                </c:pt>
                <c:pt idx="31">
                  <c:v>0.20916360511646506</c:v>
                </c:pt>
                <c:pt idx="32">
                  <c:v>0.19335695155527335</c:v>
                </c:pt>
                <c:pt idx="33">
                  <c:v>0.18034583920031563</c:v>
                </c:pt>
                <c:pt idx="34">
                  <c:v>0.1824682405199194</c:v>
                </c:pt>
                <c:pt idx="35">
                  <c:v>0.1780002813791064</c:v>
                </c:pt>
                <c:pt idx="36">
                  <c:v>0.1580418268951762</c:v>
                </c:pt>
                <c:pt idx="37">
                  <c:v>0.1911896689818619</c:v>
                </c:pt>
                <c:pt idx="38">
                  <c:v>0.19444943337957027</c:v>
                </c:pt>
                <c:pt idx="39">
                  <c:v>0.20396113254094553</c:v>
                </c:pt>
                <c:pt idx="40">
                  <c:v>0.22232849189661913</c:v>
                </c:pt>
                <c:pt idx="41">
                  <c:v>0.22761807503573828</c:v>
                </c:pt>
                <c:pt idx="42">
                  <c:v>0.21068251965129298</c:v>
                </c:pt>
                <c:pt idx="43">
                  <c:v>0.2072289008791871</c:v>
                </c:pt>
                <c:pt idx="44">
                  <c:v>0.21981268399657802</c:v>
                </c:pt>
                <c:pt idx="45">
                  <c:v>0.21715091358955307</c:v>
                </c:pt>
                <c:pt idx="46">
                  <c:v>0.1996453937826299</c:v>
                </c:pt>
                <c:pt idx="47">
                  <c:v>0.21227236468652622</c:v>
                </c:pt>
                <c:pt idx="48">
                  <c:v>0.2756334132051384</c:v>
                </c:pt>
                <c:pt idx="49">
                  <c:v>0.22249965653554768</c:v>
                </c:pt>
                <c:pt idx="50">
                  <c:v>0.19703569896329556</c:v>
                </c:pt>
                <c:pt idx="51">
                  <c:v>0.21136403919550645</c:v>
                </c:pt>
              </c:numCache>
            </c:numRef>
          </c:xVal>
          <c:yVal>
            <c:numRef>
              <c:f>Sheet1!$B$72:$B$123</c:f>
              <c:numCache>
                <c:formatCode>General</c:formatCode>
                <c:ptCount val="52"/>
                <c:pt idx="0">
                  <c:v>0.1541166577478786</c:v>
                </c:pt>
                <c:pt idx="1">
                  <c:v>0.1648675171736997</c:v>
                </c:pt>
                <c:pt idx="2">
                  <c:v>0.16437189496096521</c:v>
                </c:pt>
                <c:pt idx="3">
                  <c:v>0.16784223405786672</c:v>
                </c:pt>
                <c:pt idx="4">
                  <c:v>0.16508204263149823</c:v>
                </c:pt>
                <c:pt idx="5">
                  <c:v>0.160546282245827</c:v>
                </c:pt>
                <c:pt idx="6">
                  <c:v>0.15580286168521462</c:v>
                </c:pt>
                <c:pt idx="7">
                  <c:v>0.16119971912930084</c:v>
                </c:pt>
                <c:pt idx="8">
                  <c:v>0.16118900729108246</c:v>
                </c:pt>
                <c:pt idx="9">
                  <c:v>0.17793417922283902</c:v>
                </c:pt>
                <c:pt idx="10">
                  <c:v>0.16633132126089872</c:v>
                </c:pt>
                <c:pt idx="11">
                  <c:v>0.15987482614742698</c:v>
                </c:pt>
                <c:pt idx="12">
                  <c:v>0.15854141894569956</c:v>
                </c:pt>
                <c:pt idx="13">
                  <c:v>0.16072177926982795</c:v>
                </c:pt>
                <c:pt idx="14">
                  <c:v>0.16202625942825216</c:v>
                </c:pt>
                <c:pt idx="15">
                  <c:v>0.15814840847474645</c:v>
                </c:pt>
                <c:pt idx="16">
                  <c:v>0.1462153267512929</c:v>
                </c:pt>
                <c:pt idx="17">
                  <c:v>0.14662112710417174</c:v>
                </c:pt>
                <c:pt idx="18">
                  <c:v>0.13117621337997376</c:v>
                </c:pt>
                <c:pt idx="19">
                  <c:v>0.14606437652150392</c:v>
                </c:pt>
                <c:pt idx="20">
                  <c:v>0.14379288833437304</c:v>
                </c:pt>
                <c:pt idx="21">
                  <c:v>0.14924256592481766</c:v>
                </c:pt>
                <c:pt idx="22">
                  <c:v>0.156353591160221</c:v>
                </c:pt>
                <c:pt idx="23">
                  <c:v>0.16745886654478975</c:v>
                </c:pt>
                <c:pt idx="24">
                  <c:v>0.16643812135755914</c:v>
                </c:pt>
                <c:pt idx="25">
                  <c:v>0.17317158931082982</c:v>
                </c:pt>
                <c:pt idx="26">
                  <c:v>0.16548223350253807</c:v>
                </c:pt>
                <c:pt idx="27">
                  <c:v>0.14224336351081787</c:v>
                </c:pt>
                <c:pt idx="28">
                  <c:v>0.1382348692763253</c:v>
                </c:pt>
                <c:pt idx="29">
                  <c:v>0.14395662060521253</c:v>
                </c:pt>
                <c:pt idx="30">
                  <c:v>0.14962593516209477</c:v>
                </c:pt>
                <c:pt idx="31">
                  <c:v>0.14123957091775924</c:v>
                </c:pt>
                <c:pt idx="32">
                  <c:v>0.14424460431654676</c:v>
                </c:pt>
                <c:pt idx="33">
                  <c:v>0.15920608108108109</c:v>
                </c:pt>
                <c:pt idx="34">
                  <c:v>0.1731679108400799</c:v>
                </c:pt>
                <c:pt idx="35">
                  <c:v>0.18076202373516553</c:v>
                </c:pt>
                <c:pt idx="36">
                  <c:v>0.16656057712709527</c:v>
                </c:pt>
                <c:pt idx="37">
                  <c:v>0.14589261999620565</c:v>
                </c:pt>
                <c:pt idx="38">
                  <c:v>0.14241960183767227</c:v>
                </c:pt>
                <c:pt idx="39">
                  <c:v>0.15253441802252815</c:v>
                </c:pt>
                <c:pt idx="40">
                  <c:v>0.1427690410114092</c:v>
                </c:pt>
                <c:pt idx="41">
                  <c:v>0.14487530632838402</c:v>
                </c:pt>
                <c:pt idx="42">
                  <c:v>0.14507941706238742</c:v>
                </c:pt>
                <c:pt idx="43">
                  <c:v>0.14091743119266056</c:v>
                </c:pt>
                <c:pt idx="44">
                  <c:v>0.1319726543148717</c:v>
                </c:pt>
                <c:pt idx="45">
                  <c:v>0.14151210533767522</c:v>
                </c:pt>
                <c:pt idx="46">
                  <c:v>0.1411833626244874</c:v>
                </c:pt>
                <c:pt idx="47">
                  <c:v>0.14124683689901082</c:v>
                </c:pt>
                <c:pt idx="48">
                  <c:v>0.12496828216188785</c:v>
                </c:pt>
                <c:pt idx="49">
                  <c:v>0.1396714953804038</c:v>
                </c:pt>
                <c:pt idx="50">
                  <c:v>0.16539307414172288</c:v>
                </c:pt>
                <c:pt idx="51">
                  <c:v>0.15651591289782243</c:v>
                </c:pt>
              </c:numCache>
            </c:numRef>
          </c:yVal>
          <c:smooth val="0"/>
          <c:extLst>
            <c:ext xmlns:c16="http://schemas.microsoft.com/office/drawing/2014/chart" uri="{C3380CC4-5D6E-409C-BE32-E72D297353CC}">
              <c16:uniqueId val="{00000002-096C-4121-9522-6AB7243CCAAE}"/>
            </c:ext>
          </c:extLst>
        </c:ser>
        <c:ser>
          <c:idx val="2"/>
          <c:order val="2"/>
          <c:tx>
            <c:strRef>
              <c:f>Sheet1!$B$12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6:$A$127</c:f>
              <c:numCache>
                <c:formatCode>General</c:formatCode>
                <c:ptCount val="2"/>
                <c:pt idx="0">
                  <c:v>0</c:v>
                </c:pt>
                <c:pt idx="1">
                  <c:v>0.15796842479156406</c:v>
                </c:pt>
              </c:numCache>
            </c:numRef>
          </c:xVal>
          <c:yVal>
            <c:numRef>
              <c:f>Sheet1!$B$126:$B$127</c:f>
              <c:numCache>
                <c:formatCode>General</c:formatCode>
                <c:ptCount val="2"/>
                <c:pt idx="0">
                  <c:v>0.16217098148197506</c:v>
                </c:pt>
                <c:pt idx="1">
                  <c:v>0.16217098148197506</c:v>
                </c:pt>
              </c:numCache>
            </c:numRef>
          </c:yVal>
          <c:smooth val="0"/>
          <c:extLst>
            <c:ext xmlns:c16="http://schemas.microsoft.com/office/drawing/2014/chart" uri="{C3380CC4-5D6E-409C-BE32-E72D297353CC}">
              <c16:uniqueId val="{00000005-096C-4121-9522-6AB7243CCAAE}"/>
            </c:ext>
          </c:extLst>
        </c:ser>
        <c:ser>
          <c:idx val="3"/>
          <c:order val="3"/>
          <c:tx>
            <c:strRef>
              <c:f>Sheet1!$B$12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0:$A$131</c:f>
              <c:numCache>
                <c:formatCode>General</c:formatCode>
                <c:ptCount val="2"/>
                <c:pt idx="0">
                  <c:v>0.15796842479156406</c:v>
                </c:pt>
                <c:pt idx="1">
                  <c:v>0.15796842479156406</c:v>
                </c:pt>
              </c:numCache>
            </c:numRef>
          </c:xVal>
          <c:yVal>
            <c:numRef>
              <c:f>Sheet1!$B$130:$B$131</c:f>
              <c:numCache>
                <c:formatCode>General</c:formatCode>
                <c:ptCount val="2"/>
                <c:pt idx="0">
                  <c:v>0.162170981481975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4:$A$135</c:f>
              <c:numCache>
                <c:formatCode>General</c:formatCode>
                <c:ptCount val="2"/>
                <c:pt idx="0">
                  <c:v>0</c:v>
                </c:pt>
                <c:pt idx="1">
                  <c:v>0.1611017555191486</c:v>
                </c:pt>
              </c:numCache>
            </c:numRef>
          </c:xVal>
          <c:yVal>
            <c:numRef>
              <c:f>Sheet1!$B$134:$B$135</c:f>
              <c:numCache>
                <c:formatCode>General</c:formatCode>
                <c:ptCount val="2"/>
                <c:pt idx="0">
                  <c:v>0.16166869076925927</c:v>
                </c:pt>
                <c:pt idx="1">
                  <c:v>0.16166869076925927</c:v>
                </c:pt>
              </c:numCache>
            </c:numRef>
          </c:yVal>
          <c:smooth val="0"/>
          <c:extLst>
            <c:ext xmlns:c16="http://schemas.microsoft.com/office/drawing/2014/chart" uri="{C3380CC4-5D6E-409C-BE32-E72D297353CC}">
              <c16:uniqueId val="{0000000D-096C-4121-9522-6AB7243CCAAE}"/>
            </c:ext>
          </c:extLst>
        </c:ser>
        <c:ser>
          <c:idx val="5"/>
          <c:order val="5"/>
          <c:tx>
            <c:strRef>
              <c:f>Sheet1!$B$13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8:$A$139</c:f>
              <c:numCache>
                <c:formatCode>General</c:formatCode>
                <c:ptCount val="2"/>
                <c:pt idx="0">
                  <c:v>0.1611017555191486</c:v>
                </c:pt>
                <c:pt idx="1">
                  <c:v>0.1611017555191486</c:v>
                </c:pt>
              </c:numCache>
            </c:numRef>
          </c:xVal>
          <c:yVal>
            <c:numRef>
              <c:f>Sheet1!$B$138:$B$139</c:f>
              <c:numCache>
                <c:formatCode>General</c:formatCode>
                <c:ptCount val="2"/>
                <c:pt idx="0">
                  <c:v>0.1616686907692592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4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42:$A$143</c:f>
              <c:numCache>
                <c:formatCode>General</c:formatCode>
                <c:ptCount val="2"/>
                <c:pt idx="0">
                  <c:v>0</c:v>
                </c:pt>
                <c:pt idx="1">
                  <c:v>0.27293312223819677</c:v>
                </c:pt>
              </c:numCache>
            </c:numRef>
          </c:xVal>
          <c:yVal>
            <c:numRef>
              <c:f>Sheet1!$B$142:$B$143</c:f>
              <c:numCache>
                <c:formatCode>General</c:formatCode>
                <c:ptCount val="2"/>
                <c:pt idx="0">
                  <c:v>0.14374148749040394</c:v>
                </c:pt>
                <c:pt idx="1">
                  <c:v>0.14374148749040394</c:v>
                </c:pt>
              </c:numCache>
            </c:numRef>
          </c:yVal>
          <c:smooth val="0"/>
          <c:extLst>
            <c:ext xmlns:c16="http://schemas.microsoft.com/office/drawing/2014/chart" uri="{C3380CC4-5D6E-409C-BE32-E72D297353CC}">
              <c16:uniqueId val="{00000015-096C-4121-9522-6AB7243CCAAE}"/>
            </c:ext>
          </c:extLst>
        </c:ser>
        <c:ser>
          <c:idx val="7"/>
          <c:order val="7"/>
          <c:tx>
            <c:strRef>
              <c:f>Sheet1!$B$14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6:$A$147</c:f>
              <c:numCache>
                <c:formatCode>General</c:formatCode>
                <c:ptCount val="2"/>
                <c:pt idx="0">
                  <c:v>0.27293312223819677</c:v>
                </c:pt>
                <c:pt idx="1">
                  <c:v>0.27293312223819677</c:v>
                </c:pt>
              </c:numCache>
            </c:numRef>
          </c:xVal>
          <c:yVal>
            <c:numRef>
              <c:f>Sheet1!$B$146:$B$147</c:f>
              <c:numCache>
                <c:formatCode>General</c:formatCode>
                <c:ptCount val="2"/>
                <c:pt idx="0">
                  <c:v>0.1437414874904039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50:$A$204</c:f>
              <c:numCache>
                <c:formatCode>General</c:formatCode>
                <c:ptCount val="55"/>
                <c:pt idx="0">
                  <c:v>0.22121083314554457</c:v>
                </c:pt>
                <c:pt idx="1">
                  <c:v>0.21524247511002295</c:v>
                </c:pt>
                <c:pt idx="2">
                  <c:v>0.2145584445805315</c:v>
                </c:pt>
                <c:pt idx="3">
                  <c:v>0.24391827873126645</c:v>
                </c:pt>
                <c:pt idx="4">
                  <c:v>0.23670934473424424</c:v>
                </c:pt>
                <c:pt idx="5">
                  <c:v>0.23722042144705335</c:v>
                </c:pt>
                <c:pt idx="6">
                  <c:v>0.22574115015707139</c:v>
                </c:pt>
                <c:pt idx="7">
                  <c:v>0.21957167607611655</c:v>
                </c:pt>
                <c:pt idx="8">
                  <c:v>0.23126404313689305</c:v>
                </c:pt>
                <c:pt idx="9">
                  <c:v>0.2281499842930798</c:v>
                </c:pt>
                <c:pt idx="10">
                  <c:v>0.24705139504645532</c:v>
                </c:pt>
                <c:pt idx="11">
                  <c:v>0.23060064177325243</c:v>
                </c:pt>
                <c:pt idx="12">
                  <c:v>0.21753693339600186</c:v>
                </c:pt>
                <c:pt idx="13">
                  <c:v>0.22003548193320305</c:v>
                </c:pt>
                <c:pt idx="14">
                  <c:v>0.22295936479907597</c:v>
                </c:pt>
                <c:pt idx="15">
                  <c:v>0.20634504580369153</c:v>
                </c:pt>
                <c:pt idx="16">
                  <c:v>0.20419500558511142</c:v>
                </c:pt>
                <c:pt idx="17">
                  <c:v>0.19766610925980846</c:v>
                </c:pt>
                <c:pt idx="18">
                  <c:v>0.21792742697415923</c:v>
                </c:pt>
                <c:pt idx="19">
                  <c:v>0.21886822024964436</c:v>
                </c:pt>
                <c:pt idx="20">
                  <c:v>0.2099893150387875</c:v>
                </c:pt>
                <c:pt idx="21">
                  <c:v>0.20000341587515996</c:v>
                </c:pt>
                <c:pt idx="22">
                  <c:v>0.2173844196353007</c:v>
                </c:pt>
                <c:pt idx="23">
                  <c:v>0.19607890590594002</c:v>
                </c:pt>
                <c:pt idx="24">
                  <c:v>0.17851094483727284</c:v>
                </c:pt>
                <c:pt idx="25">
                  <c:v>0.1784282896155856</c:v>
                </c:pt>
                <c:pt idx="26">
                  <c:v>0.2026490702180863</c:v>
                </c:pt>
                <c:pt idx="27">
                  <c:v>0.21509433757292973</c:v>
                </c:pt>
                <c:pt idx="28">
                  <c:v>0.22563791907215694</c:v>
                </c:pt>
                <c:pt idx="29">
                  <c:v>0.1979535639196834</c:v>
                </c:pt>
                <c:pt idx="30">
                  <c:v>0.20431895264041314</c:v>
                </c:pt>
                <c:pt idx="31">
                  <c:v>0.20916360511646506</c:v>
                </c:pt>
                <c:pt idx="32">
                  <c:v>0.19335695155527335</c:v>
                </c:pt>
                <c:pt idx="33">
                  <c:v>0.18034583920031563</c:v>
                </c:pt>
                <c:pt idx="34">
                  <c:v>0.1824682405199194</c:v>
                </c:pt>
                <c:pt idx="35">
                  <c:v>0.1780002813791064</c:v>
                </c:pt>
                <c:pt idx="36">
                  <c:v>0.1580418268951762</c:v>
                </c:pt>
                <c:pt idx="37">
                  <c:v>0.1911896689818619</c:v>
                </c:pt>
                <c:pt idx="38">
                  <c:v>0.19444943337957027</c:v>
                </c:pt>
                <c:pt idx="39">
                  <c:v>0.20396113254094553</c:v>
                </c:pt>
                <c:pt idx="40">
                  <c:v>0.22232849189661913</c:v>
                </c:pt>
                <c:pt idx="41">
                  <c:v>0.22761807503573828</c:v>
                </c:pt>
                <c:pt idx="42">
                  <c:v>0.21068251965129298</c:v>
                </c:pt>
                <c:pt idx="43">
                  <c:v>0.2072289008791871</c:v>
                </c:pt>
                <c:pt idx="44">
                  <c:v>0.21981268399657802</c:v>
                </c:pt>
                <c:pt idx="45">
                  <c:v>0.21715091358955307</c:v>
                </c:pt>
                <c:pt idx="46">
                  <c:v>0.1996453937826299</c:v>
                </c:pt>
                <c:pt idx="47">
                  <c:v>0.21227236468652622</c:v>
                </c:pt>
                <c:pt idx="48">
                  <c:v>0.2756334132051384</c:v>
                </c:pt>
                <c:pt idx="49">
                  <c:v>0.22249965653554768</c:v>
                </c:pt>
                <c:pt idx="50">
                  <c:v>0.19703569896329556</c:v>
                </c:pt>
                <c:pt idx="51">
                  <c:v>0.21136403919550645</c:v>
                </c:pt>
                <c:pt idx="52">
                  <c:v>0.1611017555191486</c:v>
                </c:pt>
                <c:pt idx="53">
                  <c:v>0.15796842479156406</c:v>
                </c:pt>
                <c:pt idx="54">
                  <c:v>0.27293312223819677</c:v>
                </c:pt>
              </c:numCache>
            </c:numRef>
          </c:xVal>
          <c:yVal>
            <c:numRef>
              <c:f>Sheet1!$B$150:$B$204</c:f>
              <c:numCache>
                <c:formatCode>General</c:formatCode>
                <c:ptCount val="55"/>
                <c:pt idx="0">
                  <c:v>0.1520328642106865</c:v>
                </c:pt>
                <c:pt idx="1">
                  <c:v>0.1529896259036075</c:v>
                </c:pt>
                <c:pt idx="2">
                  <c:v>0.1530992798827272</c:v>
                </c:pt>
                <c:pt idx="3">
                  <c:v>0.1483927317067041</c:v>
                </c:pt>
                <c:pt idx="4">
                  <c:v>0.14954836477263225</c:v>
                </c:pt>
                <c:pt idx="5">
                  <c:v>0.1494664362726915</c:v>
                </c:pt>
                <c:pt idx="6">
                  <c:v>0.15130662866187725</c:v>
                </c:pt>
                <c:pt idx="7">
                  <c:v>0.15229563039920527</c:v>
                </c:pt>
                <c:pt idx="8">
                  <c:v>0.1504212775475931</c:v>
                </c:pt>
                <c:pt idx="9">
                  <c:v>0.15092047886787752</c:v>
                </c:pt>
                <c:pt idx="10">
                  <c:v>0.1478904753655132</c:v>
                </c:pt>
                <c:pt idx="11">
                  <c:v>0.15052762455425478</c:v>
                </c:pt>
                <c:pt idx="12">
                  <c:v>0.15262181120801377</c:v>
                </c:pt>
                <c:pt idx="13">
                  <c:v>0.15222127968593174</c:v>
                </c:pt>
                <c:pt idx="14">
                  <c:v>0.1517525646550965</c:v>
                </c:pt>
                <c:pt idx="15">
                  <c:v>0.15441593435814488</c:v>
                </c:pt>
                <c:pt idx="16">
                  <c:v>0.15476059801725078</c:v>
                </c:pt>
                <c:pt idx="17">
                  <c:v>0.15580721718183926</c:v>
                </c:pt>
                <c:pt idx="18">
                  <c:v>0.15255921286946084</c:v>
                </c:pt>
                <c:pt idx="19">
                  <c:v>0.15240839836376519</c:v>
                </c:pt>
                <c:pt idx="20">
                  <c:v>0.15383173730058253</c:v>
                </c:pt>
                <c:pt idx="21">
                  <c:v>0.15543253365567178</c:v>
                </c:pt>
                <c:pt idx="22">
                  <c:v>0.1526462600301209</c:v>
                </c:pt>
                <c:pt idx="23">
                  <c:v>0.15606165489466062</c:v>
                </c:pt>
                <c:pt idx="24">
                  <c:v>0.1588778988386718</c:v>
                </c:pt>
                <c:pt idx="25">
                  <c:v>0.15889114894018372</c:v>
                </c:pt>
                <c:pt idx="26">
                  <c:v>0.15500842023738207</c:v>
                </c:pt>
                <c:pt idx="27">
                  <c:v>0.15301337319221367</c:v>
                </c:pt>
                <c:pt idx="28">
                  <c:v>0.15132317719113386</c:v>
                </c:pt>
                <c:pt idx="29">
                  <c:v>0.15576113656714036</c:v>
                </c:pt>
                <c:pt idx="30">
                  <c:v>0.1547407286002759</c:v>
                </c:pt>
                <c:pt idx="31">
                  <c:v>0.15396410329110136</c:v>
                </c:pt>
                <c:pt idx="32">
                  <c:v>0.15649799963756944</c:v>
                </c:pt>
                <c:pt idx="33">
                  <c:v>0.1585837548502134</c:v>
                </c:pt>
                <c:pt idx="34">
                  <c:v>0.15824352186360027</c:v>
                </c:pt>
                <c:pt idx="35">
                  <c:v>0.15895976109154608</c:v>
                </c:pt>
                <c:pt idx="36">
                  <c:v>0.16215921470784758</c:v>
                </c:pt>
                <c:pt idx="37">
                  <c:v>0.15684542734409007</c:v>
                </c:pt>
                <c:pt idx="38">
                  <c:v>0.15632286859591965</c:v>
                </c:pt>
                <c:pt idx="39">
                  <c:v>0.15479808919461197</c:v>
                </c:pt>
                <c:pt idx="40">
                  <c:v>0.1518536971646712</c:v>
                </c:pt>
                <c:pt idx="41">
                  <c:v>0.15100574694303412</c:v>
                </c:pt>
                <c:pt idx="42">
                  <c:v>0.1537206126638476</c:v>
                </c:pt>
                <c:pt idx="43">
                  <c:v>0.15427424736931228</c:v>
                </c:pt>
                <c:pt idx="44">
                  <c:v>0.15225699546064836</c:v>
                </c:pt>
                <c:pt idx="45">
                  <c:v>0.15268369237555113</c:v>
                </c:pt>
                <c:pt idx="46">
                  <c:v>0.15548992663064304</c:v>
                </c:pt>
                <c:pt idx="47">
                  <c:v>0.15346575147449892</c:v>
                </c:pt>
                <c:pt idx="48">
                  <c:v>0.14330861551095264</c:v>
                </c:pt>
                <c:pt idx="49">
                  <c:v>0.15182625850084863</c:v>
                </c:pt>
                <c:pt idx="50">
                  <c:v>0.15590827553305356</c:v>
                </c:pt>
                <c:pt idx="51">
                  <c:v>0.1536113612099302</c:v>
                </c:pt>
                <c:pt idx="52">
                  <c:v>0.16166869076925927</c:v>
                </c:pt>
                <c:pt idx="53">
                  <c:v>0.16217098148197506</c:v>
                </c:pt>
                <c:pt idx="54">
                  <c:v>0.1437414874904039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oreal Pari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2726455094436593"/>
          <c:min val="0.091789473684210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9</c:f>
              <c:numCache>
                <c:formatCode>General</c:formatCode>
                <c:ptCount val="68"/>
                <c:pt idx="0">
                  <c:v>1270.2344</c:v>
                </c:pt>
                <c:pt idx="1">
                  <c:v>1358.8952</c:v>
                </c:pt>
                <c:pt idx="2">
                  <c:v>1325.678</c:v>
                </c:pt>
                <c:pt idx="3">
                  <c:v>1382.1704</c:v>
                </c:pt>
                <c:pt idx="4">
                  <c:v>1373.2447</c:v>
                </c:pt>
                <c:pt idx="5">
                  <c:v>1408.1215</c:v>
                </c:pt>
                <c:pt idx="6">
                  <c:v>1420.1661</c:v>
                </c:pt>
                <c:pt idx="7">
                  <c:v>1271.0615</c:v>
                </c:pt>
                <c:pt idx="8">
                  <c:v>1212.934</c:v>
                </c:pt>
                <c:pt idx="9">
                  <c:v>1223.3583</c:v>
                </c:pt>
                <c:pt idx="10">
                  <c:v>1216.8339</c:v>
                </c:pt>
                <c:pt idx="11">
                  <c:v>1188.9966</c:v>
                </c:pt>
                <c:pt idx="12">
                  <c:v>1159.1446</c:v>
                </c:pt>
                <c:pt idx="13">
                  <c:v>1176.1397</c:v>
                </c:pt>
                <c:pt idx="14">
                  <c:v>1206.1162</c:v>
                </c:pt>
                <c:pt idx="15">
                  <c:v>1197.3198</c:v>
                </c:pt>
                <c:pt idx="16">
                  <c:v>1345.2789</c:v>
                </c:pt>
                <c:pt idx="17">
                  <c:v>1358.6176</c:v>
                </c:pt>
                <c:pt idx="18">
                  <c:v>1357.1134</c:v>
                </c:pt>
                <c:pt idx="19">
                  <c:v>1371.3281</c:v>
                </c:pt>
                <c:pt idx="20">
                  <c:v>1344.8766</c:v>
                </c:pt>
                <c:pt idx="21">
                  <c:v>1315.9706</c:v>
                </c:pt>
                <c:pt idx="22">
                  <c:v>1297.3162</c:v>
                </c:pt>
                <c:pt idx="23">
                  <c:v>1292.0592</c:v>
                </c:pt>
                <c:pt idx="24">
                  <c:v>1278.8695</c:v>
                </c:pt>
                <c:pt idx="25">
                  <c:v>1235.5162</c:v>
                </c:pt>
                <c:pt idx="26">
                  <c:v>1228.3236</c:v>
                </c:pt>
                <c:pt idx="27">
                  <c:v>1223.9506</c:v>
                </c:pt>
                <c:pt idx="28">
                  <c:v>1216.951</c:v>
                </c:pt>
                <c:pt idx="29">
                  <c:v>1272.9818</c:v>
                </c:pt>
                <c:pt idx="30">
                  <c:v>1306.8167</c:v>
                </c:pt>
                <c:pt idx="31">
                  <c:v>1319.1452</c:v>
                </c:pt>
                <c:pt idx="32">
                  <c:v>1338.3224</c:v>
                </c:pt>
                <c:pt idx="33">
                  <c:v>1345.1943</c:v>
                </c:pt>
                <c:pt idx="34">
                  <c:v>1389.7589</c:v>
                </c:pt>
                <c:pt idx="35">
                  <c:v>1402.9443</c:v>
                </c:pt>
                <c:pt idx="36">
                  <c:v>1383.8984</c:v>
                </c:pt>
                <c:pt idx="37">
                  <c:v>1332.457</c:v>
                </c:pt>
                <c:pt idx="38">
                  <c:v>1328.2075</c:v>
                </c:pt>
                <c:pt idx="39">
                  <c:v>1334.8089</c:v>
                </c:pt>
                <c:pt idx="40">
                  <c:v>1319.424</c:v>
                </c:pt>
                <c:pt idx="41">
                  <c:v>1367.1784</c:v>
                </c:pt>
                <c:pt idx="42">
                  <c:v>1373.1372</c:v>
                </c:pt>
                <c:pt idx="43">
                  <c:v>1360.2769</c:v>
                </c:pt>
                <c:pt idx="44">
                  <c:v>1398.2979</c:v>
                </c:pt>
                <c:pt idx="45">
                  <c:v>1387.9532</c:v>
                </c:pt>
                <c:pt idx="46">
                  <c:v>1371.021</c:v>
                </c:pt>
                <c:pt idx="47">
                  <c:v>1356.8725</c:v>
                </c:pt>
                <c:pt idx="48">
                  <c:v>1366.3287</c:v>
                </c:pt>
                <c:pt idx="49">
                  <c:v>1352.9546</c:v>
                </c:pt>
                <c:pt idx="50">
                  <c:v>1357.6726</c:v>
                </c:pt>
                <c:pt idx="51">
                  <c:v>1364.1</c:v>
                </c:pt>
                <c:pt idx="52">
                  <c:v>1349.079</c:v>
                </c:pt>
                <c:pt idx="53">
                  <c:v>1382.3109</c:v>
                </c:pt>
                <c:pt idx="54">
                  <c:v>1392.7427</c:v>
                </c:pt>
                <c:pt idx="55">
                  <c:v>1356.489</c:v>
                </c:pt>
                <c:pt idx="56">
                  <c:v>1359.1035</c:v>
                </c:pt>
                <c:pt idx="57">
                  <c:v>1401.1299</c:v>
                </c:pt>
                <c:pt idx="58">
                  <c:v>1333.3374</c:v>
                </c:pt>
                <c:pt idx="59">
                  <c:v>1246.0106</c:v>
                </c:pt>
                <c:pt idx="60">
                  <c:v>1272.9788</c:v>
                </c:pt>
                <c:pt idx="61">
                  <c:v>1249.6236</c:v>
                </c:pt>
                <c:pt idx="62">
                  <c:v>1234.3542</c:v>
                </c:pt>
                <c:pt idx="63">
                  <c:v>1240.6437</c:v>
                </c:pt>
                <c:pt idx="64">
                  <c:v>1277.0735</c:v>
                </c:pt>
                <c:pt idx="65">
                  <c:v>1320.3701</c:v>
                </c:pt>
                <c:pt idx="66">
                  <c:v>1029.6759</c:v>
                </c:pt>
                <c:pt idx="67">
                  <c:v>1125.5548</c:v>
                </c:pt>
              </c:numCache>
            </c:numRef>
          </c:xVal>
          <c:yVal>
            <c:numRef>
              <c:f>Sheet1!$B$2:$B$69</c:f>
              <c:numCache>
                <c:formatCode>General</c:formatCode>
                <c:ptCount val="68"/>
                <c:pt idx="0">
                  <c:v>0.12736189239867302</c:v>
                </c:pt>
                <c:pt idx="1">
                  <c:v>0.11473684210526315</c:v>
                </c:pt>
                <c:pt idx="2">
                  <c:v>0.12917909276408726</c:v>
                </c:pt>
                <c:pt idx="3">
                  <c:v>0.1294477745185563</c:v>
                </c:pt>
                <c:pt idx="4">
                  <c:v>0.1314410480349345</c:v>
                </c:pt>
                <c:pt idx="5">
                  <c:v>0.13772893772893774</c:v>
                </c:pt>
                <c:pt idx="6">
                  <c:v>0.1395297977036632</c:v>
                </c:pt>
                <c:pt idx="7">
                  <c:v>0.14084204496634684</c:v>
                </c:pt>
                <c:pt idx="8">
                  <c:v>0.1541396413582602</c:v>
                </c:pt>
                <c:pt idx="9">
                  <c:v>0.16023516167365062</c:v>
                </c:pt>
                <c:pt idx="10">
                  <c:v>0.1565433991186051</c:v>
                </c:pt>
                <c:pt idx="11">
                  <c:v>0.1672272047832586</c:v>
                </c:pt>
                <c:pt idx="12">
                  <c:v>0.18160407383831953</c:v>
                </c:pt>
                <c:pt idx="13">
                  <c:v>0.1662672811059908</c:v>
                </c:pt>
                <c:pt idx="14">
                  <c:v>0.15697628922450896</c:v>
                </c:pt>
                <c:pt idx="15">
                  <c:v>0.16352160752238037</c:v>
                </c:pt>
                <c:pt idx="16">
                  <c:v>0.1539434837621257</c:v>
                </c:pt>
                <c:pt idx="17">
                  <c:v>0.14493437824568028</c:v>
                </c:pt>
                <c:pt idx="18">
                  <c:v>0.14723866834902455</c:v>
                </c:pt>
                <c:pt idx="19">
                  <c:v>0.16568929529867807</c:v>
                </c:pt>
                <c:pt idx="20">
                  <c:v>0.15792207792207794</c:v>
                </c:pt>
                <c:pt idx="21">
                  <c:v>0.1666922016240233</c:v>
                </c:pt>
                <c:pt idx="22">
                  <c:v>0.16105474685095328</c:v>
                </c:pt>
                <c:pt idx="23">
                  <c:v>0.17515145073865448</c:v>
                </c:pt>
                <c:pt idx="24">
                  <c:v>0.18491502481576177</c:v>
                </c:pt>
                <c:pt idx="25">
                  <c:v>0.18379191745485812</c:v>
                </c:pt>
                <c:pt idx="26">
                  <c:v>0.18938712578697162</c:v>
                </c:pt>
                <c:pt idx="27">
                  <c:v>0.17498773307163887</c:v>
                </c:pt>
                <c:pt idx="28">
                  <c:v>0.16728249916022842</c:v>
                </c:pt>
                <c:pt idx="29">
                  <c:v>0.15742730267869934</c:v>
                </c:pt>
                <c:pt idx="30">
                  <c:v>0.16017216201675505</c:v>
                </c:pt>
                <c:pt idx="31">
                  <c:v>0.14088159031979255</c:v>
                </c:pt>
                <c:pt idx="32">
                  <c:v>0.1369573330016171</c:v>
                </c:pt>
                <c:pt idx="33">
                  <c:v>0.1305445366029571</c:v>
                </c:pt>
                <c:pt idx="34">
                  <c:v>0.13758921490880255</c:v>
                </c:pt>
                <c:pt idx="35">
                  <c:v>0.13878487740065226</c:v>
                </c:pt>
                <c:pt idx="36">
                  <c:v>0.14861494026519628</c:v>
                </c:pt>
                <c:pt idx="37">
                  <c:v>0.15028248587570622</c:v>
                </c:pt>
                <c:pt idx="38">
                  <c:v>0.1395281516862064</c:v>
                </c:pt>
                <c:pt idx="39">
                  <c:v>0.14615981380915438</c:v>
                </c:pt>
                <c:pt idx="40">
                  <c:v>0.13737864077669903</c:v>
                </c:pt>
                <c:pt idx="41">
                  <c:v>0.14344927013876374</c:v>
                </c:pt>
                <c:pt idx="42">
                  <c:v>0.13620923913043478</c:v>
                </c:pt>
                <c:pt idx="43">
                  <c:v>0.1220852764823451</c:v>
                </c:pt>
                <c:pt idx="44">
                  <c:v>0.12071103761885077</c:v>
                </c:pt>
                <c:pt idx="45">
                  <c:v>0.12950410274705673</c:v>
                </c:pt>
                <c:pt idx="46">
                  <c:v>0.11986588432523052</c:v>
                </c:pt>
                <c:pt idx="47">
                  <c:v>0.12414080399916684</c:v>
                </c:pt>
                <c:pt idx="48">
                  <c:v>0.11991117690599556</c:v>
                </c:pt>
                <c:pt idx="49">
                  <c:v>0.12571277018963004</c:v>
                </c:pt>
                <c:pt idx="50">
                  <c:v>0.14543114543114544</c:v>
                </c:pt>
                <c:pt idx="51">
                  <c:v>0.1347056152565461</c:v>
                </c:pt>
                <c:pt idx="52">
                  <c:v>0.1289755754700404</c:v>
                </c:pt>
                <c:pt idx="53">
                  <c:v>0.12470287072590967</c:v>
                </c:pt>
                <c:pt idx="54">
                  <c:v>0.12860192102454643</c:v>
                </c:pt>
                <c:pt idx="55">
                  <c:v>0.13536881923804378</c:v>
                </c:pt>
                <c:pt idx="56">
                  <c:v>0.12579762989972654</c:v>
                </c:pt>
                <c:pt idx="57">
                  <c:v>0.12087595447341881</c:v>
                </c:pt>
                <c:pt idx="58">
                  <c:v>0.13340184994861254</c:v>
                </c:pt>
                <c:pt idx="59">
                  <c:v>0.12616476852536607</c:v>
                </c:pt>
                <c:pt idx="60">
                  <c:v>0.13153894870170996</c:v>
                </c:pt>
                <c:pt idx="61">
                  <c:v>0.14391063875935364</c:v>
                </c:pt>
                <c:pt idx="62">
                  <c:v>0.14492615983664942</c:v>
                </c:pt>
                <c:pt idx="63">
                  <c:v>0.15759652575150981</c:v>
                </c:pt>
                <c:pt idx="64">
                  <c:v>0.15528440478358527</c:v>
                </c:pt>
                <c:pt idx="65">
                  <c:v>0.1412722483837497</c:v>
                </c:pt>
                <c:pt idx="66">
                  <c:v>0.17290965207631875</c:v>
                </c:pt>
                <c:pt idx="67">
                  <c:v>0.16927536231884058</c:v>
                </c:pt>
              </c:numCache>
            </c:numRef>
          </c:yVal>
          <c:smooth val="0"/>
          <c:extLst>
            <c:ext xmlns:c16="http://schemas.microsoft.com/office/drawing/2014/chart" uri="{C3380CC4-5D6E-409C-BE32-E72D297353CC}">
              <c16:uniqueId val="{00000000-F32D-48B7-BC20-E66FC6253BAD}"/>
            </c:ext>
          </c:extLst>
        </c:ser>
        <c:ser>
          <c:idx val="1"/>
          <c:order val="1"/>
          <c:tx>
            <c:strRef>
              <c:f>Sheet1!$B$7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2:$A$123</c:f>
              <c:numCache>
                <c:formatCode>General</c:formatCode>
                <c:ptCount val="52"/>
                <c:pt idx="0">
                  <c:v>1285.9583</c:v>
                </c:pt>
                <c:pt idx="1">
                  <c:v>1252.8611</c:v>
                </c:pt>
                <c:pt idx="2">
                  <c:v>1239.1231</c:v>
                </c:pt>
                <c:pt idx="3">
                  <c:v>1298.5253</c:v>
                </c:pt>
                <c:pt idx="4">
                  <c:v>1271.274</c:v>
                </c:pt>
                <c:pt idx="5">
                  <c:v>1275.2647</c:v>
                </c:pt>
                <c:pt idx="6">
                  <c:v>1236.2908</c:v>
                </c:pt>
                <c:pt idx="7">
                  <c:v>1293.1101</c:v>
                </c:pt>
                <c:pt idx="8">
                  <c:v>1388.8079</c:v>
                </c:pt>
                <c:pt idx="9">
                  <c:v>1325.8825</c:v>
                </c:pt>
                <c:pt idx="10">
                  <c:v>1354.1596</c:v>
                </c:pt>
                <c:pt idx="11">
                  <c:v>1286.4732</c:v>
                </c:pt>
                <c:pt idx="12">
                  <c:v>1313.19</c:v>
                </c:pt>
                <c:pt idx="13">
                  <c:v>1330.0507</c:v>
                </c:pt>
                <c:pt idx="14">
                  <c:v>1326.6793</c:v>
                </c:pt>
                <c:pt idx="15">
                  <c:v>1331.6044</c:v>
                </c:pt>
                <c:pt idx="16">
                  <c:v>1348.172</c:v>
                </c:pt>
                <c:pt idx="17">
                  <c:v>1292.5682</c:v>
                </c:pt>
                <c:pt idx="18">
                  <c:v>1357.67</c:v>
                </c:pt>
                <c:pt idx="19">
                  <c:v>1413.762</c:v>
                </c:pt>
                <c:pt idx="20">
                  <c:v>1395.0141</c:v>
                </c:pt>
                <c:pt idx="21">
                  <c:v>1334.9662</c:v>
                </c:pt>
                <c:pt idx="22">
                  <c:v>1296.4947</c:v>
                </c:pt>
                <c:pt idx="23">
                  <c:v>1264.7271</c:v>
                </c:pt>
                <c:pt idx="24">
                  <c:v>1257.4387</c:v>
                </c:pt>
                <c:pt idx="25">
                  <c:v>1226.5543</c:v>
                </c:pt>
                <c:pt idx="26">
                  <c:v>1259.4172</c:v>
                </c:pt>
                <c:pt idx="27">
                  <c:v>1306.7853</c:v>
                </c:pt>
                <c:pt idx="28">
                  <c:v>1355.0993</c:v>
                </c:pt>
                <c:pt idx="29">
                  <c:v>1357.6063</c:v>
                </c:pt>
                <c:pt idx="30">
                  <c:v>1356.4524</c:v>
                </c:pt>
                <c:pt idx="31">
                  <c:v>1273.339</c:v>
                </c:pt>
                <c:pt idx="32">
                  <c:v>1269.1895</c:v>
                </c:pt>
                <c:pt idx="33">
                  <c:v>1322.5632</c:v>
                </c:pt>
                <c:pt idx="34">
                  <c:v>1371.088</c:v>
                </c:pt>
                <c:pt idx="35">
                  <c:v>1335.1645</c:v>
                </c:pt>
                <c:pt idx="36">
                  <c:v>1293.5605</c:v>
                </c:pt>
                <c:pt idx="37">
                  <c:v>1381.5007</c:v>
                </c:pt>
                <c:pt idx="38">
                  <c:v>1393.0722</c:v>
                </c:pt>
                <c:pt idx="39">
                  <c:v>1384.3333</c:v>
                </c:pt>
                <c:pt idx="40">
                  <c:v>1385.6782</c:v>
                </c:pt>
                <c:pt idx="41">
                  <c:v>1424.401</c:v>
                </c:pt>
                <c:pt idx="42">
                  <c:v>1422.6433</c:v>
                </c:pt>
                <c:pt idx="43">
                  <c:v>1418.6502</c:v>
                </c:pt>
                <c:pt idx="44">
                  <c:v>1357.4955</c:v>
                </c:pt>
                <c:pt idx="45">
                  <c:v>1298.8749</c:v>
                </c:pt>
                <c:pt idx="46">
                  <c:v>1274.1274</c:v>
                </c:pt>
                <c:pt idx="47">
                  <c:v>1258.9349</c:v>
                </c:pt>
                <c:pt idx="48">
                  <c:v>1216.367</c:v>
                </c:pt>
                <c:pt idx="49">
                  <c:v>1216.263</c:v>
                </c:pt>
                <c:pt idx="50">
                  <c:v>1132.1702</c:v>
                </c:pt>
                <c:pt idx="51">
                  <c:v>1141.0933</c:v>
                </c:pt>
              </c:numCache>
            </c:numRef>
          </c:xVal>
          <c:yVal>
            <c:numRef>
              <c:f>Sheet1!$B$72:$B$123</c:f>
              <c:numCache>
                <c:formatCode>General</c:formatCode>
                <c:ptCount val="52"/>
                <c:pt idx="0">
                  <c:v>0.1541166577478786</c:v>
                </c:pt>
                <c:pt idx="1">
                  <c:v>0.1648675171736997</c:v>
                </c:pt>
                <c:pt idx="2">
                  <c:v>0.16437189496096521</c:v>
                </c:pt>
                <c:pt idx="3">
                  <c:v>0.16784223405786672</c:v>
                </c:pt>
                <c:pt idx="4">
                  <c:v>0.16508204263149823</c:v>
                </c:pt>
                <c:pt idx="5">
                  <c:v>0.160546282245827</c:v>
                </c:pt>
                <c:pt idx="6">
                  <c:v>0.15580286168521462</c:v>
                </c:pt>
                <c:pt idx="7">
                  <c:v>0.16119971912930084</c:v>
                </c:pt>
                <c:pt idx="8">
                  <c:v>0.16118900729108246</c:v>
                </c:pt>
                <c:pt idx="9">
                  <c:v>0.17793417922283902</c:v>
                </c:pt>
                <c:pt idx="10">
                  <c:v>0.16633132126089872</c:v>
                </c:pt>
                <c:pt idx="11">
                  <c:v>0.15987482614742698</c:v>
                </c:pt>
                <c:pt idx="12">
                  <c:v>0.15854141894569956</c:v>
                </c:pt>
                <c:pt idx="13">
                  <c:v>0.16072177926982795</c:v>
                </c:pt>
                <c:pt idx="14">
                  <c:v>0.16202625942825216</c:v>
                </c:pt>
                <c:pt idx="15">
                  <c:v>0.15814840847474645</c:v>
                </c:pt>
                <c:pt idx="16">
                  <c:v>0.1462153267512929</c:v>
                </c:pt>
                <c:pt idx="17">
                  <c:v>0.14662112710417174</c:v>
                </c:pt>
                <c:pt idx="18">
                  <c:v>0.13117621337997376</c:v>
                </c:pt>
                <c:pt idx="19">
                  <c:v>0.14606437652150392</c:v>
                </c:pt>
                <c:pt idx="20">
                  <c:v>0.14379288833437304</c:v>
                </c:pt>
                <c:pt idx="21">
                  <c:v>0.14924256592481766</c:v>
                </c:pt>
                <c:pt idx="22">
                  <c:v>0.156353591160221</c:v>
                </c:pt>
                <c:pt idx="23">
                  <c:v>0.16745886654478975</c:v>
                </c:pt>
                <c:pt idx="24">
                  <c:v>0.16643812135755914</c:v>
                </c:pt>
                <c:pt idx="25">
                  <c:v>0.17317158931082982</c:v>
                </c:pt>
                <c:pt idx="26">
                  <c:v>0.16548223350253807</c:v>
                </c:pt>
                <c:pt idx="27">
                  <c:v>0.14224336351081787</c:v>
                </c:pt>
                <c:pt idx="28">
                  <c:v>0.1382348692763253</c:v>
                </c:pt>
                <c:pt idx="29">
                  <c:v>0.14395662060521253</c:v>
                </c:pt>
                <c:pt idx="30">
                  <c:v>0.14962593516209477</c:v>
                </c:pt>
                <c:pt idx="31">
                  <c:v>0.14123957091775924</c:v>
                </c:pt>
                <c:pt idx="32">
                  <c:v>0.14424460431654676</c:v>
                </c:pt>
                <c:pt idx="33">
                  <c:v>0.15920608108108109</c:v>
                </c:pt>
                <c:pt idx="34">
                  <c:v>0.1731679108400799</c:v>
                </c:pt>
                <c:pt idx="35">
                  <c:v>0.18076202373516553</c:v>
                </c:pt>
                <c:pt idx="36">
                  <c:v>0.16656057712709527</c:v>
                </c:pt>
                <c:pt idx="37">
                  <c:v>0.14589261999620565</c:v>
                </c:pt>
                <c:pt idx="38">
                  <c:v>0.14241960183767227</c:v>
                </c:pt>
                <c:pt idx="39">
                  <c:v>0.15253441802252815</c:v>
                </c:pt>
                <c:pt idx="40">
                  <c:v>0.1427690410114092</c:v>
                </c:pt>
                <c:pt idx="41">
                  <c:v>0.14487530632838402</c:v>
                </c:pt>
                <c:pt idx="42">
                  <c:v>0.14507941706238742</c:v>
                </c:pt>
                <c:pt idx="43">
                  <c:v>0.14091743119266056</c:v>
                </c:pt>
                <c:pt idx="44">
                  <c:v>0.1319726543148717</c:v>
                </c:pt>
                <c:pt idx="45">
                  <c:v>0.14151210533767522</c:v>
                </c:pt>
                <c:pt idx="46">
                  <c:v>0.1411833626244874</c:v>
                </c:pt>
                <c:pt idx="47">
                  <c:v>0.14124683689901082</c:v>
                </c:pt>
                <c:pt idx="48">
                  <c:v>0.12496828216188785</c:v>
                </c:pt>
                <c:pt idx="49">
                  <c:v>0.1396714953804038</c:v>
                </c:pt>
                <c:pt idx="50">
                  <c:v>0.16539307414172288</c:v>
                </c:pt>
                <c:pt idx="51">
                  <c:v>0.15651591289782243</c:v>
                </c:pt>
              </c:numCache>
            </c:numRef>
          </c:yVal>
          <c:smooth val="0"/>
          <c:extLst>
            <c:ext xmlns:c16="http://schemas.microsoft.com/office/drawing/2014/chart" uri="{C3380CC4-5D6E-409C-BE32-E72D297353CC}">
              <c16:uniqueId val="{00000002-F32D-48B7-BC20-E66FC6253BAD}"/>
            </c:ext>
          </c:extLst>
        </c:ser>
        <c:ser>
          <c:idx val="2"/>
          <c:order val="2"/>
          <c:tx>
            <c:strRef>
              <c:f>Sheet1!$B$125</c:f>
              <c:strCache>
                <c:ptCount val="1"/>
                <c:pt idx="0">
                  <c:v>Custom Linep3yQ</c:v>
                </c:pt>
              </c:strCache>
            </c:strRef>
          </c:tx>
          <c:spPr>
            <a:ln w="19050" cap="rnd">
              <a:solidFill>
                <a:srgbClr val="C00000"/>
              </a:solidFill>
              <a:prstDash val="sysDot"/>
              <a:round/>
            </a:ln>
            <a:effectLst/>
          </c:spPr>
          <c:marker>
            <c:symbol val="none"/>
          </c:marker>
          <c:xVal>
            <c:numRef>
              <c:f>Sheet1!$A$126:$A$127</c:f>
              <c:numCache>
                <c:formatCode>General</c:formatCode>
                <c:ptCount val="2"/>
                <c:pt idx="0">
                  <c:v>0</c:v>
                </c:pt>
                <c:pt idx="1">
                  <c:v>1122.5940242413094</c:v>
                </c:pt>
              </c:numCache>
            </c:numRef>
          </c:xVal>
          <c:yVal>
            <c:numRef>
              <c:f>Sheet1!$B$126:$B$127</c:f>
              <c:numCache>
                <c:formatCode>General</c:formatCode>
                <c:ptCount val="2"/>
                <c:pt idx="0">
                  <c:v>0.16217098148197506</c:v>
                </c:pt>
                <c:pt idx="1">
                  <c:v>0.16217098148197506</c:v>
                </c:pt>
              </c:numCache>
            </c:numRef>
          </c:yVal>
          <c:smooth val="0"/>
          <c:extLst>
            <c:ext xmlns:c16="http://schemas.microsoft.com/office/drawing/2014/chart" uri="{C3380CC4-5D6E-409C-BE32-E72D297353CC}">
              <c16:uniqueId val="{00000003-F32D-48B7-BC20-E66FC6253BAD}"/>
            </c:ext>
          </c:extLst>
        </c:ser>
        <c:ser>
          <c:idx val="3"/>
          <c:order val="3"/>
          <c:tx>
            <c:strRef>
              <c:f>Sheet1!$B$12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0:$A$131</c:f>
              <c:numCache>
                <c:formatCode>General</c:formatCode>
                <c:ptCount val="2"/>
                <c:pt idx="0">
                  <c:v>1122.5940242413094</c:v>
                </c:pt>
                <c:pt idx="1">
                  <c:v>1122.5940242413094</c:v>
                </c:pt>
              </c:numCache>
            </c:numRef>
          </c:xVal>
          <c:yVal>
            <c:numRef>
              <c:f>Sheet1!$B$130:$B$131</c:f>
              <c:numCache>
                <c:formatCode>General</c:formatCode>
                <c:ptCount val="2"/>
                <c:pt idx="0">
                  <c:v>0.162170981481975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4:$A$135</c:f>
              <c:numCache>
                <c:formatCode>General</c:formatCode>
                <c:ptCount val="2"/>
                <c:pt idx="0">
                  <c:v>0</c:v>
                </c:pt>
                <c:pt idx="1">
                  <c:v>1133.65989326259</c:v>
                </c:pt>
              </c:numCache>
            </c:numRef>
          </c:xVal>
          <c:yVal>
            <c:numRef>
              <c:f>Sheet1!$B$134:$B$135</c:f>
              <c:numCache>
                <c:formatCode>General</c:formatCode>
                <c:ptCount val="2"/>
                <c:pt idx="0">
                  <c:v>0.16166869076925927</c:v>
                </c:pt>
                <c:pt idx="1">
                  <c:v>0.16166869076925927</c:v>
                </c:pt>
              </c:numCache>
            </c:numRef>
          </c:yVal>
          <c:smooth val="0"/>
          <c:extLst>
            <c:ext xmlns:c16="http://schemas.microsoft.com/office/drawing/2014/chart" uri="{C3380CC4-5D6E-409C-BE32-E72D297353CC}">
              <c16:uniqueId val="{0000000A-F32D-48B7-BC20-E66FC6253BAD}"/>
            </c:ext>
          </c:extLst>
        </c:ser>
        <c:ser>
          <c:idx val="5"/>
          <c:order val="5"/>
          <c:tx>
            <c:strRef>
              <c:f>Sheet1!$B$13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8:$A$139</c:f>
              <c:numCache>
                <c:formatCode>General</c:formatCode>
                <c:ptCount val="2"/>
                <c:pt idx="0">
                  <c:v>1133.65989326259</c:v>
                </c:pt>
                <c:pt idx="1">
                  <c:v>1133.65989326259</c:v>
                </c:pt>
              </c:numCache>
            </c:numRef>
          </c:xVal>
          <c:yVal>
            <c:numRef>
              <c:f>Sheet1!$B$138:$B$139</c:f>
              <c:numCache>
                <c:formatCode>General</c:formatCode>
                <c:ptCount val="2"/>
                <c:pt idx="0">
                  <c:v>0.1616686907692592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4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42:$A$143</c:f>
              <c:numCache>
                <c:formatCode>General</c:formatCode>
                <c:ptCount val="2"/>
                <c:pt idx="0">
                  <c:v>0</c:v>
                </c:pt>
                <c:pt idx="1">
                  <c:v>1528.6106227496675</c:v>
                </c:pt>
              </c:numCache>
            </c:numRef>
          </c:xVal>
          <c:yVal>
            <c:numRef>
              <c:f>Sheet1!$B$142:$B$143</c:f>
              <c:numCache>
                <c:formatCode>General</c:formatCode>
                <c:ptCount val="2"/>
                <c:pt idx="0">
                  <c:v>0.14374148749040394</c:v>
                </c:pt>
                <c:pt idx="1">
                  <c:v>0.14374148749040394</c:v>
                </c:pt>
              </c:numCache>
            </c:numRef>
          </c:yVal>
          <c:smooth val="0"/>
          <c:extLst>
            <c:ext xmlns:c16="http://schemas.microsoft.com/office/drawing/2014/chart" uri="{C3380CC4-5D6E-409C-BE32-E72D297353CC}">
              <c16:uniqueId val="{00000011-F32D-48B7-BC20-E66FC6253BAD}"/>
            </c:ext>
          </c:extLst>
        </c:ser>
        <c:ser>
          <c:idx val="7"/>
          <c:order val="7"/>
          <c:tx>
            <c:strRef>
              <c:f>Sheet1!$B$14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6:$A$147</c:f>
              <c:numCache>
                <c:formatCode>General</c:formatCode>
                <c:ptCount val="2"/>
                <c:pt idx="0">
                  <c:v>1528.6106227496675</c:v>
                </c:pt>
                <c:pt idx="1">
                  <c:v>1528.6106227496675</c:v>
                </c:pt>
              </c:numCache>
            </c:numRef>
          </c:xVal>
          <c:yVal>
            <c:numRef>
              <c:f>Sheet1!$B$146:$B$147</c:f>
              <c:numCache>
                <c:formatCode>General</c:formatCode>
                <c:ptCount val="2"/>
                <c:pt idx="0">
                  <c:v>0.1437414874904039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50:$A$204</c:f>
              <c:numCache>
                <c:formatCode>General</c:formatCode>
                <c:ptCount val="55"/>
                <c:pt idx="0">
                  <c:v>1285.9583</c:v>
                </c:pt>
                <c:pt idx="1">
                  <c:v>1252.8611</c:v>
                </c:pt>
                <c:pt idx="2">
                  <c:v>1239.1231</c:v>
                </c:pt>
                <c:pt idx="3">
                  <c:v>1298.5253</c:v>
                </c:pt>
                <c:pt idx="4">
                  <c:v>1271.274</c:v>
                </c:pt>
                <c:pt idx="5">
                  <c:v>1275.2647</c:v>
                </c:pt>
                <c:pt idx="6">
                  <c:v>1236.2908</c:v>
                </c:pt>
                <c:pt idx="7">
                  <c:v>1293.1101</c:v>
                </c:pt>
                <c:pt idx="8">
                  <c:v>1388.8079</c:v>
                </c:pt>
                <c:pt idx="9">
                  <c:v>1325.8825</c:v>
                </c:pt>
                <c:pt idx="10">
                  <c:v>1354.1596</c:v>
                </c:pt>
                <c:pt idx="11">
                  <c:v>1286.4732</c:v>
                </c:pt>
                <c:pt idx="12">
                  <c:v>1313.19</c:v>
                </c:pt>
                <c:pt idx="13">
                  <c:v>1330.0507</c:v>
                </c:pt>
                <c:pt idx="14">
                  <c:v>1326.6793</c:v>
                </c:pt>
                <c:pt idx="15">
                  <c:v>1331.6044</c:v>
                </c:pt>
                <c:pt idx="16">
                  <c:v>1348.172</c:v>
                </c:pt>
                <c:pt idx="17">
                  <c:v>1292.5682</c:v>
                </c:pt>
                <c:pt idx="18">
                  <c:v>1357.67</c:v>
                </c:pt>
                <c:pt idx="19">
                  <c:v>1413.762</c:v>
                </c:pt>
                <c:pt idx="20">
                  <c:v>1395.0141</c:v>
                </c:pt>
                <c:pt idx="21">
                  <c:v>1334.9662</c:v>
                </c:pt>
                <c:pt idx="22">
                  <c:v>1296.4947</c:v>
                </c:pt>
                <c:pt idx="23">
                  <c:v>1264.7271</c:v>
                </c:pt>
                <c:pt idx="24">
                  <c:v>1257.4387</c:v>
                </c:pt>
                <c:pt idx="25">
                  <c:v>1226.5543</c:v>
                </c:pt>
                <c:pt idx="26">
                  <c:v>1259.4172</c:v>
                </c:pt>
                <c:pt idx="27">
                  <c:v>1306.7853</c:v>
                </c:pt>
                <c:pt idx="28">
                  <c:v>1355.0993</c:v>
                </c:pt>
                <c:pt idx="29">
                  <c:v>1357.6063</c:v>
                </c:pt>
                <c:pt idx="30">
                  <c:v>1356.4524</c:v>
                </c:pt>
                <c:pt idx="31">
                  <c:v>1273.339</c:v>
                </c:pt>
                <c:pt idx="32">
                  <c:v>1269.1895</c:v>
                </c:pt>
                <c:pt idx="33">
                  <c:v>1322.5632</c:v>
                </c:pt>
                <c:pt idx="34">
                  <c:v>1371.088</c:v>
                </c:pt>
                <c:pt idx="35">
                  <c:v>1335.1645</c:v>
                </c:pt>
                <c:pt idx="36">
                  <c:v>1293.5605</c:v>
                </c:pt>
                <c:pt idx="37">
                  <c:v>1381.5007</c:v>
                </c:pt>
                <c:pt idx="38">
                  <c:v>1393.0722</c:v>
                </c:pt>
                <c:pt idx="39">
                  <c:v>1384.3333</c:v>
                </c:pt>
                <c:pt idx="40">
                  <c:v>1385.6782</c:v>
                </c:pt>
                <c:pt idx="41">
                  <c:v>1424.401</c:v>
                </c:pt>
                <c:pt idx="42">
                  <c:v>1422.6433</c:v>
                </c:pt>
                <c:pt idx="43">
                  <c:v>1418.6502</c:v>
                </c:pt>
                <c:pt idx="44">
                  <c:v>1357.4955</c:v>
                </c:pt>
                <c:pt idx="45">
                  <c:v>1298.8749</c:v>
                </c:pt>
                <c:pt idx="46">
                  <c:v>1274.1274</c:v>
                </c:pt>
                <c:pt idx="47">
                  <c:v>1258.9349</c:v>
                </c:pt>
                <c:pt idx="48">
                  <c:v>1216.367</c:v>
                </c:pt>
                <c:pt idx="49">
                  <c:v>1216.263</c:v>
                </c:pt>
                <c:pt idx="50">
                  <c:v>1132.1702</c:v>
                </c:pt>
                <c:pt idx="51">
                  <c:v>1141.0933</c:v>
                </c:pt>
                <c:pt idx="52">
                  <c:v>1133.65989326259</c:v>
                </c:pt>
                <c:pt idx="53">
                  <c:v>1122.5940242413094</c:v>
                </c:pt>
                <c:pt idx="54">
                  <c:v>1528.6106227496675</c:v>
                </c:pt>
              </c:numCache>
            </c:numRef>
          </c:xVal>
          <c:yVal>
            <c:numRef>
              <c:f>Sheet1!$B$150:$B$204</c:f>
              <c:numCache>
                <c:formatCode>General</c:formatCode>
                <c:ptCount val="55"/>
                <c:pt idx="0">
                  <c:v>0.15475571582635145</c:v>
                </c:pt>
                <c:pt idx="1">
                  <c:v>0.15625803038880712</c:v>
                </c:pt>
                <c:pt idx="2">
                  <c:v>0.1568816117630326</c:v>
                </c:pt>
                <c:pt idx="3">
                  <c:v>0.15418528729746137</c:v>
                </c:pt>
                <c:pt idx="4">
                  <c:v>0.15542225069121818</c:v>
                </c:pt>
                <c:pt idx="5">
                  <c:v>0.15524110888090215</c:v>
                </c:pt>
                <c:pt idx="6">
                  <c:v>0.15701017265444467</c:v>
                </c:pt>
                <c:pt idx="7">
                  <c:v>0.1544310885682217</c:v>
                </c:pt>
                <c:pt idx="8">
                  <c:v>0.1500872710085801</c:v>
                </c:pt>
                <c:pt idx="9">
                  <c:v>0.15294351699822117</c:v>
                </c:pt>
                <c:pt idx="10">
                  <c:v>0.15165999153038656</c:v>
                </c:pt>
                <c:pt idx="11">
                  <c:v>0.15473234400733932</c:v>
                </c:pt>
                <c:pt idx="12">
                  <c:v>0.1535196420959324</c:v>
                </c:pt>
                <c:pt idx="13">
                  <c:v>0.15275431828777958</c:v>
                </c:pt>
                <c:pt idx="14">
                  <c:v>0.15290734946008003</c:v>
                </c:pt>
                <c:pt idx="15">
                  <c:v>0.15268379431186357</c:v>
                </c:pt>
                <c:pt idx="16">
                  <c:v>0.1519317746018899</c:v>
                </c:pt>
                <c:pt idx="17">
                  <c:v>0.15445568594387268</c:v>
                </c:pt>
                <c:pt idx="18">
                  <c:v>0.1515006510109455</c:v>
                </c:pt>
                <c:pt idx="19">
                  <c:v>0.1489545797892934</c:v>
                </c:pt>
                <c:pt idx="20">
                  <c:v>0.14980556546740098</c:v>
                </c:pt>
                <c:pt idx="21">
                  <c:v>0.15253119889303465</c:v>
                </c:pt>
                <c:pt idx="22">
                  <c:v>0.15427745823489783</c:v>
                </c:pt>
                <c:pt idx="23">
                  <c:v>0.1557194209415397</c:v>
                </c:pt>
                <c:pt idx="24">
                  <c:v>0.1560502486084421</c:v>
                </c:pt>
                <c:pt idx="25">
                  <c:v>0.1574521219956986</c:v>
                </c:pt>
                <c:pt idx="26">
                  <c:v>0.15596044254140867</c:v>
                </c:pt>
                <c:pt idx="27">
                  <c:v>0.15381035774795615</c:v>
                </c:pt>
                <c:pt idx="28">
                  <c:v>0.151617337620257</c:v>
                </c:pt>
                <c:pt idx="29">
                  <c:v>0.1515035424167934</c:v>
                </c:pt>
                <c:pt idx="30">
                  <c:v>0.15155591907625757</c:v>
                </c:pt>
                <c:pt idx="31">
                  <c:v>0.1553285183038419</c:v>
                </c:pt>
                <c:pt idx="32">
                  <c:v>0.15551686820283364</c:v>
                </c:pt>
                <c:pt idx="33">
                  <c:v>0.1530941833001186</c:v>
                </c:pt>
                <c:pt idx="34">
                  <c:v>0.15089159475243935</c:v>
                </c:pt>
                <c:pt idx="35">
                  <c:v>0.15252219786038734</c:v>
                </c:pt>
                <c:pt idx="36">
                  <c:v>0.15441064446784677</c:v>
                </c:pt>
                <c:pt idx="37">
                  <c:v>0.150418952026031</c:v>
                </c:pt>
                <c:pt idx="38">
                  <c:v>0.14989371022432402</c:v>
                </c:pt>
                <c:pt idx="39">
                  <c:v>0.15029037751732294</c:v>
                </c:pt>
                <c:pt idx="40">
                  <c:v>0.15022933117941378</c:v>
                </c:pt>
                <c:pt idx="41">
                  <c:v>0.14847166508261228</c:v>
                </c:pt>
                <c:pt idx="42">
                  <c:v>0.14855144881979937</c:v>
                </c:pt>
                <c:pt idx="43">
                  <c:v>0.1487326995684833</c:v>
                </c:pt>
                <c:pt idx="44">
                  <c:v>0.15150857173811122</c:v>
                </c:pt>
                <c:pt idx="45">
                  <c:v>0.154169418608538</c:v>
                </c:pt>
                <c:pt idx="46">
                  <c:v>0.1552927320499884</c:v>
                </c:pt>
                <c:pt idx="47">
                  <c:v>0.1559823346142569</c:v>
                </c:pt>
                <c:pt idx="48">
                  <c:v>0.15791453359372215</c:v>
                </c:pt>
                <c:pt idx="49">
                  <c:v>0.15791925425633094</c:v>
                </c:pt>
                <c:pt idx="50">
                  <c:v>0.16173630941621372</c:v>
                </c:pt>
                <c:pt idx="51">
                  <c:v>0.16133128110347889</c:v>
                </c:pt>
                <c:pt idx="52">
                  <c:v>0.16166869076925927</c:v>
                </c:pt>
                <c:pt idx="53">
                  <c:v>0.16217098148197506</c:v>
                </c:pt>
                <c:pt idx="54">
                  <c:v>0.1437414874904039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34.0"/>
          <c:min val="82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2726455094436593"/>
          <c:min val="0.091789473684210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932074048424278</c:v>
                </c:pt>
                <c:pt idx="1">
                  <c:v>5.253490176858788</c:v>
                </c:pt>
                <c:pt idx="2">
                  <c:v>5.0301259335131325</c:v>
                </c:pt>
                <c:pt idx="3">
                  <c:v>3.9703492062542374</c:v>
                </c:pt>
                <c:pt idx="4">
                  <c:v>4.565076245526566</c:v>
                </c:pt>
                <c:pt idx="5">
                  <c:v>5.987365056666746</c:v>
                </c:pt>
                <c:pt idx="6">
                  <c:v>4.639320932482258</c:v>
                </c:pt>
                <c:pt idx="7">
                  <c:v>3.299718686830774</c:v>
                </c:pt>
                <c:pt idx="8">
                  <c:v>5.491079786100221</c:v>
                </c:pt>
                <c:pt idx="9">
                  <c:v>4.881228147073176</c:v>
                </c:pt>
                <c:pt idx="10">
                  <c:v>4.531148891741065</c:v>
                </c:pt>
                <c:pt idx="11">
                  <c:v>3.7783022313299215</c:v>
                </c:pt>
                <c:pt idx="12">
                  <c:v>6.0642309299842525</c:v>
                </c:pt>
                <c:pt idx="13">
                  <c:v>4.552515730056909</c:v>
                </c:pt>
                <c:pt idx="14">
                  <c:v>0.0</c:v>
                </c:pt>
                <c:pt idx="15">
                  <c:v>3.2036349177597123</c:v>
                </c:pt>
                <c:pt idx="16">
                  <c:v>1.8370521029538087</c:v>
                </c:pt>
                <c:pt idx="17">
                  <c:v>5.467640748747699</c:v>
                </c:pt>
                <c:pt idx="18">
                  <c:v>0.0</c:v>
                </c:pt>
                <c:pt idx="19">
                  <c:v>3.1775544299131817</c:v>
                </c:pt>
                <c:pt idx="20">
                  <c:v>4.210984434743619</c:v>
                </c:pt>
                <c:pt idx="21">
                  <c:v>5.0916307853730585</c:v>
                </c:pt>
                <c:pt idx="22">
                  <c:v>4.082724378489348</c:v>
                </c:pt>
                <c:pt idx="23">
                  <c:v>4.839221241615487</c:v>
                </c:pt>
                <c:pt idx="24">
                  <c:v>4.657890772258601</c:v>
                </c:pt>
                <c:pt idx="25">
                  <c:v>3.3888124456381066</c:v>
                </c:pt>
                <c:pt idx="26">
                  <c:v>4.712596744598236</c:v>
                </c:pt>
                <c:pt idx="27">
                  <c:v>11.657284545049391</c:v>
                </c:pt>
                <c:pt idx="28">
                  <c:v>2.4489099151936657</c:v>
                </c:pt>
                <c:pt idx="29">
                  <c:v>5.081902127649096</c:v>
                </c:pt>
                <c:pt idx="30">
                  <c:v>2.8043104965597103</c:v>
                </c:pt>
                <c:pt idx="31">
                  <c:v>3.750503472256003</c:v>
                </c:pt>
                <c:pt idx="32">
                  <c:v>6.355020653541793</c:v>
                </c:pt>
                <c:pt idx="33">
                  <c:v>2.8687695579557007</c:v>
                </c:pt>
                <c:pt idx="34">
                  <c:v>2.7236217703472705</c:v>
                </c:pt>
                <c:pt idx="35">
                  <c:v>2.9401522979064607</c:v>
                </c:pt>
                <c:pt idx="36">
                  <c:v>5.222026552303278</c:v>
                </c:pt>
                <c:pt idx="37">
                  <c:v>3.6881787581384455</c:v>
                </c:pt>
                <c:pt idx="38">
                  <c:v>6.151234477223736</c:v>
                </c:pt>
                <c:pt idx="39">
                  <c:v>4.5947927295829425</c:v>
                </c:pt>
                <c:pt idx="40">
                  <c:v>6.756753015304364</c:v>
                </c:pt>
                <c:pt idx="41">
                  <c:v>4.1225508656120535</c:v>
                </c:pt>
                <c:pt idx="42">
                  <c:v>8.10114059036729</c:v>
                </c:pt>
                <c:pt idx="43">
                  <c:v>5.468653399240174</c:v>
                </c:pt>
                <c:pt idx="44">
                  <c:v>3.6046618159094006</c:v>
                </c:pt>
                <c:pt idx="45">
                  <c:v>3.574917398913476</c:v>
                </c:pt>
                <c:pt idx="46">
                  <c:v>3.367373679226257</c:v>
                </c:pt>
                <c:pt idx="47">
                  <c:v>2.90726403524941</c:v>
                </c:pt>
                <c:pt idx="48">
                  <c:v>3.6500856529220376</c:v>
                </c:pt>
                <c:pt idx="49">
                  <c:v>2.7933619096849793</c:v>
                </c:pt>
                <c:pt idx="50">
                  <c:v>3.550976064066891</c:v>
                </c:pt>
                <c:pt idx="51">
                  <c:v>3.3346020113294648</c:v>
                </c:pt>
                <c:pt idx="52">
                  <c:v>3.822912395654614</c:v>
                </c:pt>
                <c:pt idx="53">
                  <c:v>2.914662353485271</c:v>
                </c:pt>
                <c:pt idx="54">
                  <c:v>3.0077546905379293</c:v>
                </c:pt>
                <c:pt idx="55">
                  <c:v>3.628861043497406</c:v>
                </c:pt>
                <c:pt idx="56">
                  <c:v>7.316908358098434</c:v>
                </c:pt>
                <c:pt idx="57">
                  <c:v>2.905466042071421</c:v>
                </c:pt>
                <c:pt idx="58">
                  <c:v>3.068417116716678</c:v>
                </c:pt>
                <c:pt idx="59">
                  <c:v>2.469583763274462</c:v>
                </c:pt>
                <c:pt idx="60">
                  <c:v>2.1375046945600533</c:v>
                </c:pt>
                <c:pt idx="61">
                  <c:v>2.2603513713176184</c:v>
                </c:pt>
                <c:pt idx="62">
                  <c:v>2.417700278115394</c:v>
                </c:pt>
                <c:pt idx="63">
                  <c:v>1.9601141508592053</c:v>
                </c:pt>
                <c:pt idx="64">
                  <c:v>2.136777848922294</c:v>
                </c:pt>
                <c:pt idx="65">
                  <c:v>2.003314085179818</c:v>
                </c:pt>
                <c:pt idx="66">
                  <c:v>1.8666430466946589</c:v>
                </c:pt>
                <c:pt idx="67">
                  <c:v>2.5554718129647296</c:v>
                </c:pt>
                <c:pt idx="68">
                  <c:v>1.9294804011148767</c:v>
                </c:pt>
                <c:pt idx="69">
                  <c:v>1.7577445938650844</c:v>
                </c:pt>
                <c:pt idx="70">
                  <c:v>1.8590953484586585</c:v>
                </c:pt>
                <c:pt idx="71">
                  <c:v>1.3849384034891086</c:v>
                </c:pt>
                <c:pt idx="72">
                  <c:v>2.318418128927751</c:v>
                </c:pt>
                <c:pt idx="73">
                  <c:v>1.4955922806240989</c:v>
                </c:pt>
                <c:pt idx="74">
                  <c:v>1.846903232523254</c:v>
                </c:pt>
                <c:pt idx="75">
                  <c:v>2.896734163286426</c:v>
                </c:pt>
                <c:pt idx="76">
                  <c:v>2.813494860697216</c:v>
                </c:pt>
                <c:pt idx="77">
                  <c:v>3.332492967759515</c:v>
                </c:pt>
                <c:pt idx="78">
                  <c:v>2.2117184166739143</c:v>
                </c:pt>
                <c:pt idx="79">
                  <c:v>3.5663552848650006</c:v>
                </c:pt>
                <c:pt idx="80">
                  <c:v>3.309523036112327</c:v>
                </c:pt>
                <c:pt idx="81">
                  <c:v>2.650521168541138</c:v>
                </c:pt>
                <c:pt idx="82">
                  <c:v>3.1653620507555376</c:v>
                </c:pt>
                <c:pt idx="83">
                  <c:v>3.2763008539366196</c:v>
                </c:pt>
                <c:pt idx="84">
                  <c:v>3.254590283249759</c:v>
                </c:pt>
                <c:pt idx="85">
                  <c:v>2.791033088475206</c:v>
                </c:pt>
                <c:pt idx="86">
                  <c:v>3.723714015147877</c:v>
                </c:pt>
                <c:pt idx="87">
                  <c:v>3.7305274976890814</c:v>
                </c:pt>
                <c:pt idx="88">
                  <c:v>3.0372927989968264</c:v>
                </c:pt>
                <c:pt idx="89">
                  <c:v>2.8546152576605457</c:v>
                </c:pt>
                <c:pt idx="90">
                  <c:v>2.997628471602045</c:v>
                </c:pt>
                <c:pt idx="91">
                  <c:v>2.862758239109157</c:v>
                </c:pt>
                <c:pt idx="92">
                  <c:v>3.175402016710868</c:v>
                </c:pt>
                <c:pt idx="93">
                  <c:v>3.1464284474415125</c:v>
                </c:pt>
                <c:pt idx="94">
                  <c:v>3.824066302971432</c:v>
                </c:pt>
                <c:pt idx="95">
                  <c:v>3.368218444073094</c:v>
                </c:pt>
                <c:pt idx="96">
                  <c:v>2.6366180581038527</c:v>
                </c:pt>
                <c:pt idx="97">
                  <c:v>2.8985725796583632</c:v>
                </c:pt>
                <c:pt idx="98">
                  <c:v>2.7762602848431692</c:v>
                </c:pt>
                <c:pt idx="99">
                  <c:v>2.8827231185998756</c:v>
                </c:pt>
                <c:pt idx="100">
                  <c:v>3.14057312831593</c:v>
                </c:pt>
                <c:pt idx="101">
                  <c:v>2.8323703735297117</c:v>
                </c:pt>
                <c:pt idx="102">
                  <c:v>2.8891481207940566</c:v>
                </c:pt>
                <c:pt idx="103">
                  <c:v>3.032818507282688</c:v>
                </c:pt>
                <c:pt idx="104">
                  <c:v>3.268048715862653</c:v>
                </c:pt>
              </c:numCache>
            </c:numRef>
          </c:xVal>
          <c:yVal>
            <c:numRef>
              <c:f>Sheet1!$B$2:$B$106</c:f>
              <c:numCache>
                <c:formatCode>General</c:formatCode>
                <c:ptCount val="105"/>
                <c:pt idx="0">
                  <c:v>0.000912088683084263</c:v>
                </c:pt>
                <c:pt idx="1">
                  <c:v>0.0002435658033612081</c:v>
                </c:pt>
                <c:pt idx="2">
                  <c:v>0.0002453385672227674</c:v>
                </c:pt>
                <c:pt idx="3">
                  <c:v>0.0002613240418118467</c:v>
                </c:pt>
                <c:pt idx="4">
                  <c:v>0.0001950078003120125</c:v>
                </c:pt>
                <c:pt idx="5">
                  <c:v>0.00029452189279403104</c:v>
                </c:pt>
                <c:pt idx="6">
                  <c:v>0.0005294740557712672</c:v>
                </c:pt>
                <c:pt idx="7">
                  <c:v>0.0006316454363617223</c:v>
                </c:pt>
                <c:pt idx="8">
                  <c:v>0.00032847914157451</c:v>
                </c:pt>
                <c:pt idx="9">
                  <c:v>0.0004123371268349002</c:v>
                </c:pt>
                <c:pt idx="10">
                  <c:v>0.0003252825892494104</c:v>
                </c:pt>
                <c:pt idx="11">
                  <c:v>0.0005880376344086022</c:v>
                </c:pt>
                <c:pt idx="12">
                  <c:v>0.000382321455880104</c:v>
                </c:pt>
                <c:pt idx="13">
                  <c:v>0.00047969299648225136</c:v>
                </c:pt>
                <c:pt idx="14">
                  <c:v>0.0</c:v>
                </c:pt>
                <c:pt idx="15">
                  <c:v>0.0004876145894285157</c:v>
                </c:pt>
                <c:pt idx="16">
                  <c:v>0.0004482797265493668</c:v>
                </c:pt>
                <c:pt idx="17">
                  <c:v>0.0002494387627837366</c:v>
                </c:pt>
                <c:pt idx="18">
                  <c:v>0.0</c:v>
                </c:pt>
                <c:pt idx="19">
                  <c:v>0.0005042016806722689</c:v>
                </c:pt>
                <c:pt idx="20">
                  <c:v>0.0004013377926421405</c:v>
                </c:pt>
                <c:pt idx="21">
                  <c:v>0.00016977928692699492</c:v>
                </c:pt>
                <c:pt idx="22">
                  <c:v>0.0006655574043261231</c:v>
                </c:pt>
                <c:pt idx="23">
                  <c:v>0.0005211952744961779</c:v>
                </c:pt>
                <c:pt idx="24">
                  <c:v>0.000642570281124498</c:v>
                </c:pt>
                <c:pt idx="25">
                  <c:v>0.0010915044569765327</c:v>
                </c:pt>
                <c:pt idx="26">
                  <c:v>0.0007638252367858234</c:v>
                </c:pt>
                <c:pt idx="27">
                  <c:v>0.00014740566037735848</c:v>
                </c:pt>
                <c:pt idx="28">
                  <c:v>0.0007701786814540973</c:v>
                </c:pt>
                <c:pt idx="29">
                  <c:v>0.0005499037668408029</c:v>
                </c:pt>
                <c:pt idx="30">
                  <c:v>0.0006866952789699571</c:v>
                </c:pt>
                <c:pt idx="31">
                  <c:v>0.0006668889629876625</c:v>
                </c:pt>
                <c:pt idx="32">
                  <c:v>0.00033886818027787193</c:v>
                </c:pt>
                <c:pt idx="33">
                  <c:v>0.0012132650310056618</c:v>
                </c:pt>
                <c:pt idx="34">
                  <c:v>0.0013868022651103663</c:v>
                </c:pt>
                <c:pt idx="35">
                  <c:v>0.0013130744700806604</c:v>
                </c:pt>
                <c:pt idx="36">
                  <c:v>0.00048291681757817216</c:v>
                </c:pt>
                <c:pt idx="37">
                  <c:v>0.0005769508149430262</c:v>
                </c:pt>
                <c:pt idx="38">
                  <c:v>0.0003007518796992481</c:v>
                </c:pt>
                <c:pt idx="39">
                  <c:v>0.0006278449223041908</c:v>
                </c:pt>
                <c:pt idx="40">
                  <c:v>0.00025506950644050506</c:v>
                </c:pt>
                <c:pt idx="41">
                  <c:v>0.0004366812227074236</c:v>
                </c:pt>
                <c:pt idx="42">
                  <c:v>0.0001221001221001221</c:v>
                </c:pt>
                <c:pt idx="43">
                  <c:v>0.0003280481137233461</c:v>
                </c:pt>
                <c:pt idx="44">
                  <c:v>0.00042961477874838895</c:v>
                </c:pt>
                <c:pt idx="45">
                  <c:v>0.00031794480478188986</c:v>
                </c:pt>
                <c:pt idx="46">
                  <c:v>0.0006879729814247295</c:v>
                </c:pt>
                <c:pt idx="47">
                  <c:v>0.000894168742415533</c:v>
                </c:pt>
                <c:pt idx="48">
                  <c:v>0.0004671150971599402</c:v>
                </c:pt>
                <c:pt idx="49">
                  <c:v>0.0005092297899427117</c:v>
                </c:pt>
                <c:pt idx="50">
                  <c:v>0.0006144393241167435</c:v>
                </c:pt>
                <c:pt idx="51">
                  <c:v>0.0007825338445887784</c:v>
                </c:pt>
                <c:pt idx="52">
                  <c:v>0.0002576157660848844</c:v>
                </c:pt>
                <c:pt idx="53">
                  <c:v>0.00042176296921130323</c:v>
                </c:pt>
                <c:pt idx="54">
                  <c:v>0.0008497781134925881</c:v>
                </c:pt>
                <c:pt idx="55">
                  <c:v>0.00048529554498689704</c:v>
                </c:pt>
                <c:pt idx="56">
                  <c:v>0.00019878739687903787</c:v>
                </c:pt>
                <c:pt idx="57">
                  <c:v>0.0003463203463203463</c:v>
                </c:pt>
                <c:pt idx="58">
                  <c:v>0.00030641948827945457</c:v>
                </c:pt>
                <c:pt idx="59">
                  <c:v>0.0004901240013723472</c:v>
                </c:pt>
                <c:pt idx="60">
                  <c:v>0.0007439685407588479</c:v>
                </c:pt>
                <c:pt idx="61">
                  <c:v>0.001052789893217025</c:v>
                </c:pt>
                <c:pt idx="62">
                  <c:v>0.0008598452278589854</c:v>
                </c:pt>
                <c:pt idx="63">
                  <c:v>0.0011563664396762173</c:v>
                </c:pt>
                <c:pt idx="64">
                  <c:v>0.0011653581943081453</c:v>
                </c:pt>
                <c:pt idx="65">
                  <c:v>0.001007725898555593</c:v>
                </c:pt>
                <c:pt idx="66">
                  <c:v>0.0007878527431600058</c:v>
                </c:pt>
                <c:pt idx="67">
                  <c:v>0.0006917223887479825</c:v>
                </c:pt>
                <c:pt idx="68">
                  <c:v>0.0012484394506866417</c:v>
                </c:pt>
                <c:pt idx="69">
                  <c:v>0.0013683293942032592</c:v>
                </c:pt>
                <c:pt idx="70">
                  <c:v>0.0012020675561966582</c:v>
                </c:pt>
                <c:pt idx="71">
                  <c:v>0.0013217023526301878</c:v>
                </c:pt>
                <c:pt idx="72">
                  <c:v>0.0013286628819905786</c:v>
                </c:pt>
                <c:pt idx="73">
                  <c:v>0.0024944203754759093</c:v>
                </c:pt>
                <c:pt idx="74">
                  <c:v>0.0026365348399246705</c:v>
                </c:pt>
                <c:pt idx="75">
                  <c:v>0.0026052974381241857</c:v>
                </c:pt>
                <c:pt idx="76">
                  <c:v>0.003568657874321179</c:v>
                </c:pt>
                <c:pt idx="77">
                  <c:v>0.00372168284789644</c:v>
                </c:pt>
                <c:pt idx="78">
                  <c:v>0.006307442782483331</c:v>
                </c:pt>
                <c:pt idx="79">
                  <c:v>0.004245923913043478</c:v>
                </c:pt>
                <c:pt idx="80">
                  <c:v>0.003997335109926716</c:v>
                </c:pt>
                <c:pt idx="81">
                  <c:v>0.00551191952597492</c:v>
                </c:pt>
                <c:pt idx="82">
                  <c:v>0.004459507670353193</c:v>
                </c:pt>
                <c:pt idx="83">
                  <c:v>0.004400670578373848</c:v>
                </c:pt>
                <c:pt idx="84">
                  <c:v>0.00416579879191835</c:v>
                </c:pt>
                <c:pt idx="85">
                  <c:v>0.0038860103626943004</c:v>
                </c:pt>
                <c:pt idx="86">
                  <c:v>0.0034478185916987135</c:v>
                </c:pt>
                <c:pt idx="87">
                  <c:v>0.002925002925002925</c:v>
                </c:pt>
                <c:pt idx="88">
                  <c:v>0.00454063871651279</c:v>
                </c:pt>
                <c:pt idx="89">
                  <c:v>0.005974345457740292</c:v>
                </c:pt>
                <c:pt idx="90">
                  <c:v>0.005668312305723167</c:v>
                </c:pt>
                <c:pt idx="91">
                  <c:v>0.005691924581999288</c:v>
                </c:pt>
                <c:pt idx="92">
                  <c:v>0.0045933531477978925</c:v>
                </c:pt>
                <c:pt idx="93">
                  <c:v>0.004557885141294439</c:v>
                </c:pt>
                <c:pt idx="94">
                  <c:v>0.004178072323872641</c:v>
                </c:pt>
                <c:pt idx="95">
                  <c:v>0.004830421377183967</c:v>
                </c:pt>
                <c:pt idx="96">
                  <c:v>0.006507913030616773</c:v>
                </c:pt>
                <c:pt idx="97">
                  <c:v>0.007283090563647878</c:v>
                </c:pt>
                <c:pt idx="98">
                  <c:v>0.00677800672378267</c:v>
                </c:pt>
                <c:pt idx="99">
                  <c:v>0.006458046440951612</c:v>
                </c:pt>
                <c:pt idx="100">
                  <c:v>0.004885661939336364</c:v>
                </c:pt>
                <c:pt idx="101">
                  <c:v>0.006859709828203727</c:v>
                </c:pt>
                <c:pt idx="102">
                  <c:v>0.005986112219650411</c:v>
                </c:pt>
                <c:pt idx="103">
                  <c:v>0.005471380471380472</c:v>
                </c:pt>
                <c:pt idx="104">
                  <c:v>0.00414078674948240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3.030447955989002</c:v>
                </c:pt>
                <c:pt idx="1">
                  <c:v>2.5019204862139732</c:v>
                </c:pt>
                <c:pt idx="2">
                  <c:v>2.953512917260081</c:v>
                </c:pt>
                <c:pt idx="3">
                  <c:v>2.4956291477109227</c:v>
                </c:pt>
                <c:pt idx="4">
                  <c:v>2.959097591109636</c:v>
                </c:pt>
                <c:pt idx="5">
                  <c:v>3.2256016332697124</c:v>
                </c:pt>
                <c:pt idx="6">
                  <c:v>3.3000255134741177</c:v>
                </c:pt>
                <c:pt idx="7">
                  <c:v>3.281077216754087</c:v>
                </c:pt>
                <c:pt idx="8">
                  <c:v>3.0110288988734966</c:v>
                </c:pt>
                <c:pt idx="9">
                  <c:v>2.9647796664516473</c:v>
                </c:pt>
                <c:pt idx="10">
                  <c:v>2.9996610007746587</c:v>
                </c:pt>
                <c:pt idx="11">
                  <c:v>3.128544041911762</c:v>
                </c:pt>
                <c:pt idx="12">
                  <c:v>2.811475531772779</c:v>
                </c:pt>
                <c:pt idx="13">
                  <c:v>2.435040734383089</c:v>
                </c:pt>
                <c:pt idx="14">
                  <c:v>2.470020988156592</c:v>
                </c:pt>
                <c:pt idx="15">
                  <c:v>2.634638225348364</c:v>
                </c:pt>
                <c:pt idx="16">
                  <c:v>2.7889016889924783</c:v>
                </c:pt>
                <c:pt idx="17">
                  <c:v>2.181247104092776</c:v>
                </c:pt>
                <c:pt idx="18">
                  <c:v>3.1713122509118454</c:v>
                </c:pt>
                <c:pt idx="19">
                  <c:v>3.1596363558008664</c:v>
                </c:pt>
                <c:pt idx="20">
                  <c:v>2.9851531810701326</c:v>
                </c:pt>
                <c:pt idx="21">
                  <c:v>2.444877666710632</c:v>
                </c:pt>
                <c:pt idx="22">
                  <c:v>2.7190032786687315</c:v>
                </c:pt>
                <c:pt idx="23">
                  <c:v>2.15946042198092</c:v>
                </c:pt>
                <c:pt idx="24">
                  <c:v>2.8063335567058143</c:v>
                </c:pt>
                <c:pt idx="25">
                  <c:v>2.761931075598689</c:v>
                </c:pt>
                <c:pt idx="26">
                  <c:v>2.8309202887058778</c:v>
                </c:pt>
                <c:pt idx="27">
                  <c:v>2.7011935836046392</c:v>
                </c:pt>
                <c:pt idx="28">
                  <c:v>2.710687823524479</c:v>
                </c:pt>
                <c:pt idx="29">
                  <c:v>2.6494856852348736</c:v>
                </c:pt>
                <c:pt idx="30">
                  <c:v>2.5327859722431936</c:v>
                </c:pt>
                <c:pt idx="31">
                  <c:v>2.8110408243096785</c:v>
                </c:pt>
                <c:pt idx="32">
                  <c:v>3.124601368275229</c:v>
                </c:pt>
                <c:pt idx="33">
                  <c:v>3.0584427360280833</c:v>
                </c:pt>
                <c:pt idx="34">
                  <c:v>3.094543970372204</c:v>
                </c:pt>
                <c:pt idx="35">
                  <c:v>2.830621241107675</c:v>
                </c:pt>
                <c:pt idx="36">
                  <c:v>2.7184576932301594</c:v>
                </c:pt>
                <c:pt idx="37">
                  <c:v>2.716546137798767</c:v>
                </c:pt>
                <c:pt idx="38">
                  <c:v>2.429648224573214</c:v>
                </c:pt>
                <c:pt idx="39">
                  <c:v>2.3108357211469994</c:v>
                </c:pt>
                <c:pt idx="40">
                  <c:v>2.2677866338184143</c:v>
                </c:pt>
                <c:pt idx="41">
                  <c:v>2.4648905277507867</c:v>
                </c:pt>
                <c:pt idx="42">
                  <c:v>2.2884683175750093</c:v>
                </c:pt>
                <c:pt idx="43">
                  <c:v>2.5269740745407585</c:v>
                </c:pt>
                <c:pt idx="44">
                  <c:v>3.0810726048134915</c:v>
                </c:pt>
                <c:pt idx="45">
                  <c:v>3.1625113914559044</c:v>
                </c:pt>
                <c:pt idx="46">
                  <c:v>3.3114218515933223</c:v>
                </c:pt>
                <c:pt idx="47">
                  <c:v>3.089071691696976</c:v>
                </c:pt>
                <c:pt idx="48">
                  <c:v>3.0297978723550156</c:v>
                </c:pt>
                <c:pt idx="49">
                  <c:v>3.089069926836196</c:v>
                </c:pt>
                <c:pt idx="50">
                  <c:v>3.1680601796476813</c:v>
                </c:pt>
                <c:pt idx="51">
                  <c:v>3.5294360995138816</c:v>
                </c:pt>
              </c:numCache>
            </c:numRef>
          </c:xVal>
          <c:yVal>
            <c:numRef>
              <c:f>Sheet1!$B$109:$B$160</c:f>
              <c:numCache>
                <c:formatCode>General</c:formatCode>
                <c:ptCount val="52"/>
                <c:pt idx="0">
                  <c:v>0.004510358535280178</c:v>
                </c:pt>
                <c:pt idx="1">
                  <c:v>0.0054792280013084725</c:v>
                </c:pt>
                <c:pt idx="2">
                  <c:v>0.004826117814052519</c:v>
                </c:pt>
                <c:pt idx="3">
                  <c:v>0.005182092989779761</c:v>
                </c:pt>
                <c:pt idx="4">
                  <c:v>0.005290599601288146</c:v>
                </c:pt>
                <c:pt idx="5">
                  <c:v>0.004552352048558422</c:v>
                </c:pt>
                <c:pt idx="6">
                  <c:v>0.0049862696921520455</c:v>
                </c:pt>
                <c:pt idx="7">
                  <c:v>0.0058180359113251074</c:v>
                </c:pt>
                <c:pt idx="8">
                  <c:v>0.00717891194615816</c:v>
                </c:pt>
                <c:pt idx="9">
                  <c:v>0.007236320380650278</c:v>
                </c:pt>
                <c:pt idx="10">
                  <c:v>0.006994347034588484</c:v>
                </c:pt>
                <c:pt idx="11">
                  <c:v>0.006884561891515995</c:v>
                </c:pt>
                <c:pt idx="12">
                  <c:v>0.007134363852556481</c:v>
                </c:pt>
                <c:pt idx="13">
                  <c:v>0.010407049937054134</c:v>
                </c:pt>
                <c:pt idx="14">
                  <c:v>0.010429276468944967</c:v>
                </c:pt>
                <c:pt idx="15">
                  <c:v>0.00994075710412692</c:v>
                </c:pt>
                <c:pt idx="16">
                  <c:v>0.009873060648801129</c:v>
                </c:pt>
                <c:pt idx="17">
                  <c:v>0.012442059038789949</c:v>
                </c:pt>
                <c:pt idx="18">
                  <c:v>0.006704562017198659</c:v>
                </c:pt>
                <c:pt idx="19">
                  <c:v>0.005950770895320531</c:v>
                </c:pt>
                <c:pt idx="20">
                  <c:v>0.007330006238303182</c:v>
                </c:pt>
                <c:pt idx="21">
                  <c:v>0.010286141761735553</c:v>
                </c:pt>
                <c:pt idx="22">
                  <c:v>0.00847145488029466</c:v>
                </c:pt>
                <c:pt idx="23">
                  <c:v>0.008226691042047532</c:v>
                </c:pt>
                <c:pt idx="24">
                  <c:v>0.0075419952005485085</c:v>
                </c:pt>
                <c:pt idx="25">
                  <c:v>0.007911392405063292</c:v>
                </c:pt>
                <c:pt idx="26">
                  <c:v>0.008629441624365483</c:v>
                </c:pt>
                <c:pt idx="27">
                  <c:v>0.008746355685131196</c:v>
                </c:pt>
                <c:pt idx="28">
                  <c:v>0.007511194568828542</c:v>
                </c:pt>
                <c:pt idx="29">
                  <c:v>0.008570928808815813</c:v>
                </c:pt>
                <c:pt idx="30">
                  <c:v>0.008193801211257571</c:v>
                </c:pt>
                <c:pt idx="31">
                  <c:v>0.00854191497814859</c:v>
                </c:pt>
                <c:pt idx="32">
                  <c:v>0.007553956834532374</c:v>
                </c:pt>
                <c:pt idx="33">
                  <c:v>0.006897522522522522</c:v>
                </c:pt>
                <c:pt idx="34">
                  <c:v>0.006098202081800021</c:v>
                </c:pt>
                <c:pt idx="35">
                  <c:v>0.007370393504059962</c:v>
                </c:pt>
                <c:pt idx="36">
                  <c:v>0.009972416719711436</c:v>
                </c:pt>
                <c:pt idx="37">
                  <c:v>0.009865300701954089</c:v>
                </c:pt>
                <c:pt idx="38">
                  <c:v>0.011813607525705535</c:v>
                </c:pt>
                <c:pt idx="39">
                  <c:v>0.010794743429286609</c:v>
                </c:pt>
                <c:pt idx="40">
                  <c:v>0.010329941412272586</c:v>
                </c:pt>
                <c:pt idx="41">
                  <c:v>0.00836096295228485</c:v>
                </c:pt>
                <c:pt idx="42">
                  <c:v>0.009661044702800065</c:v>
                </c:pt>
                <c:pt idx="43">
                  <c:v>0.007217125382262997</c:v>
                </c:pt>
                <c:pt idx="44">
                  <c:v>0.005251164173189339</c:v>
                </c:pt>
                <c:pt idx="45">
                  <c:v>0.0041766954551890135</c:v>
                </c:pt>
                <c:pt idx="46">
                  <c:v>0.004268139593271403</c:v>
                </c:pt>
                <c:pt idx="47">
                  <c:v>0.004140786749482402</c:v>
                </c:pt>
                <c:pt idx="48">
                  <c:v>0.004567368688150216</c:v>
                </c:pt>
                <c:pt idx="49">
                  <c:v>0.0039922436409262005</c:v>
                </c:pt>
                <c:pt idx="50">
                  <c:v>0.003317553211316957</c:v>
                </c:pt>
                <c:pt idx="51">
                  <c:v>0.00408710217755443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5906387440825247</c:v>
                </c:pt>
              </c:numCache>
            </c:numRef>
          </c:xVal>
          <c:yVal>
            <c:numRef>
              <c:f>Sheet1!$B$163:$B$164</c:f>
              <c:numCache>
                <c:formatCode>General</c:formatCode>
                <c:ptCount val="2"/>
                <c:pt idx="0">
                  <c:v>0.008585636713045098</c:v>
                </c:pt>
                <c:pt idx="1">
                  <c:v>0.00858563671304509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5906387440825247</c:v>
                </c:pt>
                <c:pt idx="1">
                  <c:v>2.5906387440825247</c:v>
                </c:pt>
              </c:numCache>
            </c:numRef>
          </c:xVal>
          <c:yVal>
            <c:numRef>
              <c:f>Sheet1!$B$167:$B$168</c:f>
              <c:numCache>
                <c:formatCode>General</c:formatCode>
                <c:ptCount val="2"/>
                <c:pt idx="0">
                  <c:v>0.0085856367130450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5906387440825247</c:v>
                </c:pt>
              </c:numCache>
            </c:numRef>
          </c:xVal>
          <c:yVal>
            <c:numRef>
              <c:f>Sheet1!$B$171:$B$172</c:f>
              <c:numCache>
                <c:formatCode>General</c:formatCode>
                <c:ptCount val="2"/>
                <c:pt idx="0">
                  <c:v>0.008585636713045098</c:v>
                </c:pt>
                <c:pt idx="1">
                  <c:v>0.00858563671304509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5906387440825247</c:v>
                </c:pt>
                <c:pt idx="1">
                  <c:v>2.5906387440825247</c:v>
                </c:pt>
              </c:numCache>
            </c:numRef>
          </c:xVal>
          <c:yVal>
            <c:numRef>
              <c:f>Sheet1!$B$175:$B$176</c:f>
              <c:numCache>
                <c:formatCode>General</c:formatCode>
                <c:ptCount val="2"/>
                <c:pt idx="0">
                  <c:v>0.00858563671304509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3.044978215766118</c:v>
                </c:pt>
              </c:numCache>
            </c:numRef>
          </c:xVal>
          <c:yVal>
            <c:numRef>
              <c:f>Sheet1!$B$179:$B$180</c:f>
              <c:numCache>
                <c:formatCode>General</c:formatCode>
                <c:ptCount val="2"/>
                <c:pt idx="0">
                  <c:v>0.006166528582152852</c:v>
                </c:pt>
                <c:pt idx="1">
                  <c:v>0.00616652858215285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3.044978215766118</c:v>
                </c:pt>
                <c:pt idx="1">
                  <c:v>3.044978215766118</c:v>
                </c:pt>
              </c:numCache>
            </c:numRef>
          </c:xVal>
          <c:yVal>
            <c:numRef>
              <c:f>Sheet1!$B$183:$B$184</c:f>
              <c:numCache>
                <c:formatCode>General</c:formatCode>
                <c:ptCount val="2"/>
                <c:pt idx="0">
                  <c:v>0.00616652858215285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3.030447955989002</c:v>
                </c:pt>
                <c:pt idx="1">
                  <c:v>2.5019204862139732</c:v>
                </c:pt>
                <c:pt idx="2">
                  <c:v>2.953512917260081</c:v>
                </c:pt>
                <c:pt idx="3">
                  <c:v>2.4956291477109227</c:v>
                </c:pt>
                <c:pt idx="4">
                  <c:v>2.959097591109636</c:v>
                </c:pt>
                <c:pt idx="5">
                  <c:v>3.2256016332697124</c:v>
                </c:pt>
                <c:pt idx="6">
                  <c:v>3.3000255134741177</c:v>
                </c:pt>
                <c:pt idx="7">
                  <c:v>3.281077216754087</c:v>
                </c:pt>
                <c:pt idx="8">
                  <c:v>3.0110288988734966</c:v>
                </c:pt>
                <c:pt idx="9">
                  <c:v>2.9647796664516473</c:v>
                </c:pt>
                <c:pt idx="10">
                  <c:v>2.9996610007746587</c:v>
                </c:pt>
                <c:pt idx="11">
                  <c:v>3.128544041911762</c:v>
                </c:pt>
                <c:pt idx="12">
                  <c:v>2.811475531772779</c:v>
                </c:pt>
                <c:pt idx="13">
                  <c:v>2.435040734383089</c:v>
                </c:pt>
                <c:pt idx="14">
                  <c:v>2.470020988156592</c:v>
                </c:pt>
                <c:pt idx="15">
                  <c:v>2.634638225348364</c:v>
                </c:pt>
                <c:pt idx="16">
                  <c:v>2.7889016889924783</c:v>
                </c:pt>
                <c:pt idx="17">
                  <c:v>2.181247104092776</c:v>
                </c:pt>
                <c:pt idx="18">
                  <c:v>3.1713122509118454</c:v>
                </c:pt>
                <c:pt idx="19">
                  <c:v>3.1596363558008664</c:v>
                </c:pt>
                <c:pt idx="20">
                  <c:v>2.9851531810701326</c:v>
                </c:pt>
                <c:pt idx="21">
                  <c:v>2.444877666710632</c:v>
                </c:pt>
                <c:pt idx="22">
                  <c:v>2.7190032786687315</c:v>
                </c:pt>
                <c:pt idx="23">
                  <c:v>2.15946042198092</c:v>
                </c:pt>
                <c:pt idx="24">
                  <c:v>2.8063335567058143</c:v>
                </c:pt>
                <c:pt idx="25">
                  <c:v>2.761931075598689</c:v>
                </c:pt>
                <c:pt idx="26">
                  <c:v>2.8309202887058778</c:v>
                </c:pt>
                <c:pt idx="27">
                  <c:v>2.7011935836046392</c:v>
                </c:pt>
                <c:pt idx="28">
                  <c:v>2.710687823524479</c:v>
                </c:pt>
                <c:pt idx="29">
                  <c:v>2.6494856852348736</c:v>
                </c:pt>
                <c:pt idx="30">
                  <c:v>2.5327859722431936</c:v>
                </c:pt>
                <c:pt idx="31">
                  <c:v>2.8110408243096785</c:v>
                </c:pt>
                <c:pt idx="32">
                  <c:v>3.124601368275229</c:v>
                </c:pt>
                <c:pt idx="33">
                  <c:v>3.0584427360280833</c:v>
                </c:pt>
                <c:pt idx="34">
                  <c:v>3.094543970372204</c:v>
                </c:pt>
                <c:pt idx="35">
                  <c:v>2.830621241107675</c:v>
                </c:pt>
                <c:pt idx="36">
                  <c:v>2.7184576932301594</c:v>
                </c:pt>
                <c:pt idx="37">
                  <c:v>2.716546137798767</c:v>
                </c:pt>
                <c:pt idx="38">
                  <c:v>2.429648224573214</c:v>
                </c:pt>
                <c:pt idx="39">
                  <c:v>2.3108357211469994</c:v>
                </c:pt>
                <c:pt idx="40">
                  <c:v>2.2677866338184143</c:v>
                </c:pt>
                <c:pt idx="41">
                  <c:v>2.4648905277507867</c:v>
                </c:pt>
                <c:pt idx="42">
                  <c:v>2.2884683175750093</c:v>
                </c:pt>
                <c:pt idx="43">
                  <c:v>2.5269740745407585</c:v>
                </c:pt>
                <c:pt idx="44">
                  <c:v>3.0810726048134915</c:v>
                </c:pt>
                <c:pt idx="45">
                  <c:v>3.1625113914559044</c:v>
                </c:pt>
                <c:pt idx="46">
                  <c:v>3.3114218515933223</c:v>
                </c:pt>
                <c:pt idx="47">
                  <c:v>3.089071691696976</c:v>
                </c:pt>
                <c:pt idx="48">
                  <c:v>3.0297978723550156</c:v>
                </c:pt>
                <c:pt idx="49">
                  <c:v>3.089069926836196</c:v>
                </c:pt>
                <c:pt idx="50">
                  <c:v>3.1680601796476813</c:v>
                </c:pt>
                <c:pt idx="51">
                  <c:v>3.5294360995138816</c:v>
                </c:pt>
                <c:pt idx="52">
                  <c:v>2.5906387440825247</c:v>
                </c:pt>
                <c:pt idx="53">
                  <c:v>2.5906387440825247</c:v>
                </c:pt>
                <c:pt idx="54">
                  <c:v>3.044978215766118</c:v>
                </c:pt>
              </c:numCache>
            </c:numRef>
          </c:xVal>
          <c:yVal>
            <c:numRef>
              <c:f>Sheet1!$B$187:$B$241</c:f>
              <c:numCache>
                <c:formatCode>General</c:formatCode>
                <c:ptCount val="55"/>
                <c:pt idx="0">
                  <c:v>0.006243894234405221</c:v>
                </c:pt>
                <c:pt idx="1">
                  <c:v>0.009058012705765077</c:v>
                </c:pt>
                <c:pt idx="2">
                  <c:v>0.0066535310573957035</c:v>
                </c:pt>
                <c:pt idx="3">
                  <c:v>0.009091510627639503</c:v>
                </c:pt>
                <c:pt idx="4">
                  <c:v>0.006623795736650232</c:v>
                </c:pt>
                <c:pt idx="5">
                  <c:v>0.00520480809528134</c:v>
                </c:pt>
                <c:pt idx="6">
                  <c:v>0.00480854181212554</c:v>
                </c:pt>
                <c:pt idx="7">
                  <c:v>0.00490943108439618</c:v>
                </c:pt>
                <c:pt idx="8">
                  <c:v>0.00634729004720639</c:v>
                </c:pt>
                <c:pt idx="9">
                  <c:v>0.0065935418064573155</c:v>
                </c:pt>
                <c:pt idx="10">
                  <c:v>0.006407817860517764</c:v>
                </c:pt>
                <c:pt idx="11">
                  <c:v>0.005721586458272324</c:v>
                </c:pt>
                <c:pt idx="12">
                  <c:v>0.007409802117996616</c:v>
                </c:pt>
                <c:pt idx="13">
                  <c:v>0.009414110649108243</c:v>
                </c:pt>
                <c:pt idx="14">
                  <c:v>0.00922786001142848</c:v>
                </c:pt>
                <c:pt idx="15">
                  <c:v>0.008351363642975241</c:v>
                </c:pt>
                <c:pt idx="16">
                  <c:v>0.007529995431628276</c:v>
                </c:pt>
                <c:pt idx="17">
                  <c:v>0.01076542232874043</c:v>
                </c:pt>
                <c:pt idx="18">
                  <c:v>0.005493869236714577</c:v>
                </c:pt>
                <c:pt idx="19">
                  <c:v>0.005556036964941554</c:v>
                </c:pt>
                <c:pt idx="20">
                  <c:v>0.00648506403170929</c:v>
                </c:pt>
                <c:pt idx="21">
                  <c:v>0.00936173438761281</c:v>
                </c:pt>
                <c:pt idx="22">
                  <c:v>0.007902166073382193</c:v>
                </c:pt>
                <c:pt idx="23">
                  <c:v>0.010881424444177714</c:v>
                </c:pt>
                <c:pt idx="24">
                  <c:v>0.0074371803108867155</c:v>
                </c:pt>
                <c:pt idx="25">
                  <c:v>0.0076735991337550085</c:v>
                </c:pt>
                <c:pt idx="26">
                  <c:v>0.007306269467782943</c:v>
                </c:pt>
                <c:pt idx="27">
                  <c:v>0.00799699291723665</c:v>
                </c:pt>
                <c:pt idx="28">
                  <c:v>0.007946441304580991</c:v>
                </c:pt>
                <c:pt idx="29">
                  <c:v>0.0082723090743694</c:v>
                </c:pt>
                <c:pt idx="30">
                  <c:v>0.008893670946198065</c:v>
                </c:pt>
                <c:pt idx="31">
                  <c:v>0.007412116696465111</c:v>
                </c:pt>
                <c:pt idx="32">
                  <c:v>0.005742579029787729</c:v>
                </c:pt>
                <c:pt idx="33">
                  <c:v>0.006094837407438082</c:v>
                </c:pt>
                <c:pt idx="34">
                  <c:v>0.005902618163942705</c:v>
                </c:pt>
                <c:pt idx="35">
                  <c:v>0.007307861731984984</c:v>
                </c:pt>
                <c:pt idx="36">
                  <c:v>0.007905071016167936</c:v>
                </c:pt>
                <c:pt idx="37">
                  <c:v>0.007915248998876762</c:v>
                </c:pt>
                <c:pt idx="38">
                  <c:v>0.00944282280189269</c:v>
                </c:pt>
                <c:pt idx="39">
                  <c:v>0.010075434122289218</c:v>
                </c:pt>
                <c:pt idx="40">
                  <c:v>0.01030464686666771</c:v>
                </c:pt>
                <c:pt idx="41">
                  <c:v>0.009255176895072584</c:v>
                </c:pt>
                <c:pt idx="42">
                  <c:v>0.010194528260527844</c:v>
                </c:pt>
                <c:pt idx="43">
                  <c:v>0.008924616109152487</c:v>
                </c:pt>
                <c:pt idx="44">
                  <c:v>0.0059743457861027235</c:v>
                </c:pt>
                <c:pt idx="45">
                  <c:v>0.005540728979254256</c:v>
                </c:pt>
                <c:pt idx="46">
                  <c:v>0.0047478625713270085</c:v>
                </c:pt>
                <c:pt idx="47">
                  <c:v>0.0059317550421203805</c:v>
                </c:pt>
                <c:pt idx="48">
                  <c:v>0.00624735557268364</c:v>
                </c:pt>
                <c:pt idx="49">
                  <c:v>0.0059317644390346445</c:v>
                </c:pt>
                <c:pt idx="50">
                  <c:v>0.0055111847299254765</c:v>
                </c:pt>
                <c:pt idx="51">
                  <c:v>0.0035870564502108807</c:v>
                </c:pt>
                <c:pt idx="52">
                  <c:v>0.008585636713045098</c:v>
                </c:pt>
                <c:pt idx="53">
                  <c:v>0.008585636713045098</c:v>
                </c:pt>
                <c:pt idx="54">
                  <c:v>0.00616652858215285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493047084654793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56.3077</c:v>
                </c:pt>
                <c:pt idx="1">
                  <c:v>6230.0</c:v>
                </c:pt>
                <c:pt idx="2">
                  <c:v>6349.3333</c:v>
                </c:pt>
                <c:pt idx="3">
                  <c:v>5043.3333</c:v>
                </c:pt>
                <c:pt idx="4">
                  <c:v>5971.5</c:v>
                </c:pt>
                <c:pt idx="5">
                  <c:v>7694.0</c:v>
                </c:pt>
                <c:pt idx="6">
                  <c:v>5895.0</c:v>
                </c:pt>
                <c:pt idx="7">
                  <c:v>4277.0</c:v>
                </c:pt>
                <c:pt idx="8">
                  <c:v>7050.6667</c:v>
                </c:pt>
                <c:pt idx="9">
                  <c:v>5817.6</c:v>
                </c:pt>
                <c:pt idx="10">
                  <c:v>5290.25</c:v>
                </c:pt>
                <c:pt idx="11">
                  <c:v>4469.2857</c:v>
                </c:pt>
                <c:pt idx="12">
                  <c:v>7055.8</c:v>
                </c:pt>
                <c:pt idx="13">
                  <c:v>5252.6667</c:v>
                </c:pt>
                <c:pt idx="14">
                  <c:v>0.0</c:v>
                </c:pt>
                <c:pt idx="15">
                  <c:v>3753.0</c:v>
                </c:pt>
                <c:pt idx="16">
                  <c:v>2170.25</c:v>
                </c:pt>
                <c:pt idx="17">
                  <c:v>6580.0</c:v>
                </c:pt>
                <c:pt idx="18">
                  <c:v>0.0</c:v>
                </c:pt>
                <c:pt idx="19">
                  <c:v>3807.0</c:v>
                </c:pt>
                <c:pt idx="20">
                  <c:v>5072.3333</c:v>
                </c:pt>
                <c:pt idx="21">
                  <c:v>6718.0</c:v>
                </c:pt>
                <c:pt idx="22">
                  <c:v>5462.25</c:v>
                </c:pt>
                <c:pt idx="23">
                  <c:v>6538.6667</c:v>
                </c:pt>
                <c:pt idx="24">
                  <c:v>6316.5</c:v>
                </c:pt>
                <c:pt idx="25">
                  <c:v>4606.0</c:v>
                </c:pt>
                <c:pt idx="26">
                  <c:v>6402.0</c:v>
                </c:pt>
                <c:pt idx="27">
                  <c:v>15524.0</c:v>
                </c:pt>
                <c:pt idx="28">
                  <c:v>3345.4</c:v>
                </c:pt>
                <c:pt idx="29">
                  <c:v>7017.0</c:v>
                </c:pt>
                <c:pt idx="30">
                  <c:v>3873.25</c:v>
                </c:pt>
                <c:pt idx="31">
                  <c:v>5011.5</c:v>
                </c:pt>
                <c:pt idx="32">
                  <c:v>8655.5</c:v>
                </c:pt>
                <c:pt idx="33">
                  <c:v>3845.7778</c:v>
                </c:pt>
                <c:pt idx="34">
                  <c:v>3505.4167</c:v>
                </c:pt>
                <c:pt idx="35">
                  <c:v>3707.5</c:v>
                </c:pt>
                <c:pt idx="36">
                  <c:v>6482.5</c:v>
                </c:pt>
                <c:pt idx="37">
                  <c:v>4574.0</c:v>
                </c:pt>
                <c:pt idx="38">
                  <c:v>7663.0</c:v>
                </c:pt>
                <c:pt idx="39">
                  <c:v>5600.75</c:v>
                </c:pt>
                <c:pt idx="40">
                  <c:v>8541.5</c:v>
                </c:pt>
                <c:pt idx="41">
                  <c:v>5335.6667</c:v>
                </c:pt>
                <c:pt idx="42">
                  <c:v>10645.0</c:v>
                </c:pt>
                <c:pt idx="43">
                  <c:v>7240.0</c:v>
                </c:pt>
                <c:pt idx="44">
                  <c:v>4505.0</c:v>
                </c:pt>
                <c:pt idx="45">
                  <c:v>4392.2</c:v>
                </c:pt>
                <c:pt idx="46">
                  <c:v>4084.1818</c:v>
                </c:pt>
                <c:pt idx="47">
                  <c:v>3419.4286</c:v>
                </c:pt>
                <c:pt idx="48">
                  <c:v>4401.9</c:v>
                </c:pt>
                <c:pt idx="49">
                  <c:v>3402.25</c:v>
                </c:pt>
                <c:pt idx="50">
                  <c:v>4337.6</c:v>
                </c:pt>
                <c:pt idx="51">
                  <c:v>4108.2</c:v>
                </c:pt>
                <c:pt idx="52">
                  <c:v>4801.75</c:v>
                </c:pt>
                <c:pt idx="53">
                  <c:v>3999.4</c:v>
                </c:pt>
                <c:pt idx="54">
                  <c:v>4201.4444</c:v>
                </c:pt>
                <c:pt idx="55">
                  <c:v>4984.2</c:v>
                </c:pt>
                <c:pt idx="56">
                  <c:v>10395.0</c:v>
                </c:pt>
                <c:pt idx="57">
                  <c:v>4042.75</c:v>
                </c:pt>
                <c:pt idx="58">
                  <c:v>4289.0</c:v>
                </c:pt>
                <c:pt idx="59">
                  <c:v>3433.0</c:v>
                </c:pt>
                <c:pt idx="60">
                  <c:v>3007.3571</c:v>
                </c:pt>
                <c:pt idx="61">
                  <c:v>2989.9286</c:v>
                </c:pt>
                <c:pt idx="62">
                  <c:v>3040.0833</c:v>
                </c:pt>
                <c:pt idx="63">
                  <c:v>2470.9444</c:v>
                </c:pt>
                <c:pt idx="64">
                  <c:v>2609.3158</c:v>
                </c:pt>
                <c:pt idx="65">
                  <c:v>2489.9333</c:v>
                </c:pt>
                <c:pt idx="66">
                  <c:v>2358.7273</c:v>
                </c:pt>
                <c:pt idx="67">
                  <c:v>3155.3333</c:v>
                </c:pt>
                <c:pt idx="68">
                  <c:v>2346.9231</c:v>
                </c:pt>
                <c:pt idx="69">
                  <c:v>2135.0</c:v>
                </c:pt>
                <c:pt idx="70">
                  <c:v>2302.5</c:v>
                </c:pt>
                <c:pt idx="71">
                  <c:v>1857.8</c:v>
                </c:pt>
                <c:pt idx="72">
                  <c:v>2952.3636</c:v>
                </c:pt>
                <c:pt idx="73">
                  <c:v>2025.9474</c:v>
                </c:pt>
                <c:pt idx="74">
                  <c:v>2531.4762</c:v>
                </c:pt>
                <c:pt idx="75">
                  <c:v>3962.4444</c:v>
                </c:pt>
                <c:pt idx="76">
                  <c:v>3882.0</c:v>
                </c:pt>
                <c:pt idx="77">
                  <c:v>4467.6957</c:v>
                </c:pt>
                <c:pt idx="78">
                  <c:v>3018.5429</c:v>
                </c:pt>
                <c:pt idx="79">
                  <c:v>4773.4</c:v>
                </c:pt>
                <c:pt idx="80">
                  <c:v>4299.5</c:v>
                </c:pt>
                <c:pt idx="81">
                  <c:v>3470.475</c:v>
                </c:pt>
                <c:pt idx="82">
                  <c:v>4188.0</c:v>
                </c:pt>
                <c:pt idx="83">
                  <c:v>4291.4286</c:v>
                </c:pt>
                <c:pt idx="84">
                  <c:v>4199.35</c:v>
                </c:pt>
                <c:pt idx="85">
                  <c:v>3644.0476</c:v>
                </c:pt>
                <c:pt idx="86">
                  <c:v>4846.4231</c:v>
                </c:pt>
                <c:pt idx="87">
                  <c:v>4906.68</c:v>
                </c:pt>
                <c:pt idx="88">
                  <c:v>4199.0333</c:v>
                </c:pt>
                <c:pt idx="89">
                  <c:v>3929.7353</c:v>
                </c:pt>
                <c:pt idx="90">
                  <c:v>4177.2903</c:v>
                </c:pt>
                <c:pt idx="91">
                  <c:v>3942.625</c:v>
                </c:pt>
                <c:pt idx="92">
                  <c:v>4270.3235</c:v>
                </c:pt>
                <c:pt idx="93">
                  <c:v>4332.2286</c:v>
                </c:pt>
                <c:pt idx="94">
                  <c:v>5011.5517</c:v>
                </c:pt>
                <c:pt idx="95">
                  <c:v>4381.1064</c:v>
                </c:pt>
                <c:pt idx="96">
                  <c:v>3358.3295</c:v>
                </c:pt>
                <c:pt idx="97">
                  <c:v>3539.0348</c:v>
                </c:pt>
                <c:pt idx="98">
                  <c:v>3390.072</c:v>
                </c:pt>
                <c:pt idx="99">
                  <c:v>3491.0956</c:v>
                </c:pt>
                <c:pt idx="100">
                  <c:v>3928.0486</c:v>
                </c:pt>
                <c:pt idx="101">
                  <c:v>3765.3274</c:v>
                </c:pt>
                <c:pt idx="102">
                  <c:v>3902.8667</c:v>
                </c:pt>
                <c:pt idx="103">
                  <c:v>3989.4744</c:v>
                </c:pt>
                <c:pt idx="104">
                  <c:v>4479.7</c:v>
                </c:pt>
              </c:numCache>
            </c:numRef>
          </c:xVal>
          <c:yVal>
            <c:numRef>
              <c:f>Sheet1!$B$2:$B$106</c:f>
              <c:numCache>
                <c:formatCode>General</c:formatCode>
                <c:ptCount val="105"/>
                <c:pt idx="0">
                  <c:v>0.000912088683084263</c:v>
                </c:pt>
                <c:pt idx="1">
                  <c:v>0.0002435658033612081</c:v>
                </c:pt>
                <c:pt idx="2">
                  <c:v>0.0002453385672227674</c:v>
                </c:pt>
                <c:pt idx="3">
                  <c:v>0.0002613240418118467</c:v>
                </c:pt>
                <c:pt idx="4">
                  <c:v>0.0001950078003120125</c:v>
                </c:pt>
                <c:pt idx="5">
                  <c:v>0.00029452189279403104</c:v>
                </c:pt>
                <c:pt idx="6">
                  <c:v>0.0005294740557712672</c:v>
                </c:pt>
                <c:pt idx="7">
                  <c:v>0.0006316454363617223</c:v>
                </c:pt>
                <c:pt idx="8">
                  <c:v>0.00032847914157451</c:v>
                </c:pt>
                <c:pt idx="9">
                  <c:v>0.0004123371268349002</c:v>
                </c:pt>
                <c:pt idx="10">
                  <c:v>0.0003252825892494104</c:v>
                </c:pt>
                <c:pt idx="11">
                  <c:v>0.0005880376344086022</c:v>
                </c:pt>
                <c:pt idx="12">
                  <c:v>0.000382321455880104</c:v>
                </c:pt>
                <c:pt idx="13">
                  <c:v>0.00047969299648225136</c:v>
                </c:pt>
                <c:pt idx="14">
                  <c:v>0.0</c:v>
                </c:pt>
                <c:pt idx="15">
                  <c:v>0.0004876145894285157</c:v>
                </c:pt>
                <c:pt idx="16">
                  <c:v>0.0004482797265493668</c:v>
                </c:pt>
                <c:pt idx="17">
                  <c:v>0.0002494387627837366</c:v>
                </c:pt>
                <c:pt idx="18">
                  <c:v>0.0</c:v>
                </c:pt>
                <c:pt idx="19">
                  <c:v>0.0005042016806722689</c:v>
                </c:pt>
                <c:pt idx="20">
                  <c:v>0.0004013377926421405</c:v>
                </c:pt>
                <c:pt idx="21">
                  <c:v>0.00016977928692699492</c:v>
                </c:pt>
                <c:pt idx="22">
                  <c:v>0.0006655574043261231</c:v>
                </c:pt>
                <c:pt idx="23">
                  <c:v>0.0005211952744961779</c:v>
                </c:pt>
                <c:pt idx="24">
                  <c:v>0.000642570281124498</c:v>
                </c:pt>
                <c:pt idx="25">
                  <c:v>0.0010915044569765327</c:v>
                </c:pt>
                <c:pt idx="26">
                  <c:v>0.0007638252367858234</c:v>
                </c:pt>
                <c:pt idx="27">
                  <c:v>0.00014740566037735848</c:v>
                </c:pt>
                <c:pt idx="28">
                  <c:v>0.0007701786814540973</c:v>
                </c:pt>
                <c:pt idx="29">
                  <c:v>0.0005499037668408029</c:v>
                </c:pt>
                <c:pt idx="30">
                  <c:v>0.0006866952789699571</c:v>
                </c:pt>
                <c:pt idx="31">
                  <c:v>0.0006668889629876625</c:v>
                </c:pt>
                <c:pt idx="32">
                  <c:v>0.00033886818027787193</c:v>
                </c:pt>
                <c:pt idx="33">
                  <c:v>0.0012132650310056618</c:v>
                </c:pt>
                <c:pt idx="34">
                  <c:v>0.0013868022651103663</c:v>
                </c:pt>
                <c:pt idx="35">
                  <c:v>0.0013130744700806604</c:v>
                </c:pt>
                <c:pt idx="36">
                  <c:v>0.00048291681757817216</c:v>
                </c:pt>
                <c:pt idx="37">
                  <c:v>0.0005769508149430262</c:v>
                </c:pt>
                <c:pt idx="38">
                  <c:v>0.0003007518796992481</c:v>
                </c:pt>
                <c:pt idx="39">
                  <c:v>0.0006278449223041908</c:v>
                </c:pt>
                <c:pt idx="40">
                  <c:v>0.00025506950644050506</c:v>
                </c:pt>
                <c:pt idx="41">
                  <c:v>0.0004366812227074236</c:v>
                </c:pt>
                <c:pt idx="42">
                  <c:v>0.0001221001221001221</c:v>
                </c:pt>
                <c:pt idx="43">
                  <c:v>0.0003280481137233461</c:v>
                </c:pt>
                <c:pt idx="44">
                  <c:v>0.00042961477874838895</c:v>
                </c:pt>
                <c:pt idx="45">
                  <c:v>0.00031794480478188986</c:v>
                </c:pt>
                <c:pt idx="46">
                  <c:v>0.0006879729814247295</c:v>
                </c:pt>
                <c:pt idx="47">
                  <c:v>0.000894168742415533</c:v>
                </c:pt>
                <c:pt idx="48">
                  <c:v>0.0004671150971599402</c:v>
                </c:pt>
                <c:pt idx="49">
                  <c:v>0.0005092297899427117</c:v>
                </c:pt>
                <c:pt idx="50">
                  <c:v>0.0006144393241167435</c:v>
                </c:pt>
                <c:pt idx="51">
                  <c:v>0.0007825338445887784</c:v>
                </c:pt>
                <c:pt idx="52">
                  <c:v>0.0002576157660848844</c:v>
                </c:pt>
                <c:pt idx="53">
                  <c:v>0.00042176296921130323</c:v>
                </c:pt>
                <c:pt idx="54">
                  <c:v>0.0008497781134925881</c:v>
                </c:pt>
                <c:pt idx="55">
                  <c:v>0.00048529554498689704</c:v>
                </c:pt>
                <c:pt idx="56">
                  <c:v>0.00019878739687903787</c:v>
                </c:pt>
                <c:pt idx="57">
                  <c:v>0.0003463203463203463</c:v>
                </c:pt>
                <c:pt idx="58">
                  <c:v>0.00030641948827945457</c:v>
                </c:pt>
                <c:pt idx="59">
                  <c:v>0.0004901240013723472</c:v>
                </c:pt>
                <c:pt idx="60">
                  <c:v>0.0007439685407588479</c:v>
                </c:pt>
                <c:pt idx="61">
                  <c:v>0.001052789893217025</c:v>
                </c:pt>
                <c:pt idx="62">
                  <c:v>0.0008598452278589854</c:v>
                </c:pt>
                <c:pt idx="63">
                  <c:v>0.0011563664396762173</c:v>
                </c:pt>
                <c:pt idx="64">
                  <c:v>0.0011653581943081453</c:v>
                </c:pt>
                <c:pt idx="65">
                  <c:v>0.001007725898555593</c:v>
                </c:pt>
                <c:pt idx="66">
                  <c:v>0.0007878527431600058</c:v>
                </c:pt>
                <c:pt idx="67">
                  <c:v>0.0006917223887479825</c:v>
                </c:pt>
                <c:pt idx="68">
                  <c:v>0.0012484394506866417</c:v>
                </c:pt>
                <c:pt idx="69">
                  <c:v>0.0013683293942032592</c:v>
                </c:pt>
                <c:pt idx="70">
                  <c:v>0.0012020675561966582</c:v>
                </c:pt>
                <c:pt idx="71">
                  <c:v>0.0013217023526301878</c:v>
                </c:pt>
                <c:pt idx="72">
                  <c:v>0.0013286628819905786</c:v>
                </c:pt>
                <c:pt idx="73">
                  <c:v>0.0024944203754759093</c:v>
                </c:pt>
                <c:pt idx="74">
                  <c:v>0.0026365348399246705</c:v>
                </c:pt>
                <c:pt idx="75">
                  <c:v>0.0026052974381241857</c:v>
                </c:pt>
                <c:pt idx="76">
                  <c:v>0.003568657874321179</c:v>
                </c:pt>
                <c:pt idx="77">
                  <c:v>0.00372168284789644</c:v>
                </c:pt>
                <c:pt idx="78">
                  <c:v>0.006307442782483331</c:v>
                </c:pt>
                <c:pt idx="79">
                  <c:v>0.004245923913043478</c:v>
                </c:pt>
                <c:pt idx="80">
                  <c:v>0.003997335109926716</c:v>
                </c:pt>
                <c:pt idx="81">
                  <c:v>0.00551191952597492</c:v>
                </c:pt>
                <c:pt idx="82">
                  <c:v>0.004459507670353193</c:v>
                </c:pt>
                <c:pt idx="83">
                  <c:v>0.004400670578373848</c:v>
                </c:pt>
                <c:pt idx="84">
                  <c:v>0.00416579879191835</c:v>
                </c:pt>
                <c:pt idx="85">
                  <c:v>0.0038860103626943004</c:v>
                </c:pt>
                <c:pt idx="86">
                  <c:v>0.0034478185916987135</c:v>
                </c:pt>
                <c:pt idx="87">
                  <c:v>0.002925002925002925</c:v>
                </c:pt>
                <c:pt idx="88">
                  <c:v>0.00454063871651279</c:v>
                </c:pt>
                <c:pt idx="89">
                  <c:v>0.005974345457740292</c:v>
                </c:pt>
                <c:pt idx="90">
                  <c:v>0.005668312305723167</c:v>
                </c:pt>
                <c:pt idx="91">
                  <c:v>0.005691924581999288</c:v>
                </c:pt>
                <c:pt idx="92">
                  <c:v>0.0045933531477978925</c:v>
                </c:pt>
                <c:pt idx="93">
                  <c:v>0.004557885141294439</c:v>
                </c:pt>
                <c:pt idx="94">
                  <c:v>0.004178072323872641</c:v>
                </c:pt>
                <c:pt idx="95">
                  <c:v>0.004830421377183967</c:v>
                </c:pt>
                <c:pt idx="96">
                  <c:v>0.006507913030616773</c:v>
                </c:pt>
                <c:pt idx="97">
                  <c:v>0.007283090563647878</c:v>
                </c:pt>
                <c:pt idx="98">
                  <c:v>0.00677800672378267</c:v>
                </c:pt>
                <c:pt idx="99">
                  <c:v>0.006458046440951612</c:v>
                </c:pt>
                <c:pt idx="100">
                  <c:v>0.004885661939336364</c:v>
                </c:pt>
                <c:pt idx="101">
                  <c:v>0.006859709828203727</c:v>
                </c:pt>
                <c:pt idx="102">
                  <c:v>0.005986112219650411</c:v>
                </c:pt>
                <c:pt idx="103">
                  <c:v>0.005471380471380472</c:v>
                </c:pt>
                <c:pt idx="104">
                  <c:v>0.00414078674948240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109:$B$160</c:f>
              <c:numCache>
                <c:formatCode>General</c:formatCode>
                <c:ptCount val="52"/>
                <c:pt idx="0">
                  <c:v>0.004510358535280178</c:v>
                </c:pt>
                <c:pt idx="1">
                  <c:v>0.0054792280013084725</c:v>
                </c:pt>
                <c:pt idx="2">
                  <c:v>0.004826117814052519</c:v>
                </c:pt>
                <c:pt idx="3">
                  <c:v>0.005182092989779761</c:v>
                </c:pt>
                <c:pt idx="4">
                  <c:v>0.005290599601288146</c:v>
                </c:pt>
                <c:pt idx="5">
                  <c:v>0.004552352048558422</c:v>
                </c:pt>
                <c:pt idx="6">
                  <c:v>0.0049862696921520455</c:v>
                </c:pt>
                <c:pt idx="7">
                  <c:v>0.0058180359113251074</c:v>
                </c:pt>
                <c:pt idx="8">
                  <c:v>0.00717891194615816</c:v>
                </c:pt>
                <c:pt idx="9">
                  <c:v>0.007236320380650278</c:v>
                </c:pt>
                <c:pt idx="10">
                  <c:v>0.006994347034588484</c:v>
                </c:pt>
                <c:pt idx="11">
                  <c:v>0.006884561891515995</c:v>
                </c:pt>
                <c:pt idx="12">
                  <c:v>0.007134363852556481</c:v>
                </c:pt>
                <c:pt idx="13">
                  <c:v>0.010407049937054134</c:v>
                </c:pt>
                <c:pt idx="14">
                  <c:v>0.010429276468944967</c:v>
                </c:pt>
                <c:pt idx="15">
                  <c:v>0.00994075710412692</c:v>
                </c:pt>
                <c:pt idx="16">
                  <c:v>0.009873060648801129</c:v>
                </c:pt>
                <c:pt idx="17">
                  <c:v>0.012442059038789949</c:v>
                </c:pt>
                <c:pt idx="18">
                  <c:v>0.006704562017198659</c:v>
                </c:pt>
                <c:pt idx="19">
                  <c:v>0.005950770895320531</c:v>
                </c:pt>
                <c:pt idx="20">
                  <c:v>0.007330006238303182</c:v>
                </c:pt>
                <c:pt idx="21">
                  <c:v>0.010286141761735553</c:v>
                </c:pt>
                <c:pt idx="22">
                  <c:v>0.00847145488029466</c:v>
                </c:pt>
                <c:pt idx="23">
                  <c:v>0.008226691042047532</c:v>
                </c:pt>
                <c:pt idx="24">
                  <c:v>0.0075419952005485085</c:v>
                </c:pt>
                <c:pt idx="25">
                  <c:v>0.007911392405063292</c:v>
                </c:pt>
                <c:pt idx="26">
                  <c:v>0.008629441624365483</c:v>
                </c:pt>
                <c:pt idx="27">
                  <c:v>0.008746355685131196</c:v>
                </c:pt>
                <c:pt idx="28">
                  <c:v>0.007511194568828542</c:v>
                </c:pt>
                <c:pt idx="29">
                  <c:v>0.008570928808815813</c:v>
                </c:pt>
                <c:pt idx="30">
                  <c:v>0.008193801211257571</c:v>
                </c:pt>
                <c:pt idx="31">
                  <c:v>0.00854191497814859</c:v>
                </c:pt>
                <c:pt idx="32">
                  <c:v>0.007553956834532374</c:v>
                </c:pt>
                <c:pt idx="33">
                  <c:v>0.006897522522522522</c:v>
                </c:pt>
                <c:pt idx="34">
                  <c:v>0.006098202081800021</c:v>
                </c:pt>
                <c:pt idx="35">
                  <c:v>0.007370393504059962</c:v>
                </c:pt>
                <c:pt idx="36">
                  <c:v>0.009972416719711436</c:v>
                </c:pt>
                <c:pt idx="37">
                  <c:v>0.009865300701954089</c:v>
                </c:pt>
                <c:pt idx="38">
                  <c:v>0.011813607525705535</c:v>
                </c:pt>
                <c:pt idx="39">
                  <c:v>0.010794743429286609</c:v>
                </c:pt>
                <c:pt idx="40">
                  <c:v>0.010329941412272586</c:v>
                </c:pt>
                <c:pt idx="41">
                  <c:v>0.00836096295228485</c:v>
                </c:pt>
                <c:pt idx="42">
                  <c:v>0.009661044702800065</c:v>
                </c:pt>
                <c:pt idx="43">
                  <c:v>0.007217125382262997</c:v>
                </c:pt>
                <c:pt idx="44">
                  <c:v>0.005251164173189339</c:v>
                </c:pt>
                <c:pt idx="45">
                  <c:v>0.0041766954551890135</c:v>
                </c:pt>
                <c:pt idx="46">
                  <c:v>0.004268139593271403</c:v>
                </c:pt>
                <c:pt idx="47">
                  <c:v>0.004140786749482402</c:v>
                </c:pt>
                <c:pt idx="48">
                  <c:v>0.004567368688150216</c:v>
                </c:pt>
                <c:pt idx="49">
                  <c:v>0.0039922436409262005</c:v>
                </c:pt>
                <c:pt idx="50">
                  <c:v>0.003317553211316957</c:v>
                </c:pt>
                <c:pt idx="51">
                  <c:v>0.00408710217755443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625.014659539427</c:v>
                </c:pt>
              </c:numCache>
            </c:numRef>
          </c:xVal>
          <c:yVal>
            <c:numRef>
              <c:f>Sheet1!$B$163:$B$164</c:f>
              <c:numCache>
                <c:formatCode>General</c:formatCode>
                <c:ptCount val="2"/>
                <c:pt idx="0">
                  <c:v>0.008585636713045098</c:v>
                </c:pt>
                <c:pt idx="1">
                  <c:v>0.00858563671304509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625.014659539427</c:v>
                </c:pt>
                <c:pt idx="1">
                  <c:v>3625.014659539427</c:v>
                </c:pt>
              </c:numCache>
            </c:numRef>
          </c:xVal>
          <c:yVal>
            <c:numRef>
              <c:f>Sheet1!$B$167:$B$168</c:f>
              <c:numCache>
                <c:formatCode>General</c:formatCode>
                <c:ptCount val="2"/>
                <c:pt idx="0">
                  <c:v>0.0085856367130450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625.014659539427</c:v>
                </c:pt>
              </c:numCache>
            </c:numRef>
          </c:xVal>
          <c:yVal>
            <c:numRef>
              <c:f>Sheet1!$B$171:$B$172</c:f>
              <c:numCache>
                <c:formatCode>General</c:formatCode>
                <c:ptCount val="2"/>
                <c:pt idx="0">
                  <c:v>0.008585636713045098</c:v>
                </c:pt>
                <c:pt idx="1">
                  <c:v>0.00858563671304509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625.014659539427</c:v>
                </c:pt>
                <c:pt idx="1">
                  <c:v>3625.014659539427</c:v>
                </c:pt>
              </c:numCache>
            </c:numRef>
          </c:xVal>
          <c:yVal>
            <c:numRef>
              <c:f>Sheet1!$B$175:$B$176</c:f>
              <c:numCache>
                <c:formatCode>General</c:formatCode>
                <c:ptCount val="2"/>
                <c:pt idx="0">
                  <c:v>0.00858563671304509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93.530776676478</c:v>
                </c:pt>
              </c:numCache>
            </c:numRef>
          </c:xVal>
          <c:yVal>
            <c:numRef>
              <c:f>Sheet1!$B$179:$B$180</c:f>
              <c:numCache>
                <c:formatCode>General</c:formatCode>
                <c:ptCount val="2"/>
                <c:pt idx="0">
                  <c:v>0.006166528582152852</c:v>
                </c:pt>
                <c:pt idx="1">
                  <c:v>0.00616652858215285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93.530776676478</c:v>
                </c:pt>
                <c:pt idx="1">
                  <c:v>4293.530776676478</c:v>
                </c:pt>
              </c:numCache>
            </c:numRef>
          </c:xVal>
          <c:yVal>
            <c:numRef>
              <c:f>Sheet1!$B$183:$B$184</c:f>
              <c:numCache>
                <c:formatCode>General</c:formatCode>
                <c:ptCount val="2"/>
                <c:pt idx="0">
                  <c:v>0.00616652858215285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625.014659539427</c:v>
                </c:pt>
                <c:pt idx="53">
                  <c:v>3625.014659539427</c:v>
                </c:pt>
                <c:pt idx="54">
                  <c:v>4293.530776676478</c:v>
                </c:pt>
              </c:numCache>
            </c:numRef>
          </c:xVal>
          <c:yVal>
            <c:numRef>
              <c:f>Sheet1!$B$187:$B$241</c:f>
              <c:numCache>
                <c:formatCode>General</c:formatCode>
                <c:ptCount val="55"/>
                <c:pt idx="0">
                  <c:v>0.006031248067557688</c:v>
                </c:pt>
                <c:pt idx="1">
                  <c:v>0.00819520265117894</c:v>
                </c:pt>
                <c:pt idx="2">
                  <c:v>0.005927544831600365</c:v>
                </c:pt>
                <c:pt idx="3">
                  <c:v>0.007966854843213581</c:v>
                </c:pt>
                <c:pt idx="4">
                  <c:v>0.00556031063512219</c:v>
                </c:pt>
                <c:pt idx="5">
                  <c:v>0.004533193303936069</c:v>
                </c:pt>
                <c:pt idx="6">
                  <c:v>0.005279369029498538</c:v>
                </c:pt>
                <c:pt idx="7">
                  <c:v>0.005399242084560871</c:v>
                </c:pt>
                <c:pt idx="8">
                  <c:v>0.006379516696415566</c:v>
                </c:pt>
                <c:pt idx="9">
                  <c:v>0.00687432872111002</c:v>
                </c:pt>
                <c:pt idx="10">
                  <c:v>0.006711589813941592</c:v>
                </c:pt>
                <c:pt idx="11">
                  <c:v>0.006917285038803586</c:v>
                </c:pt>
                <c:pt idx="12">
                  <c:v>0.008093878660172171</c:v>
                </c:pt>
                <c:pt idx="13">
                  <c:v>0.009252596281455992</c:v>
                </c:pt>
                <c:pt idx="14">
                  <c:v>0.009088290872174873</c:v>
                </c:pt>
                <c:pt idx="15">
                  <c:v>0.008179380581792175</c:v>
                </c:pt>
                <c:pt idx="16">
                  <c:v>0.007514964759289455</c:v>
                </c:pt>
                <c:pt idx="17">
                  <c:v>0.01076328510716181</c:v>
                </c:pt>
                <c:pt idx="18">
                  <c:v>0.006256397374212332</c:v>
                </c:pt>
                <c:pt idx="19">
                  <c:v>0.005041823766185921</c:v>
                </c:pt>
                <c:pt idx="20">
                  <c:v>0.00564282502118147</c:v>
                </c:pt>
                <c:pt idx="21">
                  <c:v>0.008650167117627765</c:v>
                </c:pt>
                <c:pt idx="22">
                  <c:v>0.007360864230137695</c:v>
                </c:pt>
                <c:pt idx="23">
                  <c:v>0.01007173793125109</c:v>
                </c:pt>
                <c:pt idx="24">
                  <c:v>0.006688461743710466</c:v>
                </c:pt>
                <c:pt idx="25">
                  <c:v>0.007695186684030662</c:v>
                </c:pt>
                <c:pt idx="26">
                  <c:v>0.007615047200573738</c:v>
                </c:pt>
                <c:pt idx="27">
                  <c:v>0.008509761992832444</c:v>
                </c:pt>
                <c:pt idx="28">
                  <c:v>0.008169339263444967</c:v>
                </c:pt>
                <c:pt idx="29">
                  <c:v>0.008208023796098035</c:v>
                </c:pt>
                <c:pt idx="30">
                  <c:v>0.008513238766290227</c:v>
                </c:pt>
                <c:pt idx="31">
                  <c:v>0.007330784784165108</c:v>
                </c:pt>
                <c:pt idx="32">
                  <c:v>0.005570514791526853</c:v>
                </c:pt>
                <c:pt idx="33">
                  <c:v>0.005982348522629459</c:v>
                </c:pt>
                <c:pt idx="34">
                  <c:v>0.005581733248098266</c:v>
                </c:pt>
                <c:pt idx="35">
                  <c:v>0.006680147232496951</c:v>
                </c:pt>
                <c:pt idx="36">
                  <c:v>0.006740961819020138</c:v>
                </c:pt>
                <c:pt idx="37">
                  <c:v>0.006562809746920325</c:v>
                </c:pt>
                <c:pt idx="38">
                  <c:v>0.008421980700270459</c:v>
                </c:pt>
                <c:pt idx="39">
                  <c:v>0.009643009570756627</c:v>
                </c:pt>
                <c:pt idx="40">
                  <c:v>0.010046101431210498</c:v>
                </c:pt>
                <c:pt idx="41">
                  <c:v>0.008923719132204232</c:v>
                </c:pt>
                <c:pt idx="42">
                  <c:v>0.009534566299878044</c:v>
                </c:pt>
                <c:pt idx="43">
                  <c:v>0.008655118118299015</c:v>
                </c:pt>
                <c:pt idx="44">
                  <c:v>0.006765112512252064</c:v>
                </c:pt>
                <c:pt idx="45">
                  <c:v>0.006416846416430633</c:v>
                </c:pt>
                <c:pt idx="46">
                  <c:v>0.005568325524309994</c:v>
                </c:pt>
                <c:pt idx="47">
                  <c:v>0.007037387876458105</c:v>
                </c:pt>
                <c:pt idx="48">
                  <c:v>0.008113057364716552</c:v>
                </c:pt>
                <c:pt idx="49">
                  <c:v>0.007866565778527509</c:v>
                </c:pt>
                <c:pt idx="50">
                  <c:v>0.007111771577377614</c:v>
                </c:pt>
                <c:pt idx="51">
                  <c:v>0.005874866358152198</c:v>
                </c:pt>
                <c:pt idx="52">
                  <c:v>0.008585636713045098</c:v>
                </c:pt>
                <c:pt idx="53">
                  <c:v>0.008585636713045098</c:v>
                </c:pt>
                <c:pt idx="54">
                  <c:v>0.0061665285821528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493047084654793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587334089176457</c:v>
                </c:pt>
                <c:pt idx="1">
                  <c:v>1.72277540611181</c:v>
                </c:pt>
                <c:pt idx="2">
                  <c:v>1.65881974730518</c:v>
                </c:pt>
                <c:pt idx="3">
                  <c:v>1.2418751385566997</c:v>
                </c:pt>
                <c:pt idx="4">
                  <c:v>1.4504036987322428</c:v>
                </c:pt>
                <c:pt idx="5">
                  <c:v>1.5869572328845094</c:v>
                </c:pt>
                <c:pt idx="6">
                  <c:v>1.2359092456431369</c:v>
                </c:pt>
                <c:pt idx="7">
                  <c:v>1.002576060232388</c:v>
                </c:pt>
                <c:pt idx="8">
                  <c:v>1.4360434409928007</c:v>
                </c:pt>
                <c:pt idx="9">
                  <c:v>1.3491515101830491</c:v>
                </c:pt>
                <c:pt idx="10">
                  <c:v>1.1939578387143457</c:v>
                </c:pt>
                <c:pt idx="11">
                  <c:v>1.0379807699007142</c:v>
                </c:pt>
                <c:pt idx="12">
                  <c:v>1.5723778507900377</c:v>
                </c:pt>
                <c:pt idx="13">
                  <c:v>1.2550419486100703</c:v>
                </c:pt>
                <c:pt idx="14">
                  <c:v>0.0</c:v>
                </c:pt>
                <c:pt idx="15">
                  <c:v>0.8937479650742441</c:v>
                </c:pt>
                <c:pt idx="16">
                  <c:v>0.5357975469619359</c:v>
                </c:pt>
                <c:pt idx="17">
                  <c:v>1.6364452370565015</c:v>
                </c:pt>
                <c:pt idx="18">
                  <c:v>0.0</c:v>
                </c:pt>
                <c:pt idx="19">
                  <c:v>1.045311780781837</c:v>
                </c:pt>
                <c:pt idx="20">
                  <c:v>1.3341064171904309</c:v>
                </c:pt>
                <c:pt idx="21">
                  <c:v>1.706262514253248</c:v>
                </c:pt>
                <c:pt idx="22">
                  <c:v>1.297768963553202</c:v>
                </c:pt>
                <c:pt idx="23">
                  <c:v>1.6551972031690174</c:v>
                </c:pt>
                <c:pt idx="24">
                  <c:v>1.3607101948591285</c:v>
                </c:pt>
                <c:pt idx="25">
                  <c:v>0.9692116841225071</c:v>
                </c:pt>
                <c:pt idx="26">
                  <c:v>1.4670440313948339</c:v>
                </c:pt>
                <c:pt idx="27">
                  <c:v>2.974273815165053</c:v>
                </c:pt>
                <c:pt idx="28">
                  <c:v>0.585227482649249</c:v>
                </c:pt>
                <c:pt idx="29">
                  <c:v>1.2492037372074114</c:v>
                </c:pt>
                <c:pt idx="30">
                  <c:v>0.7500516801244776</c:v>
                </c:pt>
                <c:pt idx="31">
                  <c:v>0.8695581561848253</c:v>
                </c:pt>
                <c:pt idx="32">
                  <c:v>1.4313101437994167</c:v>
                </c:pt>
                <c:pt idx="33">
                  <c:v>0.6153872076489848</c:v>
                </c:pt>
                <c:pt idx="34">
                  <c:v>0.5038396932143434</c:v>
                </c:pt>
                <c:pt idx="35">
                  <c:v>0.6007239083611111</c:v>
                </c:pt>
                <c:pt idx="36">
                  <c:v>1.1931777510532957</c:v>
                </c:pt>
                <c:pt idx="37">
                  <c:v>0.7195846785035986</c:v>
                </c:pt>
                <c:pt idx="38">
                  <c:v>1.2512668607515518</c:v>
                </c:pt>
                <c:pt idx="39">
                  <c:v>0.792536730113519</c:v>
                </c:pt>
                <c:pt idx="40">
                  <c:v>1.346667286592414</c:v>
                </c:pt>
                <c:pt idx="41">
                  <c:v>0.7570193814175091</c:v>
                </c:pt>
                <c:pt idx="42">
                  <c:v>1.7310395755325092</c:v>
                </c:pt>
                <c:pt idx="43">
                  <c:v>1.2497213803145029</c:v>
                </c:pt>
                <c:pt idx="44">
                  <c:v>0.8181849106252399</c:v>
                </c:pt>
                <c:pt idx="45">
                  <c:v>0.7174315916351024</c:v>
                </c:pt>
                <c:pt idx="46">
                  <c:v>0.6150322027459484</c:v>
                </c:pt>
                <c:pt idx="47">
                  <c:v>0.5074551910826471</c:v>
                </c:pt>
                <c:pt idx="48">
                  <c:v>0.6987347375691441</c:v>
                </c:pt>
                <c:pt idx="49">
                  <c:v>0.6441404715261607</c:v>
                </c:pt>
                <c:pt idx="50">
                  <c:v>0.6241340833858734</c:v>
                </c:pt>
                <c:pt idx="51">
                  <c:v>0.5946434583277781</c:v>
                </c:pt>
                <c:pt idx="52">
                  <c:v>0.6777086327807881</c:v>
                </c:pt>
                <c:pt idx="53">
                  <c:v>0.5679002458524993</c:v>
                </c:pt>
                <c:pt idx="54">
                  <c:v>0.602181627634705</c:v>
                </c:pt>
                <c:pt idx="55">
                  <c:v>0.6843430904284248</c:v>
                </c:pt>
                <c:pt idx="56">
                  <c:v>1.3682630239850124</c:v>
                </c:pt>
                <c:pt idx="57">
                  <c:v>0.5742098987551232</c:v>
                </c:pt>
                <c:pt idx="58">
                  <c:v>0.6508120910355771</c:v>
                </c:pt>
                <c:pt idx="59">
                  <c:v>0.540464096661492</c:v>
                </c:pt>
                <c:pt idx="60">
                  <c:v>0.41878059610899737</c:v>
                </c:pt>
                <c:pt idx="61">
                  <c:v>0.4014123284939975</c:v>
                </c:pt>
                <c:pt idx="62">
                  <c:v>0.38732280069265174</c:v>
                </c:pt>
                <c:pt idx="63">
                  <c:v>0.3461059965130612</c:v>
                </c:pt>
                <c:pt idx="64">
                  <c:v>0.3575408278925375</c:v>
                </c:pt>
                <c:pt idx="65">
                  <c:v>0.3149242568533876</c:v>
                </c:pt>
                <c:pt idx="66">
                  <c:v>0.27855021645936745</c:v>
                </c:pt>
                <c:pt idx="67">
                  <c:v>0.36071427967171443</c:v>
                </c:pt>
                <c:pt idx="68">
                  <c:v>0.27566603277845825</c:v>
                </c:pt>
                <c:pt idx="69">
                  <c:v>0.23641447277357916</c:v>
                </c:pt>
                <c:pt idx="70">
                  <c:v>0.27894077133392625</c:v>
                </c:pt>
                <c:pt idx="71">
                  <c:v>0.19969626132008966</c:v>
                </c:pt>
                <c:pt idx="72">
                  <c:v>0.3115069735521579</c:v>
                </c:pt>
                <c:pt idx="73">
                  <c:v>0.24952519086863367</c:v>
                </c:pt>
                <c:pt idx="74">
                  <c:v>0.2767832184806115</c:v>
                </c:pt>
                <c:pt idx="75">
                  <c:v>0.48751379375811427</c:v>
                </c:pt>
                <c:pt idx="76">
                  <c:v>0.45641706163633766</c:v>
                </c:pt>
                <c:pt idx="77">
                  <c:v>0.5202300542257999</c:v>
                </c:pt>
                <c:pt idx="78">
                  <c:v>0.3317049235816454</c:v>
                </c:pt>
                <c:pt idx="79">
                  <c:v>0.5287281108234678</c:v>
                </c:pt>
                <c:pt idx="80">
                  <c:v>0.4448971333568784</c:v>
                </c:pt>
                <c:pt idx="81">
                  <c:v>0.4167367286948222</c:v>
                </c:pt>
                <c:pt idx="82">
                  <c:v>0.47643490721162846</c:v>
                </c:pt>
                <c:pt idx="83">
                  <c:v>0.48116170412495024</c:v>
                </c:pt>
                <c:pt idx="84">
                  <c:v>0.4327842162333342</c:v>
                </c:pt>
                <c:pt idx="85">
                  <c:v>0.3413379023306386</c:v>
                </c:pt>
                <c:pt idx="86">
                  <c:v>0.48820732191646443</c:v>
                </c:pt>
                <c:pt idx="87">
                  <c:v>0.4706999524942887</c:v>
                </c:pt>
                <c:pt idx="88">
                  <c:v>0.4926597216784444</c:v>
                </c:pt>
                <c:pt idx="89">
                  <c:v>0.4307539652504579</c:v>
                </c:pt>
                <c:pt idx="90">
                  <c:v>0.4455855551052838</c:v>
                </c:pt>
                <c:pt idx="91">
                  <c:v>0.4312138297030291</c:v>
                </c:pt>
                <c:pt idx="92">
                  <c:v>0.46455495547289793</c:v>
                </c:pt>
                <c:pt idx="93">
                  <c:v>0.4333015388934323</c:v>
                </c:pt>
                <c:pt idx="94">
                  <c:v>0.5078559689323241</c:v>
                </c:pt>
                <c:pt idx="95">
                  <c:v>0.4719734361142479</c:v>
                </c:pt>
                <c:pt idx="96">
                  <c:v>0.3469511953475826</c:v>
                </c:pt>
                <c:pt idx="97">
                  <c:v>0.4086019104393367</c:v>
                </c:pt>
                <c:pt idx="98">
                  <c:v>0.37959845204158715</c:v>
                </c:pt>
                <c:pt idx="99">
                  <c:v>0.3997720525763149</c:v>
                </c:pt>
                <c:pt idx="100">
                  <c:v>0.45679026314759086</c:v>
                </c:pt>
                <c:pt idx="101">
                  <c:v>0.4539594675606467</c:v>
                </c:pt>
                <c:pt idx="102">
                  <c:v>0.4637689382646255</c:v>
                </c:pt>
                <c:pt idx="103">
                  <c:v>0.4342805016110773</c:v>
                </c:pt>
                <c:pt idx="104">
                  <c:v>0.5189979346322119</c:v>
                </c:pt>
              </c:numCache>
            </c:numRef>
          </c:xVal>
          <c:yVal>
            <c:numRef>
              <c:f>Sheet1!$B$2:$B$106</c:f>
              <c:numCache>
                <c:formatCode>General</c:formatCode>
                <c:ptCount val="105"/>
                <c:pt idx="0">
                  <c:v>0.000912088683084263</c:v>
                </c:pt>
                <c:pt idx="1">
                  <c:v>0.0002435658033612081</c:v>
                </c:pt>
                <c:pt idx="2">
                  <c:v>0.0002453385672227674</c:v>
                </c:pt>
                <c:pt idx="3">
                  <c:v>0.0002613240418118467</c:v>
                </c:pt>
                <c:pt idx="4">
                  <c:v>0.0001950078003120125</c:v>
                </c:pt>
                <c:pt idx="5">
                  <c:v>0.00029452189279403104</c:v>
                </c:pt>
                <c:pt idx="6">
                  <c:v>0.0005294740557712672</c:v>
                </c:pt>
                <c:pt idx="7">
                  <c:v>0.0006316454363617223</c:v>
                </c:pt>
                <c:pt idx="8">
                  <c:v>0.00032847914157451</c:v>
                </c:pt>
                <c:pt idx="9">
                  <c:v>0.0004123371268349002</c:v>
                </c:pt>
                <c:pt idx="10">
                  <c:v>0.0003252825892494104</c:v>
                </c:pt>
                <c:pt idx="11">
                  <c:v>0.0005880376344086022</c:v>
                </c:pt>
                <c:pt idx="12">
                  <c:v>0.000382321455880104</c:v>
                </c:pt>
                <c:pt idx="13">
                  <c:v>0.00047969299648225136</c:v>
                </c:pt>
                <c:pt idx="14">
                  <c:v>0.0</c:v>
                </c:pt>
                <c:pt idx="15">
                  <c:v>0.0004876145894285157</c:v>
                </c:pt>
                <c:pt idx="16">
                  <c:v>0.0004482797265493668</c:v>
                </c:pt>
                <c:pt idx="17">
                  <c:v>0.0002494387627837366</c:v>
                </c:pt>
                <c:pt idx="18">
                  <c:v>0.0</c:v>
                </c:pt>
                <c:pt idx="19">
                  <c:v>0.0005042016806722689</c:v>
                </c:pt>
                <c:pt idx="20">
                  <c:v>0.0004013377926421405</c:v>
                </c:pt>
                <c:pt idx="21">
                  <c:v>0.00016977928692699492</c:v>
                </c:pt>
                <c:pt idx="22">
                  <c:v>0.0006655574043261231</c:v>
                </c:pt>
                <c:pt idx="23">
                  <c:v>0.0005211952744961779</c:v>
                </c:pt>
                <c:pt idx="24">
                  <c:v>0.000642570281124498</c:v>
                </c:pt>
                <c:pt idx="25">
                  <c:v>0.0010915044569765327</c:v>
                </c:pt>
                <c:pt idx="26">
                  <c:v>0.0007638252367858234</c:v>
                </c:pt>
                <c:pt idx="27">
                  <c:v>0.00014740566037735848</c:v>
                </c:pt>
                <c:pt idx="28">
                  <c:v>0.0007701786814540973</c:v>
                </c:pt>
                <c:pt idx="29">
                  <c:v>0.0005499037668408029</c:v>
                </c:pt>
                <c:pt idx="30">
                  <c:v>0.0006866952789699571</c:v>
                </c:pt>
                <c:pt idx="31">
                  <c:v>0.0006668889629876625</c:v>
                </c:pt>
                <c:pt idx="32">
                  <c:v>0.00033886818027787193</c:v>
                </c:pt>
                <c:pt idx="33">
                  <c:v>0.0012132650310056618</c:v>
                </c:pt>
                <c:pt idx="34">
                  <c:v>0.0013868022651103663</c:v>
                </c:pt>
                <c:pt idx="35">
                  <c:v>0.0013130744700806604</c:v>
                </c:pt>
                <c:pt idx="36">
                  <c:v>0.00048291681757817216</c:v>
                </c:pt>
                <c:pt idx="37">
                  <c:v>0.0005769508149430262</c:v>
                </c:pt>
                <c:pt idx="38">
                  <c:v>0.0003007518796992481</c:v>
                </c:pt>
                <c:pt idx="39">
                  <c:v>0.0006278449223041908</c:v>
                </c:pt>
                <c:pt idx="40">
                  <c:v>0.00025506950644050506</c:v>
                </c:pt>
                <c:pt idx="41">
                  <c:v>0.0004366812227074236</c:v>
                </c:pt>
                <c:pt idx="42">
                  <c:v>0.0001221001221001221</c:v>
                </c:pt>
                <c:pt idx="43">
                  <c:v>0.0003280481137233461</c:v>
                </c:pt>
                <c:pt idx="44">
                  <c:v>0.00042961477874838895</c:v>
                </c:pt>
                <c:pt idx="45">
                  <c:v>0.00031794480478188986</c:v>
                </c:pt>
                <c:pt idx="46">
                  <c:v>0.0006879729814247295</c:v>
                </c:pt>
                <c:pt idx="47">
                  <c:v>0.000894168742415533</c:v>
                </c:pt>
                <c:pt idx="48">
                  <c:v>0.0004671150971599402</c:v>
                </c:pt>
                <c:pt idx="49">
                  <c:v>0.0005092297899427117</c:v>
                </c:pt>
                <c:pt idx="50">
                  <c:v>0.0006144393241167435</c:v>
                </c:pt>
                <c:pt idx="51">
                  <c:v>0.0007825338445887784</c:v>
                </c:pt>
                <c:pt idx="52">
                  <c:v>0.0002576157660848844</c:v>
                </c:pt>
                <c:pt idx="53">
                  <c:v>0.00042176296921130323</c:v>
                </c:pt>
                <c:pt idx="54">
                  <c:v>0.0008497781134925881</c:v>
                </c:pt>
                <c:pt idx="55">
                  <c:v>0.00048529554498689704</c:v>
                </c:pt>
                <c:pt idx="56">
                  <c:v>0.00019878739687903787</c:v>
                </c:pt>
                <c:pt idx="57">
                  <c:v>0.0003463203463203463</c:v>
                </c:pt>
                <c:pt idx="58">
                  <c:v>0.00030641948827945457</c:v>
                </c:pt>
                <c:pt idx="59">
                  <c:v>0.0004901240013723472</c:v>
                </c:pt>
                <c:pt idx="60">
                  <c:v>0.0007439685407588479</c:v>
                </c:pt>
                <c:pt idx="61">
                  <c:v>0.001052789893217025</c:v>
                </c:pt>
                <c:pt idx="62">
                  <c:v>0.0008598452278589854</c:v>
                </c:pt>
                <c:pt idx="63">
                  <c:v>0.0011563664396762173</c:v>
                </c:pt>
                <c:pt idx="64">
                  <c:v>0.0011653581943081453</c:v>
                </c:pt>
                <c:pt idx="65">
                  <c:v>0.001007725898555593</c:v>
                </c:pt>
                <c:pt idx="66">
                  <c:v>0.0007878527431600058</c:v>
                </c:pt>
                <c:pt idx="67">
                  <c:v>0.0006917223887479825</c:v>
                </c:pt>
                <c:pt idx="68">
                  <c:v>0.0012484394506866417</c:v>
                </c:pt>
                <c:pt idx="69">
                  <c:v>0.0013683293942032592</c:v>
                </c:pt>
                <c:pt idx="70">
                  <c:v>0.0012020675561966582</c:v>
                </c:pt>
                <c:pt idx="71">
                  <c:v>0.0013217023526301878</c:v>
                </c:pt>
                <c:pt idx="72">
                  <c:v>0.0013286628819905786</c:v>
                </c:pt>
                <c:pt idx="73">
                  <c:v>0.0024944203754759093</c:v>
                </c:pt>
                <c:pt idx="74">
                  <c:v>0.0026365348399246705</c:v>
                </c:pt>
                <c:pt idx="75">
                  <c:v>0.0026052974381241857</c:v>
                </c:pt>
                <c:pt idx="76">
                  <c:v>0.003568657874321179</c:v>
                </c:pt>
                <c:pt idx="77">
                  <c:v>0.00372168284789644</c:v>
                </c:pt>
                <c:pt idx="78">
                  <c:v>0.006307442782483331</c:v>
                </c:pt>
                <c:pt idx="79">
                  <c:v>0.004245923913043478</c:v>
                </c:pt>
                <c:pt idx="80">
                  <c:v>0.003997335109926716</c:v>
                </c:pt>
                <c:pt idx="81">
                  <c:v>0.00551191952597492</c:v>
                </c:pt>
                <c:pt idx="82">
                  <c:v>0.004459507670353193</c:v>
                </c:pt>
                <c:pt idx="83">
                  <c:v>0.004400670578373848</c:v>
                </c:pt>
                <c:pt idx="84">
                  <c:v>0.00416579879191835</c:v>
                </c:pt>
                <c:pt idx="85">
                  <c:v>0.0038860103626943004</c:v>
                </c:pt>
                <c:pt idx="86">
                  <c:v>0.0034478185916987135</c:v>
                </c:pt>
                <c:pt idx="87">
                  <c:v>0.002925002925002925</c:v>
                </c:pt>
                <c:pt idx="88">
                  <c:v>0.00454063871651279</c:v>
                </c:pt>
                <c:pt idx="89">
                  <c:v>0.005974345457740292</c:v>
                </c:pt>
                <c:pt idx="90">
                  <c:v>0.005668312305723167</c:v>
                </c:pt>
                <c:pt idx="91">
                  <c:v>0.005691924581999288</c:v>
                </c:pt>
                <c:pt idx="92">
                  <c:v>0.0045933531477978925</c:v>
                </c:pt>
                <c:pt idx="93">
                  <c:v>0.004557885141294439</c:v>
                </c:pt>
                <c:pt idx="94">
                  <c:v>0.004178072323872641</c:v>
                </c:pt>
                <c:pt idx="95">
                  <c:v>0.004830421377183967</c:v>
                </c:pt>
                <c:pt idx="96">
                  <c:v>0.006507913030616773</c:v>
                </c:pt>
                <c:pt idx="97">
                  <c:v>0.007283090563647878</c:v>
                </c:pt>
                <c:pt idx="98">
                  <c:v>0.00677800672378267</c:v>
                </c:pt>
                <c:pt idx="99">
                  <c:v>0.006458046440951612</c:v>
                </c:pt>
                <c:pt idx="100">
                  <c:v>0.004885661939336364</c:v>
                </c:pt>
                <c:pt idx="101">
                  <c:v>0.006859709828203727</c:v>
                </c:pt>
                <c:pt idx="102">
                  <c:v>0.005986112219650411</c:v>
                </c:pt>
                <c:pt idx="103">
                  <c:v>0.005471380471380472</c:v>
                </c:pt>
                <c:pt idx="104">
                  <c:v>0.00414078674948240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182919225728537</c:v>
                </c:pt>
                <c:pt idx="1">
                  <c:v>0.37655626860640407</c:v>
                </c:pt>
                <c:pt idx="2">
                  <c:v>0.4756449091256418</c:v>
                </c:pt>
                <c:pt idx="3">
                  <c:v>0.4182895925710101</c:v>
                </c:pt>
                <c:pt idx="4">
                  <c:v>0.5383860848086934</c:v>
                </c:pt>
                <c:pt idx="5">
                  <c:v>0.5994038048732113</c:v>
                </c:pt>
                <c:pt idx="6">
                  <c:v>0.5779261001590797</c:v>
                </c:pt>
                <c:pt idx="7">
                  <c:v>0.5228447331002936</c:v>
                </c:pt>
                <c:pt idx="8">
                  <c:v>0.5512978021991756</c:v>
                </c:pt>
                <c:pt idx="9">
                  <c:v>0.4984889316881269</c:v>
                </c:pt>
                <c:pt idx="10">
                  <c:v>0.512551816037369</c:v>
                </c:pt>
                <c:pt idx="11">
                  <c:v>0.5173378603818501</c:v>
                </c:pt>
                <c:pt idx="12">
                  <c:v>0.5203496815913198</c:v>
                </c:pt>
                <c:pt idx="13">
                  <c:v>0.4196083281805612</c:v>
                </c:pt>
                <c:pt idx="14">
                  <c:v>0.38943438437766836</c:v>
                </c:pt>
                <c:pt idx="15">
                  <c:v>0.408966256293098</c:v>
                </c:pt>
                <c:pt idx="16">
                  <c:v>0.3638578065727507</c:v>
                </c:pt>
                <c:pt idx="17">
                  <c:v>0.28463698663186254</c:v>
                </c:pt>
                <c:pt idx="18">
                  <c:v>0.46581349246339376</c:v>
                </c:pt>
                <c:pt idx="19">
                  <c:v>0.5372200848964243</c:v>
                </c:pt>
                <c:pt idx="20">
                  <c:v>0.4803549638469263</c:v>
                </c:pt>
                <c:pt idx="21">
                  <c:v>0.34580767575930127</c:v>
                </c:pt>
                <c:pt idx="22">
                  <c:v>0.4205698480465976</c:v>
                </c:pt>
                <c:pt idx="23">
                  <c:v>0.3372468835859069</c:v>
                </c:pt>
                <c:pt idx="24">
                  <c:v>0.44802335515793484</c:v>
                </c:pt>
                <c:pt idx="25">
                  <c:v>0.45195198729267694</c:v>
                </c:pt>
                <c:pt idx="26">
                  <c:v>0.39485478614641845</c:v>
                </c:pt>
                <c:pt idx="27">
                  <c:v>0.42975793797426914</c:v>
                </c:pt>
                <c:pt idx="28">
                  <c:v>0.4205034144238046</c:v>
                </c:pt>
                <c:pt idx="29">
                  <c:v>0.42193433574333783</c:v>
                </c:pt>
                <c:pt idx="30">
                  <c:v>0.447742865493304</c:v>
                </c:pt>
                <c:pt idx="31">
                  <c:v>0.41038793933171225</c:v>
                </c:pt>
                <c:pt idx="32">
                  <c:v>0.4485117859845842</c:v>
                </c:pt>
                <c:pt idx="33">
                  <c:v>0.5140119025082821</c:v>
                </c:pt>
                <c:pt idx="34">
                  <c:v>0.4431099186911007</c:v>
                </c:pt>
                <c:pt idx="35">
                  <c:v>0.4634934040502442</c:v>
                </c:pt>
                <c:pt idx="36">
                  <c:v>0.4200866195119297</c:v>
                </c:pt>
                <c:pt idx="37">
                  <c:v>0.4564995461210809</c:v>
                </c:pt>
                <c:pt idx="38">
                  <c:v>0.36584083464690986</c:v>
                </c:pt>
                <c:pt idx="39">
                  <c:v>0.38303226306943067</c:v>
                </c:pt>
                <c:pt idx="40">
                  <c:v>0.34689603430493476</c:v>
                </c:pt>
                <c:pt idx="41">
                  <c:v>0.3789057141760634</c:v>
                </c:pt>
                <c:pt idx="42">
                  <c:v>0.367589320191218</c:v>
                </c:pt>
                <c:pt idx="43">
                  <c:v>0.4321546590574112</c:v>
                </c:pt>
                <c:pt idx="44">
                  <c:v>0.5423633621102548</c:v>
                </c:pt>
                <c:pt idx="45">
                  <c:v>0.5632146216756537</c:v>
                </c:pt>
                <c:pt idx="46">
                  <c:v>0.551446261686722</c:v>
                </c:pt>
                <c:pt idx="47">
                  <c:v>0.5046942361066514</c:v>
                </c:pt>
                <c:pt idx="48">
                  <c:v>0.5012775826820933</c:v>
                </c:pt>
                <c:pt idx="49">
                  <c:v>0.5088771156863321</c:v>
                </c:pt>
                <c:pt idx="50">
                  <c:v>0.6212549047884047</c:v>
                </c:pt>
                <c:pt idx="51">
                  <c:v>0.6228598254395811</c:v>
                </c:pt>
              </c:numCache>
            </c:numRef>
          </c:xVal>
          <c:yVal>
            <c:numRef>
              <c:f>Sheet1!$B$109:$B$160</c:f>
              <c:numCache>
                <c:formatCode>General</c:formatCode>
                <c:ptCount val="52"/>
                <c:pt idx="0">
                  <c:v>0.004510358535280178</c:v>
                </c:pt>
                <c:pt idx="1">
                  <c:v>0.0054792280013084725</c:v>
                </c:pt>
                <c:pt idx="2">
                  <c:v>0.004826117814052519</c:v>
                </c:pt>
                <c:pt idx="3">
                  <c:v>0.005182092989779761</c:v>
                </c:pt>
                <c:pt idx="4">
                  <c:v>0.005290599601288146</c:v>
                </c:pt>
                <c:pt idx="5">
                  <c:v>0.004552352048558422</c:v>
                </c:pt>
                <c:pt idx="6">
                  <c:v>0.0049862696921520455</c:v>
                </c:pt>
                <c:pt idx="7">
                  <c:v>0.0058180359113251074</c:v>
                </c:pt>
                <c:pt idx="8">
                  <c:v>0.00717891194615816</c:v>
                </c:pt>
                <c:pt idx="9">
                  <c:v>0.007236320380650278</c:v>
                </c:pt>
                <c:pt idx="10">
                  <c:v>0.006994347034588484</c:v>
                </c:pt>
                <c:pt idx="11">
                  <c:v>0.006884561891515995</c:v>
                </c:pt>
                <c:pt idx="12">
                  <c:v>0.007134363852556481</c:v>
                </c:pt>
                <c:pt idx="13">
                  <c:v>0.010407049937054134</c:v>
                </c:pt>
                <c:pt idx="14">
                  <c:v>0.010429276468944967</c:v>
                </c:pt>
                <c:pt idx="15">
                  <c:v>0.00994075710412692</c:v>
                </c:pt>
                <c:pt idx="16">
                  <c:v>0.009873060648801129</c:v>
                </c:pt>
                <c:pt idx="17">
                  <c:v>0.012442059038789949</c:v>
                </c:pt>
                <c:pt idx="18">
                  <c:v>0.006704562017198659</c:v>
                </c:pt>
                <c:pt idx="19">
                  <c:v>0.005950770895320531</c:v>
                </c:pt>
                <c:pt idx="20">
                  <c:v>0.007330006238303182</c:v>
                </c:pt>
                <c:pt idx="21">
                  <c:v>0.010286141761735553</c:v>
                </c:pt>
                <c:pt idx="22">
                  <c:v>0.00847145488029466</c:v>
                </c:pt>
                <c:pt idx="23">
                  <c:v>0.008226691042047532</c:v>
                </c:pt>
                <c:pt idx="24">
                  <c:v>0.0075419952005485085</c:v>
                </c:pt>
                <c:pt idx="25">
                  <c:v>0.007911392405063292</c:v>
                </c:pt>
                <c:pt idx="26">
                  <c:v>0.008629441624365483</c:v>
                </c:pt>
                <c:pt idx="27">
                  <c:v>0.008746355685131196</c:v>
                </c:pt>
                <c:pt idx="28">
                  <c:v>0.007511194568828542</c:v>
                </c:pt>
                <c:pt idx="29">
                  <c:v>0.008570928808815813</c:v>
                </c:pt>
                <c:pt idx="30">
                  <c:v>0.008193801211257571</c:v>
                </c:pt>
                <c:pt idx="31">
                  <c:v>0.00854191497814859</c:v>
                </c:pt>
                <c:pt idx="32">
                  <c:v>0.007553956834532374</c:v>
                </c:pt>
                <c:pt idx="33">
                  <c:v>0.006897522522522522</c:v>
                </c:pt>
                <c:pt idx="34">
                  <c:v>0.006098202081800021</c:v>
                </c:pt>
                <c:pt idx="35">
                  <c:v>0.007370393504059962</c:v>
                </c:pt>
                <c:pt idx="36">
                  <c:v>0.009972416719711436</c:v>
                </c:pt>
                <c:pt idx="37">
                  <c:v>0.009865300701954089</c:v>
                </c:pt>
                <c:pt idx="38">
                  <c:v>0.011813607525705535</c:v>
                </c:pt>
                <c:pt idx="39">
                  <c:v>0.010794743429286609</c:v>
                </c:pt>
                <c:pt idx="40">
                  <c:v>0.010329941412272586</c:v>
                </c:pt>
                <c:pt idx="41">
                  <c:v>0.00836096295228485</c:v>
                </c:pt>
                <c:pt idx="42">
                  <c:v>0.009661044702800065</c:v>
                </c:pt>
                <c:pt idx="43">
                  <c:v>0.007217125382262997</c:v>
                </c:pt>
                <c:pt idx="44">
                  <c:v>0.005251164173189339</c:v>
                </c:pt>
                <c:pt idx="45">
                  <c:v>0.0041766954551890135</c:v>
                </c:pt>
                <c:pt idx="46">
                  <c:v>0.004268139593271403</c:v>
                </c:pt>
                <c:pt idx="47">
                  <c:v>0.004140786749482402</c:v>
                </c:pt>
                <c:pt idx="48">
                  <c:v>0.004567368688150216</c:v>
                </c:pt>
                <c:pt idx="49">
                  <c:v>0.0039922436409262005</c:v>
                </c:pt>
                <c:pt idx="50">
                  <c:v>0.003317553211316957</c:v>
                </c:pt>
                <c:pt idx="51">
                  <c:v>0.00408710217755443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042270031270854</c:v>
                </c:pt>
              </c:numCache>
            </c:numRef>
          </c:xVal>
          <c:yVal>
            <c:numRef>
              <c:f>Sheet1!$B$163:$B$164</c:f>
              <c:numCache>
                <c:formatCode>General</c:formatCode>
                <c:ptCount val="2"/>
                <c:pt idx="0">
                  <c:v>0.008585636713045098</c:v>
                </c:pt>
                <c:pt idx="1">
                  <c:v>0.00858563671304509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042270031270854</c:v>
                </c:pt>
                <c:pt idx="1">
                  <c:v>0.4042270031270854</c:v>
                </c:pt>
              </c:numCache>
            </c:numRef>
          </c:xVal>
          <c:yVal>
            <c:numRef>
              <c:f>Sheet1!$B$167:$B$168</c:f>
              <c:numCache>
                <c:formatCode>General</c:formatCode>
                <c:ptCount val="2"/>
                <c:pt idx="0">
                  <c:v>0.0085856367130450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042270031270854</c:v>
                </c:pt>
              </c:numCache>
            </c:numRef>
          </c:xVal>
          <c:yVal>
            <c:numRef>
              <c:f>Sheet1!$B$171:$B$172</c:f>
              <c:numCache>
                <c:formatCode>General</c:formatCode>
                <c:ptCount val="2"/>
                <c:pt idx="0">
                  <c:v>0.008585636713045098</c:v>
                </c:pt>
                <c:pt idx="1">
                  <c:v>0.00858563671304509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042270031270854</c:v>
                </c:pt>
                <c:pt idx="1">
                  <c:v>0.4042270031270854</c:v>
                </c:pt>
              </c:numCache>
            </c:numRef>
          </c:xVal>
          <c:yVal>
            <c:numRef>
              <c:f>Sheet1!$B$175:$B$176</c:f>
              <c:numCache>
                <c:formatCode>General</c:formatCode>
                <c:ptCount val="2"/>
                <c:pt idx="0">
                  <c:v>0.00858563671304509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093729373600471</c:v>
                </c:pt>
              </c:numCache>
            </c:numRef>
          </c:xVal>
          <c:yVal>
            <c:numRef>
              <c:f>Sheet1!$B$179:$B$180</c:f>
              <c:numCache>
                <c:formatCode>General</c:formatCode>
                <c:ptCount val="2"/>
                <c:pt idx="0">
                  <c:v>0.006166528582152852</c:v>
                </c:pt>
                <c:pt idx="1">
                  <c:v>0.00616652858215285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093729373600471</c:v>
                </c:pt>
                <c:pt idx="1">
                  <c:v>0.5093729373600471</c:v>
                </c:pt>
              </c:numCache>
            </c:numRef>
          </c:xVal>
          <c:yVal>
            <c:numRef>
              <c:f>Sheet1!$B$183:$B$184</c:f>
              <c:numCache>
                <c:formatCode>General</c:formatCode>
                <c:ptCount val="2"/>
                <c:pt idx="0">
                  <c:v>0.00616652858215285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182919225728537</c:v>
                </c:pt>
                <c:pt idx="1">
                  <c:v>0.37655626860640407</c:v>
                </c:pt>
                <c:pt idx="2">
                  <c:v>0.4756449091256418</c:v>
                </c:pt>
                <c:pt idx="3">
                  <c:v>0.4182895925710101</c:v>
                </c:pt>
                <c:pt idx="4">
                  <c:v>0.5383860848086934</c:v>
                </c:pt>
                <c:pt idx="5">
                  <c:v>0.5994038048732113</c:v>
                </c:pt>
                <c:pt idx="6">
                  <c:v>0.5779261001590797</c:v>
                </c:pt>
                <c:pt idx="7">
                  <c:v>0.5228447331002936</c:v>
                </c:pt>
                <c:pt idx="8">
                  <c:v>0.5512978021991756</c:v>
                </c:pt>
                <c:pt idx="9">
                  <c:v>0.4984889316881269</c:v>
                </c:pt>
                <c:pt idx="10">
                  <c:v>0.512551816037369</c:v>
                </c:pt>
                <c:pt idx="11">
                  <c:v>0.5173378603818501</c:v>
                </c:pt>
                <c:pt idx="12">
                  <c:v>0.5203496815913198</c:v>
                </c:pt>
                <c:pt idx="13">
                  <c:v>0.4196083281805612</c:v>
                </c:pt>
                <c:pt idx="14">
                  <c:v>0.38943438437766836</c:v>
                </c:pt>
                <c:pt idx="15">
                  <c:v>0.408966256293098</c:v>
                </c:pt>
                <c:pt idx="16">
                  <c:v>0.3638578065727507</c:v>
                </c:pt>
                <c:pt idx="17">
                  <c:v>0.28463698663186254</c:v>
                </c:pt>
                <c:pt idx="18">
                  <c:v>0.46581349246339376</c:v>
                </c:pt>
                <c:pt idx="19">
                  <c:v>0.5372200848964243</c:v>
                </c:pt>
                <c:pt idx="20">
                  <c:v>0.4803549638469263</c:v>
                </c:pt>
                <c:pt idx="21">
                  <c:v>0.34580767575930127</c:v>
                </c:pt>
                <c:pt idx="22">
                  <c:v>0.4205698480465976</c:v>
                </c:pt>
                <c:pt idx="23">
                  <c:v>0.3372468835859069</c:v>
                </c:pt>
                <c:pt idx="24">
                  <c:v>0.44802335515793484</c:v>
                </c:pt>
                <c:pt idx="25">
                  <c:v>0.45195198729267694</c:v>
                </c:pt>
                <c:pt idx="26">
                  <c:v>0.39485478614641845</c:v>
                </c:pt>
                <c:pt idx="27">
                  <c:v>0.42975793797426914</c:v>
                </c:pt>
                <c:pt idx="28">
                  <c:v>0.4205034144238046</c:v>
                </c:pt>
                <c:pt idx="29">
                  <c:v>0.42193433574333783</c:v>
                </c:pt>
                <c:pt idx="30">
                  <c:v>0.447742865493304</c:v>
                </c:pt>
                <c:pt idx="31">
                  <c:v>0.41038793933171225</c:v>
                </c:pt>
                <c:pt idx="32">
                  <c:v>0.4485117859845842</c:v>
                </c:pt>
                <c:pt idx="33">
                  <c:v>0.5140119025082821</c:v>
                </c:pt>
                <c:pt idx="34">
                  <c:v>0.4431099186911007</c:v>
                </c:pt>
                <c:pt idx="35">
                  <c:v>0.4634934040502442</c:v>
                </c:pt>
                <c:pt idx="36">
                  <c:v>0.4200866195119297</c:v>
                </c:pt>
                <c:pt idx="37">
                  <c:v>0.4564995461210809</c:v>
                </c:pt>
                <c:pt idx="38">
                  <c:v>0.36584083464690986</c:v>
                </c:pt>
                <c:pt idx="39">
                  <c:v>0.38303226306943067</c:v>
                </c:pt>
                <c:pt idx="40">
                  <c:v>0.34689603430493476</c:v>
                </c:pt>
                <c:pt idx="41">
                  <c:v>0.3789057141760634</c:v>
                </c:pt>
                <c:pt idx="42">
                  <c:v>0.367589320191218</c:v>
                </c:pt>
                <c:pt idx="43">
                  <c:v>0.4321546590574112</c:v>
                </c:pt>
                <c:pt idx="44">
                  <c:v>0.5423633621102548</c:v>
                </c:pt>
                <c:pt idx="45">
                  <c:v>0.5632146216756537</c:v>
                </c:pt>
                <c:pt idx="46">
                  <c:v>0.551446261686722</c:v>
                </c:pt>
                <c:pt idx="47">
                  <c:v>0.5046942361066514</c:v>
                </c:pt>
                <c:pt idx="48">
                  <c:v>0.5012775826820933</c:v>
                </c:pt>
                <c:pt idx="49">
                  <c:v>0.5088771156863321</c:v>
                </c:pt>
                <c:pt idx="50">
                  <c:v>0.6212549047884047</c:v>
                </c:pt>
                <c:pt idx="51">
                  <c:v>0.6228598254395811</c:v>
                </c:pt>
                <c:pt idx="52">
                  <c:v>0.4042270031270854</c:v>
                </c:pt>
                <c:pt idx="53">
                  <c:v>0.4042270031270854</c:v>
                </c:pt>
                <c:pt idx="54">
                  <c:v>0.5093729373600471</c:v>
                </c:pt>
              </c:numCache>
            </c:numRef>
          </c:xVal>
          <c:yVal>
            <c:numRef>
              <c:f>Sheet1!$B$187:$B$241</c:f>
              <c:numCache>
                <c:formatCode>General</c:formatCode>
                <c:ptCount val="55"/>
                <c:pt idx="0">
                  <c:v>0.008262043021669285</c:v>
                </c:pt>
                <c:pt idx="1">
                  <c:v>0.0092222614133253</c:v>
                </c:pt>
                <c:pt idx="2">
                  <c:v>0.006942514338863502</c:v>
                </c:pt>
                <c:pt idx="3">
                  <c:v>0.008262096628367879</c:v>
                </c:pt>
                <c:pt idx="4">
                  <c:v>0.005499018788190757</c:v>
                </c:pt>
                <c:pt idx="5">
                  <c:v>0.004095175036995011</c:v>
                </c:pt>
                <c:pt idx="6">
                  <c:v>0.004589315780390209</c:v>
                </c:pt>
                <c:pt idx="7">
                  <c:v>0.005856580975992979</c:v>
                </c:pt>
                <c:pt idx="8">
                  <c:v>0.005201956987837221</c:v>
                </c:pt>
                <c:pt idx="9">
                  <c:v>0.006416938517731372</c:v>
                </c:pt>
                <c:pt idx="10">
                  <c:v>0.006093391648123701</c:v>
                </c:pt>
                <c:pt idx="11">
                  <c:v>0.005983278414806538</c:v>
                </c:pt>
                <c:pt idx="12">
                  <c:v>0.005913984996760728</c:v>
                </c:pt>
                <c:pt idx="13">
                  <c:v>0.00823175628226858</c:v>
                </c:pt>
                <c:pt idx="14">
                  <c:v>0.008925972690417448</c:v>
                </c:pt>
                <c:pt idx="15">
                  <c:v>0.008476600011322931</c:v>
                </c:pt>
                <c:pt idx="16">
                  <c:v>0.00951441681599999</c:v>
                </c:pt>
                <c:pt idx="17">
                  <c:v>0.0113370619905661</c:v>
                </c:pt>
                <c:pt idx="18">
                  <c:v>0.0071687072027087125</c:v>
                </c:pt>
                <c:pt idx="19">
                  <c:v>0.005525845121410076</c:v>
                </c:pt>
                <c:pt idx="20">
                  <c:v>0.0068341494100973375</c:v>
                </c:pt>
                <c:pt idx="21">
                  <c:v>0.009929698857412446</c:v>
                </c:pt>
                <c:pt idx="22">
                  <c:v>0.00820963445185344</c:v>
                </c:pt>
                <c:pt idx="23">
                  <c:v>0.010126658274860326</c:v>
                </c:pt>
                <c:pt idx="24">
                  <c:v>0.00757800753485445</c:v>
                </c:pt>
                <c:pt idx="25">
                  <c:v>0.007487620911636262</c:v>
                </c:pt>
                <c:pt idx="26">
                  <c:v>0.008801264701590853</c:v>
                </c:pt>
                <c:pt idx="27">
                  <c:v>0.007998242701772516</c:v>
                </c:pt>
                <c:pt idx="28">
                  <c:v>0.008211162900083373</c:v>
                </c:pt>
                <c:pt idx="29">
                  <c:v>0.00817824148068659</c:v>
                </c:pt>
                <c:pt idx="30">
                  <c:v>0.0075844608022421975</c:v>
                </c:pt>
                <c:pt idx="31">
                  <c:v>0.008443891138427825</c:v>
                </c:pt>
                <c:pt idx="32">
                  <c:v>0.0075667701342574094</c:v>
                </c:pt>
                <c:pt idx="33">
                  <c:v>0.0060597992217559255</c:v>
                </c:pt>
                <c:pt idx="34">
                  <c:v>0.007691051697657797</c:v>
                </c:pt>
                <c:pt idx="35">
                  <c:v>0.007222085821535797</c:v>
                </c:pt>
                <c:pt idx="36">
                  <c:v>0.008220752162545935</c:v>
                </c:pt>
                <c:pt idx="37">
                  <c:v>0.00738299455002033</c:v>
                </c:pt>
                <c:pt idx="38">
                  <c:v>0.009468792994470596</c:v>
                </c:pt>
                <c:pt idx="39">
                  <c:v>0.00907326724654743</c:v>
                </c:pt>
                <c:pt idx="40">
                  <c:v>0.009904658830650833</c:v>
                </c:pt>
                <c:pt idx="41">
                  <c:v>0.009168207370036673</c:v>
                </c:pt>
                <c:pt idx="42">
                  <c:v>0.009428565327772502</c:v>
                </c:pt>
                <c:pt idx="43">
                  <c:v>0.007943100983721262</c:v>
                </c:pt>
                <c:pt idx="44">
                  <c:v>0.005407512978392131</c:v>
                </c:pt>
                <c:pt idx="45">
                  <c:v>0.004927784951607539</c:v>
                </c:pt>
                <c:pt idx="46">
                  <c:v>0.005198541358349962</c:v>
                </c:pt>
                <c:pt idx="47">
                  <c:v>0.006274172157024974</c:v>
                </c:pt>
                <c:pt idx="48">
                  <c:v>0.0063527796099910275</c:v>
                </c:pt>
                <c:pt idx="49">
                  <c:v>0.006177936025066421</c:v>
                </c:pt>
                <c:pt idx="50">
                  <c:v>0.003592443534732011</c:v>
                </c:pt>
                <c:pt idx="51">
                  <c:v>0.003555518886860268</c:v>
                </c:pt>
                <c:pt idx="52">
                  <c:v>0.008585636713045098</c:v>
                </c:pt>
                <c:pt idx="53">
                  <c:v>0.008585636713045098</c:v>
                </c:pt>
                <c:pt idx="54">
                  <c:v>0.00616652858215285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493047084654793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9442341116349202</c:v>
                </c:pt>
                <c:pt idx="1">
                  <c:v>0.1089757920476039</c:v>
                </c:pt>
                <c:pt idx="2">
                  <c:v>0.11239190698948683</c:v>
                </c:pt>
                <c:pt idx="3">
                  <c:v>0.10838330194273575</c:v>
                </c:pt>
                <c:pt idx="4">
                  <c:v>0.10426558433343346</c:v>
                </c:pt>
                <c:pt idx="5">
                  <c:v>0.10271546321850407</c:v>
                </c:pt>
                <c:pt idx="6">
                  <c:v>0.10411292239428196</c:v>
                </c:pt>
                <c:pt idx="7">
                  <c:v>0.10408546649863545</c:v>
                </c:pt>
                <c:pt idx="8">
                  <c:v>0.10038196724218613</c:v>
                </c:pt>
                <c:pt idx="9">
                  <c:v>0.09771743981226033</c:v>
                </c:pt>
                <c:pt idx="10">
                  <c:v>0.09826467605079726</c:v>
                </c:pt>
                <c:pt idx="11">
                  <c:v>0.09970681744801005</c:v>
                </c:pt>
                <c:pt idx="12">
                  <c:v>0.09748873071048338</c:v>
                </c:pt>
                <c:pt idx="13">
                  <c:v>0.09392449232929131</c:v>
                </c:pt>
                <c:pt idx="14">
                  <c:v>0.09652599378678518</c:v>
                </c:pt>
                <c:pt idx="15">
                  <c:v>0.09568053428082078</c:v>
                </c:pt>
                <c:pt idx="16">
                  <c:v>0.09322229638892286</c:v>
                </c:pt>
                <c:pt idx="17">
                  <c:v>0.08734157319635177</c:v>
                </c:pt>
                <c:pt idx="18">
                  <c:v>0.09341585684697491</c:v>
                </c:pt>
                <c:pt idx="19">
                  <c:v>0.09390963313019514</c:v>
                </c:pt>
                <c:pt idx="20">
                  <c:v>0.09559913905990146</c:v>
                </c:pt>
                <c:pt idx="21">
                  <c:v>0.09477677092424615</c:v>
                </c:pt>
                <c:pt idx="22">
                  <c:v>0.09069960743086562</c:v>
                </c:pt>
                <c:pt idx="23">
                  <c:v>0.09082210315375061</c:v>
                </c:pt>
                <c:pt idx="24">
                  <c:v>0.08662993195389244</c:v>
                </c:pt>
                <c:pt idx="25">
                  <c:v>0.09109403379207605</c:v>
                </c:pt>
                <c:pt idx="26">
                  <c:v>0.09599761494742119</c:v>
                </c:pt>
                <c:pt idx="27">
                  <c:v>0.09609601117853483</c:v>
                </c:pt>
                <c:pt idx="28">
                  <c:v>0.09763842768445011</c:v>
                </c:pt>
                <c:pt idx="29">
                  <c:v>0.09382519088376359</c:v>
                </c:pt>
                <c:pt idx="30">
                  <c:v>0.09409808788046725</c:v>
                </c:pt>
                <c:pt idx="31">
                  <c:v>0.09422295160366878</c:v>
                </c:pt>
                <c:pt idx="32">
                  <c:v>0.09090235412477728</c:v>
                </c:pt>
                <c:pt idx="33">
                  <c:v>0.08947999520329306</c:v>
                </c:pt>
                <c:pt idx="34">
                  <c:v>0.09625143961519951</c:v>
                </c:pt>
                <c:pt idx="35">
                  <c:v>0.10380000611415552</c:v>
                </c:pt>
                <c:pt idx="36">
                  <c:v>0.10336690431589557</c:v>
                </c:pt>
                <c:pt idx="37">
                  <c:v>0.10457494938728672</c:v>
                </c:pt>
                <c:pt idx="38">
                  <c:v>0.10834224922490927</c:v>
                </c:pt>
                <c:pt idx="39">
                  <c:v>0.11383167571651118</c:v>
                </c:pt>
                <c:pt idx="40">
                  <c:v>0.11897758902920923</c:v>
                </c:pt>
                <c:pt idx="41">
                  <c:v>0.1170361063984592</c:v>
                </c:pt>
                <c:pt idx="42">
                  <c:v>0.11725096106031856</c:v>
                </c:pt>
                <c:pt idx="43">
                  <c:v>0.11662065660055622</c:v>
                </c:pt>
                <c:pt idx="44">
                  <c:v>0.10760803519067444</c:v>
                </c:pt>
                <c:pt idx="45">
                  <c:v>0.10598286114565555</c:v>
                </c:pt>
                <c:pt idx="46">
                  <c:v>0.1043992940679293</c:v>
                </c:pt>
                <c:pt idx="47">
                  <c:v>0.10101546900827454</c:v>
                </c:pt>
                <c:pt idx="48">
                  <c:v>0.10706806303636715</c:v>
                </c:pt>
                <c:pt idx="49">
                  <c:v>0.11534051880541309</c:v>
                </c:pt>
                <c:pt idx="50">
                  <c:v>0.10333481949699753</c:v>
                </c:pt>
                <c:pt idx="51">
                  <c:v>0.10332216141535644</c:v>
                </c:pt>
                <c:pt idx="52">
                  <c:v>0.107358517388855</c:v>
                </c:pt>
                <c:pt idx="53">
                  <c:v>0.1173696491217361</c:v>
                </c:pt>
                <c:pt idx="54">
                  <c:v>0.11515297865400943</c:v>
                </c:pt>
                <c:pt idx="55">
                  <c:v>0.11051272170247242</c:v>
                </c:pt>
                <c:pt idx="56">
                  <c:v>0.11201755036313832</c:v>
                </c:pt>
                <c:pt idx="57">
                  <c:v>0.10973265467418854</c:v>
                </c:pt>
                <c:pt idx="58">
                  <c:v>0.11019229554682439</c:v>
                </c:pt>
                <c:pt idx="59">
                  <c:v>0.11354233160321005</c:v>
                </c:pt>
                <c:pt idx="60">
                  <c:v>0.11359206918978244</c:v>
                </c:pt>
                <c:pt idx="61">
                  <c:v>0.11278666302720425</c:v>
                </c:pt>
                <c:pt idx="62">
                  <c:v>0.10291385507235311</c:v>
                </c:pt>
                <c:pt idx="63">
                  <c:v>0.10784331643849795</c:v>
                </c:pt>
                <c:pt idx="64">
                  <c:v>0.11131361663008228</c:v>
                </c:pt>
                <c:pt idx="65">
                  <c:v>0.10521969271864282</c:v>
                </c:pt>
                <c:pt idx="66">
                  <c:v>0.10580271704550659</c:v>
                </c:pt>
                <c:pt idx="67">
                  <c:v>0.10426517529684638</c:v>
                </c:pt>
                <c:pt idx="68">
                  <c:v>0.10213551973008819</c:v>
                </c:pt>
                <c:pt idx="69">
                  <c:v>0.09767507718479719</c:v>
                </c:pt>
                <c:pt idx="70">
                  <c:v>0.09564374944015426</c:v>
                </c:pt>
                <c:pt idx="71">
                  <c:v>0.09831721773252469</c:v>
                </c:pt>
                <c:pt idx="72">
                  <c:v>0.09975409933031143</c:v>
                </c:pt>
                <c:pt idx="73">
                  <c:v>0.10107093326924073</c:v>
                </c:pt>
                <c:pt idx="74">
                  <c:v>0.09808502063241491</c:v>
                </c:pt>
                <c:pt idx="75">
                  <c:v>0.09538295984335454</c:v>
                </c:pt>
                <c:pt idx="76">
                  <c:v>0.09656124215763731</c:v>
                </c:pt>
                <c:pt idx="77">
                  <c:v>0.09485650968663693</c:v>
                </c:pt>
                <c:pt idx="78">
                  <c:v>0.10010779356399965</c:v>
                </c:pt>
                <c:pt idx="79">
                  <c:v>0.07165623486467151</c:v>
                </c:pt>
                <c:pt idx="80">
                  <c:v>0.07191859633611433</c:v>
                </c:pt>
                <c:pt idx="81">
                  <c:v>0.0917437611756067</c:v>
                </c:pt>
                <c:pt idx="82">
                  <c:v>0.09183369561486454</c:v>
                </c:pt>
                <c:pt idx="83">
                  <c:v>0.08851199830640498</c:v>
                </c:pt>
                <c:pt idx="84">
                  <c:v>0.09000828987318651</c:v>
                </c:pt>
                <c:pt idx="85">
                  <c:v>0.09007923915114241</c:v>
                </c:pt>
                <c:pt idx="86">
                  <c:v>0.10249885137062749</c:v>
                </c:pt>
                <c:pt idx="87">
                  <c:v>0.10222747848663212</c:v>
                </c:pt>
                <c:pt idx="88">
                  <c:v>0.10177342340051974</c:v>
                </c:pt>
                <c:pt idx="89">
                  <c:v>0.09573402991362706</c:v>
                </c:pt>
                <c:pt idx="90">
                  <c:v>0.09949678350545482</c:v>
                </c:pt>
                <c:pt idx="91">
                  <c:v>0.10601632174927443</c:v>
                </c:pt>
                <c:pt idx="92">
                  <c:v>0.10463430950817745</c:v>
                </c:pt>
                <c:pt idx="93">
                  <c:v>0.1073013561981485</c:v>
                </c:pt>
                <c:pt idx="94">
                  <c:v>0.10351018382903947</c:v>
                </c:pt>
                <c:pt idx="95">
                  <c:v>0.10365970193847267</c:v>
                </c:pt>
                <c:pt idx="96">
                  <c:v>0.10433910567655726</c:v>
                </c:pt>
                <c:pt idx="97">
                  <c:v>0.10433933078060954</c:v>
                </c:pt>
                <c:pt idx="98">
                  <c:v>0.1053059421091678</c:v>
                </c:pt>
                <c:pt idx="99">
                  <c:v>0.10282658740505342</c:v>
                </c:pt>
                <c:pt idx="100">
                  <c:v>0.10627676126027635</c:v>
                </c:pt>
                <c:pt idx="101">
                  <c:v>0.10832366973555561</c:v>
                </c:pt>
                <c:pt idx="102">
                  <c:v>0.1086882263514886</c:v>
                </c:pt>
                <c:pt idx="103">
                  <c:v>0.09680840024535581</c:v>
                </c:pt>
                <c:pt idx="104">
                  <c:v>0.1025899489494161</c:v>
                </c:pt>
              </c:numCache>
            </c:numRef>
          </c:xVal>
          <c:yVal>
            <c:numRef>
              <c:f>Sheet1!$B$2:$B$106</c:f>
              <c:numCache>
                <c:formatCode>General</c:formatCode>
                <c:ptCount val="105"/>
                <c:pt idx="0">
                  <c:v>0.22760837033584377</c:v>
                </c:pt>
                <c:pt idx="1">
                  <c:v>0.2325046891924022</c:v>
                </c:pt>
                <c:pt idx="2">
                  <c:v>0.21503914608665006</c:v>
                </c:pt>
                <c:pt idx="3">
                  <c:v>0.21465353931534992</c:v>
                </c:pt>
                <c:pt idx="4">
                  <c:v>0.20793685458459427</c:v>
                </c:pt>
                <c:pt idx="5">
                  <c:v>0.1966485796361315</c:v>
                </c:pt>
                <c:pt idx="6">
                  <c:v>0.21195170411126393</c:v>
                </c:pt>
                <c:pt idx="7">
                  <c:v>0.20612980769230768</c:v>
                </c:pt>
                <c:pt idx="8">
                  <c:v>0.21598764524194736</c:v>
                </c:pt>
                <c:pt idx="9">
                  <c:v>0.21518105849582173</c:v>
                </c:pt>
                <c:pt idx="10">
                  <c:v>0.22739490377378777</c:v>
                </c:pt>
                <c:pt idx="11">
                  <c:v>0.22329282485722793</c:v>
                </c:pt>
                <c:pt idx="12">
                  <c:v>0.2305631356983379</c:v>
                </c:pt>
                <c:pt idx="13">
                  <c:v>0.23892725478996832</c:v>
                </c:pt>
                <c:pt idx="14">
                  <c:v>0.23104343039865805</c:v>
                </c:pt>
                <c:pt idx="15">
                  <c:v>0.22596273291925467</c:v>
                </c:pt>
                <c:pt idx="16">
                  <c:v>0.21038387579232248</c:v>
                </c:pt>
                <c:pt idx="17">
                  <c:v>0.20514723111770677</c:v>
                </c:pt>
                <c:pt idx="18">
                  <c:v>0.18550875820402485</c:v>
                </c:pt>
                <c:pt idx="19">
                  <c:v>0.17197875166002657</c:v>
                </c:pt>
                <c:pt idx="20">
                  <c:v>0.18437369082530372</c:v>
                </c:pt>
                <c:pt idx="21">
                  <c:v>0.18039854881960146</c:v>
                </c:pt>
                <c:pt idx="22">
                  <c:v>0.1794175973280451</c:v>
                </c:pt>
                <c:pt idx="23">
                  <c:v>0.17912721732506257</c:v>
                </c:pt>
                <c:pt idx="24">
                  <c:v>0.18612306913142568</c:v>
                </c:pt>
                <c:pt idx="25">
                  <c:v>0.1827140455625761</c:v>
                </c:pt>
                <c:pt idx="26">
                  <c:v>0.1862462709597778</c:v>
                </c:pt>
                <c:pt idx="27">
                  <c:v>0.18021255060728744</c:v>
                </c:pt>
                <c:pt idx="28">
                  <c:v>0.17628913680530564</c:v>
                </c:pt>
                <c:pt idx="29">
                  <c:v>0.18736804276537442</c:v>
                </c:pt>
                <c:pt idx="30">
                  <c:v>0.17649434571890146</c:v>
                </c:pt>
                <c:pt idx="31">
                  <c:v>0.16942195231668916</c:v>
                </c:pt>
                <c:pt idx="32">
                  <c:v>0.1783959816746702</c:v>
                </c:pt>
                <c:pt idx="33">
                  <c:v>0.19256418079588544</c:v>
                </c:pt>
                <c:pt idx="34">
                  <c:v>0.1910329127599645</c:v>
                </c:pt>
                <c:pt idx="35">
                  <c:v>0.19439806453811292</c:v>
                </c:pt>
                <c:pt idx="36">
                  <c:v>0.1634170522141441</c:v>
                </c:pt>
                <c:pt idx="37">
                  <c:v>0.14788562611504893</c:v>
                </c:pt>
                <c:pt idx="38">
                  <c:v>0.1440997390547985</c:v>
                </c:pt>
                <c:pt idx="39">
                  <c:v>0.14272555140473875</c:v>
                </c:pt>
                <c:pt idx="40">
                  <c:v>0.14606043022340118</c:v>
                </c:pt>
                <c:pt idx="41">
                  <c:v>0.1362635345935034</c:v>
                </c:pt>
                <c:pt idx="42">
                  <c:v>0.14438356164383562</c:v>
                </c:pt>
                <c:pt idx="43">
                  <c:v>0.15096437880104258</c:v>
                </c:pt>
                <c:pt idx="44">
                  <c:v>0.16644399128050066</c:v>
                </c:pt>
                <c:pt idx="45">
                  <c:v>0.18401017919626764</c:v>
                </c:pt>
                <c:pt idx="46">
                  <c:v>0.191180093619118</c:v>
                </c:pt>
                <c:pt idx="47">
                  <c:v>0.19401514039465684</c:v>
                </c:pt>
                <c:pt idx="48">
                  <c:v>0.20776936606255259</c:v>
                </c:pt>
                <c:pt idx="49">
                  <c:v>0.24055718692688513</c:v>
                </c:pt>
                <c:pt idx="50">
                  <c:v>0.20537331455021132</c:v>
                </c:pt>
                <c:pt idx="51">
                  <c:v>0.18708201775103797</c:v>
                </c:pt>
                <c:pt idx="52">
                  <c:v>0.20016477944904512</c:v>
                </c:pt>
                <c:pt idx="53">
                  <c:v>0.19037838691839798</c:v>
                </c:pt>
                <c:pt idx="54">
                  <c:v>0.18361277154104097</c:v>
                </c:pt>
                <c:pt idx="55">
                  <c:v>0.180431336184978</c:v>
                </c:pt>
                <c:pt idx="56">
                  <c:v>0.1921937356391341</c:v>
                </c:pt>
                <c:pt idx="57">
                  <c:v>0.1869673664518811</c:v>
                </c:pt>
                <c:pt idx="58">
                  <c:v>0.20230027679679297</c:v>
                </c:pt>
                <c:pt idx="59">
                  <c:v>0.20680500793289244</c:v>
                </c:pt>
                <c:pt idx="60">
                  <c:v>0.21535680468279245</c:v>
                </c:pt>
                <c:pt idx="61">
                  <c:v>0.21254020047418953</c:v>
                </c:pt>
                <c:pt idx="62">
                  <c:v>0.21977724058468698</c:v>
                </c:pt>
                <c:pt idx="63">
                  <c:v>0.23405083253118153</c:v>
                </c:pt>
                <c:pt idx="64">
                  <c:v>0.22663326653306612</c:v>
                </c:pt>
                <c:pt idx="65">
                  <c:v>0.21906008068912877</c:v>
                </c:pt>
                <c:pt idx="66">
                  <c:v>0.21964273616223662</c:v>
                </c:pt>
                <c:pt idx="67">
                  <c:v>0.2167344705350558</c:v>
                </c:pt>
                <c:pt idx="68">
                  <c:v>0.19713190401817407</c:v>
                </c:pt>
                <c:pt idx="69">
                  <c:v>0.18215920174056568</c:v>
                </c:pt>
                <c:pt idx="70">
                  <c:v>0.17000035910511008</c:v>
                </c:pt>
                <c:pt idx="71">
                  <c:v>0.17906644531099186</c:v>
                </c:pt>
                <c:pt idx="72">
                  <c:v>0.18262489044697633</c:v>
                </c:pt>
                <c:pt idx="73">
                  <c:v>0.18369408930167488</c:v>
                </c:pt>
                <c:pt idx="74">
                  <c:v>0.17798172038966412</c:v>
                </c:pt>
                <c:pt idx="75">
                  <c:v>0.17587279337684525</c:v>
                </c:pt>
                <c:pt idx="76">
                  <c:v>0.17318383555244102</c:v>
                </c:pt>
                <c:pt idx="77">
                  <c:v>0.16938785339305495</c:v>
                </c:pt>
                <c:pt idx="78">
                  <c:v>0.16006449879064769</c:v>
                </c:pt>
                <c:pt idx="79">
                  <c:v>0.20537501191270371</c:v>
                </c:pt>
                <c:pt idx="80">
                  <c:v>0.1914609739826551</c:v>
                </c:pt>
                <c:pt idx="81">
                  <c:v>0.16176890156918688</c:v>
                </c:pt>
                <c:pt idx="82">
                  <c:v>0.1631413612565445</c:v>
                </c:pt>
                <c:pt idx="83">
                  <c:v>0.1470696419813634</c:v>
                </c:pt>
                <c:pt idx="84">
                  <c:v>0.14775611265861963</c:v>
                </c:pt>
                <c:pt idx="85">
                  <c:v>0.14966431963320778</c:v>
                </c:pt>
                <c:pt idx="86">
                  <c:v>0.1466328451026921</c:v>
                </c:pt>
                <c:pt idx="87">
                  <c:v>0.1682031189982331</c:v>
                </c:pt>
                <c:pt idx="88">
                  <c:v>0.15206499002772778</c:v>
                </c:pt>
                <c:pt idx="89">
                  <c:v>0.14356117420184272</c:v>
                </c:pt>
                <c:pt idx="90">
                  <c:v>0.13762376237623763</c:v>
                </c:pt>
                <c:pt idx="91">
                  <c:v>0.14078597981943708</c:v>
                </c:pt>
                <c:pt idx="92">
                  <c:v>0.14561866643958102</c:v>
                </c:pt>
                <c:pt idx="93">
                  <c:v>0.1377233240452385</c:v>
                </c:pt>
                <c:pt idx="94">
                  <c:v>0.13904559326736335</c:v>
                </c:pt>
                <c:pt idx="95">
                  <c:v>0.14864864864864866</c:v>
                </c:pt>
                <c:pt idx="96">
                  <c:v>0.145429833503228</c:v>
                </c:pt>
                <c:pt idx="97">
                  <c:v>0.15325840794124496</c:v>
                </c:pt>
                <c:pt idx="98">
                  <c:v>0.1700043933513949</c:v>
                </c:pt>
                <c:pt idx="99">
                  <c:v>0.17778411250475104</c:v>
                </c:pt>
                <c:pt idx="100">
                  <c:v>0.20069152307958277</c:v>
                </c:pt>
                <c:pt idx="101">
                  <c:v>0.18210413864050012</c:v>
                </c:pt>
                <c:pt idx="102">
                  <c:v>0.1514782002787179</c:v>
                </c:pt>
                <c:pt idx="103">
                  <c:v>0.17233793587643342</c:v>
                </c:pt>
                <c:pt idx="104">
                  <c:v>0.176800976800976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232808253147862</c:v>
                </c:pt>
                <c:pt idx="1">
                  <c:v>0.11501265789197673</c:v>
                </c:pt>
                <c:pt idx="2">
                  <c:v>0.11099843226347375</c:v>
                </c:pt>
                <c:pt idx="3">
                  <c:v>0.11136411646974806</c:v>
                </c:pt>
                <c:pt idx="4">
                  <c:v>0.1102079887518944</c:v>
                </c:pt>
                <c:pt idx="5">
                  <c:v>0.1058334465004182</c:v>
                </c:pt>
                <c:pt idx="6">
                  <c:v>0.1007947355312783</c:v>
                </c:pt>
                <c:pt idx="7">
                  <c:v>0.10315047569269516</c:v>
                </c:pt>
                <c:pt idx="8">
                  <c:v>0.11579385033249691</c:v>
                </c:pt>
                <c:pt idx="9">
                  <c:v>0.11137227396084863</c:v>
                </c:pt>
                <c:pt idx="10">
                  <c:v>0.11254414281221706</c:v>
                </c:pt>
                <c:pt idx="11">
                  <c:v>0.10557004471457523</c:v>
                </c:pt>
                <c:pt idx="12">
                  <c:v>0.10552471733303684</c:v>
                </c:pt>
                <c:pt idx="13">
                  <c:v>0.10601028450579501</c:v>
                </c:pt>
                <c:pt idx="14">
                  <c:v>0.10734107691997526</c:v>
                </c:pt>
                <c:pt idx="15">
                  <c:v>0.10548373476210432</c:v>
                </c:pt>
                <c:pt idx="16">
                  <c:v>0.10730193637765206</c:v>
                </c:pt>
                <c:pt idx="17">
                  <c:v>0.10271694084385155</c:v>
                </c:pt>
                <c:pt idx="18">
                  <c:v>0.09926662214951919</c:v>
                </c:pt>
                <c:pt idx="19">
                  <c:v>0.1065149673910015</c:v>
                </c:pt>
                <c:pt idx="20">
                  <c:v>0.10155582841192536</c:v>
                </c:pt>
                <c:pt idx="21">
                  <c:v>0.10479934034129278</c:v>
                </c:pt>
                <c:pt idx="22">
                  <c:v>0.1040767961969371</c:v>
                </c:pt>
                <c:pt idx="23">
                  <c:v>0.10225436831279797</c:v>
                </c:pt>
                <c:pt idx="24">
                  <c:v>0.1013195444447569</c:v>
                </c:pt>
                <c:pt idx="25">
                  <c:v>0.09652998979360822</c:v>
                </c:pt>
                <c:pt idx="26">
                  <c:v>0.10099634795284118</c:v>
                </c:pt>
                <c:pt idx="27">
                  <c:v>0.10365689323409766</c:v>
                </c:pt>
                <c:pt idx="28">
                  <c:v>0.109420960531619</c:v>
                </c:pt>
                <c:pt idx="29">
                  <c:v>0.10996030808187209</c:v>
                </c:pt>
                <c:pt idx="30">
                  <c:v>0.10876798264972565</c:v>
                </c:pt>
                <c:pt idx="31">
                  <c:v>0.09926591048248197</c:v>
                </c:pt>
                <c:pt idx="32">
                  <c:v>0.10408273995641901</c:v>
                </c:pt>
                <c:pt idx="33">
                  <c:v>0.11115702870270354</c:v>
                </c:pt>
                <c:pt idx="34">
                  <c:v>0.11417032109439766</c:v>
                </c:pt>
                <c:pt idx="35">
                  <c:v>0.11041855886203122</c:v>
                </c:pt>
                <c:pt idx="36">
                  <c:v>0.10880458116255419</c:v>
                </c:pt>
                <c:pt idx="37">
                  <c:v>0.11242103504335324</c:v>
                </c:pt>
                <c:pt idx="38">
                  <c:v>0.10964182867565123</c:v>
                </c:pt>
                <c:pt idx="39">
                  <c:v>0.11263087434523746</c:v>
                </c:pt>
                <c:pt idx="40">
                  <c:v>0.1137354777646669</c:v>
                </c:pt>
                <c:pt idx="41">
                  <c:v>0.11905366842889997</c:v>
                </c:pt>
                <c:pt idx="42">
                  <c:v>0.11786476610835053</c:v>
                </c:pt>
                <c:pt idx="43">
                  <c:v>0.11950005579535042</c:v>
                </c:pt>
                <c:pt idx="44">
                  <c:v>0.11732614743550533</c:v>
                </c:pt>
                <c:pt idx="45">
                  <c:v>0.11734838825393833</c:v>
                </c:pt>
                <c:pt idx="46">
                  <c:v>0.11389822737864766</c:v>
                </c:pt>
                <c:pt idx="47">
                  <c:v>0.10966464881797976</c:v>
                </c:pt>
                <c:pt idx="48">
                  <c:v>0.10926944349870465</c:v>
                </c:pt>
                <c:pt idx="49">
                  <c:v>0.11539252143288663</c:v>
                </c:pt>
                <c:pt idx="50">
                  <c:v>0.11062193494883005</c:v>
                </c:pt>
                <c:pt idx="51">
                  <c:v>0.10192122466760717</c:v>
                </c:pt>
              </c:numCache>
            </c:numRef>
          </c:xVal>
          <c:yVal>
            <c:numRef>
              <c:f>Sheet1!$B$109:$B$160</c:f>
              <c:numCache>
                <c:formatCode>General</c:formatCode>
                <c:ptCount val="52"/>
                <c:pt idx="0">
                  <c:v>0.175662656554927</c:v>
                </c:pt>
                <c:pt idx="1">
                  <c:v>0.17459402828706128</c:v>
                </c:pt>
                <c:pt idx="2">
                  <c:v>0.1826517212269018</c:v>
                </c:pt>
                <c:pt idx="3">
                  <c:v>0.19290184955109121</c:v>
                </c:pt>
                <c:pt idx="4">
                  <c:v>0.1808049836959167</c:v>
                </c:pt>
                <c:pt idx="5">
                  <c:v>0.17299134432001564</c:v>
                </c:pt>
                <c:pt idx="6">
                  <c:v>0.17752865773816362</c:v>
                </c:pt>
                <c:pt idx="7">
                  <c:v>0.17669243824250425</c:v>
                </c:pt>
                <c:pt idx="8">
                  <c:v>0.17478963312016157</c:v>
                </c:pt>
                <c:pt idx="9">
                  <c:v>0.18824222504728536</c:v>
                </c:pt>
                <c:pt idx="10">
                  <c:v>0.189738567910027</c:v>
                </c:pt>
                <c:pt idx="11">
                  <c:v>0.19920649152694342</c:v>
                </c:pt>
                <c:pt idx="12">
                  <c:v>0.20091186175974207</c:v>
                </c:pt>
                <c:pt idx="13">
                  <c:v>0.19532071503680337</c:v>
                </c:pt>
                <c:pt idx="14">
                  <c:v>0.19452253296623678</c:v>
                </c:pt>
                <c:pt idx="15">
                  <c:v>0.18382466908459655</c:v>
                </c:pt>
                <c:pt idx="16">
                  <c:v>0.17105357784969435</c:v>
                </c:pt>
                <c:pt idx="17">
                  <c:v>0.16143362698591973</c:v>
                </c:pt>
                <c:pt idx="18">
                  <c:v>0.15984129879605982</c:v>
                </c:pt>
                <c:pt idx="19">
                  <c:v>0.16725263686589653</c:v>
                </c:pt>
                <c:pt idx="20">
                  <c:v>0.16279501951310166</c:v>
                </c:pt>
                <c:pt idx="21">
                  <c:v>0.15986218776916453</c:v>
                </c:pt>
                <c:pt idx="22">
                  <c:v>0.16070922789327594</c:v>
                </c:pt>
                <c:pt idx="23">
                  <c:v>0.1702065585249154</c:v>
                </c:pt>
                <c:pt idx="24">
                  <c:v>0.16856911008926156</c:v>
                </c:pt>
                <c:pt idx="25">
                  <c:v>0.17782949256442274</c:v>
                </c:pt>
                <c:pt idx="26">
                  <c:v>0.1581707119303746</c:v>
                </c:pt>
                <c:pt idx="27">
                  <c:v>0.14686719247538332</c:v>
                </c:pt>
                <c:pt idx="28">
                  <c:v>0.14542954716813766</c:v>
                </c:pt>
                <c:pt idx="29">
                  <c:v>0.14433539577554938</c:v>
                </c:pt>
                <c:pt idx="30">
                  <c:v>0.15105035011670556</c:v>
                </c:pt>
                <c:pt idx="31">
                  <c:v>0.14772658473088332</c:v>
                </c:pt>
                <c:pt idx="32">
                  <c:v>0.1481618815552495</c:v>
                </c:pt>
                <c:pt idx="33">
                  <c:v>0.17092807219322304</c:v>
                </c:pt>
                <c:pt idx="34">
                  <c:v>0.18945165053874133</c:v>
                </c:pt>
                <c:pt idx="35">
                  <c:v>0.1863625133821955</c:v>
                </c:pt>
                <c:pt idx="36">
                  <c:v>0.15510415990654813</c:v>
                </c:pt>
                <c:pt idx="37">
                  <c:v>0.14670209079357746</c:v>
                </c:pt>
                <c:pt idx="38">
                  <c:v>0.14790558941771495</c:v>
                </c:pt>
                <c:pt idx="39">
                  <c:v>0.16470086684666763</c:v>
                </c:pt>
                <c:pt idx="40">
                  <c:v>0.14769102759672723</c:v>
                </c:pt>
                <c:pt idx="41">
                  <c:v>0.14965277777777777</c:v>
                </c:pt>
                <c:pt idx="42">
                  <c:v>0.1479838119849822</c:v>
                </c:pt>
                <c:pt idx="43">
                  <c:v>0.14525119702708497</c:v>
                </c:pt>
                <c:pt idx="44">
                  <c:v>0.14397752545944048</c:v>
                </c:pt>
                <c:pt idx="45">
                  <c:v>0.16196872935476767</c:v>
                </c:pt>
                <c:pt idx="46">
                  <c:v>0.15774751952712687</c:v>
                </c:pt>
                <c:pt idx="47">
                  <c:v>0.16018034533158274</c:v>
                </c:pt>
                <c:pt idx="48">
                  <c:v>0.15172915152144564</c:v>
                </c:pt>
                <c:pt idx="49">
                  <c:v>0.16467122053745684</c:v>
                </c:pt>
                <c:pt idx="50">
                  <c:v>0.20337764110703302</c:v>
                </c:pt>
                <c:pt idx="51">
                  <c:v>0.1886950543548317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06719421042597398</c:v>
                </c:pt>
              </c:numCache>
            </c:numRef>
          </c:xVal>
          <c:yVal>
            <c:numRef>
              <c:f>Sheet1!$B$163:$B$164</c:f>
              <c:numCache>
                <c:formatCode>General</c:formatCode>
                <c:ptCount val="2"/>
                <c:pt idx="0">
                  <c:v>0.21427337068849897</c:v>
                </c:pt>
                <c:pt idx="1">
                  <c:v>0.2142733706884989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06719421042597398</c:v>
                </c:pt>
                <c:pt idx="1">
                  <c:v>0.006719421042597398</c:v>
                </c:pt>
              </c:numCache>
            </c:numRef>
          </c:xVal>
          <c:yVal>
            <c:numRef>
              <c:f>Sheet1!$B$167:$B$168</c:f>
              <c:numCache>
                <c:formatCode>General</c:formatCode>
                <c:ptCount val="2"/>
                <c:pt idx="0">
                  <c:v>0.2142733706884989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349832721947938</c:v>
                </c:pt>
              </c:numCache>
            </c:numRef>
          </c:xVal>
          <c:yVal>
            <c:numRef>
              <c:f>Sheet1!$B$171:$B$172</c:f>
              <c:numCache>
                <c:formatCode>General</c:formatCode>
                <c:ptCount val="2"/>
                <c:pt idx="0">
                  <c:v>0.17953887777780547</c:v>
                </c:pt>
                <c:pt idx="1">
                  <c:v>0.1795388777778054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349832721947938</c:v>
                </c:pt>
                <c:pt idx="1">
                  <c:v>0.08349832721947938</c:v>
                </c:pt>
              </c:numCache>
            </c:numRef>
          </c:xVal>
          <c:yVal>
            <c:numRef>
              <c:f>Sheet1!$B$175:$B$176</c:f>
              <c:numCache>
                <c:formatCode>General</c:formatCode>
                <c:ptCount val="2"/>
                <c:pt idx="0">
                  <c:v>0.179538877777805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253912332388</c:v>
                </c:pt>
              </c:numCache>
            </c:numRef>
          </c:xVal>
          <c:yVal>
            <c:numRef>
              <c:f>Sheet1!$B$179:$B$180</c:f>
              <c:numCache>
                <c:formatCode>General</c:formatCode>
                <c:ptCount val="2"/>
                <c:pt idx="0">
                  <c:v>0.16058668218668648</c:v>
                </c:pt>
                <c:pt idx="1">
                  <c:v>0.1605866821866864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253912332388</c:v>
                </c:pt>
                <c:pt idx="1">
                  <c:v>0.1253912332388</c:v>
                </c:pt>
              </c:numCache>
            </c:numRef>
          </c:xVal>
          <c:yVal>
            <c:numRef>
              <c:f>Sheet1!$B$183:$B$184</c:f>
              <c:numCache>
                <c:formatCode>General</c:formatCode>
                <c:ptCount val="2"/>
                <c:pt idx="0">
                  <c:v>0.1605866821866864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232808253147862</c:v>
                </c:pt>
                <c:pt idx="1">
                  <c:v>0.11501265789197673</c:v>
                </c:pt>
                <c:pt idx="2">
                  <c:v>0.11099843226347375</c:v>
                </c:pt>
                <c:pt idx="3">
                  <c:v>0.11136411646974806</c:v>
                </c:pt>
                <c:pt idx="4">
                  <c:v>0.1102079887518944</c:v>
                </c:pt>
                <c:pt idx="5">
                  <c:v>0.1058334465004182</c:v>
                </c:pt>
                <c:pt idx="6">
                  <c:v>0.1007947355312783</c:v>
                </c:pt>
                <c:pt idx="7">
                  <c:v>0.10315047569269516</c:v>
                </c:pt>
                <c:pt idx="8">
                  <c:v>0.11579385033249691</c:v>
                </c:pt>
                <c:pt idx="9">
                  <c:v>0.11137227396084863</c:v>
                </c:pt>
                <c:pt idx="10">
                  <c:v>0.11254414281221706</c:v>
                </c:pt>
                <c:pt idx="11">
                  <c:v>0.10557004471457523</c:v>
                </c:pt>
                <c:pt idx="12">
                  <c:v>0.10552471733303684</c:v>
                </c:pt>
                <c:pt idx="13">
                  <c:v>0.10601028450579501</c:v>
                </c:pt>
                <c:pt idx="14">
                  <c:v>0.10734107691997526</c:v>
                </c:pt>
                <c:pt idx="15">
                  <c:v>0.10548373476210432</c:v>
                </c:pt>
                <c:pt idx="16">
                  <c:v>0.10730193637765206</c:v>
                </c:pt>
                <c:pt idx="17">
                  <c:v>0.10271694084385155</c:v>
                </c:pt>
                <c:pt idx="18">
                  <c:v>0.09926662214951919</c:v>
                </c:pt>
                <c:pt idx="19">
                  <c:v>0.1065149673910015</c:v>
                </c:pt>
                <c:pt idx="20">
                  <c:v>0.10155582841192536</c:v>
                </c:pt>
                <c:pt idx="21">
                  <c:v>0.10479934034129278</c:v>
                </c:pt>
                <c:pt idx="22">
                  <c:v>0.1040767961969371</c:v>
                </c:pt>
                <c:pt idx="23">
                  <c:v>0.10225436831279797</c:v>
                </c:pt>
                <c:pt idx="24">
                  <c:v>0.1013195444447569</c:v>
                </c:pt>
                <c:pt idx="25">
                  <c:v>0.09652998979360822</c:v>
                </c:pt>
                <c:pt idx="26">
                  <c:v>0.10099634795284118</c:v>
                </c:pt>
                <c:pt idx="27">
                  <c:v>0.10365689323409766</c:v>
                </c:pt>
                <c:pt idx="28">
                  <c:v>0.109420960531619</c:v>
                </c:pt>
                <c:pt idx="29">
                  <c:v>0.10996030808187209</c:v>
                </c:pt>
                <c:pt idx="30">
                  <c:v>0.10876798264972565</c:v>
                </c:pt>
                <c:pt idx="31">
                  <c:v>0.09926591048248197</c:v>
                </c:pt>
                <c:pt idx="32">
                  <c:v>0.10408273995641901</c:v>
                </c:pt>
                <c:pt idx="33">
                  <c:v>0.11115702870270354</c:v>
                </c:pt>
                <c:pt idx="34">
                  <c:v>0.11417032109439766</c:v>
                </c:pt>
                <c:pt idx="35">
                  <c:v>0.11041855886203122</c:v>
                </c:pt>
                <c:pt idx="36">
                  <c:v>0.10880458116255419</c:v>
                </c:pt>
                <c:pt idx="37">
                  <c:v>0.11242103504335324</c:v>
                </c:pt>
                <c:pt idx="38">
                  <c:v>0.10964182867565123</c:v>
                </c:pt>
                <c:pt idx="39">
                  <c:v>0.11263087434523746</c:v>
                </c:pt>
                <c:pt idx="40">
                  <c:v>0.1137354777646669</c:v>
                </c:pt>
                <c:pt idx="41">
                  <c:v>0.11905366842889997</c:v>
                </c:pt>
                <c:pt idx="42">
                  <c:v>0.11786476610835053</c:v>
                </c:pt>
                <c:pt idx="43">
                  <c:v>0.11950005579535042</c:v>
                </c:pt>
                <c:pt idx="44">
                  <c:v>0.11732614743550533</c:v>
                </c:pt>
                <c:pt idx="45">
                  <c:v>0.11734838825393833</c:v>
                </c:pt>
                <c:pt idx="46">
                  <c:v>0.11389822737864766</c:v>
                </c:pt>
                <c:pt idx="47">
                  <c:v>0.10966464881797976</c:v>
                </c:pt>
                <c:pt idx="48">
                  <c:v>0.10926944349870465</c:v>
                </c:pt>
                <c:pt idx="49">
                  <c:v>0.11539252143288663</c:v>
                </c:pt>
                <c:pt idx="50">
                  <c:v>0.11062193494883005</c:v>
                </c:pt>
                <c:pt idx="51">
                  <c:v>0.10192122466760717</c:v>
                </c:pt>
                <c:pt idx="52">
                  <c:v>0.08349832721947938</c:v>
                </c:pt>
                <c:pt idx="53">
                  <c:v>0.006719421042597398</c:v>
                </c:pt>
                <c:pt idx="54">
                  <c:v>0.1253912332388</c:v>
                </c:pt>
              </c:numCache>
            </c:numRef>
          </c:xVal>
          <c:yVal>
            <c:numRef>
              <c:f>Sheet1!$B$187:$B$241</c:f>
              <c:numCache>
                <c:formatCode>General</c:formatCode>
                <c:ptCount val="55"/>
                <c:pt idx="0">
                  <c:v>0.1664964032054967</c:v>
                </c:pt>
                <c:pt idx="1">
                  <c:v>0.16528191125099262</c:v>
                </c:pt>
                <c:pt idx="2">
                  <c:v>0.16709793206423448</c:v>
                </c:pt>
                <c:pt idx="3">
                  <c:v>0.16693249788311806</c:v>
                </c:pt>
                <c:pt idx="4">
                  <c:v>0.1674555257825665</c:v>
                </c:pt>
                <c:pt idx="5">
                  <c:v>0.16943455250211073</c:v>
                </c:pt>
                <c:pt idx="6">
                  <c:v>0.17171404669070237</c:v>
                </c:pt>
                <c:pt idx="7">
                  <c:v>0.17064831856287957</c:v>
                </c:pt>
                <c:pt idx="8">
                  <c:v>0.16492850268295933</c:v>
                </c:pt>
                <c:pt idx="9">
                  <c:v>0.16692880746434408</c:v>
                </c:pt>
                <c:pt idx="10">
                  <c:v>0.1663986583343689</c:v>
                </c:pt>
                <c:pt idx="11">
                  <c:v>0.1695537144948845</c:v>
                </c:pt>
                <c:pt idx="12">
                  <c:v>0.16957422043448564</c:v>
                </c:pt>
                <c:pt idx="13">
                  <c:v>0.1693545516431515</c:v>
                </c:pt>
                <c:pt idx="14">
                  <c:v>0.1687525060817123</c:v>
                </c:pt>
                <c:pt idx="15">
                  <c:v>0.16959276079785365</c:v>
                </c:pt>
                <c:pt idx="16">
                  <c:v>0.16877021311815682</c:v>
                </c:pt>
                <c:pt idx="17">
                  <c:v>0.17084444812350402</c:v>
                </c:pt>
                <c:pt idx="18">
                  <c:v>0.1724053595273709</c:v>
                </c:pt>
                <c:pt idx="19">
                  <c:v>0.16912623497427415</c:v>
                </c:pt>
                <c:pt idx="20">
                  <c:v>0.17136973108914494</c:v>
                </c:pt>
                <c:pt idx="21">
                  <c:v>0.1699023783001274</c:v>
                </c:pt>
                <c:pt idx="22">
                  <c:v>0.17022925459609817</c:v>
                </c:pt>
                <c:pt idx="23">
                  <c:v>0.17105371422405963</c:v>
                </c:pt>
                <c:pt idx="24">
                  <c:v>0.17147662508114342</c:v>
                </c:pt>
                <c:pt idx="25">
                  <c:v>0.17364340187387914</c:v>
                </c:pt>
                <c:pt idx="26">
                  <c:v>0.17162283797757807</c:v>
                </c:pt>
                <c:pt idx="27">
                  <c:v>0.170419217141961</c:v>
                </c:pt>
                <c:pt idx="28">
                  <c:v>0.1678115744357564</c:v>
                </c:pt>
                <c:pt idx="29">
                  <c:v>0.16756757560074426</c:v>
                </c:pt>
                <c:pt idx="30">
                  <c:v>0.16810697921213094</c:v>
                </c:pt>
                <c:pt idx="31">
                  <c:v>0.17240568148290386</c:v>
                </c:pt>
                <c:pt idx="32">
                  <c:v>0.17022656566131297</c:v>
                </c:pt>
                <c:pt idx="33">
                  <c:v>0.16702618362226793</c:v>
                </c:pt>
                <c:pt idx="34">
                  <c:v>0.16566298129979642</c:v>
                </c:pt>
                <c:pt idx="35">
                  <c:v>0.16736026464429368</c:v>
                </c:pt>
                <c:pt idx="36">
                  <c:v>0.16809042218041892</c:v>
                </c:pt>
                <c:pt idx="37">
                  <c:v>0.16645435183324475</c:v>
                </c:pt>
                <c:pt idx="38">
                  <c:v>0.16771165450507372</c:v>
                </c:pt>
                <c:pt idx="39">
                  <c:v>0.16635942130991987</c:v>
                </c:pt>
                <c:pt idx="40">
                  <c:v>0.1658597028123301</c:v>
                </c:pt>
                <c:pt idx="41">
                  <c:v>0.16345377304434205</c:v>
                </c:pt>
                <c:pt idx="42">
                  <c:v>0.163991628052715</c:v>
                </c:pt>
                <c:pt idx="43">
                  <c:v>0.16325182905233368</c:v>
                </c:pt>
                <c:pt idx="44">
                  <c:v>0.16423529714628618</c:v>
                </c:pt>
                <c:pt idx="45">
                  <c:v>0.16422523548236498</c:v>
                </c:pt>
                <c:pt idx="46">
                  <c:v>0.16578607548948168</c:v>
                </c:pt>
                <c:pt idx="47">
                  <c:v>0.1677013307571669</c:v>
                </c:pt>
                <c:pt idx="48">
                  <c:v>0.16788012018051457</c:v>
                </c:pt>
                <c:pt idx="49">
                  <c:v>0.16511006239138049</c:v>
                </c:pt>
                <c:pt idx="50">
                  <c:v>0.16726825805554593</c:v>
                </c:pt>
                <c:pt idx="51">
                  <c:v>0.17120442717581053</c:v>
                </c:pt>
                <c:pt idx="52">
                  <c:v>0.17953887777780547</c:v>
                </c:pt>
                <c:pt idx="53">
                  <c:v>0.21427337068849897</c:v>
                </c:pt>
                <c:pt idx="54">
                  <c:v>0.1605866821866864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866862431226215"/>
          <c:min val="0.1090108276748027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56.3077</c:v>
                </c:pt>
                <c:pt idx="1">
                  <c:v>6230.0</c:v>
                </c:pt>
                <c:pt idx="2">
                  <c:v>6349.3333</c:v>
                </c:pt>
                <c:pt idx="3">
                  <c:v>5043.3333</c:v>
                </c:pt>
                <c:pt idx="4">
                  <c:v>5971.5</c:v>
                </c:pt>
                <c:pt idx="5">
                  <c:v>7694.0</c:v>
                </c:pt>
                <c:pt idx="6">
                  <c:v>5895.0</c:v>
                </c:pt>
                <c:pt idx="7">
                  <c:v>4277.0</c:v>
                </c:pt>
                <c:pt idx="8">
                  <c:v>7050.6667</c:v>
                </c:pt>
                <c:pt idx="9">
                  <c:v>5817.6</c:v>
                </c:pt>
                <c:pt idx="10">
                  <c:v>5290.25</c:v>
                </c:pt>
                <c:pt idx="11">
                  <c:v>4469.2857</c:v>
                </c:pt>
                <c:pt idx="12">
                  <c:v>7055.8</c:v>
                </c:pt>
                <c:pt idx="13">
                  <c:v>5252.6667</c:v>
                </c:pt>
                <c:pt idx="14">
                  <c:v>0.0</c:v>
                </c:pt>
                <c:pt idx="15">
                  <c:v>3753.0</c:v>
                </c:pt>
                <c:pt idx="16">
                  <c:v>2170.25</c:v>
                </c:pt>
                <c:pt idx="17">
                  <c:v>6580.0</c:v>
                </c:pt>
                <c:pt idx="18">
                  <c:v>0.0</c:v>
                </c:pt>
                <c:pt idx="19">
                  <c:v>3807.0</c:v>
                </c:pt>
                <c:pt idx="20">
                  <c:v>5072.3333</c:v>
                </c:pt>
                <c:pt idx="21">
                  <c:v>6718.0</c:v>
                </c:pt>
                <c:pt idx="22">
                  <c:v>5462.25</c:v>
                </c:pt>
                <c:pt idx="23">
                  <c:v>6538.6667</c:v>
                </c:pt>
                <c:pt idx="24">
                  <c:v>6316.5</c:v>
                </c:pt>
                <c:pt idx="25">
                  <c:v>4606.0</c:v>
                </c:pt>
                <c:pt idx="26">
                  <c:v>6402.0</c:v>
                </c:pt>
                <c:pt idx="27">
                  <c:v>15524.0</c:v>
                </c:pt>
                <c:pt idx="28">
                  <c:v>3345.4</c:v>
                </c:pt>
                <c:pt idx="29">
                  <c:v>7017.0</c:v>
                </c:pt>
                <c:pt idx="30">
                  <c:v>3873.25</c:v>
                </c:pt>
                <c:pt idx="31">
                  <c:v>5011.5</c:v>
                </c:pt>
                <c:pt idx="32">
                  <c:v>8655.5</c:v>
                </c:pt>
                <c:pt idx="33">
                  <c:v>3845.7778</c:v>
                </c:pt>
                <c:pt idx="34">
                  <c:v>3505.4167</c:v>
                </c:pt>
                <c:pt idx="35">
                  <c:v>3707.5</c:v>
                </c:pt>
                <c:pt idx="36">
                  <c:v>6482.5</c:v>
                </c:pt>
                <c:pt idx="37">
                  <c:v>4574.0</c:v>
                </c:pt>
                <c:pt idx="38">
                  <c:v>7663.0</c:v>
                </c:pt>
                <c:pt idx="39">
                  <c:v>5600.75</c:v>
                </c:pt>
                <c:pt idx="40">
                  <c:v>8541.5</c:v>
                </c:pt>
                <c:pt idx="41">
                  <c:v>5335.6667</c:v>
                </c:pt>
                <c:pt idx="42">
                  <c:v>10645.0</c:v>
                </c:pt>
                <c:pt idx="43">
                  <c:v>7240.0</c:v>
                </c:pt>
                <c:pt idx="44">
                  <c:v>4505.0</c:v>
                </c:pt>
                <c:pt idx="45">
                  <c:v>4392.2</c:v>
                </c:pt>
                <c:pt idx="46">
                  <c:v>4084.1818</c:v>
                </c:pt>
                <c:pt idx="47">
                  <c:v>3419.4286</c:v>
                </c:pt>
                <c:pt idx="48">
                  <c:v>4401.9</c:v>
                </c:pt>
                <c:pt idx="49">
                  <c:v>3402.25</c:v>
                </c:pt>
                <c:pt idx="50">
                  <c:v>4337.6</c:v>
                </c:pt>
                <c:pt idx="51">
                  <c:v>4108.2</c:v>
                </c:pt>
                <c:pt idx="52">
                  <c:v>4801.75</c:v>
                </c:pt>
                <c:pt idx="53">
                  <c:v>3999.4</c:v>
                </c:pt>
                <c:pt idx="54">
                  <c:v>4201.4444</c:v>
                </c:pt>
                <c:pt idx="55">
                  <c:v>4984.2</c:v>
                </c:pt>
                <c:pt idx="56">
                  <c:v>10395.0</c:v>
                </c:pt>
                <c:pt idx="57">
                  <c:v>4042.75</c:v>
                </c:pt>
                <c:pt idx="58">
                  <c:v>4289.0</c:v>
                </c:pt>
                <c:pt idx="59">
                  <c:v>3433.0</c:v>
                </c:pt>
                <c:pt idx="60">
                  <c:v>3007.3571</c:v>
                </c:pt>
                <c:pt idx="61">
                  <c:v>2989.9286</c:v>
                </c:pt>
                <c:pt idx="62">
                  <c:v>3040.0833</c:v>
                </c:pt>
                <c:pt idx="63">
                  <c:v>2470.9444</c:v>
                </c:pt>
                <c:pt idx="64">
                  <c:v>2609.3158</c:v>
                </c:pt>
                <c:pt idx="65">
                  <c:v>2489.9333</c:v>
                </c:pt>
                <c:pt idx="66">
                  <c:v>2358.7273</c:v>
                </c:pt>
                <c:pt idx="67">
                  <c:v>3155.3333</c:v>
                </c:pt>
                <c:pt idx="68">
                  <c:v>2346.9231</c:v>
                </c:pt>
                <c:pt idx="69">
                  <c:v>2135.0</c:v>
                </c:pt>
                <c:pt idx="70">
                  <c:v>2302.5</c:v>
                </c:pt>
                <c:pt idx="71">
                  <c:v>1857.8</c:v>
                </c:pt>
                <c:pt idx="72">
                  <c:v>2952.3636</c:v>
                </c:pt>
                <c:pt idx="73">
                  <c:v>2025.9474</c:v>
                </c:pt>
                <c:pt idx="74">
                  <c:v>2531.4762</c:v>
                </c:pt>
                <c:pt idx="75">
                  <c:v>3962.4444</c:v>
                </c:pt>
                <c:pt idx="76">
                  <c:v>3882.0</c:v>
                </c:pt>
                <c:pt idx="77">
                  <c:v>4467.6957</c:v>
                </c:pt>
                <c:pt idx="78">
                  <c:v>3018.5429</c:v>
                </c:pt>
                <c:pt idx="79">
                  <c:v>4773.4</c:v>
                </c:pt>
                <c:pt idx="80">
                  <c:v>4299.5</c:v>
                </c:pt>
                <c:pt idx="81">
                  <c:v>3470.475</c:v>
                </c:pt>
                <c:pt idx="82">
                  <c:v>4188.0</c:v>
                </c:pt>
                <c:pt idx="83">
                  <c:v>4291.4286</c:v>
                </c:pt>
                <c:pt idx="84">
                  <c:v>4199.35</c:v>
                </c:pt>
                <c:pt idx="85">
                  <c:v>3644.0476</c:v>
                </c:pt>
                <c:pt idx="86">
                  <c:v>4846.4231</c:v>
                </c:pt>
                <c:pt idx="87">
                  <c:v>4906.68</c:v>
                </c:pt>
                <c:pt idx="88">
                  <c:v>4199.0333</c:v>
                </c:pt>
                <c:pt idx="89">
                  <c:v>3929.7353</c:v>
                </c:pt>
                <c:pt idx="90">
                  <c:v>4177.2903</c:v>
                </c:pt>
                <c:pt idx="91">
                  <c:v>3942.625</c:v>
                </c:pt>
                <c:pt idx="92">
                  <c:v>4270.3235</c:v>
                </c:pt>
                <c:pt idx="93">
                  <c:v>4332.2286</c:v>
                </c:pt>
                <c:pt idx="94">
                  <c:v>5011.5517</c:v>
                </c:pt>
                <c:pt idx="95">
                  <c:v>4381.1064</c:v>
                </c:pt>
                <c:pt idx="96">
                  <c:v>3358.3295</c:v>
                </c:pt>
                <c:pt idx="97">
                  <c:v>3539.0348</c:v>
                </c:pt>
                <c:pt idx="98">
                  <c:v>3390.072</c:v>
                </c:pt>
                <c:pt idx="99">
                  <c:v>3491.0956</c:v>
                </c:pt>
                <c:pt idx="100">
                  <c:v>3928.0486</c:v>
                </c:pt>
                <c:pt idx="101">
                  <c:v>3765.3274</c:v>
                </c:pt>
                <c:pt idx="102">
                  <c:v>3902.8667</c:v>
                </c:pt>
                <c:pt idx="103">
                  <c:v>3989.4744</c:v>
                </c:pt>
                <c:pt idx="104">
                  <c:v>4479.7</c:v>
                </c:pt>
              </c:numCache>
            </c:numRef>
          </c:xVal>
          <c:yVal>
            <c:numRef>
              <c:f>Sheet1!$B$2:$B$106</c:f>
              <c:numCache>
                <c:formatCode>General</c:formatCode>
                <c:ptCount val="105"/>
                <c:pt idx="0">
                  <c:v>0.000912088683084263</c:v>
                </c:pt>
                <c:pt idx="1">
                  <c:v>0.0002435658033612081</c:v>
                </c:pt>
                <c:pt idx="2">
                  <c:v>0.0002453385672227674</c:v>
                </c:pt>
                <c:pt idx="3">
                  <c:v>0.0002613240418118467</c:v>
                </c:pt>
                <c:pt idx="4">
                  <c:v>0.0001950078003120125</c:v>
                </c:pt>
                <c:pt idx="5">
                  <c:v>0.00029452189279403104</c:v>
                </c:pt>
                <c:pt idx="6">
                  <c:v>0.0005294740557712672</c:v>
                </c:pt>
                <c:pt idx="7">
                  <c:v>0.0006316454363617223</c:v>
                </c:pt>
                <c:pt idx="8">
                  <c:v>0.00032847914157451</c:v>
                </c:pt>
                <c:pt idx="9">
                  <c:v>0.0004123371268349002</c:v>
                </c:pt>
                <c:pt idx="10">
                  <c:v>0.0003252825892494104</c:v>
                </c:pt>
                <c:pt idx="11">
                  <c:v>0.0005880376344086022</c:v>
                </c:pt>
                <c:pt idx="12">
                  <c:v>0.000382321455880104</c:v>
                </c:pt>
                <c:pt idx="13">
                  <c:v>0.00047969299648225136</c:v>
                </c:pt>
                <c:pt idx="14">
                  <c:v>0.0</c:v>
                </c:pt>
                <c:pt idx="15">
                  <c:v>0.0004876145894285157</c:v>
                </c:pt>
                <c:pt idx="16">
                  <c:v>0.0004482797265493668</c:v>
                </c:pt>
                <c:pt idx="17">
                  <c:v>0.0002494387627837366</c:v>
                </c:pt>
                <c:pt idx="18">
                  <c:v>0.0</c:v>
                </c:pt>
                <c:pt idx="19">
                  <c:v>0.0005042016806722689</c:v>
                </c:pt>
                <c:pt idx="20">
                  <c:v>0.0004013377926421405</c:v>
                </c:pt>
                <c:pt idx="21">
                  <c:v>0.00016977928692699492</c:v>
                </c:pt>
                <c:pt idx="22">
                  <c:v>0.0006655574043261231</c:v>
                </c:pt>
                <c:pt idx="23">
                  <c:v>0.0005211952744961779</c:v>
                </c:pt>
                <c:pt idx="24">
                  <c:v>0.000642570281124498</c:v>
                </c:pt>
                <c:pt idx="25">
                  <c:v>0.0010915044569765327</c:v>
                </c:pt>
                <c:pt idx="26">
                  <c:v>0.0007638252367858234</c:v>
                </c:pt>
                <c:pt idx="27">
                  <c:v>0.00014740566037735848</c:v>
                </c:pt>
                <c:pt idx="28">
                  <c:v>0.0007701786814540973</c:v>
                </c:pt>
                <c:pt idx="29">
                  <c:v>0.0005499037668408029</c:v>
                </c:pt>
                <c:pt idx="30">
                  <c:v>0.0006866952789699571</c:v>
                </c:pt>
                <c:pt idx="31">
                  <c:v>0.0006668889629876625</c:v>
                </c:pt>
                <c:pt idx="32">
                  <c:v>0.00033886818027787193</c:v>
                </c:pt>
                <c:pt idx="33">
                  <c:v>0.0012132650310056618</c:v>
                </c:pt>
                <c:pt idx="34">
                  <c:v>0.0013868022651103663</c:v>
                </c:pt>
                <c:pt idx="35">
                  <c:v>0.0013130744700806604</c:v>
                </c:pt>
                <c:pt idx="36">
                  <c:v>0.00048291681757817216</c:v>
                </c:pt>
                <c:pt idx="37">
                  <c:v>0.0005769508149430262</c:v>
                </c:pt>
                <c:pt idx="38">
                  <c:v>0.0003007518796992481</c:v>
                </c:pt>
                <c:pt idx="39">
                  <c:v>0.0006278449223041908</c:v>
                </c:pt>
                <c:pt idx="40">
                  <c:v>0.00025506950644050506</c:v>
                </c:pt>
                <c:pt idx="41">
                  <c:v>0.0004366812227074236</c:v>
                </c:pt>
                <c:pt idx="42">
                  <c:v>0.0001221001221001221</c:v>
                </c:pt>
                <c:pt idx="43">
                  <c:v>0.0003280481137233461</c:v>
                </c:pt>
                <c:pt idx="44">
                  <c:v>0.00042961477874838895</c:v>
                </c:pt>
                <c:pt idx="45">
                  <c:v>0.00031794480478188986</c:v>
                </c:pt>
                <c:pt idx="46">
                  <c:v>0.0006879729814247295</c:v>
                </c:pt>
                <c:pt idx="47">
                  <c:v>0.000894168742415533</c:v>
                </c:pt>
                <c:pt idx="48">
                  <c:v>0.0004671150971599402</c:v>
                </c:pt>
                <c:pt idx="49">
                  <c:v>0.0005092297899427117</c:v>
                </c:pt>
                <c:pt idx="50">
                  <c:v>0.0006144393241167435</c:v>
                </c:pt>
                <c:pt idx="51">
                  <c:v>0.0007825338445887784</c:v>
                </c:pt>
                <c:pt idx="52">
                  <c:v>0.0002576157660848844</c:v>
                </c:pt>
                <c:pt idx="53">
                  <c:v>0.00042176296921130323</c:v>
                </c:pt>
                <c:pt idx="54">
                  <c:v>0.0008497781134925881</c:v>
                </c:pt>
                <c:pt idx="55">
                  <c:v>0.00048529554498689704</c:v>
                </c:pt>
                <c:pt idx="56">
                  <c:v>0.00019878739687903787</c:v>
                </c:pt>
                <c:pt idx="57">
                  <c:v>0.0003463203463203463</c:v>
                </c:pt>
                <c:pt idx="58">
                  <c:v>0.00030641948827945457</c:v>
                </c:pt>
                <c:pt idx="59">
                  <c:v>0.0004901240013723472</c:v>
                </c:pt>
                <c:pt idx="60">
                  <c:v>0.0007439685407588479</c:v>
                </c:pt>
                <c:pt idx="61">
                  <c:v>0.001052789893217025</c:v>
                </c:pt>
                <c:pt idx="62">
                  <c:v>0.0008598452278589854</c:v>
                </c:pt>
                <c:pt idx="63">
                  <c:v>0.0011563664396762173</c:v>
                </c:pt>
                <c:pt idx="64">
                  <c:v>0.0011653581943081453</c:v>
                </c:pt>
                <c:pt idx="65">
                  <c:v>0.001007725898555593</c:v>
                </c:pt>
                <c:pt idx="66">
                  <c:v>0.0007878527431600058</c:v>
                </c:pt>
                <c:pt idx="67">
                  <c:v>0.0006917223887479825</c:v>
                </c:pt>
                <c:pt idx="68">
                  <c:v>0.0012484394506866417</c:v>
                </c:pt>
                <c:pt idx="69">
                  <c:v>0.0013683293942032592</c:v>
                </c:pt>
                <c:pt idx="70">
                  <c:v>0.0012020675561966582</c:v>
                </c:pt>
                <c:pt idx="71">
                  <c:v>0.0013217023526301878</c:v>
                </c:pt>
                <c:pt idx="72">
                  <c:v>0.0013286628819905786</c:v>
                </c:pt>
                <c:pt idx="73">
                  <c:v>0.0024944203754759093</c:v>
                </c:pt>
                <c:pt idx="74">
                  <c:v>0.0026365348399246705</c:v>
                </c:pt>
                <c:pt idx="75">
                  <c:v>0.0026052974381241857</c:v>
                </c:pt>
                <c:pt idx="76">
                  <c:v>0.003568657874321179</c:v>
                </c:pt>
                <c:pt idx="77">
                  <c:v>0.00372168284789644</c:v>
                </c:pt>
                <c:pt idx="78">
                  <c:v>0.006307442782483331</c:v>
                </c:pt>
                <c:pt idx="79">
                  <c:v>0.004245923913043478</c:v>
                </c:pt>
                <c:pt idx="80">
                  <c:v>0.003997335109926716</c:v>
                </c:pt>
                <c:pt idx="81">
                  <c:v>0.00551191952597492</c:v>
                </c:pt>
                <c:pt idx="82">
                  <c:v>0.004459507670353193</c:v>
                </c:pt>
                <c:pt idx="83">
                  <c:v>0.004400670578373848</c:v>
                </c:pt>
                <c:pt idx="84">
                  <c:v>0.00416579879191835</c:v>
                </c:pt>
                <c:pt idx="85">
                  <c:v>0.0038860103626943004</c:v>
                </c:pt>
                <c:pt idx="86">
                  <c:v>0.0034478185916987135</c:v>
                </c:pt>
                <c:pt idx="87">
                  <c:v>0.002925002925002925</c:v>
                </c:pt>
                <c:pt idx="88">
                  <c:v>0.00454063871651279</c:v>
                </c:pt>
                <c:pt idx="89">
                  <c:v>0.005974345457740292</c:v>
                </c:pt>
                <c:pt idx="90">
                  <c:v>0.005668312305723167</c:v>
                </c:pt>
                <c:pt idx="91">
                  <c:v>0.005691924581999288</c:v>
                </c:pt>
                <c:pt idx="92">
                  <c:v>0.0045933531477978925</c:v>
                </c:pt>
                <c:pt idx="93">
                  <c:v>0.004557885141294439</c:v>
                </c:pt>
                <c:pt idx="94">
                  <c:v>0.004178072323872641</c:v>
                </c:pt>
                <c:pt idx="95">
                  <c:v>0.004830421377183967</c:v>
                </c:pt>
                <c:pt idx="96">
                  <c:v>0.006507913030616773</c:v>
                </c:pt>
                <c:pt idx="97">
                  <c:v>0.007283090563647878</c:v>
                </c:pt>
                <c:pt idx="98">
                  <c:v>0.00677800672378267</c:v>
                </c:pt>
                <c:pt idx="99">
                  <c:v>0.006458046440951612</c:v>
                </c:pt>
                <c:pt idx="100">
                  <c:v>0.004885661939336364</c:v>
                </c:pt>
                <c:pt idx="101">
                  <c:v>0.006859709828203727</c:v>
                </c:pt>
                <c:pt idx="102">
                  <c:v>0.005986112219650411</c:v>
                </c:pt>
                <c:pt idx="103">
                  <c:v>0.005471380471380472</c:v>
                </c:pt>
                <c:pt idx="104">
                  <c:v>0.00414078674948240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109:$B$160</c:f>
              <c:numCache>
                <c:formatCode>General</c:formatCode>
                <c:ptCount val="52"/>
                <c:pt idx="0">
                  <c:v>0.004510358535280178</c:v>
                </c:pt>
                <c:pt idx="1">
                  <c:v>0.0054792280013084725</c:v>
                </c:pt>
                <c:pt idx="2">
                  <c:v>0.004826117814052519</c:v>
                </c:pt>
                <c:pt idx="3">
                  <c:v>0.005182092989779761</c:v>
                </c:pt>
                <c:pt idx="4">
                  <c:v>0.005290599601288146</c:v>
                </c:pt>
                <c:pt idx="5">
                  <c:v>0.004552352048558422</c:v>
                </c:pt>
                <c:pt idx="6">
                  <c:v>0.0049862696921520455</c:v>
                </c:pt>
                <c:pt idx="7">
                  <c:v>0.0058180359113251074</c:v>
                </c:pt>
                <c:pt idx="8">
                  <c:v>0.00717891194615816</c:v>
                </c:pt>
                <c:pt idx="9">
                  <c:v>0.007236320380650278</c:v>
                </c:pt>
                <c:pt idx="10">
                  <c:v>0.006994347034588484</c:v>
                </c:pt>
                <c:pt idx="11">
                  <c:v>0.006884561891515995</c:v>
                </c:pt>
                <c:pt idx="12">
                  <c:v>0.007134363852556481</c:v>
                </c:pt>
                <c:pt idx="13">
                  <c:v>0.010407049937054134</c:v>
                </c:pt>
                <c:pt idx="14">
                  <c:v>0.010429276468944967</c:v>
                </c:pt>
                <c:pt idx="15">
                  <c:v>0.00994075710412692</c:v>
                </c:pt>
                <c:pt idx="16">
                  <c:v>0.009873060648801129</c:v>
                </c:pt>
                <c:pt idx="17">
                  <c:v>0.012442059038789949</c:v>
                </c:pt>
                <c:pt idx="18">
                  <c:v>0.006704562017198659</c:v>
                </c:pt>
                <c:pt idx="19">
                  <c:v>0.005950770895320531</c:v>
                </c:pt>
                <c:pt idx="20">
                  <c:v>0.007330006238303182</c:v>
                </c:pt>
                <c:pt idx="21">
                  <c:v>0.010286141761735553</c:v>
                </c:pt>
                <c:pt idx="22">
                  <c:v>0.00847145488029466</c:v>
                </c:pt>
                <c:pt idx="23">
                  <c:v>0.008226691042047532</c:v>
                </c:pt>
                <c:pt idx="24">
                  <c:v>0.0075419952005485085</c:v>
                </c:pt>
                <c:pt idx="25">
                  <c:v>0.007911392405063292</c:v>
                </c:pt>
                <c:pt idx="26">
                  <c:v>0.008629441624365483</c:v>
                </c:pt>
                <c:pt idx="27">
                  <c:v>0.008746355685131196</c:v>
                </c:pt>
                <c:pt idx="28">
                  <c:v>0.007511194568828542</c:v>
                </c:pt>
                <c:pt idx="29">
                  <c:v>0.008570928808815813</c:v>
                </c:pt>
                <c:pt idx="30">
                  <c:v>0.008193801211257571</c:v>
                </c:pt>
                <c:pt idx="31">
                  <c:v>0.00854191497814859</c:v>
                </c:pt>
                <c:pt idx="32">
                  <c:v>0.007553956834532374</c:v>
                </c:pt>
                <c:pt idx="33">
                  <c:v>0.006897522522522522</c:v>
                </c:pt>
                <c:pt idx="34">
                  <c:v>0.006098202081800021</c:v>
                </c:pt>
                <c:pt idx="35">
                  <c:v>0.007370393504059962</c:v>
                </c:pt>
                <c:pt idx="36">
                  <c:v>0.009972416719711436</c:v>
                </c:pt>
                <c:pt idx="37">
                  <c:v>0.009865300701954089</c:v>
                </c:pt>
                <c:pt idx="38">
                  <c:v>0.011813607525705535</c:v>
                </c:pt>
                <c:pt idx="39">
                  <c:v>0.010794743429286609</c:v>
                </c:pt>
                <c:pt idx="40">
                  <c:v>0.010329941412272586</c:v>
                </c:pt>
                <c:pt idx="41">
                  <c:v>0.00836096295228485</c:v>
                </c:pt>
                <c:pt idx="42">
                  <c:v>0.009661044702800065</c:v>
                </c:pt>
                <c:pt idx="43">
                  <c:v>0.007217125382262997</c:v>
                </c:pt>
                <c:pt idx="44">
                  <c:v>0.005251164173189339</c:v>
                </c:pt>
                <c:pt idx="45">
                  <c:v>0.0041766954551890135</c:v>
                </c:pt>
                <c:pt idx="46">
                  <c:v>0.004268139593271403</c:v>
                </c:pt>
                <c:pt idx="47">
                  <c:v>0.004140786749482402</c:v>
                </c:pt>
                <c:pt idx="48">
                  <c:v>0.004567368688150216</c:v>
                </c:pt>
                <c:pt idx="49">
                  <c:v>0.0039922436409262005</c:v>
                </c:pt>
                <c:pt idx="50">
                  <c:v>0.003317553211316957</c:v>
                </c:pt>
                <c:pt idx="51">
                  <c:v>0.00408710217755443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625.014659539427</c:v>
                </c:pt>
              </c:numCache>
            </c:numRef>
          </c:xVal>
          <c:yVal>
            <c:numRef>
              <c:f>Sheet1!$B$163:$B$164</c:f>
              <c:numCache>
                <c:formatCode>General</c:formatCode>
                <c:ptCount val="2"/>
                <c:pt idx="0">
                  <c:v>0.008585636713045098</c:v>
                </c:pt>
                <c:pt idx="1">
                  <c:v>0.00858563671304509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625.014659539427</c:v>
                </c:pt>
                <c:pt idx="1">
                  <c:v>3625.014659539427</c:v>
                </c:pt>
              </c:numCache>
            </c:numRef>
          </c:xVal>
          <c:yVal>
            <c:numRef>
              <c:f>Sheet1!$B$167:$B$168</c:f>
              <c:numCache>
                <c:formatCode>General</c:formatCode>
                <c:ptCount val="2"/>
                <c:pt idx="0">
                  <c:v>0.0085856367130450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625.014659539427</c:v>
                </c:pt>
              </c:numCache>
            </c:numRef>
          </c:xVal>
          <c:yVal>
            <c:numRef>
              <c:f>Sheet1!$B$171:$B$172</c:f>
              <c:numCache>
                <c:formatCode>General</c:formatCode>
                <c:ptCount val="2"/>
                <c:pt idx="0">
                  <c:v>0.008585636713045098</c:v>
                </c:pt>
                <c:pt idx="1">
                  <c:v>0.00858563671304509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625.014659539427</c:v>
                </c:pt>
                <c:pt idx="1">
                  <c:v>3625.014659539427</c:v>
                </c:pt>
              </c:numCache>
            </c:numRef>
          </c:xVal>
          <c:yVal>
            <c:numRef>
              <c:f>Sheet1!$B$175:$B$176</c:f>
              <c:numCache>
                <c:formatCode>General</c:formatCode>
                <c:ptCount val="2"/>
                <c:pt idx="0">
                  <c:v>0.00858563671304509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93.530776676478</c:v>
                </c:pt>
              </c:numCache>
            </c:numRef>
          </c:xVal>
          <c:yVal>
            <c:numRef>
              <c:f>Sheet1!$B$179:$B$180</c:f>
              <c:numCache>
                <c:formatCode>General</c:formatCode>
                <c:ptCount val="2"/>
                <c:pt idx="0">
                  <c:v>0.006166528582152852</c:v>
                </c:pt>
                <c:pt idx="1">
                  <c:v>0.00616652858215285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93.530776676478</c:v>
                </c:pt>
                <c:pt idx="1">
                  <c:v>4293.530776676478</c:v>
                </c:pt>
              </c:numCache>
            </c:numRef>
          </c:xVal>
          <c:yVal>
            <c:numRef>
              <c:f>Sheet1!$B$183:$B$184</c:f>
              <c:numCache>
                <c:formatCode>General</c:formatCode>
                <c:ptCount val="2"/>
                <c:pt idx="0">
                  <c:v>0.00616652858215285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625.014659539427</c:v>
                </c:pt>
                <c:pt idx="53">
                  <c:v>3625.014659539427</c:v>
                </c:pt>
                <c:pt idx="54">
                  <c:v>4293.530776676478</c:v>
                </c:pt>
              </c:numCache>
            </c:numRef>
          </c:xVal>
          <c:yVal>
            <c:numRef>
              <c:f>Sheet1!$B$187:$B$241</c:f>
              <c:numCache>
                <c:formatCode>General</c:formatCode>
                <c:ptCount val="55"/>
                <c:pt idx="0">
                  <c:v>0.006031248067557688</c:v>
                </c:pt>
                <c:pt idx="1">
                  <c:v>0.00819520265117894</c:v>
                </c:pt>
                <c:pt idx="2">
                  <c:v>0.005927544831600365</c:v>
                </c:pt>
                <c:pt idx="3">
                  <c:v>0.007966854843213581</c:v>
                </c:pt>
                <c:pt idx="4">
                  <c:v>0.00556031063512219</c:v>
                </c:pt>
                <c:pt idx="5">
                  <c:v>0.004533193303936069</c:v>
                </c:pt>
                <c:pt idx="6">
                  <c:v>0.005279369029498538</c:v>
                </c:pt>
                <c:pt idx="7">
                  <c:v>0.005399242084560871</c:v>
                </c:pt>
                <c:pt idx="8">
                  <c:v>0.006379516696415566</c:v>
                </c:pt>
                <c:pt idx="9">
                  <c:v>0.00687432872111002</c:v>
                </c:pt>
                <c:pt idx="10">
                  <c:v>0.006711589813941592</c:v>
                </c:pt>
                <c:pt idx="11">
                  <c:v>0.006917285038803586</c:v>
                </c:pt>
                <c:pt idx="12">
                  <c:v>0.008093878660172171</c:v>
                </c:pt>
                <c:pt idx="13">
                  <c:v>0.009252596281455992</c:v>
                </c:pt>
                <c:pt idx="14">
                  <c:v>0.009088290872174873</c:v>
                </c:pt>
                <c:pt idx="15">
                  <c:v>0.008179380581792175</c:v>
                </c:pt>
                <c:pt idx="16">
                  <c:v>0.007514964759289455</c:v>
                </c:pt>
                <c:pt idx="17">
                  <c:v>0.01076328510716181</c:v>
                </c:pt>
                <c:pt idx="18">
                  <c:v>0.006256397374212332</c:v>
                </c:pt>
                <c:pt idx="19">
                  <c:v>0.005041823766185921</c:v>
                </c:pt>
                <c:pt idx="20">
                  <c:v>0.00564282502118147</c:v>
                </c:pt>
                <c:pt idx="21">
                  <c:v>0.008650167117627765</c:v>
                </c:pt>
                <c:pt idx="22">
                  <c:v>0.007360864230137695</c:v>
                </c:pt>
                <c:pt idx="23">
                  <c:v>0.01007173793125109</c:v>
                </c:pt>
                <c:pt idx="24">
                  <c:v>0.006688461743710466</c:v>
                </c:pt>
                <c:pt idx="25">
                  <c:v>0.007695186684030662</c:v>
                </c:pt>
                <c:pt idx="26">
                  <c:v>0.007615047200573738</c:v>
                </c:pt>
                <c:pt idx="27">
                  <c:v>0.008509761992832444</c:v>
                </c:pt>
                <c:pt idx="28">
                  <c:v>0.008169339263444967</c:v>
                </c:pt>
                <c:pt idx="29">
                  <c:v>0.008208023796098035</c:v>
                </c:pt>
                <c:pt idx="30">
                  <c:v>0.008513238766290227</c:v>
                </c:pt>
                <c:pt idx="31">
                  <c:v>0.007330784784165108</c:v>
                </c:pt>
                <c:pt idx="32">
                  <c:v>0.005570514791526853</c:v>
                </c:pt>
                <c:pt idx="33">
                  <c:v>0.005982348522629459</c:v>
                </c:pt>
                <c:pt idx="34">
                  <c:v>0.005581733248098266</c:v>
                </c:pt>
                <c:pt idx="35">
                  <c:v>0.006680147232496951</c:v>
                </c:pt>
                <c:pt idx="36">
                  <c:v>0.006740961819020138</c:v>
                </c:pt>
                <c:pt idx="37">
                  <c:v>0.006562809746920325</c:v>
                </c:pt>
                <c:pt idx="38">
                  <c:v>0.008421980700270459</c:v>
                </c:pt>
                <c:pt idx="39">
                  <c:v>0.009643009570756627</c:v>
                </c:pt>
                <c:pt idx="40">
                  <c:v>0.010046101431210498</c:v>
                </c:pt>
                <c:pt idx="41">
                  <c:v>0.008923719132204232</c:v>
                </c:pt>
                <c:pt idx="42">
                  <c:v>0.009534566299878044</c:v>
                </c:pt>
                <c:pt idx="43">
                  <c:v>0.008655118118299015</c:v>
                </c:pt>
                <c:pt idx="44">
                  <c:v>0.006765112512252064</c:v>
                </c:pt>
                <c:pt idx="45">
                  <c:v>0.006416846416430633</c:v>
                </c:pt>
                <c:pt idx="46">
                  <c:v>0.005568325524309994</c:v>
                </c:pt>
                <c:pt idx="47">
                  <c:v>0.007037387876458105</c:v>
                </c:pt>
                <c:pt idx="48">
                  <c:v>0.008113057364716552</c:v>
                </c:pt>
                <c:pt idx="49">
                  <c:v>0.007866565778527509</c:v>
                </c:pt>
                <c:pt idx="50">
                  <c:v>0.007111771577377614</c:v>
                </c:pt>
                <c:pt idx="51">
                  <c:v>0.005874866358152198</c:v>
                </c:pt>
                <c:pt idx="52">
                  <c:v>0.008585636713045098</c:v>
                </c:pt>
                <c:pt idx="53">
                  <c:v>0.008585636713045098</c:v>
                </c:pt>
                <c:pt idx="54">
                  <c:v>0.0061665285821528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493047084654793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9</c:f>
              <c:numCache>
                <c:formatCode>General</c:formatCode>
                <c:ptCount val="68"/>
                <c:pt idx="0">
                  <c:v>0.0</c:v>
                </c:pt>
                <c:pt idx="1">
                  <c:v>0.8045989080218395</c:v>
                </c:pt>
                <c:pt idx="2">
                  <c:v>0.6698323087686614</c:v>
                </c:pt>
                <c:pt idx="3">
                  <c:v>1.157136572583283</c:v>
                </c:pt>
                <c:pt idx="4">
                  <c:v>0.7856364060502081</c:v>
                </c:pt>
                <c:pt idx="5">
                  <c:v>1.4011690817780325</c:v>
                </c:pt>
                <c:pt idx="6">
                  <c:v>0.9630647764684753</c:v>
                </c:pt>
                <c:pt idx="7">
                  <c:v>0.5994841561926494</c:v>
                </c:pt>
                <c:pt idx="8">
                  <c:v>0.5876461479127376</c:v>
                </c:pt>
                <c:pt idx="9">
                  <c:v>0.5471840568060021</c:v>
                </c:pt>
                <c:pt idx="10">
                  <c:v>0.4914042554585777</c:v>
                </c:pt>
                <c:pt idx="11">
                  <c:v>0.6150004618895311</c:v>
                </c:pt>
                <c:pt idx="12">
                  <c:v>0.4962547552611865</c:v>
                </c:pt>
                <c:pt idx="13">
                  <c:v>0.6089996489996491</c:v>
                </c:pt>
                <c:pt idx="14">
                  <c:v>0.5641581982971711</c:v>
                </c:pt>
                <c:pt idx="15">
                  <c:v>0.7390347854019517</c:v>
                </c:pt>
                <c:pt idx="16">
                  <c:v>0.6061329671498483</c:v>
                </c:pt>
                <c:pt idx="17">
                  <c:v>0.6612947593990841</c:v>
                </c:pt>
                <c:pt idx="18">
                  <c:v>0.6840715446440335</c:v>
                </c:pt>
                <c:pt idx="19">
                  <c:v>1.450607545699022</c:v>
                </c:pt>
                <c:pt idx="20">
                  <c:v>0.6128733712428732</c:v>
                </c:pt>
                <c:pt idx="21">
                  <c:v>0.616081815320333</c:v>
                </c:pt>
                <c:pt idx="22">
                  <c:v>0.4916722141509336</c:v>
                </c:pt>
                <c:pt idx="23">
                  <c:v>0.4515023160429481</c:v>
                </c:pt>
                <c:pt idx="24">
                  <c:v>0.4203640453624409</c:v>
                </c:pt>
                <c:pt idx="25">
                  <c:v>0.46535204540193037</c:v>
                </c:pt>
                <c:pt idx="26">
                  <c:v>0.3798625168061431</c:v>
                </c:pt>
                <c:pt idx="27">
                  <c:v>0.4132426644961673</c:v>
                </c:pt>
                <c:pt idx="28">
                  <c:v>0.3763068758684666</c:v>
                </c:pt>
                <c:pt idx="29">
                  <c:v>0.35302361745117117</c:v>
                </c:pt>
                <c:pt idx="30">
                  <c:v>0.45809382251327424</c:v>
                </c:pt>
                <c:pt idx="31">
                  <c:v>0.3424104248613696</c:v>
                </c:pt>
                <c:pt idx="32">
                  <c:v>0.30196311382665764</c:v>
                </c:pt>
                <c:pt idx="33">
                  <c:v>0.3464145537021319</c:v>
                </c:pt>
                <c:pt idx="34">
                  <c:v>0.2957004646291836</c:v>
                </c:pt>
                <c:pt idx="35">
                  <c:v>0.4472730814442602</c:v>
                </c:pt>
                <c:pt idx="36">
                  <c:v>0.3150433579181867</c:v>
                </c:pt>
                <c:pt idx="37">
                  <c:v>0.4063277095005801</c:v>
                </c:pt>
                <c:pt idx="38">
                  <c:v>0.6087921638276632</c:v>
                </c:pt>
                <c:pt idx="39">
                  <c:v>0.5444036711991989</c:v>
                </c:pt>
                <c:pt idx="40">
                  <c:v>0.5919978409952983</c:v>
                </c:pt>
                <c:pt idx="41">
                  <c:v>0.38586285819749805</c:v>
                </c:pt>
                <c:pt idx="42">
                  <c:v>0.635731803166012</c:v>
                </c:pt>
                <c:pt idx="43">
                  <c:v>0.6149982415441604</c:v>
                </c:pt>
                <c:pt idx="44">
                  <c:v>0.5883424158200202</c:v>
                </c:pt>
                <c:pt idx="45">
                  <c:v>0.6964630569336764</c:v>
                </c:pt>
                <c:pt idx="46">
                  <c:v>0.7198327806416225</c:v>
                </c:pt>
                <c:pt idx="47">
                  <c:v>0.7938227101744562</c:v>
                </c:pt>
                <c:pt idx="48">
                  <c:v>0.6239725370739553</c:v>
                </c:pt>
                <c:pt idx="49">
                  <c:v>0.8801140358233616</c:v>
                </c:pt>
                <c:pt idx="50">
                  <c:v>0.8808340662128109</c:v>
                </c:pt>
                <c:pt idx="51">
                  <c:v>0.6245610964796303</c:v>
                </c:pt>
                <c:pt idx="52">
                  <c:v>0.6000308403034486</c:v>
                </c:pt>
                <c:pt idx="53">
                  <c:v>0.7193829827857949</c:v>
                </c:pt>
                <c:pt idx="54">
                  <c:v>0.6551222907128023</c:v>
                </c:pt>
                <c:pt idx="55">
                  <c:v>0.7793795338612199</c:v>
                </c:pt>
                <c:pt idx="56">
                  <c:v>0.7423379498537079</c:v>
                </c:pt>
                <c:pt idx="57">
                  <c:v>0.8706048847874072</c:v>
                </c:pt>
                <c:pt idx="58">
                  <c:v>0.709068643072383</c:v>
                </c:pt>
                <c:pt idx="59">
                  <c:v>0.557146008764019</c:v>
                </c:pt>
                <c:pt idx="60">
                  <c:v>0.5983005489890316</c:v>
                </c:pt>
                <c:pt idx="61">
                  <c:v>0.5911327884646252</c:v>
                </c:pt>
                <c:pt idx="62">
                  <c:v>0.6197665864240927</c:v>
                </c:pt>
                <c:pt idx="63">
                  <c:v>0.7342441711491519</c:v>
                </c:pt>
                <c:pt idx="64">
                  <c:v>0.6384250945948425</c:v>
                </c:pt>
                <c:pt idx="65">
                  <c:v>0.6302156160265284</c:v>
                </c:pt>
                <c:pt idx="66">
                  <c:v>0.6926485531469373</c:v>
                </c:pt>
                <c:pt idx="67">
                  <c:v>0.773129866902303</c:v>
                </c:pt>
              </c:numCache>
            </c:numRef>
          </c:xVal>
          <c:yVal>
            <c:numRef>
              <c:f>Sheet1!$B$2:$B$69</c:f>
              <c:numCache>
                <c:formatCode>General</c:formatCode>
                <c:ptCount val="68"/>
                <c:pt idx="0">
                  <c:v>0.0005769508149430262</c:v>
                </c:pt>
                <c:pt idx="1">
                  <c:v>0.0003007518796992481</c:v>
                </c:pt>
                <c:pt idx="2">
                  <c:v>0.0006278449223041908</c:v>
                </c:pt>
                <c:pt idx="3">
                  <c:v>0.00025506950644050506</c:v>
                </c:pt>
                <c:pt idx="4">
                  <c:v>0.0004366812227074236</c:v>
                </c:pt>
                <c:pt idx="5">
                  <c:v>0.0001221001221001221</c:v>
                </c:pt>
                <c:pt idx="6">
                  <c:v>0.0003280481137233461</c:v>
                </c:pt>
                <c:pt idx="7">
                  <c:v>0.00042961477874838895</c:v>
                </c:pt>
                <c:pt idx="8">
                  <c:v>0.00031794480478188986</c:v>
                </c:pt>
                <c:pt idx="9">
                  <c:v>0.0006879729814247295</c:v>
                </c:pt>
                <c:pt idx="10">
                  <c:v>0.000894168742415533</c:v>
                </c:pt>
                <c:pt idx="11">
                  <c:v>0.0004671150971599402</c:v>
                </c:pt>
                <c:pt idx="12">
                  <c:v>0.0005092297899427117</c:v>
                </c:pt>
                <c:pt idx="13">
                  <c:v>0.0006144393241167435</c:v>
                </c:pt>
                <c:pt idx="14">
                  <c:v>0.0007825338445887784</c:v>
                </c:pt>
                <c:pt idx="15">
                  <c:v>0.0002576157660848844</c:v>
                </c:pt>
                <c:pt idx="16">
                  <c:v>0.00042176296921130323</c:v>
                </c:pt>
                <c:pt idx="17">
                  <c:v>0.0008497781134925881</c:v>
                </c:pt>
                <c:pt idx="18">
                  <c:v>0.00048529554498689704</c:v>
                </c:pt>
                <c:pt idx="19">
                  <c:v>0.00019878739687903787</c:v>
                </c:pt>
                <c:pt idx="20">
                  <c:v>0.0003463203463203463</c:v>
                </c:pt>
                <c:pt idx="21">
                  <c:v>0.00030641948827945457</c:v>
                </c:pt>
                <c:pt idx="22">
                  <c:v>0.0004901240013723472</c:v>
                </c:pt>
                <c:pt idx="23">
                  <c:v>0.0007439685407588479</c:v>
                </c:pt>
                <c:pt idx="24">
                  <c:v>0.001052789893217025</c:v>
                </c:pt>
                <c:pt idx="25">
                  <c:v>0.0008598452278589854</c:v>
                </c:pt>
                <c:pt idx="26">
                  <c:v>0.0011563664396762173</c:v>
                </c:pt>
                <c:pt idx="27">
                  <c:v>0.0011653581943081453</c:v>
                </c:pt>
                <c:pt idx="28">
                  <c:v>0.001007725898555593</c:v>
                </c:pt>
                <c:pt idx="29">
                  <c:v>0.0007878527431600058</c:v>
                </c:pt>
                <c:pt idx="30">
                  <c:v>0.0006917223887479825</c:v>
                </c:pt>
                <c:pt idx="31">
                  <c:v>0.0012484394506866417</c:v>
                </c:pt>
                <c:pt idx="32">
                  <c:v>0.0013683293942032592</c:v>
                </c:pt>
                <c:pt idx="33">
                  <c:v>0.0012020675561966582</c:v>
                </c:pt>
                <c:pt idx="34">
                  <c:v>0.0013217023526301878</c:v>
                </c:pt>
                <c:pt idx="35">
                  <c:v>0.0013286628819905786</c:v>
                </c:pt>
                <c:pt idx="36">
                  <c:v>0.0024944203754759093</c:v>
                </c:pt>
                <c:pt idx="37">
                  <c:v>0.0026365348399246705</c:v>
                </c:pt>
                <c:pt idx="38">
                  <c:v>0.0026052974381241857</c:v>
                </c:pt>
                <c:pt idx="39">
                  <c:v>0.003568657874321179</c:v>
                </c:pt>
                <c:pt idx="40">
                  <c:v>0.00372168284789644</c:v>
                </c:pt>
                <c:pt idx="41">
                  <c:v>0.006307442782483331</c:v>
                </c:pt>
                <c:pt idx="42">
                  <c:v>0.004245923913043478</c:v>
                </c:pt>
                <c:pt idx="43">
                  <c:v>0.003997335109926716</c:v>
                </c:pt>
                <c:pt idx="44">
                  <c:v>0.00551191952597492</c:v>
                </c:pt>
                <c:pt idx="45">
                  <c:v>0.004459507670353193</c:v>
                </c:pt>
                <c:pt idx="46">
                  <c:v>0.004400670578373848</c:v>
                </c:pt>
                <c:pt idx="47">
                  <c:v>0.00416579879191835</c:v>
                </c:pt>
                <c:pt idx="48">
                  <c:v>0.0038860103626943004</c:v>
                </c:pt>
                <c:pt idx="49">
                  <c:v>0.0034478185916987135</c:v>
                </c:pt>
                <c:pt idx="50">
                  <c:v>0.002925002925002925</c:v>
                </c:pt>
                <c:pt idx="51">
                  <c:v>0.00454063871651279</c:v>
                </c:pt>
                <c:pt idx="52">
                  <c:v>0.005974345457740292</c:v>
                </c:pt>
                <c:pt idx="53">
                  <c:v>0.005668312305723167</c:v>
                </c:pt>
                <c:pt idx="54">
                  <c:v>0.005691924581999288</c:v>
                </c:pt>
                <c:pt idx="55">
                  <c:v>0.0045933531477978925</c:v>
                </c:pt>
                <c:pt idx="56">
                  <c:v>0.004557885141294439</c:v>
                </c:pt>
                <c:pt idx="57">
                  <c:v>0.004178072323872641</c:v>
                </c:pt>
                <c:pt idx="58">
                  <c:v>0.004830421377183967</c:v>
                </c:pt>
                <c:pt idx="59">
                  <c:v>0.006507913030616773</c:v>
                </c:pt>
                <c:pt idx="60">
                  <c:v>0.007283090563647878</c:v>
                </c:pt>
                <c:pt idx="61">
                  <c:v>0.00677800672378267</c:v>
                </c:pt>
                <c:pt idx="62">
                  <c:v>0.006458046440951612</c:v>
                </c:pt>
                <c:pt idx="63">
                  <c:v>0.004885661939336364</c:v>
                </c:pt>
                <c:pt idx="64">
                  <c:v>0.006859709828203727</c:v>
                </c:pt>
                <c:pt idx="65">
                  <c:v>0.005986112219650411</c:v>
                </c:pt>
                <c:pt idx="66">
                  <c:v>0.005471380471380472</c:v>
                </c:pt>
                <c:pt idx="67">
                  <c:v>0.004140786749482402</c:v>
                </c:pt>
              </c:numCache>
            </c:numRef>
          </c:yVal>
          <c:smooth val="0"/>
          <c:extLst>
            <c:ext xmlns:c16="http://schemas.microsoft.com/office/drawing/2014/chart" uri="{C3380CC4-5D6E-409C-BE32-E72D297353CC}">
              <c16:uniqueId val="{00000000-096C-4121-9522-6AB7243CCAAE}"/>
            </c:ext>
          </c:extLst>
        </c:ser>
        <c:ser>
          <c:idx val="1"/>
          <c:order val="1"/>
          <c:tx>
            <c:strRef>
              <c:f>Sheet1!$B$7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2:$A$123</c:f>
              <c:numCache>
                <c:formatCode>General</c:formatCode>
                <c:ptCount val="52"/>
                <c:pt idx="0">
                  <c:v>0.7450050143894915</c:v>
                </c:pt>
                <c:pt idx="1">
                  <c:v>0.6413168018864548</c:v>
                </c:pt>
                <c:pt idx="2">
                  <c:v>0.7548752090849601</c:v>
                </c:pt>
                <c:pt idx="3">
                  <c:v>0.7130528581368124</c:v>
                </c:pt>
                <c:pt idx="4">
                  <c:v>0.8306424232710322</c:v>
                </c:pt>
                <c:pt idx="5">
                  <c:v>0.882630231766098</c:v>
                </c:pt>
                <c:pt idx="6">
                  <c:v>0.8287454598310966</c:v>
                </c:pt>
                <c:pt idx="7">
                  <c:v>0.7650511251954434</c:v>
                </c:pt>
                <c:pt idx="8">
                  <c:v>0.7051568074693332</c:v>
                </c:pt>
                <c:pt idx="9">
                  <c:v>0.7051477090610344</c:v>
                </c:pt>
                <c:pt idx="10">
                  <c:v>0.7558268888310354</c:v>
                </c:pt>
                <c:pt idx="11">
                  <c:v>0.732427381063516</c:v>
                </c:pt>
                <c:pt idx="12">
                  <c:v>0.6230149997098546</c:v>
                </c:pt>
                <c:pt idx="13">
                  <c:v>0.5692087036564416</c:v>
                </c:pt>
                <c:pt idx="14">
                  <c:v>0.5858689621806482</c:v>
                </c:pt>
                <c:pt idx="15">
                  <c:v>0.579128298575274</c:v>
                </c:pt>
                <c:pt idx="16">
                  <c:v>0.5938609818436548</c:v>
                </c:pt>
                <c:pt idx="17">
                  <c:v>0.46232703388497337</c:v>
                </c:pt>
                <c:pt idx="18">
                  <c:v>0.6851929190721291</c:v>
                </c:pt>
                <c:pt idx="19">
                  <c:v>0.7128101464077021</c:v>
                </c:pt>
                <c:pt idx="20">
                  <c:v>0.6680837064043067</c:v>
                </c:pt>
                <c:pt idx="21">
                  <c:v>0.5404246801774517</c:v>
                </c:pt>
                <c:pt idx="22">
                  <c:v>0.6645599322408401</c:v>
                </c:pt>
                <c:pt idx="23">
                  <c:v>0.4983390936123924</c:v>
                </c:pt>
                <c:pt idx="24">
                  <c:v>0.5890503132391619</c:v>
                </c:pt>
                <c:pt idx="25">
                  <c:v>0.5631318331172772</c:v>
                </c:pt>
                <c:pt idx="26">
                  <c:v>0.6264488953185904</c:v>
                </c:pt>
                <c:pt idx="27">
                  <c:v>0.6001216807688258</c:v>
                </c:pt>
                <c:pt idx="28">
                  <c:v>0.6227579311994312</c:v>
                </c:pt>
                <c:pt idx="29">
                  <c:v>0.5437817636825397</c:v>
                </c:pt>
                <c:pt idx="30">
                  <c:v>0.5490402878092724</c:v>
                </c:pt>
                <c:pt idx="31">
                  <c:v>0.6524217522435489</c:v>
                </c:pt>
                <c:pt idx="32">
                  <c:v>0.6791982823081769</c:v>
                </c:pt>
                <c:pt idx="33">
                  <c:v>0.592409967034356</c:v>
                </c:pt>
                <c:pt idx="34">
                  <c:v>0.5929022600202237</c:v>
                </c:pt>
                <c:pt idx="35">
                  <c:v>0.5534784348831808</c:v>
                </c:pt>
                <c:pt idx="36">
                  <c:v>0.5051710553242699</c:v>
                </c:pt>
                <c:pt idx="37">
                  <c:v>0.5790378867428403</c:v>
                </c:pt>
                <c:pt idx="38">
                  <c:v>0.512303830685615</c:v>
                </c:pt>
                <c:pt idx="39">
                  <c:v>0.49104072587259207</c:v>
                </c:pt>
                <c:pt idx="40">
                  <c:v>0.5168681902304401</c:v>
                </c:pt>
                <c:pt idx="41">
                  <c:v>0.564344487729774</c:v>
                </c:pt>
                <c:pt idx="42">
                  <c:v>0.4980017831793951</c:v>
                </c:pt>
                <c:pt idx="43">
                  <c:v>0.5267181360868414</c:v>
                </c:pt>
                <c:pt idx="44">
                  <c:v>0.6684454146136782</c:v>
                </c:pt>
                <c:pt idx="45">
                  <c:v>0.7062441063511341</c:v>
                </c:pt>
                <c:pt idx="46">
                  <c:v>0.6986644243852399</c:v>
                </c:pt>
                <c:pt idx="47">
                  <c:v>0.6833652666043553</c:v>
                </c:pt>
                <c:pt idx="48">
                  <c:v>0.8510358355365646</c:v>
                </c:pt>
                <c:pt idx="49">
                  <c:v>0.699501917089602</c:v>
                </c:pt>
                <c:pt idx="50">
                  <c:v>0.70175838018957</c:v>
                </c:pt>
                <c:pt idx="51">
                  <c:v>0.8102177247615806</c:v>
                </c:pt>
              </c:numCache>
            </c:numRef>
          </c:xVal>
          <c:yVal>
            <c:numRef>
              <c:f>Sheet1!$B$72:$B$123</c:f>
              <c:numCache>
                <c:formatCode>General</c:formatCode>
                <c:ptCount val="52"/>
                <c:pt idx="0">
                  <c:v>0.004510358535280178</c:v>
                </c:pt>
                <c:pt idx="1">
                  <c:v>0.0054792280013084725</c:v>
                </c:pt>
                <c:pt idx="2">
                  <c:v>0.004826117814052519</c:v>
                </c:pt>
                <c:pt idx="3">
                  <c:v>0.005182092989779761</c:v>
                </c:pt>
                <c:pt idx="4">
                  <c:v>0.005290599601288146</c:v>
                </c:pt>
                <c:pt idx="5">
                  <c:v>0.004552352048558422</c:v>
                </c:pt>
                <c:pt idx="6">
                  <c:v>0.0049862696921520455</c:v>
                </c:pt>
                <c:pt idx="7">
                  <c:v>0.0058180359113251074</c:v>
                </c:pt>
                <c:pt idx="8">
                  <c:v>0.00717891194615816</c:v>
                </c:pt>
                <c:pt idx="9">
                  <c:v>0.007236320380650278</c:v>
                </c:pt>
                <c:pt idx="10">
                  <c:v>0.006994347034588484</c:v>
                </c:pt>
                <c:pt idx="11">
                  <c:v>0.006884561891515995</c:v>
                </c:pt>
                <c:pt idx="12">
                  <c:v>0.007134363852556481</c:v>
                </c:pt>
                <c:pt idx="13">
                  <c:v>0.010407049937054134</c:v>
                </c:pt>
                <c:pt idx="14">
                  <c:v>0.010429276468944967</c:v>
                </c:pt>
                <c:pt idx="15">
                  <c:v>0.00994075710412692</c:v>
                </c:pt>
                <c:pt idx="16">
                  <c:v>0.009873060648801129</c:v>
                </c:pt>
                <c:pt idx="17">
                  <c:v>0.012442059038789949</c:v>
                </c:pt>
                <c:pt idx="18">
                  <c:v>0.006704562017198659</c:v>
                </c:pt>
                <c:pt idx="19">
                  <c:v>0.005950770895320531</c:v>
                </c:pt>
                <c:pt idx="20">
                  <c:v>0.007330006238303182</c:v>
                </c:pt>
                <c:pt idx="21">
                  <c:v>0.010286141761735553</c:v>
                </c:pt>
                <c:pt idx="22">
                  <c:v>0.00847145488029466</c:v>
                </c:pt>
                <c:pt idx="23">
                  <c:v>0.008226691042047532</c:v>
                </c:pt>
                <c:pt idx="24">
                  <c:v>0.0075419952005485085</c:v>
                </c:pt>
                <c:pt idx="25">
                  <c:v>0.007911392405063292</c:v>
                </c:pt>
                <c:pt idx="26">
                  <c:v>0.008629441624365483</c:v>
                </c:pt>
                <c:pt idx="27">
                  <c:v>0.008746355685131196</c:v>
                </c:pt>
                <c:pt idx="28">
                  <c:v>0.007511194568828542</c:v>
                </c:pt>
                <c:pt idx="29">
                  <c:v>0.008570928808815813</c:v>
                </c:pt>
                <c:pt idx="30">
                  <c:v>0.008193801211257571</c:v>
                </c:pt>
                <c:pt idx="31">
                  <c:v>0.00854191497814859</c:v>
                </c:pt>
                <c:pt idx="32">
                  <c:v>0.007553956834532374</c:v>
                </c:pt>
                <c:pt idx="33">
                  <c:v>0.006897522522522522</c:v>
                </c:pt>
                <c:pt idx="34">
                  <c:v>0.006098202081800021</c:v>
                </c:pt>
                <c:pt idx="35">
                  <c:v>0.007370393504059962</c:v>
                </c:pt>
                <c:pt idx="36">
                  <c:v>0.009972416719711436</c:v>
                </c:pt>
                <c:pt idx="37">
                  <c:v>0.009865300701954089</c:v>
                </c:pt>
                <c:pt idx="38">
                  <c:v>0.011813607525705535</c:v>
                </c:pt>
                <c:pt idx="39">
                  <c:v>0.010794743429286609</c:v>
                </c:pt>
                <c:pt idx="40">
                  <c:v>0.010329941412272586</c:v>
                </c:pt>
                <c:pt idx="41">
                  <c:v>0.00836096295228485</c:v>
                </c:pt>
                <c:pt idx="42">
                  <c:v>0.009661044702800065</c:v>
                </c:pt>
                <c:pt idx="43">
                  <c:v>0.007217125382262997</c:v>
                </c:pt>
                <c:pt idx="44">
                  <c:v>0.005251164173189339</c:v>
                </c:pt>
                <c:pt idx="45">
                  <c:v>0.0041766954551890135</c:v>
                </c:pt>
                <c:pt idx="46">
                  <c:v>0.004268139593271403</c:v>
                </c:pt>
                <c:pt idx="47">
                  <c:v>0.004140786749482402</c:v>
                </c:pt>
                <c:pt idx="48">
                  <c:v>0.004567368688150216</c:v>
                </c:pt>
                <c:pt idx="49">
                  <c:v>0.0039922436409262005</c:v>
                </c:pt>
                <c:pt idx="50">
                  <c:v>0.003317553211316957</c:v>
                </c:pt>
                <c:pt idx="51">
                  <c:v>0.004087102177554439</c:v>
                </c:pt>
              </c:numCache>
            </c:numRef>
          </c:yVal>
          <c:smooth val="0"/>
          <c:extLst>
            <c:ext xmlns:c16="http://schemas.microsoft.com/office/drawing/2014/chart" uri="{C3380CC4-5D6E-409C-BE32-E72D297353CC}">
              <c16:uniqueId val="{00000002-096C-4121-9522-6AB7243CCAAE}"/>
            </c:ext>
          </c:extLst>
        </c:ser>
        <c:ser>
          <c:idx val="2"/>
          <c:order val="2"/>
          <c:tx>
            <c:strRef>
              <c:f>Sheet1!$B$12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6:$A$127</c:f>
              <c:numCache>
                <c:formatCode>General</c:formatCode>
                <c:ptCount val="2"/>
                <c:pt idx="0">
                  <c:v>0</c:v>
                </c:pt>
                <c:pt idx="1">
                  <c:v>0.5711434709645299</c:v>
                </c:pt>
              </c:numCache>
            </c:numRef>
          </c:xVal>
          <c:yVal>
            <c:numRef>
              <c:f>Sheet1!$B$126:$B$127</c:f>
              <c:numCache>
                <c:formatCode>General</c:formatCode>
                <c:ptCount val="2"/>
                <c:pt idx="0">
                  <c:v>0.008585636713045098</c:v>
                </c:pt>
                <c:pt idx="1">
                  <c:v>0.008585636713045098</c:v>
                </c:pt>
              </c:numCache>
            </c:numRef>
          </c:yVal>
          <c:smooth val="0"/>
          <c:extLst>
            <c:ext xmlns:c16="http://schemas.microsoft.com/office/drawing/2014/chart" uri="{C3380CC4-5D6E-409C-BE32-E72D297353CC}">
              <c16:uniqueId val="{00000005-096C-4121-9522-6AB7243CCAAE}"/>
            </c:ext>
          </c:extLst>
        </c:ser>
        <c:ser>
          <c:idx val="3"/>
          <c:order val="3"/>
          <c:tx>
            <c:strRef>
              <c:f>Sheet1!$B$12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0:$A$131</c:f>
              <c:numCache>
                <c:formatCode>General</c:formatCode>
                <c:ptCount val="2"/>
                <c:pt idx="0">
                  <c:v>0.5711434709645299</c:v>
                </c:pt>
                <c:pt idx="1">
                  <c:v>0.5711434709645299</c:v>
                </c:pt>
              </c:numCache>
            </c:numRef>
          </c:xVal>
          <c:yVal>
            <c:numRef>
              <c:f>Sheet1!$B$130:$B$131</c:f>
              <c:numCache>
                <c:formatCode>General</c:formatCode>
                <c:ptCount val="2"/>
                <c:pt idx="0">
                  <c:v>0.0085856367130450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4:$A$135</c:f>
              <c:numCache>
                <c:formatCode>General</c:formatCode>
                <c:ptCount val="2"/>
                <c:pt idx="0">
                  <c:v>0</c:v>
                </c:pt>
                <c:pt idx="1">
                  <c:v>0.5711434709645299</c:v>
                </c:pt>
              </c:numCache>
            </c:numRef>
          </c:xVal>
          <c:yVal>
            <c:numRef>
              <c:f>Sheet1!$B$134:$B$135</c:f>
              <c:numCache>
                <c:formatCode>General</c:formatCode>
                <c:ptCount val="2"/>
                <c:pt idx="0">
                  <c:v>0.008585636713045098</c:v>
                </c:pt>
                <c:pt idx="1">
                  <c:v>0.008585636713045098</c:v>
                </c:pt>
              </c:numCache>
            </c:numRef>
          </c:yVal>
          <c:smooth val="0"/>
          <c:extLst>
            <c:ext xmlns:c16="http://schemas.microsoft.com/office/drawing/2014/chart" uri="{C3380CC4-5D6E-409C-BE32-E72D297353CC}">
              <c16:uniqueId val="{0000000D-096C-4121-9522-6AB7243CCAAE}"/>
            </c:ext>
          </c:extLst>
        </c:ser>
        <c:ser>
          <c:idx val="5"/>
          <c:order val="5"/>
          <c:tx>
            <c:strRef>
              <c:f>Sheet1!$B$13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8:$A$139</c:f>
              <c:numCache>
                <c:formatCode>General</c:formatCode>
                <c:ptCount val="2"/>
                <c:pt idx="0">
                  <c:v>0.5711434709645299</c:v>
                </c:pt>
                <c:pt idx="1">
                  <c:v>0.5711434709645299</c:v>
                </c:pt>
              </c:numCache>
            </c:numRef>
          </c:xVal>
          <c:yVal>
            <c:numRef>
              <c:f>Sheet1!$B$138:$B$139</c:f>
              <c:numCache>
                <c:formatCode>General</c:formatCode>
                <c:ptCount val="2"/>
                <c:pt idx="0">
                  <c:v>0.00858563671304509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4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42:$A$143</c:f>
              <c:numCache>
                <c:formatCode>General</c:formatCode>
                <c:ptCount val="2"/>
                <c:pt idx="0">
                  <c:v>0</c:v>
                </c:pt>
                <c:pt idx="1">
                  <c:v>0.7097567642983396</c:v>
                </c:pt>
              </c:numCache>
            </c:numRef>
          </c:xVal>
          <c:yVal>
            <c:numRef>
              <c:f>Sheet1!$B$142:$B$143</c:f>
              <c:numCache>
                <c:formatCode>General</c:formatCode>
                <c:ptCount val="2"/>
                <c:pt idx="0">
                  <c:v>0.006166528582152852</c:v>
                </c:pt>
                <c:pt idx="1">
                  <c:v>0.006166528582152852</c:v>
                </c:pt>
              </c:numCache>
            </c:numRef>
          </c:yVal>
          <c:smooth val="0"/>
          <c:extLst>
            <c:ext xmlns:c16="http://schemas.microsoft.com/office/drawing/2014/chart" uri="{C3380CC4-5D6E-409C-BE32-E72D297353CC}">
              <c16:uniqueId val="{00000015-096C-4121-9522-6AB7243CCAAE}"/>
            </c:ext>
          </c:extLst>
        </c:ser>
        <c:ser>
          <c:idx val="7"/>
          <c:order val="7"/>
          <c:tx>
            <c:strRef>
              <c:f>Sheet1!$B$14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6:$A$147</c:f>
              <c:numCache>
                <c:formatCode>General</c:formatCode>
                <c:ptCount val="2"/>
                <c:pt idx="0">
                  <c:v>0.7097567642983396</c:v>
                </c:pt>
                <c:pt idx="1">
                  <c:v>0.7097567642983396</c:v>
                </c:pt>
              </c:numCache>
            </c:numRef>
          </c:xVal>
          <c:yVal>
            <c:numRef>
              <c:f>Sheet1!$B$146:$B$147</c:f>
              <c:numCache>
                <c:formatCode>General</c:formatCode>
                <c:ptCount val="2"/>
                <c:pt idx="0">
                  <c:v>0.00616652858215285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50:$A$204</c:f>
              <c:numCache>
                <c:formatCode>General</c:formatCode>
                <c:ptCount val="55"/>
                <c:pt idx="0">
                  <c:v>0.7450050143894915</c:v>
                </c:pt>
                <c:pt idx="1">
                  <c:v>0.6413168018864548</c:v>
                </c:pt>
                <c:pt idx="2">
                  <c:v>0.7548752090849601</c:v>
                </c:pt>
                <c:pt idx="3">
                  <c:v>0.7130528581368124</c:v>
                </c:pt>
                <c:pt idx="4">
                  <c:v>0.8306424232710322</c:v>
                </c:pt>
                <c:pt idx="5">
                  <c:v>0.882630231766098</c:v>
                </c:pt>
                <c:pt idx="6">
                  <c:v>0.8287454598310966</c:v>
                </c:pt>
                <c:pt idx="7">
                  <c:v>0.7650511251954434</c:v>
                </c:pt>
                <c:pt idx="8">
                  <c:v>0.7051568074693332</c:v>
                </c:pt>
                <c:pt idx="9">
                  <c:v>0.7051477090610344</c:v>
                </c:pt>
                <c:pt idx="10">
                  <c:v>0.7558268888310354</c:v>
                </c:pt>
                <c:pt idx="11">
                  <c:v>0.732427381063516</c:v>
                </c:pt>
                <c:pt idx="12">
                  <c:v>0.6230149997098546</c:v>
                </c:pt>
                <c:pt idx="13">
                  <c:v>0.5692087036564416</c:v>
                </c:pt>
                <c:pt idx="14">
                  <c:v>0.5858689621806482</c:v>
                </c:pt>
                <c:pt idx="15">
                  <c:v>0.579128298575274</c:v>
                </c:pt>
                <c:pt idx="16">
                  <c:v>0.5938609818436548</c:v>
                </c:pt>
                <c:pt idx="17">
                  <c:v>0.46232703388497337</c:v>
                </c:pt>
                <c:pt idx="18">
                  <c:v>0.6851929190721291</c:v>
                </c:pt>
                <c:pt idx="19">
                  <c:v>0.7128101464077021</c:v>
                </c:pt>
                <c:pt idx="20">
                  <c:v>0.6680837064043067</c:v>
                </c:pt>
                <c:pt idx="21">
                  <c:v>0.5404246801774517</c:v>
                </c:pt>
                <c:pt idx="22">
                  <c:v>0.6645599322408401</c:v>
                </c:pt>
                <c:pt idx="23">
                  <c:v>0.4983390936123924</c:v>
                </c:pt>
                <c:pt idx="24">
                  <c:v>0.5890503132391619</c:v>
                </c:pt>
                <c:pt idx="25">
                  <c:v>0.5631318331172772</c:v>
                </c:pt>
                <c:pt idx="26">
                  <c:v>0.6264488953185904</c:v>
                </c:pt>
                <c:pt idx="27">
                  <c:v>0.6001216807688258</c:v>
                </c:pt>
                <c:pt idx="28">
                  <c:v>0.6227579311994312</c:v>
                </c:pt>
                <c:pt idx="29">
                  <c:v>0.5437817636825397</c:v>
                </c:pt>
                <c:pt idx="30">
                  <c:v>0.5490402878092724</c:v>
                </c:pt>
                <c:pt idx="31">
                  <c:v>0.6524217522435489</c:v>
                </c:pt>
                <c:pt idx="32">
                  <c:v>0.6791982823081769</c:v>
                </c:pt>
                <c:pt idx="33">
                  <c:v>0.592409967034356</c:v>
                </c:pt>
                <c:pt idx="34">
                  <c:v>0.5929022600202237</c:v>
                </c:pt>
                <c:pt idx="35">
                  <c:v>0.5534784348831808</c:v>
                </c:pt>
                <c:pt idx="36">
                  <c:v>0.5051710553242699</c:v>
                </c:pt>
                <c:pt idx="37">
                  <c:v>0.5790378867428403</c:v>
                </c:pt>
                <c:pt idx="38">
                  <c:v>0.512303830685615</c:v>
                </c:pt>
                <c:pt idx="39">
                  <c:v>0.49104072587259207</c:v>
                </c:pt>
                <c:pt idx="40">
                  <c:v>0.5168681902304401</c:v>
                </c:pt>
                <c:pt idx="41">
                  <c:v>0.564344487729774</c:v>
                </c:pt>
                <c:pt idx="42">
                  <c:v>0.4980017831793951</c:v>
                </c:pt>
                <c:pt idx="43">
                  <c:v>0.5267181360868414</c:v>
                </c:pt>
                <c:pt idx="44">
                  <c:v>0.6684454146136782</c:v>
                </c:pt>
                <c:pt idx="45">
                  <c:v>0.7062441063511341</c:v>
                </c:pt>
                <c:pt idx="46">
                  <c:v>0.6986644243852399</c:v>
                </c:pt>
                <c:pt idx="47">
                  <c:v>0.6833652666043553</c:v>
                </c:pt>
                <c:pt idx="48">
                  <c:v>0.8510358355365646</c:v>
                </c:pt>
                <c:pt idx="49">
                  <c:v>0.699501917089602</c:v>
                </c:pt>
                <c:pt idx="50">
                  <c:v>0.70175838018957</c:v>
                </c:pt>
                <c:pt idx="51">
                  <c:v>0.8102177247615806</c:v>
                </c:pt>
                <c:pt idx="52">
                  <c:v>0.5711434709645299</c:v>
                </c:pt>
                <c:pt idx="53">
                  <c:v>0.5711434709645299</c:v>
                </c:pt>
                <c:pt idx="54">
                  <c:v>0.7097567642983396</c:v>
                </c:pt>
              </c:numCache>
            </c:numRef>
          </c:xVal>
          <c:yVal>
            <c:numRef>
              <c:f>Sheet1!$B$150:$B$204</c:f>
              <c:numCache>
                <c:formatCode>General</c:formatCode>
                <c:ptCount val="55"/>
                <c:pt idx="0">
                  <c:v>0.005551368763463004</c:v>
                </c:pt>
                <c:pt idx="1">
                  <c:v>0.007360957093059365</c:v>
                </c:pt>
                <c:pt idx="2">
                  <c:v>0.0053791120652270236</c:v>
                </c:pt>
                <c:pt idx="3">
                  <c:v>0.006109004464421723</c:v>
                </c:pt>
                <c:pt idx="4">
                  <c:v>0.0040568068267880005</c:v>
                </c:pt>
                <c:pt idx="5">
                  <c:v>0.003149504740437478</c:v>
                </c:pt>
                <c:pt idx="6">
                  <c:v>0.004089913028734321</c:v>
                </c:pt>
                <c:pt idx="7">
                  <c:v>0.005201519853036627</c:v>
                </c:pt>
                <c:pt idx="8">
                  <c:v>0.006246807988977164</c:v>
                </c:pt>
                <c:pt idx="9">
                  <c:v>0.006246966776298093</c:v>
                </c:pt>
                <c:pt idx="10">
                  <c:v>0.0053625031516346434</c:v>
                </c:pt>
                <c:pt idx="11">
                  <c:v>0.0057708762458584684</c:v>
                </c:pt>
                <c:pt idx="12">
                  <c:v>0.007680363965160541</c:v>
                </c:pt>
                <c:pt idx="13">
                  <c:v>0.008619402675990004</c:v>
                </c:pt>
                <c:pt idx="14">
                  <c:v>0.008328644366383888</c:v>
                </c:pt>
                <c:pt idx="15">
                  <c:v>0.008446283834743542</c:v>
                </c:pt>
                <c:pt idx="16">
                  <c:v>0.008189165970884904</c:v>
                </c:pt>
                <c:pt idx="17">
                  <c:v>0.010484723888471669</c:v>
                </c:pt>
                <c:pt idx="18">
                  <c:v>0.006595221936762083</c:v>
                </c:pt>
                <c:pt idx="19">
                  <c:v>0.006113240320184414</c:v>
                </c:pt>
                <c:pt idx="20">
                  <c:v>0.0068938154878021</c:v>
                </c:pt>
                <c:pt idx="21">
                  <c:v>0.009121747462432168</c:v>
                </c:pt>
                <c:pt idx="22">
                  <c:v>0.0069553131300934615</c:v>
                </c:pt>
                <c:pt idx="23">
                  <c:v>0.009856233904563845</c:v>
                </c:pt>
                <c:pt idx="24">
                  <c:v>0.008273122763601249</c:v>
                </c:pt>
                <c:pt idx="25">
                  <c:v>0.008725457489190855</c:v>
                </c:pt>
                <c:pt idx="26">
                  <c:v>0.007620434902168559</c:v>
                </c:pt>
                <c:pt idx="27">
                  <c:v>0.008079902946317148</c:v>
                </c:pt>
                <c:pt idx="28">
                  <c:v>0.007684850378467696</c:v>
                </c:pt>
                <c:pt idx="29">
                  <c:v>0.009063158940307632</c:v>
                </c:pt>
                <c:pt idx="30">
                  <c:v>0.008971386079526975</c:v>
                </c:pt>
                <c:pt idx="31">
                  <c:v>0.00716715118126051</c:v>
                </c:pt>
                <c:pt idx="32">
                  <c:v>0.00669984158895157</c:v>
                </c:pt>
                <c:pt idx="33">
                  <c:v>0.008214489384237232</c:v>
                </c:pt>
                <c:pt idx="34">
                  <c:v>0.008205897784281333</c:v>
                </c:pt>
                <c:pt idx="35">
                  <c:v>0.008893930610326542</c:v>
                </c:pt>
                <c:pt idx="36">
                  <c:v>0.009737001082590947</c:v>
                </c:pt>
                <c:pt idx="37">
                  <c:v>0.008447861720916714</c:v>
                </c:pt>
                <c:pt idx="38">
                  <c:v>0.00961251839801246</c:v>
                </c:pt>
                <c:pt idx="39">
                  <c:v>0.009983606541898667</c:v>
                </c:pt>
                <c:pt idx="40">
                  <c:v>0.00953286024242264</c:v>
                </c:pt>
                <c:pt idx="41">
                  <c:v>0.008704293987750987</c:v>
                </c:pt>
                <c:pt idx="42">
                  <c:v>0.009862120716654325</c:v>
                </c:pt>
                <c:pt idx="43">
                  <c:v>0.009360956931153021</c:v>
                </c:pt>
                <c:pt idx="44">
                  <c:v>0.006887502880625285</c:v>
                </c:pt>
                <c:pt idx="45">
                  <c:v>0.006227832221917504</c:v>
                </c:pt>
                <c:pt idx="46">
                  <c:v>0.006360114413850676</c:v>
                </c:pt>
                <c:pt idx="47">
                  <c:v>0.0066271185091535175</c:v>
                </c:pt>
                <c:pt idx="48">
                  <c:v>0.0037008967387895803</c:v>
                </c:pt>
                <c:pt idx="49">
                  <c:v>0.0063454983163469085</c:v>
                </c:pt>
                <c:pt idx="50">
                  <c:v>0.0063061180512878744</c:v>
                </c:pt>
                <c:pt idx="51">
                  <c:v>0.004413262928846327</c:v>
                </c:pt>
                <c:pt idx="52">
                  <c:v>0.008585636713045096</c:v>
                </c:pt>
                <c:pt idx="53">
                  <c:v>0.008585636713045096</c:v>
                </c:pt>
                <c:pt idx="54">
                  <c:v>0.00616652858215285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oreal Pari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4930470846547937"/>
          <c:min val="9.768009768009768e-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9</c:f>
              <c:numCache>
                <c:formatCode>General</c:formatCode>
                <c:ptCount val="68"/>
                <c:pt idx="0">
                  <c:v>4574.0</c:v>
                </c:pt>
                <c:pt idx="1">
                  <c:v>7663.0</c:v>
                </c:pt>
                <c:pt idx="2">
                  <c:v>5600.75</c:v>
                </c:pt>
                <c:pt idx="3">
                  <c:v>8541.5</c:v>
                </c:pt>
                <c:pt idx="4">
                  <c:v>5335.6667</c:v>
                </c:pt>
                <c:pt idx="5">
                  <c:v>10645.0</c:v>
                </c:pt>
                <c:pt idx="6">
                  <c:v>7240.0</c:v>
                </c:pt>
                <c:pt idx="7">
                  <c:v>4505.0</c:v>
                </c:pt>
                <c:pt idx="8">
                  <c:v>4392.2</c:v>
                </c:pt>
                <c:pt idx="9">
                  <c:v>4084.1818</c:v>
                </c:pt>
                <c:pt idx="10">
                  <c:v>3419.4286</c:v>
                </c:pt>
                <c:pt idx="11">
                  <c:v>4401.9</c:v>
                </c:pt>
                <c:pt idx="12">
                  <c:v>3402.25</c:v>
                </c:pt>
                <c:pt idx="13">
                  <c:v>4337.6</c:v>
                </c:pt>
                <c:pt idx="14">
                  <c:v>4108.2</c:v>
                </c:pt>
                <c:pt idx="15">
                  <c:v>4801.75</c:v>
                </c:pt>
                <c:pt idx="16">
                  <c:v>3999.4</c:v>
                </c:pt>
                <c:pt idx="17">
                  <c:v>4201.4444</c:v>
                </c:pt>
                <c:pt idx="18">
                  <c:v>4984.2</c:v>
                </c:pt>
                <c:pt idx="19">
                  <c:v>10395.0</c:v>
                </c:pt>
                <c:pt idx="20">
                  <c:v>4042.75</c:v>
                </c:pt>
                <c:pt idx="21">
                  <c:v>4289.0</c:v>
                </c:pt>
                <c:pt idx="22">
                  <c:v>3433.0</c:v>
                </c:pt>
                <c:pt idx="23">
                  <c:v>3007.3571</c:v>
                </c:pt>
                <c:pt idx="24">
                  <c:v>2989.9286</c:v>
                </c:pt>
                <c:pt idx="25">
                  <c:v>3040.0833</c:v>
                </c:pt>
                <c:pt idx="26">
                  <c:v>2470.9444</c:v>
                </c:pt>
                <c:pt idx="27">
                  <c:v>2609.3158</c:v>
                </c:pt>
                <c:pt idx="28">
                  <c:v>2489.9333</c:v>
                </c:pt>
                <c:pt idx="29">
                  <c:v>2358.7273</c:v>
                </c:pt>
                <c:pt idx="30">
                  <c:v>3155.3333</c:v>
                </c:pt>
                <c:pt idx="31">
                  <c:v>2346.9231</c:v>
                </c:pt>
                <c:pt idx="32">
                  <c:v>2135.0</c:v>
                </c:pt>
                <c:pt idx="33">
                  <c:v>2302.5</c:v>
                </c:pt>
                <c:pt idx="34">
                  <c:v>1857.8</c:v>
                </c:pt>
                <c:pt idx="35">
                  <c:v>2952.3636</c:v>
                </c:pt>
                <c:pt idx="36">
                  <c:v>2025.9474</c:v>
                </c:pt>
                <c:pt idx="37">
                  <c:v>2531.4762</c:v>
                </c:pt>
                <c:pt idx="38">
                  <c:v>3962.4444</c:v>
                </c:pt>
                <c:pt idx="39">
                  <c:v>3882.0</c:v>
                </c:pt>
                <c:pt idx="40">
                  <c:v>4467.6957</c:v>
                </c:pt>
                <c:pt idx="41">
                  <c:v>3018.5429</c:v>
                </c:pt>
                <c:pt idx="42">
                  <c:v>4773.4</c:v>
                </c:pt>
                <c:pt idx="43">
                  <c:v>4299.5</c:v>
                </c:pt>
                <c:pt idx="44">
                  <c:v>3470.475</c:v>
                </c:pt>
                <c:pt idx="45">
                  <c:v>4188.0</c:v>
                </c:pt>
                <c:pt idx="46">
                  <c:v>4291.4286</c:v>
                </c:pt>
                <c:pt idx="47">
                  <c:v>4199.35</c:v>
                </c:pt>
                <c:pt idx="48">
                  <c:v>3644.0476</c:v>
                </c:pt>
                <c:pt idx="49">
                  <c:v>4846.4231</c:v>
                </c:pt>
                <c:pt idx="50">
                  <c:v>4906.68</c:v>
                </c:pt>
                <c:pt idx="51">
                  <c:v>4199.0333</c:v>
                </c:pt>
                <c:pt idx="52">
                  <c:v>3929.7353</c:v>
                </c:pt>
                <c:pt idx="53">
                  <c:v>4177.2903</c:v>
                </c:pt>
                <c:pt idx="54">
                  <c:v>3942.625</c:v>
                </c:pt>
                <c:pt idx="55">
                  <c:v>4270.3235</c:v>
                </c:pt>
                <c:pt idx="56">
                  <c:v>4332.2286</c:v>
                </c:pt>
                <c:pt idx="57">
                  <c:v>5011.5517</c:v>
                </c:pt>
                <c:pt idx="58">
                  <c:v>4381.1064</c:v>
                </c:pt>
                <c:pt idx="59">
                  <c:v>3358.3295</c:v>
                </c:pt>
                <c:pt idx="60">
                  <c:v>3539.0348</c:v>
                </c:pt>
                <c:pt idx="61">
                  <c:v>3390.072</c:v>
                </c:pt>
                <c:pt idx="62">
                  <c:v>3491.0956</c:v>
                </c:pt>
                <c:pt idx="63">
                  <c:v>3928.0486</c:v>
                </c:pt>
                <c:pt idx="64">
                  <c:v>3765.3274</c:v>
                </c:pt>
                <c:pt idx="65">
                  <c:v>3902.8667</c:v>
                </c:pt>
                <c:pt idx="66">
                  <c:v>3989.4744</c:v>
                </c:pt>
                <c:pt idx="67">
                  <c:v>4479.7</c:v>
                </c:pt>
              </c:numCache>
            </c:numRef>
          </c:xVal>
          <c:yVal>
            <c:numRef>
              <c:f>Sheet1!$B$2:$B$69</c:f>
              <c:numCache>
                <c:formatCode>General</c:formatCode>
                <c:ptCount val="68"/>
                <c:pt idx="0">
                  <c:v>0.0005769508149430262</c:v>
                </c:pt>
                <c:pt idx="1">
                  <c:v>0.0003007518796992481</c:v>
                </c:pt>
                <c:pt idx="2">
                  <c:v>0.0006278449223041908</c:v>
                </c:pt>
                <c:pt idx="3">
                  <c:v>0.00025506950644050506</c:v>
                </c:pt>
                <c:pt idx="4">
                  <c:v>0.0004366812227074236</c:v>
                </c:pt>
                <c:pt idx="5">
                  <c:v>0.0001221001221001221</c:v>
                </c:pt>
                <c:pt idx="6">
                  <c:v>0.0003280481137233461</c:v>
                </c:pt>
                <c:pt idx="7">
                  <c:v>0.00042961477874838895</c:v>
                </c:pt>
                <c:pt idx="8">
                  <c:v>0.00031794480478188986</c:v>
                </c:pt>
                <c:pt idx="9">
                  <c:v>0.0006879729814247295</c:v>
                </c:pt>
                <c:pt idx="10">
                  <c:v>0.000894168742415533</c:v>
                </c:pt>
                <c:pt idx="11">
                  <c:v>0.0004671150971599402</c:v>
                </c:pt>
                <c:pt idx="12">
                  <c:v>0.0005092297899427117</c:v>
                </c:pt>
                <c:pt idx="13">
                  <c:v>0.0006144393241167435</c:v>
                </c:pt>
                <c:pt idx="14">
                  <c:v>0.0007825338445887784</c:v>
                </c:pt>
                <c:pt idx="15">
                  <c:v>0.0002576157660848844</c:v>
                </c:pt>
                <c:pt idx="16">
                  <c:v>0.00042176296921130323</c:v>
                </c:pt>
                <c:pt idx="17">
                  <c:v>0.0008497781134925881</c:v>
                </c:pt>
                <c:pt idx="18">
                  <c:v>0.00048529554498689704</c:v>
                </c:pt>
                <c:pt idx="19">
                  <c:v>0.00019878739687903787</c:v>
                </c:pt>
                <c:pt idx="20">
                  <c:v>0.0003463203463203463</c:v>
                </c:pt>
                <c:pt idx="21">
                  <c:v>0.00030641948827945457</c:v>
                </c:pt>
                <c:pt idx="22">
                  <c:v>0.0004901240013723472</c:v>
                </c:pt>
                <c:pt idx="23">
                  <c:v>0.0007439685407588479</c:v>
                </c:pt>
                <c:pt idx="24">
                  <c:v>0.001052789893217025</c:v>
                </c:pt>
                <c:pt idx="25">
                  <c:v>0.0008598452278589854</c:v>
                </c:pt>
                <c:pt idx="26">
                  <c:v>0.0011563664396762173</c:v>
                </c:pt>
                <c:pt idx="27">
                  <c:v>0.0011653581943081453</c:v>
                </c:pt>
                <c:pt idx="28">
                  <c:v>0.001007725898555593</c:v>
                </c:pt>
                <c:pt idx="29">
                  <c:v>0.0007878527431600058</c:v>
                </c:pt>
                <c:pt idx="30">
                  <c:v>0.0006917223887479825</c:v>
                </c:pt>
                <c:pt idx="31">
                  <c:v>0.0012484394506866417</c:v>
                </c:pt>
                <c:pt idx="32">
                  <c:v>0.0013683293942032592</c:v>
                </c:pt>
                <c:pt idx="33">
                  <c:v>0.0012020675561966582</c:v>
                </c:pt>
                <c:pt idx="34">
                  <c:v>0.0013217023526301878</c:v>
                </c:pt>
                <c:pt idx="35">
                  <c:v>0.0013286628819905786</c:v>
                </c:pt>
                <c:pt idx="36">
                  <c:v>0.0024944203754759093</c:v>
                </c:pt>
                <c:pt idx="37">
                  <c:v>0.0026365348399246705</c:v>
                </c:pt>
                <c:pt idx="38">
                  <c:v>0.0026052974381241857</c:v>
                </c:pt>
                <c:pt idx="39">
                  <c:v>0.003568657874321179</c:v>
                </c:pt>
                <c:pt idx="40">
                  <c:v>0.00372168284789644</c:v>
                </c:pt>
                <c:pt idx="41">
                  <c:v>0.006307442782483331</c:v>
                </c:pt>
                <c:pt idx="42">
                  <c:v>0.004245923913043478</c:v>
                </c:pt>
                <c:pt idx="43">
                  <c:v>0.003997335109926716</c:v>
                </c:pt>
                <c:pt idx="44">
                  <c:v>0.00551191952597492</c:v>
                </c:pt>
                <c:pt idx="45">
                  <c:v>0.004459507670353193</c:v>
                </c:pt>
                <c:pt idx="46">
                  <c:v>0.004400670578373848</c:v>
                </c:pt>
                <c:pt idx="47">
                  <c:v>0.00416579879191835</c:v>
                </c:pt>
                <c:pt idx="48">
                  <c:v>0.0038860103626943004</c:v>
                </c:pt>
                <c:pt idx="49">
                  <c:v>0.0034478185916987135</c:v>
                </c:pt>
                <c:pt idx="50">
                  <c:v>0.002925002925002925</c:v>
                </c:pt>
                <c:pt idx="51">
                  <c:v>0.00454063871651279</c:v>
                </c:pt>
                <c:pt idx="52">
                  <c:v>0.005974345457740292</c:v>
                </c:pt>
                <c:pt idx="53">
                  <c:v>0.005668312305723167</c:v>
                </c:pt>
                <c:pt idx="54">
                  <c:v>0.005691924581999288</c:v>
                </c:pt>
                <c:pt idx="55">
                  <c:v>0.0045933531477978925</c:v>
                </c:pt>
                <c:pt idx="56">
                  <c:v>0.004557885141294439</c:v>
                </c:pt>
                <c:pt idx="57">
                  <c:v>0.004178072323872641</c:v>
                </c:pt>
                <c:pt idx="58">
                  <c:v>0.004830421377183967</c:v>
                </c:pt>
                <c:pt idx="59">
                  <c:v>0.006507913030616773</c:v>
                </c:pt>
                <c:pt idx="60">
                  <c:v>0.007283090563647878</c:v>
                </c:pt>
                <c:pt idx="61">
                  <c:v>0.00677800672378267</c:v>
                </c:pt>
                <c:pt idx="62">
                  <c:v>0.006458046440951612</c:v>
                </c:pt>
                <c:pt idx="63">
                  <c:v>0.004885661939336364</c:v>
                </c:pt>
                <c:pt idx="64">
                  <c:v>0.006859709828203727</c:v>
                </c:pt>
                <c:pt idx="65">
                  <c:v>0.005986112219650411</c:v>
                </c:pt>
                <c:pt idx="66">
                  <c:v>0.005471380471380472</c:v>
                </c:pt>
                <c:pt idx="67">
                  <c:v>0.004140786749482402</c:v>
                </c:pt>
              </c:numCache>
            </c:numRef>
          </c:yVal>
          <c:smooth val="0"/>
          <c:extLst>
            <c:ext xmlns:c16="http://schemas.microsoft.com/office/drawing/2014/chart" uri="{C3380CC4-5D6E-409C-BE32-E72D297353CC}">
              <c16:uniqueId val="{00000000-F32D-48B7-BC20-E66FC6253BAD}"/>
            </c:ext>
          </c:extLst>
        </c:ser>
        <c:ser>
          <c:idx val="1"/>
          <c:order val="1"/>
          <c:tx>
            <c:strRef>
              <c:f>Sheet1!$B$7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2:$A$123</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72:$B$123</c:f>
              <c:numCache>
                <c:formatCode>General</c:formatCode>
                <c:ptCount val="52"/>
                <c:pt idx="0">
                  <c:v>0.004510358535280178</c:v>
                </c:pt>
                <c:pt idx="1">
                  <c:v>0.0054792280013084725</c:v>
                </c:pt>
                <c:pt idx="2">
                  <c:v>0.004826117814052519</c:v>
                </c:pt>
                <c:pt idx="3">
                  <c:v>0.005182092989779761</c:v>
                </c:pt>
                <c:pt idx="4">
                  <c:v>0.005290599601288146</c:v>
                </c:pt>
                <c:pt idx="5">
                  <c:v>0.004552352048558422</c:v>
                </c:pt>
                <c:pt idx="6">
                  <c:v>0.0049862696921520455</c:v>
                </c:pt>
                <c:pt idx="7">
                  <c:v>0.0058180359113251074</c:v>
                </c:pt>
                <c:pt idx="8">
                  <c:v>0.00717891194615816</c:v>
                </c:pt>
                <c:pt idx="9">
                  <c:v>0.007236320380650278</c:v>
                </c:pt>
                <c:pt idx="10">
                  <c:v>0.006994347034588484</c:v>
                </c:pt>
                <c:pt idx="11">
                  <c:v>0.006884561891515995</c:v>
                </c:pt>
                <c:pt idx="12">
                  <c:v>0.007134363852556481</c:v>
                </c:pt>
                <c:pt idx="13">
                  <c:v>0.010407049937054134</c:v>
                </c:pt>
                <c:pt idx="14">
                  <c:v>0.010429276468944967</c:v>
                </c:pt>
                <c:pt idx="15">
                  <c:v>0.00994075710412692</c:v>
                </c:pt>
                <c:pt idx="16">
                  <c:v>0.009873060648801129</c:v>
                </c:pt>
                <c:pt idx="17">
                  <c:v>0.012442059038789949</c:v>
                </c:pt>
                <c:pt idx="18">
                  <c:v>0.006704562017198659</c:v>
                </c:pt>
                <c:pt idx="19">
                  <c:v>0.005950770895320531</c:v>
                </c:pt>
                <c:pt idx="20">
                  <c:v>0.007330006238303182</c:v>
                </c:pt>
                <c:pt idx="21">
                  <c:v>0.010286141761735553</c:v>
                </c:pt>
                <c:pt idx="22">
                  <c:v>0.00847145488029466</c:v>
                </c:pt>
                <c:pt idx="23">
                  <c:v>0.008226691042047532</c:v>
                </c:pt>
                <c:pt idx="24">
                  <c:v>0.0075419952005485085</c:v>
                </c:pt>
                <c:pt idx="25">
                  <c:v>0.007911392405063292</c:v>
                </c:pt>
                <c:pt idx="26">
                  <c:v>0.008629441624365483</c:v>
                </c:pt>
                <c:pt idx="27">
                  <c:v>0.008746355685131196</c:v>
                </c:pt>
                <c:pt idx="28">
                  <c:v>0.007511194568828542</c:v>
                </c:pt>
                <c:pt idx="29">
                  <c:v>0.008570928808815813</c:v>
                </c:pt>
                <c:pt idx="30">
                  <c:v>0.008193801211257571</c:v>
                </c:pt>
                <c:pt idx="31">
                  <c:v>0.00854191497814859</c:v>
                </c:pt>
                <c:pt idx="32">
                  <c:v>0.007553956834532374</c:v>
                </c:pt>
                <c:pt idx="33">
                  <c:v>0.006897522522522522</c:v>
                </c:pt>
                <c:pt idx="34">
                  <c:v>0.006098202081800021</c:v>
                </c:pt>
                <c:pt idx="35">
                  <c:v>0.007370393504059962</c:v>
                </c:pt>
                <c:pt idx="36">
                  <c:v>0.009972416719711436</c:v>
                </c:pt>
                <c:pt idx="37">
                  <c:v>0.009865300701954089</c:v>
                </c:pt>
                <c:pt idx="38">
                  <c:v>0.011813607525705535</c:v>
                </c:pt>
                <c:pt idx="39">
                  <c:v>0.010794743429286609</c:v>
                </c:pt>
                <c:pt idx="40">
                  <c:v>0.010329941412272586</c:v>
                </c:pt>
                <c:pt idx="41">
                  <c:v>0.00836096295228485</c:v>
                </c:pt>
                <c:pt idx="42">
                  <c:v>0.009661044702800065</c:v>
                </c:pt>
                <c:pt idx="43">
                  <c:v>0.007217125382262997</c:v>
                </c:pt>
                <c:pt idx="44">
                  <c:v>0.005251164173189339</c:v>
                </c:pt>
                <c:pt idx="45">
                  <c:v>0.0041766954551890135</c:v>
                </c:pt>
                <c:pt idx="46">
                  <c:v>0.004268139593271403</c:v>
                </c:pt>
                <c:pt idx="47">
                  <c:v>0.004140786749482402</c:v>
                </c:pt>
                <c:pt idx="48">
                  <c:v>0.004567368688150216</c:v>
                </c:pt>
                <c:pt idx="49">
                  <c:v>0.0039922436409262005</c:v>
                </c:pt>
                <c:pt idx="50">
                  <c:v>0.003317553211316957</c:v>
                </c:pt>
                <c:pt idx="51">
                  <c:v>0.004087102177554439</c:v>
                </c:pt>
              </c:numCache>
            </c:numRef>
          </c:yVal>
          <c:smooth val="0"/>
          <c:extLst>
            <c:ext xmlns:c16="http://schemas.microsoft.com/office/drawing/2014/chart" uri="{C3380CC4-5D6E-409C-BE32-E72D297353CC}">
              <c16:uniqueId val="{00000002-F32D-48B7-BC20-E66FC6253BAD}"/>
            </c:ext>
          </c:extLst>
        </c:ser>
        <c:ser>
          <c:idx val="2"/>
          <c:order val="2"/>
          <c:tx>
            <c:strRef>
              <c:f>Sheet1!$B$125</c:f>
              <c:strCache>
                <c:ptCount val="1"/>
                <c:pt idx="0">
                  <c:v>Custom Linep3yQ</c:v>
                </c:pt>
              </c:strCache>
            </c:strRef>
          </c:tx>
          <c:spPr>
            <a:ln w="19050" cap="rnd">
              <a:solidFill>
                <a:srgbClr val="C00000"/>
              </a:solidFill>
              <a:prstDash val="sysDot"/>
              <a:round/>
            </a:ln>
            <a:effectLst/>
          </c:spPr>
          <c:marker>
            <c:symbol val="none"/>
          </c:marker>
          <c:xVal>
            <c:numRef>
              <c:f>Sheet1!$A$126:$A$127</c:f>
              <c:numCache>
                <c:formatCode>General</c:formatCode>
                <c:ptCount val="2"/>
                <c:pt idx="0">
                  <c:v>0</c:v>
                </c:pt>
                <c:pt idx="1">
                  <c:v>3625.014659539427</c:v>
                </c:pt>
              </c:numCache>
            </c:numRef>
          </c:xVal>
          <c:yVal>
            <c:numRef>
              <c:f>Sheet1!$B$126:$B$127</c:f>
              <c:numCache>
                <c:formatCode>General</c:formatCode>
                <c:ptCount val="2"/>
                <c:pt idx="0">
                  <c:v>0.008585636713045098</c:v>
                </c:pt>
                <c:pt idx="1">
                  <c:v>0.008585636713045098</c:v>
                </c:pt>
              </c:numCache>
            </c:numRef>
          </c:yVal>
          <c:smooth val="0"/>
          <c:extLst>
            <c:ext xmlns:c16="http://schemas.microsoft.com/office/drawing/2014/chart" uri="{C3380CC4-5D6E-409C-BE32-E72D297353CC}">
              <c16:uniqueId val="{00000003-F32D-48B7-BC20-E66FC6253BAD}"/>
            </c:ext>
          </c:extLst>
        </c:ser>
        <c:ser>
          <c:idx val="3"/>
          <c:order val="3"/>
          <c:tx>
            <c:strRef>
              <c:f>Sheet1!$B$12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0:$A$131</c:f>
              <c:numCache>
                <c:formatCode>General</c:formatCode>
                <c:ptCount val="2"/>
                <c:pt idx="0">
                  <c:v>3625.014659539427</c:v>
                </c:pt>
                <c:pt idx="1">
                  <c:v>3625.014659539427</c:v>
                </c:pt>
              </c:numCache>
            </c:numRef>
          </c:xVal>
          <c:yVal>
            <c:numRef>
              <c:f>Sheet1!$B$130:$B$131</c:f>
              <c:numCache>
                <c:formatCode>General</c:formatCode>
                <c:ptCount val="2"/>
                <c:pt idx="0">
                  <c:v>0.0085856367130450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4:$A$135</c:f>
              <c:numCache>
                <c:formatCode>General</c:formatCode>
                <c:ptCount val="2"/>
                <c:pt idx="0">
                  <c:v>0</c:v>
                </c:pt>
                <c:pt idx="1">
                  <c:v>3625.014659539427</c:v>
                </c:pt>
              </c:numCache>
            </c:numRef>
          </c:xVal>
          <c:yVal>
            <c:numRef>
              <c:f>Sheet1!$B$134:$B$135</c:f>
              <c:numCache>
                <c:formatCode>General</c:formatCode>
                <c:ptCount val="2"/>
                <c:pt idx="0">
                  <c:v>0.008585636713045098</c:v>
                </c:pt>
                <c:pt idx="1">
                  <c:v>0.008585636713045098</c:v>
                </c:pt>
              </c:numCache>
            </c:numRef>
          </c:yVal>
          <c:smooth val="0"/>
          <c:extLst>
            <c:ext xmlns:c16="http://schemas.microsoft.com/office/drawing/2014/chart" uri="{C3380CC4-5D6E-409C-BE32-E72D297353CC}">
              <c16:uniqueId val="{0000000A-F32D-48B7-BC20-E66FC6253BAD}"/>
            </c:ext>
          </c:extLst>
        </c:ser>
        <c:ser>
          <c:idx val="5"/>
          <c:order val="5"/>
          <c:tx>
            <c:strRef>
              <c:f>Sheet1!$B$13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8:$A$139</c:f>
              <c:numCache>
                <c:formatCode>General</c:formatCode>
                <c:ptCount val="2"/>
                <c:pt idx="0">
                  <c:v>3625.014659539427</c:v>
                </c:pt>
                <c:pt idx="1">
                  <c:v>3625.014659539427</c:v>
                </c:pt>
              </c:numCache>
            </c:numRef>
          </c:xVal>
          <c:yVal>
            <c:numRef>
              <c:f>Sheet1!$B$138:$B$139</c:f>
              <c:numCache>
                <c:formatCode>General</c:formatCode>
                <c:ptCount val="2"/>
                <c:pt idx="0">
                  <c:v>0.00858563671304509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4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42:$A$143</c:f>
              <c:numCache>
                <c:formatCode>General</c:formatCode>
                <c:ptCount val="2"/>
                <c:pt idx="0">
                  <c:v>0</c:v>
                </c:pt>
                <c:pt idx="1">
                  <c:v>4293.530776676478</c:v>
                </c:pt>
              </c:numCache>
            </c:numRef>
          </c:xVal>
          <c:yVal>
            <c:numRef>
              <c:f>Sheet1!$B$142:$B$143</c:f>
              <c:numCache>
                <c:formatCode>General</c:formatCode>
                <c:ptCount val="2"/>
                <c:pt idx="0">
                  <c:v>0.006166528582152852</c:v>
                </c:pt>
                <c:pt idx="1">
                  <c:v>0.006166528582152852</c:v>
                </c:pt>
              </c:numCache>
            </c:numRef>
          </c:yVal>
          <c:smooth val="0"/>
          <c:extLst>
            <c:ext xmlns:c16="http://schemas.microsoft.com/office/drawing/2014/chart" uri="{C3380CC4-5D6E-409C-BE32-E72D297353CC}">
              <c16:uniqueId val="{00000011-F32D-48B7-BC20-E66FC6253BAD}"/>
            </c:ext>
          </c:extLst>
        </c:ser>
        <c:ser>
          <c:idx val="7"/>
          <c:order val="7"/>
          <c:tx>
            <c:strRef>
              <c:f>Sheet1!$B$14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6:$A$147</c:f>
              <c:numCache>
                <c:formatCode>General</c:formatCode>
                <c:ptCount val="2"/>
                <c:pt idx="0">
                  <c:v>4293.530776676478</c:v>
                </c:pt>
                <c:pt idx="1">
                  <c:v>4293.530776676478</c:v>
                </c:pt>
              </c:numCache>
            </c:numRef>
          </c:xVal>
          <c:yVal>
            <c:numRef>
              <c:f>Sheet1!$B$146:$B$147</c:f>
              <c:numCache>
                <c:formatCode>General</c:formatCode>
                <c:ptCount val="2"/>
                <c:pt idx="0">
                  <c:v>0.00616652858215285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50:$A$204</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625.014659539427</c:v>
                </c:pt>
                <c:pt idx="53">
                  <c:v>3625.014659539427</c:v>
                </c:pt>
                <c:pt idx="54">
                  <c:v>4293.530776676478</c:v>
                </c:pt>
              </c:numCache>
            </c:numRef>
          </c:xVal>
          <c:yVal>
            <c:numRef>
              <c:f>Sheet1!$B$150:$B$204</c:f>
              <c:numCache>
                <c:formatCode>General</c:formatCode>
                <c:ptCount val="55"/>
                <c:pt idx="0">
                  <c:v>0.006031248067557688</c:v>
                </c:pt>
                <c:pt idx="1">
                  <c:v>0.00819520265117894</c:v>
                </c:pt>
                <c:pt idx="2">
                  <c:v>0.005927544831600365</c:v>
                </c:pt>
                <c:pt idx="3">
                  <c:v>0.007966854843213581</c:v>
                </c:pt>
                <c:pt idx="4">
                  <c:v>0.00556031063512219</c:v>
                </c:pt>
                <c:pt idx="5">
                  <c:v>0.004533193303936069</c:v>
                </c:pt>
                <c:pt idx="6">
                  <c:v>0.005279369029498538</c:v>
                </c:pt>
                <c:pt idx="7">
                  <c:v>0.005399242084560871</c:v>
                </c:pt>
                <c:pt idx="8">
                  <c:v>0.006379516696415566</c:v>
                </c:pt>
                <c:pt idx="9">
                  <c:v>0.00687432872111002</c:v>
                </c:pt>
                <c:pt idx="10">
                  <c:v>0.006711589813941592</c:v>
                </c:pt>
                <c:pt idx="11">
                  <c:v>0.006917285038803586</c:v>
                </c:pt>
                <c:pt idx="12">
                  <c:v>0.008093878660172171</c:v>
                </c:pt>
                <c:pt idx="13">
                  <c:v>0.009252596281455992</c:v>
                </c:pt>
                <c:pt idx="14">
                  <c:v>0.009088290872174873</c:v>
                </c:pt>
                <c:pt idx="15">
                  <c:v>0.008179380581792175</c:v>
                </c:pt>
                <c:pt idx="16">
                  <c:v>0.007514964759289455</c:v>
                </c:pt>
                <c:pt idx="17">
                  <c:v>0.01076328510716181</c:v>
                </c:pt>
                <c:pt idx="18">
                  <c:v>0.006256397374212332</c:v>
                </c:pt>
                <c:pt idx="19">
                  <c:v>0.005041823766185921</c:v>
                </c:pt>
                <c:pt idx="20">
                  <c:v>0.00564282502118147</c:v>
                </c:pt>
                <c:pt idx="21">
                  <c:v>0.008650167117627765</c:v>
                </c:pt>
                <c:pt idx="22">
                  <c:v>0.007360864230137695</c:v>
                </c:pt>
                <c:pt idx="23">
                  <c:v>0.01007173793125109</c:v>
                </c:pt>
                <c:pt idx="24">
                  <c:v>0.006688461743710466</c:v>
                </c:pt>
                <c:pt idx="25">
                  <c:v>0.007695186684030662</c:v>
                </c:pt>
                <c:pt idx="26">
                  <c:v>0.007615047200573738</c:v>
                </c:pt>
                <c:pt idx="27">
                  <c:v>0.008509761992832444</c:v>
                </c:pt>
                <c:pt idx="28">
                  <c:v>0.008169339263444967</c:v>
                </c:pt>
                <c:pt idx="29">
                  <c:v>0.008208023796098035</c:v>
                </c:pt>
                <c:pt idx="30">
                  <c:v>0.008513238766290227</c:v>
                </c:pt>
                <c:pt idx="31">
                  <c:v>0.007330784784165108</c:v>
                </c:pt>
                <c:pt idx="32">
                  <c:v>0.005570514791526853</c:v>
                </c:pt>
                <c:pt idx="33">
                  <c:v>0.005982348522629459</c:v>
                </c:pt>
                <c:pt idx="34">
                  <c:v>0.005581733248098266</c:v>
                </c:pt>
                <c:pt idx="35">
                  <c:v>0.006680147232496951</c:v>
                </c:pt>
                <c:pt idx="36">
                  <c:v>0.006740961819020138</c:v>
                </c:pt>
                <c:pt idx="37">
                  <c:v>0.006562809746920325</c:v>
                </c:pt>
                <c:pt idx="38">
                  <c:v>0.008421980700270459</c:v>
                </c:pt>
                <c:pt idx="39">
                  <c:v>0.009643009570756627</c:v>
                </c:pt>
                <c:pt idx="40">
                  <c:v>0.010046101431210498</c:v>
                </c:pt>
                <c:pt idx="41">
                  <c:v>0.008923719132204232</c:v>
                </c:pt>
                <c:pt idx="42">
                  <c:v>0.009534566299878044</c:v>
                </c:pt>
                <c:pt idx="43">
                  <c:v>0.008655118118299015</c:v>
                </c:pt>
                <c:pt idx="44">
                  <c:v>0.006765112512252064</c:v>
                </c:pt>
                <c:pt idx="45">
                  <c:v>0.006416846416430633</c:v>
                </c:pt>
                <c:pt idx="46">
                  <c:v>0.005568325524309994</c:v>
                </c:pt>
                <c:pt idx="47">
                  <c:v>0.007037387876458105</c:v>
                </c:pt>
                <c:pt idx="48">
                  <c:v>0.008113057364716552</c:v>
                </c:pt>
                <c:pt idx="49">
                  <c:v>0.007866565778527509</c:v>
                </c:pt>
                <c:pt idx="50">
                  <c:v>0.007111771577377614</c:v>
                </c:pt>
                <c:pt idx="51">
                  <c:v>0.005874866358152198</c:v>
                </c:pt>
                <c:pt idx="52">
                  <c:v>0.008585636713045098</c:v>
                </c:pt>
                <c:pt idx="53">
                  <c:v>0.008585636713045098</c:v>
                </c:pt>
                <c:pt idx="54">
                  <c:v>0.0061665285821528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774.0"/>
          <c:min val="148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4930470846547937"/>
          <c:min val="9.768009768009768e-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398233045570709</c:v>
                </c:pt>
                <c:pt idx="1">
                  <c:v>0.48050419224104035</c:v>
                </c:pt>
                <c:pt idx="2">
                  <c:v>0.48703879580590553</c:v>
                </c:pt>
                <c:pt idx="3">
                  <c:v>0.4890267204952289</c:v>
                </c:pt>
                <c:pt idx="4">
                  <c:v>0.48537969447024526</c:v>
                </c:pt>
                <c:pt idx="5">
                  <c:v>0.5020554645557561</c:v>
                </c:pt>
                <c:pt idx="6">
                  <c:v>0.49505340847661283</c:v>
                </c:pt>
                <c:pt idx="7">
                  <c:v>0.5026881470679279</c:v>
                </c:pt>
                <c:pt idx="8">
                  <c:v>0.5247101174601373</c:v>
                </c:pt>
                <c:pt idx="9">
                  <c:v>0.4745380151069052</c:v>
                </c:pt>
                <c:pt idx="10">
                  <c:v>0.4905732715719735</c:v>
                </c:pt>
                <c:pt idx="11">
                  <c:v>0.5131890506842319</c:v>
                </c:pt>
                <c:pt idx="12">
                  <c:v>0.4870705464620705</c:v>
                </c:pt>
                <c:pt idx="13">
                  <c:v>0.47044835885897945</c:v>
                </c:pt>
                <c:pt idx="14">
                  <c:v>0.5008287216756929</c:v>
                </c:pt>
                <c:pt idx="15">
                  <c:v>0.5064333478830205</c:v>
                </c:pt>
                <c:pt idx="16">
                  <c:v>0.4902019339608437</c:v>
                </c:pt>
                <c:pt idx="17">
                  <c:v>0.5347900519060005</c:v>
                </c:pt>
                <c:pt idx="18">
                  <c:v>0.5496549954103621</c:v>
                </c:pt>
                <c:pt idx="19">
                  <c:v>0.5090914036776398</c:v>
                </c:pt>
                <c:pt idx="20">
                  <c:v>0.5253480236515623</c:v>
                </c:pt>
                <c:pt idx="21">
                  <c:v>0.5154959633400972</c:v>
                </c:pt>
                <c:pt idx="22">
                  <c:v>0.5442713192916274</c:v>
                </c:pt>
                <c:pt idx="23">
                  <c:v>0.5410762542972178</c:v>
                </c:pt>
                <c:pt idx="24">
                  <c:v>0.4825872620935196</c:v>
                </c:pt>
                <c:pt idx="25">
                  <c:v>0.4721068263849405</c:v>
                </c:pt>
                <c:pt idx="26">
                  <c:v>0.50712268848213</c:v>
                </c:pt>
                <c:pt idx="27">
                  <c:v>0.46778558342485127</c:v>
                </c:pt>
                <c:pt idx="28">
                  <c:v>0.5382942668936554</c:v>
                </c:pt>
                <c:pt idx="29">
                  <c:v>0.4907494452969875</c:v>
                </c:pt>
                <c:pt idx="30">
                  <c:v>0.4569744283536585</c:v>
                </c:pt>
                <c:pt idx="31">
                  <c:v>0.48508026342868904</c:v>
                </c:pt>
                <c:pt idx="32">
                  <c:v>0.380934298854967</c:v>
                </c:pt>
                <c:pt idx="33">
                  <c:v>0.4858805429864253</c:v>
                </c:pt>
                <c:pt idx="34">
                  <c:v>0.4528890350997804</c:v>
                </c:pt>
                <c:pt idx="35">
                  <c:v>0.44243894201578626</c:v>
                </c:pt>
                <c:pt idx="36">
                  <c:v>0.5151686682061587</c:v>
                </c:pt>
                <c:pt idx="37">
                  <c:v>0.5358575259462447</c:v>
                </c:pt>
                <c:pt idx="38">
                  <c:v>0.5225106432612119</c:v>
                </c:pt>
                <c:pt idx="39">
                  <c:v>0.43229387924112833</c:v>
                </c:pt>
                <c:pt idx="40">
                  <c:v>0.5336952071061777</c:v>
                </c:pt>
                <c:pt idx="41">
                  <c:v>0.5414984470873418</c:v>
                </c:pt>
                <c:pt idx="42">
                  <c:v>0.557317944021277</c:v>
                </c:pt>
                <c:pt idx="43">
                  <c:v>0.5835301660713227</c:v>
                </c:pt>
                <c:pt idx="44">
                  <c:v>0.4661754443490838</c:v>
                </c:pt>
                <c:pt idx="45">
                  <c:v>0.4362201143451144</c:v>
                </c:pt>
                <c:pt idx="46">
                  <c:v>0.4395493631645143</c:v>
                </c:pt>
                <c:pt idx="47">
                  <c:v>0.40747780719514093</c:v>
                </c:pt>
                <c:pt idx="48">
                  <c:v>0.41708442554122516</c:v>
                </c:pt>
                <c:pt idx="49">
                  <c:v>0.43331189020449373</c:v>
                </c:pt>
                <c:pt idx="50">
                  <c:v>0.4234659907559266</c:v>
                </c:pt>
                <c:pt idx="51">
                  <c:v>0.4238555868093997</c:v>
                </c:pt>
                <c:pt idx="52">
                  <c:v>0.4449106150989561</c:v>
                </c:pt>
                <c:pt idx="53">
                  <c:v>0.4490316161129088</c:v>
                </c:pt>
                <c:pt idx="54">
                  <c:v>0.4598456238634802</c:v>
                </c:pt>
                <c:pt idx="55">
                  <c:v>0.4483860851519276</c:v>
                </c:pt>
                <c:pt idx="56">
                  <c:v>0.47988176470588234</c:v>
                </c:pt>
                <c:pt idx="57">
                  <c:v>0.4546295589933717</c:v>
                </c:pt>
                <c:pt idx="58">
                  <c:v>0.4615414381370879</c:v>
                </c:pt>
                <c:pt idx="59">
                  <c:v>0.45521414719343684</c:v>
                </c:pt>
                <c:pt idx="60">
                  <c:v>0.4602973284557313</c:v>
                </c:pt>
                <c:pt idx="61">
                  <c:v>0.46540741857293155</c:v>
                </c:pt>
                <c:pt idx="62">
                  <c:v>0.48164315808449465</c:v>
                </c:pt>
                <c:pt idx="63">
                  <c:v>0.49694752030552947</c:v>
                </c:pt>
                <c:pt idx="64">
                  <c:v>0.49506686844229214</c:v>
                </c:pt>
                <c:pt idx="65">
                  <c:v>0.46124644854487684</c:v>
                </c:pt>
                <c:pt idx="66">
                  <c:v>0.43212416538875503</c:v>
                </c:pt>
                <c:pt idx="67">
                  <c:v>0.4155472373373062</c:v>
                </c:pt>
                <c:pt idx="68">
                  <c:v>0.40351996736544465</c:v>
                </c:pt>
                <c:pt idx="69">
                  <c:v>0.38667238369431234</c:v>
                </c:pt>
                <c:pt idx="70">
                  <c:v>0.3803310461882395</c:v>
                </c:pt>
                <c:pt idx="71">
                  <c:v>0.3815786130163873</c:v>
                </c:pt>
                <c:pt idx="72">
                  <c:v>0.4020920567151524</c:v>
                </c:pt>
                <c:pt idx="73">
                  <c:v>0.43578905549669955</c:v>
                </c:pt>
                <c:pt idx="74">
                  <c:v>0.3697024085062604</c:v>
                </c:pt>
                <c:pt idx="75">
                  <c:v>0.3875773692010992</c:v>
                </c:pt>
                <c:pt idx="76">
                  <c:v>0.3390998482431302</c:v>
                </c:pt>
                <c:pt idx="77">
                  <c:v>0.36898818891622226</c:v>
                </c:pt>
                <c:pt idx="78">
                  <c:v>0.44144126276648316</c:v>
                </c:pt>
                <c:pt idx="79">
                  <c:v>0.19018036227786012</c:v>
                </c:pt>
                <c:pt idx="80">
                  <c:v>0.20800569988367584</c:v>
                </c:pt>
                <c:pt idx="81">
                  <c:v>0.30840795940765714</c:v>
                </c:pt>
                <c:pt idx="82">
                  <c:v>0.34109958212483316</c:v>
                </c:pt>
                <c:pt idx="83">
                  <c:v>0.3274909348441926</c:v>
                </c:pt>
                <c:pt idx="84">
                  <c:v>0.32683698609229345</c:v>
                </c:pt>
                <c:pt idx="85">
                  <c:v>0.3563229170766264</c:v>
                </c:pt>
                <c:pt idx="86">
                  <c:v>0.48133092045140785</c:v>
                </c:pt>
                <c:pt idx="87">
                  <c:v>0.46348306332701383</c:v>
                </c:pt>
                <c:pt idx="88">
                  <c:v>0.4348283279205383</c:v>
                </c:pt>
                <c:pt idx="89">
                  <c:v>0.43371044701797257</c:v>
                </c:pt>
                <c:pt idx="90">
                  <c:v>0.5046076245041868</c:v>
                </c:pt>
                <c:pt idx="91">
                  <c:v>0.5431833550807513</c:v>
                </c:pt>
                <c:pt idx="92">
                  <c:v>0.5006561802079322</c:v>
                </c:pt>
                <c:pt idx="93">
                  <c:v>0.5249162269412636</c:v>
                </c:pt>
                <c:pt idx="94">
                  <c:v>0.4511596490040952</c:v>
                </c:pt>
                <c:pt idx="95">
                  <c:v>0.5315578511106096</c:v>
                </c:pt>
                <c:pt idx="96">
                  <c:v>0.48705578217971884</c:v>
                </c:pt>
                <c:pt idx="97">
                  <c:v>0.5205462654640872</c:v>
                </c:pt>
                <c:pt idx="98">
                  <c:v>0.5334053542290487</c:v>
                </c:pt>
                <c:pt idx="99">
                  <c:v>0.5071146285115536</c:v>
                </c:pt>
                <c:pt idx="100">
                  <c:v>0.5009627350246196</c:v>
                </c:pt>
                <c:pt idx="101">
                  <c:v>0.5251074911276694</c:v>
                </c:pt>
                <c:pt idx="102">
                  <c:v>0.5323670370995581</c:v>
                </c:pt>
                <c:pt idx="103">
                  <c:v>0.513289377583888</c:v>
                </c:pt>
                <c:pt idx="104">
                  <c:v>0.5337613752889953</c:v>
                </c:pt>
              </c:numCache>
            </c:numRef>
          </c:xVal>
          <c:yVal>
            <c:numRef>
              <c:f>Sheet1!$B$2:$B$106</c:f>
              <c:numCache>
                <c:formatCode>General</c:formatCode>
                <c:ptCount val="105"/>
                <c:pt idx="0">
                  <c:v>0.9347079037800687</c:v>
                </c:pt>
                <c:pt idx="1">
                  <c:v>0.9212548015364916</c:v>
                </c:pt>
                <c:pt idx="2">
                  <c:v>0.9175062972292192</c:v>
                </c:pt>
                <c:pt idx="3">
                  <c:v>0.9310130515848353</c:v>
                </c:pt>
                <c:pt idx="4">
                  <c:v>0.9318862275449101</c:v>
                </c:pt>
                <c:pt idx="5">
                  <c:v>0.9279141104294478</c:v>
                </c:pt>
                <c:pt idx="6">
                  <c:v>0.9158940397350993</c:v>
                </c:pt>
                <c:pt idx="7">
                  <c:v>0.9198443579766536</c:v>
                </c:pt>
                <c:pt idx="8">
                  <c:v>0.924812030075188</c:v>
                </c:pt>
                <c:pt idx="9">
                  <c:v>0.9302477183833116</c:v>
                </c:pt>
                <c:pt idx="10">
                  <c:v>0.9261627906976744</c:v>
                </c:pt>
                <c:pt idx="11">
                  <c:v>0.9254996971532404</c:v>
                </c:pt>
                <c:pt idx="12">
                  <c:v>0.9231231231231232</c:v>
                </c:pt>
                <c:pt idx="13">
                  <c:v>0.9283935242839353</c:v>
                </c:pt>
                <c:pt idx="14">
                  <c:v>0.9159717767799872</c:v>
                </c:pt>
                <c:pt idx="15">
                  <c:v>0.9262672811059908</c:v>
                </c:pt>
                <c:pt idx="16">
                  <c:v>0.9073543457497613</c:v>
                </c:pt>
                <c:pt idx="17">
                  <c:v>0.9144508670520232</c:v>
                </c:pt>
                <c:pt idx="18">
                  <c:v>0.9028400597907325</c:v>
                </c:pt>
                <c:pt idx="19">
                  <c:v>0.9090909090909091</c:v>
                </c:pt>
                <c:pt idx="20">
                  <c:v>0.9025110782865583</c:v>
                </c:pt>
                <c:pt idx="21">
                  <c:v>0.9122203098106713</c:v>
                </c:pt>
                <c:pt idx="22">
                  <c:v>0.9385964912280702</c:v>
                </c:pt>
                <c:pt idx="23">
                  <c:v>0.931098696461825</c:v>
                </c:pt>
                <c:pt idx="24">
                  <c:v>0.936026936026936</c:v>
                </c:pt>
                <c:pt idx="25">
                  <c:v>0.9452554744525548</c:v>
                </c:pt>
                <c:pt idx="26">
                  <c:v>0.9447852760736196</c:v>
                </c:pt>
                <c:pt idx="27">
                  <c:v>0.9517543859649122</c:v>
                </c:pt>
                <c:pt idx="28">
                  <c:v>0.9517884914463453</c:v>
                </c:pt>
                <c:pt idx="29">
                  <c:v>0.9603072983354674</c:v>
                </c:pt>
                <c:pt idx="30">
                  <c:v>0.9599332220367279</c:v>
                </c:pt>
                <c:pt idx="31">
                  <c:v>0.9496062992125984</c:v>
                </c:pt>
                <c:pt idx="32">
                  <c:v>0.965625</c:v>
                </c:pt>
                <c:pt idx="33">
                  <c:v>0.9551357733175915</c:v>
                </c:pt>
                <c:pt idx="34">
                  <c:v>0.9646511627906976</c:v>
                </c:pt>
                <c:pt idx="35">
                  <c:v>0.9619741100323624</c:v>
                </c:pt>
                <c:pt idx="36">
                  <c:v>0.9341397849462365</c:v>
                </c:pt>
                <c:pt idx="37">
                  <c:v>0.9550359712230215</c:v>
                </c:pt>
                <c:pt idx="38">
                  <c:v>0.9581151832460733</c:v>
                </c:pt>
                <c:pt idx="39">
                  <c:v>0.9524752475247524</c:v>
                </c:pt>
                <c:pt idx="40">
                  <c:v>0.9454277286135693</c:v>
                </c:pt>
                <c:pt idx="41">
                  <c:v>0.95</c:v>
                </c:pt>
                <c:pt idx="42">
                  <c:v>0.9613733905579399</c:v>
                </c:pt>
                <c:pt idx="43">
                  <c:v>0.9485981308411215</c:v>
                </c:pt>
                <c:pt idx="44">
                  <c:v>0.9662420382165605</c:v>
                </c:pt>
                <c:pt idx="45">
                  <c:v>0.9702495201535508</c:v>
                </c:pt>
                <c:pt idx="46">
                  <c:v>0.9729847494553376</c:v>
                </c:pt>
                <c:pt idx="47">
                  <c:v>0.9762931034482759</c:v>
                </c:pt>
                <c:pt idx="48">
                  <c:v>0.9733777038269551</c:v>
                </c:pt>
                <c:pt idx="49">
                  <c:v>0.978194816800715</c:v>
                </c:pt>
                <c:pt idx="50">
                  <c:v>0.9698744769874477</c:v>
                </c:pt>
                <c:pt idx="51">
                  <c:v>0.9734669811320755</c:v>
                </c:pt>
                <c:pt idx="52">
                  <c:v>0.9659955257270694</c:v>
                </c:pt>
                <c:pt idx="53">
                  <c:v>0.9610894941634242</c:v>
                </c:pt>
                <c:pt idx="54">
                  <c:v>0.9584535487593768</c:v>
                </c:pt>
                <c:pt idx="55">
                  <c:v>0.9614655716993051</c:v>
                </c:pt>
                <c:pt idx="56">
                  <c:v>0.9671094244149273</c:v>
                </c:pt>
                <c:pt idx="57">
                  <c:v>0.9568648079957917</c:v>
                </c:pt>
                <c:pt idx="58">
                  <c:v>0.9576622181316152</c:v>
                </c:pt>
                <c:pt idx="59">
                  <c:v>0.959703947368421</c:v>
                </c:pt>
                <c:pt idx="60">
                  <c:v>0.9567519858781994</c:v>
                </c:pt>
                <c:pt idx="61">
                  <c:v>0.9456302859444221</c:v>
                </c:pt>
                <c:pt idx="62">
                  <c:v>0.9507667473769169</c:v>
                </c:pt>
                <c:pt idx="63">
                  <c:v>0.9515593895155939</c:v>
                </c:pt>
                <c:pt idx="64">
                  <c:v>0.9348275862068965</c:v>
                </c:pt>
                <c:pt idx="65">
                  <c:v>0.945554249902076</c:v>
                </c:pt>
                <c:pt idx="66">
                  <c:v>0.9496051147047763</c:v>
                </c:pt>
                <c:pt idx="67">
                  <c:v>0.9549180327868853</c:v>
                </c:pt>
                <c:pt idx="68">
                  <c:v>0.9546956111373289</c:v>
                </c:pt>
                <c:pt idx="69">
                  <c:v>0.9540850776502363</c:v>
                </c:pt>
                <c:pt idx="70">
                  <c:v>0.951058201058201</c:v>
                </c:pt>
                <c:pt idx="71">
                  <c:v>0.9477401129943502</c:v>
                </c:pt>
                <c:pt idx="72">
                  <c:v>0.9462897526501767</c:v>
                </c:pt>
                <c:pt idx="73">
                  <c:v>0.9453513129879347</c:v>
                </c:pt>
                <c:pt idx="74">
                  <c:v>0.9550484094052559</c:v>
                </c:pt>
                <c:pt idx="75">
                  <c:v>0.958974358974359</c:v>
                </c:pt>
                <c:pt idx="76">
                  <c:v>0.9614065180102916</c:v>
                </c:pt>
                <c:pt idx="77">
                  <c:v>0.9597989949748744</c:v>
                </c:pt>
                <c:pt idx="78">
                  <c:v>0.9494505494505494</c:v>
                </c:pt>
                <c:pt idx="79">
                  <c:v>0.9803742583295298</c:v>
                </c:pt>
                <c:pt idx="80">
                  <c:v>0.9790141532454856</c:v>
                </c:pt>
                <c:pt idx="81">
                  <c:v>0.9649458253664754</c:v>
                </c:pt>
                <c:pt idx="82">
                  <c:v>0.9664586583463338</c:v>
                </c:pt>
                <c:pt idx="83">
                  <c:v>0.9596602972399151</c:v>
                </c:pt>
                <c:pt idx="84">
                  <c:v>0.9618834080717489</c:v>
                </c:pt>
                <c:pt idx="85">
                  <c:v>0.9552845528455285</c:v>
                </c:pt>
                <c:pt idx="86">
                  <c:v>0.9316546762589928</c:v>
                </c:pt>
                <c:pt idx="87">
                  <c:v>0.943217665615142</c:v>
                </c:pt>
                <c:pt idx="88">
                  <c:v>0.9361936193619362</c:v>
                </c:pt>
                <c:pt idx="89">
                  <c:v>0.9349397590361446</c:v>
                </c:pt>
                <c:pt idx="90">
                  <c:v>0.9414114513981359</c:v>
                </c:pt>
                <c:pt idx="91">
                  <c:v>0.9333333333333333</c:v>
                </c:pt>
                <c:pt idx="92">
                  <c:v>0.9323467230443975</c:v>
                </c:pt>
                <c:pt idx="93">
                  <c:v>0.9369369369369369</c:v>
                </c:pt>
                <c:pt idx="94">
                  <c:v>0.952088452088452</c:v>
                </c:pt>
                <c:pt idx="95">
                  <c:v>0.940795559666975</c:v>
                </c:pt>
                <c:pt idx="96">
                  <c:v>0.940959409594096</c:v>
                </c:pt>
                <c:pt idx="97">
                  <c:v>0.9454160042395336</c:v>
                </c:pt>
                <c:pt idx="98">
                  <c:v>0.933786078098472</c:v>
                </c:pt>
                <c:pt idx="99">
                  <c:v>0.9351818509182571</c:v>
                </c:pt>
                <c:pt idx="100">
                  <c:v>0.9418270294182703</c:v>
                </c:pt>
                <c:pt idx="101">
                  <c:v>0.9287859287859288</c:v>
                </c:pt>
                <c:pt idx="102">
                  <c:v>0.9006410256410257</c:v>
                </c:pt>
                <c:pt idx="103">
                  <c:v>0.915871121718377</c:v>
                </c:pt>
                <c:pt idx="104">
                  <c:v>0.914302600472813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528275189877885</c:v>
                </c:pt>
                <c:pt idx="1">
                  <c:v>0.5644624353654029</c:v>
                </c:pt>
                <c:pt idx="2">
                  <c:v>0.5527876832407027</c:v>
                </c:pt>
                <c:pt idx="3">
                  <c:v>0.5701357050505319</c:v>
                </c:pt>
                <c:pt idx="4">
                  <c:v>0.5526374733602607</c:v>
                </c:pt>
                <c:pt idx="5">
                  <c:v>0.5832909899243528</c:v>
                </c:pt>
                <c:pt idx="6">
                  <c:v>0.5333925147787112</c:v>
                </c:pt>
                <c:pt idx="7">
                  <c:v>0.5655761747786916</c:v>
                </c:pt>
                <c:pt idx="8">
                  <c:v>0.5953348085034954</c:v>
                </c:pt>
                <c:pt idx="9">
                  <c:v>0.5460156549039323</c:v>
                </c:pt>
                <c:pt idx="10">
                  <c:v>0.5595280335622174</c:v>
                </c:pt>
                <c:pt idx="11">
                  <c:v>0.5387613541905868</c:v>
                </c:pt>
                <c:pt idx="12">
                  <c:v>0.5372647220983721</c:v>
                </c:pt>
                <c:pt idx="13">
                  <c:v>0.5567632698065721</c:v>
                </c:pt>
                <c:pt idx="14">
                  <c:v>0.5395086505398132</c:v>
                </c:pt>
                <c:pt idx="15">
                  <c:v>0.5642215463371106</c:v>
                </c:pt>
                <c:pt idx="16">
                  <c:v>0.5871145724907063</c:v>
                </c:pt>
                <c:pt idx="17">
                  <c:v>0.6085417521558126</c:v>
                </c:pt>
                <c:pt idx="18">
                  <c:v>0.5696065059907341</c:v>
                </c:pt>
                <c:pt idx="19">
                  <c:v>0.606136350026623</c:v>
                </c:pt>
                <c:pt idx="20">
                  <c:v>0.593214790648845</c:v>
                </c:pt>
                <c:pt idx="21">
                  <c:v>0.5950094226818917</c:v>
                </c:pt>
                <c:pt idx="22">
                  <c:v>0.540998534817537</c:v>
                </c:pt>
                <c:pt idx="23">
                  <c:v>0.5505296945010184</c:v>
                </c:pt>
                <c:pt idx="24">
                  <c:v>0.4662575330524469</c:v>
                </c:pt>
                <c:pt idx="25">
                  <c:v>0.39805609417998705</c:v>
                </c:pt>
                <c:pt idx="26">
                  <c:v>0.514311831788252</c:v>
                </c:pt>
                <c:pt idx="27">
                  <c:v>0.5431846364258036</c:v>
                </c:pt>
                <c:pt idx="28">
                  <c:v>0.5969701377192114</c:v>
                </c:pt>
                <c:pt idx="29">
                  <c:v>0.5462161098171092</c:v>
                </c:pt>
                <c:pt idx="30">
                  <c:v>0.5416037562049469</c:v>
                </c:pt>
                <c:pt idx="31">
                  <c:v>0.5102953012491629</c:v>
                </c:pt>
                <c:pt idx="32">
                  <c:v>0.4996648003231273</c:v>
                </c:pt>
                <c:pt idx="33">
                  <c:v>0.49050513019308095</c:v>
                </c:pt>
                <c:pt idx="34">
                  <c:v>0.5830057876869669</c:v>
                </c:pt>
                <c:pt idx="35">
                  <c:v>0.548778102428727</c:v>
                </c:pt>
                <c:pt idx="36">
                  <c:v>0.5654677424661296</c:v>
                </c:pt>
                <c:pt idx="37">
                  <c:v>0.554186344372207</c:v>
                </c:pt>
                <c:pt idx="38">
                  <c:v>0.5521061665484932</c:v>
                </c:pt>
                <c:pt idx="39">
                  <c:v>0.5691358716660224</c:v>
                </c:pt>
                <c:pt idx="40">
                  <c:v>0.4942725188266246</c:v>
                </c:pt>
                <c:pt idx="41">
                  <c:v>0.5445919770493634</c:v>
                </c:pt>
                <c:pt idx="42">
                  <c:v>0.5365904691627589</c:v>
                </c:pt>
                <c:pt idx="43">
                  <c:v>0.5675212136383047</c:v>
                </c:pt>
                <c:pt idx="44">
                  <c:v>0.6001675978855215</c:v>
                </c:pt>
                <c:pt idx="45">
                  <c:v>0.5541108294534884</c:v>
                </c:pt>
                <c:pt idx="46">
                  <c:v>0.5088151887913661</c:v>
                </c:pt>
                <c:pt idx="47">
                  <c:v>0.5596395627936416</c:v>
                </c:pt>
                <c:pt idx="48">
                  <c:v>0.5150511954085227</c:v>
                </c:pt>
                <c:pt idx="49">
                  <c:v>0.5287920179876335</c:v>
                </c:pt>
                <c:pt idx="50">
                  <c:v>0.5011484077000276</c:v>
                </c:pt>
                <c:pt idx="51">
                  <c:v>0.4959744728258714</c:v>
                </c:pt>
              </c:numCache>
            </c:numRef>
          </c:xVal>
          <c:yVal>
            <c:numRef>
              <c:f>Sheet1!$B$109:$B$160</c:f>
              <c:numCache>
                <c:formatCode>General</c:formatCode>
                <c:ptCount val="52"/>
                <c:pt idx="0">
                  <c:v>0.9134134134134134</c:v>
                </c:pt>
                <c:pt idx="1">
                  <c:v>0.9050410316529894</c:v>
                </c:pt>
                <c:pt idx="2">
                  <c:v>0.9016227180527383</c:v>
                </c:pt>
                <c:pt idx="3">
                  <c:v>0.9020742884708153</c:v>
                </c:pt>
                <c:pt idx="4">
                  <c:v>0.9021796916533759</c:v>
                </c:pt>
                <c:pt idx="5">
                  <c:v>0.89015769439913</c:v>
                </c:pt>
                <c:pt idx="6">
                  <c:v>0.9117498739283914</c:v>
                </c:pt>
                <c:pt idx="7">
                  <c:v>0.9104938271604939</c:v>
                </c:pt>
                <c:pt idx="8">
                  <c:v>0.8757621951219512</c:v>
                </c:pt>
                <c:pt idx="9">
                  <c:v>0.880764163372859</c:v>
                </c:pt>
                <c:pt idx="10">
                  <c:v>0.8797780517879161</c:v>
                </c:pt>
                <c:pt idx="11">
                  <c:v>0.902544200086244</c:v>
                </c:pt>
                <c:pt idx="12">
                  <c:v>0.8944578313253012</c:v>
                </c:pt>
                <c:pt idx="13">
                  <c:v>0.8983050847457628</c:v>
                </c:pt>
                <c:pt idx="14">
                  <c:v>0.9065062875888463</c:v>
                </c:pt>
                <c:pt idx="15">
                  <c:v>0.8867454884878656</c:v>
                </c:pt>
                <c:pt idx="16">
                  <c:v>0.8805732484076433</c:v>
                </c:pt>
                <c:pt idx="17">
                  <c:v>0.8666061705989111</c:v>
                </c:pt>
                <c:pt idx="18">
                  <c:v>0.8754491017964072</c:v>
                </c:pt>
                <c:pt idx="19">
                  <c:v>0.8435155412647374</c:v>
                </c:pt>
                <c:pt idx="20">
                  <c:v>0.8479318734793188</c:v>
                </c:pt>
                <c:pt idx="21">
                  <c:v>0.8628257887517147</c:v>
                </c:pt>
                <c:pt idx="22">
                  <c:v>0.8506849315068493</c:v>
                </c:pt>
                <c:pt idx="23">
                  <c:v>0.8863346104725415</c:v>
                </c:pt>
                <c:pt idx="24">
                  <c:v>0.9080338266384778</c:v>
                </c:pt>
                <c:pt idx="25">
                  <c:v>0.9107883817427386</c:v>
                </c:pt>
                <c:pt idx="26">
                  <c:v>0.9112627986348123</c:v>
                </c:pt>
                <c:pt idx="27">
                  <c:v>0.8747099767981439</c:v>
                </c:pt>
                <c:pt idx="28">
                  <c:v>0.8704883227176221</c:v>
                </c:pt>
                <c:pt idx="29">
                  <c:v>0.8785046728971962</c:v>
                </c:pt>
                <c:pt idx="30">
                  <c:v>0.8891656288916563</c:v>
                </c:pt>
                <c:pt idx="31">
                  <c:v>0.8812154696132597</c:v>
                </c:pt>
                <c:pt idx="32">
                  <c:v>0.8788265306122449</c:v>
                </c:pt>
                <c:pt idx="33">
                  <c:v>0.9036144578313253</c:v>
                </c:pt>
                <c:pt idx="34">
                  <c:v>0.9006828057107387</c:v>
                </c:pt>
                <c:pt idx="35">
                  <c:v>0.8872586872586873</c:v>
                </c:pt>
                <c:pt idx="36">
                  <c:v>0.8639760837070254</c:v>
                </c:pt>
                <c:pt idx="37">
                  <c:v>0.8556998556998557</c:v>
                </c:pt>
                <c:pt idx="38">
                  <c:v>0.8704581358609794</c:v>
                </c:pt>
                <c:pt idx="39">
                  <c:v>0.8584428715874621</c:v>
                </c:pt>
                <c:pt idx="40">
                  <c:v>0.7379248658318426</c:v>
                </c:pt>
                <c:pt idx="41">
                  <c:v>0.8053753475440223</c:v>
                </c:pt>
                <c:pt idx="42">
                  <c:v>0.831140350877193</c:v>
                </c:pt>
                <c:pt idx="43">
                  <c:v>0.8254364089775561</c:v>
                </c:pt>
                <c:pt idx="44">
                  <c:v>0.847953216374269</c:v>
                </c:pt>
                <c:pt idx="45">
                  <c:v>0.8663946965833759</c:v>
                </c:pt>
                <c:pt idx="46">
                  <c:v>0.8765512736773351</c:v>
                </c:pt>
                <c:pt idx="47">
                  <c:v>0.8825710754017305</c:v>
                </c:pt>
                <c:pt idx="48">
                  <c:v>0.8643113159242192</c:v>
                </c:pt>
                <c:pt idx="49">
                  <c:v>0.8610054921841994</c:v>
                </c:pt>
                <c:pt idx="50">
                  <c:v>0.8906434126797077</c:v>
                </c:pt>
                <c:pt idx="51">
                  <c:v>0.87168949771689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4952559805255836</c:v>
                </c:pt>
              </c:numCache>
            </c:numRef>
          </c:xVal>
          <c:yVal>
            <c:numRef>
              <c:f>Sheet1!$B$163:$B$164</c:f>
              <c:numCache>
                <c:formatCode>General</c:formatCode>
                <c:ptCount val="2"/>
                <c:pt idx="0">
                  <c:v>0.9646161925296403</c:v>
                </c:pt>
                <c:pt idx="1">
                  <c:v>0.964616192529640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4952559805255836</c:v>
                </c:pt>
                <c:pt idx="1">
                  <c:v>-0.24952559805255836</c:v>
                </c:pt>
              </c:numCache>
            </c:numRef>
          </c:xVal>
          <c:yVal>
            <c:numRef>
              <c:f>Sheet1!$B$167:$B$168</c:f>
              <c:numCache>
                <c:formatCode>General</c:formatCode>
                <c:ptCount val="2"/>
                <c:pt idx="0">
                  <c:v>0.964616192529640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219723653113718</c:v>
                </c:pt>
              </c:numCache>
            </c:numRef>
          </c:xVal>
          <c:yVal>
            <c:numRef>
              <c:f>Sheet1!$B$171:$B$172</c:f>
              <c:numCache>
                <c:formatCode>General</c:formatCode>
                <c:ptCount val="2"/>
                <c:pt idx="0">
                  <c:v>0.9013883037614776</c:v>
                </c:pt>
                <c:pt idx="1">
                  <c:v>0.90138830376147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219723653113718</c:v>
                </c:pt>
                <c:pt idx="1">
                  <c:v>0.3219723653113718</c:v>
                </c:pt>
              </c:numCache>
            </c:numRef>
          </c:xVal>
          <c:yVal>
            <c:numRef>
              <c:f>Sheet1!$B$175:$B$176</c:f>
              <c:numCache>
                <c:formatCode>General</c:formatCode>
                <c:ptCount val="2"/>
                <c:pt idx="0">
                  <c:v>0.90138830376147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077038841696003</c:v>
                </c:pt>
              </c:numCache>
            </c:numRef>
          </c:xVal>
          <c:yVal>
            <c:numRef>
              <c:f>Sheet1!$B$179:$B$180</c:f>
              <c:numCache>
                <c:formatCode>General</c:formatCode>
                <c:ptCount val="2"/>
                <c:pt idx="0">
                  <c:v>0.8476492173353699</c:v>
                </c:pt>
                <c:pt idx="1">
                  <c:v>0.847649217335369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077038841696003</c:v>
                </c:pt>
                <c:pt idx="1">
                  <c:v>0.8077038841696003</c:v>
                </c:pt>
              </c:numCache>
            </c:numRef>
          </c:xVal>
          <c:yVal>
            <c:numRef>
              <c:f>Sheet1!$B$183:$B$184</c:f>
              <c:numCache>
                <c:formatCode>General</c:formatCode>
                <c:ptCount val="2"/>
                <c:pt idx="0">
                  <c:v>0.847649217335369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528275189877885</c:v>
                </c:pt>
                <c:pt idx="1">
                  <c:v>0.5644624353654029</c:v>
                </c:pt>
                <c:pt idx="2">
                  <c:v>0.5527876832407027</c:v>
                </c:pt>
                <c:pt idx="3">
                  <c:v>0.5701357050505319</c:v>
                </c:pt>
                <c:pt idx="4">
                  <c:v>0.5526374733602607</c:v>
                </c:pt>
                <c:pt idx="5">
                  <c:v>0.5832909899243528</c:v>
                </c:pt>
                <c:pt idx="6">
                  <c:v>0.5333925147787112</c:v>
                </c:pt>
                <c:pt idx="7">
                  <c:v>0.5655761747786916</c:v>
                </c:pt>
                <c:pt idx="8">
                  <c:v>0.5953348085034954</c:v>
                </c:pt>
                <c:pt idx="9">
                  <c:v>0.5460156549039323</c:v>
                </c:pt>
                <c:pt idx="10">
                  <c:v>0.5595280335622174</c:v>
                </c:pt>
                <c:pt idx="11">
                  <c:v>0.5387613541905868</c:v>
                </c:pt>
                <c:pt idx="12">
                  <c:v>0.5372647220983721</c:v>
                </c:pt>
                <c:pt idx="13">
                  <c:v>0.5567632698065721</c:v>
                </c:pt>
                <c:pt idx="14">
                  <c:v>0.5395086505398132</c:v>
                </c:pt>
                <c:pt idx="15">
                  <c:v>0.5642215463371106</c:v>
                </c:pt>
                <c:pt idx="16">
                  <c:v>0.5871145724907063</c:v>
                </c:pt>
                <c:pt idx="17">
                  <c:v>0.6085417521558126</c:v>
                </c:pt>
                <c:pt idx="18">
                  <c:v>0.5696065059907341</c:v>
                </c:pt>
                <c:pt idx="19">
                  <c:v>0.606136350026623</c:v>
                </c:pt>
                <c:pt idx="20">
                  <c:v>0.593214790648845</c:v>
                </c:pt>
                <c:pt idx="21">
                  <c:v>0.5950094226818917</c:v>
                </c:pt>
                <c:pt idx="22">
                  <c:v>0.540998534817537</c:v>
                </c:pt>
                <c:pt idx="23">
                  <c:v>0.5505296945010184</c:v>
                </c:pt>
                <c:pt idx="24">
                  <c:v>0.4662575330524469</c:v>
                </c:pt>
                <c:pt idx="25">
                  <c:v>0.39805609417998705</c:v>
                </c:pt>
                <c:pt idx="26">
                  <c:v>0.514311831788252</c:v>
                </c:pt>
                <c:pt idx="27">
                  <c:v>0.5431846364258036</c:v>
                </c:pt>
                <c:pt idx="28">
                  <c:v>0.5969701377192114</c:v>
                </c:pt>
                <c:pt idx="29">
                  <c:v>0.5462161098171092</c:v>
                </c:pt>
                <c:pt idx="30">
                  <c:v>0.5416037562049469</c:v>
                </c:pt>
                <c:pt idx="31">
                  <c:v>0.5102953012491629</c:v>
                </c:pt>
                <c:pt idx="32">
                  <c:v>0.4996648003231273</c:v>
                </c:pt>
                <c:pt idx="33">
                  <c:v>0.49050513019308095</c:v>
                </c:pt>
                <c:pt idx="34">
                  <c:v>0.5830057876869669</c:v>
                </c:pt>
                <c:pt idx="35">
                  <c:v>0.548778102428727</c:v>
                </c:pt>
                <c:pt idx="36">
                  <c:v>0.5654677424661296</c:v>
                </c:pt>
                <c:pt idx="37">
                  <c:v>0.554186344372207</c:v>
                </c:pt>
                <c:pt idx="38">
                  <c:v>0.5521061665484932</c:v>
                </c:pt>
                <c:pt idx="39">
                  <c:v>0.5691358716660224</c:v>
                </c:pt>
                <c:pt idx="40">
                  <c:v>0.4942725188266246</c:v>
                </c:pt>
                <c:pt idx="41">
                  <c:v>0.5445919770493634</c:v>
                </c:pt>
                <c:pt idx="42">
                  <c:v>0.5365904691627589</c:v>
                </c:pt>
                <c:pt idx="43">
                  <c:v>0.5675212136383047</c:v>
                </c:pt>
                <c:pt idx="44">
                  <c:v>0.6001675978855215</c:v>
                </c:pt>
                <c:pt idx="45">
                  <c:v>0.5541108294534884</c:v>
                </c:pt>
                <c:pt idx="46">
                  <c:v>0.5088151887913661</c:v>
                </c:pt>
                <c:pt idx="47">
                  <c:v>0.5596395627936416</c:v>
                </c:pt>
                <c:pt idx="48">
                  <c:v>0.5150511954085227</c:v>
                </c:pt>
                <c:pt idx="49">
                  <c:v>0.5287920179876335</c:v>
                </c:pt>
                <c:pt idx="50">
                  <c:v>0.5011484077000276</c:v>
                </c:pt>
                <c:pt idx="51">
                  <c:v>0.4959744728258714</c:v>
                </c:pt>
                <c:pt idx="52">
                  <c:v>0.3219723653113718</c:v>
                </c:pt>
                <c:pt idx="53">
                  <c:v>-0.24952559805255836</c:v>
                </c:pt>
                <c:pt idx="54">
                  <c:v>0.8077038841696003</c:v>
                </c:pt>
              </c:numCache>
            </c:numRef>
          </c:xVal>
          <c:yVal>
            <c:numRef>
              <c:f>Sheet1!$B$187:$B$241</c:f>
              <c:numCache>
                <c:formatCode>General</c:formatCode>
                <c:ptCount val="55"/>
                <c:pt idx="0">
                  <c:v>0.8785639143840078</c:v>
                </c:pt>
                <c:pt idx="1">
                  <c:v>0.8745603250815313</c:v>
                </c:pt>
                <c:pt idx="2">
                  <c:v>0.8758519656053075</c:v>
                </c:pt>
                <c:pt idx="3">
                  <c:v>0.8739326607894458</c:v>
                </c:pt>
                <c:pt idx="4">
                  <c:v>0.8758685841310438</c:v>
                </c:pt>
                <c:pt idx="5">
                  <c:v>0.8724772209768182</c:v>
                </c:pt>
                <c:pt idx="6">
                  <c:v>0.8779977572489667</c:v>
                </c:pt>
                <c:pt idx="7">
                  <c:v>0.8744371061091912</c:v>
                </c:pt>
                <c:pt idx="8">
                  <c:v>0.8711447486492117</c:v>
                </c:pt>
                <c:pt idx="9">
                  <c:v>0.8766011914676217</c:v>
                </c:pt>
                <c:pt idx="10">
                  <c:v>0.8751062444519395</c:v>
                </c:pt>
                <c:pt idx="11">
                  <c:v>0.8774037737128748</c:v>
                </c:pt>
                <c:pt idx="12">
                  <c:v>0.8775693541585101</c:v>
                </c:pt>
                <c:pt idx="13">
                  <c:v>0.8754121251136715</c:v>
                </c:pt>
                <c:pt idx="14">
                  <c:v>0.8773210963045992</c:v>
                </c:pt>
                <c:pt idx="15">
                  <c:v>0.8745869759283632</c:v>
                </c:pt>
                <c:pt idx="16">
                  <c:v>0.8720541975039466</c:v>
                </c:pt>
                <c:pt idx="17">
                  <c:v>0.869683593548499</c:v>
                </c:pt>
                <c:pt idx="18">
                  <c:v>0.8739912089233572</c:v>
                </c:pt>
                <c:pt idx="19">
                  <c:v>0.8699497161036379</c:v>
                </c:pt>
                <c:pt idx="20">
                  <c:v>0.8713792976094763</c:v>
                </c:pt>
                <c:pt idx="21">
                  <c:v>0.8711807478300556</c:v>
                </c:pt>
                <c:pt idx="22">
                  <c:v>0.8771562624059185</c:v>
                </c:pt>
                <c:pt idx="23">
                  <c:v>0.8761017790255202</c:v>
                </c:pt>
                <c:pt idx="24">
                  <c:v>0.8854252608083062</c:v>
                </c:pt>
                <c:pt idx="25">
                  <c:v>0.8929707522488601</c:v>
                </c:pt>
                <c:pt idx="26">
                  <c:v>0.8801087556760478</c:v>
                </c:pt>
                <c:pt idx="27">
                  <c:v>0.8769144022451058</c:v>
                </c:pt>
                <c:pt idx="28">
                  <c:v>0.8709638233959667</c:v>
                </c:pt>
                <c:pt idx="29">
                  <c:v>0.876579014064086</c:v>
                </c:pt>
                <c:pt idx="30">
                  <c:v>0.8770893035136452</c:v>
                </c:pt>
                <c:pt idx="31">
                  <c:v>0.8805531260193201</c:v>
                </c:pt>
                <c:pt idx="32">
                  <c:v>0.8817292354251085</c:v>
                </c:pt>
                <c:pt idx="33">
                  <c:v>0.8827426189212223</c:v>
                </c:pt>
                <c:pt idx="34">
                  <c:v>0.8725087744319446</c:v>
                </c:pt>
                <c:pt idx="35">
                  <c:v>0.8762955670629475</c:v>
                </c:pt>
                <c:pt idx="36">
                  <c:v>0.8744491025582375</c:v>
                </c:pt>
                <c:pt idx="37">
                  <c:v>0.8756972242131833</c:v>
                </c:pt>
                <c:pt idx="38">
                  <c:v>0.8759273654568748</c:v>
                </c:pt>
                <c:pt idx="39">
                  <c:v>0.8740432777261193</c:v>
                </c:pt>
                <c:pt idx="40">
                  <c:v>0.8823258124849123</c:v>
                </c:pt>
                <c:pt idx="41">
                  <c:v>0.8767587005941644</c:v>
                </c:pt>
                <c:pt idx="42">
                  <c:v>0.877643950381677</c:v>
                </c:pt>
                <c:pt idx="43">
                  <c:v>0.8742219160148268</c:v>
                </c:pt>
                <c:pt idx="44">
                  <c:v>0.8706100712066394</c:v>
                </c:pt>
                <c:pt idx="45">
                  <c:v>0.8757055788341743</c:v>
                </c:pt>
                <c:pt idx="46">
                  <c:v>0.8807168788090853</c:v>
                </c:pt>
                <c:pt idx="47">
                  <c:v>0.8750939053741283</c:v>
                </c:pt>
                <c:pt idx="48">
                  <c:v>0.8800269559081773</c:v>
                </c:pt>
                <c:pt idx="49">
                  <c:v>0.8785067349147354</c:v>
                </c:pt>
                <c:pt idx="50">
                  <c:v>0.8815650959736744</c:v>
                </c:pt>
                <c:pt idx="51">
                  <c:v>0.8821375161740742</c:v>
                </c:pt>
                <c:pt idx="52">
                  <c:v>0.9013883037614776</c:v>
                </c:pt>
                <c:pt idx="53">
                  <c:v>0.9646161925296403</c:v>
                </c:pt>
                <c:pt idx="54">
                  <c:v>0.847649217335369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64491099954357"/>
          <c:min val="0.5903398926654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40.2301</c:v>
                </c:pt>
                <c:pt idx="1">
                  <c:v>1114.7297</c:v>
                </c:pt>
                <c:pt idx="2">
                  <c:v>1136.245</c:v>
                </c:pt>
                <c:pt idx="3">
                  <c:v>1151.492</c:v>
                </c:pt>
                <c:pt idx="4">
                  <c:v>1166.3261</c:v>
                </c:pt>
                <c:pt idx="5">
                  <c:v>1174.9595</c:v>
                </c:pt>
                <c:pt idx="6">
                  <c:v>1122.564</c:v>
                </c:pt>
                <c:pt idx="7">
                  <c:v>1157.8773</c:v>
                </c:pt>
                <c:pt idx="8">
                  <c:v>1155.8708</c:v>
                </c:pt>
                <c:pt idx="9">
                  <c:v>1131.1836</c:v>
                </c:pt>
                <c:pt idx="10">
                  <c:v>1109.887</c:v>
                </c:pt>
                <c:pt idx="11">
                  <c:v>1150.9764</c:v>
                </c:pt>
                <c:pt idx="12">
                  <c:v>1150.8159</c:v>
                </c:pt>
                <c:pt idx="13">
                  <c:v>1125.4044</c:v>
                </c:pt>
                <c:pt idx="14">
                  <c:v>1167.764</c:v>
                </c:pt>
                <c:pt idx="15">
                  <c:v>1160.2388</c:v>
                </c:pt>
                <c:pt idx="16">
                  <c:v>1176.9495</c:v>
                </c:pt>
                <c:pt idx="17">
                  <c:v>1190.9191</c:v>
                </c:pt>
                <c:pt idx="18">
                  <c:v>1277.899</c:v>
                </c:pt>
                <c:pt idx="19">
                  <c:v>1332.5104</c:v>
                </c:pt>
                <c:pt idx="20">
                  <c:v>1289.2455</c:v>
                </c:pt>
                <c:pt idx="21">
                  <c:v>1303.8792</c:v>
                </c:pt>
                <c:pt idx="22">
                  <c:v>1298.4953</c:v>
                </c:pt>
                <c:pt idx="23">
                  <c:v>1304.114</c:v>
                </c:pt>
                <c:pt idx="24">
                  <c:v>1302.5216</c:v>
                </c:pt>
                <c:pt idx="25">
                  <c:v>1257.7355</c:v>
                </c:pt>
                <c:pt idx="26">
                  <c:v>1260.2938</c:v>
                </c:pt>
                <c:pt idx="27">
                  <c:v>1252.4654</c:v>
                </c:pt>
                <c:pt idx="28">
                  <c:v>1233.4428</c:v>
                </c:pt>
                <c:pt idx="29">
                  <c:v>1209.5267</c:v>
                </c:pt>
                <c:pt idx="30">
                  <c:v>1199.1009</c:v>
                </c:pt>
                <c:pt idx="31">
                  <c:v>1178.5025</c:v>
                </c:pt>
                <c:pt idx="32">
                  <c:v>1157.5777</c:v>
                </c:pt>
                <c:pt idx="33">
                  <c:v>1127.4858</c:v>
                </c:pt>
                <c:pt idx="34">
                  <c:v>1114.9643</c:v>
                </c:pt>
                <c:pt idx="35">
                  <c:v>1165.9151</c:v>
                </c:pt>
                <c:pt idx="36">
                  <c:v>1314.3813</c:v>
                </c:pt>
                <c:pt idx="37">
                  <c:v>1308.8588</c:v>
                </c:pt>
                <c:pt idx="38">
                  <c:v>1343.9235</c:v>
                </c:pt>
                <c:pt idx="39">
                  <c:v>1388.9314</c:v>
                </c:pt>
                <c:pt idx="40">
                  <c:v>1392.4275</c:v>
                </c:pt>
                <c:pt idx="41">
                  <c:v>1429.6642</c:v>
                </c:pt>
                <c:pt idx="42">
                  <c:v>1498.3095</c:v>
                </c:pt>
                <c:pt idx="43">
                  <c:v>1502.2365</c:v>
                </c:pt>
                <c:pt idx="44">
                  <c:v>1209.5906</c:v>
                </c:pt>
                <c:pt idx="45">
                  <c:v>1107.8595</c:v>
                </c:pt>
                <c:pt idx="46">
                  <c:v>1066.3068</c:v>
                </c:pt>
                <c:pt idx="47">
                  <c:v>1046.566</c:v>
                </c:pt>
                <c:pt idx="48">
                  <c:v>1040.8419</c:v>
                </c:pt>
                <c:pt idx="49">
                  <c:v>1036.8465</c:v>
                </c:pt>
                <c:pt idx="50">
                  <c:v>1065.0699</c:v>
                </c:pt>
                <c:pt idx="51">
                  <c:v>1120.2877</c:v>
                </c:pt>
                <c:pt idx="52">
                  <c:v>1136.1746</c:v>
                </c:pt>
                <c:pt idx="53">
                  <c:v>1158.5176</c:v>
                </c:pt>
                <c:pt idx="54">
                  <c:v>1166.7646</c:v>
                </c:pt>
                <c:pt idx="55">
                  <c:v>1187.726</c:v>
                </c:pt>
                <c:pt idx="56">
                  <c:v>1223.6985</c:v>
                </c:pt>
                <c:pt idx="57">
                  <c:v>1190.1023</c:v>
                </c:pt>
                <c:pt idx="58">
                  <c:v>1189.1653</c:v>
                </c:pt>
                <c:pt idx="59">
                  <c:v>1173.7781</c:v>
                </c:pt>
                <c:pt idx="60">
                  <c:v>1215.6817</c:v>
                </c:pt>
                <c:pt idx="61">
                  <c:v>1205.7061</c:v>
                </c:pt>
                <c:pt idx="62">
                  <c:v>1208.1825</c:v>
                </c:pt>
                <c:pt idx="63">
                  <c:v>1233.9114</c:v>
                </c:pt>
                <c:pt idx="64">
                  <c:v>1226.7757</c:v>
                </c:pt>
                <c:pt idx="65">
                  <c:v>1210.633</c:v>
                </c:pt>
                <c:pt idx="66">
                  <c:v>1134.2071</c:v>
                </c:pt>
                <c:pt idx="67">
                  <c:v>1058.84</c:v>
                </c:pt>
                <c:pt idx="68">
                  <c:v>1041.0178</c:v>
                </c:pt>
                <c:pt idx="69">
                  <c:v>1034.1875</c:v>
                </c:pt>
                <c:pt idx="70">
                  <c:v>990.6161</c:v>
                </c:pt>
                <c:pt idx="71">
                  <c:v>1039.1364</c:v>
                </c:pt>
                <c:pt idx="72">
                  <c:v>1093.8491</c:v>
                </c:pt>
                <c:pt idx="73">
                  <c:v>1069.5135</c:v>
                </c:pt>
                <c:pt idx="74">
                  <c:v>1056.7828</c:v>
                </c:pt>
                <c:pt idx="75">
                  <c:v>1004.9213</c:v>
                </c:pt>
                <c:pt idx="76">
                  <c:v>1001.0981</c:v>
                </c:pt>
                <c:pt idx="77">
                  <c:v>965.9668</c:v>
                </c:pt>
                <c:pt idx="78">
                  <c:v>1092.8681</c:v>
                </c:pt>
                <c:pt idx="79">
                  <c:v>506.885</c:v>
                </c:pt>
                <c:pt idx="80">
                  <c:v>536.4467</c:v>
                </c:pt>
                <c:pt idx="81">
                  <c:v>775.572</c:v>
                </c:pt>
                <c:pt idx="82">
                  <c:v>797.9217</c:v>
                </c:pt>
                <c:pt idx="83">
                  <c:v>809.2301</c:v>
                </c:pt>
                <c:pt idx="84">
                  <c:v>836.2273</c:v>
                </c:pt>
                <c:pt idx="85">
                  <c:v>905.3809</c:v>
                </c:pt>
                <c:pt idx="86">
                  <c:v>1159.4266</c:v>
                </c:pt>
                <c:pt idx="87">
                  <c:v>1210.0201</c:v>
                </c:pt>
                <c:pt idx="88">
                  <c:v>1214.9894</c:v>
                </c:pt>
                <c:pt idx="89">
                  <c:v>1102.6572</c:v>
                </c:pt>
                <c:pt idx="90">
                  <c:v>1144.9547</c:v>
                </c:pt>
                <c:pt idx="91">
                  <c:v>1221.4959</c:v>
                </c:pt>
                <c:pt idx="92">
                  <c:v>1300.2041</c:v>
                </c:pt>
                <c:pt idx="93">
                  <c:v>1380.8546</c:v>
                </c:pt>
                <c:pt idx="94">
                  <c:v>1323.4942</c:v>
                </c:pt>
                <c:pt idx="95">
                  <c:v>1438.1396</c:v>
                </c:pt>
                <c:pt idx="96">
                  <c:v>1324.2641</c:v>
                </c:pt>
                <c:pt idx="97">
                  <c:v>1364.8189</c:v>
                </c:pt>
                <c:pt idx="98">
                  <c:v>1366.3559</c:v>
                </c:pt>
                <c:pt idx="99">
                  <c:v>1336.062</c:v>
                </c:pt>
                <c:pt idx="100">
                  <c:v>1285.794</c:v>
                </c:pt>
                <c:pt idx="101">
                  <c:v>1372.097</c:v>
                </c:pt>
                <c:pt idx="102">
                  <c:v>1440.9281</c:v>
                </c:pt>
                <c:pt idx="103">
                  <c:v>1384.0691</c:v>
                </c:pt>
                <c:pt idx="104">
                  <c:v>1407.2877</c:v>
                </c:pt>
              </c:numCache>
            </c:numRef>
          </c:xVal>
          <c:yVal>
            <c:numRef>
              <c:f>Sheet1!$B$2:$B$106</c:f>
              <c:numCache>
                <c:formatCode>General</c:formatCode>
                <c:ptCount val="105"/>
                <c:pt idx="0">
                  <c:v>0.9347079037800687</c:v>
                </c:pt>
                <c:pt idx="1">
                  <c:v>0.9212548015364916</c:v>
                </c:pt>
                <c:pt idx="2">
                  <c:v>0.9175062972292192</c:v>
                </c:pt>
                <c:pt idx="3">
                  <c:v>0.9310130515848353</c:v>
                </c:pt>
                <c:pt idx="4">
                  <c:v>0.9318862275449101</c:v>
                </c:pt>
                <c:pt idx="5">
                  <c:v>0.9279141104294478</c:v>
                </c:pt>
                <c:pt idx="6">
                  <c:v>0.9158940397350993</c:v>
                </c:pt>
                <c:pt idx="7">
                  <c:v>0.9198443579766536</c:v>
                </c:pt>
                <c:pt idx="8">
                  <c:v>0.924812030075188</c:v>
                </c:pt>
                <c:pt idx="9">
                  <c:v>0.9302477183833116</c:v>
                </c:pt>
                <c:pt idx="10">
                  <c:v>0.9261627906976744</c:v>
                </c:pt>
                <c:pt idx="11">
                  <c:v>0.9254996971532404</c:v>
                </c:pt>
                <c:pt idx="12">
                  <c:v>0.9231231231231232</c:v>
                </c:pt>
                <c:pt idx="13">
                  <c:v>0.9283935242839353</c:v>
                </c:pt>
                <c:pt idx="14">
                  <c:v>0.9159717767799872</c:v>
                </c:pt>
                <c:pt idx="15">
                  <c:v>0.9262672811059908</c:v>
                </c:pt>
                <c:pt idx="16">
                  <c:v>0.9073543457497613</c:v>
                </c:pt>
                <c:pt idx="17">
                  <c:v>0.9144508670520232</c:v>
                </c:pt>
                <c:pt idx="18">
                  <c:v>0.9028400597907325</c:v>
                </c:pt>
                <c:pt idx="19">
                  <c:v>0.9090909090909091</c:v>
                </c:pt>
                <c:pt idx="20">
                  <c:v>0.9025110782865583</c:v>
                </c:pt>
                <c:pt idx="21">
                  <c:v>0.9122203098106713</c:v>
                </c:pt>
                <c:pt idx="22">
                  <c:v>0.9385964912280702</c:v>
                </c:pt>
                <c:pt idx="23">
                  <c:v>0.931098696461825</c:v>
                </c:pt>
                <c:pt idx="24">
                  <c:v>0.936026936026936</c:v>
                </c:pt>
                <c:pt idx="25">
                  <c:v>0.9452554744525548</c:v>
                </c:pt>
                <c:pt idx="26">
                  <c:v>0.9447852760736196</c:v>
                </c:pt>
                <c:pt idx="27">
                  <c:v>0.9517543859649122</c:v>
                </c:pt>
                <c:pt idx="28">
                  <c:v>0.9517884914463453</c:v>
                </c:pt>
                <c:pt idx="29">
                  <c:v>0.9603072983354674</c:v>
                </c:pt>
                <c:pt idx="30">
                  <c:v>0.9599332220367279</c:v>
                </c:pt>
                <c:pt idx="31">
                  <c:v>0.9496062992125984</c:v>
                </c:pt>
                <c:pt idx="32">
                  <c:v>0.965625</c:v>
                </c:pt>
                <c:pt idx="33">
                  <c:v>0.9551357733175915</c:v>
                </c:pt>
                <c:pt idx="34">
                  <c:v>0.9646511627906976</c:v>
                </c:pt>
                <c:pt idx="35">
                  <c:v>0.9619741100323624</c:v>
                </c:pt>
                <c:pt idx="36">
                  <c:v>0.9341397849462365</c:v>
                </c:pt>
                <c:pt idx="37">
                  <c:v>0.9550359712230215</c:v>
                </c:pt>
                <c:pt idx="38">
                  <c:v>0.9581151832460733</c:v>
                </c:pt>
                <c:pt idx="39">
                  <c:v>0.9524752475247524</c:v>
                </c:pt>
                <c:pt idx="40">
                  <c:v>0.9454277286135693</c:v>
                </c:pt>
                <c:pt idx="41">
                  <c:v>0.95</c:v>
                </c:pt>
                <c:pt idx="42">
                  <c:v>0.9613733905579399</c:v>
                </c:pt>
                <c:pt idx="43">
                  <c:v>0.9485981308411215</c:v>
                </c:pt>
                <c:pt idx="44">
                  <c:v>0.9662420382165605</c:v>
                </c:pt>
                <c:pt idx="45">
                  <c:v>0.9702495201535508</c:v>
                </c:pt>
                <c:pt idx="46">
                  <c:v>0.9729847494553376</c:v>
                </c:pt>
                <c:pt idx="47">
                  <c:v>0.9762931034482759</c:v>
                </c:pt>
                <c:pt idx="48">
                  <c:v>0.9733777038269551</c:v>
                </c:pt>
                <c:pt idx="49">
                  <c:v>0.978194816800715</c:v>
                </c:pt>
                <c:pt idx="50">
                  <c:v>0.9698744769874477</c:v>
                </c:pt>
                <c:pt idx="51">
                  <c:v>0.9734669811320755</c:v>
                </c:pt>
                <c:pt idx="52">
                  <c:v>0.9659955257270694</c:v>
                </c:pt>
                <c:pt idx="53">
                  <c:v>0.9610894941634242</c:v>
                </c:pt>
                <c:pt idx="54">
                  <c:v>0.9584535487593768</c:v>
                </c:pt>
                <c:pt idx="55">
                  <c:v>0.9614655716993051</c:v>
                </c:pt>
                <c:pt idx="56">
                  <c:v>0.9671094244149273</c:v>
                </c:pt>
                <c:pt idx="57">
                  <c:v>0.9568648079957917</c:v>
                </c:pt>
                <c:pt idx="58">
                  <c:v>0.9576622181316152</c:v>
                </c:pt>
                <c:pt idx="59">
                  <c:v>0.959703947368421</c:v>
                </c:pt>
                <c:pt idx="60">
                  <c:v>0.9567519858781994</c:v>
                </c:pt>
                <c:pt idx="61">
                  <c:v>0.9456302859444221</c:v>
                </c:pt>
                <c:pt idx="62">
                  <c:v>0.9507667473769169</c:v>
                </c:pt>
                <c:pt idx="63">
                  <c:v>0.9515593895155939</c:v>
                </c:pt>
                <c:pt idx="64">
                  <c:v>0.9348275862068965</c:v>
                </c:pt>
                <c:pt idx="65">
                  <c:v>0.945554249902076</c:v>
                </c:pt>
                <c:pt idx="66">
                  <c:v>0.9496051147047763</c:v>
                </c:pt>
                <c:pt idx="67">
                  <c:v>0.9549180327868853</c:v>
                </c:pt>
                <c:pt idx="68">
                  <c:v>0.9546956111373289</c:v>
                </c:pt>
                <c:pt idx="69">
                  <c:v>0.9540850776502363</c:v>
                </c:pt>
                <c:pt idx="70">
                  <c:v>0.951058201058201</c:v>
                </c:pt>
                <c:pt idx="71">
                  <c:v>0.9477401129943502</c:v>
                </c:pt>
                <c:pt idx="72">
                  <c:v>0.9462897526501767</c:v>
                </c:pt>
                <c:pt idx="73">
                  <c:v>0.9453513129879347</c:v>
                </c:pt>
                <c:pt idx="74">
                  <c:v>0.9550484094052559</c:v>
                </c:pt>
                <c:pt idx="75">
                  <c:v>0.958974358974359</c:v>
                </c:pt>
                <c:pt idx="76">
                  <c:v>0.9614065180102916</c:v>
                </c:pt>
                <c:pt idx="77">
                  <c:v>0.9597989949748744</c:v>
                </c:pt>
                <c:pt idx="78">
                  <c:v>0.9494505494505494</c:v>
                </c:pt>
                <c:pt idx="79">
                  <c:v>0.9803742583295298</c:v>
                </c:pt>
                <c:pt idx="80">
                  <c:v>0.9790141532454856</c:v>
                </c:pt>
                <c:pt idx="81">
                  <c:v>0.9649458253664754</c:v>
                </c:pt>
                <c:pt idx="82">
                  <c:v>0.9664586583463338</c:v>
                </c:pt>
                <c:pt idx="83">
                  <c:v>0.9596602972399151</c:v>
                </c:pt>
                <c:pt idx="84">
                  <c:v>0.9618834080717489</c:v>
                </c:pt>
                <c:pt idx="85">
                  <c:v>0.9552845528455285</c:v>
                </c:pt>
                <c:pt idx="86">
                  <c:v>0.9316546762589928</c:v>
                </c:pt>
                <c:pt idx="87">
                  <c:v>0.943217665615142</c:v>
                </c:pt>
                <c:pt idx="88">
                  <c:v>0.9361936193619362</c:v>
                </c:pt>
                <c:pt idx="89">
                  <c:v>0.9349397590361446</c:v>
                </c:pt>
                <c:pt idx="90">
                  <c:v>0.9414114513981359</c:v>
                </c:pt>
                <c:pt idx="91">
                  <c:v>0.9333333333333333</c:v>
                </c:pt>
                <c:pt idx="92">
                  <c:v>0.9323467230443975</c:v>
                </c:pt>
                <c:pt idx="93">
                  <c:v>0.9369369369369369</c:v>
                </c:pt>
                <c:pt idx="94">
                  <c:v>0.952088452088452</c:v>
                </c:pt>
                <c:pt idx="95">
                  <c:v>0.940795559666975</c:v>
                </c:pt>
                <c:pt idx="96">
                  <c:v>0.940959409594096</c:v>
                </c:pt>
                <c:pt idx="97">
                  <c:v>0.9454160042395336</c:v>
                </c:pt>
                <c:pt idx="98">
                  <c:v>0.933786078098472</c:v>
                </c:pt>
                <c:pt idx="99">
                  <c:v>0.9351818509182571</c:v>
                </c:pt>
                <c:pt idx="100">
                  <c:v>0.9418270294182703</c:v>
                </c:pt>
                <c:pt idx="101">
                  <c:v>0.9287859287859288</c:v>
                </c:pt>
                <c:pt idx="102">
                  <c:v>0.9006410256410257</c:v>
                </c:pt>
                <c:pt idx="103">
                  <c:v>0.915871121718377</c:v>
                </c:pt>
                <c:pt idx="104">
                  <c:v>0.914302600472813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43.0214</c:v>
                </c:pt>
                <c:pt idx="1">
                  <c:v>1479.0104</c:v>
                </c:pt>
                <c:pt idx="2">
                  <c:v>1481.9685</c:v>
                </c:pt>
                <c:pt idx="3">
                  <c:v>1514.761</c:v>
                </c:pt>
                <c:pt idx="4">
                  <c:v>1508.9806</c:v>
                </c:pt>
                <c:pt idx="5">
                  <c:v>1534.6775</c:v>
                </c:pt>
                <c:pt idx="6">
                  <c:v>1433.5813</c:v>
                </c:pt>
                <c:pt idx="7">
                  <c:v>1493.1737</c:v>
                </c:pt>
                <c:pt idx="8">
                  <c:v>1554.8486</c:v>
                </c:pt>
                <c:pt idx="9">
                  <c:v>1477.9798</c:v>
                </c:pt>
                <c:pt idx="10">
                  <c:v>1495.5683</c:v>
                </c:pt>
                <c:pt idx="11">
                  <c:v>1375.5705</c:v>
                </c:pt>
                <c:pt idx="12">
                  <c:v>1405.7597</c:v>
                </c:pt>
                <c:pt idx="13">
                  <c:v>1444.9151</c:v>
                </c:pt>
                <c:pt idx="14">
                  <c:v>1455.2135</c:v>
                </c:pt>
                <c:pt idx="15">
                  <c:v>1470.8428</c:v>
                </c:pt>
                <c:pt idx="16">
                  <c:v>1579.3382</c:v>
                </c:pt>
                <c:pt idx="17">
                  <c:v>1555.9529</c:v>
                </c:pt>
                <c:pt idx="18">
                  <c:v>1548.1272</c:v>
                </c:pt>
                <c:pt idx="19">
                  <c:v>1682.2821</c:v>
                </c:pt>
                <c:pt idx="20">
                  <c:v>1655.0488</c:v>
                </c:pt>
                <c:pt idx="21">
                  <c:v>1534.9968</c:v>
                </c:pt>
                <c:pt idx="22">
                  <c:v>1530.9275</c:v>
                </c:pt>
                <c:pt idx="23">
                  <c:v>1351.5504</c:v>
                </c:pt>
                <c:pt idx="24">
                  <c:v>1254.6019</c:v>
                </c:pt>
                <c:pt idx="25">
                  <c:v>1184.8599</c:v>
                </c:pt>
                <c:pt idx="26">
                  <c:v>1259.1211</c:v>
                </c:pt>
                <c:pt idx="27">
                  <c:v>1429.7706</c:v>
                </c:pt>
                <c:pt idx="28">
                  <c:v>1506.3049</c:v>
                </c:pt>
                <c:pt idx="29">
                  <c:v>1534.4073</c:v>
                </c:pt>
                <c:pt idx="30">
                  <c:v>1435.535</c:v>
                </c:pt>
                <c:pt idx="31">
                  <c:v>1287.8966</c:v>
                </c:pt>
                <c:pt idx="32">
                  <c:v>1424.6125</c:v>
                </c:pt>
                <c:pt idx="33">
                  <c:v>1481.2554</c:v>
                </c:pt>
                <c:pt idx="34">
                  <c:v>1532.5279</c:v>
                </c:pt>
                <c:pt idx="35">
                  <c:v>1499.0331</c:v>
                </c:pt>
                <c:pt idx="36">
                  <c:v>1486.7145</c:v>
                </c:pt>
                <c:pt idx="37">
                  <c:v>1557.3288</c:v>
                </c:pt>
                <c:pt idx="38">
                  <c:v>1470.7459</c:v>
                </c:pt>
                <c:pt idx="39">
                  <c:v>1472.3545</c:v>
                </c:pt>
                <c:pt idx="40">
                  <c:v>1466.3006</c:v>
                </c:pt>
                <c:pt idx="41">
                  <c:v>1560.4085</c:v>
                </c:pt>
                <c:pt idx="42">
                  <c:v>1532.3047</c:v>
                </c:pt>
                <c:pt idx="43">
                  <c:v>1526.2659</c:v>
                </c:pt>
                <c:pt idx="44">
                  <c:v>1506.8121</c:v>
                </c:pt>
                <c:pt idx="45">
                  <c:v>1464.4297</c:v>
                </c:pt>
                <c:pt idx="46">
                  <c:v>1438.7906</c:v>
                </c:pt>
                <c:pt idx="47">
                  <c:v>1436.8396</c:v>
                </c:pt>
                <c:pt idx="48">
                  <c:v>1409.4805</c:v>
                </c:pt>
                <c:pt idx="49">
                  <c:v>1411.0815</c:v>
                </c:pt>
                <c:pt idx="50">
                  <c:v>1289.4099</c:v>
                </c:pt>
                <c:pt idx="51">
                  <c:v>1280.7156</c:v>
                </c:pt>
              </c:numCache>
            </c:numRef>
          </c:xVal>
          <c:yVal>
            <c:numRef>
              <c:f>Sheet1!$B$109:$B$160</c:f>
              <c:numCache>
                <c:formatCode>General</c:formatCode>
                <c:ptCount val="52"/>
                <c:pt idx="0">
                  <c:v>0.9134134134134134</c:v>
                </c:pt>
                <c:pt idx="1">
                  <c:v>0.9050410316529894</c:v>
                </c:pt>
                <c:pt idx="2">
                  <c:v>0.9016227180527383</c:v>
                </c:pt>
                <c:pt idx="3">
                  <c:v>0.9020742884708153</c:v>
                </c:pt>
                <c:pt idx="4">
                  <c:v>0.9021796916533759</c:v>
                </c:pt>
                <c:pt idx="5">
                  <c:v>0.89015769439913</c:v>
                </c:pt>
                <c:pt idx="6">
                  <c:v>0.9117498739283914</c:v>
                </c:pt>
                <c:pt idx="7">
                  <c:v>0.9104938271604939</c:v>
                </c:pt>
                <c:pt idx="8">
                  <c:v>0.8757621951219512</c:v>
                </c:pt>
                <c:pt idx="9">
                  <c:v>0.880764163372859</c:v>
                </c:pt>
                <c:pt idx="10">
                  <c:v>0.8797780517879161</c:v>
                </c:pt>
                <c:pt idx="11">
                  <c:v>0.902544200086244</c:v>
                </c:pt>
                <c:pt idx="12">
                  <c:v>0.8944578313253012</c:v>
                </c:pt>
                <c:pt idx="13">
                  <c:v>0.8983050847457628</c:v>
                </c:pt>
                <c:pt idx="14">
                  <c:v>0.9065062875888463</c:v>
                </c:pt>
                <c:pt idx="15">
                  <c:v>0.8867454884878656</c:v>
                </c:pt>
                <c:pt idx="16">
                  <c:v>0.8805732484076433</c:v>
                </c:pt>
                <c:pt idx="17">
                  <c:v>0.8666061705989111</c:v>
                </c:pt>
                <c:pt idx="18">
                  <c:v>0.8754491017964072</c:v>
                </c:pt>
                <c:pt idx="19">
                  <c:v>0.8435155412647374</c:v>
                </c:pt>
                <c:pt idx="20">
                  <c:v>0.8479318734793188</c:v>
                </c:pt>
                <c:pt idx="21">
                  <c:v>0.8628257887517147</c:v>
                </c:pt>
                <c:pt idx="22">
                  <c:v>0.8506849315068493</c:v>
                </c:pt>
                <c:pt idx="23">
                  <c:v>0.8863346104725415</c:v>
                </c:pt>
                <c:pt idx="24">
                  <c:v>0.9080338266384778</c:v>
                </c:pt>
                <c:pt idx="25">
                  <c:v>0.9107883817427386</c:v>
                </c:pt>
                <c:pt idx="26">
                  <c:v>0.9112627986348123</c:v>
                </c:pt>
                <c:pt idx="27">
                  <c:v>0.8747099767981439</c:v>
                </c:pt>
                <c:pt idx="28">
                  <c:v>0.8704883227176221</c:v>
                </c:pt>
                <c:pt idx="29">
                  <c:v>0.8785046728971962</c:v>
                </c:pt>
                <c:pt idx="30">
                  <c:v>0.8891656288916563</c:v>
                </c:pt>
                <c:pt idx="31">
                  <c:v>0.8812154696132597</c:v>
                </c:pt>
                <c:pt idx="32">
                  <c:v>0.8788265306122449</c:v>
                </c:pt>
                <c:pt idx="33">
                  <c:v>0.9036144578313253</c:v>
                </c:pt>
                <c:pt idx="34">
                  <c:v>0.9006828057107387</c:v>
                </c:pt>
                <c:pt idx="35">
                  <c:v>0.8872586872586873</c:v>
                </c:pt>
                <c:pt idx="36">
                  <c:v>0.8639760837070254</c:v>
                </c:pt>
                <c:pt idx="37">
                  <c:v>0.8556998556998557</c:v>
                </c:pt>
                <c:pt idx="38">
                  <c:v>0.8704581358609794</c:v>
                </c:pt>
                <c:pt idx="39">
                  <c:v>0.8584428715874621</c:v>
                </c:pt>
                <c:pt idx="40">
                  <c:v>0.7379248658318426</c:v>
                </c:pt>
                <c:pt idx="41">
                  <c:v>0.8053753475440223</c:v>
                </c:pt>
                <c:pt idx="42">
                  <c:v>0.831140350877193</c:v>
                </c:pt>
                <c:pt idx="43">
                  <c:v>0.8254364089775561</c:v>
                </c:pt>
                <c:pt idx="44">
                  <c:v>0.847953216374269</c:v>
                </c:pt>
                <c:pt idx="45">
                  <c:v>0.8663946965833759</c:v>
                </c:pt>
                <c:pt idx="46">
                  <c:v>0.8765512736773351</c:v>
                </c:pt>
                <c:pt idx="47">
                  <c:v>0.8825710754017305</c:v>
                </c:pt>
                <c:pt idx="48">
                  <c:v>0.8643113159242192</c:v>
                </c:pt>
                <c:pt idx="49">
                  <c:v>0.8610054921841994</c:v>
                </c:pt>
                <c:pt idx="50">
                  <c:v>0.8906434126797077</c:v>
                </c:pt>
                <c:pt idx="51">
                  <c:v>0.87168949771689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21.1831007972343</c:v>
                </c:pt>
              </c:numCache>
            </c:numRef>
          </c:xVal>
          <c:yVal>
            <c:numRef>
              <c:f>Sheet1!$B$163:$B$164</c:f>
              <c:numCache>
                <c:formatCode>General</c:formatCode>
                <c:ptCount val="2"/>
                <c:pt idx="0">
                  <c:v>0.9646161925296403</c:v>
                </c:pt>
                <c:pt idx="1">
                  <c:v>0.964616192529640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21.1831007972343</c:v>
                </c:pt>
                <c:pt idx="1">
                  <c:v>721.1831007972343</c:v>
                </c:pt>
              </c:numCache>
            </c:numRef>
          </c:xVal>
          <c:yVal>
            <c:numRef>
              <c:f>Sheet1!$B$167:$B$168</c:f>
              <c:numCache>
                <c:formatCode>General</c:formatCode>
                <c:ptCount val="2"/>
                <c:pt idx="0">
                  <c:v>0.964616192529640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54.659634990031</c:v>
                </c:pt>
              </c:numCache>
            </c:numRef>
          </c:xVal>
          <c:yVal>
            <c:numRef>
              <c:f>Sheet1!$B$171:$B$172</c:f>
              <c:numCache>
                <c:formatCode>General</c:formatCode>
                <c:ptCount val="2"/>
                <c:pt idx="0">
                  <c:v>0.9013883037614776</c:v>
                </c:pt>
                <c:pt idx="1">
                  <c:v>0.90138830376147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54.659634990031</c:v>
                </c:pt>
                <c:pt idx="1">
                  <c:v>1254.659634990031</c:v>
                </c:pt>
              </c:numCache>
            </c:numRef>
          </c:xVal>
          <c:yVal>
            <c:numRef>
              <c:f>Sheet1!$B$175:$B$176</c:f>
              <c:numCache>
                <c:formatCode>General</c:formatCode>
                <c:ptCount val="2"/>
                <c:pt idx="0">
                  <c:v>0.90138830376147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708.0757166562382</c:v>
                </c:pt>
              </c:numCache>
            </c:numRef>
          </c:xVal>
          <c:yVal>
            <c:numRef>
              <c:f>Sheet1!$B$179:$B$180</c:f>
              <c:numCache>
                <c:formatCode>General</c:formatCode>
                <c:ptCount val="2"/>
                <c:pt idx="0">
                  <c:v>0.8476492173353699</c:v>
                </c:pt>
                <c:pt idx="1">
                  <c:v>0.847649217335369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708.0757166562382</c:v>
                </c:pt>
                <c:pt idx="1">
                  <c:v>1708.0757166562382</c:v>
                </c:pt>
              </c:numCache>
            </c:numRef>
          </c:xVal>
          <c:yVal>
            <c:numRef>
              <c:f>Sheet1!$B$183:$B$184</c:f>
              <c:numCache>
                <c:formatCode>General</c:formatCode>
                <c:ptCount val="2"/>
                <c:pt idx="0">
                  <c:v>0.847649217335369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43.0214</c:v>
                </c:pt>
                <c:pt idx="1">
                  <c:v>1479.0104</c:v>
                </c:pt>
                <c:pt idx="2">
                  <c:v>1481.9685</c:v>
                </c:pt>
                <c:pt idx="3">
                  <c:v>1514.761</c:v>
                </c:pt>
                <c:pt idx="4">
                  <c:v>1508.9806</c:v>
                </c:pt>
                <c:pt idx="5">
                  <c:v>1534.6775</c:v>
                </c:pt>
                <c:pt idx="6">
                  <c:v>1433.5813</c:v>
                </c:pt>
                <c:pt idx="7">
                  <c:v>1493.1737</c:v>
                </c:pt>
                <c:pt idx="8">
                  <c:v>1554.8486</c:v>
                </c:pt>
                <c:pt idx="9">
                  <c:v>1477.9798</c:v>
                </c:pt>
                <c:pt idx="10">
                  <c:v>1495.5683</c:v>
                </c:pt>
                <c:pt idx="11">
                  <c:v>1375.5705</c:v>
                </c:pt>
                <c:pt idx="12">
                  <c:v>1405.7597</c:v>
                </c:pt>
                <c:pt idx="13">
                  <c:v>1444.9151</c:v>
                </c:pt>
                <c:pt idx="14">
                  <c:v>1455.2135</c:v>
                </c:pt>
                <c:pt idx="15">
                  <c:v>1470.8428</c:v>
                </c:pt>
                <c:pt idx="16">
                  <c:v>1579.3382</c:v>
                </c:pt>
                <c:pt idx="17">
                  <c:v>1555.9529</c:v>
                </c:pt>
                <c:pt idx="18">
                  <c:v>1548.1272</c:v>
                </c:pt>
                <c:pt idx="19">
                  <c:v>1682.2821</c:v>
                </c:pt>
                <c:pt idx="20">
                  <c:v>1655.0488</c:v>
                </c:pt>
                <c:pt idx="21">
                  <c:v>1534.9968</c:v>
                </c:pt>
                <c:pt idx="22">
                  <c:v>1530.9275</c:v>
                </c:pt>
                <c:pt idx="23">
                  <c:v>1351.5504</c:v>
                </c:pt>
                <c:pt idx="24">
                  <c:v>1254.6019</c:v>
                </c:pt>
                <c:pt idx="25">
                  <c:v>1184.8599</c:v>
                </c:pt>
                <c:pt idx="26">
                  <c:v>1259.1211</c:v>
                </c:pt>
                <c:pt idx="27">
                  <c:v>1429.7706</c:v>
                </c:pt>
                <c:pt idx="28">
                  <c:v>1506.3049</c:v>
                </c:pt>
                <c:pt idx="29">
                  <c:v>1534.4073</c:v>
                </c:pt>
                <c:pt idx="30">
                  <c:v>1435.535</c:v>
                </c:pt>
                <c:pt idx="31">
                  <c:v>1287.8966</c:v>
                </c:pt>
                <c:pt idx="32">
                  <c:v>1424.6125</c:v>
                </c:pt>
                <c:pt idx="33">
                  <c:v>1481.2554</c:v>
                </c:pt>
                <c:pt idx="34">
                  <c:v>1532.5279</c:v>
                </c:pt>
                <c:pt idx="35">
                  <c:v>1499.0331</c:v>
                </c:pt>
                <c:pt idx="36">
                  <c:v>1486.7145</c:v>
                </c:pt>
                <c:pt idx="37">
                  <c:v>1557.3288</c:v>
                </c:pt>
                <c:pt idx="38">
                  <c:v>1470.7459</c:v>
                </c:pt>
                <c:pt idx="39">
                  <c:v>1472.3545</c:v>
                </c:pt>
                <c:pt idx="40">
                  <c:v>1466.3006</c:v>
                </c:pt>
                <c:pt idx="41">
                  <c:v>1560.4085</c:v>
                </c:pt>
                <c:pt idx="42">
                  <c:v>1532.3047</c:v>
                </c:pt>
                <c:pt idx="43">
                  <c:v>1526.2659</c:v>
                </c:pt>
                <c:pt idx="44">
                  <c:v>1506.8121</c:v>
                </c:pt>
                <c:pt idx="45">
                  <c:v>1464.4297</c:v>
                </c:pt>
                <c:pt idx="46">
                  <c:v>1438.7906</c:v>
                </c:pt>
                <c:pt idx="47">
                  <c:v>1436.8396</c:v>
                </c:pt>
                <c:pt idx="48">
                  <c:v>1409.4805</c:v>
                </c:pt>
                <c:pt idx="49">
                  <c:v>1411.0815</c:v>
                </c:pt>
                <c:pt idx="50">
                  <c:v>1289.4099</c:v>
                </c:pt>
                <c:pt idx="51">
                  <c:v>1280.7156</c:v>
                </c:pt>
                <c:pt idx="52">
                  <c:v>1254.659634990031</c:v>
                </c:pt>
                <c:pt idx="53">
                  <c:v>721.1831007972343</c:v>
                </c:pt>
                <c:pt idx="54">
                  <c:v>1708.0757166562382</c:v>
                </c:pt>
              </c:numCache>
            </c:numRef>
          </c:xVal>
          <c:yVal>
            <c:numRef>
              <c:f>Sheet1!$B$187:$B$241</c:f>
              <c:numCache>
                <c:formatCode>General</c:formatCode>
                <c:ptCount val="55"/>
                <c:pt idx="0">
                  <c:v>0.8790635791243467</c:v>
                </c:pt>
                <c:pt idx="1">
                  <c:v>0.8747981459833737</c:v>
                </c:pt>
                <c:pt idx="2">
                  <c:v>0.8744475505854934</c:v>
                </c:pt>
                <c:pt idx="3">
                  <c:v>0.8705609681220918</c:v>
                </c:pt>
                <c:pt idx="4">
                  <c:v>0.8712460638382296</c:v>
                </c:pt>
                <c:pt idx="5">
                  <c:v>0.8682004552111415</c:v>
                </c:pt>
                <c:pt idx="6">
                  <c:v>0.8801824241990668</c:v>
                </c:pt>
                <c:pt idx="7">
                  <c:v>0.8731195050318178</c:v>
                </c:pt>
                <c:pt idx="8">
                  <c:v>0.8658097669889103</c:v>
                </c:pt>
                <c:pt idx="9">
                  <c:v>0.8749202931782134</c:v>
                </c:pt>
                <c:pt idx="10">
                  <c:v>0.8728356959179393</c:v>
                </c:pt>
                <c:pt idx="11">
                  <c:v>0.8870578913933306</c:v>
                </c:pt>
                <c:pt idx="12">
                  <c:v>0.8834798532655842</c:v>
                </c:pt>
                <c:pt idx="13">
                  <c:v>0.8788391369131416</c:v>
                </c:pt>
                <c:pt idx="14">
                  <c:v>0.877618565720305</c:v>
                </c:pt>
                <c:pt idx="15">
                  <c:v>0.875766173761923</c:v>
                </c:pt>
                <c:pt idx="16">
                  <c:v>0.8629072481234465</c:v>
                </c:pt>
                <c:pt idx="17">
                  <c:v>0.8656788848355419</c:v>
                </c:pt>
                <c:pt idx="18">
                  <c:v>0.8666063904659098</c:v>
                </c:pt>
                <c:pt idx="19">
                  <c:v>0.8507062888658674</c:v>
                </c:pt>
                <c:pt idx="20">
                  <c:v>0.8539339923407642</c:v>
                </c:pt>
                <c:pt idx="21">
                  <c:v>0.8681626116255484</c:v>
                </c:pt>
                <c:pt idx="22">
                  <c:v>0.8686449069680298</c:v>
                </c:pt>
                <c:pt idx="23">
                  <c:v>0.889904764898832</c:v>
                </c:pt>
                <c:pt idx="24">
                  <c:v>0.9013951465395451</c:v>
                </c:pt>
                <c:pt idx="25">
                  <c:v>0.9096610010539175</c:v>
                </c:pt>
                <c:pt idx="26">
                  <c:v>0.900859528838284</c:v>
                </c:pt>
                <c:pt idx="27">
                  <c:v>0.8806340701483931</c:v>
                </c:pt>
                <c:pt idx="28">
                  <c:v>0.8715631890558044</c:v>
                </c:pt>
                <c:pt idx="29">
                  <c:v>0.8682324794417312</c:v>
                </c:pt>
                <c:pt idx="30">
                  <c:v>0.8799508707597514</c:v>
                </c:pt>
                <c:pt idx="31">
                  <c:v>0.8974490430968611</c:v>
                </c:pt>
                <c:pt idx="32">
                  <c:v>0.8812454105769811</c:v>
                </c:pt>
                <c:pt idx="33">
                  <c:v>0.8745320675315833</c:v>
                </c:pt>
                <c:pt idx="34">
                  <c:v>0.8684552268102368</c:v>
                </c:pt>
                <c:pt idx="35">
                  <c:v>0.8724250461986683</c:v>
                </c:pt>
                <c:pt idx="36">
                  <c:v>0.8738850524419757</c:v>
                </c:pt>
                <c:pt idx="37">
                  <c:v>0.8655158125229279</c:v>
                </c:pt>
                <c:pt idx="38">
                  <c:v>0.875777658395321</c:v>
                </c:pt>
                <c:pt idx="39">
                  <c:v>0.8755870063696862</c:v>
                </c:pt>
                <c:pt idx="40">
                  <c:v>0.8763045174339597</c:v>
                </c:pt>
                <c:pt idx="41">
                  <c:v>0.8651508050360776</c:v>
                </c:pt>
                <c:pt idx="42">
                  <c:v>0.8684816805788067</c:v>
                </c:pt>
                <c:pt idx="43">
                  <c:v>0.8691974019840057</c:v>
                </c:pt>
                <c:pt idx="44">
                  <c:v>0.8715030754741795</c:v>
                </c:pt>
                <c:pt idx="45">
                  <c:v>0.8765262573784829</c:v>
                </c:pt>
                <c:pt idx="46">
                  <c:v>0.8795650155224914</c:v>
                </c:pt>
                <c:pt idx="47">
                  <c:v>0.8797962489565418</c:v>
                </c:pt>
                <c:pt idx="48">
                  <c:v>0.8830388623063764</c:v>
                </c:pt>
                <c:pt idx="49">
                  <c:v>0.8828491110363023</c:v>
                </c:pt>
                <c:pt idx="50">
                  <c:v>0.8972696860718747</c:v>
                </c:pt>
                <c:pt idx="51">
                  <c:v>0.8983001385811848</c:v>
                </c:pt>
                <c:pt idx="52">
                  <c:v>0.9013883037614776</c:v>
                </c:pt>
                <c:pt idx="53">
                  <c:v>0.9646161925296403</c:v>
                </c:pt>
                <c:pt idx="54">
                  <c:v>0.847649217335369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50.0"/>
          <c:min val="40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64491099954357"/>
          <c:min val="0.5903398926654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6</c:f>
              <c:numCache>
                <c:formatCode>General</c:formatCode>
                <c:ptCount val="45"/>
                <c:pt idx="0">
                  <c:v>0.0</c:v>
                </c:pt>
                <c:pt idx="1">
                  <c:v>0.15739603654060327</c:v>
                </c:pt>
                <c:pt idx="2">
                  <c:v>0.15800257630842462</c:v>
                </c:pt>
                <c:pt idx="3">
                  <c:v>0.23033627030054135</c:v>
                </c:pt>
                <c:pt idx="4">
                  <c:v>0.3050046718750536</c:v>
                </c:pt>
                <c:pt idx="5">
                  <c:v>0.2937523898881372</c:v>
                </c:pt>
                <c:pt idx="6">
                  <c:v>0.2794086683397743</c:v>
                </c:pt>
                <c:pt idx="7">
                  <c:v>0.23041903866576138</c:v>
                </c:pt>
                <c:pt idx="8">
                  <c:v>0.24744025531214364</c:v>
                </c:pt>
                <c:pt idx="9">
                  <c:v>0.24262869763965078</c:v>
                </c:pt>
                <c:pt idx="10">
                  <c:v>0.21625561775744562</c:v>
                </c:pt>
                <c:pt idx="11">
                  <c:v>0.21731232404639236</c:v>
                </c:pt>
                <c:pt idx="12">
                  <c:v>0.2596102138766514</c:v>
                </c:pt>
                <c:pt idx="13">
                  <c:v>0.2562598986474344</c:v>
                </c:pt>
                <c:pt idx="14">
                  <c:v>0.22217778687602122</c:v>
                </c:pt>
                <c:pt idx="15">
                  <c:v>0.21445837518177838</c:v>
                </c:pt>
                <c:pt idx="16">
                  <c:v>0.22509816218727743</c:v>
                </c:pt>
                <c:pt idx="17">
                  <c:v>0.20036647998340593</c:v>
                </c:pt>
                <c:pt idx="18">
                  <c:v>0.22638721160992414</c:v>
                </c:pt>
                <c:pt idx="19">
                  <c:v>0.11504643290237421</c:v>
                </c:pt>
                <c:pt idx="20">
                  <c:v>0.11339769508598016</c:v>
                </c:pt>
                <c:pt idx="21">
                  <c:v>0.18360393204051392</c:v>
                </c:pt>
                <c:pt idx="22">
                  <c:v>0.17966623519271532</c:v>
                </c:pt>
                <c:pt idx="23">
                  <c:v>0.15938197467157741</c:v>
                </c:pt>
                <c:pt idx="24">
                  <c:v>0.18205035563536306</c:v>
                </c:pt>
                <c:pt idx="25">
                  <c:v>0.19187427311833893</c:v>
                </c:pt>
                <c:pt idx="26">
                  <c:v>0.29757995076825405</c:v>
                </c:pt>
                <c:pt idx="27">
                  <c:v>0.27831177867414153</c:v>
                </c:pt>
                <c:pt idx="28">
                  <c:v>0.2948556104959806</c:v>
                </c:pt>
                <c:pt idx="29">
                  <c:v>0.24344150051623217</c:v>
                </c:pt>
                <c:pt idx="30">
                  <c:v>0.22339390838657228</c:v>
                </c:pt>
                <c:pt idx="31">
                  <c:v>0.29720094890510945</c:v>
                </c:pt>
                <c:pt idx="32">
                  <c:v>0.3049688276962049</c:v>
                </c:pt>
                <c:pt idx="33">
                  <c:v>0.3101998427496349</c:v>
                </c:pt>
                <c:pt idx="34">
                  <c:v>0.29280346978167565</c:v>
                </c:pt>
                <c:pt idx="35">
                  <c:v>0.3074957624012891</c:v>
                </c:pt>
                <c:pt idx="36">
                  <c:v>0.31669886234753086</c:v>
                </c:pt>
                <c:pt idx="37">
                  <c:v>0.3118635639566118</c:v>
                </c:pt>
                <c:pt idx="38">
                  <c:v>0.33263711967856247</c:v>
                </c:pt>
                <c:pt idx="39">
                  <c:v>0.32834687037776766</c:v>
                </c:pt>
                <c:pt idx="40">
                  <c:v>0.3314719208485288</c:v>
                </c:pt>
                <c:pt idx="41">
                  <c:v>0.34434011994285263</c:v>
                </c:pt>
                <c:pt idx="42">
                  <c:v>0.3399073098933414</c:v>
                </c:pt>
                <c:pt idx="43">
                  <c:v>0.31981315248648434</c:v>
                </c:pt>
                <c:pt idx="44">
                  <c:v>0.35044932887482916</c:v>
                </c:pt>
              </c:numCache>
            </c:numRef>
          </c:xVal>
          <c:yVal>
            <c:numRef>
              <c:f>Sheet1!$B$2:$B$46</c:f>
              <c:numCache>
                <c:formatCode>General</c:formatCode>
                <c:ptCount val="45"/>
                <c:pt idx="0">
                  <c:v>0.9567519858781994</c:v>
                </c:pt>
                <c:pt idx="1">
                  <c:v>0.9456302859444221</c:v>
                </c:pt>
                <c:pt idx="2">
                  <c:v>0.9507667473769169</c:v>
                </c:pt>
                <c:pt idx="3">
                  <c:v>0.9515593895155939</c:v>
                </c:pt>
                <c:pt idx="4">
                  <c:v>0.9348275862068965</c:v>
                </c:pt>
                <c:pt idx="5">
                  <c:v>0.945554249902076</c:v>
                </c:pt>
                <c:pt idx="6">
                  <c:v>0.9496051147047763</c:v>
                </c:pt>
                <c:pt idx="7">
                  <c:v>0.9549180327868853</c:v>
                </c:pt>
                <c:pt idx="8">
                  <c:v>0.9546956111373289</c:v>
                </c:pt>
                <c:pt idx="9">
                  <c:v>0.9540850776502363</c:v>
                </c:pt>
                <c:pt idx="10">
                  <c:v>0.951058201058201</c:v>
                </c:pt>
                <c:pt idx="11">
                  <c:v>0.9477401129943502</c:v>
                </c:pt>
                <c:pt idx="12">
                  <c:v>0.9462897526501767</c:v>
                </c:pt>
                <c:pt idx="13">
                  <c:v>0.9453513129879347</c:v>
                </c:pt>
                <c:pt idx="14">
                  <c:v>0.9550484094052559</c:v>
                </c:pt>
                <c:pt idx="15">
                  <c:v>0.958974358974359</c:v>
                </c:pt>
                <c:pt idx="16">
                  <c:v>0.9614065180102916</c:v>
                </c:pt>
                <c:pt idx="17">
                  <c:v>0.9597989949748744</c:v>
                </c:pt>
                <c:pt idx="18">
                  <c:v>0.9494505494505494</c:v>
                </c:pt>
                <c:pt idx="19">
                  <c:v>0.9803742583295298</c:v>
                </c:pt>
                <c:pt idx="20">
                  <c:v>0.9790141532454856</c:v>
                </c:pt>
                <c:pt idx="21">
                  <c:v>0.9649458253664754</c:v>
                </c:pt>
                <c:pt idx="22">
                  <c:v>0.9664586583463338</c:v>
                </c:pt>
                <c:pt idx="23">
                  <c:v>0.9596602972399151</c:v>
                </c:pt>
                <c:pt idx="24">
                  <c:v>0.9618834080717489</c:v>
                </c:pt>
                <c:pt idx="25">
                  <c:v>0.9552845528455285</c:v>
                </c:pt>
                <c:pt idx="26">
                  <c:v>0.9316546762589928</c:v>
                </c:pt>
                <c:pt idx="27">
                  <c:v>0.943217665615142</c:v>
                </c:pt>
                <c:pt idx="28">
                  <c:v>0.9361936193619362</c:v>
                </c:pt>
                <c:pt idx="29">
                  <c:v>0.9349397590361446</c:v>
                </c:pt>
                <c:pt idx="30">
                  <c:v>0.9414114513981359</c:v>
                </c:pt>
                <c:pt idx="31">
                  <c:v>0.9333333333333333</c:v>
                </c:pt>
                <c:pt idx="32">
                  <c:v>0.9323467230443975</c:v>
                </c:pt>
                <c:pt idx="33">
                  <c:v>0.9369369369369369</c:v>
                </c:pt>
                <c:pt idx="34">
                  <c:v>0.952088452088452</c:v>
                </c:pt>
                <c:pt idx="35">
                  <c:v>0.940795559666975</c:v>
                </c:pt>
                <c:pt idx="36">
                  <c:v>0.940959409594096</c:v>
                </c:pt>
                <c:pt idx="37">
                  <c:v>0.9454160042395336</c:v>
                </c:pt>
                <c:pt idx="38">
                  <c:v>0.933786078098472</c:v>
                </c:pt>
                <c:pt idx="39">
                  <c:v>0.9351818509182571</c:v>
                </c:pt>
                <c:pt idx="40">
                  <c:v>0.9418270294182703</c:v>
                </c:pt>
                <c:pt idx="41">
                  <c:v>0.9287859287859288</c:v>
                </c:pt>
                <c:pt idx="42">
                  <c:v>0.9006410256410257</c:v>
                </c:pt>
                <c:pt idx="43">
                  <c:v>0.915871121718377</c:v>
                </c:pt>
                <c:pt idx="44">
                  <c:v>0.9143026004728132</c:v>
                </c:pt>
              </c:numCache>
            </c:numRef>
          </c:yVal>
          <c:smooth val="0"/>
          <c:extLst>
            <c:ext xmlns:c16="http://schemas.microsoft.com/office/drawing/2014/chart" uri="{C3380CC4-5D6E-409C-BE32-E72D297353CC}">
              <c16:uniqueId val="{00000000-096C-4121-9522-6AB7243CCAAE}"/>
            </c:ext>
          </c:extLst>
        </c:ser>
        <c:ser>
          <c:idx val="1"/>
          <c:order val="1"/>
          <c:tx>
            <c:strRef>
              <c:f>Sheet1!$B$4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9:$A$100</c:f>
              <c:numCache>
                <c:formatCode>General</c:formatCode>
                <c:ptCount val="52"/>
                <c:pt idx="0">
                  <c:v>0.3602385787528146</c:v>
                </c:pt>
                <c:pt idx="1">
                  <c:v>0.4072922927869592</c:v>
                </c:pt>
                <c:pt idx="2">
                  <c:v>0.34896170266413434</c:v>
                </c:pt>
                <c:pt idx="3">
                  <c:v>0.36068059332485136</c:v>
                </c:pt>
                <c:pt idx="4">
                  <c:v>0.3451492469462534</c:v>
                </c:pt>
                <c:pt idx="5">
                  <c:v>0.39324311457007727</c:v>
                </c:pt>
                <c:pt idx="6">
                  <c:v>0.35352675776987896</c:v>
                </c:pt>
                <c:pt idx="7">
                  <c:v>0.331958241976699</c:v>
                </c:pt>
                <c:pt idx="8">
                  <c:v>0.38900054527925637</c:v>
                </c:pt>
                <c:pt idx="9">
                  <c:v>0.3685527632882917</c:v>
                </c:pt>
                <c:pt idx="10">
                  <c:v>0.38481659482893926</c:v>
                </c:pt>
                <c:pt idx="11">
                  <c:v>0.3302068868768466</c:v>
                </c:pt>
                <c:pt idx="12">
                  <c:v>0.31989752517877107</c:v>
                </c:pt>
                <c:pt idx="13">
                  <c:v>0.3349310987704478</c:v>
                </c:pt>
                <c:pt idx="14">
                  <c:v>0.34245222368671957</c:v>
                </c:pt>
                <c:pt idx="15">
                  <c:v>0.3208218838829146</c:v>
                </c:pt>
                <c:pt idx="16">
                  <c:v>0.3646102810224696</c:v>
                </c:pt>
                <c:pt idx="17">
                  <c:v>0.3287660236821392</c:v>
                </c:pt>
                <c:pt idx="18">
                  <c:v>0.3240357708609825</c:v>
                </c:pt>
                <c:pt idx="19">
                  <c:v>0.34668988728450456</c:v>
                </c:pt>
                <c:pt idx="20">
                  <c:v>0.3691668451106353</c:v>
                </c:pt>
                <c:pt idx="21">
                  <c:v>0.3057996833781329</c:v>
                </c:pt>
                <c:pt idx="22">
                  <c:v>0.3377453957287237</c:v>
                </c:pt>
                <c:pt idx="23">
                  <c:v>0.24004091998934377</c:v>
                </c:pt>
                <c:pt idx="24">
                  <c:v>0.27734692096860464</c:v>
                </c:pt>
                <c:pt idx="25">
                  <c:v>0.2319479866100268</c:v>
                </c:pt>
                <c:pt idx="26">
                  <c:v>0.22221838069068114</c:v>
                </c:pt>
                <c:pt idx="27">
                  <c:v>0.27637156607356966</c:v>
                </c:pt>
                <c:pt idx="28">
                  <c:v>0.310804755967889</c:v>
                </c:pt>
                <c:pt idx="29">
                  <c:v>0.32594950610727563</c:v>
                </c:pt>
                <c:pt idx="30">
                  <c:v>0.16541280175145476</c:v>
                </c:pt>
                <c:pt idx="31">
                  <c:v>0.2891063696054773</c:v>
                </c:pt>
                <c:pt idx="32">
                  <c:v>0.2668313354560779</c:v>
                </c:pt>
                <c:pt idx="33">
                  <c:v>0.3436352545170907</c:v>
                </c:pt>
                <c:pt idx="34">
                  <c:v>0.3930507280372382</c:v>
                </c:pt>
                <c:pt idx="35">
                  <c:v>0.3303682246119333</c:v>
                </c:pt>
                <c:pt idx="36">
                  <c:v>0.3177721132564931</c:v>
                </c:pt>
                <c:pt idx="37">
                  <c:v>0.20949860094705122</c:v>
                </c:pt>
                <c:pt idx="38">
                  <c:v>0.31319861506944935</c:v>
                </c:pt>
                <c:pt idx="39">
                  <c:v>0.3529314796778751</c:v>
                </c:pt>
                <c:pt idx="40">
                  <c:v>0.31263892496091056</c:v>
                </c:pt>
                <c:pt idx="41">
                  <c:v>0.33842693752703995</c:v>
                </c:pt>
                <c:pt idx="42">
                  <c:v>0.32949246317600256</c:v>
                </c:pt>
                <c:pt idx="43">
                  <c:v>0.35670068311237757</c:v>
                </c:pt>
                <c:pt idx="44">
                  <c:v>0.4007871675512037</c:v>
                </c:pt>
                <c:pt idx="45">
                  <c:v>0.37151457820124323</c:v>
                </c:pt>
                <c:pt idx="46">
                  <c:v>0.31569156399181997</c:v>
                </c:pt>
                <c:pt idx="47">
                  <c:v>0.31964396985623317</c:v>
                </c:pt>
                <c:pt idx="48">
                  <c:v>0.2527135209574753</c:v>
                </c:pt>
                <c:pt idx="49">
                  <c:v>0.312616871469846</c:v>
                </c:pt>
                <c:pt idx="50">
                  <c:v>0.33237925186784034</c:v>
                </c:pt>
                <c:pt idx="51">
                  <c:v>0.2521513721439189</c:v>
                </c:pt>
              </c:numCache>
            </c:numRef>
          </c:xVal>
          <c:yVal>
            <c:numRef>
              <c:f>Sheet1!$B$49:$B$100</c:f>
              <c:numCache>
                <c:formatCode>General</c:formatCode>
                <c:ptCount val="52"/>
                <c:pt idx="0">
                  <c:v>0.9134134134134134</c:v>
                </c:pt>
                <c:pt idx="1">
                  <c:v>0.9050410316529894</c:v>
                </c:pt>
                <c:pt idx="2">
                  <c:v>0.9016227180527383</c:v>
                </c:pt>
                <c:pt idx="3">
                  <c:v>0.9020742884708153</c:v>
                </c:pt>
                <c:pt idx="4">
                  <c:v>0.9021796916533759</c:v>
                </c:pt>
                <c:pt idx="5">
                  <c:v>0.89015769439913</c:v>
                </c:pt>
                <c:pt idx="6">
                  <c:v>0.9117498739283914</c:v>
                </c:pt>
                <c:pt idx="7">
                  <c:v>0.9104938271604939</c:v>
                </c:pt>
                <c:pt idx="8">
                  <c:v>0.8757621951219512</c:v>
                </c:pt>
                <c:pt idx="9">
                  <c:v>0.880764163372859</c:v>
                </c:pt>
                <c:pt idx="10">
                  <c:v>0.8797780517879161</c:v>
                </c:pt>
                <c:pt idx="11">
                  <c:v>0.902544200086244</c:v>
                </c:pt>
                <c:pt idx="12">
                  <c:v>0.8944578313253012</c:v>
                </c:pt>
                <c:pt idx="13">
                  <c:v>0.8983050847457628</c:v>
                </c:pt>
                <c:pt idx="14">
                  <c:v>0.9065062875888463</c:v>
                </c:pt>
                <c:pt idx="15">
                  <c:v>0.8867454884878656</c:v>
                </c:pt>
                <c:pt idx="16">
                  <c:v>0.8805732484076433</c:v>
                </c:pt>
                <c:pt idx="17">
                  <c:v>0.8666061705989111</c:v>
                </c:pt>
                <c:pt idx="18">
                  <c:v>0.8754491017964072</c:v>
                </c:pt>
                <c:pt idx="19">
                  <c:v>0.8435155412647374</c:v>
                </c:pt>
                <c:pt idx="20">
                  <c:v>0.8479318734793188</c:v>
                </c:pt>
                <c:pt idx="21">
                  <c:v>0.8628257887517147</c:v>
                </c:pt>
                <c:pt idx="22">
                  <c:v>0.8506849315068493</c:v>
                </c:pt>
                <c:pt idx="23">
                  <c:v>0.8863346104725415</c:v>
                </c:pt>
                <c:pt idx="24">
                  <c:v>0.9080338266384778</c:v>
                </c:pt>
                <c:pt idx="25">
                  <c:v>0.9107883817427386</c:v>
                </c:pt>
                <c:pt idx="26">
                  <c:v>0.9112627986348123</c:v>
                </c:pt>
                <c:pt idx="27">
                  <c:v>0.8747099767981439</c:v>
                </c:pt>
                <c:pt idx="28">
                  <c:v>0.8704883227176221</c:v>
                </c:pt>
                <c:pt idx="29">
                  <c:v>0.8785046728971962</c:v>
                </c:pt>
                <c:pt idx="30">
                  <c:v>0.8891656288916563</c:v>
                </c:pt>
                <c:pt idx="31">
                  <c:v>0.8812154696132597</c:v>
                </c:pt>
                <c:pt idx="32">
                  <c:v>0.8788265306122449</c:v>
                </c:pt>
                <c:pt idx="33">
                  <c:v>0.9036144578313253</c:v>
                </c:pt>
                <c:pt idx="34">
                  <c:v>0.9006828057107387</c:v>
                </c:pt>
                <c:pt idx="35">
                  <c:v>0.8872586872586873</c:v>
                </c:pt>
                <c:pt idx="36">
                  <c:v>0.8639760837070254</c:v>
                </c:pt>
                <c:pt idx="37">
                  <c:v>0.8556998556998557</c:v>
                </c:pt>
                <c:pt idx="38">
                  <c:v>0.8704581358609794</c:v>
                </c:pt>
                <c:pt idx="39">
                  <c:v>0.8584428715874621</c:v>
                </c:pt>
                <c:pt idx="40">
                  <c:v>0.7379248658318426</c:v>
                </c:pt>
                <c:pt idx="41">
                  <c:v>0.8053753475440223</c:v>
                </c:pt>
                <c:pt idx="42">
                  <c:v>0.831140350877193</c:v>
                </c:pt>
                <c:pt idx="43">
                  <c:v>0.8254364089775561</c:v>
                </c:pt>
                <c:pt idx="44">
                  <c:v>0.847953216374269</c:v>
                </c:pt>
                <c:pt idx="45">
                  <c:v>0.8663946965833759</c:v>
                </c:pt>
                <c:pt idx="46">
                  <c:v>0.8765512736773351</c:v>
                </c:pt>
                <c:pt idx="47">
                  <c:v>0.8825710754017305</c:v>
                </c:pt>
                <c:pt idx="48">
                  <c:v>0.8643113159242192</c:v>
                </c:pt>
                <c:pt idx="49">
                  <c:v>0.8610054921841994</c:v>
                </c:pt>
                <c:pt idx="50">
                  <c:v>0.8906434126797077</c:v>
                </c:pt>
                <c:pt idx="51">
                  <c:v>0.871689497716895</c:v>
                </c:pt>
              </c:numCache>
            </c:numRef>
          </c:yVal>
          <c:smooth val="0"/>
          <c:extLst>
            <c:ext xmlns:c16="http://schemas.microsoft.com/office/drawing/2014/chart" uri="{C3380CC4-5D6E-409C-BE32-E72D297353CC}">
              <c16:uniqueId val="{00000002-096C-4121-9522-6AB7243CCAAE}"/>
            </c:ext>
          </c:extLst>
        </c:ser>
        <c:ser>
          <c:idx val="2"/>
          <c:order val="2"/>
          <c:tx>
            <c:strRef>
              <c:f>Sheet1!$B$10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3:$A$104</c:f>
              <c:numCache>
                <c:formatCode>General</c:formatCode>
                <c:ptCount val="2"/>
                <c:pt idx="0">
                  <c:v>0</c:v>
                </c:pt>
                <c:pt idx="1">
                  <c:v>-4.658156845121442</c:v>
                </c:pt>
              </c:numCache>
            </c:numRef>
          </c:xVal>
          <c:yVal>
            <c:numRef>
              <c:f>Sheet1!$B$103:$B$104</c:f>
              <c:numCache>
                <c:formatCode>General</c:formatCode>
                <c:ptCount val="2"/>
                <c:pt idx="0">
                  <c:v>0.9590837375810344</c:v>
                </c:pt>
                <c:pt idx="1">
                  <c:v>0.9590837375810344</c:v>
                </c:pt>
              </c:numCache>
            </c:numRef>
          </c:yVal>
          <c:smooth val="0"/>
          <c:extLst>
            <c:ext xmlns:c16="http://schemas.microsoft.com/office/drawing/2014/chart" uri="{C3380CC4-5D6E-409C-BE32-E72D297353CC}">
              <c16:uniqueId val="{00000005-096C-4121-9522-6AB7243CCAAE}"/>
            </c:ext>
          </c:extLst>
        </c:ser>
        <c:ser>
          <c:idx val="3"/>
          <c:order val="3"/>
          <c:tx>
            <c:strRef>
              <c:f>Sheet1!$B$10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7:$A$108</c:f>
              <c:numCache>
                <c:formatCode>General</c:formatCode>
                <c:ptCount val="2"/>
                <c:pt idx="0">
                  <c:v>-4.658156845121442</c:v>
                </c:pt>
                <c:pt idx="1">
                  <c:v>-4.658156845121442</c:v>
                </c:pt>
              </c:numCache>
            </c:numRef>
          </c:xVal>
          <c:yVal>
            <c:numRef>
              <c:f>Sheet1!$B$107:$B$108</c:f>
              <c:numCache>
                <c:formatCode>General</c:formatCode>
                <c:ptCount val="2"/>
                <c:pt idx="0">
                  <c:v>0.959083737581034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1:$A$112</c:f>
              <c:numCache>
                <c:formatCode>General</c:formatCode>
                <c:ptCount val="2"/>
                <c:pt idx="0">
                  <c:v>0</c:v>
                </c:pt>
                <c:pt idx="1">
                  <c:v>-1.1763881282507538</c:v>
                </c:pt>
              </c:numCache>
            </c:numRef>
          </c:xVal>
          <c:yVal>
            <c:numRef>
              <c:f>Sheet1!$B$111:$B$112</c:f>
              <c:numCache>
                <c:formatCode>General</c:formatCode>
                <c:ptCount val="2"/>
                <c:pt idx="0">
                  <c:v>0.9013883037614776</c:v>
                </c:pt>
                <c:pt idx="1">
                  <c:v>0.9013883037614776</c:v>
                </c:pt>
              </c:numCache>
            </c:numRef>
          </c:yVal>
          <c:smooth val="0"/>
          <c:extLst>
            <c:ext xmlns:c16="http://schemas.microsoft.com/office/drawing/2014/chart" uri="{C3380CC4-5D6E-409C-BE32-E72D297353CC}">
              <c16:uniqueId val="{0000000D-096C-4121-9522-6AB7243CCAAE}"/>
            </c:ext>
          </c:extLst>
        </c:ser>
        <c:ser>
          <c:idx val="5"/>
          <c:order val="5"/>
          <c:tx>
            <c:strRef>
              <c:f>Sheet1!$B$11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1.1763881282507538</c:v>
                </c:pt>
                <c:pt idx="1">
                  <c:v>-1.1763881282507538</c:v>
                </c:pt>
              </c:numCache>
            </c:numRef>
          </c:xVal>
          <c:yVal>
            <c:numRef>
              <c:f>Sheet1!$B$115:$B$116</c:f>
              <c:numCache>
                <c:formatCode>General</c:formatCode>
                <c:ptCount val="2"/>
                <c:pt idx="0">
                  <c:v>0.90138830376147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9:$A$120</c:f>
              <c:numCache>
                <c:formatCode>General</c:formatCode>
                <c:ptCount val="2"/>
                <c:pt idx="0">
                  <c:v>0</c:v>
                </c:pt>
                <c:pt idx="1">
                  <c:v>2.066625358341822</c:v>
                </c:pt>
              </c:numCache>
            </c:numRef>
          </c:xVal>
          <c:yVal>
            <c:numRef>
              <c:f>Sheet1!$B$119:$B$120</c:f>
              <c:numCache>
                <c:formatCode>General</c:formatCode>
                <c:ptCount val="2"/>
                <c:pt idx="0">
                  <c:v>0.8476492173353699</c:v>
                </c:pt>
                <c:pt idx="1">
                  <c:v>0.8476492173353699</c:v>
                </c:pt>
              </c:numCache>
            </c:numRef>
          </c:yVal>
          <c:smooth val="0"/>
          <c:extLst>
            <c:ext xmlns:c16="http://schemas.microsoft.com/office/drawing/2014/chart" uri="{C3380CC4-5D6E-409C-BE32-E72D297353CC}">
              <c16:uniqueId val="{00000015-096C-4121-9522-6AB7243CCAAE}"/>
            </c:ext>
          </c:extLst>
        </c:ser>
        <c:ser>
          <c:idx val="7"/>
          <c:order val="7"/>
          <c:tx>
            <c:strRef>
              <c:f>Sheet1!$B$12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2.066625358341822</c:v>
                </c:pt>
                <c:pt idx="1">
                  <c:v>2.066625358341822</c:v>
                </c:pt>
              </c:numCache>
            </c:numRef>
          </c:xVal>
          <c:yVal>
            <c:numRef>
              <c:f>Sheet1!$B$123:$B$124</c:f>
              <c:numCache>
                <c:formatCode>General</c:formatCode>
                <c:ptCount val="2"/>
                <c:pt idx="0">
                  <c:v>0.847649217335369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7:$A$181</c:f>
              <c:numCache>
                <c:formatCode>General</c:formatCode>
                <c:ptCount val="55"/>
                <c:pt idx="0">
                  <c:v>0.3602385787528146</c:v>
                </c:pt>
                <c:pt idx="1">
                  <c:v>0.4072922927869592</c:v>
                </c:pt>
                <c:pt idx="2">
                  <c:v>0.34896170266413434</c:v>
                </c:pt>
                <c:pt idx="3">
                  <c:v>0.36068059332485136</c:v>
                </c:pt>
                <c:pt idx="4">
                  <c:v>0.3451492469462534</c:v>
                </c:pt>
                <c:pt idx="5">
                  <c:v>0.39324311457007727</c:v>
                </c:pt>
                <c:pt idx="6">
                  <c:v>0.35352675776987896</c:v>
                </c:pt>
                <c:pt idx="7">
                  <c:v>0.331958241976699</c:v>
                </c:pt>
                <c:pt idx="8">
                  <c:v>0.38900054527925637</c:v>
                </c:pt>
                <c:pt idx="9">
                  <c:v>0.3685527632882917</c:v>
                </c:pt>
                <c:pt idx="10">
                  <c:v>0.38481659482893926</c:v>
                </c:pt>
                <c:pt idx="11">
                  <c:v>0.3302068868768466</c:v>
                </c:pt>
                <c:pt idx="12">
                  <c:v>0.31989752517877107</c:v>
                </c:pt>
                <c:pt idx="13">
                  <c:v>0.3349310987704478</c:v>
                </c:pt>
                <c:pt idx="14">
                  <c:v>0.34245222368671957</c:v>
                </c:pt>
                <c:pt idx="15">
                  <c:v>0.3208218838829146</c:v>
                </c:pt>
                <c:pt idx="16">
                  <c:v>0.3646102810224696</c:v>
                </c:pt>
                <c:pt idx="17">
                  <c:v>0.3287660236821392</c:v>
                </c:pt>
                <c:pt idx="18">
                  <c:v>0.3240357708609825</c:v>
                </c:pt>
                <c:pt idx="19">
                  <c:v>0.34668988728450456</c:v>
                </c:pt>
                <c:pt idx="20">
                  <c:v>0.3691668451106353</c:v>
                </c:pt>
                <c:pt idx="21">
                  <c:v>0.3057996833781329</c:v>
                </c:pt>
                <c:pt idx="22">
                  <c:v>0.3377453957287237</c:v>
                </c:pt>
                <c:pt idx="23">
                  <c:v>0.24004091998934377</c:v>
                </c:pt>
                <c:pt idx="24">
                  <c:v>0.27734692096860464</c:v>
                </c:pt>
                <c:pt idx="25">
                  <c:v>0.2319479866100268</c:v>
                </c:pt>
                <c:pt idx="26">
                  <c:v>0.22221838069068114</c:v>
                </c:pt>
                <c:pt idx="27">
                  <c:v>0.27637156607356966</c:v>
                </c:pt>
                <c:pt idx="28">
                  <c:v>0.310804755967889</c:v>
                </c:pt>
                <c:pt idx="29">
                  <c:v>0.32594950610727563</c:v>
                </c:pt>
                <c:pt idx="30">
                  <c:v>0.16541280175145476</c:v>
                </c:pt>
                <c:pt idx="31">
                  <c:v>0.2891063696054773</c:v>
                </c:pt>
                <c:pt idx="32">
                  <c:v>0.2668313354560779</c:v>
                </c:pt>
                <c:pt idx="33">
                  <c:v>0.3436352545170907</c:v>
                </c:pt>
                <c:pt idx="34">
                  <c:v>0.3930507280372382</c:v>
                </c:pt>
                <c:pt idx="35">
                  <c:v>0.3303682246119333</c:v>
                </c:pt>
                <c:pt idx="36">
                  <c:v>0.3177721132564931</c:v>
                </c:pt>
                <c:pt idx="37">
                  <c:v>0.20949860094705122</c:v>
                </c:pt>
                <c:pt idx="38">
                  <c:v>0.31319861506944935</c:v>
                </c:pt>
                <c:pt idx="39">
                  <c:v>0.3529314796778751</c:v>
                </c:pt>
                <c:pt idx="40">
                  <c:v>0.31263892496091056</c:v>
                </c:pt>
                <c:pt idx="41">
                  <c:v>0.33842693752703995</c:v>
                </c:pt>
                <c:pt idx="42">
                  <c:v>0.32949246317600256</c:v>
                </c:pt>
                <c:pt idx="43">
                  <c:v>0.35670068311237757</c:v>
                </c:pt>
                <c:pt idx="44">
                  <c:v>0.4007871675512037</c:v>
                </c:pt>
                <c:pt idx="45">
                  <c:v>0.37151457820124323</c:v>
                </c:pt>
                <c:pt idx="46">
                  <c:v>0.31569156399181997</c:v>
                </c:pt>
                <c:pt idx="47">
                  <c:v>0.31964396985623317</c:v>
                </c:pt>
                <c:pt idx="48">
                  <c:v>0.2527135209574753</c:v>
                </c:pt>
                <c:pt idx="49">
                  <c:v>0.312616871469846</c:v>
                </c:pt>
                <c:pt idx="50">
                  <c:v>0.33237925186784034</c:v>
                </c:pt>
                <c:pt idx="51">
                  <c:v>0.2521513721439189</c:v>
                </c:pt>
                <c:pt idx="52">
                  <c:v>-1.1763881282507538</c:v>
                </c:pt>
                <c:pt idx="53">
                  <c:v>-4.658156845121442</c:v>
                </c:pt>
                <c:pt idx="54">
                  <c:v>2.066625358341822</c:v>
                </c:pt>
              </c:numCache>
            </c:numRef>
          </c:xVal>
          <c:yVal>
            <c:numRef>
              <c:f>Sheet1!$B$127:$B$181</c:f>
              <c:numCache>
                <c:formatCode>General</c:formatCode>
                <c:ptCount val="55"/>
                <c:pt idx="0">
                  <c:v>0.8759252843341075</c:v>
                </c:pt>
                <c:pt idx="1">
                  <c:v>0.8751455701529596</c:v>
                </c:pt>
                <c:pt idx="2">
                  <c:v>0.8761121503527817</c:v>
                </c:pt>
                <c:pt idx="3">
                  <c:v>0.8759179598319472</c:v>
                </c:pt>
                <c:pt idx="4">
                  <c:v>0.8761753255101363</c:v>
                </c:pt>
                <c:pt idx="5">
                  <c:v>0.8753783752293288</c:v>
                </c:pt>
                <c:pt idx="6">
                  <c:v>0.8760365040775251</c:v>
                </c:pt>
                <c:pt idx="7">
                  <c:v>0.8763939100331538</c:v>
                </c:pt>
                <c:pt idx="8">
                  <c:v>0.875448677680654</c:v>
                </c:pt>
                <c:pt idx="9">
                  <c:v>0.875787512264037</c:v>
                </c:pt>
                <c:pt idx="10">
                  <c:v>0.8755180087752615</c:v>
                </c:pt>
                <c:pt idx="11">
                  <c:v>0.8764229312578459</c:v>
                </c:pt>
                <c:pt idx="12">
                  <c:v>0.8765937648610922</c:v>
                </c:pt>
                <c:pt idx="13">
                  <c:v>0.8763446476391391</c:v>
                </c:pt>
                <c:pt idx="14">
                  <c:v>0.8762200171423594</c:v>
                </c:pt>
                <c:pt idx="15">
                  <c:v>0.8765784475667003</c:v>
                </c:pt>
                <c:pt idx="16">
                  <c:v>0.8758528420556312</c:v>
                </c:pt>
                <c:pt idx="17">
                  <c:v>0.8764468074063937</c:v>
                </c:pt>
                <c:pt idx="18">
                  <c:v>0.8765251911276531</c:v>
                </c:pt>
                <c:pt idx="19">
                  <c:v>0.8761497959819271</c:v>
                </c:pt>
                <c:pt idx="20">
                  <c:v>0.8757773364826965</c:v>
                </c:pt>
                <c:pt idx="21">
                  <c:v>0.876827376328352</c:v>
                </c:pt>
                <c:pt idx="22">
                  <c:v>0.8762980126966404</c:v>
                </c:pt>
                <c:pt idx="23">
                  <c:v>0.8779170467486674</c:v>
                </c:pt>
                <c:pt idx="24">
                  <c:v>0.8772988592452465</c:v>
                </c:pt>
                <c:pt idx="25">
                  <c:v>0.8780511525265526</c:v>
                </c:pt>
                <c:pt idx="26">
                  <c:v>0.8782123791559063</c:v>
                </c:pt>
                <c:pt idx="27">
                  <c:v>0.8773150215835214</c:v>
                </c:pt>
                <c:pt idx="28">
                  <c:v>0.8767444386441327</c:v>
                </c:pt>
                <c:pt idx="29">
                  <c:v>0.8764934791461204</c:v>
                </c:pt>
                <c:pt idx="30">
                  <c:v>0.8791536888139514</c:v>
                </c:pt>
                <c:pt idx="31">
                  <c:v>0.8771039966493206</c:v>
                </c:pt>
                <c:pt idx="32">
                  <c:v>0.8774731101267229</c:v>
                </c:pt>
                <c:pt idx="33">
                  <c:v>0.8762004134631577</c:v>
                </c:pt>
                <c:pt idx="34">
                  <c:v>0.8753815632137631</c:v>
                </c:pt>
                <c:pt idx="35">
                  <c:v>0.8764202577745177</c:v>
                </c:pt>
                <c:pt idx="36">
                  <c:v>0.876628984478727</c:v>
                </c:pt>
                <c:pt idx="37">
                  <c:v>0.8784231551350349</c:v>
                </c:pt>
                <c:pt idx="38">
                  <c:v>0.8767047706619665</c:v>
                </c:pt>
                <c:pt idx="39">
                  <c:v>0.8760463682674108</c:v>
                </c:pt>
                <c:pt idx="40">
                  <c:v>0.8767140451331455</c:v>
                </c:pt>
                <c:pt idx="41">
                  <c:v>0.8762867190545529</c:v>
                </c:pt>
                <c:pt idx="42">
                  <c:v>0.8764347697769156</c:v>
                </c:pt>
                <c:pt idx="43">
                  <c:v>0.8759839098317732</c:v>
                </c:pt>
                <c:pt idx="44">
                  <c:v>0.8752533647978792</c:v>
                </c:pt>
                <c:pt idx="45">
                  <c:v>0.8757384328419984</c:v>
                </c:pt>
                <c:pt idx="46">
                  <c:v>0.8766634606895755</c:v>
                </c:pt>
                <c:pt idx="47">
                  <c:v>0.8765979664567525</c:v>
                </c:pt>
                <c:pt idx="48">
                  <c:v>0.8777070525560791</c:v>
                </c:pt>
                <c:pt idx="49">
                  <c:v>0.8767144105754933</c:v>
                </c:pt>
                <c:pt idx="50">
                  <c:v>0.8763869335937958</c:v>
                </c:pt>
                <c:pt idx="51">
                  <c:v>0.8777163677697841</c:v>
                </c:pt>
                <c:pt idx="52">
                  <c:v>0.9013883037614776</c:v>
                </c:pt>
                <c:pt idx="53">
                  <c:v>0.9590837375810344</c:v>
                </c:pt>
                <c:pt idx="54">
                  <c:v>0.847649217335369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64491099954357"/>
          <c:min val="0.5903398926654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6</c:f>
              <c:numCache>
                <c:formatCode>General</c:formatCode>
                <c:ptCount val="45"/>
                <c:pt idx="0">
                  <c:v>1215.6817</c:v>
                </c:pt>
                <c:pt idx="1">
                  <c:v>1205.7061</c:v>
                </c:pt>
                <c:pt idx="2">
                  <c:v>1208.1825</c:v>
                </c:pt>
                <c:pt idx="3">
                  <c:v>1233.9114</c:v>
                </c:pt>
                <c:pt idx="4">
                  <c:v>1226.7757</c:v>
                </c:pt>
                <c:pt idx="5">
                  <c:v>1210.633</c:v>
                </c:pt>
                <c:pt idx="6">
                  <c:v>1134.2071</c:v>
                </c:pt>
                <c:pt idx="7">
                  <c:v>1058.84</c:v>
                </c:pt>
                <c:pt idx="8">
                  <c:v>1041.0178</c:v>
                </c:pt>
                <c:pt idx="9">
                  <c:v>1034.1875</c:v>
                </c:pt>
                <c:pt idx="10">
                  <c:v>990.6161</c:v>
                </c:pt>
                <c:pt idx="11">
                  <c:v>1039.1364</c:v>
                </c:pt>
                <c:pt idx="12">
                  <c:v>1093.8491</c:v>
                </c:pt>
                <c:pt idx="13">
                  <c:v>1069.5135</c:v>
                </c:pt>
                <c:pt idx="14">
                  <c:v>1056.7828</c:v>
                </c:pt>
                <c:pt idx="15">
                  <c:v>1004.9213</c:v>
                </c:pt>
                <c:pt idx="16">
                  <c:v>1001.0981</c:v>
                </c:pt>
                <c:pt idx="17">
                  <c:v>965.9668</c:v>
                </c:pt>
                <c:pt idx="18">
                  <c:v>1092.8681</c:v>
                </c:pt>
                <c:pt idx="19">
                  <c:v>506.885</c:v>
                </c:pt>
                <c:pt idx="20">
                  <c:v>536.4467</c:v>
                </c:pt>
                <c:pt idx="21">
                  <c:v>775.572</c:v>
                </c:pt>
                <c:pt idx="22">
                  <c:v>797.9217</c:v>
                </c:pt>
                <c:pt idx="23">
                  <c:v>809.2301</c:v>
                </c:pt>
                <c:pt idx="24">
                  <c:v>836.2273</c:v>
                </c:pt>
                <c:pt idx="25">
                  <c:v>905.3809</c:v>
                </c:pt>
                <c:pt idx="26">
                  <c:v>1159.4266</c:v>
                </c:pt>
                <c:pt idx="27">
                  <c:v>1210.0201</c:v>
                </c:pt>
                <c:pt idx="28">
                  <c:v>1214.9894</c:v>
                </c:pt>
                <c:pt idx="29">
                  <c:v>1102.6572</c:v>
                </c:pt>
                <c:pt idx="30">
                  <c:v>1144.9547</c:v>
                </c:pt>
                <c:pt idx="31">
                  <c:v>1221.4959</c:v>
                </c:pt>
                <c:pt idx="32">
                  <c:v>1300.2041</c:v>
                </c:pt>
                <c:pt idx="33">
                  <c:v>1380.8546</c:v>
                </c:pt>
                <c:pt idx="34">
                  <c:v>1323.4942</c:v>
                </c:pt>
                <c:pt idx="35">
                  <c:v>1438.1396</c:v>
                </c:pt>
                <c:pt idx="36">
                  <c:v>1324.2641</c:v>
                </c:pt>
                <c:pt idx="37">
                  <c:v>1364.8189</c:v>
                </c:pt>
                <c:pt idx="38">
                  <c:v>1366.3559</c:v>
                </c:pt>
                <c:pt idx="39">
                  <c:v>1336.062</c:v>
                </c:pt>
                <c:pt idx="40">
                  <c:v>1285.794</c:v>
                </c:pt>
                <c:pt idx="41">
                  <c:v>1372.097</c:v>
                </c:pt>
                <c:pt idx="42">
                  <c:v>1440.9281</c:v>
                </c:pt>
                <c:pt idx="43">
                  <c:v>1384.0691</c:v>
                </c:pt>
                <c:pt idx="44">
                  <c:v>1407.2877</c:v>
                </c:pt>
              </c:numCache>
            </c:numRef>
          </c:xVal>
          <c:yVal>
            <c:numRef>
              <c:f>Sheet1!$B$2:$B$46</c:f>
              <c:numCache>
                <c:formatCode>General</c:formatCode>
                <c:ptCount val="45"/>
                <c:pt idx="0">
                  <c:v>0.9567519858781994</c:v>
                </c:pt>
                <c:pt idx="1">
                  <c:v>0.9456302859444221</c:v>
                </c:pt>
                <c:pt idx="2">
                  <c:v>0.9507667473769169</c:v>
                </c:pt>
                <c:pt idx="3">
                  <c:v>0.9515593895155939</c:v>
                </c:pt>
                <c:pt idx="4">
                  <c:v>0.9348275862068965</c:v>
                </c:pt>
                <c:pt idx="5">
                  <c:v>0.945554249902076</c:v>
                </c:pt>
                <c:pt idx="6">
                  <c:v>0.9496051147047763</c:v>
                </c:pt>
                <c:pt idx="7">
                  <c:v>0.9549180327868853</c:v>
                </c:pt>
                <c:pt idx="8">
                  <c:v>0.9546956111373289</c:v>
                </c:pt>
                <c:pt idx="9">
                  <c:v>0.9540850776502363</c:v>
                </c:pt>
                <c:pt idx="10">
                  <c:v>0.951058201058201</c:v>
                </c:pt>
                <c:pt idx="11">
                  <c:v>0.9477401129943502</c:v>
                </c:pt>
                <c:pt idx="12">
                  <c:v>0.9462897526501767</c:v>
                </c:pt>
                <c:pt idx="13">
                  <c:v>0.9453513129879347</c:v>
                </c:pt>
                <c:pt idx="14">
                  <c:v>0.9550484094052559</c:v>
                </c:pt>
                <c:pt idx="15">
                  <c:v>0.958974358974359</c:v>
                </c:pt>
                <c:pt idx="16">
                  <c:v>0.9614065180102916</c:v>
                </c:pt>
                <c:pt idx="17">
                  <c:v>0.9597989949748744</c:v>
                </c:pt>
                <c:pt idx="18">
                  <c:v>0.9494505494505494</c:v>
                </c:pt>
                <c:pt idx="19">
                  <c:v>0.9803742583295298</c:v>
                </c:pt>
                <c:pt idx="20">
                  <c:v>0.9790141532454856</c:v>
                </c:pt>
                <c:pt idx="21">
                  <c:v>0.9649458253664754</c:v>
                </c:pt>
                <c:pt idx="22">
                  <c:v>0.9664586583463338</c:v>
                </c:pt>
                <c:pt idx="23">
                  <c:v>0.9596602972399151</c:v>
                </c:pt>
                <c:pt idx="24">
                  <c:v>0.9618834080717489</c:v>
                </c:pt>
                <c:pt idx="25">
                  <c:v>0.9552845528455285</c:v>
                </c:pt>
                <c:pt idx="26">
                  <c:v>0.9316546762589928</c:v>
                </c:pt>
                <c:pt idx="27">
                  <c:v>0.943217665615142</c:v>
                </c:pt>
                <c:pt idx="28">
                  <c:v>0.9361936193619362</c:v>
                </c:pt>
                <c:pt idx="29">
                  <c:v>0.9349397590361446</c:v>
                </c:pt>
                <c:pt idx="30">
                  <c:v>0.9414114513981359</c:v>
                </c:pt>
                <c:pt idx="31">
                  <c:v>0.9333333333333333</c:v>
                </c:pt>
                <c:pt idx="32">
                  <c:v>0.9323467230443975</c:v>
                </c:pt>
                <c:pt idx="33">
                  <c:v>0.9369369369369369</c:v>
                </c:pt>
                <c:pt idx="34">
                  <c:v>0.952088452088452</c:v>
                </c:pt>
                <c:pt idx="35">
                  <c:v>0.940795559666975</c:v>
                </c:pt>
                <c:pt idx="36">
                  <c:v>0.940959409594096</c:v>
                </c:pt>
                <c:pt idx="37">
                  <c:v>0.9454160042395336</c:v>
                </c:pt>
                <c:pt idx="38">
                  <c:v>0.933786078098472</c:v>
                </c:pt>
                <c:pt idx="39">
                  <c:v>0.9351818509182571</c:v>
                </c:pt>
                <c:pt idx="40">
                  <c:v>0.9418270294182703</c:v>
                </c:pt>
                <c:pt idx="41">
                  <c:v>0.9287859287859288</c:v>
                </c:pt>
                <c:pt idx="42">
                  <c:v>0.9006410256410257</c:v>
                </c:pt>
                <c:pt idx="43">
                  <c:v>0.915871121718377</c:v>
                </c:pt>
                <c:pt idx="44">
                  <c:v>0.9143026004728132</c:v>
                </c:pt>
              </c:numCache>
            </c:numRef>
          </c:yVal>
          <c:smooth val="0"/>
          <c:extLst>
            <c:ext xmlns:c16="http://schemas.microsoft.com/office/drawing/2014/chart" uri="{C3380CC4-5D6E-409C-BE32-E72D297353CC}">
              <c16:uniqueId val="{00000000-F32D-48B7-BC20-E66FC6253BAD}"/>
            </c:ext>
          </c:extLst>
        </c:ser>
        <c:ser>
          <c:idx val="1"/>
          <c:order val="1"/>
          <c:tx>
            <c:strRef>
              <c:f>Sheet1!$B$4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9:$A$100</c:f>
              <c:numCache>
                <c:formatCode>General</c:formatCode>
                <c:ptCount val="52"/>
                <c:pt idx="0">
                  <c:v>1443.0214</c:v>
                </c:pt>
                <c:pt idx="1">
                  <c:v>1479.0104</c:v>
                </c:pt>
                <c:pt idx="2">
                  <c:v>1481.9685</c:v>
                </c:pt>
                <c:pt idx="3">
                  <c:v>1514.761</c:v>
                </c:pt>
                <c:pt idx="4">
                  <c:v>1508.9806</c:v>
                </c:pt>
                <c:pt idx="5">
                  <c:v>1534.6775</c:v>
                </c:pt>
                <c:pt idx="6">
                  <c:v>1433.5813</c:v>
                </c:pt>
                <c:pt idx="7">
                  <c:v>1493.1737</c:v>
                </c:pt>
                <c:pt idx="8">
                  <c:v>1554.8486</c:v>
                </c:pt>
                <c:pt idx="9">
                  <c:v>1477.9798</c:v>
                </c:pt>
                <c:pt idx="10">
                  <c:v>1495.5683</c:v>
                </c:pt>
                <c:pt idx="11">
                  <c:v>1375.5705</c:v>
                </c:pt>
                <c:pt idx="12">
                  <c:v>1405.7597</c:v>
                </c:pt>
                <c:pt idx="13">
                  <c:v>1444.9151</c:v>
                </c:pt>
                <c:pt idx="14">
                  <c:v>1455.2135</c:v>
                </c:pt>
                <c:pt idx="15">
                  <c:v>1470.8428</c:v>
                </c:pt>
                <c:pt idx="16">
                  <c:v>1579.3382</c:v>
                </c:pt>
                <c:pt idx="17">
                  <c:v>1555.9529</c:v>
                </c:pt>
                <c:pt idx="18">
                  <c:v>1548.1272</c:v>
                </c:pt>
                <c:pt idx="19">
                  <c:v>1682.2821</c:v>
                </c:pt>
                <c:pt idx="20">
                  <c:v>1655.0488</c:v>
                </c:pt>
                <c:pt idx="21">
                  <c:v>1534.9968</c:v>
                </c:pt>
                <c:pt idx="22">
                  <c:v>1530.9275</c:v>
                </c:pt>
                <c:pt idx="23">
                  <c:v>1351.5504</c:v>
                </c:pt>
                <c:pt idx="24">
                  <c:v>1254.6019</c:v>
                </c:pt>
                <c:pt idx="25">
                  <c:v>1184.8599</c:v>
                </c:pt>
                <c:pt idx="26">
                  <c:v>1259.1211</c:v>
                </c:pt>
                <c:pt idx="27">
                  <c:v>1429.7706</c:v>
                </c:pt>
                <c:pt idx="28">
                  <c:v>1506.3049</c:v>
                </c:pt>
                <c:pt idx="29">
                  <c:v>1534.4073</c:v>
                </c:pt>
                <c:pt idx="30">
                  <c:v>1435.535</c:v>
                </c:pt>
                <c:pt idx="31">
                  <c:v>1287.8966</c:v>
                </c:pt>
                <c:pt idx="32">
                  <c:v>1424.6125</c:v>
                </c:pt>
                <c:pt idx="33">
                  <c:v>1481.2554</c:v>
                </c:pt>
                <c:pt idx="34">
                  <c:v>1532.5279</c:v>
                </c:pt>
                <c:pt idx="35">
                  <c:v>1499.0331</c:v>
                </c:pt>
                <c:pt idx="36">
                  <c:v>1486.7145</c:v>
                </c:pt>
                <c:pt idx="37">
                  <c:v>1557.3288</c:v>
                </c:pt>
                <c:pt idx="38">
                  <c:v>1470.7459</c:v>
                </c:pt>
                <c:pt idx="39">
                  <c:v>1472.3545</c:v>
                </c:pt>
                <c:pt idx="40">
                  <c:v>1466.3006</c:v>
                </c:pt>
                <c:pt idx="41">
                  <c:v>1560.4085</c:v>
                </c:pt>
                <c:pt idx="42">
                  <c:v>1532.3047</c:v>
                </c:pt>
                <c:pt idx="43">
                  <c:v>1526.2659</c:v>
                </c:pt>
                <c:pt idx="44">
                  <c:v>1506.8121</c:v>
                </c:pt>
                <c:pt idx="45">
                  <c:v>1464.4297</c:v>
                </c:pt>
                <c:pt idx="46">
                  <c:v>1438.7906</c:v>
                </c:pt>
                <c:pt idx="47">
                  <c:v>1436.8396</c:v>
                </c:pt>
                <c:pt idx="48">
                  <c:v>1409.4805</c:v>
                </c:pt>
                <c:pt idx="49">
                  <c:v>1411.0815</c:v>
                </c:pt>
                <c:pt idx="50">
                  <c:v>1289.4099</c:v>
                </c:pt>
                <c:pt idx="51">
                  <c:v>1280.7156</c:v>
                </c:pt>
              </c:numCache>
            </c:numRef>
          </c:xVal>
          <c:yVal>
            <c:numRef>
              <c:f>Sheet1!$B$49:$B$100</c:f>
              <c:numCache>
                <c:formatCode>General</c:formatCode>
                <c:ptCount val="52"/>
                <c:pt idx="0">
                  <c:v>0.9134134134134134</c:v>
                </c:pt>
                <c:pt idx="1">
                  <c:v>0.9050410316529894</c:v>
                </c:pt>
                <c:pt idx="2">
                  <c:v>0.9016227180527383</c:v>
                </c:pt>
                <c:pt idx="3">
                  <c:v>0.9020742884708153</c:v>
                </c:pt>
                <c:pt idx="4">
                  <c:v>0.9021796916533759</c:v>
                </c:pt>
                <c:pt idx="5">
                  <c:v>0.89015769439913</c:v>
                </c:pt>
                <c:pt idx="6">
                  <c:v>0.9117498739283914</c:v>
                </c:pt>
                <c:pt idx="7">
                  <c:v>0.9104938271604939</c:v>
                </c:pt>
                <c:pt idx="8">
                  <c:v>0.8757621951219512</c:v>
                </c:pt>
                <c:pt idx="9">
                  <c:v>0.880764163372859</c:v>
                </c:pt>
                <c:pt idx="10">
                  <c:v>0.8797780517879161</c:v>
                </c:pt>
                <c:pt idx="11">
                  <c:v>0.902544200086244</c:v>
                </c:pt>
                <c:pt idx="12">
                  <c:v>0.8944578313253012</c:v>
                </c:pt>
                <c:pt idx="13">
                  <c:v>0.8983050847457628</c:v>
                </c:pt>
                <c:pt idx="14">
                  <c:v>0.9065062875888463</c:v>
                </c:pt>
                <c:pt idx="15">
                  <c:v>0.8867454884878656</c:v>
                </c:pt>
                <c:pt idx="16">
                  <c:v>0.8805732484076433</c:v>
                </c:pt>
                <c:pt idx="17">
                  <c:v>0.8666061705989111</c:v>
                </c:pt>
                <c:pt idx="18">
                  <c:v>0.8754491017964072</c:v>
                </c:pt>
                <c:pt idx="19">
                  <c:v>0.8435155412647374</c:v>
                </c:pt>
                <c:pt idx="20">
                  <c:v>0.8479318734793188</c:v>
                </c:pt>
                <c:pt idx="21">
                  <c:v>0.8628257887517147</c:v>
                </c:pt>
                <c:pt idx="22">
                  <c:v>0.8506849315068493</c:v>
                </c:pt>
                <c:pt idx="23">
                  <c:v>0.8863346104725415</c:v>
                </c:pt>
                <c:pt idx="24">
                  <c:v>0.9080338266384778</c:v>
                </c:pt>
                <c:pt idx="25">
                  <c:v>0.9107883817427386</c:v>
                </c:pt>
                <c:pt idx="26">
                  <c:v>0.9112627986348123</c:v>
                </c:pt>
                <c:pt idx="27">
                  <c:v>0.8747099767981439</c:v>
                </c:pt>
                <c:pt idx="28">
                  <c:v>0.8704883227176221</c:v>
                </c:pt>
                <c:pt idx="29">
                  <c:v>0.8785046728971962</c:v>
                </c:pt>
                <c:pt idx="30">
                  <c:v>0.8891656288916563</c:v>
                </c:pt>
                <c:pt idx="31">
                  <c:v>0.8812154696132597</c:v>
                </c:pt>
                <c:pt idx="32">
                  <c:v>0.8788265306122449</c:v>
                </c:pt>
                <c:pt idx="33">
                  <c:v>0.9036144578313253</c:v>
                </c:pt>
                <c:pt idx="34">
                  <c:v>0.9006828057107387</c:v>
                </c:pt>
                <c:pt idx="35">
                  <c:v>0.8872586872586873</c:v>
                </c:pt>
                <c:pt idx="36">
                  <c:v>0.8639760837070254</c:v>
                </c:pt>
                <c:pt idx="37">
                  <c:v>0.8556998556998557</c:v>
                </c:pt>
                <c:pt idx="38">
                  <c:v>0.8704581358609794</c:v>
                </c:pt>
                <c:pt idx="39">
                  <c:v>0.8584428715874621</c:v>
                </c:pt>
                <c:pt idx="40">
                  <c:v>0.7379248658318426</c:v>
                </c:pt>
                <c:pt idx="41">
                  <c:v>0.8053753475440223</c:v>
                </c:pt>
                <c:pt idx="42">
                  <c:v>0.831140350877193</c:v>
                </c:pt>
                <c:pt idx="43">
                  <c:v>0.8254364089775561</c:v>
                </c:pt>
                <c:pt idx="44">
                  <c:v>0.847953216374269</c:v>
                </c:pt>
                <c:pt idx="45">
                  <c:v>0.8663946965833759</c:v>
                </c:pt>
                <c:pt idx="46">
                  <c:v>0.8765512736773351</c:v>
                </c:pt>
                <c:pt idx="47">
                  <c:v>0.8825710754017305</c:v>
                </c:pt>
                <c:pt idx="48">
                  <c:v>0.8643113159242192</c:v>
                </c:pt>
                <c:pt idx="49">
                  <c:v>0.8610054921841994</c:v>
                </c:pt>
                <c:pt idx="50">
                  <c:v>0.8906434126797077</c:v>
                </c:pt>
                <c:pt idx="51">
                  <c:v>0.871689497716895</c:v>
                </c:pt>
              </c:numCache>
            </c:numRef>
          </c:yVal>
          <c:smooth val="0"/>
          <c:extLst>
            <c:ext xmlns:c16="http://schemas.microsoft.com/office/drawing/2014/chart" uri="{C3380CC4-5D6E-409C-BE32-E72D297353CC}">
              <c16:uniqueId val="{00000002-F32D-48B7-BC20-E66FC6253BAD}"/>
            </c:ext>
          </c:extLst>
        </c:ser>
        <c:ser>
          <c:idx val="2"/>
          <c:order val="2"/>
          <c:tx>
            <c:strRef>
              <c:f>Sheet1!$B$102</c:f>
              <c:strCache>
                <c:ptCount val="1"/>
                <c:pt idx="0">
                  <c:v>Custom Linep3yQ</c:v>
                </c:pt>
              </c:strCache>
            </c:strRef>
          </c:tx>
          <c:spPr>
            <a:ln w="19050" cap="rnd">
              <a:solidFill>
                <a:srgbClr val="C00000"/>
              </a:solidFill>
              <a:prstDash val="sysDot"/>
              <a:round/>
            </a:ln>
            <a:effectLst/>
          </c:spPr>
          <c:marker>
            <c:symbol val="none"/>
          </c:marker>
          <c:xVal>
            <c:numRef>
              <c:f>Sheet1!$A$103:$A$104</c:f>
              <c:numCache>
                <c:formatCode>General</c:formatCode>
                <c:ptCount val="2"/>
                <c:pt idx="0">
                  <c:v>0</c:v>
                </c:pt>
                <c:pt idx="1">
                  <c:v>767.8624214113079</c:v>
                </c:pt>
              </c:numCache>
            </c:numRef>
          </c:xVal>
          <c:yVal>
            <c:numRef>
              <c:f>Sheet1!$B$103:$B$104</c:f>
              <c:numCache>
                <c:formatCode>General</c:formatCode>
                <c:ptCount val="2"/>
                <c:pt idx="0">
                  <c:v>0.9590837375810344</c:v>
                </c:pt>
                <c:pt idx="1">
                  <c:v>0.9590837375810344</c:v>
                </c:pt>
              </c:numCache>
            </c:numRef>
          </c:yVal>
          <c:smooth val="0"/>
          <c:extLst>
            <c:ext xmlns:c16="http://schemas.microsoft.com/office/drawing/2014/chart" uri="{C3380CC4-5D6E-409C-BE32-E72D297353CC}">
              <c16:uniqueId val="{00000003-F32D-48B7-BC20-E66FC6253BAD}"/>
            </c:ext>
          </c:extLst>
        </c:ser>
        <c:ser>
          <c:idx val="3"/>
          <c:order val="3"/>
          <c:tx>
            <c:strRef>
              <c:f>Sheet1!$B$10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7:$A$108</c:f>
              <c:numCache>
                <c:formatCode>General</c:formatCode>
                <c:ptCount val="2"/>
                <c:pt idx="0">
                  <c:v>767.8624214113079</c:v>
                </c:pt>
                <c:pt idx="1">
                  <c:v>767.8624214113079</c:v>
                </c:pt>
              </c:numCache>
            </c:numRef>
          </c:xVal>
          <c:yVal>
            <c:numRef>
              <c:f>Sheet1!$B$107:$B$108</c:f>
              <c:numCache>
                <c:formatCode>General</c:formatCode>
                <c:ptCount val="2"/>
                <c:pt idx="0">
                  <c:v>0.959083737581034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1:$A$112</c:f>
              <c:numCache>
                <c:formatCode>General</c:formatCode>
                <c:ptCount val="2"/>
                <c:pt idx="0">
                  <c:v>0</c:v>
                </c:pt>
                <c:pt idx="1">
                  <c:v>1254.659634990031</c:v>
                </c:pt>
              </c:numCache>
            </c:numRef>
          </c:xVal>
          <c:yVal>
            <c:numRef>
              <c:f>Sheet1!$B$111:$B$112</c:f>
              <c:numCache>
                <c:formatCode>General</c:formatCode>
                <c:ptCount val="2"/>
                <c:pt idx="0">
                  <c:v>0.9013883037614776</c:v>
                </c:pt>
                <c:pt idx="1">
                  <c:v>0.9013883037614776</c:v>
                </c:pt>
              </c:numCache>
            </c:numRef>
          </c:yVal>
          <c:smooth val="0"/>
          <c:extLst>
            <c:ext xmlns:c16="http://schemas.microsoft.com/office/drawing/2014/chart" uri="{C3380CC4-5D6E-409C-BE32-E72D297353CC}">
              <c16:uniqueId val="{0000000A-F32D-48B7-BC20-E66FC6253BAD}"/>
            </c:ext>
          </c:extLst>
        </c:ser>
        <c:ser>
          <c:idx val="5"/>
          <c:order val="5"/>
          <c:tx>
            <c:strRef>
              <c:f>Sheet1!$B$11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1254.659634990031</c:v>
                </c:pt>
                <c:pt idx="1">
                  <c:v>1254.659634990031</c:v>
                </c:pt>
              </c:numCache>
            </c:numRef>
          </c:xVal>
          <c:yVal>
            <c:numRef>
              <c:f>Sheet1!$B$115:$B$116</c:f>
              <c:numCache>
                <c:formatCode>General</c:formatCode>
                <c:ptCount val="2"/>
                <c:pt idx="0">
                  <c:v>0.90138830376147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9:$A$120</c:f>
              <c:numCache>
                <c:formatCode>General</c:formatCode>
                <c:ptCount val="2"/>
                <c:pt idx="0">
                  <c:v>0</c:v>
                </c:pt>
                <c:pt idx="1">
                  <c:v>1708.0757166562382</c:v>
                </c:pt>
              </c:numCache>
            </c:numRef>
          </c:xVal>
          <c:yVal>
            <c:numRef>
              <c:f>Sheet1!$B$119:$B$120</c:f>
              <c:numCache>
                <c:formatCode>General</c:formatCode>
                <c:ptCount val="2"/>
                <c:pt idx="0">
                  <c:v>0.8476492173353699</c:v>
                </c:pt>
                <c:pt idx="1">
                  <c:v>0.8476492173353699</c:v>
                </c:pt>
              </c:numCache>
            </c:numRef>
          </c:yVal>
          <c:smooth val="0"/>
          <c:extLst>
            <c:ext xmlns:c16="http://schemas.microsoft.com/office/drawing/2014/chart" uri="{C3380CC4-5D6E-409C-BE32-E72D297353CC}">
              <c16:uniqueId val="{00000011-F32D-48B7-BC20-E66FC6253BAD}"/>
            </c:ext>
          </c:extLst>
        </c:ser>
        <c:ser>
          <c:idx val="7"/>
          <c:order val="7"/>
          <c:tx>
            <c:strRef>
              <c:f>Sheet1!$B$12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1708.0757166562382</c:v>
                </c:pt>
                <c:pt idx="1">
                  <c:v>1708.0757166562382</c:v>
                </c:pt>
              </c:numCache>
            </c:numRef>
          </c:xVal>
          <c:yVal>
            <c:numRef>
              <c:f>Sheet1!$B$123:$B$124</c:f>
              <c:numCache>
                <c:formatCode>General</c:formatCode>
                <c:ptCount val="2"/>
                <c:pt idx="0">
                  <c:v>0.847649217335369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7:$A$181</c:f>
              <c:numCache>
                <c:formatCode>General</c:formatCode>
                <c:ptCount val="55"/>
                <c:pt idx="0">
                  <c:v>1443.0214</c:v>
                </c:pt>
                <c:pt idx="1">
                  <c:v>1479.0104</c:v>
                </c:pt>
                <c:pt idx="2">
                  <c:v>1481.9685</c:v>
                </c:pt>
                <c:pt idx="3">
                  <c:v>1514.761</c:v>
                </c:pt>
                <c:pt idx="4">
                  <c:v>1508.9806</c:v>
                </c:pt>
                <c:pt idx="5">
                  <c:v>1534.6775</c:v>
                </c:pt>
                <c:pt idx="6">
                  <c:v>1433.5813</c:v>
                </c:pt>
                <c:pt idx="7">
                  <c:v>1493.1737</c:v>
                </c:pt>
                <c:pt idx="8">
                  <c:v>1554.8486</c:v>
                </c:pt>
                <c:pt idx="9">
                  <c:v>1477.9798</c:v>
                </c:pt>
                <c:pt idx="10">
                  <c:v>1495.5683</c:v>
                </c:pt>
                <c:pt idx="11">
                  <c:v>1375.5705</c:v>
                </c:pt>
                <c:pt idx="12">
                  <c:v>1405.7597</c:v>
                </c:pt>
                <c:pt idx="13">
                  <c:v>1444.9151</c:v>
                </c:pt>
                <c:pt idx="14">
                  <c:v>1455.2135</c:v>
                </c:pt>
                <c:pt idx="15">
                  <c:v>1470.8428</c:v>
                </c:pt>
                <c:pt idx="16">
                  <c:v>1579.3382</c:v>
                </c:pt>
                <c:pt idx="17">
                  <c:v>1555.9529</c:v>
                </c:pt>
                <c:pt idx="18">
                  <c:v>1548.1272</c:v>
                </c:pt>
                <c:pt idx="19">
                  <c:v>1682.2821</c:v>
                </c:pt>
                <c:pt idx="20">
                  <c:v>1655.0488</c:v>
                </c:pt>
                <c:pt idx="21">
                  <c:v>1534.9968</c:v>
                </c:pt>
                <c:pt idx="22">
                  <c:v>1530.9275</c:v>
                </c:pt>
                <c:pt idx="23">
                  <c:v>1351.5504</c:v>
                </c:pt>
                <c:pt idx="24">
                  <c:v>1254.6019</c:v>
                </c:pt>
                <c:pt idx="25">
                  <c:v>1184.8599</c:v>
                </c:pt>
                <c:pt idx="26">
                  <c:v>1259.1211</c:v>
                </c:pt>
                <c:pt idx="27">
                  <c:v>1429.7706</c:v>
                </c:pt>
                <c:pt idx="28">
                  <c:v>1506.3049</c:v>
                </c:pt>
                <c:pt idx="29">
                  <c:v>1534.4073</c:v>
                </c:pt>
                <c:pt idx="30">
                  <c:v>1435.535</c:v>
                </c:pt>
                <c:pt idx="31">
                  <c:v>1287.8966</c:v>
                </c:pt>
                <c:pt idx="32">
                  <c:v>1424.6125</c:v>
                </c:pt>
                <c:pt idx="33">
                  <c:v>1481.2554</c:v>
                </c:pt>
                <c:pt idx="34">
                  <c:v>1532.5279</c:v>
                </c:pt>
                <c:pt idx="35">
                  <c:v>1499.0331</c:v>
                </c:pt>
                <c:pt idx="36">
                  <c:v>1486.7145</c:v>
                </c:pt>
                <c:pt idx="37">
                  <c:v>1557.3288</c:v>
                </c:pt>
                <c:pt idx="38">
                  <c:v>1470.7459</c:v>
                </c:pt>
                <c:pt idx="39">
                  <c:v>1472.3545</c:v>
                </c:pt>
                <c:pt idx="40">
                  <c:v>1466.3006</c:v>
                </c:pt>
                <c:pt idx="41">
                  <c:v>1560.4085</c:v>
                </c:pt>
                <c:pt idx="42">
                  <c:v>1532.3047</c:v>
                </c:pt>
                <c:pt idx="43">
                  <c:v>1526.2659</c:v>
                </c:pt>
                <c:pt idx="44">
                  <c:v>1506.8121</c:v>
                </c:pt>
                <c:pt idx="45">
                  <c:v>1464.4297</c:v>
                </c:pt>
                <c:pt idx="46">
                  <c:v>1438.7906</c:v>
                </c:pt>
                <c:pt idx="47">
                  <c:v>1436.8396</c:v>
                </c:pt>
                <c:pt idx="48">
                  <c:v>1409.4805</c:v>
                </c:pt>
                <c:pt idx="49">
                  <c:v>1411.0815</c:v>
                </c:pt>
                <c:pt idx="50">
                  <c:v>1289.4099</c:v>
                </c:pt>
                <c:pt idx="51">
                  <c:v>1280.7156</c:v>
                </c:pt>
                <c:pt idx="52">
                  <c:v>1254.659634990031</c:v>
                </c:pt>
                <c:pt idx="53">
                  <c:v>767.8624214113079</c:v>
                </c:pt>
                <c:pt idx="54">
                  <c:v>1708.0757166562382</c:v>
                </c:pt>
              </c:numCache>
            </c:numRef>
          </c:xVal>
          <c:yVal>
            <c:numRef>
              <c:f>Sheet1!$B$127:$B$181</c:f>
              <c:numCache>
                <c:formatCode>General</c:formatCode>
                <c:ptCount val="55"/>
                <c:pt idx="0">
                  <c:v>0.8790635791243467</c:v>
                </c:pt>
                <c:pt idx="1">
                  <c:v>0.8747981459833737</c:v>
                </c:pt>
                <c:pt idx="2">
                  <c:v>0.8744475505854934</c:v>
                </c:pt>
                <c:pt idx="3">
                  <c:v>0.8705609681220918</c:v>
                </c:pt>
                <c:pt idx="4">
                  <c:v>0.8712460638382296</c:v>
                </c:pt>
                <c:pt idx="5">
                  <c:v>0.8682004552111415</c:v>
                </c:pt>
                <c:pt idx="6">
                  <c:v>0.8801824241990668</c:v>
                </c:pt>
                <c:pt idx="7">
                  <c:v>0.8731195050318178</c:v>
                </c:pt>
                <c:pt idx="8">
                  <c:v>0.8658097669889103</c:v>
                </c:pt>
                <c:pt idx="9">
                  <c:v>0.8749202931782134</c:v>
                </c:pt>
                <c:pt idx="10">
                  <c:v>0.8728356959179393</c:v>
                </c:pt>
                <c:pt idx="11">
                  <c:v>0.8870578913933306</c:v>
                </c:pt>
                <c:pt idx="12">
                  <c:v>0.8834798532655842</c:v>
                </c:pt>
                <c:pt idx="13">
                  <c:v>0.8788391369131416</c:v>
                </c:pt>
                <c:pt idx="14">
                  <c:v>0.877618565720305</c:v>
                </c:pt>
                <c:pt idx="15">
                  <c:v>0.875766173761923</c:v>
                </c:pt>
                <c:pt idx="16">
                  <c:v>0.8629072481234465</c:v>
                </c:pt>
                <c:pt idx="17">
                  <c:v>0.8656788848355419</c:v>
                </c:pt>
                <c:pt idx="18">
                  <c:v>0.8666063904659098</c:v>
                </c:pt>
                <c:pt idx="19">
                  <c:v>0.8507062888658674</c:v>
                </c:pt>
                <c:pt idx="20">
                  <c:v>0.8539339923407642</c:v>
                </c:pt>
                <c:pt idx="21">
                  <c:v>0.8681626116255484</c:v>
                </c:pt>
                <c:pt idx="22">
                  <c:v>0.8686449069680298</c:v>
                </c:pt>
                <c:pt idx="23">
                  <c:v>0.889904764898832</c:v>
                </c:pt>
                <c:pt idx="24">
                  <c:v>0.9013951465395451</c:v>
                </c:pt>
                <c:pt idx="25">
                  <c:v>0.9096610010539175</c:v>
                </c:pt>
                <c:pt idx="26">
                  <c:v>0.900859528838284</c:v>
                </c:pt>
                <c:pt idx="27">
                  <c:v>0.8806340701483931</c:v>
                </c:pt>
                <c:pt idx="28">
                  <c:v>0.8715631890558044</c:v>
                </c:pt>
                <c:pt idx="29">
                  <c:v>0.8682324794417312</c:v>
                </c:pt>
                <c:pt idx="30">
                  <c:v>0.8799508707597514</c:v>
                </c:pt>
                <c:pt idx="31">
                  <c:v>0.8974490430968611</c:v>
                </c:pt>
                <c:pt idx="32">
                  <c:v>0.8812454105769811</c:v>
                </c:pt>
                <c:pt idx="33">
                  <c:v>0.8745320675315833</c:v>
                </c:pt>
                <c:pt idx="34">
                  <c:v>0.8684552268102368</c:v>
                </c:pt>
                <c:pt idx="35">
                  <c:v>0.8724250461986683</c:v>
                </c:pt>
                <c:pt idx="36">
                  <c:v>0.8738850524419757</c:v>
                </c:pt>
                <c:pt idx="37">
                  <c:v>0.8655158125229279</c:v>
                </c:pt>
                <c:pt idx="38">
                  <c:v>0.875777658395321</c:v>
                </c:pt>
                <c:pt idx="39">
                  <c:v>0.8755870063696862</c:v>
                </c:pt>
                <c:pt idx="40">
                  <c:v>0.8763045174339597</c:v>
                </c:pt>
                <c:pt idx="41">
                  <c:v>0.8651508050360776</c:v>
                </c:pt>
                <c:pt idx="42">
                  <c:v>0.8684816805788067</c:v>
                </c:pt>
                <c:pt idx="43">
                  <c:v>0.8691974019840057</c:v>
                </c:pt>
                <c:pt idx="44">
                  <c:v>0.8715030754741795</c:v>
                </c:pt>
                <c:pt idx="45">
                  <c:v>0.8765262573784829</c:v>
                </c:pt>
                <c:pt idx="46">
                  <c:v>0.8795650155224914</c:v>
                </c:pt>
                <c:pt idx="47">
                  <c:v>0.8797962489565418</c:v>
                </c:pt>
                <c:pt idx="48">
                  <c:v>0.8830388623063764</c:v>
                </c:pt>
                <c:pt idx="49">
                  <c:v>0.8828491110363023</c:v>
                </c:pt>
                <c:pt idx="50">
                  <c:v>0.8972696860718747</c:v>
                </c:pt>
                <c:pt idx="51">
                  <c:v>0.8983001385811848</c:v>
                </c:pt>
                <c:pt idx="52">
                  <c:v>0.9013883037614776</c:v>
                </c:pt>
                <c:pt idx="53">
                  <c:v>0.9590837375810344</c:v>
                </c:pt>
                <c:pt idx="54">
                  <c:v>0.847649217335369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50.0"/>
          <c:min val="40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64491099954357"/>
          <c:min val="0.5903398926654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3</c:f>
              <c:numCache>
                <c:formatCode>General</c:formatCode>
                <c:ptCount val="52"/>
                <c:pt idx="0">
                  <c:v>0.2341622233451238</c:v>
                </c:pt>
                <c:pt idx="1">
                  <c:v>0.3311849560034062</c:v>
                </c:pt>
                <c:pt idx="2">
                  <c:v>0.352127482952861</c:v>
                </c:pt>
                <c:pt idx="3">
                  <c:v>0.46938952819332563</c:v>
                </c:pt>
                <c:pt idx="4">
                  <c:v>0.4197574412629056</c:v>
                </c:pt>
                <c:pt idx="5">
                  <c:v>0.39409683903372006</c:v>
                </c:pt>
                <c:pt idx="6">
                  <c:v>0.3875690376419831</c:v>
                </c:pt>
                <c:pt idx="7">
                  <c:v>0.4188363863050534</c:v>
                </c:pt>
                <c:pt idx="8">
                  <c:v>0.43387150832721777</c:v>
                </c:pt>
                <c:pt idx="9">
                  <c:v>0.41749643643903067</c:v>
                </c:pt>
                <c:pt idx="10">
                  <c:v>0.4108700992189344</c:v>
                </c:pt>
                <c:pt idx="11">
                  <c:v>0.46346984014545106</c:v>
                </c:pt>
                <c:pt idx="12">
                  <c:v>0.41557070005037106</c:v>
                </c:pt>
                <c:pt idx="13">
                  <c:v>0.38557489121566496</c:v>
                </c:pt>
                <c:pt idx="14">
                  <c:v>0.30304522037779047</c:v>
                </c:pt>
                <c:pt idx="15">
                  <c:v>0.4017202284479432</c:v>
                </c:pt>
                <c:pt idx="16">
                  <c:v>0.2629513094330028</c:v>
                </c:pt>
                <c:pt idx="17">
                  <c:v>0.3579369623490111</c:v>
                </c:pt>
                <c:pt idx="18">
                  <c:v>0.3806128028739051</c:v>
                </c:pt>
                <c:pt idx="19">
                  <c:v>0.4008241480395749</c:v>
                </c:pt>
                <c:pt idx="20">
                  <c:v>0.3351956331533663</c:v>
                </c:pt>
                <c:pt idx="21">
                  <c:v>0.29296948562808534</c:v>
                </c:pt>
                <c:pt idx="22">
                  <c:v>0.18811705353800073</c:v>
                </c:pt>
                <c:pt idx="23">
                  <c:v>0.3976398554178583</c:v>
                </c:pt>
                <c:pt idx="24">
                  <c:v>0.21608384323379198</c:v>
                </c:pt>
                <c:pt idx="25">
                  <c:v>0.2846010677083333</c:v>
                </c:pt>
                <c:pt idx="26">
                  <c:v>0.12925793701389773</c:v>
                </c:pt>
                <c:pt idx="27">
                  <c:v>0.18234082256968048</c:v>
                </c:pt>
                <c:pt idx="28">
                  <c:v>0.2694829742876998</c:v>
                </c:pt>
                <c:pt idx="29">
                  <c:v>0.2165029711029711</c:v>
                </c:pt>
                <c:pt idx="30">
                  <c:v>0.3727453247351451</c:v>
                </c:pt>
                <c:pt idx="31">
                  <c:v>0.35172546792849635</c:v>
                </c:pt>
                <c:pt idx="32">
                  <c:v>0.13795229315861648</c:v>
                </c:pt>
                <c:pt idx="33">
                  <c:v>0.27946969082862216</c:v>
                </c:pt>
                <c:pt idx="34">
                  <c:v>0.3059082543294147</c:v>
                </c:pt>
                <c:pt idx="35">
                  <c:v>0.20400275364143894</c:v>
                </c:pt>
                <c:pt idx="36">
                  <c:v>0.2397453152344939</c:v>
                </c:pt>
                <c:pt idx="37">
                  <c:v>0.21804507712816606</c:v>
                </c:pt>
                <c:pt idx="38">
                  <c:v>0.34877106113873</c:v>
                </c:pt>
                <c:pt idx="39">
                  <c:v>0.20687416070007955</c:v>
                </c:pt>
                <c:pt idx="40">
                  <c:v>0.3113037735545772</c:v>
                </c:pt>
                <c:pt idx="41">
                  <c:v>0.20755809613424295</c:v>
                </c:pt>
                <c:pt idx="42">
                  <c:v>0.31498238919993</c:v>
                </c:pt>
                <c:pt idx="43">
                  <c:v>0.2734049260880337</c:v>
                </c:pt>
                <c:pt idx="44">
                  <c:v>0.31674497339673807</c:v>
                </c:pt>
                <c:pt idx="45">
                  <c:v>0.3096972011504045</c:v>
                </c:pt>
                <c:pt idx="46">
                  <c:v>0.27314511182892426</c:v>
                </c:pt>
                <c:pt idx="47">
                  <c:v>0.27702430726202426</c:v>
                </c:pt>
                <c:pt idx="48">
                  <c:v>0.27840366830556107</c:v>
                </c:pt>
                <c:pt idx="49">
                  <c:v>0.2839546950438467</c:v>
                </c:pt>
                <c:pt idx="50">
                  <c:v>0.27218101068624867</c:v>
                </c:pt>
                <c:pt idx="51">
                  <c:v>0.2575971741344843</c:v>
                </c:pt>
              </c:numCache>
            </c:numRef>
          </c:xVal>
          <c:yVal>
            <c:numRef>
              <c:f>Sheet1!$B$2:$B$53</c:f>
              <c:numCache>
                <c:formatCode>General</c:formatCode>
                <c:ptCount val="52"/>
                <c:pt idx="0">
                  <c:v>0.9610894941634242</c:v>
                </c:pt>
                <c:pt idx="1">
                  <c:v>0.9584535487593768</c:v>
                </c:pt>
                <c:pt idx="2">
                  <c:v>0.9614655716993051</c:v>
                </c:pt>
                <c:pt idx="3">
                  <c:v>0.9671094244149273</c:v>
                </c:pt>
                <c:pt idx="4">
                  <c:v>0.9568648079957917</c:v>
                </c:pt>
                <c:pt idx="5">
                  <c:v>0.9576622181316152</c:v>
                </c:pt>
                <c:pt idx="6">
                  <c:v>0.959703947368421</c:v>
                </c:pt>
                <c:pt idx="7">
                  <c:v>0.9567519858781994</c:v>
                </c:pt>
                <c:pt idx="8">
                  <c:v>0.9456302859444221</c:v>
                </c:pt>
                <c:pt idx="9">
                  <c:v>0.9507667473769169</c:v>
                </c:pt>
                <c:pt idx="10">
                  <c:v>0.9515593895155939</c:v>
                </c:pt>
                <c:pt idx="11">
                  <c:v>0.9348275862068965</c:v>
                </c:pt>
                <c:pt idx="12">
                  <c:v>0.945554249902076</c:v>
                </c:pt>
                <c:pt idx="13">
                  <c:v>0.9496051147047763</c:v>
                </c:pt>
                <c:pt idx="14">
                  <c:v>0.9549180327868853</c:v>
                </c:pt>
                <c:pt idx="15">
                  <c:v>0.9546956111373289</c:v>
                </c:pt>
                <c:pt idx="16">
                  <c:v>0.9540850776502363</c:v>
                </c:pt>
                <c:pt idx="17">
                  <c:v>0.951058201058201</c:v>
                </c:pt>
                <c:pt idx="18">
                  <c:v>0.9477401129943502</c:v>
                </c:pt>
                <c:pt idx="19">
                  <c:v>0.9462897526501767</c:v>
                </c:pt>
                <c:pt idx="20">
                  <c:v>0.9453513129879347</c:v>
                </c:pt>
                <c:pt idx="21">
                  <c:v>0.9550484094052559</c:v>
                </c:pt>
                <c:pt idx="22">
                  <c:v>0.958974358974359</c:v>
                </c:pt>
                <c:pt idx="23">
                  <c:v>0.9614065180102916</c:v>
                </c:pt>
                <c:pt idx="24">
                  <c:v>0.9597989949748744</c:v>
                </c:pt>
                <c:pt idx="25">
                  <c:v>0.9494505494505494</c:v>
                </c:pt>
                <c:pt idx="26">
                  <c:v>0.9803742583295298</c:v>
                </c:pt>
                <c:pt idx="27">
                  <c:v>0.9790141532454856</c:v>
                </c:pt>
                <c:pt idx="28">
                  <c:v>0.9649458253664754</c:v>
                </c:pt>
                <c:pt idx="29">
                  <c:v>0.9664586583463338</c:v>
                </c:pt>
                <c:pt idx="30">
                  <c:v>0.9596602972399151</c:v>
                </c:pt>
                <c:pt idx="31">
                  <c:v>0.9618834080717489</c:v>
                </c:pt>
                <c:pt idx="32">
                  <c:v>0.9552845528455285</c:v>
                </c:pt>
                <c:pt idx="33">
                  <c:v>0.9316546762589928</c:v>
                </c:pt>
                <c:pt idx="34">
                  <c:v>0.943217665615142</c:v>
                </c:pt>
                <c:pt idx="35">
                  <c:v>0.9361936193619362</c:v>
                </c:pt>
                <c:pt idx="36">
                  <c:v>0.9349397590361446</c:v>
                </c:pt>
                <c:pt idx="37">
                  <c:v>0.9414114513981359</c:v>
                </c:pt>
                <c:pt idx="38">
                  <c:v>0.9333333333333333</c:v>
                </c:pt>
                <c:pt idx="39">
                  <c:v>0.9323467230443975</c:v>
                </c:pt>
                <c:pt idx="40">
                  <c:v>0.9369369369369369</c:v>
                </c:pt>
                <c:pt idx="41">
                  <c:v>0.952088452088452</c:v>
                </c:pt>
                <c:pt idx="42">
                  <c:v>0.940795559666975</c:v>
                </c:pt>
                <c:pt idx="43">
                  <c:v>0.940959409594096</c:v>
                </c:pt>
                <c:pt idx="44">
                  <c:v>0.9454160042395336</c:v>
                </c:pt>
                <c:pt idx="45">
                  <c:v>0.933786078098472</c:v>
                </c:pt>
                <c:pt idx="46">
                  <c:v>0.9351818509182571</c:v>
                </c:pt>
                <c:pt idx="47">
                  <c:v>0.9418270294182703</c:v>
                </c:pt>
                <c:pt idx="48">
                  <c:v>0.9287859287859288</c:v>
                </c:pt>
                <c:pt idx="49">
                  <c:v>0.9006410256410257</c:v>
                </c:pt>
                <c:pt idx="50">
                  <c:v>0.915871121718377</c:v>
                </c:pt>
                <c:pt idx="51">
                  <c:v>0.9143026004728132</c:v>
                </c:pt>
              </c:numCache>
            </c:numRef>
          </c:yVal>
          <c:smooth val="0"/>
          <c:extLst>
            <c:ext xmlns:c16="http://schemas.microsoft.com/office/drawing/2014/chart" uri="{C3380CC4-5D6E-409C-BE32-E72D297353CC}">
              <c16:uniqueId val="{00000000-096C-4121-9522-6AB7243CCAAE}"/>
            </c:ext>
          </c:extLst>
        </c:ser>
        <c:ser>
          <c:idx val="1"/>
          <c:order val="1"/>
          <c:tx>
            <c:strRef>
              <c:f>Sheet1!$B$5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6:$A$107</c:f>
              <c:numCache>
                <c:formatCode>General</c:formatCode>
                <c:ptCount val="52"/>
                <c:pt idx="0">
                  <c:v>0.28127244676286434</c:v>
                </c:pt>
                <c:pt idx="1">
                  <c:v>0.3277222246842455</c:v>
                </c:pt>
                <c:pt idx="2">
                  <c:v>0.34563932669893854</c:v>
                </c:pt>
                <c:pt idx="3">
                  <c:v>0.32138070300210786</c:v>
                </c:pt>
                <c:pt idx="4">
                  <c:v>0.37071292869730343</c:v>
                </c:pt>
                <c:pt idx="5">
                  <c:v>0.3200912503910731</c:v>
                </c:pt>
                <c:pt idx="6">
                  <c:v>0.3628201525939828</c:v>
                </c:pt>
                <c:pt idx="7">
                  <c:v>0.3521444398734144</c:v>
                </c:pt>
                <c:pt idx="8">
                  <c:v>0.37897717384681007</c:v>
                </c:pt>
                <c:pt idx="9">
                  <c:v>0.3489446075681784</c:v>
                </c:pt>
                <c:pt idx="10">
                  <c:v>0.3542059712539041</c:v>
                </c:pt>
                <c:pt idx="11">
                  <c:v>0.3026624348170477</c:v>
                </c:pt>
                <c:pt idx="12">
                  <c:v>0.35550483842350206</c:v>
                </c:pt>
                <c:pt idx="13">
                  <c:v>0.2941474072090055</c:v>
                </c:pt>
                <c:pt idx="14">
                  <c:v>0.28691471454449113</c:v>
                </c:pt>
                <c:pt idx="15">
                  <c:v>0.2884818613089474</c:v>
                </c:pt>
                <c:pt idx="16">
                  <c:v>0.34119819391634976</c:v>
                </c:pt>
                <c:pt idx="17">
                  <c:v>0.3826322819020961</c:v>
                </c:pt>
                <c:pt idx="18">
                  <c:v>0.3059640719784187</c:v>
                </c:pt>
                <c:pt idx="19">
                  <c:v>0.365445374317756</c:v>
                </c:pt>
                <c:pt idx="20">
                  <c:v>0.32244270245229634</c:v>
                </c:pt>
                <c:pt idx="21">
                  <c:v>0.3191465699375405</c:v>
                </c:pt>
                <c:pt idx="22">
                  <c:v>0.33385816898144993</c:v>
                </c:pt>
                <c:pt idx="23">
                  <c:v>0.23082710388113234</c:v>
                </c:pt>
                <c:pt idx="24">
                  <c:v>0.20592321659127374</c:v>
                </c:pt>
                <c:pt idx="25">
                  <c:v>0.2231038449951043</c:v>
                </c:pt>
                <c:pt idx="26">
                  <c:v>0.21239040321838856</c:v>
                </c:pt>
                <c:pt idx="27">
                  <c:v>0.2800396819178941</c:v>
                </c:pt>
                <c:pt idx="28">
                  <c:v>0.29487689521851906</c:v>
                </c:pt>
                <c:pt idx="29">
                  <c:v>0.32552768584521385</c:v>
                </c:pt>
                <c:pt idx="30">
                  <c:v>0.25248102951637935</c:v>
                </c:pt>
                <c:pt idx="31">
                  <c:v>0.28832968041641016</c:v>
                </c:pt>
                <c:pt idx="32">
                  <c:v>0.3065594671945944</c:v>
                </c:pt>
                <c:pt idx="33">
                  <c:v>0.2929171497268954</c:v>
                </c:pt>
                <c:pt idx="34">
                  <c:v>0.33161661117752456</c:v>
                </c:pt>
                <c:pt idx="35">
                  <c:v>0.2642259531489609</c:v>
                </c:pt>
                <c:pt idx="36">
                  <c:v>0.3107825158601639</c:v>
                </c:pt>
                <c:pt idx="37">
                  <c:v>0.3063262849823489</c:v>
                </c:pt>
                <c:pt idx="38">
                  <c:v>0.28117304401854415</c:v>
                </c:pt>
                <c:pt idx="39">
                  <c:v>0.30582728869228887</c:v>
                </c:pt>
                <c:pt idx="40">
                  <c:v>0.3171170788509358</c:v>
                </c:pt>
                <c:pt idx="41">
                  <c:v>0.3168599480160825</c:v>
                </c:pt>
                <c:pt idx="42">
                  <c:v>0.2949616477885759</c:v>
                </c:pt>
                <c:pt idx="43">
                  <c:v>0.35999262969205265</c:v>
                </c:pt>
                <c:pt idx="44">
                  <c:v>0.34141408918621474</c:v>
                </c:pt>
                <c:pt idx="45">
                  <c:v>0.34314109448823105</c:v>
                </c:pt>
                <c:pt idx="46">
                  <c:v>0.35281770475723395</c:v>
                </c:pt>
                <c:pt idx="47">
                  <c:v>0.30785499906379776</c:v>
                </c:pt>
                <c:pt idx="48">
                  <c:v>0.3269033034018429</c:v>
                </c:pt>
                <c:pt idx="49">
                  <c:v>0.3294148613315902</c:v>
                </c:pt>
                <c:pt idx="50">
                  <c:v>0.2907036290464399</c:v>
                </c:pt>
                <c:pt idx="51">
                  <c:v>0.2924222795709256</c:v>
                </c:pt>
              </c:numCache>
            </c:numRef>
          </c:xVal>
          <c:yVal>
            <c:numRef>
              <c:f>Sheet1!$B$56:$B$107</c:f>
              <c:numCache>
                <c:formatCode>General</c:formatCode>
                <c:ptCount val="52"/>
                <c:pt idx="0">
                  <c:v>0.9134134134134134</c:v>
                </c:pt>
                <c:pt idx="1">
                  <c:v>0.9050410316529894</c:v>
                </c:pt>
                <c:pt idx="2">
                  <c:v>0.9016227180527383</c:v>
                </c:pt>
                <c:pt idx="3">
                  <c:v>0.9020742884708153</c:v>
                </c:pt>
                <c:pt idx="4">
                  <c:v>0.9021796916533759</c:v>
                </c:pt>
                <c:pt idx="5">
                  <c:v>0.89015769439913</c:v>
                </c:pt>
                <c:pt idx="6">
                  <c:v>0.9117498739283914</c:v>
                </c:pt>
                <c:pt idx="7">
                  <c:v>0.9104938271604939</c:v>
                </c:pt>
                <c:pt idx="8">
                  <c:v>0.8757621951219512</c:v>
                </c:pt>
                <c:pt idx="9">
                  <c:v>0.880764163372859</c:v>
                </c:pt>
                <c:pt idx="10">
                  <c:v>0.8797780517879161</c:v>
                </c:pt>
                <c:pt idx="11">
                  <c:v>0.902544200086244</c:v>
                </c:pt>
                <c:pt idx="12">
                  <c:v>0.8944578313253012</c:v>
                </c:pt>
                <c:pt idx="13">
                  <c:v>0.8983050847457628</c:v>
                </c:pt>
                <c:pt idx="14">
                  <c:v>0.9065062875888463</c:v>
                </c:pt>
                <c:pt idx="15">
                  <c:v>0.8867454884878656</c:v>
                </c:pt>
                <c:pt idx="16">
                  <c:v>0.8805732484076433</c:v>
                </c:pt>
                <c:pt idx="17">
                  <c:v>0.8666061705989111</c:v>
                </c:pt>
                <c:pt idx="18">
                  <c:v>0.8754491017964072</c:v>
                </c:pt>
                <c:pt idx="19">
                  <c:v>0.8435155412647374</c:v>
                </c:pt>
                <c:pt idx="20">
                  <c:v>0.8479318734793188</c:v>
                </c:pt>
                <c:pt idx="21">
                  <c:v>0.8628257887517147</c:v>
                </c:pt>
                <c:pt idx="22">
                  <c:v>0.8506849315068493</c:v>
                </c:pt>
                <c:pt idx="23">
                  <c:v>0.8863346104725415</c:v>
                </c:pt>
                <c:pt idx="24">
                  <c:v>0.9080338266384778</c:v>
                </c:pt>
                <c:pt idx="25">
                  <c:v>0.9107883817427386</c:v>
                </c:pt>
                <c:pt idx="26">
                  <c:v>0.9112627986348123</c:v>
                </c:pt>
                <c:pt idx="27">
                  <c:v>0.8747099767981439</c:v>
                </c:pt>
                <c:pt idx="28">
                  <c:v>0.8704883227176221</c:v>
                </c:pt>
                <c:pt idx="29">
                  <c:v>0.8785046728971962</c:v>
                </c:pt>
                <c:pt idx="30">
                  <c:v>0.8891656288916563</c:v>
                </c:pt>
                <c:pt idx="31">
                  <c:v>0.8812154696132597</c:v>
                </c:pt>
                <c:pt idx="32">
                  <c:v>0.8788265306122449</c:v>
                </c:pt>
                <c:pt idx="33">
                  <c:v>0.9036144578313253</c:v>
                </c:pt>
                <c:pt idx="34">
                  <c:v>0.9006828057107387</c:v>
                </c:pt>
                <c:pt idx="35">
                  <c:v>0.8872586872586873</c:v>
                </c:pt>
                <c:pt idx="36">
                  <c:v>0.8639760837070254</c:v>
                </c:pt>
                <c:pt idx="37">
                  <c:v>0.8556998556998557</c:v>
                </c:pt>
                <c:pt idx="38">
                  <c:v>0.8704581358609794</c:v>
                </c:pt>
                <c:pt idx="39">
                  <c:v>0.8584428715874621</c:v>
                </c:pt>
                <c:pt idx="40">
                  <c:v>0.7379248658318426</c:v>
                </c:pt>
                <c:pt idx="41">
                  <c:v>0.8053753475440223</c:v>
                </c:pt>
                <c:pt idx="42">
                  <c:v>0.831140350877193</c:v>
                </c:pt>
                <c:pt idx="43">
                  <c:v>0.8254364089775561</c:v>
                </c:pt>
                <c:pt idx="44">
                  <c:v>0.847953216374269</c:v>
                </c:pt>
                <c:pt idx="45">
                  <c:v>0.8663946965833759</c:v>
                </c:pt>
                <c:pt idx="46">
                  <c:v>0.8765512736773351</c:v>
                </c:pt>
                <c:pt idx="47">
                  <c:v>0.8825710754017305</c:v>
                </c:pt>
                <c:pt idx="48">
                  <c:v>0.8643113159242192</c:v>
                </c:pt>
                <c:pt idx="49">
                  <c:v>0.8610054921841994</c:v>
                </c:pt>
                <c:pt idx="50">
                  <c:v>0.8906434126797077</c:v>
                </c:pt>
                <c:pt idx="51">
                  <c:v>0.871689497716895</c:v>
                </c:pt>
              </c:numCache>
            </c:numRef>
          </c:yVal>
          <c:smooth val="0"/>
          <c:extLst>
            <c:ext xmlns:c16="http://schemas.microsoft.com/office/drawing/2014/chart" uri="{C3380CC4-5D6E-409C-BE32-E72D297353CC}">
              <c16:uniqueId val="{00000002-096C-4121-9522-6AB7243CCAAE}"/>
            </c:ext>
          </c:extLst>
        </c:ser>
        <c:ser>
          <c:idx val="2"/>
          <c:order val="2"/>
          <c:tx>
            <c:strRef>
              <c:f>Sheet1!$B$10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0:$A$111</c:f>
              <c:numCache>
                <c:formatCode>General</c:formatCode>
                <c:ptCount val="2"/>
                <c:pt idx="0">
                  <c:v>0</c:v>
                </c:pt>
                <c:pt idx="1">
                  <c:v>-0.1588282429724139</c:v>
                </c:pt>
              </c:numCache>
            </c:numRef>
          </c:xVal>
          <c:yVal>
            <c:numRef>
              <c:f>Sheet1!$B$110:$B$111</c:f>
              <c:numCache>
                <c:formatCode>General</c:formatCode>
                <c:ptCount val="2"/>
                <c:pt idx="0">
                  <c:v>0.9598876248013826</c:v>
                </c:pt>
                <c:pt idx="1">
                  <c:v>0.9598876248013826</c:v>
                </c:pt>
              </c:numCache>
            </c:numRef>
          </c:yVal>
          <c:smooth val="0"/>
          <c:extLst>
            <c:ext xmlns:c16="http://schemas.microsoft.com/office/drawing/2014/chart" uri="{C3380CC4-5D6E-409C-BE32-E72D297353CC}">
              <c16:uniqueId val="{00000005-096C-4121-9522-6AB7243CCAAE}"/>
            </c:ext>
          </c:extLst>
        </c:ser>
        <c:ser>
          <c:idx val="3"/>
          <c:order val="3"/>
          <c:tx>
            <c:strRef>
              <c:f>Sheet1!$B$1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1588282429724139</c:v>
                </c:pt>
                <c:pt idx="1">
                  <c:v>-0.1588282429724139</c:v>
                </c:pt>
              </c:numCache>
            </c:numRef>
          </c:xVal>
          <c:yVal>
            <c:numRef>
              <c:f>Sheet1!$B$114:$B$115</c:f>
              <c:numCache>
                <c:formatCode>General</c:formatCode>
                <c:ptCount val="2"/>
                <c:pt idx="0">
                  <c:v>0.95988762480138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8:$A$119</c:f>
              <c:numCache>
                <c:formatCode>General</c:formatCode>
                <c:ptCount val="2"/>
                <c:pt idx="0">
                  <c:v>0</c:v>
                </c:pt>
                <c:pt idx="1">
                  <c:v>0.17193458246260812</c:v>
                </c:pt>
              </c:numCache>
            </c:numRef>
          </c:xVal>
          <c:yVal>
            <c:numRef>
              <c:f>Sheet1!$B$118:$B$119</c:f>
              <c:numCache>
                <c:formatCode>General</c:formatCode>
                <c:ptCount val="2"/>
                <c:pt idx="0">
                  <c:v>0.9013883037614776</c:v>
                </c:pt>
                <c:pt idx="1">
                  <c:v>0.9013883037614776</c:v>
                </c:pt>
              </c:numCache>
            </c:numRef>
          </c:yVal>
          <c:smooth val="0"/>
          <c:extLst>
            <c:ext xmlns:c16="http://schemas.microsoft.com/office/drawing/2014/chart" uri="{C3380CC4-5D6E-409C-BE32-E72D297353CC}">
              <c16:uniqueId val="{0000000D-096C-4121-9522-6AB7243CCAAE}"/>
            </c:ext>
          </c:extLst>
        </c:ser>
        <c:ser>
          <c:idx val="5"/>
          <c:order val="5"/>
          <c:tx>
            <c:strRef>
              <c:f>Sheet1!$B$1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17193458246260812</c:v>
                </c:pt>
                <c:pt idx="1">
                  <c:v>0.17193458246260812</c:v>
                </c:pt>
              </c:numCache>
            </c:numRef>
          </c:xVal>
          <c:yVal>
            <c:numRef>
              <c:f>Sheet1!$B$122:$B$123</c:f>
              <c:numCache>
                <c:formatCode>General</c:formatCode>
                <c:ptCount val="2"/>
                <c:pt idx="0">
                  <c:v>0.90138830376147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6:$A$127</c:f>
              <c:numCache>
                <c:formatCode>General</c:formatCode>
                <c:ptCount val="2"/>
                <c:pt idx="0">
                  <c:v>0</c:v>
                </c:pt>
                <c:pt idx="1">
                  <c:v>0.47578241773015223</c:v>
                </c:pt>
              </c:numCache>
            </c:numRef>
          </c:xVal>
          <c:yVal>
            <c:numRef>
              <c:f>Sheet1!$B$126:$B$127</c:f>
              <c:numCache>
                <c:formatCode>General</c:formatCode>
                <c:ptCount val="2"/>
                <c:pt idx="0">
                  <c:v>0.8476492173353699</c:v>
                </c:pt>
                <c:pt idx="1">
                  <c:v>0.8476492173353699</c:v>
                </c:pt>
              </c:numCache>
            </c:numRef>
          </c:yVal>
          <c:smooth val="0"/>
          <c:extLst>
            <c:ext xmlns:c16="http://schemas.microsoft.com/office/drawing/2014/chart" uri="{C3380CC4-5D6E-409C-BE32-E72D297353CC}">
              <c16:uniqueId val="{00000015-096C-4121-9522-6AB7243CCAAE}"/>
            </c:ext>
          </c:extLst>
        </c:ser>
        <c:ser>
          <c:idx val="7"/>
          <c:order val="7"/>
          <c:tx>
            <c:strRef>
              <c:f>Sheet1!$B$1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0:$A$131</c:f>
              <c:numCache>
                <c:formatCode>General</c:formatCode>
                <c:ptCount val="2"/>
                <c:pt idx="0">
                  <c:v>0.47578241773015223</c:v>
                </c:pt>
                <c:pt idx="1">
                  <c:v>0.47578241773015223</c:v>
                </c:pt>
              </c:numCache>
            </c:numRef>
          </c:xVal>
          <c:yVal>
            <c:numRef>
              <c:f>Sheet1!$B$130:$B$131</c:f>
              <c:numCache>
                <c:formatCode>General</c:formatCode>
                <c:ptCount val="2"/>
                <c:pt idx="0">
                  <c:v>0.847649217335369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4:$A$188</c:f>
              <c:numCache>
                <c:formatCode>General</c:formatCode>
                <c:ptCount val="55"/>
                <c:pt idx="0">
                  <c:v>0.28127244676286434</c:v>
                </c:pt>
                <c:pt idx="1">
                  <c:v>0.3277222246842455</c:v>
                </c:pt>
                <c:pt idx="2">
                  <c:v>0.34563932669893854</c:v>
                </c:pt>
                <c:pt idx="3">
                  <c:v>0.32138070300210786</c:v>
                </c:pt>
                <c:pt idx="4">
                  <c:v>0.37071292869730343</c:v>
                </c:pt>
                <c:pt idx="5">
                  <c:v>0.3200912503910731</c:v>
                </c:pt>
                <c:pt idx="6">
                  <c:v>0.3628201525939828</c:v>
                </c:pt>
                <c:pt idx="7">
                  <c:v>0.3521444398734144</c:v>
                </c:pt>
                <c:pt idx="8">
                  <c:v>0.37897717384681007</c:v>
                </c:pt>
                <c:pt idx="9">
                  <c:v>0.3489446075681784</c:v>
                </c:pt>
                <c:pt idx="10">
                  <c:v>0.3542059712539041</c:v>
                </c:pt>
                <c:pt idx="11">
                  <c:v>0.3026624348170477</c:v>
                </c:pt>
                <c:pt idx="12">
                  <c:v>0.35550483842350206</c:v>
                </c:pt>
                <c:pt idx="13">
                  <c:v>0.2941474072090055</c:v>
                </c:pt>
                <c:pt idx="14">
                  <c:v>0.28691471454449113</c:v>
                </c:pt>
                <c:pt idx="15">
                  <c:v>0.2884818613089474</c:v>
                </c:pt>
                <c:pt idx="16">
                  <c:v>0.34119819391634976</c:v>
                </c:pt>
                <c:pt idx="17">
                  <c:v>0.3826322819020961</c:v>
                </c:pt>
                <c:pt idx="18">
                  <c:v>0.3059640719784187</c:v>
                </c:pt>
                <c:pt idx="19">
                  <c:v>0.365445374317756</c:v>
                </c:pt>
                <c:pt idx="20">
                  <c:v>0.32244270245229634</c:v>
                </c:pt>
                <c:pt idx="21">
                  <c:v>0.3191465699375405</c:v>
                </c:pt>
                <c:pt idx="22">
                  <c:v>0.33385816898144993</c:v>
                </c:pt>
                <c:pt idx="23">
                  <c:v>0.23082710388113234</c:v>
                </c:pt>
                <c:pt idx="24">
                  <c:v>0.20592321659127374</c:v>
                </c:pt>
                <c:pt idx="25">
                  <c:v>0.2231038449951043</c:v>
                </c:pt>
                <c:pt idx="26">
                  <c:v>0.21239040321838856</c:v>
                </c:pt>
                <c:pt idx="27">
                  <c:v>0.2800396819178941</c:v>
                </c:pt>
                <c:pt idx="28">
                  <c:v>0.29487689521851906</c:v>
                </c:pt>
                <c:pt idx="29">
                  <c:v>0.32552768584521385</c:v>
                </c:pt>
                <c:pt idx="30">
                  <c:v>0.25248102951637935</c:v>
                </c:pt>
                <c:pt idx="31">
                  <c:v>0.28832968041641016</c:v>
                </c:pt>
                <c:pt idx="32">
                  <c:v>0.3065594671945944</c:v>
                </c:pt>
                <c:pt idx="33">
                  <c:v>0.2929171497268954</c:v>
                </c:pt>
                <c:pt idx="34">
                  <c:v>0.33161661117752456</c:v>
                </c:pt>
                <c:pt idx="35">
                  <c:v>0.2642259531489609</c:v>
                </c:pt>
                <c:pt idx="36">
                  <c:v>0.3107825158601639</c:v>
                </c:pt>
                <c:pt idx="37">
                  <c:v>0.3063262849823489</c:v>
                </c:pt>
                <c:pt idx="38">
                  <c:v>0.28117304401854415</c:v>
                </c:pt>
                <c:pt idx="39">
                  <c:v>0.30582728869228887</c:v>
                </c:pt>
                <c:pt idx="40">
                  <c:v>0.3171170788509358</c:v>
                </c:pt>
                <c:pt idx="41">
                  <c:v>0.3168599480160825</c:v>
                </c:pt>
                <c:pt idx="42">
                  <c:v>0.2949616477885759</c:v>
                </c:pt>
                <c:pt idx="43">
                  <c:v>0.35999262969205265</c:v>
                </c:pt>
                <c:pt idx="44">
                  <c:v>0.34141408918621474</c:v>
                </c:pt>
                <c:pt idx="45">
                  <c:v>0.34314109448823105</c:v>
                </c:pt>
                <c:pt idx="46">
                  <c:v>0.35281770475723395</c:v>
                </c:pt>
                <c:pt idx="47">
                  <c:v>0.30785499906379776</c:v>
                </c:pt>
                <c:pt idx="48">
                  <c:v>0.3269033034018429</c:v>
                </c:pt>
                <c:pt idx="49">
                  <c:v>0.3294148613315902</c:v>
                </c:pt>
                <c:pt idx="50">
                  <c:v>0.2907036290464399</c:v>
                </c:pt>
                <c:pt idx="51">
                  <c:v>0.2924222795709256</c:v>
                </c:pt>
                <c:pt idx="52">
                  <c:v>0.17193458246260812</c:v>
                </c:pt>
                <c:pt idx="53">
                  <c:v>-0.1588282429724139</c:v>
                </c:pt>
                <c:pt idx="54">
                  <c:v>0.47578241773015223</c:v>
                </c:pt>
              </c:numCache>
            </c:numRef>
          </c:xVal>
          <c:yVal>
            <c:numRef>
              <c:f>Sheet1!$B$134:$B$188</c:f>
              <c:numCache>
                <c:formatCode>General</c:formatCode>
                <c:ptCount val="55"/>
                <c:pt idx="0">
                  <c:v>0.8820506081872972</c:v>
                </c:pt>
                <c:pt idx="1">
                  <c:v>0.8738354151187249</c:v>
                </c:pt>
                <c:pt idx="2">
                  <c:v>0.8706665635360727</c:v>
                </c:pt>
                <c:pt idx="3">
                  <c:v>0.8749569882951451</c:v>
                </c:pt>
                <c:pt idx="4">
                  <c:v>0.866232000217175</c:v>
                </c:pt>
                <c:pt idx="5">
                  <c:v>0.8751850432531334</c:v>
                </c:pt>
                <c:pt idx="6">
                  <c:v>0.8676279311007529</c:v>
                </c:pt>
                <c:pt idx="7">
                  <c:v>0.8695160572677396</c:v>
                </c:pt>
                <c:pt idx="8">
                  <c:v>0.8647703706355627</c:v>
                </c:pt>
                <c:pt idx="9">
                  <c:v>0.8700819854885173</c:v>
                </c:pt>
                <c:pt idx="10">
                  <c:v>0.8691514510399917</c:v>
                </c:pt>
                <c:pt idx="11">
                  <c:v>0.8782675355987265</c:v>
                </c:pt>
                <c:pt idx="12">
                  <c:v>0.8689217310058779</c:v>
                </c:pt>
                <c:pt idx="13">
                  <c:v>0.8797735190267353</c:v>
                </c:pt>
                <c:pt idx="14">
                  <c:v>0.8810527063405089</c:v>
                </c:pt>
                <c:pt idx="15">
                  <c:v>0.8807755378843198</c:v>
                </c:pt>
                <c:pt idx="16">
                  <c:v>0.8714520304400025</c:v>
                </c:pt>
                <c:pt idx="17">
                  <c:v>0.8641239215091214</c:v>
                </c:pt>
                <c:pt idx="18">
                  <c:v>0.8776836019840396</c:v>
                </c:pt>
                <c:pt idx="19">
                  <c:v>0.8671636295631845</c:v>
                </c:pt>
                <c:pt idx="20">
                  <c:v>0.8747691611210996</c:v>
                </c:pt>
                <c:pt idx="21">
                  <c:v>0.8753521211738721</c:v>
                </c:pt>
                <c:pt idx="22">
                  <c:v>0.8727502007363255</c:v>
                </c:pt>
                <c:pt idx="23">
                  <c:v>0.8909724642160854</c:v>
                </c:pt>
                <c:pt idx="24">
                  <c:v>0.8953770114798083</c:v>
                </c:pt>
                <c:pt idx="25">
                  <c:v>0.8923384139731473</c:v>
                </c:pt>
                <c:pt idx="26">
                  <c:v>0.8942332129703265</c:v>
                </c:pt>
                <c:pt idx="27">
                  <c:v>0.8822686372428229</c:v>
                </c:pt>
                <c:pt idx="28">
                  <c:v>0.8796445004370339</c:v>
                </c:pt>
                <c:pt idx="29">
                  <c:v>0.8742235452899744</c:v>
                </c:pt>
                <c:pt idx="30">
                  <c:v>0.8871427111419772</c:v>
                </c:pt>
                <c:pt idx="31">
                  <c:v>0.8808024528765864</c:v>
                </c:pt>
                <c:pt idx="32">
                  <c:v>0.8775782992921459</c:v>
                </c:pt>
                <c:pt idx="33">
                  <c:v>0.8799911046254587</c:v>
                </c:pt>
                <c:pt idx="34">
                  <c:v>0.8731466467680973</c:v>
                </c:pt>
                <c:pt idx="35">
                  <c:v>0.8850654823685564</c:v>
                </c:pt>
                <c:pt idx="36">
                  <c:v>0.8768314031458532</c:v>
                </c:pt>
                <c:pt idx="37">
                  <c:v>0.8776195403266455</c:v>
                </c:pt>
                <c:pt idx="38">
                  <c:v>0.8820681887392972</c:v>
                </c:pt>
                <c:pt idx="39">
                  <c:v>0.877707793727346</c:v>
                </c:pt>
                <c:pt idx="40">
                  <c:v>0.8757110606963736</c:v>
                </c:pt>
                <c:pt idx="41">
                  <c:v>0.8757565373282701</c:v>
                </c:pt>
                <c:pt idx="42">
                  <c:v>0.8796295109417718</c:v>
                </c:pt>
                <c:pt idx="43">
                  <c:v>0.8681280119963921</c:v>
                </c:pt>
                <c:pt idx="44">
                  <c:v>0.8714138468058948</c:v>
                </c:pt>
                <c:pt idx="45">
                  <c:v>0.8711084054750338</c:v>
                </c:pt>
                <c:pt idx="46">
                  <c:v>0.8693969824033511</c:v>
                </c:pt>
                <c:pt idx="47">
                  <c:v>0.8773491691453881</c:v>
                </c:pt>
                <c:pt idx="48">
                  <c:v>0.8739802510413914</c:v>
                </c:pt>
                <c:pt idx="49">
                  <c:v>0.8735360522912768</c:v>
                </c:pt>
                <c:pt idx="50">
                  <c:v>0.880382591960059</c:v>
                </c:pt>
                <c:pt idx="51">
                  <c:v>0.8800786282705028</c:v>
                </c:pt>
                <c:pt idx="52">
                  <c:v>0.9013883037614776</c:v>
                </c:pt>
                <c:pt idx="53">
                  <c:v>0.9598876248013826</c:v>
                </c:pt>
                <c:pt idx="54">
                  <c:v>0.847649217335369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clipso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64491099954357"/>
          <c:min val="0.5903398926654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471820173574542</c:v>
                </c:pt>
                <c:pt idx="1">
                  <c:v>0.16221279167748848</c:v>
                </c:pt>
                <c:pt idx="2">
                  <c:v>0.16456855993906122</c:v>
                </c:pt>
                <c:pt idx="3">
                  <c:v>0.16977079132123057</c:v>
                </c:pt>
                <c:pt idx="4">
                  <c:v>0.16095732287787481</c:v>
                </c:pt>
                <c:pt idx="5">
                  <c:v>0.15765823176845203</c:v>
                </c:pt>
                <c:pt idx="6">
                  <c:v>0.15769494163648065</c:v>
                </c:pt>
                <c:pt idx="7">
                  <c:v>0.15270503523256337</c:v>
                </c:pt>
                <c:pt idx="8">
                  <c:v>0.15310780983609415</c:v>
                </c:pt>
                <c:pt idx="9">
                  <c:v>0.15641288952011234</c:v>
                </c:pt>
                <c:pt idx="10">
                  <c:v>0.1564071243757597</c:v>
                </c:pt>
                <c:pt idx="11">
                  <c:v>0.16653261000758485</c:v>
                </c:pt>
                <c:pt idx="12">
                  <c:v>0.1725739962733591</c:v>
                </c:pt>
                <c:pt idx="13">
                  <c:v>0.16912776408873886</c:v>
                </c:pt>
                <c:pt idx="14">
                  <c:v>0.18048670975826994</c:v>
                </c:pt>
                <c:pt idx="15">
                  <c:v>0.17904935393300317</c:v>
                </c:pt>
                <c:pt idx="16">
                  <c:v>0.16834777446284432</c:v>
                </c:pt>
                <c:pt idx="17">
                  <c:v>0.15546710017251175</c:v>
                </c:pt>
                <c:pt idx="18">
                  <c:v>0.15299864435646957</c:v>
                </c:pt>
                <c:pt idx="19">
                  <c:v>0.1571871439584742</c:v>
                </c:pt>
                <c:pt idx="20">
                  <c:v>0.16721702039088573</c:v>
                </c:pt>
                <c:pt idx="21">
                  <c:v>0.15857113578251134</c:v>
                </c:pt>
                <c:pt idx="22">
                  <c:v>0.144104015503042</c:v>
                </c:pt>
                <c:pt idx="23">
                  <c:v>0.1455396979178064</c:v>
                </c:pt>
                <c:pt idx="24">
                  <c:v>0.15069156708601553</c:v>
                </c:pt>
                <c:pt idx="25">
                  <c:v>0.14320883884168653</c:v>
                </c:pt>
                <c:pt idx="26">
                  <c:v>0.14818474462884643</c:v>
                </c:pt>
                <c:pt idx="27">
                  <c:v>0.1446645681469408</c:v>
                </c:pt>
                <c:pt idx="28">
                  <c:v>0.14108619067816436</c:v>
                </c:pt>
                <c:pt idx="29">
                  <c:v>0.14471617695742572</c:v>
                </c:pt>
                <c:pt idx="30">
                  <c:v>0.13980081009423476</c:v>
                </c:pt>
                <c:pt idx="31">
                  <c:v>0.12869241305884802</c:v>
                </c:pt>
                <c:pt idx="32">
                  <c:v>0.1284455876845785</c:v>
                </c:pt>
                <c:pt idx="33">
                  <c:v>0.12842957809382313</c:v>
                </c:pt>
                <c:pt idx="34">
                  <c:v>0.14001781912199177</c:v>
                </c:pt>
                <c:pt idx="35">
                  <c:v>0.14937324213967712</c:v>
                </c:pt>
                <c:pt idx="36">
                  <c:v>0.14200115542647437</c:v>
                </c:pt>
                <c:pt idx="37">
                  <c:v>0.13166788894352088</c:v>
                </c:pt>
                <c:pt idx="38">
                  <c:v>0.14053622416585038</c:v>
                </c:pt>
                <c:pt idx="39">
                  <c:v>0.1460385438522413</c:v>
                </c:pt>
                <c:pt idx="40">
                  <c:v>0.15323041406008236</c:v>
                </c:pt>
                <c:pt idx="41">
                  <c:v>0.15173770281921803</c:v>
                </c:pt>
                <c:pt idx="42">
                  <c:v>0.15447234032759619</c:v>
                </c:pt>
                <c:pt idx="43">
                  <c:v>0.16308725450495645</c:v>
                </c:pt>
                <c:pt idx="44">
                  <c:v>0.18431725625195333</c:v>
                </c:pt>
                <c:pt idx="45">
                  <c:v>0.17493071044866065</c:v>
                </c:pt>
                <c:pt idx="46">
                  <c:v>0.18064648745414158</c:v>
                </c:pt>
                <c:pt idx="47">
                  <c:v>0.1697238116462347</c:v>
                </c:pt>
                <c:pt idx="48">
                  <c:v>0.19247759450537685</c:v>
                </c:pt>
                <c:pt idx="49">
                  <c:v>0.20371262308729585</c:v>
                </c:pt>
                <c:pt idx="50">
                  <c:v>0.17366550354784793</c:v>
                </c:pt>
                <c:pt idx="51">
                  <c:v>0.16708078556579284</c:v>
                </c:pt>
                <c:pt idx="52">
                  <c:v>0.1806655036247707</c:v>
                </c:pt>
                <c:pt idx="53">
                  <c:v>0.18360349387361127</c:v>
                </c:pt>
                <c:pt idx="54">
                  <c:v>0.18482332213608757</c:v>
                </c:pt>
                <c:pt idx="55">
                  <c:v>0.17415867536732363</c:v>
                </c:pt>
                <c:pt idx="56">
                  <c:v>0.17558816140160066</c:v>
                </c:pt>
                <c:pt idx="57">
                  <c:v>0.17494011247572663</c:v>
                </c:pt>
                <c:pt idx="58">
                  <c:v>0.18005417849562383</c:v>
                </c:pt>
                <c:pt idx="59">
                  <c:v>0.2052339266301445</c:v>
                </c:pt>
                <c:pt idx="60">
                  <c:v>0.20388067942481417</c:v>
                </c:pt>
                <c:pt idx="61">
                  <c:v>0.19700226306995403</c:v>
                </c:pt>
                <c:pt idx="62">
                  <c:v>0.19190612184871667</c:v>
                </c:pt>
                <c:pt idx="63">
                  <c:v>0.19649486289326523</c:v>
                </c:pt>
                <c:pt idx="64">
                  <c:v>0.20327217137796344</c:v>
                </c:pt>
                <c:pt idx="65">
                  <c:v>0.19918940959689133</c:v>
                </c:pt>
                <c:pt idx="66">
                  <c:v>0.19772921313857977</c:v>
                </c:pt>
                <c:pt idx="67">
                  <c:v>0.2011679068819048</c:v>
                </c:pt>
                <c:pt idx="68">
                  <c:v>0.19272895336571472</c:v>
                </c:pt>
                <c:pt idx="69">
                  <c:v>0.18180662681182477</c:v>
                </c:pt>
                <c:pt idx="70">
                  <c:v>0.1759682779254359</c:v>
                </c:pt>
                <c:pt idx="71">
                  <c:v>0.1842141748952715</c:v>
                </c:pt>
                <c:pt idx="72">
                  <c:v>0.2040571547233504</c:v>
                </c:pt>
                <c:pt idx="73">
                  <c:v>0.1969278054450556</c:v>
                </c:pt>
                <c:pt idx="74">
                  <c:v>0.19183501036706763</c:v>
                </c:pt>
                <c:pt idx="75">
                  <c:v>0.18287766908471137</c:v>
                </c:pt>
                <c:pt idx="76">
                  <c:v>0.17074269268384595</c:v>
                </c:pt>
                <c:pt idx="77">
                  <c:v>0.16821944410583</c:v>
                </c:pt>
                <c:pt idx="78">
                  <c:v>0.17367020682708859</c:v>
                </c:pt>
                <c:pt idx="79">
                  <c:v>0.16756366389697044</c:v>
                </c:pt>
                <c:pt idx="80">
                  <c:v>0.16173670570993648</c:v>
                </c:pt>
                <c:pt idx="81">
                  <c:v>0.1719620151208278</c:v>
                </c:pt>
                <c:pt idx="82">
                  <c:v>0.17027201858779947</c:v>
                </c:pt>
                <c:pt idx="83">
                  <c:v>0.1524362291199452</c:v>
                </c:pt>
                <c:pt idx="84">
                  <c:v>0.15244781863508486</c:v>
                </c:pt>
                <c:pt idx="85">
                  <c:v>0.15069443736010402</c:v>
                </c:pt>
                <c:pt idx="86">
                  <c:v>0.155321612754481</c:v>
                </c:pt>
                <c:pt idx="87">
                  <c:v>0.17315356593708617</c:v>
                </c:pt>
                <c:pt idx="88">
                  <c:v>0.160478748071326</c:v>
                </c:pt>
                <c:pt idx="89">
                  <c:v>0.15505211508414174</c:v>
                </c:pt>
                <c:pt idx="90">
                  <c:v>0.16406833815260846</c:v>
                </c:pt>
                <c:pt idx="91">
                  <c:v>0.16806454110489144</c:v>
                </c:pt>
                <c:pt idx="92">
                  <c:v>0.17192196121287634</c:v>
                </c:pt>
                <c:pt idx="93">
                  <c:v>0.172596812712764</c:v>
                </c:pt>
                <c:pt idx="94">
                  <c:v>0.16584287086289334</c:v>
                </c:pt>
                <c:pt idx="95">
                  <c:v>0.16958505911818872</c:v>
                </c:pt>
                <c:pt idx="96">
                  <c:v>0.17416969867639767</c:v>
                </c:pt>
                <c:pt idx="97">
                  <c:v>0.18331724762567247</c:v>
                </c:pt>
                <c:pt idx="98">
                  <c:v>0.19096077358704616</c:v>
                </c:pt>
                <c:pt idx="99">
                  <c:v>0.19822627823412903</c:v>
                </c:pt>
                <c:pt idx="100">
                  <c:v>0.21262655970413158</c:v>
                </c:pt>
                <c:pt idx="101">
                  <c:v>0.20189691329733064</c:v>
                </c:pt>
                <c:pt idx="102">
                  <c:v>0.19385347252116097</c:v>
                </c:pt>
                <c:pt idx="103">
                  <c:v>0.18838075230165838</c:v>
                </c:pt>
                <c:pt idx="104">
                  <c:v>0.20159513633163628</c:v>
                </c:pt>
              </c:numCache>
            </c:numRef>
          </c:xVal>
          <c:yVal>
            <c:numRef>
              <c:f>Sheet1!$B$2:$B$106</c:f>
              <c:numCache>
                <c:formatCode>General</c:formatCode>
                <c:ptCount val="105"/>
                <c:pt idx="0">
                  <c:v>0.2222146569528608</c:v>
                </c:pt>
                <c:pt idx="1">
                  <c:v>0.21436831795331712</c:v>
                </c:pt>
                <c:pt idx="2">
                  <c:v>0.21788056610286502</c:v>
                </c:pt>
                <c:pt idx="3">
                  <c:v>0.22284236976901517</c:v>
                </c:pt>
                <c:pt idx="4">
                  <c:v>0.23230982175644757</c:v>
                </c:pt>
                <c:pt idx="5">
                  <c:v>0.23256081761911618</c:v>
                </c:pt>
                <c:pt idx="6">
                  <c:v>0.2603693782602566</c:v>
                </c:pt>
                <c:pt idx="7">
                  <c:v>0.2640731387654637</c:v>
                </c:pt>
                <c:pt idx="8">
                  <c:v>0.25708272083389017</c:v>
                </c:pt>
                <c:pt idx="9">
                  <c:v>0.2529252451947096</c:v>
                </c:pt>
                <c:pt idx="10">
                  <c:v>0.24543585113852945</c:v>
                </c:pt>
                <c:pt idx="11">
                  <c:v>0.22978744913690702</c:v>
                </c:pt>
                <c:pt idx="12">
                  <c:v>0.2215695379614581</c:v>
                </c:pt>
                <c:pt idx="13">
                  <c:v>0.21050827538928607</c:v>
                </c:pt>
                <c:pt idx="14">
                  <c:v>0.19294339713960748</c:v>
                </c:pt>
                <c:pt idx="15">
                  <c:v>0.19069216547261383</c:v>
                </c:pt>
                <c:pt idx="16">
                  <c:v>0.1803606557377049</c:v>
                </c:pt>
                <c:pt idx="17">
                  <c:v>0.1780209562636341</c:v>
                </c:pt>
                <c:pt idx="18">
                  <c:v>0.16206610591162185</c:v>
                </c:pt>
                <c:pt idx="19">
                  <c:v>0.16453110492107706</c:v>
                </c:pt>
                <c:pt idx="20">
                  <c:v>0.17074384594770492</c:v>
                </c:pt>
                <c:pt idx="21">
                  <c:v>0.16795410398879704</c:v>
                </c:pt>
                <c:pt idx="22">
                  <c:v>0.1887250326675378</c:v>
                </c:pt>
                <c:pt idx="23">
                  <c:v>0.19064005505849965</c:v>
                </c:pt>
                <c:pt idx="24">
                  <c:v>0.19543311454192475</c:v>
                </c:pt>
                <c:pt idx="25">
                  <c:v>0.1965275598786738</c:v>
                </c:pt>
                <c:pt idx="26">
                  <c:v>0.2142091277795907</c:v>
                </c:pt>
                <c:pt idx="27">
                  <c:v>0.21903288905063004</c:v>
                </c:pt>
                <c:pt idx="28">
                  <c:v>0.21609717650331495</c:v>
                </c:pt>
                <c:pt idx="29">
                  <c:v>0.21403309077604782</c:v>
                </c:pt>
                <c:pt idx="30">
                  <c:v>0.21525529915422367</c:v>
                </c:pt>
                <c:pt idx="31">
                  <c:v>0.21580469979190986</c:v>
                </c:pt>
                <c:pt idx="32">
                  <c:v>0.22579515903180636</c:v>
                </c:pt>
                <c:pt idx="33">
                  <c:v>0.2243625609463672</c:v>
                </c:pt>
                <c:pt idx="34">
                  <c:v>0.22853110411464553</c:v>
                </c:pt>
                <c:pt idx="35">
                  <c:v>0.24465431218816822</c:v>
                </c:pt>
                <c:pt idx="36">
                  <c:v>0.21023367645953867</c:v>
                </c:pt>
                <c:pt idx="37">
                  <c:v>0.21509433962264152</c:v>
                </c:pt>
                <c:pt idx="38">
                  <c:v>0.2002953183357943</c:v>
                </c:pt>
                <c:pt idx="39">
                  <c:v>0.18644224973338897</c:v>
                </c:pt>
                <c:pt idx="40">
                  <c:v>0.1933965902954563</c:v>
                </c:pt>
                <c:pt idx="41">
                  <c:v>0.1845035313668467</c:v>
                </c:pt>
                <c:pt idx="42">
                  <c:v>0.1825368689733409</c:v>
                </c:pt>
                <c:pt idx="43">
                  <c:v>0.18491152406925856</c:v>
                </c:pt>
                <c:pt idx="44">
                  <c:v>0.179719027169339</c:v>
                </c:pt>
                <c:pt idx="45">
                  <c:v>0.19425275927214875</c:v>
                </c:pt>
                <c:pt idx="46">
                  <c:v>0.20227789562193046</c:v>
                </c:pt>
                <c:pt idx="47">
                  <c:v>0.19447760619247506</c:v>
                </c:pt>
                <c:pt idx="48">
                  <c:v>0.1946365151844604</c:v>
                </c:pt>
                <c:pt idx="49">
                  <c:v>0.2024177181681814</c:v>
                </c:pt>
                <c:pt idx="50">
                  <c:v>0.19343004525223934</c:v>
                </c:pt>
                <c:pt idx="51">
                  <c:v>0.1905886056027699</c:v>
                </c:pt>
                <c:pt idx="52">
                  <c:v>0.19163722255841645</c:v>
                </c:pt>
                <c:pt idx="53">
                  <c:v>0.1821459475050476</c:v>
                </c:pt>
                <c:pt idx="54">
                  <c:v>0.18893706477466823</c:v>
                </c:pt>
                <c:pt idx="55">
                  <c:v>0.18618821936357483</c:v>
                </c:pt>
                <c:pt idx="56">
                  <c:v>0.1827687615728134</c:v>
                </c:pt>
                <c:pt idx="57">
                  <c:v>0.17984808924756707</c:v>
                </c:pt>
                <c:pt idx="58">
                  <c:v>0.19077375079479927</c:v>
                </c:pt>
                <c:pt idx="59">
                  <c:v>0.18824739239018656</c:v>
                </c:pt>
                <c:pt idx="60">
                  <c:v>0.1917924831352393</c:v>
                </c:pt>
                <c:pt idx="61">
                  <c:v>0.18711292376081656</c:v>
                </c:pt>
                <c:pt idx="62">
                  <c:v>0.19957863689034025</c:v>
                </c:pt>
                <c:pt idx="63">
                  <c:v>0.2039075557604749</c:v>
                </c:pt>
                <c:pt idx="64">
                  <c:v>0.1943246991790681</c:v>
                </c:pt>
                <c:pt idx="65">
                  <c:v>0.19147112834115487</c:v>
                </c:pt>
                <c:pt idx="66">
                  <c:v>0.18685303480699092</c:v>
                </c:pt>
                <c:pt idx="67">
                  <c:v>0.1743600914933014</c:v>
                </c:pt>
                <c:pt idx="68">
                  <c:v>0.16798753104031278</c:v>
                </c:pt>
                <c:pt idx="69">
                  <c:v>0.1637571027589512</c:v>
                </c:pt>
                <c:pt idx="70">
                  <c:v>0.16157501697216564</c:v>
                </c:pt>
                <c:pt idx="71">
                  <c:v>0.15957227341493604</c:v>
                </c:pt>
                <c:pt idx="72">
                  <c:v>0.16045343380263072</c:v>
                </c:pt>
                <c:pt idx="73">
                  <c:v>0.16063700882811147</c:v>
                </c:pt>
                <c:pt idx="74">
                  <c:v>0.16004937942079275</c:v>
                </c:pt>
                <c:pt idx="75">
                  <c:v>0.1704176288700145</c:v>
                </c:pt>
                <c:pt idx="76">
                  <c:v>0.17403464829889376</c:v>
                </c:pt>
                <c:pt idx="77">
                  <c:v>0.16306754103838603</c:v>
                </c:pt>
                <c:pt idx="78">
                  <c:v>0.17122101414413549</c:v>
                </c:pt>
                <c:pt idx="79">
                  <c:v>0.16867216425445977</c:v>
                </c:pt>
                <c:pt idx="80">
                  <c:v>0.15128412624047022</c:v>
                </c:pt>
                <c:pt idx="81">
                  <c:v>0.15918572867213351</c:v>
                </c:pt>
                <c:pt idx="82">
                  <c:v>0.1604518736223365</c:v>
                </c:pt>
                <c:pt idx="83">
                  <c:v>0.15352127547249497</c:v>
                </c:pt>
                <c:pt idx="84">
                  <c:v>0.1606915980776667</c:v>
                </c:pt>
                <c:pt idx="85">
                  <c:v>0.16671613733056298</c:v>
                </c:pt>
                <c:pt idx="86">
                  <c:v>0.1759307231144993</c:v>
                </c:pt>
                <c:pt idx="87">
                  <c:v>0.19704711230134958</c:v>
                </c:pt>
                <c:pt idx="88">
                  <c:v>0.18048567053161235</c:v>
                </c:pt>
                <c:pt idx="89">
                  <c:v>0.17244673736505206</c:v>
                </c:pt>
                <c:pt idx="90">
                  <c:v>0.1624969158647915</c:v>
                </c:pt>
                <c:pt idx="91">
                  <c:v>0.1546732452057345</c:v>
                </c:pt>
                <c:pt idx="92">
                  <c:v>0.17381197362905376</c:v>
                </c:pt>
                <c:pt idx="93">
                  <c:v>0.16256891670391893</c:v>
                </c:pt>
                <c:pt idx="94">
                  <c:v>0.16598507525612377</c:v>
                </c:pt>
                <c:pt idx="95">
                  <c:v>0.17649211625850134</c:v>
                </c:pt>
                <c:pt idx="96">
                  <c:v>0.17222309294046526</c:v>
                </c:pt>
                <c:pt idx="97">
                  <c:v>0.17688563038294014</c:v>
                </c:pt>
                <c:pt idx="98">
                  <c:v>0.184845203101095</c:v>
                </c:pt>
                <c:pt idx="99">
                  <c:v>0.1852970193428802</c:v>
                </c:pt>
                <c:pt idx="100">
                  <c:v>0.18696157822191592</c:v>
                </c:pt>
                <c:pt idx="101">
                  <c:v>0.17836053875657837</c:v>
                </c:pt>
                <c:pt idx="102">
                  <c:v>0.16761097479366496</c:v>
                </c:pt>
                <c:pt idx="103">
                  <c:v>0.16980733033013978</c:v>
                </c:pt>
                <c:pt idx="104">
                  <c:v>0.1651442481502012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0402881678125429</c:v>
                </c:pt>
                <c:pt idx="1">
                  <c:v>0.21225427409752184</c:v>
                </c:pt>
                <c:pt idx="2">
                  <c:v>0.20417583464703704</c:v>
                </c:pt>
                <c:pt idx="3">
                  <c:v>0.2001481078487591</c:v>
                </c:pt>
                <c:pt idx="4">
                  <c:v>0.19683885106533397</c:v>
                </c:pt>
                <c:pt idx="5">
                  <c:v>0.19763158199612277</c:v>
                </c:pt>
                <c:pt idx="6">
                  <c:v>0.18589789589831954</c:v>
                </c:pt>
                <c:pt idx="7">
                  <c:v>0.17965146031680845</c:v>
                </c:pt>
                <c:pt idx="8">
                  <c:v>0.1907207743664692</c:v>
                </c:pt>
                <c:pt idx="9">
                  <c:v>0.18766636511718204</c:v>
                </c:pt>
                <c:pt idx="10">
                  <c:v>0.19318557985260362</c:v>
                </c:pt>
                <c:pt idx="11">
                  <c:v>0.18525692065921295</c:v>
                </c:pt>
                <c:pt idx="12">
                  <c:v>0.18367581132801641</c:v>
                </c:pt>
                <c:pt idx="13">
                  <c:v>0.18411800459109984</c:v>
                </c:pt>
                <c:pt idx="14">
                  <c:v>0.1819471542484282</c:v>
                </c:pt>
                <c:pt idx="15">
                  <c:v>0.1765107069700917</c:v>
                </c:pt>
                <c:pt idx="16">
                  <c:v>0.176439311750266</c:v>
                </c:pt>
                <c:pt idx="17">
                  <c:v>0.16712329709940824</c:v>
                </c:pt>
                <c:pt idx="18">
                  <c:v>0.16369516180948168</c:v>
                </c:pt>
                <c:pt idx="19">
                  <c:v>0.1794764011830318</c:v>
                </c:pt>
                <c:pt idx="20">
                  <c:v>0.16619684380242972</c:v>
                </c:pt>
                <c:pt idx="21">
                  <c:v>0.14293424398890564</c:v>
                </c:pt>
                <c:pt idx="22">
                  <c:v>0.16833284350967</c:v>
                </c:pt>
                <c:pt idx="23">
                  <c:v>0.1546801051826672</c:v>
                </c:pt>
                <c:pt idx="24">
                  <c:v>0.1497211903221742</c:v>
                </c:pt>
                <c:pt idx="25">
                  <c:v>0.15146463550108896</c:v>
                </c:pt>
                <c:pt idx="26">
                  <c:v>0.1504875559316994</c:v>
                </c:pt>
                <c:pt idx="27">
                  <c:v>0.15288029104985748</c:v>
                </c:pt>
                <c:pt idx="28">
                  <c:v>0.1623988845145003</c:v>
                </c:pt>
                <c:pt idx="29">
                  <c:v>0.15624101516313024</c:v>
                </c:pt>
                <c:pt idx="30">
                  <c:v>0.1514449239905117</c:v>
                </c:pt>
                <c:pt idx="31">
                  <c:v>0.15209445804099203</c:v>
                </c:pt>
                <c:pt idx="32">
                  <c:v>0.15036628171135177</c:v>
                </c:pt>
                <c:pt idx="33">
                  <c:v>0.15797818394483307</c:v>
                </c:pt>
                <c:pt idx="34">
                  <c:v>0.1731279331997188</c:v>
                </c:pt>
                <c:pt idx="35">
                  <c:v>0.16911326579490585</c:v>
                </c:pt>
                <c:pt idx="36">
                  <c:v>0.1516745167918956</c:v>
                </c:pt>
                <c:pt idx="37">
                  <c:v>0.16137967283727733</c:v>
                </c:pt>
                <c:pt idx="38">
                  <c:v>0.15294986699428276</c:v>
                </c:pt>
                <c:pt idx="39">
                  <c:v>0.1610442349822849</c:v>
                </c:pt>
                <c:pt idx="40">
                  <c:v>0.1616135544541468</c:v>
                </c:pt>
                <c:pt idx="41">
                  <c:v>0.1711761460322712</c:v>
                </c:pt>
                <c:pt idx="42">
                  <c:v>0.16732900137883397</c:v>
                </c:pt>
                <c:pt idx="43">
                  <c:v>0.1745474229285245</c:v>
                </c:pt>
                <c:pt idx="44">
                  <c:v>0.17462262264256845</c:v>
                </c:pt>
                <c:pt idx="45">
                  <c:v>0.1775927776975906</c:v>
                </c:pt>
                <c:pt idx="46">
                  <c:v>0.1680536737704798</c:v>
                </c:pt>
                <c:pt idx="47">
                  <c:v>0.1655921054111922</c:v>
                </c:pt>
                <c:pt idx="48">
                  <c:v>0.170714927767385</c:v>
                </c:pt>
                <c:pt idx="49">
                  <c:v>0.18634080233713132</c:v>
                </c:pt>
                <c:pt idx="50">
                  <c:v>0.19991370734908911</c:v>
                </c:pt>
                <c:pt idx="51">
                  <c:v>0.17419450154595836</c:v>
                </c:pt>
              </c:numCache>
            </c:numRef>
          </c:xVal>
          <c:yVal>
            <c:numRef>
              <c:f>Sheet1!$B$109:$B$160</c:f>
              <c:numCache>
                <c:formatCode>General</c:formatCode>
                <c:ptCount val="52"/>
                <c:pt idx="0">
                  <c:v>0.17802097185585664</c:v>
                </c:pt>
                <c:pt idx="1">
                  <c:v>0.17260350615442</c:v>
                </c:pt>
                <c:pt idx="2">
                  <c:v>0.1908182123655914</c:v>
                </c:pt>
                <c:pt idx="3">
                  <c:v>0.2053767718431356</c:v>
                </c:pt>
                <c:pt idx="4">
                  <c:v>0.1903469538408094</c:v>
                </c:pt>
                <c:pt idx="5">
                  <c:v>0.18622834490461904</c:v>
                </c:pt>
                <c:pt idx="6">
                  <c:v>0.1955257649123549</c:v>
                </c:pt>
                <c:pt idx="7">
                  <c:v>0.19260207710911936</c:v>
                </c:pt>
                <c:pt idx="8">
                  <c:v>0.18238248229826257</c:v>
                </c:pt>
                <c:pt idx="9">
                  <c:v>0.18989008472635677</c:v>
                </c:pt>
                <c:pt idx="10">
                  <c:v>0.19436705194339465</c:v>
                </c:pt>
                <c:pt idx="11">
                  <c:v>0.1953908232455593</c:v>
                </c:pt>
                <c:pt idx="12">
                  <c:v>0.19392331353166312</c:v>
                </c:pt>
                <c:pt idx="13">
                  <c:v>0.19547250296904917</c:v>
                </c:pt>
                <c:pt idx="14">
                  <c:v>0.19394758459866973</c:v>
                </c:pt>
                <c:pt idx="15">
                  <c:v>0.186550055192324</c:v>
                </c:pt>
                <c:pt idx="16">
                  <c:v>0.17574328415283133</c:v>
                </c:pt>
                <c:pt idx="17">
                  <c:v>0.17712701203841472</c:v>
                </c:pt>
                <c:pt idx="18">
                  <c:v>0.17935530898193894</c:v>
                </c:pt>
                <c:pt idx="19">
                  <c:v>0.18094147206621342</c:v>
                </c:pt>
                <c:pt idx="20">
                  <c:v>0.16802036610498242</c:v>
                </c:pt>
                <c:pt idx="21">
                  <c:v>0.18832418904610645</c:v>
                </c:pt>
                <c:pt idx="22">
                  <c:v>0.16631099039674072</c:v>
                </c:pt>
                <c:pt idx="23">
                  <c:v>0.1754661532225375</c:v>
                </c:pt>
                <c:pt idx="24">
                  <c:v>0.1894596397598399</c:v>
                </c:pt>
                <c:pt idx="25">
                  <c:v>0.1797612506867789</c:v>
                </c:pt>
                <c:pt idx="26">
                  <c:v>0.17359107520677053</c:v>
                </c:pt>
                <c:pt idx="27">
                  <c:v>0.17504155478839023</c:v>
                </c:pt>
                <c:pt idx="28">
                  <c:v>0.1650057115846693</c:v>
                </c:pt>
                <c:pt idx="29">
                  <c:v>0.16573712585982525</c:v>
                </c:pt>
                <c:pt idx="30">
                  <c:v>0.1741023903996903</c:v>
                </c:pt>
                <c:pt idx="31">
                  <c:v>0.16851621285118823</c:v>
                </c:pt>
                <c:pt idx="32">
                  <c:v>0.1653202538949798</c:v>
                </c:pt>
                <c:pt idx="33">
                  <c:v>0.18113479147506897</c:v>
                </c:pt>
                <c:pt idx="34">
                  <c:v>0.20092111034525972</c:v>
                </c:pt>
                <c:pt idx="35">
                  <c:v>0.19210507060803395</c:v>
                </c:pt>
                <c:pt idx="36">
                  <c:v>0.17825081976025373</c:v>
                </c:pt>
                <c:pt idx="37">
                  <c:v>0.16967456340905773</c:v>
                </c:pt>
                <c:pt idx="38">
                  <c:v>0.16960600375234522</c:v>
                </c:pt>
                <c:pt idx="39">
                  <c:v>0.18535355622597843</c:v>
                </c:pt>
                <c:pt idx="40">
                  <c:v>0.17469904101203837</c:v>
                </c:pt>
                <c:pt idx="41">
                  <c:v>0.1779274968418635</c:v>
                </c:pt>
                <c:pt idx="42">
                  <c:v>0.17411245116358076</c:v>
                </c:pt>
                <c:pt idx="43">
                  <c:v>0.17360419144354086</c:v>
                </c:pt>
                <c:pt idx="44">
                  <c:v>0.1737144383598237</c:v>
                </c:pt>
                <c:pt idx="45">
                  <c:v>0.19012611441684774</c:v>
                </c:pt>
                <c:pt idx="46">
                  <c:v>0.19959677419354838</c:v>
                </c:pt>
                <c:pt idx="47">
                  <c:v>0.19990393632350587</c:v>
                </c:pt>
                <c:pt idx="48">
                  <c:v>0.19524801357710406</c:v>
                </c:pt>
                <c:pt idx="49">
                  <c:v>0.20261610043016418</c:v>
                </c:pt>
                <c:pt idx="50">
                  <c:v>0.21060356975105685</c:v>
                </c:pt>
                <c:pt idx="51">
                  <c:v>0.1990467903334256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2944435009923223</c:v>
                </c:pt>
              </c:numCache>
            </c:numRef>
          </c:xVal>
          <c:yVal>
            <c:numRef>
              <c:f>Sheet1!$B$163:$B$164</c:f>
              <c:numCache>
                <c:formatCode>General</c:formatCode>
                <c:ptCount val="2"/>
                <c:pt idx="0">
                  <c:v>0.23596686533480357</c:v>
                </c:pt>
                <c:pt idx="1">
                  <c:v>0.2359668653348035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2944435009923223</c:v>
                </c:pt>
                <c:pt idx="1">
                  <c:v>0.32944435009923223</c:v>
                </c:pt>
              </c:numCache>
            </c:numRef>
          </c:xVal>
          <c:yVal>
            <c:numRef>
              <c:f>Sheet1!$B$167:$B$168</c:f>
              <c:numCache>
                <c:formatCode>General</c:formatCode>
                <c:ptCount val="2"/>
                <c:pt idx="0">
                  <c:v>0.2359668653348035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2692588468731403</c:v>
                </c:pt>
              </c:numCache>
            </c:numRef>
          </c:xVal>
          <c:yVal>
            <c:numRef>
              <c:f>Sheet1!$B$171:$B$172</c:f>
              <c:numCache>
                <c:formatCode>General</c:formatCode>
                <c:ptCount val="2"/>
                <c:pt idx="0">
                  <c:v>0.20187861852293768</c:v>
                </c:pt>
                <c:pt idx="1">
                  <c:v>0.2018786185229376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2692588468731403</c:v>
                </c:pt>
                <c:pt idx="1">
                  <c:v>0.22692588468731403</c:v>
                </c:pt>
              </c:numCache>
            </c:numRef>
          </c:xVal>
          <c:yVal>
            <c:numRef>
              <c:f>Sheet1!$B$175:$B$176</c:f>
              <c:numCache>
                <c:formatCode>General</c:formatCode>
                <c:ptCount val="2"/>
                <c:pt idx="0">
                  <c:v>0.2018786185229376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880906397892826</c:v>
                </c:pt>
              </c:numCache>
            </c:numRef>
          </c:xVal>
          <c:yVal>
            <c:numRef>
              <c:f>Sheet1!$B$179:$B$180</c:f>
              <c:numCache>
                <c:formatCode>General</c:formatCode>
                <c:ptCount val="2"/>
                <c:pt idx="0">
                  <c:v>0.18896557492865215</c:v>
                </c:pt>
                <c:pt idx="1">
                  <c:v>0.1889655749286521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880906397892826</c:v>
                </c:pt>
                <c:pt idx="1">
                  <c:v>0.1880906397892826</c:v>
                </c:pt>
              </c:numCache>
            </c:numRef>
          </c:xVal>
          <c:yVal>
            <c:numRef>
              <c:f>Sheet1!$B$183:$B$184</c:f>
              <c:numCache>
                <c:formatCode>General</c:formatCode>
                <c:ptCount val="2"/>
                <c:pt idx="0">
                  <c:v>0.188965574928652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0402881678125429</c:v>
                </c:pt>
                <c:pt idx="1">
                  <c:v>0.21225427409752184</c:v>
                </c:pt>
                <c:pt idx="2">
                  <c:v>0.20417583464703704</c:v>
                </c:pt>
                <c:pt idx="3">
                  <c:v>0.2001481078487591</c:v>
                </c:pt>
                <c:pt idx="4">
                  <c:v>0.19683885106533397</c:v>
                </c:pt>
                <c:pt idx="5">
                  <c:v>0.19763158199612277</c:v>
                </c:pt>
                <c:pt idx="6">
                  <c:v>0.18589789589831954</c:v>
                </c:pt>
                <c:pt idx="7">
                  <c:v>0.17965146031680845</c:v>
                </c:pt>
                <c:pt idx="8">
                  <c:v>0.1907207743664692</c:v>
                </c:pt>
                <c:pt idx="9">
                  <c:v>0.18766636511718204</c:v>
                </c:pt>
                <c:pt idx="10">
                  <c:v>0.19318557985260362</c:v>
                </c:pt>
                <c:pt idx="11">
                  <c:v>0.18525692065921295</c:v>
                </c:pt>
                <c:pt idx="12">
                  <c:v>0.18367581132801641</c:v>
                </c:pt>
                <c:pt idx="13">
                  <c:v>0.18411800459109984</c:v>
                </c:pt>
                <c:pt idx="14">
                  <c:v>0.1819471542484282</c:v>
                </c:pt>
                <c:pt idx="15">
                  <c:v>0.1765107069700917</c:v>
                </c:pt>
                <c:pt idx="16">
                  <c:v>0.176439311750266</c:v>
                </c:pt>
                <c:pt idx="17">
                  <c:v>0.16712329709940824</c:v>
                </c:pt>
                <c:pt idx="18">
                  <c:v>0.16369516180948168</c:v>
                </c:pt>
                <c:pt idx="19">
                  <c:v>0.1794764011830318</c:v>
                </c:pt>
                <c:pt idx="20">
                  <c:v>0.16619684380242972</c:v>
                </c:pt>
                <c:pt idx="21">
                  <c:v>0.14293424398890564</c:v>
                </c:pt>
                <c:pt idx="22">
                  <c:v>0.16833284350967</c:v>
                </c:pt>
                <c:pt idx="23">
                  <c:v>0.1546801051826672</c:v>
                </c:pt>
                <c:pt idx="24">
                  <c:v>0.1497211903221742</c:v>
                </c:pt>
                <c:pt idx="25">
                  <c:v>0.15146463550108896</c:v>
                </c:pt>
                <c:pt idx="26">
                  <c:v>0.1504875559316994</c:v>
                </c:pt>
                <c:pt idx="27">
                  <c:v>0.15288029104985748</c:v>
                </c:pt>
                <c:pt idx="28">
                  <c:v>0.1623988845145003</c:v>
                </c:pt>
                <c:pt idx="29">
                  <c:v>0.15624101516313024</c:v>
                </c:pt>
                <c:pt idx="30">
                  <c:v>0.1514449239905117</c:v>
                </c:pt>
                <c:pt idx="31">
                  <c:v>0.15209445804099203</c:v>
                </c:pt>
                <c:pt idx="32">
                  <c:v>0.15036628171135177</c:v>
                </c:pt>
                <c:pt idx="33">
                  <c:v>0.15797818394483307</c:v>
                </c:pt>
                <c:pt idx="34">
                  <c:v>0.1731279331997188</c:v>
                </c:pt>
                <c:pt idx="35">
                  <c:v>0.16911326579490585</c:v>
                </c:pt>
                <c:pt idx="36">
                  <c:v>0.1516745167918956</c:v>
                </c:pt>
                <c:pt idx="37">
                  <c:v>0.16137967283727733</c:v>
                </c:pt>
                <c:pt idx="38">
                  <c:v>0.15294986699428276</c:v>
                </c:pt>
                <c:pt idx="39">
                  <c:v>0.1610442349822849</c:v>
                </c:pt>
                <c:pt idx="40">
                  <c:v>0.1616135544541468</c:v>
                </c:pt>
                <c:pt idx="41">
                  <c:v>0.1711761460322712</c:v>
                </c:pt>
                <c:pt idx="42">
                  <c:v>0.16732900137883397</c:v>
                </c:pt>
                <c:pt idx="43">
                  <c:v>0.1745474229285245</c:v>
                </c:pt>
                <c:pt idx="44">
                  <c:v>0.17462262264256845</c:v>
                </c:pt>
                <c:pt idx="45">
                  <c:v>0.1775927776975906</c:v>
                </c:pt>
                <c:pt idx="46">
                  <c:v>0.1680536737704798</c:v>
                </c:pt>
                <c:pt idx="47">
                  <c:v>0.1655921054111922</c:v>
                </c:pt>
                <c:pt idx="48">
                  <c:v>0.170714927767385</c:v>
                </c:pt>
                <c:pt idx="49">
                  <c:v>0.18634080233713132</c:v>
                </c:pt>
                <c:pt idx="50">
                  <c:v>0.19991370734908911</c:v>
                </c:pt>
                <c:pt idx="51">
                  <c:v>0.17419450154595836</c:v>
                </c:pt>
                <c:pt idx="52">
                  <c:v>0.22692588468731403</c:v>
                </c:pt>
                <c:pt idx="53">
                  <c:v>0.32944435009923223</c:v>
                </c:pt>
                <c:pt idx="54">
                  <c:v>0.1880906397892826</c:v>
                </c:pt>
              </c:numCache>
            </c:numRef>
          </c:xVal>
          <c:yVal>
            <c:numRef>
              <c:f>Sheet1!$B$187:$B$241</c:f>
              <c:numCache>
                <c:formatCode>General</c:formatCode>
                <c:ptCount val="55"/>
                <c:pt idx="0">
                  <c:v>0.19426515202289113</c:v>
                </c:pt>
                <c:pt idx="1">
                  <c:v>0.1970001853460177</c:v>
                </c:pt>
                <c:pt idx="2">
                  <c:v>0.1943140366923448</c:v>
                </c:pt>
                <c:pt idx="3">
                  <c:v>0.19297478385980577</c:v>
                </c:pt>
                <c:pt idx="4">
                  <c:v>0.1918744283136709</c:v>
                </c:pt>
                <c:pt idx="5">
                  <c:v>0.19213801797545088</c:v>
                </c:pt>
                <c:pt idx="6">
                  <c:v>0.1882364692533962</c:v>
                </c:pt>
                <c:pt idx="7">
                  <c:v>0.1861594772018529</c:v>
                </c:pt>
                <c:pt idx="8">
                  <c:v>0.18984011666369782</c:v>
                </c:pt>
                <c:pt idx="9">
                  <c:v>0.18882450005320922</c:v>
                </c:pt>
                <c:pt idx="10">
                  <c:v>0.19065968509380452</c:v>
                </c:pt>
                <c:pt idx="11">
                  <c:v>0.18802333962779005</c:v>
                </c:pt>
                <c:pt idx="12">
                  <c:v>0.18749760755696931</c:v>
                </c:pt>
                <c:pt idx="13">
                  <c:v>0.18764464051371488</c:v>
                </c:pt>
                <c:pt idx="14">
                  <c:v>0.18692281462629762</c:v>
                </c:pt>
                <c:pt idx="15">
                  <c:v>0.18511515045712554</c:v>
                </c:pt>
                <c:pt idx="16">
                  <c:v>0.18509141094966386</c:v>
                </c:pt>
                <c:pt idx="17">
                  <c:v>0.18199375819564126</c:v>
                </c:pt>
                <c:pt idx="18">
                  <c:v>0.18085387455226107</c:v>
                </c:pt>
                <c:pt idx="19">
                  <c:v>0.1861012685763641</c:v>
                </c:pt>
                <c:pt idx="20">
                  <c:v>0.18168570472917375</c:v>
                </c:pt>
                <c:pt idx="21">
                  <c:v>0.17395069581401995</c:v>
                </c:pt>
                <c:pt idx="22">
                  <c:v>0.18239594248895608</c:v>
                </c:pt>
                <c:pt idx="23">
                  <c:v>0.17785629285726554</c:v>
                </c:pt>
                <c:pt idx="24">
                  <c:v>0.17620741220923486</c:v>
                </c:pt>
                <c:pt idx="25">
                  <c:v>0.1767871223065623</c:v>
                </c:pt>
                <c:pt idx="26">
                  <c:v>0.17646223518127852</c:v>
                </c:pt>
                <c:pt idx="27">
                  <c:v>0.17725783961151914</c:v>
                </c:pt>
                <c:pt idx="28">
                  <c:v>0.1804228515147</c:v>
                </c:pt>
                <c:pt idx="29">
                  <c:v>0.17837530847509922</c:v>
                </c:pt>
                <c:pt idx="30">
                  <c:v>0.1767805680645056</c:v>
                </c:pt>
                <c:pt idx="31">
                  <c:v>0.17699654356644584</c:v>
                </c:pt>
                <c:pt idx="32">
                  <c:v>0.17642191048915096</c:v>
                </c:pt>
                <c:pt idx="33">
                  <c:v>0.17895293161788253</c:v>
                </c:pt>
                <c:pt idx="34">
                  <c:v>0.1839903498982228</c:v>
                </c:pt>
                <c:pt idx="35">
                  <c:v>0.18265543942318843</c:v>
                </c:pt>
                <c:pt idx="36">
                  <c:v>0.17685690959037953</c:v>
                </c:pt>
                <c:pt idx="37">
                  <c:v>0.1800839551113339</c:v>
                </c:pt>
                <c:pt idx="38">
                  <c:v>0.1772809741947009</c:v>
                </c:pt>
                <c:pt idx="39">
                  <c:v>0.17997241922026216</c:v>
                </c:pt>
                <c:pt idx="40">
                  <c:v>0.18016172270421163</c:v>
                </c:pt>
                <c:pt idx="41">
                  <c:v>0.1833413643479528</c:v>
                </c:pt>
                <c:pt idx="42">
                  <c:v>0.1820621565882542</c:v>
                </c:pt>
                <c:pt idx="43">
                  <c:v>0.18446234210009604</c:v>
                </c:pt>
                <c:pt idx="44">
                  <c:v>0.18448734663369115</c:v>
                </c:pt>
                <c:pt idx="45">
                  <c:v>0.18547494802021497</c:v>
                </c:pt>
                <c:pt idx="46">
                  <c:v>0.18230311621679443</c:v>
                </c:pt>
                <c:pt idx="47">
                  <c:v>0.18148462415842695</c:v>
                </c:pt>
                <c:pt idx="48">
                  <c:v>0.18318800541905733</c:v>
                </c:pt>
                <c:pt idx="49">
                  <c:v>0.18838373934703367</c:v>
                </c:pt>
                <c:pt idx="50">
                  <c:v>0.19289684373405896</c:v>
                </c:pt>
                <c:pt idx="51">
                  <c:v>0.18434499278994237</c:v>
                </c:pt>
                <c:pt idx="52">
                  <c:v>0.20187861852293768</c:v>
                </c:pt>
                <c:pt idx="53">
                  <c:v>0.23596686533480357</c:v>
                </c:pt>
                <c:pt idx="54">
                  <c:v>0.188965574928652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8877665185564"/>
          <c:min val="0.1210273009923761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2.0793</c:v>
                </c:pt>
                <c:pt idx="1">
                  <c:v>898.0923</c:v>
                </c:pt>
                <c:pt idx="2">
                  <c:v>933.1302</c:v>
                </c:pt>
                <c:pt idx="3">
                  <c:v>950.5945</c:v>
                </c:pt>
                <c:pt idx="4">
                  <c:v>945.88</c:v>
                </c:pt>
                <c:pt idx="5">
                  <c:v>940.4877</c:v>
                </c:pt>
                <c:pt idx="6">
                  <c:v>912.8367</c:v>
                </c:pt>
                <c:pt idx="7">
                  <c:v>928.7985</c:v>
                </c:pt>
                <c:pt idx="8">
                  <c:v>926.0689</c:v>
                </c:pt>
                <c:pt idx="9">
                  <c:v>895.5168</c:v>
                </c:pt>
                <c:pt idx="10">
                  <c:v>877.4496</c:v>
                </c:pt>
                <c:pt idx="11">
                  <c:v>892.3339</c:v>
                </c:pt>
                <c:pt idx="12">
                  <c:v>883.8966</c:v>
                </c:pt>
                <c:pt idx="13">
                  <c:v>867.6505</c:v>
                </c:pt>
                <c:pt idx="14">
                  <c:v>916.5349</c:v>
                </c:pt>
                <c:pt idx="15">
                  <c:v>927.2595</c:v>
                </c:pt>
                <c:pt idx="16">
                  <c:v>935.8397</c:v>
                </c:pt>
                <c:pt idx="17">
                  <c:v>952.7421</c:v>
                </c:pt>
                <c:pt idx="18">
                  <c:v>983.7015</c:v>
                </c:pt>
                <c:pt idx="19">
                  <c:v>1011.8266</c:v>
                </c:pt>
                <c:pt idx="20">
                  <c:v>1022.6555</c:v>
                </c:pt>
                <c:pt idx="21">
                  <c:v>1032.3699</c:v>
                </c:pt>
                <c:pt idx="22">
                  <c:v>1019.3834</c:v>
                </c:pt>
                <c:pt idx="23">
                  <c:v>1006.6252</c:v>
                </c:pt>
                <c:pt idx="24">
                  <c:v>999.2128</c:v>
                </c:pt>
                <c:pt idx="25">
                  <c:v>992.7928</c:v>
                </c:pt>
                <c:pt idx="26">
                  <c:v>996.5822</c:v>
                </c:pt>
                <c:pt idx="27">
                  <c:v>1017.7953</c:v>
                </c:pt>
                <c:pt idx="28">
                  <c:v>1017.9128</c:v>
                </c:pt>
                <c:pt idx="29">
                  <c:v>949.6234</c:v>
                </c:pt>
                <c:pt idx="30">
                  <c:v>975.2913</c:v>
                </c:pt>
                <c:pt idx="31">
                  <c:v>984.7113</c:v>
                </c:pt>
                <c:pt idx="32">
                  <c:v>965.6392</c:v>
                </c:pt>
                <c:pt idx="33">
                  <c:v>913.9941</c:v>
                </c:pt>
                <c:pt idx="34">
                  <c:v>975.6922</c:v>
                </c:pt>
                <c:pt idx="35">
                  <c:v>1029.8247</c:v>
                </c:pt>
                <c:pt idx="36">
                  <c:v>1079.3761</c:v>
                </c:pt>
                <c:pt idx="37">
                  <c:v>1095.4522</c:v>
                </c:pt>
                <c:pt idx="38">
                  <c:v>1123.0701</c:v>
                </c:pt>
                <c:pt idx="39">
                  <c:v>1140.4306</c:v>
                </c:pt>
                <c:pt idx="40">
                  <c:v>1168.4861</c:v>
                </c:pt>
                <c:pt idx="41">
                  <c:v>1173.1724</c:v>
                </c:pt>
                <c:pt idx="42">
                  <c:v>1196.5161</c:v>
                </c:pt>
                <c:pt idx="43">
                  <c:v>1194.1835</c:v>
                </c:pt>
                <c:pt idx="44">
                  <c:v>1077.0994</c:v>
                </c:pt>
                <c:pt idx="45">
                  <c:v>1030.341</c:v>
                </c:pt>
                <c:pt idx="46">
                  <c:v>1016.2726</c:v>
                </c:pt>
                <c:pt idx="47">
                  <c:v>996.3513</c:v>
                </c:pt>
                <c:pt idx="48">
                  <c:v>991.7153</c:v>
                </c:pt>
                <c:pt idx="49">
                  <c:v>960.2496</c:v>
                </c:pt>
                <c:pt idx="50">
                  <c:v>969.312</c:v>
                </c:pt>
                <c:pt idx="51">
                  <c:v>991.035</c:v>
                </c:pt>
                <c:pt idx="52">
                  <c:v>1003.8741</c:v>
                </c:pt>
                <c:pt idx="53">
                  <c:v>1076.7501</c:v>
                </c:pt>
                <c:pt idx="54">
                  <c:v>1090.5007</c:v>
                </c:pt>
                <c:pt idx="55">
                  <c:v>1091.1888</c:v>
                </c:pt>
                <c:pt idx="56">
                  <c:v>1108.0917</c:v>
                </c:pt>
                <c:pt idx="57">
                  <c:v>1087.2018</c:v>
                </c:pt>
                <c:pt idx="58">
                  <c:v>1071.9741</c:v>
                </c:pt>
                <c:pt idx="59">
                  <c:v>1078.1859</c:v>
                </c:pt>
                <c:pt idx="60">
                  <c:v>1098.0564</c:v>
                </c:pt>
                <c:pt idx="61">
                  <c:v>1082.2921</c:v>
                </c:pt>
                <c:pt idx="62">
                  <c:v>1035.29</c:v>
                </c:pt>
                <c:pt idx="63">
                  <c:v>1060.3345</c:v>
                </c:pt>
                <c:pt idx="64">
                  <c:v>1050.5276</c:v>
                </c:pt>
                <c:pt idx="65">
                  <c:v>1036.2601</c:v>
                </c:pt>
                <c:pt idx="66">
                  <c:v>1033.8859</c:v>
                </c:pt>
                <c:pt idx="67">
                  <c:v>1031.3079</c:v>
                </c:pt>
                <c:pt idx="68">
                  <c:v>1021.1138</c:v>
                </c:pt>
                <c:pt idx="69">
                  <c:v>1031.6969</c:v>
                </c:pt>
                <c:pt idx="70">
                  <c:v>1030.9094</c:v>
                </c:pt>
                <c:pt idx="71">
                  <c:v>1058.6699</c:v>
                </c:pt>
                <c:pt idx="72">
                  <c:v>1071.7634</c:v>
                </c:pt>
                <c:pt idx="73">
                  <c:v>1087.9704</c:v>
                </c:pt>
                <c:pt idx="74">
                  <c:v>1071.8278</c:v>
                </c:pt>
                <c:pt idx="75">
                  <c:v>1067.6917</c:v>
                </c:pt>
                <c:pt idx="76">
                  <c:v>1064.3747</c:v>
                </c:pt>
                <c:pt idx="77">
                  <c:v>1049.3514</c:v>
                </c:pt>
                <c:pt idx="78">
                  <c:v>1110.6592</c:v>
                </c:pt>
                <c:pt idx="79">
                  <c:v>811.7668</c:v>
                </c:pt>
                <c:pt idx="80">
                  <c:v>820.9709</c:v>
                </c:pt>
                <c:pt idx="81">
                  <c:v>1003.2159</c:v>
                </c:pt>
                <c:pt idx="82">
                  <c:v>1006.7705</c:v>
                </c:pt>
                <c:pt idx="83">
                  <c:v>1011.4731</c:v>
                </c:pt>
                <c:pt idx="84">
                  <c:v>1022.8312</c:v>
                </c:pt>
                <c:pt idx="85">
                  <c:v>1047.4643</c:v>
                </c:pt>
                <c:pt idx="86">
                  <c:v>1143.1328</c:v>
                </c:pt>
                <c:pt idx="87">
                  <c:v>1172.5488</c:v>
                </c:pt>
                <c:pt idx="88">
                  <c:v>1166.9299</c:v>
                </c:pt>
                <c:pt idx="89">
                  <c:v>1117.5828</c:v>
                </c:pt>
                <c:pt idx="90">
                  <c:v>1153.5831</c:v>
                </c:pt>
                <c:pt idx="91">
                  <c:v>1176.1614</c:v>
                </c:pt>
                <c:pt idx="92">
                  <c:v>1169.5088</c:v>
                </c:pt>
                <c:pt idx="93">
                  <c:v>1198.366</c:v>
                </c:pt>
                <c:pt idx="94">
                  <c:v>1188.7466</c:v>
                </c:pt>
                <c:pt idx="95">
                  <c:v>1187.3917</c:v>
                </c:pt>
                <c:pt idx="96">
                  <c:v>1134.213</c:v>
                </c:pt>
                <c:pt idx="97">
                  <c:v>1150.1076</c:v>
                </c:pt>
                <c:pt idx="98">
                  <c:v>1132.3011</c:v>
                </c:pt>
                <c:pt idx="99">
                  <c:v>1088.5472</c:v>
                </c:pt>
                <c:pt idx="100">
                  <c:v>1080.571</c:v>
                </c:pt>
                <c:pt idx="101">
                  <c:v>1123.449</c:v>
                </c:pt>
                <c:pt idx="102">
                  <c:v>1158.3854</c:v>
                </c:pt>
                <c:pt idx="103">
                  <c:v>1029.2894</c:v>
                </c:pt>
                <c:pt idx="104">
                  <c:v>1098.1199</c:v>
                </c:pt>
              </c:numCache>
            </c:numRef>
          </c:xVal>
          <c:yVal>
            <c:numRef>
              <c:f>Sheet1!$B$2:$B$106</c:f>
              <c:numCache>
                <c:formatCode>General</c:formatCode>
                <c:ptCount val="105"/>
                <c:pt idx="0">
                  <c:v>0.22760837033584377</c:v>
                </c:pt>
                <c:pt idx="1">
                  <c:v>0.2325046891924022</c:v>
                </c:pt>
                <c:pt idx="2">
                  <c:v>0.21503914608665006</c:v>
                </c:pt>
                <c:pt idx="3">
                  <c:v>0.21465353931534992</c:v>
                </c:pt>
                <c:pt idx="4">
                  <c:v>0.20793685458459427</c:v>
                </c:pt>
                <c:pt idx="5">
                  <c:v>0.1966485796361315</c:v>
                </c:pt>
                <c:pt idx="6">
                  <c:v>0.21195170411126393</c:v>
                </c:pt>
                <c:pt idx="7">
                  <c:v>0.20612980769230768</c:v>
                </c:pt>
                <c:pt idx="8">
                  <c:v>0.21598764524194736</c:v>
                </c:pt>
                <c:pt idx="9">
                  <c:v>0.21518105849582173</c:v>
                </c:pt>
                <c:pt idx="10">
                  <c:v>0.22739490377378777</c:v>
                </c:pt>
                <c:pt idx="11">
                  <c:v>0.22329282485722793</c:v>
                </c:pt>
                <c:pt idx="12">
                  <c:v>0.2305631356983379</c:v>
                </c:pt>
                <c:pt idx="13">
                  <c:v>0.23892725478996832</c:v>
                </c:pt>
                <c:pt idx="14">
                  <c:v>0.23104343039865805</c:v>
                </c:pt>
                <c:pt idx="15">
                  <c:v>0.22596273291925467</c:v>
                </c:pt>
                <c:pt idx="16">
                  <c:v>0.21038387579232248</c:v>
                </c:pt>
                <c:pt idx="17">
                  <c:v>0.20514723111770677</c:v>
                </c:pt>
                <c:pt idx="18">
                  <c:v>0.18550875820402485</c:v>
                </c:pt>
                <c:pt idx="19">
                  <c:v>0.17197875166002657</c:v>
                </c:pt>
                <c:pt idx="20">
                  <c:v>0.18437369082530372</c:v>
                </c:pt>
                <c:pt idx="21">
                  <c:v>0.18039854881960146</c:v>
                </c:pt>
                <c:pt idx="22">
                  <c:v>0.1794175973280451</c:v>
                </c:pt>
                <c:pt idx="23">
                  <c:v>0.17912721732506257</c:v>
                </c:pt>
                <c:pt idx="24">
                  <c:v>0.18612306913142568</c:v>
                </c:pt>
                <c:pt idx="25">
                  <c:v>0.1827140455625761</c:v>
                </c:pt>
                <c:pt idx="26">
                  <c:v>0.1862462709597778</c:v>
                </c:pt>
                <c:pt idx="27">
                  <c:v>0.18021255060728744</c:v>
                </c:pt>
                <c:pt idx="28">
                  <c:v>0.17628913680530564</c:v>
                </c:pt>
                <c:pt idx="29">
                  <c:v>0.18736804276537442</c:v>
                </c:pt>
                <c:pt idx="30">
                  <c:v>0.17649434571890146</c:v>
                </c:pt>
                <c:pt idx="31">
                  <c:v>0.16942195231668916</c:v>
                </c:pt>
                <c:pt idx="32">
                  <c:v>0.1783959816746702</c:v>
                </c:pt>
                <c:pt idx="33">
                  <c:v>0.19256418079588544</c:v>
                </c:pt>
                <c:pt idx="34">
                  <c:v>0.1910329127599645</c:v>
                </c:pt>
                <c:pt idx="35">
                  <c:v>0.19439806453811292</c:v>
                </c:pt>
                <c:pt idx="36">
                  <c:v>0.1634170522141441</c:v>
                </c:pt>
                <c:pt idx="37">
                  <c:v>0.14788562611504893</c:v>
                </c:pt>
                <c:pt idx="38">
                  <c:v>0.1440997390547985</c:v>
                </c:pt>
                <c:pt idx="39">
                  <c:v>0.14272555140473875</c:v>
                </c:pt>
                <c:pt idx="40">
                  <c:v>0.14606043022340118</c:v>
                </c:pt>
                <c:pt idx="41">
                  <c:v>0.1362635345935034</c:v>
                </c:pt>
                <c:pt idx="42">
                  <c:v>0.14438356164383562</c:v>
                </c:pt>
                <c:pt idx="43">
                  <c:v>0.15096437880104258</c:v>
                </c:pt>
                <c:pt idx="44">
                  <c:v>0.16644399128050066</c:v>
                </c:pt>
                <c:pt idx="45">
                  <c:v>0.18401017919626764</c:v>
                </c:pt>
                <c:pt idx="46">
                  <c:v>0.191180093619118</c:v>
                </c:pt>
                <c:pt idx="47">
                  <c:v>0.19401514039465684</c:v>
                </c:pt>
                <c:pt idx="48">
                  <c:v>0.20776936606255259</c:v>
                </c:pt>
                <c:pt idx="49">
                  <c:v>0.24055718692688513</c:v>
                </c:pt>
                <c:pt idx="50">
                  <c:v>0.20537331455021132</c:v>
                </c:pt>
                <c:pt idx="51">
                  <c:v>0.18708201775103797</c:v>
                </c:pt>
                <c:pt idx="52">
                  <c:v>0.20016477944904512</c:v>
                </c:pt>
                <c:pt idx="53">
                  <c:v>0.19037838691839798</c:v>
                </c:pt>
                <c:pt idx="54">
                  <c:v>0.18361277154104097</c:v>
                </c:pt>
                <c:pt idx="55">
                  <c:v>0.180431336184978</c:v>
                </c:pt>
                <c:pt idx="56">
                  <c:v>0.1921937356391341</c:v>
                </c:pt>
                <c:pt idx="57">
                  <c:v>0.1869673664518811</c:v>
                </c:pt>
                <c:pt idx="58">
                  <c:v>0.20230027679679297</c:v>
                </c:pt>
                <c:pt idx="59">
                  <c:v>0.20680500793289244</c:v>
                </c:pt>
                <c:pt idx="60">
                  <c:v>0.21535680468279245</c:v>
                </c:pt>
                <c:pt idx="61">
                  <c:v>0.21254020047418953</c:v>
                </c:pt>
                <c:pt idx="62">
                  <c:v>0.21977724058468698</c:v>
                </c:pt>
                <c:pt idx="63">
                  <c:v>0.23405083253118153</c:v>
                </c:pt>
                <c:pt idx="64">
                  <c:v>0.22663326653306612</c:v>
                </c:pt>
                <c:pt idx="65">
                  <c:v>0.21906008068912877</c:v>
                </c:pt>
                <c:pt idx="66">
                  <c:v>0.21964273616223662</c:v>
                </c:pt>
                <c:pt idx="67">
                  <c:v>0.2167344705350558</c:v>
                </c:pt>
                <c:pt idx="68">
                  <c:v>0.19713190401817407</c:v>
                </c:pt>
                <c:pt idx="69">
                  <c:v>0.18215920174056568</c:v>
                </c:pt>
                <c:pt idx="70">
                  <c:v>0.17000035910511008</c:v>
                </c:pt>
                <c:pt idx="71">
                  <c:v>0.17906644531099186</c:v>
                </c:pt>
                <c:pt idx="72">
                  <c:v>0.18262489044697633</c:v>
                </c:pt>
                <c:pt idx="73">
                  <c:v>0.18369408930167488</c:v>
                </c:pt>
                <c:pt idx="74">
                  <c:v>0.17798172038966412</c:v>
                </c:pt>
                <c:pt idx="75">
                  <c:v>0.17587279337684525</c:v>
                </c:pt>
                <c:pt idx="76">
                  <c:v>0.17318383555244102</c:v>
                </c:pt>
                <c:pt idx="77">
                  <c:v>0.16938785339305495</c:v>
                </c:pt>
                <c:pt idx="78">
                  <c:v>0.16006449879064769</c:v>
                </c:pt>
                <c:pt idx="79">
                  <c:v>0.20537501191270371</c:v>
                </c:pt>
                <c:pt idx="80">
                  <c:v>0.1914609739826551</c:v>
                </c:pt>
                <c:pt idx="81">
                  <c:v>0.16176890156918688</c:v>
                </c:pt>
                <c:pt idx="82">
                  <c:v>0.1631413612565445</c:v>
                </c:pt>
                <c:pt idx="83">
                  <c:v>0.1470696419813634</c:v>
                </c:pt>
                <c:pt idx="84">
                  <c:v>0.14775611265861963</c:v>
                </c:pt>
                <c:pt idx="85">
                  <c:v>0.14966431963320778</c:v>
                </c:pt>
                <c:pt idx="86">
                  <c:v>0.1466328451026921</c:v>
                </c:pt>
                <c:pt idx="87">
                  <c:v>0.1682031189982331</c:v>
                </c:pt>
                <c:pt idx="88">
                  <c:v>0.15206499002772778</c:v>
                </c:pt>
                <c:pt idx="89">
                  <c:v>0.14356117420184272</c:v>
                </c:pt>
                <c:pt idx="90">
                  <c:v>0.13762376237623763</c:v>
                </c:pt>
                <c:pt idx="91">
                  <c:v>0.14078597981943708</c:v>
                </c:pt>
                <c:pt idx="92">
                  <c:v>0.14561866643958102</c:v>
                </c:pt>
                <c:pt idx="93">
                  <c:v>0.1377233240452385</c:v>
                </c:pt>
                <c:pt idx="94">
                  <c:v>0.13904559326736335</c:v>
                </c:pt>
                <c:pt idx="95">
                  <c:v>0.14864864864864866</c:v>
                </c:pt>
                <c:pt idx="96">
                  <c:v>0.145429833503228</c:v>
                </c:pt>
                <c:pt idx="97">
                  <c:v>0.15325840794124496</c:v>
                </c:pt>
                <c:pt idx="98">
                  <c:v>0.1700043933513949</c:v>
                </c:pt>
                <c:pt idx="99">
                  <c:v>0.17778411250475104</c:v>
                </c:pt>
                <c:pt idx="100">
                  <c:v>0.20069152307958277</c:v>
                </c:pt>
                <c:pt idx="101">
                  <c:v>0.18210413864050012</c:v>
                </c:pt>
                <c:pt idx="102">
                  <c:v>0.1514782002787179</c:v>
                </c:pt>
                <c:pt idx="103">
                  <c:v>0.17233793587643342</c:v>
                </c:pt>
                <c:pt idx="104">
                  <c:v>0.176800976800976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8.5916</c:v>
                </c:pt>
                <c:pt idx="1">
                  <c:v>1167.7319</c:v>
                </c:pt>
                <c:pt idx="2">
                  <c:v>1157.0062</c:v>
                </c:pt>
                <c:pt idx="3">
                  <c:v>1169.1175</c:v>
                </c:pt>
                <c:pt idx="4">
                  <c:v>1161.9544</c:v>
                </c:pt>
                <c:pt idx="5">
                  <c:v>1183.7248</c:v>
                </c:pt>
                <c:pt idx="6">
                  <c:v>1117.2699</c:v>
                </c:pt>
                <c:pt idx="7">
                  <c:v>1141.1736</c:v>
                </c:pt>
                <c:pt idx="8">
                  <c:v>1209.0104</c:v>
                </c:pt>
                <c:pt idx="9">
                  <c:v>1152.1809</c:v>
                </c:pt>
                <c:pt idx="10">
                  <c:v>1164.4479</c:v>
                </c:pt>
                <c:pt idx="11">
                  <c:v>1099.6931</c:v>
                </c:pt>
                <c:pt idx="12">
                  <c:v>1106.4423</c:v>
                </c:pt>
                <c:pt idx="13">
                  <c:v>1122.9219</c:v>
                </c:pt>
                <c:pt idx="14">
                  <c:v>1153.7647</c:v>
                </c:pt>
                <c:pt idx="15">
                  <c:v>1159.7934</c:v>
                </c:pt>
                <c:pt idx="16">
                  <c:v>1194.0332</c:v>
                </c:pt>
                <c:pt idx="17">
                  <c:v>1157.0735</c:v>
                </c:pt>
                <c:pt idx="18">
                  <c:v>1132.6753</c:v>
                </c:pt>
                <c:pt idx="19">
                  <c:v>1193.0941</c:v>
                </c:pt>
                <c:pt idx="20">
                  <c:v>1161.3896</c:v>
                </c:pt>
                <c:pt idx="21">
                  <c:v>1171.0427</c:v>
                </c:pt>
                <c:pt idx="22">
                  <c:v>1157.2601</c:v>
                </c:pt>
                <c:pt idx="23">
                  <c:v>1119.5718</c:v>
                </c:pt>
                <c:pt idx="24">
                  <c:v>1125.9451</c:v>
                </c:pt>
                <c:pt idx="25">
                  <c:v>1089.6518</c:v>
                </c:pt>
                <c:pt idx="26">
                  <c:v>1148.3319</c:v>
                </c:pt>
                <c:pt idx="27">
                  <c:v>1193.031</c:v>
                </c:pt>
                <c:pt idx="28">
                  <c:v>1209.2025</c:v>
                </c:pt>
                <c:pt idx="29">
                  <c:v>1213.4693</c:v>
                </c:pt>
                <c:pt idx="30">
                  <c:v>1213.6685</c:v>
                </c:pt>
                <c:pt idx="31">
                  <c:v>1133.8963</c:v>
                </c:pt>
                <c:pt idx="32">
                  <c:v>1155.7744</c:v>
                </c:pt>
                <c:pt idx="33">
                  <c:v>1201.978</c:v>
                </c:pt>
                <c:pt idx="34">
                  <c:v>1254.7971</c:v>
                </c:pt>
                <c:pt idx="35">
                  <c:v>1239.7585</c:v>
                </c:pt>
                <c:pt idx="36">
                  <c:v>1220.2895</c:v>
                </c:pt>
                <c:pt idx="37">
                  <c:v>1258.7205</c:v>
                </c:pt>
                <c:pt idx="38">
                  <c:v>1236.5463</c:v>
                </c:pt>
                <c:pt idx="39">
                  <c:v>1237.4602</c:v>
                </c:pt>
                <c:pt idx="40">
                  <c:v>1258.6316</c:v>
                </c:pt>
                <c:pt idx="41">
                  <c:v>1300.8213</c:v>
                </c:pt>
                <c:pt idx="42">
                  <c:v>1285.5839</c:v>
                </c:pt>
                <c:pt idx="43">
                  <c:v>1284.3043</c:v>
                </c:pt>
                <c:pt idx="44">
                  <c:v>1215.6986</c:v>
                </c:pt>
                <c:pt idx="45">
                  <c:v>1177.9954</c:v>
                </c:pt>
                <c:pt idx="46">
                  <c:v>1151.3394</c:v>
                </c:pt>
                <c:pt idx="47">
                  <c:v>1144.6395</c:v>
                </c:pt>
                <c:pt idx="48">
                  <c:v>1117.0977</c:v>
                </c:pt>
                <c:pt idx="49">
                  <c:v>1129.409</c:v>
                </c:pt>
                <c:pt idx="50">
                  <c:v>1042.1477</c:v>
                </c:pt>
                <c:pt idx="51">
                  <c:v>1017.0188</c:v>
                </c:pt>
              </c:numCache>
            </c:numRef>
          </c:xVal>
          <c:yVal>
            <c:numRef>
              <c:f>Sheet1!$B$109:$B$160</c:f>
              <c:numCache>
                <c:formatCode>General</c:formatCode>
                <c:ptCount val="52"/>
                <c:pt idx="0">
                  <c:v>0.175662656554927</c:v>
                </c:pt>
                <c:pt idx="1">
                  <c:v>0.17459402828706128</c:v>
                </c:pt>
                <c:pt idx="2">
                  <c:v>0.1826517212269018</c:v>
                </c:pt>
                <c:pt idx="3">
                  <c:v>0.19290184955109121</c:v>
                </c:pt>
                <c:pt idx="4">
                  <c:v>0.1808049836959167</c:v>
                </c:pt>
                <c:pt idx="5">
                  <c:v>0.17299134432001564</c:v>
                </c:pt>
                <c:pt idx="6">
                  <c:v>0.17752865773816362</c:v>
                </c:pt>
                <c:pt idx="7">
                  <c:v>0.17669243824250425</c:v>
                </c:pt>
                <c:pt idx="8">
                  <c:v>0.17478963312016157</c:v>
                </c:pt>
                <c:pt idx="9">
                  <c:v>0.18824222504728536</c:v>
                </c:pt>
                <c:pt idx="10">
                  <c:v>0.189738567910027</c:v>
                </c:pt>
                <c:pt idx="11">
                  <c:v>0.19920649152694342</c:v>
                </c:pt>
                <c:pt idx="12">
                  <c:v>0.20091186175974207</c:v>
                </c:pt>
                <c:pt idx="13">
                  <c:v>0.19532071503680337</c:v>
                </c:pt>
                <c:pt idx="14">
                  <c:v>0.19452253296623678</c:v>
                </c:pt>
                <c:pt idx="15">
                  <c:v>0.18382466908459655</c:v>
                </c:pt>
                <c:pt idx="16">
                  <c:v>0.17105357784969435</c:v>
                </c:pt>
                <c:pt idx="17">
                  <c:v>0.16143362698591973</c:v>
                </c:pt>
                <c:pt idx="18">
                  <c:v>0.15984129879605982</c:v>
                </c:pt>
                <c:pt idx="19">
                  <c:v>0.16725263686589653</c:v>
                </c:pt>
                <c:pt idx="20">
                  <c:v>0.16279501951310166</c:v>
                </c:pt>
                <c:pt idx="21">
                  <c:v>0.15986218776916453</c:v>
                </c:pt>
                <c:pt idx="22">
                  <c:v>0.16070922789327594</c:v>
                </c:pt>
                <c:pt idx="23">
                  <c:v>0.1702065585249154</c:v>
                </c:pt>
                <c:pt idx="24">
                  <c:v>0.16856911008926156</c:v>
                </c:pt>
                <c:pt idx="25">
                  <c:v>0.17782949256442274</c:v>
                </c:pt>
                <c:pt idx="26">
                  <c:v>0.1581707119303746</c:v>
                </c:pt>
                <c:pt idx="27">
                  <c:v>0.14686719247538332</c:v>
                </c:pt>
                <c:pt idx="28">
                  <c:v>0.14542954716813766</c:v>
                </c:pt>
                <c:pt idx="29">
                  <c:v>0.14433539577554938</c:v>
                </c:pt>
                <c:pt idx="30">
                  <c:v>0.15105035011670556</c:v>
                </c:pt>
                <c:pt idx="31">
                  <c:v>0.14772658473088332</c:v>
                </c:pt>
                <c:pt idx="32">
                  <c:v>0.1481618815552495</c:v>
                </c:pt>
                <c:pt idx="33">
                  <c:v>0.17092807219322304</c:v>
                </c:pt>
                <c:pt idx="34">
                  <c:v>0.18945165053874133</c:v>
                </c:pt>
                <c:pt idx="35">
                  <c:v>0.1863625133821955</c:v>
                </c:pt>
                <c:pt idx="36">
                  <c:v>0.15510415990654813</c:v>
                </c:pt>
                <c:pt idx="37">
                  <c:v>0.14670209079357746</c:v>
                </c:pt>
                <c:pt idx="38">
                  <c:v>0.14790558941771495</c:v>
                </c:pt>
                <c:pt idx="39">
                  <c:v>0.16470086684666763</c:v>
                </c:pt>
                <c:pt idx="40">
                  <c:v>0.14769102759672723</c:v>
                </c:pt>
                <c:pt idx="41">
                  <c:v>0.14965277777777777</c:v>
                </c:pt>
                <c:pt idx="42">
                  <c:v>0.1479838119849822</c:v>
                </c:pt>
                <c:pt idx="43">
                  <c:v>0.14525119702708497</c:v>
                </c:pt>
                <c:pt idx="44">
                  <c:v>0.14397752545944048</c:v>
                </c:pt>
                <c:pt idx="45">
                  <c:v>0.16196872935476767</c:v>
                </c:pt>
                <c:pt idx="46">
                  <c:v>0.15774751952712687</c:v>
                </c:pt>
                <c:pt idx="47">
                  <c:v>0.16018034533158274</c:v>
                </c:pt>
                <c:pt idx="48">
                  <c:v>0.15172915152144564</c:v>
                </c:pt>
                <c:pt idx="49">
                  <c:v>0.16467122053745684</c:v>
                </c:pt>
                <c:pt idx="50">
                  <c:v>0.20337764110703302</c:v>
                </c:pt>
                <c:pt idx="51">
                  <c:v>0.1886950543548317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83.6298094932763</c:v>
                </c:pt>
              </c:numCache>
            </c:numRef>
          </c:xVal>
          <c:yVal>
            <c:numRef>
              <c:f>Sheet1!$B$163:$B$164</c:f>
              <c:numCache>
                <c:formatCode>General</c:formatCode>
                <c:ptCount val="2"/>
                <c:pt idx="0">
                  <c:v>0.21427337068849897</c:v>
                </c:pt>
                <c:pt idx="1">
                  <c:v>0.2142733706884989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83.6298094932763</c:v>
                </c:pt>
                <c:pt idx="1">
                  <c:v>883.6298094932763</c:v>
                </c:pt>
              </c:numCache>
            </c:numRef>
          </c:xVal>
          <c:yVal>
            <c:numRef>
              <c:f>Sheet1!$B$167:$B$168</c:f>
              <c:numCache>
                <c:formatCode>General</c:formatCode>
                <c:ptCount val="2"/>
                <c:pt idx="0">
                  <c:v>0.2142733706884989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1.6128736371313</c:v>
                </c:pt>
              </c:numCache>
            </c:numRef>
          </c:xVal>
          <c:yVal>
            <c:numRef>
              <c:f>Sheet1!$B$171:$B$172</c:f>
              <c:numCache>
                <c:formatCode>General</c:formatCode>
                <c:ptCount val="2"/>
                <c:pt idx="0">
                  <c:v>0.17953887777780547</c:v>
                </c:pt>
                <c:pt idx="1">
                  <c:v>0.1795388777778054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1.6128736371313</c:v>
                </c:pt>
                <c:pt idx="1">
                  <c:v>1101.6128736371313</c:v>
                </c:pt>
              </c:numCache>
            </c:numRef>
          </c:xVal>
          <c:yVal>
            <c:numRef>
              <c:f>Sheet1!$B$175:$B$176</c:f>
              <c:numCache>
                <c:formatCode>General</c:formatCode>
                <c:ptCount val="2"/>
                <c:pt idx="0">
                  <c:v>0.179538877777805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20.5510621930355</c:v>
                </c:pt>
              </c:numCache>
            </c:numRef>
          </c:xVal>
          <c:yVal>
            <c:numRef>
              <c:f>Sheet1!$B$179:$B$180</c:f>
              <c:numCache>
                <c:formatCode>General</c:formatCode>
                <c:ptCount val="2"/>
                <c:pt idx="0">
                  <c:v>0.16058668218668648</c:v>
                </c:pt>
                <c:pt idx="1">
                  <c:v>0.1605866821866864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20.5510621930355</c:v>
                </c:pt>
                <c:pt idx="1">
                  <c:v>1220.5510621930355</c:v>
                </c:pt>
              </c:numCache>
            </c:numRef>
          </c:xVal>
          <c:yVal>
            <c:numRef>
              <c:f>Sheet1!$B$183:$B$184</c:f>
              <c:numCache>
                <c:formatCode>General</c:formatCode>
                <c:ptCount val="2"/>
                <c:pt idx="0">
                  <c:v>0.1605866821866864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8.5916</c:v>
                </c:pt>
                <c:pt idx="1">
                  <c:v>1167.7319</c:v>
                </c:pt>
                <c:pt idx="2">
                  <c:v>1157.0062</c:v>
                </c:pt>
                <c:pt idx="3">
                  <c:v>1169.1175</c:v>
                </c:pt>
                <c:pt idx="4">
                  <c:v>1161.9544</c:v>
                </c:pt>
                <c:pt idx="5">
                  <c:v>1183.7248</c:v>
                </c:pt>
                <c:pt idx="6">
                  <c:v>1117.2699</c:v>
                </c:pt>
                <c:pt idx="7">
                  <c:v>1141.1736</c:v>
                </c:pt>
                <c:pt idx="8">
                  <c:v>1209.0104</c:v>
                </c:pt>
                <c:pt idx="9">
                  <c:v>1152.1809</c:v>
                </c:pt>
                <c:pt idx="10">
                  <c:v>1164.4479</c:v>
                </c:pt>
                <c:pt idx="11">
                  <c:v>1099.6931</c:v>
                </c:pt>
                <c:pt idx="12">
                  <c:v>1106.4423</c:v>
                </c:pt>
                <c:pt idx="13">
                  <c:v>1122.9219</c:v>
                </c:pt>
                <c:pt idx="14">
                  <c:v>1153.7647</c:v>
                </c:pt>
                <c:pt idx="15">
                  <c:v>1159.7934</c:v>
                </c:pt>
                <c:pt idx="16">
                  <c:v>1194.0332</c:v>
                </c:pt>
                <c:pt idx="17">
                  <c:v>1157.0735</c:v>
                </c:pt>
                <c:pt idx="18">
                  <c:v>1132.6753</c:v>
                </c:pt>
                <c:pt idx="19">
                  <c:v>1193.0941</c:v>
                </c:pt>
                <c:pt idx="20">
                  <c:v>1161.3896</c:v>
                </c:pt>
                <c:pt idx="21">
                  <c:v>1171.0427</c:v>
                </c:pt>
                <c:pt idx="22">
                  <c:v>1157.2601</c:v>
                </c:pt>
                <c:pt idx="23">
                  <c:v>1119.5718</c:v>
                </c:pt>
                <c:pt idx="24">
                  <c:v>1125.9451</c:v>
                </c:pt>
                <c:pt idx="25">
                  <c:v>1089.6518</c:v>
                </c:pt>
                <c:pt idx="26">
                  <c:v>1148.3319</c:v>
                </c:pt>
                <c:pt idx="27">
                  <c:v>1193.031</c:v>
                </c:pt>
                <c:pt idx="28">
                  <c:v>1209.2025</c:v>
                </c:pt>
                <c:pt idx="29">
                  <c:v>1213.4693</c:v>
                </c:pt>
                <c:pt idx="30">
                  <c:v>1213.6685</c:v>
                </c:pt>
                <c:pt idx="31">
                  <c:v>1133.8963</c:v>
                </c:pt>
                <c:pt idx="32">
                  <c:v>1155.7744</c:v>
                </c:pt>
                <c:pt idx="33">
                  <c:v>1201.978</c:v>
                </c:pt>
                <c:pt idx="34">
                  <c:v>1254.7971</c:v>
                </c:pt>
                <c:pt idx="35">
                  <c:v>1239.7585</c:v>
                </c:pt>
                <c:pt idx="36">
                  <c:v>1220.2895</c:v>
                </c:pt>
                <c:pt idx="37">
                  <c:v>1258.7205</c:v>
                </c:pt>
                <c:pt idx="38">
                  <c:v>1236.5463</c:v>
                </c:pt>
                <c:pt idx="39">
                  <c:v>1237.4602</c:v>
                </c:pt>
                <c:pt idx="40">
                  <c:v>1258.6316</c:v>
                </c:pt>
                <c:pt idx="41">
                  <c:v>1300.8213</c:v>
                </c:pt>
                <c:pt idx="42">
                  <c:v>1285.5839</c:v>
                </c:pt>
                <c:pt idx="43">
                  <c:v>1284.3043</c:v>
                </c:pt>
                <c:pt idx="44">
                  <c:v>1215.6986</c:v>
                </c:pt>
                <c:pt idx="45">
                  <c:v>1177.9954</c:v>
                </c:pt>
                <c:pt idx="46">
                  <c:v>1151.3394</c:v>
                </c:pt>
                <c:pt idx="47">
                  <c:v>1144.6395</c:v>
                </c:pt>
                <c:pt idx="48">
                  <c:v>1117.0977</c:v>
                </c:pt>
                <c:pt idx="49">
                  <c:v>1129.409</c:v>
                </c:pt>
                <c:pt idx="50">
                  <c:v>1042.1477</c:v>
                </c:pt>
                <c:pt idx="51">
                  <c:v>1017.0188</c:v>
                </c:pt>
                <c:pt idx="52">
                  <c:v>1101.6128736371313</c:v>
                </c:pt>
                <c:pt idx="53">
                  <c:v>883.6298094932763</c:v>
                </c:pt>
                <c:pt idx="54">
                  <c:v>1220.5510621930355</c:v>
                </c:pt>
              </c:numCache>
            </c:numRef>
          </c:xVal>
          <c:yVal>
            <c:numRef>
              <c:f>Sheet1!$B$187:$B$241</c:f>
              <c:numCache>
                <c:formatCode>General</c:formatCode>
                <c:ptCount val="55"/>
                <c:pt idx="0">
                  <c:v>0.16727270913930645</c:v>
                </c:pt>
                <c:pt idx="1">
                  <c:v>0.16900314711687944</c:v>
                </c:pt>
                <c:pt idx="2">
                  <c:v>0.17071223287579126</c:v>
                </c:pt>
                <c:pt idx="3">
                  <c:v>0.16878235880212625</c:v>
                </c:pt>
                <c:pt idx="4">
                  <c:v>0.16992376236549844</c:v>
                </c:pt>
                <c:pt idx="5">
                  <c:v>0.16645475981966798</c:v>
                </c:pt>
                <c:pt idx="6">
                  <c:v>0.1770440102368817</c:v>
                </c:pt>
                <c:pt idx="7">
                  <c:v>0.173235077183067</c:v>
                </c:pt>
                <c:pt idx="8">
                  <c:v>0.16242562802728702</c:v>
                </c:pt>
                <c:pt idx="9">
                  <c:v>0.1714811198959836</c:v>
                </c:pt>
                <c:pt idx="10">
                  <c:v>0.16952643581899368</c:v>
                </c:pt>
                <c:pt idx="11">
                  <c:v>0.1798447839455666</c:v>
                </c:pt>
                <c:pt idx="12">
                  <c:v>0.17876933324267097</c:v>
                </c:pt>
                <c:pt idx="13">
                  <c:v>0.17614339277514313</c:v>
                </c:pt>
                <c:pt idx="14">
                  <c:v>0.17122874941900176</c:v>
                </c:pt>
                <c:pt idx="15">
                  <c:v>0.17026810672763878</c:v>
                </c:pt>
                <c:pt idx="16">
                  <c:v>0.16481216869394502</c:v>
                </c:pt>
                <c:pt idx="17">
                  <c:v>0.17070150896298608</c:v>
                </c:pt>
                <c:pt idx="18">
                  <c:v>0.17458923807745713</c:v>
                </c:pt>
                <c:pt idx="19">
                  <c:v>0.16496180950398018</c:v>
                </c:pt>
                <c:pt idx="20">
                  <c:v>0.17001376037370616</c:v>
                </c:pt>
                <c:pt idx="21">
                  <c:v>0.168475587971033</c:v>
                </c:pt>
                <c:pt idx="22">
                  <c:v>0.17067177520177582</c:v>
                </c:pt>
                <c:pt idx="23">
                  <c:v>0.1766772141761641</c:v>
                </c:pt>
                <c:pt idx="24">
                  <c:v>0.17566166122696053</c:v>
                </c:pt>
                <c:pt idx="25">
                  <c:v>0.18144481404439103</c:v>
                </c:pt>
                <c:pt idx="26">
                  <c:v>0.17209443847528863</c:v>
                </c:pt>
                <c:pt idx="27">
                  <c:v>0.1649718641681408</c:v>
                </c:pt>
                <c:pt idx="28">
                  <c:v>0.16239501786904212</c:v>
                </c:pt>
                <c:pt idx="29">
                  <c:v>0.16171512498409057</c:v>
                </c:pt>
                <c:pt idx="30">
                  <c:v>0.1616833834769465</c:v>
                </c:pt>
                <c:pt idx="31">
                  <c:v>0.17439467793577582</c:v>
                </c:pt>
                <c:pt idx="32">
                  <c:v>0.1709085139425587</c:v>
                </c:pt>
                <c:pt idx="33">
                  <c:v>0.1635462052102188</c:v>
                </c:pt>
                <c:pt idx="34">
                  <c:v>0.15512975019016978</c:v>
                </c:pt>
                <c:pt idx="35">
                  <c:v>0.1575260746346323</c:v>
                </c:pt>
                <c:pt idx="36">
                  <c:v>0.1606283607922028</c:v>
                </c:pt>
                <c:pt idx="37">
                  <c:v>0.1545045763491604</c:v>
                </c:pt>
                <c:pt idx="38">
                  <c:v>0.15803792237182207</c:v>
                </c:pt>
                <c:pt idx="39">
                  <c:v>0.15789229705365454</c:v>
                </c:pt>
                <c:pt idx="40">
                  <c:v>0.15451874211213784</c:v>
                </c:pt>
                <c:pt idx="41">
                  <c:v>0.14779602793564936</c:v>
                </c:pt>
                <c:pt idx="42">
                  <c:v>0.15022403014928978</c:v>
                </c:pt>
                <c:pt idx="43">
                  <c:v>0.1504279279030125</c:v>
                </c:pt>
                <c:pt idx="44">
                  <c:v>0.16135989736422968</c:v>
                </c:pt>
                <c:pt idx="45">
                  <c:v>0.16736771057785713</c:v>
                </c:pt>
                <c:pt idx="46">
                  <c:v>0.1716152086422775</c:v>
                </c:pt>
                <c:pt idx="47">
                  <c:v>0.17268280364084482</c:v>
                </c:pt>
                <c:pt idx="48">
                  <c:v>0.17707144943131048</c:v>
                </c:pt>
                <c:pt idx="49">
                  <c:v>0.17510970637456907</c:v>
                </c:pt>
                <c:pt idx="50">
                  <c:v>0.18901435083918514</c:v>
                </c:pt>
                <c:pt idx="51">
                  <c:v>0.19301851328332578</c:v>
                </c:pt>
                <c:pt idx="52">
                  <c:v>0.17953887777780547</c:v>
                </c:pt>
                <c:pt idx="53">
                  <c:v>0.21427337068849897</c:v>
                </c:pt>
                <c:pt idx="54">
                  <c:v>0.1605866821866864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1.0"/>
          <c:min val="64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866862431226215"/>
          <c:min val="0.1090108276748027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3</c:f>
              <c:numCache>
                <c:formatCode>General</c:formatCode>
                <c:ptCount val="52"/>
                <c:pt idx="0">
                  <c:v>1158.5176</c:v>
                </c:pt>
                <c:pt idx="1">
                  <c:v>1166.7646</c:v>
                </c:pt>
                <c:pt idx="2">
                  <c:v>1187.726</c:v>
                </c:pt>
                <c:pt idx="3">
                  <c:v>1223.6985</c:v>
                </c:pt>
                <c:pt idx="4">
                  <c:v>1190.1023</c:v>
                </c:pt>
                <c:pt idx="5">
                  <c:v>1189.1653</c:v>
                </c:pt>
                <c:pt idx="6">
                  <c:v>1173.7781</c:v>
                </c:pt>
                <c:pt idx="7">
                  <c:v>1215.6817</c:v>
                </c:pt>
                <c:pt idx="8">
                  <c:v>1205.7061</c:v>
                </c:pt>
                <c:pt idx="9">
                  <c:v>1208.1825</c:v>
                </c:pt>
                <c:pt idx="10">
                  <c:v>1233.9114</c:v>
                </c:pt>
                <c:pt idx="11">
                  <c:v>1226.7757</c:v>
                </c:pt>
                <c:pt idx="12">
                  <c:v>1210.633</c:v>
                </c:pt>
                <c:pt idx="13">
                  <c:v>1134.2071</c:v>
                </c:pt>
                <c:pt idx="14">
                  <c:v>1058.84</c:v>
                </c:pt>
                <c:pt idx="15">
                  <c:v>1041.0178</c:v>
                </c:pt>
                <c:pt idx="16">
                  <c:v>1034.1875</c:v>
                </c:pt>
                <c:pt idx="17">
                  <c:v>990.6161</c:v>
                </c:pt>
                <c:pt idx="18">
                  <c:v>1039.1364</c:v>
                </c:pt>
                <c:pt idx="19">
                  <c:v>1093.8491</c:v>
                </c:pt>
                <c:pt idx="20">
                  <c:v>1069.5135</c:v>
                </c:pt>
                <c:pt idx="21">
                  <c:v>1056.7828</c:v>
                </c:pt>
                <c:pt idx="22">
                  <c:v>1004.9213</c:v>
                </c:pt>
                <c:pt idx="23">
                  <c:v>1001.0981</c:v>
                </c:pt>
                <c:pt idx="24">
                  <c:v>965.9668</c:v>
                </c:pt>
                <c:pt idx="25">
                  <c:v>1092.8681</c:v>
                </c:pt>
                <c:pt idx="26">
                  <c:v>506.885</c:v>
                </c:pt>
                <c:pt idx="27">
                  <c:v>536.4467</c:v>
                </c:pt>
                <c:pt idx="28">
                  <c:v>775.572</c:v>
                </c:pt>
                <c:pt idx="29">
                  <c:v>797.9217</c:v>
                </c:pt>
                <c:pt idx="30">
                  <c:v>809.2301</c:v>
                </c:pt>
                <c:pt idx="31">
                  <c:v>836.2273</c:v>
                </c:pt>
                <c:pt idx="32">
                  <c:v>905.3809</c:v>
                </c:pt>
                <c:pt idx="33">
                  <c:v>1159.4266</c:v>
                </c:pt>
                <c:pt idx="34">
                  <c:v>1210.0201</c:v>
                </c:pt>
                <c:pt idx="35">
                  <c:v>1214.9894</c:v>
                </c:pt>
                <c:pt idx="36">
                  <c:v>1102.6572</c:v>
                </c:pt>
                <c:pt idx="37">
                  <c:v>1144.9547</c:v>
                </c:pt>
                <c:pt idx="38">
                  <c:v>1221.4959</c:v>
                </c:pt>
                <c:pt idx="39">
                  <c:v>1300.2041</c:v>
                </c:pt>
                <c:pt idx="40">
                  <c:v>1380.8546</c:v>
                </c:pt>
                <c:pt idx="41">
                  <c:v>1323.4942</c:v>
                </c:pt>
                <c:pt idx="42">
                  <c:v>1438.1396</c:v>
                </c:pt>
                <c:pt idx="43">
                  <c:v>1324.2641</c:v>
                </c:pt>
                <c:pt idx="44">
                  <c:v>1364.8189</c:v>
                </c:pt>
                <c:pt idx="45">
                  <c:v>1366.3559</c:v>
                </c:pt>
                <c:pt idx="46">
                  <c:v>1336.062</c:v>
                </c:pt>
                <c:pt idx="47">
                  <c:v>1285.794</c:v>
                </c:pt>
                <c:pt idx="48">
                  <c:v>1372.097</c:v>
                </c:pt>
                <c:pt idx="49">
                  <c:v>1440.9281</c:v>
                </c:pt>
                <c:pt idx="50">
                  <c:v>1384.0691</c:v>
                </c:pt>
                <c:pt idx="51">
                  <c:v>1407.2877</c:v>
                </c:pt>
              </c:numCache>
            </c:numRef>
          </c:xVal>
          <c:yVal>
            <c:numRef>
              <c:f>Sheet1!$B$2:$B$53</c:f>
              <c:numCache>
                <c:formatCode>General</c:formatCode>
                <c:ptCount val="52"/>
                <c:pt idx="0">
                  <c:v>0.9610894941634242</c:v>
                </c:pt>
                <c:pt idx="1">
                  <c:v>0.9584535487593768</c:v>
                </c:pt>
                <c:pt idx="2">
                  <c:v>0.9614655716993051</c:v>
                </c:pt>
                <c:pt idx="3">
                  <c:v>0.9671094244149273</c:v>
                </c:pt>
                <c:pt idx="4">
                  <c:v>0.9568648079957917</c:v>
                </c:pt>
                <c:pt idx="5">
                  <c:v>0.9576622181316152</c:v>
                </c:pt>
                <c:pt idx="6">
                  <c:v>0.959703947368421</c:v>
                </c:pt>
                <c:pt idx="7">
                  <c:v>0.9567519858781994</c:v>
                </c:pt>
                <c:pt idx="8">
                  <c:v>0.9456302859444221</c:v>
                </c:pt>
                <c:pt idx="9">
                  <c:v>0.9507667473769169</c:v>
                </c:pt>
                <c:pt idx="10">
                  <c:v>0.9515593895155939</c:v>
                </c:pt>
                <c:pt idx="11">
                  <c:v>0.9348275862068965</c:v>
                </c:pt>
                <c:pt idx="12">
                  <c:v>0.945554249902076</c:v>
                </c:pt>
                <c:pt idx="13">
                  <c:v>0.9496051147047763</c:v>
                </c:pt>
                <c:pt idx="14">
                  <c:v>0.9549180327868853</c:v>
                </c:pt>
                <c:pt idx="15">
                  <c:v>0.9546956111373289</c:v>
                </c:pt>
                <c:pt idx="16">
                  <c:v>0.9540850776502363</c:v>
                </c:pt>
                <c:pt idx="17">
                  <c:v>0.951058201058201</c:v>
                </c:pt>
                <c:pt idx="18">
                  <c:v>0.9477401129943502</c:v>
                </c:pt>
                <c:pt idx="19">
                  <c:v>0.9462897526501767</c:v>
                </c:pt>
                <c:pt idx="20">
                  <c:v>0.9453513129879347</c:v>
                </c:pt>
                <c:pt idx="21">
                  <c:v>0.9550484094052559</c:v>
                </c:pt>
                <c:pt idx="22">
                  <c:v>0.958974358974359</c:v>
                </c:pt>
                <c:pt idx="23">
                  <c:v>0.9614065180102916</c:v>
                </c:pt>
                <c:pt idx="24">
                  <c:v>0.9597989949748744</c:v>
                </c:pt>
                <c:pt idx="25">
                  <c:v>0.9494505494505494</c:v>
                </c:pt>
                <c:pt idx="26">
                  <c:v>0.9803742583295298</c:v>
                </c:pt>
                <c:pt idx="27">
                  <c:v>0.9790141532454856</c:v>
                </c:pt>
                <c:pt idx="28">
                  <c:v>0.9649458253664754</c:v>
                </c:pt>
                <c:pt idx="29">
                  <c:v>0.9664586583463338</c:v>
                </c:pt>
                <c:pt idx="30">
                  <c:v>0.9596602972399151</c:v>
                </c:pt>
                <c:pt idx="31">
                  <c:v>0.9618834080717489</c:v>
                </c:pt>
                <c:pt idx="32">
                  <c:v>0.9552845528455285</c:v>
                </c:pt>
                <c:pt idx="33">
                  <c:v>0.9316546762589928</c:v>
                </c:pt>
                <c:pt idx="34">
                  <c:v>0.943217665615142</c:v>
                </c:pt>
                <c:pt idx="35">
                  <c:v>0.9361936193619362</c:v>
                </c:pt>
                <c:pt idx="36">
                  <c:v>0.9349397590361446</c:v>
                </c:pt>
                <c:pt idx="37">
                  <c:v>0.9414114513981359</c:v>
                </c:pt>
                <c:pt idx="38">
                  <c:v>0.9333333333333333</c:v>
                </c:pt>
                <c:pt idx="39">
                  <c:v>0.9323467230443975</c:v>
                </c:pt>
                <c:pt idx="40">
                  <c:v>0.9369369369369369</c:v>
                </c:pt>
                <c:pt idx="41">
                  <c:v>0.952088452088452</c:v>
                </c:pt>
                <c:pt idx="42">
                  <c:v>0.940795559666975</c:v>
                </c:pt>
                <c:pt idx="43">
                  <c:v>0.940959409594096</c:v>
                </c:pt>
                <c:pt idx="44">
                  <c:v>0.9454160042395336</c:v>
                </c:pt>
                <c:pt idx="45">
                  <c:v>0.933786078098472</c:v>
                </c:pt>
                <c:pt idx="46">
                  <c:v>0.9351818509182571</c:v>
                </c:pt>
                <c:pt idx="47">
                  <c:v>0.9418270294182703</c:v>
                </c:pt>
                <c:pt idx="48">
                  <c:v>0.9287859287859288</c:v>
                </c:pt>
                <c:pt idx="49">
                  <c:v>0.9006410256410257</c:v>
                </c:pt>
                <c:pt idx="50">
                  <c:v>0.915871121718377</c:v>
                </c:pt>
                <c:pt idx="51">
                  <c:v>0.9143026004728132</c:v>
                </c:pt>
              </c:numCache>
            </c:numRef>
          </c:yVal>
          <c:smooth val="0"/>
          <c:extLst>
            <c:ext xmlns:c16="http://schemas.microsoft.com/office/drawing/2014/chart" uri="{C3380CC4-5D6E-409C-BE32-E72D297353CC}">
              <c16:uniqueId val="{00000000-F32D-48B7-BC20-E66FC6253BAD}"/>
            </c:ext>
          </c:extLst>
        </c:ser>
        <c:ser>
          <c:idx val="1"/>
          <c:order val="1"/>
          <c:tx>
            <c:strRef>
              <c:f>Sheet1!$B$5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6:$A$107</c:f>
              <c:numCache>
                <c:formatCode>General</c:formatCode>
                <c:ptCount val="52"/>
                <c:pt idx="0">
                  <c:v>1443.0214</c:v>
                </c:pt>
                <c:pt idx="1">
                  <c:v>1479.0104</c:v>
                </c:pt>
                <c:pt idx="2">
                  <c:v>1481.9685</c:v>
                </c:pt>
                <c:pt idx="3">
                  <c:v>1514.761</c:v>
                </c:pt>
                <c:pt idx="4">
                  <c:v>1508.9806</c:v>
                </c:pt>
                <c:pt idx="5">
                  <c:v>1534.6775</c:v>
                </c:pt>
                <c:pt idx="6">
                  <c:v>1433.5813</c:v>
                </c:pt>
                <c:pt idx="7">
                  <c:v>1493.1737</c:v>
                </c:pt>
                <c:pt idx="8">
                  <c:v>1554.8486</c:v>
                </c:pt>
                <c:pt idx="9">
                  <c:v>1477.9798</c:v>
                </c:pt>
                <c:pt idx="10">
                  <c:v>1495.5683</c:v>
                </c:pt>
                <c:pt idx="11">
                  <c:v>1375.5705</c:v>
                </c:pt>
                <c:pt idx="12">
                  <c:v>1405.7597</c:v>
                </c:pt>
                <c:pt idx="13">
                  <c:v>1444.9151</c:v>
                </c:pt>
                <c:pt idx="14">
                  <c:v>1455.2135</c:v>
                </c:pt>
                <c:pt idx="15">
                  <c:v>1470.8428</c:v>
                </c:pt>
                <c:pt idx="16">
                  <c:v>1579.3382</c:v>
                </c:pt>
                <c:pt idx="17">
                  <c:v>1555.9529</c:v>
                </c:pt>
                <c:pt idx="18">
                  <c:v>1548.1272</c:v>
                </c:pt>
                <c:pt idx="19">
                  <c:v>1682.2821</c:v>
                </c:pt>
                <c:pt idx="20">
                  <c:v>1655.0488</c:v>
                </c:pt>
                <c:pt idx="21">
                  <c:v>1534.9968</c:v>
                </c:pt>
                <c:pt idx="22">
                  <c:v>1530.9275</c:v>
                </c:pt>
                <c:pt idx="23">
                  <c:v>1351.5504</c:v>
                </c:pt>
                <c:pt idx="24">
                  <c:v>1254.6019</c:v>
                </c:pt>
                <c:pt idx="25">
                  <c:v>1184.8599</c:v>
                </c:pt>
                <c:pt idx="26">
                  <c:v>1259.1211</c:v>
                </c:pt>
                <c:pt idx="27">
                  <c:v>1429.7706</c:v>
                </c:pt>
                <c:pt idx="28">
                  <c:v>1506.3049</c:v>
                </c:pt>
                <c:pt idx="29">
                  <c:v>1534.4073</c:v>
                </c:pt>
                <c:pt idx="30">
                  <c:v>1435.535</c:v>
                </c:pt>
                <c:pt idx="31">
                  <c:v>1287.8966</c:v>
                </c:pt>
                <c:pt idx="32">
                  <c:v>1424.6125</c:v>
                </c:pt>
                <c:pt idx="33">
                  <c:v>1481.2554</c:v>
                </c:pt>
                <c:pt idx="34">
                  <c:v>1532.5279</c:v>
                </c:pt>
                <c:pt idx="35">
                  <c:v>1499.0331</c:v>
                </c:pt>
                <c:pt idx="36">
                  <c:v>1486.7145</c:v>
                </c:pt>
                <c:pt idx="37">
                  <c:v>1557.3288</c:v>
                </c:pt>
                <c:pt idx="38">
                  <c:v>1470.7459</c:v>
                </c:pt>
                <c:pt idx="39">
                  <c:v>1472.3545</c:v>
                </c:pt>
                <c:pt idx="40">
                  <c:v>1466.3006</c:v>
                </c:pt>
                <c:pt idx="41">
                  <c:v>1560.4085</c:v>
                </c:pt>
                <c:pt idx="42">
                  <c:v>1532.3047</c:v>
                </c:pt>
                <c:pt idx="43">
                  <c:v>1526.2659</c:v>
                </c:pt>
                <c:pt idx="44">
                  <c:v>1506.8121</c:v>
                </c:pt>
                <c:pt idx="45">
                  <c:v>1464.4297</c:v>
                </c:pt>
                <c:pt idx="46">
                  <c:v>1438.7906</c:v>
                </c:pt>
                <c:pt idx="47">
                  <c:v>1436.8396</c:v>
                </c:pt>
                <c:pt idx="48">
                  <c:v>1409.4805</c:v>
                </c:pt>
                <c:pt idx="49">
                  <c:v>1411.0815</c:v>
                </c:pt>
                <c:pt idx="50">
                  <c:v>1289.4099</c:v>
                </c:pt>
                <c:pt idx="51">
                  <c:v>1280.7156</c:v>
                </c:pt>
              </c:numCache>
            </c:numRef>
          </c:xVal>
          <c:yVal>
            <c:numRef>
              <c:f>Sheet1!$B$56:$B$107</c:f>
              <c:numCache>
                <c:formatCode>General</c:formatCode>
                <c:ptCount val="52"/>
                <c:pt idx="0">
                  <c:v>0.9134134134134134</c:v>
                </c:pt>
                <c:pt idx="1">
                  <c:v>0.9050410316529894</c:v>
                </c:pt>
                <c:pt idx="2">
                  <c:v>0.9016227180527383</c:v>
                </c:pt>
                <c:pt idx="3">
                  <c:v>0.9020742884708153</c:v>
                </c:pt>
                <c:pt idx="4">
                  <c:v>0.9021796916533759</c:v>
                </c:pt>
                <c:pt idx="5">
                  <c:v>0.89015769439913</c:v>
                </c:pt>
                <c:pt idx="6">
                  <c:v>0.9117498739283914</c:v>
                </c:pt>
                <c:pt idx="7">
                  <c:v>0.9104938271604939</c:v>
                </c:pt>
                <c:pt idx="8">
                  <c:v>0.8757621951219512</c:v>
                </c:pt>
                <c:pt idx="9">
                  <c:v>0.880764163372859</c:v>
                </c:pt>
                <c:pt idx="10">
                  <c:v>0.8797780517879161</c:v>
                </c:pt>
                <c:pt idx="11">
                  <c:v>0.902544200086244</c:v>
                </c:pt>
                <c:pt idx="12">
                  <c:v>0.8944578313253012</c:v>
                </c:pt>
                <c:pt idx="13">
                  <c:v>0.8983050847457628</c:v>
                </c:pt>
                <c:pt idx="14">
                  <c:v>0.9065062875888463</c:v>
                </c:pt>
                <c:pt idx="15">
                  <c:v>0.8867454884878656</c:v>
                </c:pt>
                <c:pt idx="16">
                  <c:v>0.8805732484076433</c:v>
                </c:pt>
                <c:pt idx="17">
                  <c:v>0.8666061705989111</c:v>
                </c:pt>
                <c:pt idx="18">
                  <c:v>0.8754491017964072</c:v>
                </c:pt>
                <c:pt idx="19">
                  <c:v>0.8435155412647374</c:v>
                </c:pt>
                <c:pt idx="20">
                  <c:v>0.8479318734793188</c:v>
                </c:pt>
                <c:pt idx="21">
                  <c:v>0.8628257887517147</c:v>
                </c:pt>
                <c:pt idx="22">
                  <c:v>0.8506849315068493</c:v>
                </c:pt>
                <c:pt idx="23">
                  <c:v>0.8863346104725415</c:v>
                </c:pt>
                <c:pt idx="24">
                  <c:v>0.9080338266384778</c:v>
                </c:pt>
                <c:pt idx="25">
                  <c:v>0.9107883817427386</c:v>
                </c:pt>
                <c:pt idx="26">
                  <c:v>0.9112627986348123</c:v>
                </c:pt>
                <c:pt idx="27">
                  <c:v>0.8747099767981439</c:v>
                </c:pt>
                <c:pt idx="28">
                  <c:v>0.8704883227176221</c:v>
                </c:pt>
                <c:pt idx="29">
                  <c:v>0.8785046728971962</c:v>
                </c:pt>
                <c:pt idx="30">
                  <c:v>0.8891656288916563</c:v>
                </c:pt>
                <c:pt idx="31">
                  <c:v>0.8812154696132597</c:v>
                </c:pt>
                <c:pt idx="32">
                  <c:v>0.8788265306122449</c:v>
                </c:pt>
                <c:pt idx="33">
                  <c:v>0.9036144578313253</c:v>
                </c:pt>
                <c:pt idx="34">
                  <c:v>0.9006828057107387</c:v>
                </c:pt>
                <c:pt idx="35">
                  <c:v>0.8872586872586873</c:v>
                </c:pt>
                <c:pt idx="36">
                  <c:v>0.8639760837070254</c:v>
                </c:pt>
                <c:pt idx="37">
                  <c:v>0.8556998556998557</c:v>
                </c:pt>
                <c:pt idx="38">
                  <c:v>0.8704581358609794</c:v>
                </c:pt>
                <c:pt idx="39">
                  <c:v>0.8584428715874621</c:v>
                </c:pt>
                <c:pt idx="40">
                  <c:v>0.7379248658318426</c:v>
                </c:pt>
                <c:pt idx="41">
                  <c:v>0.8053753475440223</c:v>
                </c:pt>
                <c:pt idx="42">
                  <c:v>0.831140350877193</c:v>
                </c:pt>
                <c:pt idx="43">
                  <c:v>0.8254364089775561</c:v>
                </c:pt>
                <c:pt idx="44">
                  <c:v>0.847953216374269</c:v>
                </c:pt>
                <c:pt idx="45">
                  <c:v>0.8663946965833759</c:v>
                </c:pt>
                <c:pt idx="46">
                  <c:v>0.8765512736773351</c:v>
                </c:pt>
                <c:pt idx="47">
                  <c:v>0.8825710754017305</c:v>
                </c:pt>
                <c:pt idx="48">
                  <c:v>0.8643113159242192</c:v>
                </c:pt>
                <c:pt idx="49">
                  <c:v>0.8610054921841994</c:v>
                </c:pt>
                <c:pt idx="50">
                  <c:v>0.8906434126797077</c:v>
                </c:pt>
                <c:pt idx="51">
                  <c:v>0.871689497716895</c:v>
                </c:pt>
              </c:numCache>
            </c:numRef>
          </c:yVal>
          <c:smooth val="0"/>
          <c:extLst>
            <c:ext xmlns:c16="http://schemas.microsoft.com/office/drawing/2014/chart" uri="{C3380CC4-5D6E-409C-BE32-E72D297353CC}">
              <c16:uniqueId val="{00000002-F32D-48B7-BC20-E66FC6253BAD}"/>
            </c:ext>
          </c:extLst>
        </c:ser>
        <c:ser>
          <c:idx val="2"/>
          <c:order val="2"/>
          <c:tx>
            <c:strRef>
              <c:f>Sheet1!$B$109</c:f>
              <c:strCache>
                <c:ptCount val="1"/>
                <c:pt idx="0">
                  <c:v>Custom Linep3yQ</c:v>
                </c:pt>
              </c:strCache>
            </c:strRef>
          </c:tx>
          <c:spPr>
            <a:ln w="19050" cap="rnd">
              <a:solidFill>
                <a:srgbClr val="C00000"/>
              </a:solidFill>
              <a:prstDash val="sysDot"/>
              <a:round/>
            </a:ln>
            <a:effectLst/>
          </c:spPr>
          <c:marker>
            <c:symbol val="none"/>
          </c:marker>
          <c:xVal>
            <c:numRef>
              <c:f>Sheet1!$A$110:$A$111</c:f>
              <c:numCache>
                <c:formatCode>General</c:formatCode>
                <c:ptCount val="2"/>
                <c:pt idx="0">
                  <c:v>0</c:v>
                </c:pt>
                <c:pt idx="1">
                  <c:v>761.0797345851557</c:v>
                </c:pt>
              </c:numCache>
            </c:numRef>
          </c:xVal>
          <c:yVal>
            <c:numRef>
              <c:f>Sheet1!$B$110:$B$111</c:f>
              <c:numCache>
                <c:formatCode>General</c:formatCode>
                <c:ptCount val="2"/>
                <c:pt idx="0">
                  <c:v>0.9598876248013826</c:v>
                </c:pt>
                <c:pt idx="1">
                  <c:v>0.9598876248013826</c:v>
                </c:pt>
              </c:numCache>
            </c:numRef>
          </c:yVal>
          <c:smooth val="0"/>
          <c:extLst>
            <c:ext xmlns:c16="http://schemas.microsoft.com/office/drawing/2014/chart" uri="{C3380CC4-5D6E-409C-BE32-E72D297353CC}">
              <c16:uniqueId val="{00000003-F32D-48B7-BC20-E66FC6253BAD}"/>
            </c:ext>
          </c:extLst>
        </c:ser>
        <c:ser>
          <c:idx val="3"/>
          <c:order val="3"/>
          <c:tx>
            <c:strRef>
              <c:f>Sheet1!$B$1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761.0797345851557</c:v>
                </c:pt>
                <c:pt idx="1">
                  <c:v>761.0797345851557</c:v>
                </c:pt>
              </c:numCache>
            </c:numRef>
          </c:xVal>
          <c:yVal>
            <c:numRef>
              <c:f>Sheet1!$B$114:$B$115</c:f>
              <c:numCache>
                <c:formatCode>General</c:formatCode>
                <c:ptCount val="2"/>
                <c:pt idx="0">
                  <c:v>0.95988762480138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8:$A$119</c:f>
              <c:numCache>
                <c:formatCode>General</c:formatCode>
                <c:ptCount val="2"/>
                <c:pt idx="0">
                  <c:v>0</c:v>
                </c:pt>
                <c:pt idx="1">
                  <c:v>1254.659634990031</c:v>
                </c:pt>
              </c:numCache>
            </c:numRef>
          </c:xVal>
          <c:yVal>
            <c:numRef>
              <c:f>Sheet1!$B$118:$B$119</c:f>
              <c:numCache>
                <c:formatCode>General</c:formatCode>
                <c:ptCount val="2"/>
                <c:pt idx="0">
                  <c:v>0.9013883037614776</c:v>
                </c:pt>
                <c:pt idx="1">
                  <c:v>0.9013883037614776</c:v>
                </c:pt>
              </c:numCache>
            </c:numRef>
          </c:yVal>
          <c:smooth val="0"/>
          <c:extLst>
            <c:ext xmlns:c16="http://schemas.microsoft.com/office/drawing/2014/chart" uri="{C3380CC4-5D6E-409C-BE32-E72D297353CC}">
              <c16:uniqueId val="{0000000A-F32D-48B7-BC20-E66FC6253BAD}"/>
            </c:ext>
          </c:extLst>
        </c:ser>
        <c:ser>
          <c:idx val="5"/>
          <c:order val="5"/>
          <c:tx>
            <c:strRef>
              <c:f>Sheet1!$B$1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254.659634990031</c:v>
                </c:pt>
                <c:pt idx="1">
                  <c:v>1254.659634990031</c:v>
                </c:pt>
              </c:numCache>
            </c:numRef>
          </c:xVal>
          <c:yVal>
            <c:numRef>
              <c:f>Sheet1!$B$122:$B$123</c:f>
              <c:numCache>
                <c:formatCode>General</c:formatCode>
                <c:ptCount val="2"/>
                <c:pt idx="0">
                  <c:v>0.90138830376147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6:$A$127</c:f>
              <c:numCache>
                <c:formatCode>General</c:formatCode>
                <c:ptCount val="2"/>
                <c:pt idx="0">
                  <c:v>0</c:v>
                </c:pt>
                <c:pt idx="1">
                  <c:v>1708.0757166562382</c:v>
                </c:pt>
              </c:numCache>
            </c:numRef>
          </c:xVal>
          <c:yVal>
            <c:numRef>
              <c:f>Sheet1!$B$126:$B$127</c:f>
              <c:numCache>
                <c:formatCode>General</c:formatCode>
                <c:ptCount val="2"/>
                <c:pt idx="0">
                  <c:v>0.8476492173353699</c:v>
                </c:pt>
                <c:pt idx="1">
                  <c:v>0.8476492173353699</c:v>
                </c:pt>
              </c:numCache>
            </c:numRef>
          </c:yVal>
          <c:smooth val="0"/>
          <c:extLst>
            <c:ext xmlns:c16="http://schemas.microsoft.com/office/drawing/2014/chart" uri="{C3380CC4-5D6E-409C-BE32-E72D297353CC}">
              <c16:uniqueId val="{00000011-F32D-48B7-BC20-E66FC6253BAD}"/>
            </c:ext>
          </c:extLst>
        </c:ser>
        <c:ser>
          <c:idx val="7"/>
          <c:order val="7"/>
          <c:tx>
            <c:strRef>
              <c:f>Sheet1!$B$1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0:$A$131</c:f>
              <c:numCache>
                <c:formatCode>General</c:formatCode>
                <c:ptCount val="2"/>
                <c:pt idx="0">
                  <c:v>1708.0757166562382</c:v>
                </c:pt>
                <c:pt idx="1">
                  <c:v>1708.0757166562382</c:v>
                </c:pt>
              </c:numCache>
            </c:numRef>
          </c:xVal>
          <c:yVal>
            <c:numRef>
              <c:f>Sheet1!$B$130:$B$131</c:f>
              <c:numCache>
                <c:formatCode>General</c:formatCode>
                <c:ptCount val="2"/>
                <c:pt idx="0">
                  <c:v>0.847649217335369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4:$A$188</c:f>
              <c:numCache>
                <c:formatCode>General</c:formatCode>
                <c:ptCount val="55"/>
                <c:pt idx="0">
                  <c:v>1443.0214</c:v>
                </c:pt>
                <c:pt idx="1">
                  <c:v>1479.0104</c:v>
                </c:pt>
                <c:pt idx="2">
                  <c:v>1481.9685</c:v>
                </c:pt>
                <c:pt idx="3">
                  <c:v>1514.761</c:v>
                </c:pt>
                <c:pt idx="4">
                  <c:v>1508.9806</c:v>
                </c:pt>
                <c:pt idx="5">
                  <c:v>1534.6775</c:v>
                </c:pt>
                <c:pt idx="6">
                  <c:v>1433.5813</c:v>
                </c:pt>
                <c:pt idx="7">
                  <c:v>1493.1737</c:v>
                </c:pt>
                <c:pt idx="8">
                  <c:v>1554.8486</c:v>
                </c:pt>
                <c:pt idx="9">
                  <c:v>1477.9798</c:v>
                </c:pt>
                <c:pt idx="10">
                  <c:v>1495.5683</c:v>
                </c:pt>
                <c:pt idx="11">
                  <c:v>1375.5705</c:v>
                </c:pt>
                <c:pt idx="12">
                  <c:v>1405.7597</c:v>
                </c:pt>
                <c:pt idx="13">
                  <c:v>1444.9151</c:v>
                </c:pt>
                <c:pt idx="14">
                  <c:v>1455.2135</c:v>
                </c:pt>
                <c:pt idx="15">
                  <c:v>1470.8428</c:v>
                </c:pt>
                <c:pt idx="16">
                  <c:v>1579.3382</c:v>
                </c:pt>
                <c:pt idx="17">
                  <c:v>1555.9529</c:v>
                </c:pt>
                <c:pt idx="18">
                  <c:v>1548.1272</c:v>
                </c:pt>
                <c:pt idx="19">
                  <c:v>1682.2821</c:v>
                </c:pt>
                <c:pt idx="20">
                  <c:v>1655.0488</c:v>
                </c:pt>
                <c:pt idx="21">
                  <c:v>1534.9968</c:v>
                </c:pt>
                <c:pt idx="22">
                  <c:v>1530.9275</c:v>
                </c:pt>
                <c:pt idx="23">
                  <c:v>1351.5504</c:v>
                </c:pt>
                <c:pt idx="24">
                  <c:v>1254.6019</c:v>
                </c:pt>
                <c:pt idx="25">
                  <c:v>1184.8599</c:v>
                </c:pt>
                <c:pt idx="26">
                  <c:v>1259.1211</c:v>
                </c:pt>
                <c:pt idx="27">
                  <c:v>1429.7706</c:v>
                </c:pt>
                <c:pt idx="28">
                  <c:v>1506.3049</c:v>
                </c:pt>
                <c:pt idx="29">
                  <c:v>1534.4073</c:v>
                </c:pt>
                <c:pt idx="30">
                  <c:v>1435.535</c:v>
                </c:pt>
                <c:pt idx="31">
                  <c:v>1287.8966</c:v>
                </c:pt>
                <c:pt idx="32">
                  <c:v>1424.6125</c:v>
                </c:pt>
                <c:pt idx="33">
                  <c:v>1481.2554</c:v>
                </c:pt>
                <c:pt idx="34">
                  <c:v>1532.5279</c:v>
                </c:pt>
                <c:pt idx="35">
                  <c:v>1499.0331</c:v>
                </c:pt>
                <c:pt idx="36">
                  <c:v>1486.7145</c:v>
                </c:pt>
                <c:pt idx="37">
                  <c:v>1557.3288</c:v>
                </c:pt>
                <c:pt idx="38">
                  <c:v>1470.7459</c:v>
                </c:pt>
                <c:pt idx="39">
                  <c:v>1472.3545</c:v>
                </c:pt>
                <c:pt idx="40">
                  <c:v>1466.3006</c:v>
                </c:pt>
                <c:pt idx="41">
                  <c:v>1560.4085</c:v>
                </c:pt>
                <c:pt idx="42">
                  <c:v>1532.3047</c:v>
                </c:pt>
                <c:pt idx="43">
                  <c:v>1526.2659</c:v>
                </c:pt>
                <c:pt idx="44">
                  <c:v>1506.8121</c:v>
                </c:pt>
                <c:pt idx="45">
                  <c:v>1464.4297</c:v>
                </c:pt>
                <c:pt idx="46">
                  <c:v>1438.7906</c:v>
                </c:pt>
                <c:pt idx="47">
                  <c:v>1436.8396</c:v>
                </c:pt>
                <c:pt idx="48">
                  <c:v>1409.4805</c:v>
                </c:pt>
                <c:pt idx="49">
                  <c:v>1411.0815</c:v>
                </c:pt>
                <c:pt idx="50">
                  <c:v>1289.4099</c:v>
                </c:pt>
                <c:pt idx="51">
                  <c:v>1280.7156</c:v>
                </c:pt>
                <c:pt idx="52">
                  <c:v>1254.659634990031</c:v>
                </c:pt>
                <c:pt idx="53">
                  <c:v>761.0797345851557</c:v>
                </c:pt>
                <c:pt idx="54">
                  <c:v>1708.0757166562382</c:v>
                </c:pt>
              </c:numCache>
            </c:numRef>
          </c:xVal>
          <c:yVal>
            <c:numRef>
              <c:f>Sheet1!$B$134:$B$188</c:f>
              <c:numCache>
                <c:formatCode>General</c:formatCode>
                <c:ptCount val="55"/>
                <c:pt idx="0">
                  <c:v>0.8790635791243467</c:v>
                </c:pt>
                <c:pt idx="1">
                  <c:v>0.8747981459833737</c:v>
                </c:pt>
                <c:pt idx="2">
                  <c:v>0.8744475505854934</c:v>
                </c:pt>
                <c:pt idx="3">
                  <c:v>0.8705609681220918</c:v>
                </c:pt>
                <c:pt idx="4">
                  <c:v>0.8712460638382296</c:v>
                </c:pt>
                <c:pt idx="5">
                  <c:v>0.8682004552111415</c:v>
                </c:pt>
                <c:pt idx="6">
                  <c:v>0.8801824241990668</c:v>
                </c:pt>
                <c:pt idx="7">
                  <c:v>0.8731195050318178</c:v>
                </c:pt>
                <c:pt idx="8">
                  <c:v>0.8658097669889103</c:v>
                </c:pt>
                <c:pt idx="9">
                  <c:v>0.8749202931782134</c:v>
                </c:pt>
                <c:pt idx="10">
                  <c:v>0.8728356959179393</c:v>
                </c:pt>
                <c:pt idx="11">
                  <c:v>0.8870578913933306</c:v>
                </c:pt>
                <c:pt idx="12">
                  <c:v>0.8834798532655842</c:v>
                </c:pt>
                <c:pt idx="13">
                  <c:v>0.8788391369131416</c:v>
                </c:pt>
                <c:pt idx="14">
                  <c:v>0.877618565720305</c:v>
                </c:pt>
                <c:pt idx="15">
                  <c:v>0.875766173761923</c:v>
                </c:pt>
                <c:pt idx="16">
                  <c:v>0.8629072481234465</c:v>
                </c:pt>
                <c:pt idx="17">
                  <c:v>0.8656788848355419</c:v>
                </c:pt>
                <c:pt idx="18">
                  <c:v>0.8666063904659098</c:v>
                </c:pt>
                <c:pt idx="19">
                  <c:v>0.8507062888658674</c:v>
                </c:pt>
                <c:pt idx="20">
                  <c:v>0.8539339923407642</c:v>
                </c:pt>
                <c:pt idx="21">
                  <c:v>0.8681626116255484</c:v>
                </c:pt>
                <c:pt idx="22">
                  <c:v>0.8686449069680298</c:v>
                </c:pt>
                <c:pt idx="23">
                  <c:v>0.889904764898832</c:v>
                </c:pt>
                <c:pt idx="24">
                  <c:v>0.9013951465395451</c:v>
                </c:pt>
                <c:pt idx="25">
                  <c:v>0.9096610010539175</c:v>
                </c:pt>
                <c:pt idx="26">
                  <c:v>0.900859528838284</c:v>
                </c:pt>
                <c:pt idx="27">
                  <c:v>0.8806340701483931</c:v>
                </c:pt>
                <c:pt idx="28">
                  <c:v>0.8715631890558044</c:v>
                </c:pt>
                <c:pt idx="29">
                  <c:v>0.8682324794417312</c:v>
                </c:pt>
                <c:pt idx="30">
                  <c:v>0.8799508707597514</c:v>
                </c:pt>
                <c:pt idx="31">
                  <c:v>0.8974490430968611</c:v>
                </c:pt>
                <c:pt idx="32">
                  <c:v>0.8812454105769811</c:v>
                </c:pt>
                <c:pt idx="33">
                  <c:v>0.8745320675315833</c:v>
                </c:pt>
                <c:pt idx="34">
                  <c:v>0.8684552268102368</c:v>
                </c:pt>
                <c:pt idx="35">
                  <c:v>0.8724250461986683</c:v>
                </c:pt>
                <c:pt idx="36">
                  <c:v>0.8738850524419757</c:v>
                </c:pt>
                <c:pt idx="37">
                  <c:v>0.8655158125229279</c:v>
                </c:pt>
                <c:pt idx="38">
                  <c:v>0.875777658395321</c:v>
                </c:pt>
                <c:pt idx="39">
                  <c:v>0.8755870063696862</c:v>
                </c:pt>
                <c:pt idx="40">
                  <c:v>0.8763045174339597</c:v>
                </c:pt>
                <c:pt idx="41">
                  <c:v>0.8651508050360776</c:v>
                </c:pt>
                <c:pt idx="42">
                  <c:v>0.8684816805788067</c:v>
                </c:pt>
                <c:pt idx="43">
                  <c:v>0.8691974019840057</c:v>
                </c:pt>
                <c:pt idx="44">
                  <c:v>0.8715030754741795</c:v>
                </c:pt>
                <c:pt idx="45">
                  <c:v>0.8765262573784829</c:v>
                </c:pt>
                <c:pt idx="46">
                  <c:v>0.8795650155224914</c:v>
                </c:pt>
                <c:pt idx="47">
                  <c:v>0.8797962489565418</c:v>
                </c:pt>
                <c:pt idx="48">
                  <c:v>0.8830388623063764</c:v>
                </c:pt>
                <c:pt idx="49">
                  <c:v>0.8828491110363023</c:v>
                </c:pt>
                <c:pt idx="50">
                  <c:v>0.8972696860718747</c:v>
                </c:pt>
                <c:pt idx="51">
                  <c:v>0.8983001385811848</c:v>
                </c:pt>
                <c:pt idx="52">
                  <c:v>0.9013883037614776</c:v>
                </c:pt>
                <c:pt idx="53">
                  <c:v>0.9598876248013826</c:v>
                </c:pt>
                <c:pt idx="54">
                  <c:v>0.847649217335369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50.0"/>
          <c:min val="40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64491099954357"/>
          <c:min val="0.5903398926654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359985260986538</c:v>
                </c:pt>
                <c:pt idx="1">
                  <c:v>0.6258754250353523</c:v>
                </c:pt>
                <c:pt idx="2">
                  <c:v>0.5909512789984072</c:v>
                </c:pt>
                <c:pt idx="3">
                  <c:v>0.64019850764585</c:v>
                </c:pt>
                <c:pt idx="4">
                  <c:v>0.5534210491232381</c:v>
                </c:pt>
                <c:pt idx="5">
                  <c:v>0.527284487623856</c:v>
                </c:pt>
                <c:pt idx="6">
                  <c:v>0.48144328533651687</c:v>
                </c:pt>
                <c:pt idx="7">
                  <c:v>0.495844297975055</c:v>
                </c:pt>
                <c:pt idx="8">
                  <c:v>0.48973583543759225</c:v>
                </c:pt>
                <c:pt idx="9">
                  <c:v>0.6076101901682704</c:v>
                </c:pt>
                <c:pt idx="10">
                  <c:v>0.532161367710433</c:v>
                </c:pt>
                <c:pt idx="11">
                  <c:v>0.5515460147660874</c:v>
                </c:pt>
                <c:pt idx="12">
                  <c:v>0.5863537564018089</c:v>
                </c:pt>
                <c:pt idx="13">
                  <c:v>0.5227176372013944</c:v>
                </c:pt>
                <c:pt idx="14">
                  <c:v>0.5176829945583754</c:v>
                </c:pt>
                <c:pt idx="15">
                  <c:v>0.6029826519206898</c:v>
                </c:pt>
                <c:pt idx="16">
                  <c:v>0.5809922585803076</c:v>
                </c:pt>
                <c:pt idx="17">
                  <c:v>0.5951459183193113</c:v>
                </c:pt>
                <c:pt idx="18">
                  <c:v>0.46326451324728185</c:v>
                </c:pt>
                <c:pt idx="19">
                  <c:v>0.532521746204011</c:v>
                </c:pt>
                <c:pt idx="20">
                  <c:v>0.5752257498163661</c:v>
                </c:pt>
                <c:pt idx="21">
                  <c:v>0.5414416666639362</c:v>
                </c:pt>
                <c:pt idx="22">
                  <c:v>0.5974775845523135</c:v>
                </c:pt>
                <c:pt idx="23">
                  <c:v>0.5790220348489862</c:v>
                </c:pt>
                <c:pt idx="24">
                  <c:v>0.5857852500920301</c:v>
                </c:pt>
                <c:pt idx="25">
                  <c:v>0.45638713555755933</c:v>
                </c:pt>
                <c:pt idx="26">
                  <c:v>0.4227491523150618</c:v>
                </c:pt>
                <c:pt idx="27">
                  <c:v>0.5629474050820785</c:v>
                </c:pt>
                <c:pt idx="28">
                  <c:v>0.5709885645845015</c:v>
                </c:pt>
                <c:pt idx="29">
                  <c:v>0.5692391133016764</c:v>
                </c:pt>
                <c:pt idx="30">
                  <c:v>0.6455035020173409</c:v>
                </c:pt>
                <c:pt idx="31">
                  <c:v>0.6486959931986512</c:v>
                </c:pt>
                <c:pt idx="32">
                  <c:v>0.6174897391741208</c:v>
                </c:pt>
                <c:pt idx="33">
                  <c:v>0.502159472330578</c:v>
                </c:pt>
                <c:pt idx="34">
                  <c:v>0.47800484027377926</c:v>
                </c:pt>
                <c:pt idx="35">
                  <c:v>0.567417872042714</c:v>
                </c:pt>
                <c:pt idx="36">
                  <c:v>0.405664529624685</c:v>
                </c:pt>
                <c:pt idx="37">
                  <c:v>0.36188509339211006</c:v>
                </c:pt>
                <c:pt idx="38">
                  <c:v>0.4091687320930661</c:v>
                </c:pt>
                <c:pt idx="39">
                  <c:v>0.443724855264449</c:v>
                </c:pt>
                <c:pt idx="40">
                  <c:v>0.4332730532363911</c:v>
                </c:pt>
                <c:pt idx="41">
                  <c:v>0.379264335034572</c:v>
                </c:pt>
                <c:pt idx="42">
                  <c:v>0.5028843280611911</c:v>
                </c:pt>
                <c:pt idx="43">
                  <c:v>0.3740554012815605</c:v>
                </c:pt>
                <c:pt idx="44">
                  <c:v>0.5169508094966494</c:v>
                </c:pt>
                <c:pt idx="45">
                  <c:v>0.43967279789819774</c:v>
                </c:pt>
                <c:pt idx="46">
                  <c:v>0.42751639534384583</c:v>
                </c:pt>
                <c:pt idx="47">
                  <c:v>0.420728055833018</c:v>
                </c:pt>
                <c:pt idx="48">
                  <c:v>0.4918390513396356</c:v>
                </c:pt>
                <c:pt idx="49">
                  <c:v>0.33115185219130533</c:v>
                </c:pt>
                <c:pt idx="50">
                  <c:v>0.3336833764311325</c:v>
                </c:pt>
                <c:pt idx="51">
                  <c:v>0.33725464559181323</c:v>
                </c:pt>
                <c:pt idx="52">
                  <c:v>0.3442989367612943</c:v>
                </c:pt>
                <c:pt idx="53">
                  <c:v>0.3602123750094508</c:v>
                </c:pt>
                <c:pt idx="54">
                  <c:v>0.34944580978315926</c:v>
                </c:pt>
                <c:pt idx="55">
                  <c:v>0.3422534668584876</c:v>
                </c:pt>
                <c:pt idx="56">
                  <c:v>0.3492833394307688</c:v>
                </c:pt>
                <c:pt idx="57">
                  <c:v>0.32774744496865865</c:v>
                </c:pt>
                <c:pt idx="58">
                  <c:v>0.35004959953548126</c:v>
                </c:pt>
                <c:pt idx="59">
                  <c:v>0.3158681626105898</c:v>
                </c:pt>
                <c:pt idx="60">
                  <c:v>0.2992548573464615</c:v>
                </c:pt>
                <c:pt idx="61">
                  <c:v>0.3658591043038115</c:v>
                </c:pt>
                <c:pt idx="62">
                  <c:v>0.36697706629074917</c:v>
                </c:pt>
                <c:pt idx="63">
                  <c:v>0.3635159055761314</c:v>
                </c:pt>
                <c:pt idx="64">
                  <c:v>0.36144104179692105</c:v>
                </c:pt>
                <c:pt idx="65">
                  <c:v>0.36062504839458515</c:v>
                </c:pt>
                <c:pt idx="66">
                  <c:v>0.35584918640823165</c:v>
                </c:pt>
                <c:pt idx="67">
                  <c:v>0.3678847061008971</c:v>
                </c:pt>
                <c:pt idx="68">
                  <c:v>0.36801964496195744</c:v>
                </c:pt>
                <c:pt idx="69">
                  <c:v>0.35547698345789924</c:v>
                </c:pt>
                <c:pt idx="70">
                  <c:v>0.3469803945493717</c:v>
                </c:pt>
                <c:pt idx="71">
                  <c:v>0.314791421381923</c:v>
                </c:pt>
                <c:pt idx="72">
                  <c:v>0.30284161031540696</c:v>
                </c:pt>
                <c:pt idx="73">
                  <c:v>0.24281826062649634</c:v>
                </c:pt>
                <c:pt idx="74">
                  <c:v>0.1473124260725522</c:v>
                </c:pt>
                <c:pt idx="75">
                  <c:v>0.2527707371407461</c:v>
                </c:pt>
                <c:pt idx="76">
                  <c:v>0.26020098873061537</c:v>
                </c:pt>
                <c:pt idx="77">
                  <c:v>0.2932287672960182</c:v>
                </c:pt>
                <c:pt idx="78">
                  <c:v>0.3467241466071763</c:v>
                </c:pt>
                <c:pt idx="79">
                  <c:v>0.3621987412005907</c:v>
                </c:pt>
                <c:pt idx="80">
                  <c:v>0.3116982100862429</c:v>
                </c:pt>
                <c:pt idx="81">
                  <c:v>0.40880759957619195</c:v>
                </c:pt>
                <c:pt idx="82">
                  <c:v>0.44983455035731634</c:v>
                </c:pt>
                <c:pt idx="83">
                  <c:v>0.42613747108155003</c:v>
                </c:pt>
                <c:pt idx="84">
                  <c:v>0.36101823346672757</c:v>
                </c:pt>
                <c:pt idx="85">
                  <c:v>0.3915695890697368</c:v>
                </c:pt>
                <c:pt idx="86">
                  <c:v>0.38806517705493476</c:v>
                </c:pt>
                <c:pt idx="87">
                  <c:v>0.3969442795750332</c:v>
                </c:pt>
                <c:pt idx="88">
                  <c:v>0.4116299455093116</c:v>
                </c:pt>
                <c:pt idx="89">
                  <c:v>0.44638777851780626</c:v>
                </c:pt>
                <c:pt idx="90">
                  <c:v>0.5129666687951873</c:v>
                </c:pt>
                <c:pt idx="91">
                  <c:v>0.7288796287206176</c:v>
                </c:pt>
                <c:pt idx="92">
                  <c:v>0.5414529401557847</c:v>
                </c:pt>
                <c:pt idx="93">
                  <c:v>0.41695836933441605</c:v>
                </c:pt>
                <c:pt idx="94">
                  <c:v>0.48970960378068257</c:v>
                </c:pt>
                <c:pt idx="95">
                  <c:v>0.4571799987879821</c:v>
                </c:pt>
                <c:pt idx="96">
                  <c:v>0.4221564308986582</c:v>
                </c:pt>
                <c:pt idx="97">
                  <c:v>0.3835845758861205</c:v>
                </c:pt>
                <c:pt idx="98">
                  <c:v>0.3756298022252208</c:v>
                </c:pt>
                <c:pt idx="99">
                  <c:v>0.30994529263162435</c:v>
                </c:pt>
                <c:pt idx="100">
                  <c:v>0.31369862855096314</c:v>
                </c:pt>
                <c:pt idx="101">
                  <c:v>0.30698979615416305</c:v>
                </c:pt>
                <c:pt idx="102">
                  <c:v>0.3964982654062667</c:v>
                </c:pt>
                <c:pt idx="103">
                  <c:v>0.4242613416854174</c:v>
                </c:pt>
                <c:pt idx="104">
                  <c:v>0.4230471570835463</c:v>
                </c:pt>
              </c:numCache>
            </c:numRef>
          </c:xVal>
          <c:yVal>
            <c:numRef>
              <c:f>Sheet1!$B$2:$B$106</c:f>
              <c:numCache>
                <c:formatCode>General</c:formatCode>
                <c:ptCount val="105"/>
                <c:pt idx="0">
                  <c:v>0.03305785123966942</c:v>
                </c:pt>
                <c:pt idx="1">
                  <c:v>0.04779411764705882</c:v>
                </c:pt>
                <c:pt idx="2">
                  <c:v>0.06291390728476821</c:v>
                </c:pt>
                <c:pt idx="3">
                  <c:v>0.06504065040650407</c:v>
                </c:pt>
                <c:pt idx="4">
                  <c:v>0.07766990291262135</c:v>
                </c:pt>
                <c:pt idx="5">
                  <c:v>0.07531380753138076</c:v>
                </c:pt>
                <c:pt idx="6">
                  <c:v>0.13953488372093023</c:v>
                </c:pt>
                <c:pt idx="7">
                  <c:v>0.10569105691056911</c:v>
                </c:pt>
                <c:pt idx="8">
                  <c:v>0.10396039603960396</c:v>
                </c:pt>
                <c:pt idx="9">
                  <c:v>0.07692307692307693</c:v>
                </c:pt>
                <c:pt idx="10">
                  <c:v>0.13636363636363635</c:v>
                </c:pt>
                <c:pt idx="11">
                  <c:v>0.08532423208191127</c:v>
                </c:pt>
                <c:pt idx="12">
                  <c:v>0.09171597633136094</c:v>
                </c:pt>
                <c:pt idx="13">
                  <c:v>0.13358778625954199</c:v>
                </c:pt>
                <c:pt idx="14">
                  <c:v>0.15023474178403756</c:v>
                </c:pt>
                <c:pt idx="15">
                  <c:v>0.15606936416184972</c:v>
                </c:pt>
                <c:pt idx="16">
                  <c:v>0.07650273224043716</c:v>
                </c:pt>
                <c:pt idx="17">
                  <c:v>0.07142857142857142</c:v>
                </c:pt>
                <c:pt idx="18">
                  <c:v>0.10619469026548672</c:v>
                </c:pt>
                <c:pt idx="19">
                  <c:v>0.07</c:v>
                </c:pt>
                <c:pt idx="20">
                  <c:v>0.08609271523178808</c:v>
                </c:pt>
                <c:pt idx="21">
                  <c:v>0.0603448275862069</c:v>
                </c:pt>
                <c:pt idx="22">
                  <c:v>0.04716981132075472</c:v>
                </c:pt>
                <c:pt idx="23">
                  <c:v>0.09523809523809523</c:v>
                </c:pt>
                <c:pt idx="24">
                  <c:v>0.08264462809917356</c:v>
                </c:pt>
                <c:pt idx="25">
                  <c:v>0.11627906976744186</c:v>
                </c:pt>
                <c:pt idx="26">
                  <c:v>0.07207207207207207</c:v>
                </c:pt>
                <c:pt idx="27">
                  <c:v>0.09183673469387756</c:v>
                </c:pt>
                <c:pt idx="28">
                  <c:v>0.1111111111111111</c:v>
                </c:pt>
                <c:pt idx="29">
                  <c:v>0.13392857142857142</c:v>
                </c:pt>
                <c:pt idx="30">
                  <c:v>0.09333333333333334</c:v>
                </c:pt>
                <c:pt idx="31">
                  <c:v>0.05223880597014925</c:v>
                </c:pt>
                <c:pt idx="32">
                  <c:v>0.06666666666666667</c:v>
                </c:pt>
                <c:pt idx="33">
                  <c:v>0.12871287128712872</c:v>
                </c:pt>
                <c:pt idx="34">
                  <c:v>0.1223021582733813</c:v>
                </c:pt>
                <c:pt idx="35">
                  <c:v>0.09923664122137404</c:v>
                </c:pt>
                <c:pt idx="36">
                  <c:v>0.1476510067114094</c:v>
                </c:pt>
                <c:pt idx="37">
                  <c:v>0.168141592920354</c:v>
                </c:pt>
                <c:pt idx="38">
                  <c:v>0.1391304347826087</c:v>
                </c:pt>
                <c:pt idx="39">
                  <c:v>0.12264150943396226</c:v>
                </c:pt>
                <c:pt idx="40">
                  <c:v>0.1386861313868613</c:v>
                </c:pt>
                <c:pt idx="41">
                  <c:v>0.1092436974789916</c:v>
                </c:pt>
                <c:pt idx="42">
                  <c:v>0.1079136690647482</c:v>
                </c:pt>
                <c:pt idx="43">
                  <c:v>0.0880503144654088</c:v>
                </c:pt>
                <c:pt idx="44">
                  <c:v>0.10674157303370786</c:v>
                </c:pt>
                <c:pt idx="45">
                  <c:v>0.11834319526627218</c:v>
                </c:pt>
                <c:pt idx="46">
                  <c:v>0.125</c:v>
                </c:pt>
                <c:pt idx="47">
                  <c:v>0.12244897959183673</c:v>
                </c:pt>
                <c:pt idx="48">
                  <c:v>0.09855072463768116</c:v>
                </c:pt>
                <c:pt idx="49">
                  <c:v>0.6645220588235294</c:v>
                </c:pt>
                <c:pt idx="50">
                  <c:v>0.5382113821138211</c:v>
                </c:pt>
                <c:pt idx="51">
                  <c:v>0.5054229934924078</c:v>
                </c:pt>
                <c:pt idx="52">
                  <c:v>0.5344202898550725</c:v>
                </c:pt>
                <c:pt idx="53">
                  <c:v>0.581081081081081</c:v>
                </c:pt>
                <c:pt idx="54">
                  <c:v>0.5744047619047619</c:v>
                </c:pt>
                <c:pt idx="55">
                  <c:v>0.554140127388535</c:v>
                </c:pt>
                <c:pt idx="56">
                  <c:v>0.5289256198347108</c:v>
                </c:pt>
                <c:pt idx="57">
                  <c:v>0.5563549160671463</c:v>
                </c:pt>
                <c:pt idx="58">
                  <c:v>0.5072463768115942</c:v>
                </c:pt>
                <c:pt idx="59">
                  <c:v>0.5594405594405595</c:v>
                </c:pt>
                <c:pt idx="60">
                  <c:v>0.551490514905149</c:v>
                </c:pt>
                <c:pt idx="61">
                  <c:v>0.4528301886792453</c:v>
                </c:pt>
                <c:pt idx="62">
                  <c:v>0.45419103313840153</c:v>
                </c:pt>
                <c:pt idx="63">
                  <c:v>0.45907473309608543</c:v>
                </c:pt>
                <c:pt idx="64">
                  <c:v>0.4027777777777778</c:v>
                </c:pt>
                <c:pt idx="65">
                  <c:v>0.398</c:v>
                </c:pt>
                <c:pt idx="66">
                  <c:v>0.447265625</c:v>
                </c:pt>
                <c:pt idx="67">
                  <c:v>0.3525641025641026</c:v>
                </c:pt>
                <c:pt idx="68">
                  <c:v>0.33060109289617484</c:v>
                </c:pt>
                <c:pt idx="69">
                  <c:v>0.3425196850393701</c:v>
                </c:pt>
                <c:pt idx="70">
                  <c:v>0.2608695652173913</c:v>
                </c:pt>
                <c:pt idx="71">
                  <c:v>0.3333333333333333</c:v>
                </c:pt>
                <c:pt idx="72">
                  <c:v>0.3614864864864865</c:v>
                </c:pt>
                <c:pt idx="73">
                  <c:v>0.32</c:v>
                </c:pt>
                <c:pt idx="74">
                  <c:v>0.5139664804469274</c:v>
                </c:pt>
                <c:pt idx="75">
                  <c:v>0.36065573770491804</c:v>
                </c:pt>
                <c:pt idx="76">
                  <c:v>0.34523809523809523</c:v>
                </c:pt>
                <c:pt idx="77">
                  <c:v>0.2857142857142857</c:v>
                </c:pt>
                <c:pt idx="78">
                  <c:v>0.21238938053097345</c:v>
                </c:pt>
                <c:pt idx="79">
                  <c:v>0.2066115702479339</c:v>
                </c:pt>
                <c:pt idx="80">
                  <c:v>0.21019108280254778</c:v>
                </c:pt>
                <c:pt idx="81">
                  <c:v>0.13930348258706468</c:v>
                </c:pt>
                <c:pt idx="82">
                  <c:v>0.13380281690140844</c:v>
                </c:pt>
                <c:pt idx="83">
                  <c:v>0.14150943396226415</c:v>
                </c:pt>
                <c:pt idx="84">
                  <c:v>0.1346153846153846</c:v>
                </c:pt>
                <c:pt idx="85">
                  <c:v>0.2</c:v>
                </c:pt>
                <c:pt idx="86">
                  <c:v>0.21052631578947367</c:v>
                </c:pt>
                <c:pt idx="87">
                  <c:v>0.19047619047619047</c:v>
                </c:pt>
                <c:pt idx="88">
                  <c:v>0.2214765100671141</c:v>
                </c:pt>
                <c:pt idx="89">
                  <c:v>0.23577235772357724</c:v>
                </c:pt>
                <c:pt idx="90">
                  <c:v>0.2229299363057325</c:v>
                </c:pt>
                <c:pt idx="91">
                  <c:v>0.11055276381909548</c:v>
                </c:pt>
                <c:pt idx="92">
                  <c:v>0.16037735849056603</c:v>
                </c:pt>
                <c:pt idx="93">
                  <c:v>0.21390374331550802</c:v>
                </c:pt>
                <c:pt idx="94">
                  <c:v>0.16759776536312848</c:v>
                </c:pt>
                <c:pt idx="95">
                  <c:v>0.13917525773195877</c:v>
                </c:pt>
                <c:pt idx="96">
                  <c:v>0.12345679012345678</c:v>
                </c:pt>
                <c:pt idx="97">
                  <c:v>0.13230769230769232</c:v>
                </c:pt>
                <c:pt idx="98">
                  <c:v>0.16666666666666666</c:v>
                </c:pt>
                <c:pt idx="99">
                  <c:v>0.26369168356997974</c:v>
                </c:pt>
                <c:pt idx="100">
                  <c:v>0.23801652892561984</c:v>
                </c:pt>
                <c:pt idx="101">
                  <c:v>0.17574257425742573</c:v>
                </c:pt>
                <c:pt idx="102">
                  <c:v>0.10106382978723404</c:v>
                </c:pt>
                <c:pt idx="103">
                  <c:v>0.11046511627906977</c:v>
                </c:pt>
                <c:pt idx="104">
                  <c:v>0.0950819672131147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1962301698481186</c:v>
                </c:pt>
                <c:pt idx="1">
                  <c:v>0.27070950830368773</c:v>
                </c:pt>
                <c:pt idx="2">
                  <c:v>0.2579804709794514</c:v>
                </c:pt>
                <c:pt idx="3">
                  <c:v>0.2575021940011562</c:v>
                </c:pt>
                <c:pt idx="4">
                  <c:v>0.26374408235433455</c:v>
                </c:pt>
                <c:pt idx="5">
                  <c:v>0.28219718075777683</c:v>
                </c:pt>
                <c:pt idx="6">
                  <c:v>0.2766117037866048</c:v>
                </c:pt>
                <c:pt idx="7">
                  <c:v>0.2946269027340883</c:v>
                </c:pt>
                <c:pt idx="8">
                  <c:v>0.3128515121099075</c:v>
                </c:pt>
                <c:pt idx="9">
                  <c:v>0.30374142494373135</c:v>
                </c:pt>
                <c:pt idx="10">
                  <c:v>0.30971919963223415</c:v>
                </c:pt>
                <c:pt idx="11">
                  <c:v>0.21591829617907704</c:v>
                </c:pt>
                <c:pt idx="12">
                  <c:v>0.18520679705679902</c:v>
                </c:pt>
                <c:pt idx="13">
                  <c:v>0.19654045235432047</c:v>
                </c:pt>
                <c:pt idx="14">
                  <c:v>0.18952355120277836</c:v>
                </c:pt>
                <c:pt idx="15">
                  <c:v>0.1873023840985898</c:v>
                </c:pt>
                <c:pt idx="16">
                  <c:v>0.19127098064049447</c:v>
                </c:pt>
                <c:pt idx="17">
                  <c:v>0.18427681740540658</c:v>
                </c:pt>
                <c:pt idx="18">
                  <c:v>0.19046537354710918</c:v>
                </c:pt>
                <c:pt idx="19">
                  <c:v>0.19415532896602164</c:v>
                </c:pt>
                <c:pt idx="20">
                  <c:v>0.18516550843417118</c:v>
                </c:pt>
                <c:pt idx="21">
                  <c:v>0.22727497695060542</c:v>
                </c:pt>
                <c:pt idx="22">
                  <c:v>0.15646816048951026</c:v>
                </c:pt>
                <c:pt idx="23">
                  <c:v>0.14816218626868866</c:v>
                </c:pt>
                <c:pt idx="24">
                  <c:v>0.154661008057529</c:v>
                </c:pt>
                <c:pt idx="25">
                  <c:v>0.16972132629074574</c:v>
                </c:pt>
                <c:pt idx="26">
                  <c:v>0.19386639443011763</c:v>
                </c:pt>
                <c:pt idx="27">
                  <c:v>0.17914170639316193</c:v>
                </c:pt>
                <c:pt idx="28">
                  <c:v>0.2003279633360145</c:v>
                </c:pt>
                <c:pt idx="29">
                  <c:v>0.1924435546105711</c:v>
                </c:pt>
                <c:pt idx="30">
                  <c:v>0.26816197564182537</c:v>
                </c:pt>
                <c:pt idx="31">
                  <c:v>0.22584774250569534</c:v>
                </c:pt>
                <c:pt idx="32">
                  <c:v>0.22660857412884303</c:v>
                </c:pt>
                <c:pt idx="33">
                  <c:v>0.2501817348990144</c:v>
                </c:pt>
                <c:pt idx="34">
                  <c:v>0.4187916587372524</c:v>
                </c:pt>
                <c:pt idx="35">
                  <c:v>0.25276244471913817</c:v>
                </c:pt>
                <c:pt idx="36">
                  <c:v>0.22255454404393887</c:v>
                </c:pt>
                <c:pt idx="37">
                  <c:v>0.14661166563458608</c:v>
                </c:pt>
                <c:pt idx="38">
                  <c:v>0.1412488946061378</c:v>
                </c:pt>
                <c:pt idx="39">
                  <c:v>0.16541796045419743</c:v>
                </c:pt>
                <c:pt idx="40">
                  <c:v>0.16432830150056443</c:v>
                </c:pt>
                <c:pt idx="41">
                  <c:v>0.1660303641707856</c:v>
                </c:pt>
                <c:pt idx="42">
                  <c:v>0.22304522254581824</c:v>
                </c:pt>
                <c:pt idx="43">
                  <c:v>0.18706769242693488</c:v>
                </c:pt>
                <c:pt idx="44">
                  <c:v>0.18654396556201153</c:v>
                </c:pt>
                <c:pt idx="45">
                  <c:v>0.2132281568207936</c:v>
                </c:pt>
                <c:pt idx="46">
                  <c:v>0.18493138486387659</c:v>
                </c:pt>
                <c:pt idx="47">
                  <c:v>0.1365208924460575</c:v>
                </c:pt>
                <c:pt idx="48">
                  <c:v>0.21761259958876486</c:v>
                </c:pt>
                <c:pt idx="49">
                  <c:v>0.280921904974763</c:v>
                </c:pt>
                <c:pt idx="50">
                  <c:v>0.27199088952844114</c:v>
                </c:pt>
                <c:pt idx="51">
                  <c:v>0.2776919567044668</c:v>
                </c:pt>
              </c:numCache>
            </c:numRef>
          </c:xVal>
          <c:yVal>
            <c:numRef>
              <c:f>Sheet1!$B$109:$B$160</c:f>
              <c:numCache>
                <c:formatCode>General</c:formatCode>
                <c:ptCount val="52"/>
                <c:pt idx="0">
                  <c:v>0.10679611650485436</c:v>
                </c:pt>
                <c:pt idx="1">
                  <c:v>0.3696808510638298</c:v>
                </c:pt>
                <c:pt idx="2">
                  <c:v>0.4928131416837782</c:v>
                </c:pt>
                <c:pt idx="3">
                  <c:v>0.5355648535564853</c:v>
                </c:pt>
                <c:pt idx="4">
                  <c:v>0.4670781893004115</c:v>
                </c:pt>
                <c:pt idx="5">
                  <c:v>0.32432432432432434</c:v>
                </c:pt>
                <c:pt idx="6">
                  <c:v>0.3393574297188755</c:v>
                </c:pt>
                <c:pt idx="7">
                  <c:v>0.37275064267352187</c:v>
                </c:pt>
                <c:pt idx="8">
                  <c:v>0.2808988764044944</c:v>
                </c:pt>
                <c:pt idx="9">
                  <c:v>0.27543424317617865</c:v>
                </c:pt>
                <c:pt idx="10">
                  <c:v>0.2841648590021692</c:v>
                </c:pt>
                <c:pt idx="11">
                  <c:v>0.39850746268656717</c:v>
                </c:pt>
                <c:pt idx="12">
                  <c:v>0.4279210925644917</c:v>
                </c:pt>
                <c:pt idx="13">
                  <c:v>0.41742286751361163</c:v>
                </c:pt>
                <c:pt idx="14">
                  <c:v>0.42350332594235035</c:v>
                </c:pt>
                <c:pt idx="15">
                  <c:v>0.37073170731707317</c:v>
                </c:pt>
                <c:pt idx="16">
                  <c:v>0.3881019830028329</c:v>
                </c:pt>
                <c:pt idx="17">
                  <c:v>0.3333333333333333</c:v>
                </c:pt>
                <c:pt idx="18">
                  <c:v>0.36792452830188677</c:v>
                </c:pt>
                <c:pt idx="19">
                  <c:v>0.3524904214559387</c:v>
                </c:pt>
                <c:pt idx="20">
                  <c:v>0.33495145631067963</c:v>
                </c:pt>
                <c:pt idx="21">
                  <c:v>0.2</c:v>
                </c:pt>
                <c:pt idx="22">
                  <c:v>0.463519313304721</c:v>
                </c:pt>
                <c:pt idx="23">
                  <c:v>0.5708154506437768</c:v>
                </c:pt>
                <c:pt idx="24">
                  <c:v>0.4530612244897959</c:v>
                </c:pt>
                <c:pt idx="25">
                  <c:v>0.37264150943396224</c:v>
                </c:pt>
                <c:pt idx="26">
                  <c:v>0.23076923076923078</c:v>
                </c:pt>
                <c:pt idx="27">
                  <c:v>0.19078947368421054</c:v>
                </c:pt>
                <c:pt idx="28">
                  <c:v>0.18274111675126903</c:v>
                </c:pt>
                <c:pt idx="29">
                  <c:v>0.19078947368421054</c:v>
                </c:pt>
                <c:pt idx="30">
                  <c:v>0.14093959731543623</c:v>
                </c:pt>
                <c:pt idx="31">
                  <c:v>0.11627906976744186</c:v>
                </c:pt>
                <c:pt idx="32">
                  <c:v>0.1694915254237288</c:v>
                </c:pt>
                <c:pt idx="33">
                  <c:v>0.22613065326633167</c:v>
                </c:pt>
                <c:pt idx="34">
                  <c:v>0.14788732394366197</c:v>
                </c:pt>
                <c:pt idx="35">
                  <c:v>0.17316017316017315</c:v>
                </c:pt>
                <c:pt idx="36">
                  <c:v>0.17159763313609466</c:v>
                </c:pt>
                <c:pt idx="37">
                  <c:v>0.34615384615384615</c:v>
                </c:pt>
                <c:pt idx="38">
                  <c:v>0.44545454545454544</c:v>
                </c:pt>
                <c:pt idx="39">
                  <c:v>0.339041095890411</c:v>
                </c:pt>
                <c:pt idx="40">
                  <c:v>0.22887323943661972</c:v>
                </c:pt>
                <c:pt idx="41">
                  <c:v>0.21587301587301588</c:v>
                </c:pt>
                <c:pt idx="42">
                  <c:v>0.14878892733564014</c:v>
                </c:pt>
                <c:pt idx="43">
                  <c:v>0.14171122994652408</c:v>
                </c:pt>
                <c:pt idx="44">
                  <c:v>0.13131313131313133</c:v>
                </c:pt>
                <c:pt idx="45">
                  <c:v>0.1323529411764706</c:v>
                </c:pt>
                <c:pt idx="46">
                  <c:v>0.17455621301775148</c:v>
                </c:pt>
                <c:pt idx="47">
                  <c:v>0.17543859649122806</c:v>
                </c:pt>
                <c:pt idx="48">
                  <c:v>0.12465373961218837</c:v>
                </c:pt>
                <c:pt idx="49">
                  <c:v>0.10262008733624454</c:v>
                </c:pt>
                <c:pt idx="50">
                  <c:v>0.088</c:v>
                </c:pt>
                <c:pt idx="51">
                  <c:v>0.0856423173803526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6038952476446558</c:v>
                </c:pt>
              </c:numCache>
            </c:numRef>
          </c:xVal>
          <c:yVal>
            <c:numRef>
              <c:f>Sheet1!$B$163:$B$164</c:f>
              <c:numCache>
                <c:formatCode>General</c:formatCode>
                <c:ptCount val="2"/>
                <c:pt idx="0">
                  <c:v>0.51955472356585</c:v>
                </c:pt>
                <c:pt idx="1">
                  <c:v>0.5195547235658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6038952476446558</c:v>
                </c:pt>
                <c:pt idx="1">
                  <c:v>-0.16038952476446558</c:v>
                </c:pt>
              </c:numCache>
            </c:numRef>
          </c:xVal>
          <c:yVal>
            <c:numRef>
              <c:f>Sheet1!$B$167:$B$168</c:f>
              <c:numCache>
                <c:formatCode>General</c:formatCode>
                <c:ptCount val="2"/>
                <c:pt idx="0">
                  <c:v>0.519554723565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619356220418696</c:v>
                </c:pt>
              </c:numCache>
            </c:numRef>
          </c:xVal>
          <c:yVal>
            <c:numRef>
              <c:f>Sheet1!$B$171:$B$172</c:f>
              <c:numCache>
                <c:formatCode>General</c:formatCode>
                <c:ptCount val="2"/>
                <c:pt idx="0">
                  <c:v>0.3654738250256195</c:v>
                </c:pt>
                <c:pt idx="1">
                  <c:v>0.365473825025619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619356220418696</c:v>
                </c:pt>
                <c:pt idx="1">
                  <c:v>0.08619356220418696</c:v>
                </c:pt>
              </c:numCache>
            </c:numRef>
          </c:xVal>
          <c:yVal>
            <c:numRef>
              <c:f>Sheet1!$B$175:$B$176</c:f>
              <c:numCache>
                <c:formatCode>General</c:formatCode>
                <c:ptCount val="2"/>
                <c:pt idx="0">
                  <c:v>0.36547382502561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1393196891658907</c:v>
                </c:pt>
              </c:numCache>
            </c:numRef>
          </c:xVal>
          <c:yVal>
            <c:numRef>
              <c:f>Sheet1!$B$179:$B$180</c:f>
              <c:numCache>
                <c:formatCode>General</c:formatCode>
                <c:ptCount val="2"/>
                <c:pt idx="0">
                  <c:v>0.16068188729304442</c:v>
                </c:pt>
                <c:pt idx="1">
                  <c:v>0.1606818872930444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1393196891658907</c:v>
                </c:pt>
                <c:pt idx="1">
                  <c:v>0.41393196891658907</c:v>
                </c:pt>
              </c:numCache>
            </c:numRef>
          </c:xVal>
          <c:yVal>
            <c:numRef>
              <c:f>Sheet1!$B$183:$B$184</c:f>
              <c:numCache>
                <c:formatCode>General</c:formatCode>
                <c:ptCount val="2"/>
                <c:pt idx="0">
                  <c:v>0.1606818872930444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1962301698481186</c:v>
                </c:pt>
                <c:pt idx="1">
                  <c:v>0.27070950830368773</c:v>
                </c:pt>
                <c:pt idx="2">
                  <c:v>0.2579804709794514</c:v>
                </c:pt>
                <c:pt idx="3">
                  <c:v>0.2575021940011562</c:v>
                </c:pt>
                <c:pt idx="4">
                  <c:v>0.26374408235433455</c:v>
                </c:pt>
                <c:pt idx="5">
                  <c:v>0.28219718075777683</c:v>
                </c:pt>
                <c:pt idx="6">
                  <c:v>0.2766117037866048</c:v>
                </c:pt>
                <c:pt idx="7">
                  <c:v>0.2946269027340883</c:v>
                </c:pt>
                <c:pt idx="8">
                  <c:v>0.3128515121099075</c:v>
                </c:pt>
                <c:pt idx="9">
                  <c:v>0.30374142494373135</c:v>
                </c:pt>
                <c:pt idx="10">
                  <c:v>0.30971919963223415</c:v>
                </c:pt>
                <c:pt idx="11">
                  <c:v>0.21591829617907704</c:v>
                </c:pt>
                <c:pt idx="12">
                  <c:v>0.18520679705679902</c:v>
                </c:pt>
                <c:pt idx="13">
                  <c:v>0.19654045235432047</c:v>
                </c:pt>
                <c:pt idx="14">
                  <c:v>0.18952355120277836</c:v>
                </c:pt>
                <c:pt idx="15">
                  <c:v>0.1873023840985898</c:v>
                </c:pt>
                <c:pt idx="16">
                  <c:v>0.19127098064049447</c:v>
                </c:pt>
                <c:pt idx="17">
                  <c:v>0.18427681740540658</c:v>
                </c:pt>
                <c:pt idx="18">
                  <c:v>0.19046537354710918</c:v>
                </c:pt>
                <c:pt idx="19">
                  <c:v>0.19415532896602164</c:v>
                </c:pt>
                <c:pt idx="20">
                  <c:v>0.18516550843417118</c:v>
                </c:pt>
                <c:pt idx="21">
                  <c:v>0.22727497695060542</c:v>
                </c:pt>
                <c:pt idx="22">
                  <c:v>0.15646816048951026</c:v>
                </c:pt>
                <c:pt idx="23">
                  <c:v>0.14816218626868866</c:v>
                </c:pt>
                <c:pt idx="24">
                  <c:v>0.154661008057529</c:v>
                </c:pt>
                <c:pt idx="25">
                  <c:v>0.16972132629074574</c:v>
                </c:pt>
                <c:pt idx="26">
                  <c:v>0.19386639443011763</c:v>
                </c:pt>
                <c:pt idx="27">
                  <c:v>0.17914170639316193</c:v>
                </c:pt>
                <c:pt idx="28">
                  <c:v>0.2003279633360145</c:v>
                </c:pt>
                <c:pt idx="29">
                  <c:v>0.1924435546105711</c:v>
                </c:pt>
                <c:pt idx="30">
                  <c:v>0.26816197564182537</c:v>
                </c:pt>
                <c:pt idx="31">
                  <c:v>0.22584774250569534</c:v>
                </c:pt>
                <c:pt idx="32">
                  <c:v>0.22660857412884303</c:v>
                </c:pt>
                <c:pt idx="33">
                  <c:v>0.2501817348990144</c:v>
                </c:pt>
                <c:pt idx="34">
                  <c:v>0.4187916587372524</c:v>
                </c:pt>
                <c:pt idx="35">
                  <c:v>0.25276244471913817</c:v>
                </c:pt>
                <c:pt idx="36">
                  <c:v>0.22255454404393887</c:v>
                </c:pt>
                <c:pt idx="37">
                  <c:v>0.14661166563458608</c:v>
                </c:pt>
                <c:pt idx="38">
                  <c:v>0.1412488946061378</c:v>
                </c:pt>
                <c:pt idx="39">
                  <c:v>0.16541796045419743</c:v>
                </c:pt>
                <c:pt idx="40">
                  <c:v>0.16432830150056443</c:v>
                </c:pt>
                <c:pt idx="41">
                  <c:v>0.1660303641707856</c:v>
                </c:pt>
                <c:pt idx="42">
                  <c:v>0.22304522254581824</c:v>
                </c:pt>
                <c:pt idx="43">
                  <c:v>0.18706769242693488</c:v>
                </c:pt>
                <c:pt idx="44">
                  <c:v>0.18654396556201153</c:v>
                </c:pt>
                <c:pt idx="45">
                  <c:v>0.2132281568207936</c:v>
                </c:pt>
                <c:pt idx="46">
                  <c:v>0.18493138486387659</c:v>
                </c:pt>
                <c:pt idx="47">
                  <c:v>0.1365208924460575</c:v>
                </c:pt>
                <c:pt idx="48">
                  <c:v>0.21761259958876486</c:v>
                </c:pt>
                <c:pt idx="49">
                  <c:v>0.280921904974763</c:v>
                </c:pt>
                <c:pt idx="50">
                  <c:v>0.27199088952844114</c:v>
                </c:pt>
                <c:pt idx="51">
                  <c:v>0.2776919567044668</c:v>
                </c:pt>
                <c:pt idx="52">
                  <c:v>0.08619356220418696</c:v>
                </c:pt>
                <c:pt idx="53">
                  <c:v>-0.16038952476446558</c:v>
                </c:pt>
                <c:pt idx="54">
                  <c:v>0.41393196891658907</c:v>
                </c:pt>
              </c:numCache>
            </c:numRef>
          </c:xVal>
          <c:yVal>
            <c:numRef>
              <c:f>Sheet1!$B$187:$B$241</c:f>
              <c:numCache>
                <c:formatCode>General</c:formatCode>
                <c:ptCount val="55"/>
                <c:pt idx="0">
                  <c:v>0.15712575612943835</c:v>
                </c:pt>
                <c:pt idx="1">
                  <c:v>0.2501764495262767</c:v>
                </c:pt>
                <c:pt idx="2">
                  <c:v>0.2581303669363536</c:v>
                </c:pt>
                <c:pt idx="3">
                  <c:v>0.25842922501081755</c:v>
                </c:pt>
                <c:pt idx="4">
                  <c:v>0.2545288935733748</c:v>
                </c:pt>
                <c:pt idx="5">
                  <c:v>0.24299821635699648</c:v>
                </c:pt>
                <c:pt idx="6">
                  <c:v>0.24648837994069495</c:v>
                </c:pt>
                <c:pt idx="7">
                  <c:v>0.235231330337929</c:v>
                </c:pt>
                <c:pt idx="8">
                  <c:v>0.2238434276934629</c:v>
                </c:pt>
                <c:pt idx="9">
                  <c:v>0.22953599336615518</c:v>
                </c:pt>
                <c:pt idx="10">
                  <c:v>0.22580069705447972</c:v>
                </c:pt>
                <c:pt idx="11">
                  <c:v>0.284413506495807</c:v>
                </c:pt>
                <c:pt idx="12">
                  <c:v>0.3036040172419056</c:v>
                </c:pt>
                <c:pt idx="13">
                  <c:v>0.296522023851948</c:v>
                </c:pt>
                <c:pt idx="14">
                  <c:v>0.3009066329007228</c:v>
                </c:pt>
                <c:pt idx="15">
                  <c:v>0.30229456030251123</c:v>
                </c:pt>
                <c:pt idx="16">
                  <c:v>0.29981472712077295</c:v>
                </c:pt>
                <c:pt idx="17">
                  <c:v>0.304185128063707</c:v>
                </c:pt>
                <c:pt idx="18">
                  <c:v>0.30031812200622576</c:v>
                </c:pt>
                <c:pt idx="19">
                  <c:v>0.2980124016362326</c:v>
                </c:pt>
                <c:pt idx="20">
                  <c:v>0.30362981701654623</c:v>
                </c:pt>
                <c:pt idx="21">
                  <c:v>0.2773171253156407</c:v>
                </c:pt>
                <c:pt idx="22">
                  <c:v>0.3215617571645626</c:v>
                </c:pt>
                <c:pt idx="23">
                  <c:v>0.32675186159114433</c:v>
                </c:pt>
                <c:pt idx="24">
                  <c:v>0.32269098169468713</c:v>
                </c:pt>
                <c:pt idx="25">
                  <c:v>0.31328033072830175</c:v>
                </c:pt>
                <c:pt idx="26">
                  <c:v>0.2981929464313306</c:v>
                </c:pt>
                <c:pt idx="27">
                  <c:v>0.3073938741646554</c:v>
                </c:pt>
                <c:pt idx="28">
                  <c:v>0.29415534452099856</c:v>
                </c:pt>
                <c:pt idx="29">
                  <c:v>0.29908202783820914</c:v>
                </c:pt>
                <c:pt idx="30">
                  <c:v>0.25176831102183117</c:v>
                </c:pt>
                <c:pt idx="31">
                  <c:v>0.2782089527657824</c:v>
                </c:pt>
                <c:pt idx="32">
                  <c:v>0.2777335364605784</c:v>
                </c:pt>
                <c:pt idx="33">
                  <c:v>0.2630035165003568</c:v>
                </c:pt>
                <c:pt idx="34">
                  <c:v>0.15764524198456142</c:v>
                </c:pt>
                <c:pt idx="35">
                  <c:v>0.26139092379237916</c:v>
                </c:pt>
                <c:pt idx="36">
                  <c:v>0.28026675398928336</c:v>
                </c:pt>
                <c:pt idx="37">
                  <c:v>0.3277207261448518</c:v>
                </c:pt>
                <c:pt idx="38">
                  <c:v>0.33107172879830576</c:v>
                </c:pt>
                <c:pt idx="39">
                  <c:v>0.31596934919665676</c:v>
                </c:pt>
                <c:pt idx="40">
                  <c:v>0.31665023786887747</c:v>
                </c:pt>
                <c:pt idx="41">
                  <c:v>0.3155866801495567</c:v>
                </c:pt>
                <c:pt idx="42">
                  <c:v>0.27996014664896096</c:v>
                </c:pt>
                <c:pt idx="43">
                  <c:v>0.3024412106834966</c:v>
                </c:pt>
                <c:pt idx="44">
                  <c:v>0.3027684687567452</c:v>
                </c:pt>
                <c:pt idx="45">
                  <c:v>0.2860944777847074</c:v>
                </c:pt>
                <c:pt idx="46">
                  <c:v>0.3037761124114329</c:v>
                </c:pt>
                <c:pt idx="47">
                  <c:v>0.3340260872260512</c:v>
                </c:pt>
                <c:pt idx="48">
                  <c:v>0.2833547972592012</c:v>
                </c:pt>
                <c:pt idx="49">
                  <c:v>0.2437950903070673</c:v>
                </c:pt>
                <c:pt idx="50">
                  <c:v>0.2493757605053477</c:v>
                </c:pt>
                <c:pt idx="51">
                  <c:v>0.2458133687617813</c:v>
                </c:pt>
                <c:pt idx="52">
                  <c:v>0.3654738250256195</c:v>
                </c:pt>
                <c:pt idx="53">
                  <c:v>0.51955472356585</c:v>
                </c:pt>
                <c:pt idx="54">
                  <c:v>0.1606818872930444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Photoderm</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74264705882353"/>
          <c:min val="0.0264462809917355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323.0</c:v>
                </c:pt>
                <c:pt idx="1">
                  <c:v>1306.4615</c:v>
                </c:pt>
                <c:pt idx="2">
                  <c:v>1226.1053</c:v>
                </c:pt>
                <c:pt idx="3">
                  <c:v>1353.75</c:v>
                </c:pt>
                <c:pt idx="4">
                  <c:v>1199.6875</c:v>
                </c:pt>
                <c:pt idx="5">
                  <c:v>1124.8889</c:v>
                </c:pt>
                <c:pt idx="6">
                  <c:v>1008.5</c:v>
                </c:pt>
                <c:pt idx="7">
                  <c:v>1024.8462</c:v>
                </c:pt>
                <c:pt idx="8">
                  <c:v>1087.4762</c:v>
                </c:pt>
                <c:pt idx="9">
                  <c:v>1320.8333</c:v>
                </c:pt>
                <c:pt idx="10">
                  <c:v>1151.6667</c:v>
                </c:pt>
                <c:pt idx="11">
                  <c:v>1215.68</c:v>
                </c:pt>
                <c:pt idx="12">
                  <c:v>1271.7419</c:v>
                </c:pt>
                <c:pt idx="13">
                  <c:v>1155.2571</c:v>
                </c:pt>
                <c:pt idx="14">
                  <c:v>1143.7188</c:v>
                </c:pt>
                <c:pt idx="15">
                  <c:v>1357.963</c:v>
                </c:pt>
                <c:pt idx="16">
                  <c:v>1311.2857</c:v>
                </c:pt>
                <c:pt idx="17">
                  <c:v>1397.0</c:v>
                </c:pt>
                <c:pt idx="18">
                  <c:v>1119.0833</c:v>
                </c:pt>
                <c:pt idx="19">
                  <c:v>1246.4286</c:v>
                </c:pt>
                <c:pt idx="20">
                  <c:v>1388.3846</c:v>
                </c:pt>
                <c:pt idx="21">
                  <c:v>1322.0</c:v>
                </c:pt>
                <c:pt idx="22">
                  <c:v>1488.0</c:v>
                </c:pt>
                <c:pt idx="23">
                  <c:v>1369.25</c:v>
                </c:pt>
                <c:pt idx="24">
                  <c:v>1380.6</c:v>
                </c:pt>
                <c:pt idx="25">
                  <c:v>1138.8</c:v>
                </c:pt>
                <c:pt idx="26">
                  <c:v>1015.0</c:v>
                </c:pt>
                <c:pt idx="27">
                  <c:v>1360.3333</c:v>
                </c:pt>
                <c:pt idx="28">
                  <c:v>1318.8333</c:v>
                </c:pt>
                <c:pt idx="29">
                  <c:v>1288.5333</c:v>
                </c:pt>
                <c:pt idx="30">
                  <c:v>1505.2857</c:v>
                </c:pt>
                <c:pt idx="31">
                  <c:v>1446.0</c:v>
                </c:pt>
                <c:pt idx="32">
                  <c:v>1382.5</c:v>
                </c:pt>
                <c:pt idx="33">
                  <c:v>1086.6154</c:v>
                </c:pt>
                <c:pt idx="34">
                  <c:v>1070.1765</c:v>
                </c:pt>
                <c:pt idx="35">
                  <c:v>1287.9231</c:v>
                </c:pt>
                <c:pt idx="36">
                  <c:v>909.1364</c:v>
                </c:pt>
                <c:pt idx="37">
                  <c:v>842.3684</c:v>
                </c:pt>
                <c:pt idx="38">
                  <c:v>964.1875</c:v>
                </c:pt>
                <c:pt idx="39">
                  <c:v>1020.6154</c:v>
                </c:pt>
                <c:pt idx="40">
                  <c:v>999.6842</c:v>
                </c:pt>
                <c:pt idx="41">
                  <c:v>833.6923</c:v>
                </c:pt>
                <c:pt idx="42">
                  <c:v>1163.0667</c:v>
                </c:pt>
                <c:pt idx="43">
                  <c:v>877.4286</c:v>
                </c:pt>
                <c:pt idx="44">
                  <c:v>1212.7895</c:v>
                </c:pt>
                <c:pt idx="45">
                  <c:v>1202.75</c:v>
                </c:pt>
                <c:pt idx="46">
                  <c:v>1160.2609</c:v>
                </c:pt>
                <c:pt idx="47">
                  <c:v>1132.75</c:v>
                </c:pt>
                <c:pt idx="48">
                  <c:v>1295.6765</c:v>
                </c:pt>
                <c:pt idx="49">
                  <c:v>850.1687</c:v>
                </c:pt>
                <c:pt idx="50">
                  <c:v>873.6344</c:v>
                </c:pt>
                <c:pt idx="51">
                  <c:v>892.9957</c:v>
                </c:pt>
                <c:pt idx="52">
                  <c:v>896.3525</c:v>
                </c:pt>
                <c:pt idx="53">
                  <c:v>899.5039</c:v>
                </c:pt>
                <c:pt idx="54">
                  <c:v>910.5803</c:v>
                </c:pt>
                <c:pt idx="55">
                  <c:v>919.3563</c:v>
                </c:pt>
                <c:pt idx="56">
                  <c:v>905.1771</c:v>
                </c:pt>
                <c:pt idx="57">
                  <c:v>857.1164</c:v>
                </c:pt>
                <c:pt idx="58">
                  <c:v>882.225</c:v>
                </c:pt>
                <c:pt idx="59">
                  <c:v>803.5458</c:v>
                </c:pt>
                <c:pt idx="60">
                  <c:v>788.8133</c:v>
                </c:pt>
                <c:pt idx="61">
                  <c:v>944.3208</c:v>
                </c:pt>
                <c:pt idx="62">
                  <c:v>920.4034</c:v>
                </c:pt>
                <c:pt idx="63">
                  <c:v>942.1783</c:v>
                </c:pt>
                <c:pt idx="64">
                  <c:v>940.2241</c:v>
                </c:pt>
                <c:pt idx="65">
                  <c:v>942.6482</c:v>
                </c:pt>
                <c:pt idx="66">
                  <c:v>923.1878</c:v>
                </c:pt>
                <c:pt idx="67">
                  <c:v>945.0485</c:v>
                </c:pt>
                <c:pt idx="68">
                  <c:v>948.6364</c:v>
                </c:pt>
                <c:pt idx="69">
                  <c:v>962.3908</c:v>
                </c:pt>
                <c:pt idx="70">
                  <c:v>900.8788</c:v>
                </c:pt>
                <c:pt idx="71">
                  <c:v>826.9457</c:v>
                </c:pt>
                <c:pt idx="72">
                  <c:v>789.4486</c:v>
                </c:pt>
                <c:pt idx="73">
                  <c:v>629.6979</c:v>
                </c:pt>
                <c:pt idx="74">
                  <c:v>384.9076</c:v>
                </c:pt>
                <c:pt idx="75">
                  <c:v>679.4394</c:v>
                </c:pt>
                <c:pt idx="76">
                  <c:v>697.9655</c:v>
                </c:pt>
                <c:pt idx="77">
                  <c:v>788.1087</c:v>
                </c:pt>
                <c:pt idx="78">
                  <c:v>946.7083</c:v>
                </c:pt>
                <c:pt idx="79">
                  <c:v>1010.52</c:v>
                </c:pt>
                <c:pt idx="80">
                  <c:v>848.4242</c:v>
                </c:pt>
                <c:pt idx="81">
                  <c:v>1063.5357</c:v>
                </c:pt>
                <c:pt idx="82">
                  <c:v>1207.8947</c:v>
                </c:pt>
                <c:pt idx="83">
                  <c:v>1178.8667</c:v>
                </c:pt>
                <c:pt idx="84">
                  <c:v>1010.7143</c:v>
                </c:pt>
                <c:pt idx="85">
                  <c:v>1076.88</c:v>
                </c:pt>
                <c:pt idx="86">
                  <c:v>1074.7188</c:v>
                </c:pt>
                <c:pt idx="87">
                  <c:v>1109.9167</c:v>
                </c:pt>
                <c:pt idx="88">
                  <c:v>1188.303</c:v>
                </c:pt>
                <c:pt idx="89">
                  <c:v>1208.5517</c:v>
                </c:pt>
                <c:pt idx="90">
                  <c:v>1257.2</c:v>
                </c:pt>
                <c:pt idx="91">
                  <c:v>1281.4545</c:v>
                </c:pt>
                <c:pt idx="92">
                  <c:v>1093.4118</c:v>
                </c:pt>
                <c:pt idx="93">
                  <c:v>1010.225</c:v>
                </c:pt>
                <c:pt idx="94">
                  <c:v>1149.9</c:v>
                </c:pt>
                <c:pt idx="95">
                  <c:v>1103.7037</c:v>
                </c:pt>
                <c:pt idx="96">
                  <c:v>1099.8333</c:v>
                </c:pt>
                <c:pt idx="97">
                  <c:v>1006.2326</c:v>
                </c:pt>
                <c:pt idx="98">
                  <c:v>981.3279</c:v>
                </c:pt>
                <c:pt idx="99">
                  <c:v>798.9846</c:v>
                </c:pt>
                <c:pt idx="100">
                  <c:v>812.8333</c:v>
                </c:pt>
                <c:pt idx="101">
                  <c:v>817.0282</c:v>
                </c:pt>
                <c:pt idx="102">
                  <c:v>1070.5789</c:v>
                </c:pt>
                <c:pt idx="103">
                  <c:v>1131.0</c:v>
                </c:pt>
                <c:pt idx="104">
                  <c:v>1112.7241</c:v>
                </c:pt>
              </c:numCache>
            </c:numRef>
          </c:xVal>
          <c:yVal>
            <c:numRef>
              <c:f>Sheet1!$B$2:$B$106</c:f>
              <c:numCache>
                <c:formatCode>General</c:formatCode>
                <c:ptCount val="105"/>
                <c:pt idx="0">
                  <c:v>0.03305785123966942</c:v>
                </c:pt>
                <c:pt idx="1">
                  <c:v>0.04779411764705882</c:v>
                </c:pt>
                <c:pt idx="2">
                  <c:v>0.06291390728476821</c:v>
                </c:pt>
                <c:pt idx="3">
                  <c:v>0.06504065040650407</c:v>
                </c:pt>
                <c:pt idx="4">
                  <c:v>0.07766990291262135</c:v>
                </c:pt>
                <c:pt idx="5">
                  <c:v>0.07531380753138076</c:v>
                </c:pt>
                <c:pt idx="6">
                  <c:v>0.13953488372093023</c:v>
                </c:pt>
                <c:pt idx="7">
                  <c:v>0.10569105691056911</c:v>
                </c:pt>
                <c:pt idx="8">
                  <c:v>0.10396039603960396</c:v>
                </c:pt>
                <c:pt idx="9">
                  <c:v>0.07692307692307693</c:v>
                </c:pt>
                <c:pt idx="10">
                  <c:v>0.13636363636363635</c:v>
                </c:pt>
                <c:pt idx="11">
                  <c:v>0.08532423208191127</c:v>
                </c:pt>
                <c:pt idx="12">
                  <c:v>0.09171597633136094</c:v>
                </c:pt>
                <c:pt idx="13">
                  <c:v>0.13358778625954199</c:v>
                </c:pt>
                <c:pt idx="14">
                  <c:v>0.15023474178403756</c:v>
                </c:pt>
                <c:pt idx="15">
                  <c:v>0.15606936416184972</c:v>
                </c:pt>
                <c:pt idx="16">
                  <c:v>0.07650273224043716</c:v>
                </c:pt>
                <c:pt idx="17">
                  <c:v>0.07142857142857142</c:v>
                </c:pt>
                <c:pt idx="18">
                  <c:v>0.10619469026548672</c:v>
                </c:pt>
                <c:pt idx="19">
                  <c:v>0.07</c:v>
                </c:pt>
                <c:pt idx="20">
                  <c:v>0.08609271523178808</c:v>
                </c:pt>
                <c:pt idx="21">
                  <c:v>0.0603448275862069</c:v>
                </c:pt>
                <c:pt idx="22">
                  <c:v>0.04716981132075472</c:v>
                </c:pt>
                <c:pt idx="23">
                  <c:v>0.09523809523809523</c:v>
                </c:pt>
                <c:pt idx="24">
                  <c:v>0.08264462809917356</c:v>
                </c:pt>
                <c:pt idx="25">
                  <c:v>0.11627906976744186</c:v>
                </c:pt>
                <c:pt idx="26">
                  <c:v>0.07207207207207207</c:v>
                </c:pt>
                <c:pt idx="27">
                  <c:v>0.09183673469387756</c:v>
                </c:pt>
                <c:pt idx="28">
                  <c:v>0.1111111111111111</c:v>
                </c:pt>
                <c:pt idx="29">
                  <c:v>0.13392857142857142</c:v>
                </c:pt>
                <c:pt idx="30">
                  <c:v>0.09333333333333334</c:v>
                </c:pt>
                <c:pt idx="31">
                  <c:v>0.05223880597014925</c:v>
                </c:pt>
                <c:pt idx="32">
                  <c:v>0.06666666666666667</c:v>
                </c:pt>
                <c:pt idx="33">
                  <c:v>0.12871287128712872</c:v>
                </c:pt>
                <c:pt idx="34">
                  <c:v>0.1223021582733813</c:v>
                </c:pt>
                <c:pt idx="35">
                  <c:v>0.09923664122137404</c:v>
                </c:pt>
                <c:pt idx="36">
                  <c:v>0.1476510067114094</c:v>
                </c:pt>
                <c:pt idx="37">
                  <c:v>0.168141592920354</c:v>
                </c:pt>
                <c:pt idx="38">
                  <c:v>0.1391304347826087</c:v>
                </c:pt>
                <c:pt idx="39">
                  <c:v>0.12264150943396226</c:v>
                </c:pt>
                <c:pt idx="40">
                  <c:v>0.1386861313868613</c:v>
                </c:pt>
                <c:pt idx="41">
                  <c:v>0.1092436974789916</c:v>
                </c:pt>
                <c:pt idx="42">
                  <c:v>0.1079136690647482</c:v>
                </c:pt>
                <c:pt idx="43">
                  <c:v>0.0880503144654088</c:v>
                </c:pt>
                <c:pt idx="44">
                  <c:v>0.10674157303370786</c:v>
                </c:pt>
                <c:pt idx="45">
                  <c:v>0.11834319526627218</c:v>
                </c:pt>
                <c:pt idx="46">
                  <c:v>0.125</c:v>
                </c:pt>
                <c:pt idx="47">
                  <c:v>0.12244897959183673</c:v>
                </c:pt>
                <c:pt idx="48">
                  <c:v>0.09855072463768116</c:v>
                </c:pt>
                <c:pt idx="49">
                  <c:v>0.6645220588235294</c:v>
                </c:pt>
                <c:pt idx="50">
                  <c:v>0.5382113821138211</c:v>
                </c:pt>
                <c:pt idx="51">
                  <c:v>0.5054229934924078</c:v>
                </c:pt>
                <c:pt idx="52">
                  <c:v>0.5344202898550725</c:v>
                </c:pt>
                <c:pt idx="53">
                  <c:v>0.581081081081081</c:v>
                </c:pt>
                <c:pt idx="54">
                  <c:v>0.5744047619047619</c:v>
                </c:pt>
                <c:pt idx="55">
                  <c:v>0.554140127388535</c:v>
                </c:pt>
                <c:pt idx="56">
                  <c:v>0.5289256198347108</c:v>
                </c:pt>
                <c:pt idx="57">
                  <c:v>0.5563549160671463</c:v>
                </c:pt>
                <c:pt idx="58">
                  <c:v>0.5072463768115942</c:v>
                </c:pt>
                <c:pt idx="59">
                  <c:v>0.5594405594405595</c:v>
                </c:pt>
                <c:pt idx="60">
                  <c:v>0.551490514905149</c:v>
                </c:pt>
                <c:pt idx="61">
                  <c:v>0.4528301886792453</c:v>
                </c:pt>
                <c:pt idx="62">
                  <c:v>0.45419103313840153</c:v>
                </c:pt>
                <c:pt idx="63">
                  <c:v>0.45907473309608543</c:v>
                </c:pt>
                <c:pt idx="64">
                  <c:v>0.4027777777777778</c:v>
                </c:pt>
                <c:pt idx="65">
                  <c:v>0.398</c:v>
                </c:pt>
                <c:pt idx="66">
                  <c:v>0.447265625</c:v>
                </c:pt>
                <c:pt idx="67">
                  <c:v>0.3525641025641026</c:v>
                </c:pt>
                <c:pt idx="68">
                  <c:v>0.33060109289617484</c:v>
                </c:pt>
                <c:pt idx="69">
                  <c:v>0.3425196850393701</c:v>
                </c:pt>
                <c:pt idx="70">
                  <c:v>0.2608695652173913</c:v>
                </c:pt>
                <c:pt idx="71">
                  <c:v>0.3333333333333333</c:v>
                </c:pt>
                <c:pt idx="72">
                  <c:v>0.3614864864864865</c:v>
                </c:pt>
                <c:pt idx="73">
                  <c:v>0.32</c:v>
                </c:pt>
                <c:pt idx="74">
                  <c:v>0.5139664804469274</c:v>
                </c:pt>
                <c:pt idx="75">
                  <c:v>0.36065573770491804</c:v>
                </c:pt>
                <c:pt idx="76">
                  <c:v>0.34523809523809523</c:v>
                </c:pt>
                <c:pt idx="77">
                  <c:v>0.2857142857142857</c:v>
                </c:pt>
                <c:pt idx="78">
                  <c:v>0.21238938053097345</c:v>
                </c:pt>
                <c:pt idx="79">
                  <c:v>0.2066115702479339</c:v>
                </c:pt>
                <c:pt idx="80">
                  <c:v>0.21019108280254778</c:v>
                </c:pt>
                <c:pt idx="81">
                  <c:v>0.13930348258706468</c:v>
                </c:pt>
                <c:pt idx="82">
                  <c:v>0.13380281690140844</c:v>
                </c:pt>
                <c:pt idx="83">
                  <c:v>0.14150943396226415</c:v>
                </c:pt>
                <c:pt idx="84">
                  <c:v>0.1346153846153846</c:v>
                </c:pt>
                <c:pt idx="85">
                  <c:v>0.2</c:v>
                </c:pt>
                <c:pt idx="86">
                  <c:v>0.21052631578947367</c:v>
                </c:pt>
                <c:pt idx="87">
                  <c:v>0.19047619047619047</c:v>
                </c:pt>
                <c:pt idx="88">
                  <c:v>0.2214765100671141</c:v>
                </c:pt>
                <c:pt idx="89">
                  <c:v>0.23577235772357724</c:v>
                </c:pt>
                <c:pt idx="90">
                  <c:v>0.2229299363057325</c:v>
                </c:pt>
                <c:pt idx="91">
                  <c:v>0.11055276381909548</c:v>
                </c:pt>
                <c:pt idx="92">
                  <c:v>0.16037735849056603</c:v>
                </c:pt>
                <c:pt idx="93">
                  <c:v>0.21390374331550802</c:v>
                </c:pt>
                <c:pt idx="94">
                  <c:v>0.16759776536312848</c:v>
                </c:pt>
                <c:pt idx="95">
                  <c:v>0.13917525773195877</c:v>
                </c:pt>
                <c:pt idx="96">
                  <c:v>0.12345679012345678</c:v>
                </c:pt>
                <c:pt idx="97">
                  <c:v>0.13230769230769232</c:v>
                </c:pt>
                <c:pt idx="98">
                  <c:v>0.16666666666666666</c:v>
                </c:pt>
                <c:pt idx="99">
                  <c:v>0.26369168356997974</c:v>
                </c:pt>
                <c:pt idx="100">
                  <c:v>0.23801652892561984</c:v>
                </c:pt>
                <c:pt idx="101">
                  <c:v>0.17574257425742573</c:v>
                </c:pt>
                <c:pt idx="102">
                  <c:v>0.10106382978723404</c:v>
                </c:pt>
                <c:pt idx="103">
                  <c:v>0.11046511627906977</c:v>
                </c:pt>
                <c:pt idx="104">
                  <c:v>0.0950819672131147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09.8182</c:v>
                </c:pt>
                <c:pt idx="1">
                  <c:v>727.5396</c:v>
                </c:pt>
                <c:pt idx="2">
                  <c:v>708.075</c:v>
                </c:pt>
                <c:pt idx="3">
                  <c:v>714.6445</c:v>
                </c:pt>
                <c:pt idx="4">
                  <c:v>715.5066</c:v>
                </c:pt>
                <c:pt idx="5">
                  <c:v>747.7813</c:v>
                </c:pt>
                <c:pt idx="6">
                  <c:v>729.6627</c:v>
                </c:pt>
                <c:pt idx="7">
                  <c:v>790.6759</c:v>
                </c:pt>
                <c:pt idx="8">
                  <c:v>818.37</c:v>
                </c:pt>
                <c:pt idx="9">
                  <c:v>791.1261</c:v>
                </c:pt>
                <c:pt idx="10">
                  <c:v>807.5344</c:v>
                </c:pt>
                <c:pt idx="11">
                  <c:v>562.3296</c:v>
                </c:pt>
                <c:pt idx="12">
                  <c:v>496.1844</c:v>
                </c:pt>
                <c:pt idx="13">
                  <c:v>513.9739</c:v>
                </c:pt>
                <c:pt idx="14">
                  <c:v>487.8586</c:v>
                </c:pt>
                <c:pt idx="15">
                  <c:v>485.3618</c:v>
                </c:pt>
                <c:pt idx="16">
                  <c:v>490.6058</c:v>
                </c:pt>
                <c:pt idx="17">
                  <c:v>472.0561</c:v>
                </c:pt>
                <c:pt idx="18">
                  <c:v>509.6282</c:v>
                </c:pt>
                <c:pt idx="19">
                  <c:v>500.3696</c:v>
                </c:pt>
                <c:pt idx="20">
                  <c:v>496.4493</c:v>
                </c:pt>
                <c:pt idx="21">
                  <c:v>600.6429</c:v>
                </c:pt>
                <c:pt idx="22">
                  <c:v>416.2407</c:v>
                </c:pt>
                <c:pt idx="23">
                  <c:v>419.8647</c:v>
                </c:pt>
                <c:pt idx="24">
                  <c:v>409.0541</c:v>
                </c:pt>
                <c:pt idx="25">
                  <c:v>443.6582</c:v>
                </c:pt>
                <c:pt idx="26">
                  <c:v>500.8611</c:v>
                </c:pt>
                <c:pt idx="27">
                  <c:v>487.6552</c:v>
                </c:pt>
                <c:pt idx="28">
                  <c:v>525.3333</c:v>
                </c:pt>
                <c:pt idx="29">
                  <c:v>521.8621</c:v>
                </c:pt>
                <c:pt idx="30">
                  <c:v>760.5714</c:v>
                </c:pt>
                <c:pt idx="31">
                  <c:v>621.8667</c:v>
                </c:pt>
                <c:pt idx="32">
                  <c:v>561.3333</c:v>
                </c:pt>
                <c:pt idx="33">
                  <c:v>638.3778</c:v>
                </c:pt>
                <c:pt idx="34">
                  <c:v>1035.8333</c:v>
                </c:pt>
                <c:pt idx="35">
                  <c:v>719.525</c:v>
                </c:pt>
                <c:pt idx="36">
                  <c:v>635.9655</c:v>
                </c:pt>
                <c:pt idx="37">
                  <c:v>400.6173</c:v>
                </c:pt>
                <c:pt idx="38">
                  <c:v>393.1837</c:v>
                </c:pt>
                <c:pt idx="39">
                  <c:v>464.4141</c:v>
                </c:pt>
                <c:pt idx="40">
                  <c:v>441.8462</c:v>
                </c:pt>
                <c:pt idx="41">
                  <c:v>463.6029</c:v>
                </c:pt>
                <c:pt idx="42">
                  <c:v>606.5581</c:v>
                </c:pt>
                <c:pt idx="43">
                  <c:v>497.1887</c:v>
                </c:pt>
                <c:pt idx="44">
                  <c:v>492.4615</c:v>
                </c:pt>
                <c:pt idx="45">
                  <c:v>567.8704</c:v>
                </c:pt>
                <c:pt idx="46">
                  <c:v>480.7627</c:v>
                </c:pt>
                <c:pt idx="47">
                  <c:v>370.8</c:v>
                </c:pt>
                <c:pt idx="48">
                  <c:v>586.6889</c:v>
                </c:pt>
                <c:pt idx="49">
                  <c:v>754.1489</c:v>
                </c:pt>
                <c:pt idx="50">
                  <c:v>717.2545</c:v>
                </c:pt>
                <c:pt idx="51">
                  <c:v>740.2941</c:v>
                </c:pt>
              </c:numCache>
            </c:numRef>
          </c:xVal>
          <c:yVal>
            <c:numRef>
              <c:f>Sheet1!$B$109:$B$160</c:f>
              <c:numCache>
                <c:formatCode>General</c:formatCode>
                <c:ptCount val="52"/>
                <c:pt idx="0">
                  <c:v>0.10679611650485436</c:v>
                </c:pt>
                <c:pt idx="1">
                  <c:v>0.3696808510638298</c:v>
                </c:pt>
                <c:pt idx="2">
                  <c:v>0.4928131416837782</c:v>
                </c:pt>
                <c:pt idx="3">
                  <c:v>0.5355648535564853</c:v>
                </c:pt>
                <c:pt idx="4">
                  <c:v>0.4670781893004115</c:v>
                </c:pt>
                <c:pt idx="5">
                  <c:v>0.32432432432432434</c:v>
                </c:pt>
                <c:pt idx="6">
                  <c:v>0.3393574297188755</c:v>
                </c:pt>
                <c:pt idx="7">
                  <c:v>0.37275064267352187</c:v>
                </c:pt>
                <c:pt idx="8">
                  <c:v>0.2808988764044944</c:v>
                </c:pt>
                <c:pt idx="9">
                  <c:v>0.27543424317617865</c:v>
                </c:pt>
                <c:pt idx="10">
                  <c:v>0.2841648590021692</c:v>
                </c:pt>
                <c:pt idx="11">
                  <c:v>0.39850746268656717</c:v>
                </c:pt>
                <c:pt idx="12">
                  <c:v>0.4279210925644917</c:v>
                </c:pt>
                <c:pt idx="13">
                  <c:v>0.41742286751361163</c:v>
                </c:pt>
                <c:pt idx="14">
                  <c:v>0.42350332594235035</c:v>
                </c:pt>
                <c:pt idx="15">
                  <c:v>0.37073170731707317</c:v>
                </c:pt>
                <c:pt idx="16">
                  <c:v>0.3881019830028329</c:v>
                </c:pt>
                <c:pt idx="17">
                  <c:v>0.3333333333333333</c:v>
                </c:pt>
                <c:pt idx="18">
                  <c:v>0.36792452830188677</c:v>
                </c:pt>
                <c:pt idx="19">
                  <c:v>0.3524904214559387</c:v>
                </c:pt>
                <c:pt idx="20">
                  <c:v>0.33495145631067963</c:v>
                </c:pt>
                <c:pt idx="21">
                  <c:v>0.2</c:v>
                </c:pt>
                <c:pt idx="22">
                  <c:v>0.463519313304721</c:v>
                </c:pt>
                <c:pt idx="23">
                  <c:v>0.5708154506437768</c:v>
                </c:pt>
                <c:pt idx="24">
                  <c:v>0.4530612244897959</c:v>
                </c:pt>
                <c:pt idx="25">
                  <c:v>0.37264150943396224</c:v>
                </c:pt>
                <c:pt idx="26">
                  <c:v>0.23076923076923078</c:v>
                </c:pt>
                <c:pt idx="27">
                  <c:v>0.19078947368421054</c:v>
                </c:pt>
                <c:pt idx="28">
                  <c:v>0.18274111675126903</c:v>
                </c:pt>
                <c:pt idx="29">
                  <c:v>0.19078947368421054</c:v>
                </c:pt>
                <c:pt idx="30">
                  <c:v>0.14093959731543623</c:v>
                </c:pt>
                <c:pt idx="31">
                  <c:v>0.11627906976744186</c:v>
                </c:pt>
                <c:pt idx="32">
                  <c:v>0.1694915254237288</c:v>
                </c:pt>
                <c:pt idx="33">
                  <c:v>0.22613065326633167</c:v>
                </c:pt>
                <c:pt idx="34">
                  <c:v>0.14788732394366197</c:v>
                </c:pt>
                <c:pt idx="35">
                  <c:v>0.17316017316017315</c:v>
                </c:pt>
                <c:pt idx="36">
                  <c:v>0.17159763313609466</c:v>
                </c:pt>
                <c:pt idx="37">
                  <c:v>0.34615384615384615</c:v>
                </c:pt>
                <c:pt idx="38">
                  <c:v>0.44545454545454544</c:v>
                </c:pt>
                <c:pt idx="39">
                  <c:v>0.339041095890411</c:v>
                </c:pt>
                <c:pt idx="40">
                  <c:v>0.22887323943661972</c:v>
                </c:pt>
                <c:pt idx="41">
                  <c:v>0.21587301587301588</c:v>
                </c:pt>
                <c:pt idx="42">
                  <c:v>0.14878892733564014</c:v>
                </c:pt>
                <c:pt idx="43">
                  <c:v>0.14171122994652408</c:v>
                </c:pt>
                <c:pt idx="44">
                  <c:v>0.13131313131313133</c:v>
                </c:pt>
                <c:pt idx="45">
                  <c:v>0.1323529411764706</c:v>
                </c:pt>
                <c:pt idx="46">
                  <c:v>0.17455621301775148</c:v>
                </c:pt>
                <c:pt idx="47">
                  <c:v>0.17543859649122806</c:v>
                </c:pt>
                <c:pt idx="48">
                  <c:v>0.12465373961218837</c:v>
                </c:pt>
                <c:pt idx="49">
                  <c:v>0.10262008733624454</c:v>
                </c:pt>
                <c:pt idx="50">
                  <c:v>0.088</c:v>
                </c:pt>
                <c:pt idx="51">
                  <c:v>0.0856423173803526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01.97675711407453</c:v>
                </c:pt>
              </c:numCache>
            </c:numRef>
          </c:xVal>
          <c:yVal>
            <c:numRef>
              <c:f>Sheet1!$B$163:$B$164</c:f>
              <c:numCache>
                <c:formatCode>General</c:formatCode>
                <c:ptCount val="2"/>
                <c:pt idx="0">
                  <c:v>0.51955472356585</c:v>
                </c:pt>
                <c:pt idx="1">
                  <c:v>0.5195547235658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01.97675711407453</c:v>
                </c:pt>
                <c:pt idx="1">
                  <c:v>-401.97675711407453</c:v>
                </c:pt>
              </c:numCache>
            </c:numRef>
          </c:xVal>
          <c:yVal>
            <c:numRef>
              <c:f>Sheet1!$B$167:$B$168</c:f>
              <c:numCache>
                <c:formatCode>General</c:formatCode>
                <c:ptCount val="2"/>
                <c:pt idx="0">
                  <c:v>0.519554723565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238.64306815831978</c:v>
                </c:pt>
              </c:numCache>
            </c:numRef>
          </c:xVal>
          <c:yVal>
            <c:numRef>
              <c:f>Sheet1!$B$171:$B$172</c:f>
              <c:numCache>
                <c:formatCode>General</c:formatCode>
                <c:ptCount val="2"/>
                <c:pt idx="0">
                  <c:v>0.3654738250256195</c:v>
                </c:pt>
                <c:pt idx="1">
                  <c:v>0.365473825025619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238.64306815831978</c:v>
                </c:pt>
                <c:pt idx="1">
                  <c:v>238.64306815831978</c:v>
                </c:pt>
              </c:numCache>
            </c:numRef>
          </c:xVal>
          <c:yVal>
            <c:numRef>
              <c:f>Sheet1!$B$175:$B$176</c:f>
              <c:numCache>
                <c:formatCode>General</c:formatCode>
                <c:ptCount val="2"/>
                <c:pt idx="0">
                  <c:v>0.36547382502561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90.1034153549751</c:v>
                </c:pt>
              </c:numCache>
            </c:numRef>
          </c:xVal>
          <c:yVal>
            <c:numRef>
              <c:f>Sheet1!$B$179:$B$180</c:f>
              <c:numCache>
                <c:formatCode>General</c:formatCode>
                <c:ptCount val="2"/>
                <c:pt idx="0">
                  <c:v>0.16068188729304442</c:v>
                </c:pt>
                <c:pt idx="1">
                  <c:v>0.1606818872930444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90.1034153549751</c:v>
                </c:pt>
                <c:pt idx="1">
                  <c:v>1090.1034153549751</c:v>
                </c:pt>
              </c:numCache>
            </c:numRef>
          </c:xVal>
          <c:yVal>
            <c:numRef>
              <c:f>Sheet1!$B$183:$B$184</c:f>
              <c:numCache>
                <c:formatCode>General</c:formatCode>
                <c:ptCount val="2"/>
                <c:pt idx="0">
                  <c:v>0.1606818872930444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09.8182</c:v>
                </c:pt>
                <c:pt idx="1">
                  <c:v>727.5396</c:v>
                </c:pt>
                <c:pt idx="2">
                  <c:v>708.075</c:v>
                </c:pt>
                <c:pt idx="3">
                  <c:v>714.6445</c:v>
                </c:pt>
                <c:pt idx="4">
                  <c:v>715.5066</c:v>
                </c:pt>
                <c:pt idx="5">
                  <c:v>747.7813</c:v>
                </c:pt>
                <c:pt idx="6">
                  <c:v>729.6627</c:v>
                </c:pt>
                <c:pt idx="7">
                  <c:v>790.6759</c:v>
                </c:pt>
                <c:pt idx="8">
                  <c:v>818.37</c:v>
                </c:pt>
                <c:pt idx="9">
                  <c:v>791.1261</c:v>
                </c:pt>
                <c:pt idx="10">
                  <c:v>807.5344</c:v>
                </c:pt>
                <c:pt idx="11">
                  <c:v>562.3296</c:v>
                </c:pt>
                <c:pt idx="12">
                  <c:v>496.1844</c:v>
                </c:pt>
                <c:pt idx="13">
                  <c:v>513.9739</c:v>
                </c:pt>
                <c:pt idx="14">
                  <c:v>487.8586</c:v>
                </c:pt>
                <c:pt idx="15">
                  <c:v>485.3618</c:v>
                </c:pt>
                <c:pt idx="16">
                  <c:v>490.6058</c:v>
                </c:pt>
                <c:pt idx="17">
                  <c:v>472.0561</c:v>
                </c:pt>
                <c:pt idx="18">
                  <c:v>509.6282</c:v>
                </c:pt>
                <c:pt idx="19">
                  <c:v>500.3696</c:v>
                </c:pt>
                <c:pt idx="20">
                  <c:v>496.4493</c:v>
                </c:pt>
                <c:pt idx="21">
                  <c:v>600.6429</c:v>
                </c:pt>
                <c:pt idx="22">
                  <c:v>416.2407</c:v>
                </c:pt>
                <c:pt idx="23">
                  <c:v>419.8647</c:v>
                </c:pt>
                <c:pt idx="24">
                  <c:v>409.0541</c:v>
                </c:pt>
                <c:pt idx="25">
                  <c:v>443.6582</c:v>
                </c:pt>
                <c:pt idx="26">
                  <c:v>500.8611</c:v>
                </c:pt>
                <c:pt idx="27">
                  <c:v>487.6552</c:v>
                </c:pt>
                <c:pt idx="28">
                  <c:v>525.3333</c:v>
                </c:pt>
                <c:pt idx="29">
                  <c:v>521.8621</c:v>
                </c:pt>
                <c:pt idx="30">
                  <c:v>760.5714</c:v>
                </c:pt>
                <c:pt idx="31">
                  <c:v>621.8667</c:v>
                </c:pt>
                <c:pt idx="32">
                  <c:v>561.3333</c:v>
                </c:pt>
                <c:pt idx="33">
                  <c:v>638.3778</c:v>
                </c:pt>
                <c:pt idx="34">
                  <c:v>1035.8333</c:v>
                </c:pt>
                <c:pt idx="35">
                  <c:v>719.525</c:v>
                </c:pt>
                <c:pt idx="36">
                  <c:v>635.9655</c:v>
                </c:pt>
                <c:pt idx="37">
                  <c:v>400.6173</c:v>
                </c:pt>
                <c:pt idx="38">
                  <c:v>393.1837</c:v>
                </c:pt>
                <c:pt idx="39">
                  <c:v>464.4141</c:v>
                </c:pt>
                <c:pt idx="40">
                  <c:v>441.8462</c:v>
                </c:pt>
                <c:pt idx="41">
                  <c:v>463.6029</c:v>
                </c:pt>
                <c:pt idx="42">
                  <c:v>606.5581</c:v>
                </c:pt>
                <c:pt idx="43">
                  <c:v>497.1887</c:v>
                </c:pt>
                <c:pt idx="44">
                  <c:v>492.4615</c:v>
                </c:pt>
                <c:pt idx="45">
                  <c:v>567.8704</c:v>
                </c:pt>
                <c:pt idx="46">
                  <c:v>480.7627</c:v>
                </c:pt>
                <c:pt idx="47">
                  <c:v>370.8</c:v>
                </c:pt>
                <c:pt idx="48">
                  <c:v>586.6889</c:v>
                </c:pt>
                <c:pt idx="49">
                  <c:v>754.1489</c:v>
                </c:pt>
                <c:pt idx="50">
                  <c:v>717.2545</c:v>
                </c:pt>
                <c:pt idx="51">
                  <c:v>740.2941</c:v>
                </c:pt>
                <c:pt idx="52">
                  <c:v>238.64306815831978</c:v>
                </c:pt>
                <c:pt idx="53">
                  <c:v>-401.97675711407453</c:v>
                </c:pt>
                <c:pt idx="54">
                  <c:v>1090.1034153549751</c:v>
                </c:pt>
              </c:numCache>
            </c:numRef>
          </c:xVal>
          <c:yVal>
            <c:numRef>
              <c:f>Sheet1!$B$187:$B$241</c:f>
              <c:numCache>
                <c:formatCode>General</c:formatCode>
                <c:ptCount val="55"/>
                <c:pt idx="0">
                  <c:v>0.155940117505728</c:v>
                </c:pt>
                <c:pt idx="1">
                  <c:v>0.24788518048540717</c:v>
                </c:pt>
                <c:pt idx="2">
                  <c:v>0.2525667762453431</c:v>
                </c:pt>
                <c:pt idx="3">
                  <c:v>0.25098669017396746</c:v>
                </c:pt>
                <c:pt idx="4">
                  <c:v>0.25077933920324924</c:v>
                </c:pt>
                <c:pt idx="5">
                  <c:v>0.2430166778244793</c:v>
                </c:pt>
                <c:pt idx="6">
                  <c:v>0.24737453572733764</c:v>
                </c:pt>
                <c:pt idx="7">
                  <c:v>0.23269973437410532</c:v>
                </c:pt>
                <c:pt idx="8">
                  <c:v>0.22603879188696233</c:v>
                </c:pt>
                <c:pt idx="9">
                  <c:v>0.23259145296009612</c:v>
                </c:pt>
                <c:pt idx="10">
                  <c:v>0.22864495379197772</c:v>
                </c:pt>
                <c:pt idx="11">
                  <c:v>0.28762123647931526</c:v>
                </c:pt>
                <c:pt idx="12">
                  <c:v>0.30353037860708143</c:v>
                </c:pt>
                <c:pt idx="13">
                  <c:v>0.299251675331834</c:v>
                </c:pt>
                <c:pt idx="14">
                  <c:v>0.305532887262696</c:v>
                </c:pt>
                <c:pt idx="15">
                  <c:v>0.306133413772021</c:v>
                </c:pt>
                <c:pt idx="16">
                  <c:v>0.30487213492914195</c:v>
                </c:pt>
                <c:pt idx="17">
                  <c:v>0.3093336803432827</c:v>
                </c:pt>
                <c:pt idx="18">
                  <c:v>0.3002968964354762</c:v>
                </c:pt>
                <c:pt idx="19">
                  <c:v>0.30252376071745185</c:v>
                </c:pt>
                <c:pt idx="20">
                  <c:v>0.3034666652650756</c:v>
                </c:pt>
                <c:pt idx="21">
                  <c:v>0.2784061802834954</c:v>
                </c:pt>
                <c:pt idx="22">
                  <c:v>0.3227583148068284</c:v>
                </c:pt>
                <c:pt idx="23">
                  <c:v>0.3218866758810858</c:v>
                </c:pt>
                <c:pt idx="24">
                  <c:v>0.324486824824417</c:v>
                </c:pt>
                <c:pt idx="25">
                  <c:v>0.31616389972775943</c:v>
                </c:pt>
                <c:pt idx="26">
                  <c:v>0.3024055458907403</c:v>
                </c:pt>
                <c:pt idx="27">
                  <c:v>0.3055818087189587</c:v>
                </c:pt>
                <c:pt idx="28">
                  <c:v>0.29651952985361113</c:v>
                </c:pt>
                <c:pt idx="29">
                  <c:v>0.2973544175575398</c:v>
                </c:pt>
                <c:pt idx="30">
                  <c:v>0.23994042257499268</c:v>
                </c:pt>
                <c:pt idx="31">
                  <c:v>0.2733014644357652</c:v>
                </c:pt>
                <c:pt idx="32">
                  <c:v>0.28786086502835423</c:v>
                </c:pt>
                <c:pt idx="33">
                  <c:v>0.26933023996920136</c:v>
                </c:pt>
                <c:pt idx="34">
                  <c:v>0.17373485226212101</c:v>
                </c:pt>
                <c:pt idx="35">
                  <c:v>0.24981283979397673</c:v>
                </c:pt>
                <c:pt idx="36">
                  <c:v>0.26991044266803377</c:v>
                </c:pt>
                <c:pt idx="37">
                  <c:v>0.32651603102990945</c:v>
                </c:pt>
                <c:pt idx="38">
                  <c:v>0.328303949108938</c:v>
                </c:pt>
                <c:pt idx="39">
                  <c:v>0.31117172247091085</c:v>
                </c:pt>
                <c:pt idx="40">
                  <c:v>0.3165997191906307</c:v>
                </c:pt>
                <c:pt idx="41">
                  <c:v>0.31136683105164</c:v>
                </c:pt>
                <c:pt idx="42">
                  <c:v>0.2769834654453187</c:v>
                </c:pt>
                <c:pt idx="43">
                  <c:v>0.3032888259103035</c:v>
                </c:pt>
                <c:pt idx="44">
                  <c:v>0.3044258048092467</c:v>
                </c:pt>
                <c:pt idx="45">
                  <c:v>0.2862885717553213</c:v>
                </c:pt>
                <c:pt idx="46">
                  <c:v>0.30723958225529435</c:v>
                </c:pt>
                <c:pt idx="47">
                  <c:v>0.3336876423269687</c:v>
                </c:pt>
                <c:pt idx="48">
                  <c:v>0.28176237497715195</c:v>
                </c:pt>
                <c:pt idx="49">
                  <c:v>0.24148515243166527</c:v>
                </c:pt>
                <c:pt idx="50">
                  <c:v>0.2503589369741363</c:v>
                </c:pt>
                <c:pt idx="51">
                  <c:v>0.24481748769335887</c:v>
                </c:pt>
                <c:pt idx="52">
                  <c:v>0.3654738250256195</c:v>
                </c:pt>
                <c:pt idx="53">
                  <c:v>0.51955472356585</c:v>
                </c:pt>
                <c:pt idx="54">
                  <c:v>0.1606818872930444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74264705882353"/>
          <c:min val="0.0264462809917355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7</c:f>
              <c:numCache>
                <c:formatCode>General</c:formatCode>
                <c:ptCount val="56"/>
                <c:pt idx="0">
                  <c:v>0.0</c:v>
                </c:pt>
                <c:pt idx="1">
                  <c:v>0.4286724239450442</c:v>
                </c:pt>
                <c:pt idx="2">
                  <c:v>0.43393776019686975</c:v>
                </c:pt>
                <c:pt idx="3">
                  <c:v>0.41198349956335895</c:v>
                </c:pt>
                <c:pt idx="4">
                  <c:v>0.4326040031784113</c:v>
                </c:pt>
                <c:pt idx="5">
                  <c:v>0.44857553496105174</c:v>
                </c:pt>
                <c:pt idx="6">
                  <c:v>0.4529326913673695</c:v>
                </c:pt>
                <c:pt idx="7">
                  <c:v>0.4443677466863034</c:v>
                </c:pt>
                <c:pt idx="8">
                  <c:v>0.3690093208481326</c:v>
                </c:pt>
                <c:pt idx="9">
                  <c:v>0.4367882958708783</c:v>
                </c:pt>
                <c:pt idx="10">
                  <c:v>0.37140507542906515</c:v>
                </c:pt>
                <c:pt idx="11">
                  <c:v>0.38240858077808754</c:v>
                </c:pt>
                <c:pt idx="12">
                  <c:v>0.49219997754579264</c:v>
                </c:pt>
                <c:pt idx="13">
                  <c:v>0.41980268160971385</c:v>
                </c:pt>
                <c:pt idx="14">
                  <c:v>0.4514926315443441</c:v>
                </c:pt>
                <c:pt idx="15">
                  <c:v>0.4668619670731221</c:v>
                </c:pt>
                <c:pt idx="16">
                  <c:v>0.45853108279015464</c:v>
                </c:pt>
                <c:pt idx="17">
                  <c:v>0.4627623749968671</c:v>
                </c:pt>
                <c:pt idx="18">
                  <c:v>0.4532848249132124</c:v>
                </c:pt>
                <c:pt idx="19">
                  <c:v>0.5082936124743733</c:v>
                </c:pt>
                <c:pt idx="20">
                  <c:v>0.48495379188712523</c:v>
                </c:pt>
                <c:pt idx="21">
                  <c:v>0.445378277140967</c:v>
                </c:pt>
                <c:pt idx="22">
                  <c:v>0.4042755805426546</c:v>
                </c:pt>
                <c:pt idx="23">
                  <c:v>0.39323737119018715</c:v>
                </c:pt>
                <c:pt idx="24">
                  <c:v>0.2790268298684395</c:v>
                </c:pt>
                <c:pt idx="25">
                  <c:v>0.18100772237340126</c:v>
                </c:pt>
                <c:pt idx="26">
                  <c:v>0.32709038060540657</c:v>
                </c:pt>
                <c:pt idx="27">
                  <c:v>0.31829046224671914</c:v>
                </c:pt>
                <c:pt idx="28">
                  <c:v>0.4009583516169036</c:v>
                </c:pt>
                <c:pt idx="29">
                  <c:v>0.4680385658023973</c:v>
                </c:pt>
                <c:pt idx="30">
                  <c:v>0.5259472679727145</c:v>
                </c:pt>
                <c:pt idx="31">
                  <c:v>0.39974754994346023</c:v>
                </c:pt>
                <c:pt idx="32">
                  <c:v>0.5187455470957589</c:v>
                </c:pt>
                <c:pt idx="33">
                  <c:v>0.5625965067536097</c:v>
                </c:pt>
                <c:pt idx="34">
                  <c:v>0.5727610212604364</c:v>
                </c:pt>
                <c:pt idx="35">
                  <c:v>0.519660813902671</c:v>
                </c:pt>
                <c:pt idx="36">
                  <c:v>0.5019583919152667</c:v>
                </c:pt>
                <c:pt idx="37">
                  <c:v>0.5189818880565944</c:v>
                </c:pt>
                <c:pt idx="38">
                  <c:v>0.5268821190795486</c:v>
                </c:pt>
                <c:pt idx="39">
                  <c:v>0.5949817077258753</c:v>
                </c:pt>
                <c:pt idx="40">
                  <c:v>0.5929601832862836</c:v>
                </c:pt>
                <c:pt idx="41">
                  <c:v>0.5999473542856151</c:v>
                </c:pt>
                <c:pt idx="42">
                  <c:v>0.6199886303159321</c:v>
                </c:pt>
                <c:pt idx="43">
                  <c:v>0.552899563849173</c:v>
                </c:pt>
                <c:pt idx="44">
                  <c:v>0.47559583357853236</c:v>
                </c:pt>
                <c:pt idx="45">
                  <c:v>0.5073187759301043</c:v>
                </c:pt>
                <c:pt idx="46">
                  <c:v>0.4396690586197951</c:v>
                </c:pt>
                <c:pt idx="47">
                  <c:v>0.44258885311871227</c:v>
                </c:pt>
                <c:pt idx="48">
                  <c:v>0.4062358206107495</c:v>
                </c:pt>
                <c:pt idx="49">
                  <c:v>0.4761319967470818</c:v>
                </c:pt>
                <c:pt idx="50">
                  <c:v>0.38367631808080926</c:v>
                </c:pt>
                <c:pt idx="51">
                  <c:v>0.39537224269802484</c:v>
                </c:pt>
                <c:pt idx="52">
                  <c:v>0.43082358868092013</c:v>
                </c:pt>
                <c:pt idx="53">
                  <c:v>0.4622268070667608</c:v>
                </c:pt>
                <c:pt idx="54">
                  <c:v>0.5147482660242705</c:v>
                </c:pt>
                <c:pt idx="55">
                  <c:v>0.4870852538319323</c:v>
                </c:pt>
              </c:numCache>
            </c:numRef>
          </c:xVal>
          <c:yVal>
            <c:numRef>
              <c:f>Sheet1!$B$2:$B$57</c:f>
              <c:numCache>
                <c:formatCode>General</c:formatCode>
                <c:ptCount val="56"/>
                <c:pt idx="0">
                  <c:v>0.6645220588235294</c:v>
                </c:pt>
                <c:pt idx="1">
                  <c:v>0.5382113821138211</c:v>
                </c:pt>
                <c:pt idx="2">
                  <c:v>0.5054229934924078</c:v>
                </c:pt>
                <c:pt idx="3">
                  <c:v>0.5344202898550725</c:v>
                </c:pt>
                <c:pt idx="4">
                  <c:v>0.581081081081081</c:v>
                </c:pt>
                <c:pt idx="5">
                  <c:v>0.5744047619047619</c:v>
                </c:pt>
                <c:pt idx="6">
                  <c:v>0.554140127388535</c:v>
                </c:pt>
                <c:pt idx="7">
                  <c:v>0.5289256198347108</c:v>
                </c:pt>
                <c:pt idx="8">
                  <c:v>0.5563549160671463</c:v>
                </c:pt>
                <c:pt idx="9">
                  <c:v>0.5072463768115942</c:v>
                </c:pt>
                <c:pt idx="10">
                  <c:v>0.5594405594405595</c:v>
                </c:pt>
                <c:pt idx="11">
                  <c:v>0.551490514905149</c:v>
                </c:pt>
                <c:pt idx="12">
                  <c:v>0.4528301886792453</c:v>
                </c:pt>
                <c:pt idx="13">
                  <c:v>0.45419103313840153</c:v>
                </c:pt>
                <c:pt idx="14">
                  <c:v>0.45907473309608543</c:v>
                </c:pt>
                <c:pt idx="15">
                  <c:v>0.4027777777777778</c:v>
                </c:pt>
                <c:pt idx="16">
                  <c:v>0.398</c:v>
                </c:pt>
                <c:pt idx="17">
                  <c:v>0.447265625</c:v>
                </c:pt>
                <c:pt idx="18">
                  <c:v>0.3525641025641026</c:v>
                </c:pt>
                <c:pt idx="19">
                  <c:v>0.33060109289617484</c:v>
                </c:pt>
                <c:pt idx="20">
                  <c:v>0.3425196850393701</c:v>
                </c:pt>
                <c:pt idx="21">
                  <c:v>0.2608695652173913</c:v>
                </c:pt>
                <c:pt idx="22">
                  <c:v>0.3333333333333333</c:v>
                </c:pt>
                <c:pt idx="23">
                  <c:v>0.3614864864864865</c:v>
                </c:pt>
                <c:pt idx="24">
                  <c:v>0.32</c:v>
                </c:pt>
                <c:pt idx="25">
                  <c:v>0.5139664804469274</c:v>
                </c:pt>
                <c:pt idx="26">
                  <c:v>0.36065573770491804</c:v>
                </c:pt>
                <c:pt idx="27">
                  <c:v>0.34523809523809523</c:v>
                </c:pt>
                <c:pt idx="28">
                  <c:v>0.2857142857142857</c:v>
                </c:pt>
                <c:pt idx="29">
                  <c:v>0.21238938053097345</c:v>
                </c:pt>
                <c:pt idx="30">
                  <c:v>0.2066115702479339</c:v>
                </c:pt>
                <c:pt idx="31">
                  <c:v>0.21019108280254778</c:v>
                </c:pt>
                <c:pt idx="32">
                  <c:v>0.13930348258706468</c:v>
                </c:pt>
                <c:pt idx="33">
                  <c:v>0.13380281690140844</c:v>
                </c:pt>
                <c:pt idx="34">
                  <c:v>0.14150943396226415</c:v>
                </c:pt>
                <c:pt idx="35">
                  <c:v>0.1346153846153846</c:v>
                </c:pt>
                <c:pt idx="36">
                  <c:v>0.2</c:v>
                </c:pt>
                <c:pt idx="37">
                  <c:v>0.21052631578947367</c:v>
                </c:pt>
                <c:pt idx="38">
                  <c:v>0.19047619047619047</c:v>
                </c:pt>
                <c:pt idx="39">
                  <c:v>0.2214765100671141</c:v>
                </c:pt>
                <c:pt idx="40">
                  <c:v>0.23577235772357724</c:v>
                </c:pt>
                <c:pt idx="41">
                  <c:v>0.2229299363057325</c:v>
                </c:pt>
                <c:pt idx="42">
                  <c:v>0.11055276381909548</c:v>
                </c:pt>
                <c:pt idx="43">
                  <c:v>0.16037735849056603</c:v>
                </c:pt>
                <c:pt idx="44">
                  <c:v>0.21390374331550802</c:v>
                </c:pt>
                <c:pt idx="45">
                  <c:v>0.16759776536312848</c:v>
                </c:pt>
                <c:pt idx="46">
                  <c:v>0.13917525773195877</c:v>
                </c:pt>
                <c:pt idx="47">
                  <c:v>0.12345679012345678</c:v>
                </c:pt>
                <c:pt idx="48">
                  <c:v>0.13230769230769232</c:v>
                </c:pt>
                <c:pt idx="49">
                  <c:v>0.16666666666666666</c:v>
                </c:pt>
                <c:pt idx="50">
                  <c:v>0.26369168356997974</c:v>
                </c:pt>
                <c:pt idx="51">
                  <c:v>0.23801652892561984</c:v>
                </c:pt>
                <c:pt idx="52">
                  <c:v>0.17574257425742573</c:v>
                </c:pt>
                <c:pt idx="53">
                  <c:v>0.10106382978723404</c:v>
                </c:pt>
                <c:pt idx="54">
                  <c:v>0.11046511627906977</c:v>
                </c:pt>
                <c:pt idx="55">
                  <c:v>0.09508196721311475</c:v>
                </c:pt>
              </c:numCache>
            </c:numRef>
          </c:yVal>
          <c:smooth val="0"/>
          <c:extLst>
            <c:ext xmlns:c16="http://schemas.microsoft.com/office/drawing/2014/chart" uri="{C3380CC4-5D6E-409C-BE32-E72D297353CC}">
              <c16:uniqueId val="{00000000-096C-4121-9522-6AB7243CCAAE}"/>
            </c:ext>
          </c:extLst>
        </c:ser>
        <c:ser>
          <c:idx val="1"/>
          <c:order val="1"/>
          <c:tx>
            <c:strRef>
              <c:f>Sheet1!$B$5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0:$A$111</c:f>
              <c:numCache>
                <c:formatCode>General</c:formatCode>
                <c:ptCount val="52"/>
                <c:pt idx="0">
                  <c:v>0.5665613693877178</c:v>
                </c:pt>
                <c:pt idx="1">
                  <c:v>0.3631343149488395</c:v>
                </c:pt>
                <c:pt idx="2">
                  <c:v>0.3345825138386957</c:v>
                </c:pt>
                <c:pt idx="3">
                  <c:v>0.35774438837828637</c:v>
                </c:pt>
                <c:pt idx="4">
                  <c:v>0.3182858540925267</c:v>
                </c:pt>
                <c:pt idx="5">
                  <c:v>0.3601065630026954</c:v>
                </c:pt>
                <c:pt idx="6">
                  <c:v>0.3312883995459705</c:v>
                </c:pt>
                <c:pt idx="7">
                  <c:v>0.34644036896870534</c:v>
                </c:pt>
                <c:pt idx="8">
                  <c:v>0.4023168677087534</c:v>
                </c:pt>
                <c:pt idx="9">
                  <c:v>0.3392478987993139</c:v>
                </c:pt>
                <c:pt idx="10">
                  <c:v>0.38043391362383927</c:v>
                </c:pt>
                <c:pt idx="11">
                  <c:v>0.2968613435396595</c:v>
                </c:pt>
                <c:pt idx="12">
                  <c:v>0.243830254408653</c:v>
                </c:pt>
                <c:pt idx="13">
                  <c:v>0.24595797312298934</c:v>
                </c:pt>
                <c:pt idx="14">
                  <c:v>0.23635796265692385</c:v>
                </c:pt>
                <c:pt idx="15">
                  <c:v>0.22338079896907215</c:v>
                </c:pt>
                <c:pt idx="16">
                  <c:v>0.2509309166097271</c:v>
                </c:pt>
                <c:pt idx="17">
                  <c:v>0.17201121306949124</c:v>
                </c:pt>
                <c:pt idx="18">
                  <c:v>0.23939693724163846</c:v>
                </c:pt>
                <c:pt idx="19">
                  <c:v>0.22983044152265028</c:v>
                </c:pt>
                <c:pt idx="20">
                  <c:v>0.20086150671629713</c:v>
                </c:pt>
                <c:pt idx="21">
                  <c:v>0.2902638090175422</c:v>
                </c:pt>
                <c:pt idx="22">
                  <c:v>0.2192933459775565</c:v>
                </c:pt>
                <c:pt idx="23">
                  <c:v>0.24531420122889436</c:v>
                </c:pt>
                <c:pt idx="24">
                  <c:v>0.19463319278932287</c:v>
                </c:pt>
                <c:pt idx="25">
                  <c:v>0.205969452181987</c:v>
                </c:pt>
                <c:pt idx="26">
                  <c:v>0.27000598382749325</c:v>
                </c:pt>
                <c:pt idx="27">
                  <c:v>0.24118319509403052</c:v>
                </c:pt>
                <c:pt idx="28">
                  <c:v>0.3002265701102904</c:v>
                </c:pt>
                <c:pt idx="29">
                  <c:v>0.27354636554497525</c:v>
                </c:pt>
                <c:pt idx="30">
                  <c:v>0.42196338189904314</c:v>
                </c:pt>
                <c:pt idx="31">
                  <c:v>0.36634268041237117</c:v>
                </c:pt>
                <c:pt idx="32">
                  <c:v>0.3364989009733431</c:v>
                </c:pt>
                <c:pt idx="33">
                  <c:v>0.3165669029694651</c:v>
                </c:pt>
                <c:pt idx="34">
                  <c:v>0.5354154732888577</c:v>
                </c:pt>
                <c:pt idx="35">
                  <c:v>0.3492640420139122</c:v>
                </c:pt>
                <c:pt idx="36">
                  <c:v>0.3246429958455694</c:v>
                </c:pt>
                <c:pt idx="37">
                  <c:v>0.18928291991495394</c:v>
                </c:pt>
                <c:pt idx="38">
                  <c:v>0.18840996814388217</c:v>
                </c:pt>
                <c:pt idx="39">
                  <c:v>0.2263077611215753</c:v>
                </c:pt>
                <c:pt idx="40">
                  <c:v>0.20831484406308196</c:v>
                </c:pt>
                <c:pt idx="41">
                  <c:v>0.2169703241584695</c:v>
                </c:pt>
                <c:pt idx="42">
                  <c:v>0.2861123113207547</c:v>
                </c:pt>
                <c:pt idx="43">
                  <c:v>0.23397349818141705</c:v>
                </c:pt>
                <c:pt idx="44">
                  <c:v>0.22304844415737007</c:v>
                </c:pt>
                <c:pt idx="45">
                  <c:v>0.2632368838248519</c:v>
                </c:pt>
                <c:pt idx="46">
                  <c:v>0.2299919027766788</c:v>
                </c:pt>
                <c:pt idx="47">
                  <c:v>0.16955701629036868</c:v>
                </c:pt>
                <c:pt idx="48">
                  <c:v>0.2649271217623031</c:v>
                </c:pt>
                <c:pt idx="49">
                  <c:v>0.3491870941298932</c:v>
                </c:pt>
                <c:pt idx="50">
                  <c:v>0.3329329961985302</c:v>
                </c:pt>
                <c:pt idx="51">
                  <c:v>0.38386313228382596</c:v>
                </c:pt>
              </c:numCache>
            </c:numRef>
          </c:xVal>
          <c:yVal>
            <c:numRef>
              <c:f>Sheet1!$B$60:$B$111</c:f>
              <c:numCache>
                <c:formatCode>General</c:formatCode>
                <c:ptCount val="52"/>
                <c:pt idx="0">
                  <c:v>0.10679611650485436</c:v>
                </c:pt>
                <c:pt idx="1">
                  <c:v>0.3696808510638298</c:v>
                </c:pt>
                <c:pt idx="2">
                  <c:v>0.4928131416837782</c:v>
                </c:pt>
                <c:pt idx="3">
                  <c:v>0.5355648535564853</c:v>
                </c:pt>
                <c:pt idx="4">
                  <c:v>0.4670781893004115</c:v>
                </c:pt>
                <c:pt idx="5">
                  <c:v>0.32432432432432434</c:v>
                </c:pt>
                <c:pt idx="6">
                  <c:v>0.3393574297188755</c:v>
                </c:pt>
                <c:pt idx="7">
                  <c:v>0.37275064267352187</c:v>
                </c:pt>
                <c:pt idx="8">
                  <c:v>0.2808988764044944</c:v>
                </c:pt>
                <c:pt idx="9">
                  <c:v>0.27543424317617865</c:v>
                </c:pt>
                <c:pt idx="10">
                  <c:v>0.2841648590021692</c:v>
                </c:pt>
                <c:pt idx="11">
                  <c:v>0.39850746268656717</c:v>
                </c:pt>
                <c:pt idx="12">
                  <c:v>0.4279210925644917</c:v>
                </c:pt>
                <c:pt idx="13">
                  <c:v>0.41742286751361163</c:v>
                </c:pt>
                <c:pt idx="14">
                  <c:v>0.42350332594235035</c:v>
                </c:pt>
                <c:pt idx="15">
                  <c:v>0.37073170731707317</c:v>
                </c:pt>
                <c:pt idx="16">
                  <c:v>0.3881019830028329</c:v>
                </c:pt>
                <c:pt idx="17">
                  <c:v>0.3333333333333333</c:v>
                </c:pt>
                <c:pt idx="18">
                  <c:v>0.36792452830188677</c:v>
                </c:pt>
                <c:pt idx="19">
                  <c:v>0.3524904214559387</c:v>
                </c:pt>
                <c:pt idx="20">
                  <c:v>0.33495145631067963</c:v>
                </c:pt>
                <c:pt idx="21">
                  <c:v>0.2</c:v>
                </c:pt>
                <c:pt idx="22">
                  <c:v>0.463519313304721</c:v>
                </c:pt>
                <c:pt idx="23">
                  <c:v>0.5708154506437768</c:v>
                </c:pt>
                <c:pt idx="24">
                  <c:v>0.4530612244897959</c:v>
                </c:pt>
                <c:pt idx="25">
                  <c:v>0.37264150943396224</c:v>
                </c:pt>
                <c:pt idx="26">
                  <c:v>0.23076923076923078</c:v>
                </c:pt>
                <c:pt idx="27">
                  <c:v>0.19078947368421054</c:v>
                </c:pt>
                <c:pt idx="28">
                  <c:v>0.18274111675126903</c:v>
                </c:pt>
                <c:pt idx="29">
                  <c:v>0.19078947368421054</c:v>
                </c:pt>
                <c:pt idx="30">
                  <c:v>0.14093959731543623</c:v>
                </c:pt>
                <c:pt idx="31">
                  <c:v>0.11627906976744186</c:v>
                </c:pt>
                <c:pt idx="32">
                  <c:v>0.1694915254237288</c:v>
                </c:pt>
                <c:pt idx="33">
                  <c:v>0.22613065326633167</c:v>
                </c:pt>
                <c:pt idx="34">
                  <c:v>0.14788732394366197</c:v>
                </c:pt>
                <c:pt idx="35">
                  <c:v>0.17316017316017315</c:v>
                </c:pt>
                <c:pt idx="36">
                  <c:v>0.17159763313609466</c:v>
                </c:pt>
                <c:pt idx="37">
                  <c:v>0.34615384615384615</c:v>
                </c:pt>
                <c:pt idx="38">
                  <c:v>0.44545454545454544</c:v>
                </c:pt>
                <c:pt idx="39">
                  <c:v>0.339041095890411</c:v>
                </c:pt>
                <c:pt idx="40">
                  <c:v>0.22887323943661972</c:v>
                </c:pt>
                <c:pt idx="41">
                  <c:v>0.21587301587301588</c:v>
                </c:pt>
                <c:pt idx="42">
                  <c:v>0.14878892733564014</c:v>
                </c:pt>
                <c:pt idx="43">
                  <c:v>0.14171122994652408</c:v>
                </c:pt>
                <c:pt idx="44">
                  <c:v>0.13131313131313133</c:v>
                </c:pt>
                <c:pt idx="45">
                  <c:v>0.1323529411764706</c:v>
                </c:pt>
                <c:pt idx="46">
                  <c:v>0.17455621301775148</c:v>
                </c:pt>
                <c:pt idx="47">
                  <c:v>0.17543859649122806</c:v>
                </c:pt>
                <c:pt idx="48">
                  <c:v>0.12465373961218837</c:v>
                </c:pt>
                <c:pt idx="49">
                  <c:v>0.10262008733624454</c:v>
                </c:pt>
                <c:pt idx="50">
                  <c:v>0.088</c:v>
                </c:pt>
                <c:pt idx="51">
                  <c:v>0.08564231738035265</c:v>
                </c:pt>
              </c:numCache>
            </c:numRef>
          </c:yVal>
          <c:smooth val="0"/>
          <c:extLst>
            <c:ext xmlns:c16="http://schemas.microsoft.com/office/drawing/2014/chart" uri="{C3380CC4-5D6E-409C-BE32-E72D297353CC}">
              <c16:uniqueId val="{00000002-096C-4121-9522-6AB7243CCAAE}"/>
            </c:ext>
          </c:extLst>
        </c:ser>
        <c:ser>
          <c:idx val="2"/>
          <c:order val="2"/>
          <c:tx>
            <c:strRef>
              <c:f>Sheet1!$B$1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4:$A$115</c:f>
              <c:numCache>
                <c:formatCode>General</c:formatCode>
                <c:ptCount val="2"/>
                <c:pt idx="0">
                  <c:v>0</c:v>
                </c:pt>
                <c:pt idx="1">
                  <c:v>-0.24804728835964945</c:v>
                </c:pt>
              </c:numCache>
            </c:numRef>
          </c:xVal>
          <c:yVal>
            <c:numRef>
              <c:f>Sheet1!$B$114:$B$115</c:f>
              <c:numCache>
                <c:formatCode>General</c:formatCode>
                <c:ptCount val="2"/>
                <c:pt idx="0">
                  <c:v>0.5546383901431974</c:v>
                </c:pt>
                <c:pt idx="1">
                  <c:v>0.5546383901431974</c:v>
                </c:pt>
              </c:numCache>
            </c:numRef>
          </c:yVal>
          <c:smooth val="0"/>
          <c:extLst>
            <c:ext xmlns:c16="http://schemas.microsoft.com/office/drawing/2014/chart" uri="{C3380CC4-5D6E-409C-BE32-E72D297353CC}">
              <c16:uniqueId val="{00000005-096C-4121-9522-6AB7243CCAAE}"/>
            </c:ext>
          </c:extLst>
        </c:ser>
        <c:ser>
          <c:idx val="3"/>
          <c:order val="3"/>
          <c:tx>
            <c:strRef>
              <c:f>Sheet1!$B$1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8:$A$119</c:f>
              <c:numCache>
                <c:formatCode>General</c:formatCode>
                <c:ptCount val="2"/>
                <c:pt idx="0">
                  <c:v>-0.24804728835964945</c:v>
                </c:pt>
                <c:pt idx="1">
                  <c:v>-0.24804728835964945</c:v>
                </c:pt>
              </c:numCache>
            </c:numRef>
          </c:xVal>
          <c:yVal>
            <c:numRef>
              <c:f>Sheet1!$B$118:$B$119</c:f>
              <c:numCache>
                <c:formatCode>General</c:formatCode>
                <c:ptCount val="2"/>
                <c:pt idx="0">
                  <c:v>0.55463839014319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2:$A$123</c:f>
              <c:numCache>
                <c:formatCode>General</c:formatCode>
                <c:ptCount val="2"/>
                <c:pt idx="0">
                  <c:v>0</c:v>
                </c:pt>
                <c:pt idx="1">
                  <c:v>0.12237658286967992</c:v>
                </c:pt>
              </c:numCache>
            </c:numRef>
          </c:xVal>
          <c:yVal>
            <c:numRef>
              <c:f>Sheet1!$B$122:$B$123</c:f>
              <c:numCache>
                <c:formatCode>General</c:formatCode>
                <c:ptCount val="2"/>
                <c:pt idx="0">
                  <c:v>0.3654738250256195</c:v>
                </c:pt>
                <c:pt idx="1">
                  <c:v>0.3654738250256195</c:v>
                </c:pt>
              </c:numCache>
            </c:numRef>
          </c:yVal>
          <c:smooth val="0"/>
          <c:extLst>
            <c:ext xmlns:c16="http://schemas.microsoft.com/office/drawing/2014/chart" uri="{C3380CC4-5D6E-409C-BE32-E72D297353CC}">
              <c16:uniqueId val="{0000000D-096C-4121-9522-6AB7243CCAAE}"/>
            </c:ext>
          </c:extLst>
        </c:ser>
        <c:ser>
          <c:idx val="5"/>
          <c:order val="5"/>
          <c:tx>
            <c:strRef>
              <c:f>Sheet1!$B$1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0.12237658286967992</c:v>
                </c:pt>
                <c:pt idx="1">
                  <c:v>0.12237658286967992</c:v>
                </c:pt>
              </c:numCache>
            </c:numRef>
          </c:xVal>
          <c:yVal>
            <c:numRef>
              <c:f>Sheet1!$B$126:$B$127</c:f>
              <c:numCache>
                <c:formatCode>General</c:formatCode>
                <c:ptCount val="2"/>
                <c:pt idx="0">
                  <c:v>0.36547382502561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9</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0:$A$131</c:f>
              <c:numCache>
                <c:formatCode>General</c:formatCode>
                <c:ptCount val="2"/>
                <c:pt idx="0">
                  <c:v>0</c:v>
                </c:pt>
                <c:pt idx="1">
                  <c:v>0.5234021254933974</c:v>
                </c:pt>
              </c:numCache>
            </c:numRef>
          </c:xVal>
          <c:yVal>
            <c:numRef>
              <c:f>Sheet1!$B$130:$B$131</c:f>
              <c:numCache>
                <c:formatCode>General</c:formatCode>
                <c:ptCount val="2"/>
                <c:pt idx="0">
                  <c:v>0.16068188729304442</c:v>
                </c:pt>
                <c:pt idx="1">
                  <c:v>0.16068188729304442</c:v>
                </c:pt>
              </c:numCache>
            </c:numRef>
          </c:yVal>
          <c:smooth val="0"/>
          <c:extLst>
            <c:ext xmlns:c16="http://schemas.microsoft.com/office/drawing/2014/chart" uri="{C3380CC4-5D6E-409C-BE32-E72D297353CC}">
              <c16:uniqueId val="{00000015-096C-4121-9522-6AB7243CCAAE}"/>
            </c:ext>
          </c:extLst>
        </c:ser>
        <c:ser>
          <c:idx val="7"/>
          <c:order val="7"/>
          <c:tx>
            <c:strRef>
              <c:f>Sheet1!$B$133</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0.5234021254933974</c:v>
                </c:pt>
                <c:pt idx="1">
                  <c:v>0.5234021254933974</c:v>
                </c:pt>
              </c:numCache>
            </c:numRef>
          </c:xVal>
          <c:yVal>
            <c:numRef>
              <c:f>Sheet1!$B$134:$B$135</c:f>
              <c:numCache>
                <c:formatCode>General</c:formatCode>
                <c:ptCount val="2"/>
                <c:pt idx="0">
                  <c:v>0.1606818872930444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7</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8:$A$192</c:f>
              <c:numCache>
                <c:formatCode>General</c:formatCode>
                <c:ptCount val="55"/>
                <c:pt idx="0">
                  <c:v>0.5665613693877178</c:v>
                </c:pt>
                <c:pt idx="1">
                  <c:v>0.3631343149488395</c:v>
                </c:pt>
                <c:pt idx="2">
                  <c:v>0.3345825138386957</c:v>
                </c:pt>
                <c:pt idx="3">
                  <c:v>0.35774438837828637</c:v>
                </c:pt>
                <c:pt idx="4">
                  <c:v>0.3182858540925267</c:v>
                </c:pt>
                <c:pt idx="5">
                  <c:v>0.3601065630026954</c:v>
                </c:pt>
                <c:pt idx="6">
                  <c:v>0.3312883995459705</c:v>
                </c:pt>
                <c:pt idx="7">
                  <c:v>0.34644036896870534</c:v>
                </c:pt>
                <c:pt idx="8">
                  <c:v>0.4023168677087534</c:v>
                </c:pt>
                <c:pt idx="9">
                  <c:v>0.3392478987993139</c:v>
                </c:pt>
                <c:pt idx="10">
                  <c:v>0.38043391362383927</c:v>
                </c:pt>
                <c:pt idx="11">
                  <c:v>0.2968613435396595</c:v>
                </c:pt>
                <c:pt idx="12">
                  <c:v>0.243830254408653</c:v>
                </c:pt>
                <c:pt idx="13">
                  <c:v>0.24595797312298934</c:v>
                </c:pt>
                <c:pt idx="14">
                  <c:v>0.23635796265692385</c:v>
                </c:pt>
                <c:pt idx="15">
                  <c:v>0.22338079896907215</c:v>
                </c:pt>
                <c:pt idx="16">
                  <c:v>0.2509309166097271</c:v>
                </c:pt>
                <c:pt idx="17">
                  <c:v>0.17201121306949124</c:v>
                </c:pt>
                <c:pt idx="18">
                  <c:v>0.23939693724163846</c:v>
                </c:pt>
                <c:pt idx="19">
                  <c:v>0.22983044152265028</c:v>
                </c:pt>
                <c:pt idx="20">
                  <c:v>0.20086150671629713</c:v>
                </c:pt>
                <c:pt idx="21">
                  <c:v>0.2902638090175422</c:v>
                </c:pt>
                <c:pt idx="22">
                  <c:v>0.2192933459775565</c:v>
                </c:pt>
                <c:pt idx="23">
                  <c:v>0.24531420122889436</c:v>
                </c:pt>
                <c:pt idx="24">
                  <c:v>0.19463319278932287</c:v>
                </c:pt>
                <c:pt idx="25">
                  <c:v>0.205969452181987</c:v>
                </c:pt>
                <c:pt idx="26">
                  <c:v>0.27000598382749325</c:v>
                </c:pt>
                <c:pt idx="27">
                  <c:v>0.24118319509403052</c:v>
                </c:pt>
                <c:pt idx="28">
                  <c:v>0.3002265701102904</c:v>
                </c:pt>
                <c:pt idx="29">
                  <c:v>0.27354636554497525</c:v>
                </c:pt>
                <c:pt idx="30">
                  <c:v>0.42196338189904314</c:v>
                </c:pt>
                <c:pt idx="31">
                  <c:v>0.36634268041237117</c:v>
                </c:pt>
                <c:pt idx="32">
                  <c:v>0.3364989009733431</c:v>
                </c:pt>
                <c:pt idx="33">
                  <c:v>0.3165669029694651</c:v>
                </c:pt>
                <c:pt idx="34">
                  <c:v>0.5354154732888577</c:v>
                </c:pt>
                <c:pt idx="35">
                  <c:v>0.3492640420139122</c:v>
                </c:pt>
                <c:pt idx="36">
                  <c:v>0.3246429958455694</c:v>
                </c:pt>
                <c:pt idx="37">
                  <c:v>0.18928291991495394</c:v>
                </c:pt>
                <c:pt idx="38">
                  <c:v>0.18840996814388217</c:v>
                </c:pt>
                <c:pt idx="39">
                  <c:v>0.2263077611215753</c:v>
                </c:pt>
                <c:pt idx="40">
                  <c:v>0.20831484406308196</c:v>
                </c:pt>
                <c:pt idx="41">
                  <c:v>0.2169703241584695</c:v>
                </c:pt>
                <c:pt idx="42">
                  <c:v>0.2861123113207547</c:v>
                </c:pt>
                <c:pt idx="43">
                  <c:v>0.23397349818141705</c:v>
                </c:pt>
                <c:pt idx="44">
                  <c:v>0.22304844415737007</c:v>
                </c:pt>
                <c:pt idx="45">
                  <c:v>0.2632368838248519</c:v>
                </c:pt>
                <c:pt idx="46">
                  <c:v>0.2299919027766788</c:v>
                </c:pt>
                <c:pt idx="47">
                  <c:v>0.16955701629036868</c:v>
                </c:pt>
                <c:pt idx="48">
                  <c:v>0.2649271217623031</c:v>
                </c:pt>
                <c:pt idx="49">
                  <c:v>0.3491870941298932</c:v>
                </c:pt>
                <c:pt idx="50">
                  <c:v>0.3329329961985302</c:v>
                </c:pt>
                <c:pt idx="51">
                  <c:v>0.38386313228382596</c:v>
                </c:pt>
                <c:pt idx="52">
                  <c:v>0.12237658286967992</c:v>
                </c:pt>
                <c:pt idx="53">
                  <c:v>-0.24804728835964945</c:v>
                </c:pt>
                <c:pt idx="54">
                  <c:v>0.5234021254933974</c:v>
                </c:pt>
              </c:numCache>
            </c:numRef>
          </c:xVal>
          <c:yVal>
            <c:numRef>
              <c:f>Sheet1!$B$138:$B$192</c:f>
              <c:numCache>
                <c:formatCode>General</c:formatCode>
                <c:ptCount val="55"/>
                <c:pt idx="0">
                  <c:v>0.13864173211897857</c:v>
                </c:pt>
                <c:pt idx="1">
                  <c:v>0.24252593957670088</c:v>
                </c:pt>
                <c:pt idx="2">
                  <c:v>0.2571065037892599</c:v>
                </c:pt>
                <c:pt idx="3">
                  <c:v>0.24527841638752482</c:v>
                </c:pt>
                <c:pt idx="4">
                  <c:v>0.2654287281197882</c:v>
                </c:pt>
                <c:pt idx="5">
                  <c:v>0.24407212335334433</c:v>
                </c:pt>
                <c:pt idx="6">
                  <c:v>0.25878871097413425</c:v>
                </c:pt>
                <c:pt idx="7">
                  <c:v>0.25105104629012154</c:v>
                </c:pt>
                <c:pt idx="8">
                  <c:v>0.22251656348431367</c:v>
                </c:pt>
                <c:pt idx="9">
                  <c:v>0.25472402904687197</c:v>
                </c:pt>
                <c:pt idx="10">
                  <c:v>0.2336915438634749</c:v>
                </c:pt>
                <c:pt idx="11">
                  <c:v>0.2763695948845033</c:v>
                </c:pt>
                <c:pt idx="12">
                  <c:v>0.3034510107767523</c:v>
                </c:pt>
                <c:pt idx="13">
                  <c:v>0.3023644474730586</c:v>
                </c:pt>
                <c:pt idx="14">
                  <c:v>0.30726689017717146</c:v>
                </c:pt>
                <c:pt idx="15">
                  <c:v>0.3138939456024205</c:v>
                </c:pt>
                <c:pt idx="16">
                  <c:v>0.29982491164643615</c:v>
                </c:pt>
                <c:pt idx="17">
                  <c:v>0.3401268807119084</c:v>
                </c:pt>
                <c:pt idx="18">
                  <c:v>0.30571497532942393</c:v>
                </c:pt>
                <c:pt idx="19">
                  <c:v>0.3106003030389365</c:v>
                </c:pt>
                <c:pt idx="20">
                  <c:v>0.3253938851490124</c:v>
                </c:pt>
                <c:pt idx="21">
                  <c:v>0.27973876152212496</c:v>
                </c:pt>
                <c:pt idx="22">
                  <c:v>0.3159812875035042</c:v>
                </c:pt>
                <c:pt idx="23">
                  <c:v>0.3026932028256152</c:v>
                </c:pt>
                <c:pt idx="24">
                  <c:v>0.3285745016991872</c:v>
                </c:pt>
                <c:pt idx="25">
                  <c:v>0.32278540778643083</c:v>
                </c:pt>
                <c:pt idx="26">
                  <c:v>0.2900838364212831</c:v>
                </c:pt>
                <c:pt idx="27">
                  <c:v>0.30480278603472694</c:v>
                </c:pt>
                <c:pt idx="28">
                  <c:v>0.27465107275297085</c:v>
                </c:pt>
                <c:pt idx="29">
                  <c:v>0.28827586771312425</c:v>
                </c:pt>
                <c:pt idx="30">
                  <c:v>0.21248366711467975</c:v>
                </c:pt>
                <c:pt idx="31">
                  <c:v>0.24088752179430187</c:v>
                </c:pt>
                <c:pt idx="32">
                  <c:v>0.25612786130134624</c:v>
                </c:pt>
                <c:pt idx="33">
                  <c:v>0.2663065458494426</c:v>
                </c:pt>
                <c:pt idx="34">
                  <c:v>0.15454702426763328</c:v>
                </c:pt>
                <c:pt idx="35">
                  <c:v>0.24960907959975104</c:v>
                </c:pt>
                <c:pt idx="36">
                  <c:v>0.26218232299175415</c:v>
                </c:pt>
                <c:pt idx="37">
                  <c:v>0.3313067285348433</c:v>
                </c:pt>
                <c:pt idx="38">
                  <c:v>0.33175251930312016</c:v>
                </c:pt>
                <c:pt idx="39">
                  <c:v>0.3123992322059637</c:v>
                </c:pt>
                <c:pt idx="40">
                  <c:v>0.32158768520514786</c:v>
                </c:pt>
                <c:pt idx="41">
                  <c:v>0.317167586352733</c:v>
                </c:pt>
                <c:pt idx="42">
                  <c:v>0.2818588091686041</c:v>
                </c:pt>
                <c:pt idx="43">
                  <c:v>0.3084845659820558</c:v>
                </c:pt>
                <c:pt idx="44">
                  <c:v>0.31406366941965647</c:v>
                </c:pt>
                <c:pt idx="45">
                  <c:v>0.29354061649862406</c:v>
                </c:pt>
                <c:pt idx="46">
                  <c:v>0.31051784953020267</c:v>
                </c:pt>
                <c:pt idx="47">
                  <c:v>0.34138016675120975</c:v>
                </c:pt>
                <c:pt idx="48">
                  <c:v>0.2926774617474951</c:v>
                </c:pt>
                <c:pt idx="49">
                  <c:v>0.24964837461864078</c:v>
                </c:pt>
                <c:pt idx="50">
                  <c:v>0.25794886388344107</c:v>
                </c:pt>
                <c:pt idx="51">
                  <c:v>0.23194034285594625</c:v>
                </c:pt>
                <c:pt idx="52">
                  <c:v>0.3654738250256195</c:v>
                </c:pt>
                <c:pt idx="53">
                  <c:v>0.5546383901431974</c:v>
                </c:pt>
                <c:pt idx="54">
                  <c:v>0.1606818872930444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74264705882353"/>
          <c:min val="0.068513853904282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7</c:f>
              <c:numCache>
                <c:formatCode>General</c:formatCode>
                <c:ptCount val="56"/>
                <c:pt idx="0">
                  <c:v>850.1687</c:v>
                </c:pt>
                <c:pt idx="1">
                  <c:v>873.6344</c:v>
                </c:pt>
                <c:pt idx="2">
                  <c:v>892.9957</c:v>
                </c:pt>
                <c:pt idx="3">
                  <c:v>896.3525</c:v>
                </c:pt>
                <c:pt idx="4">
                  <c:v>899.5039</c:v>
                </c:pt>
                <c:pt idx="5">
                  <c:v>910.5803</c:v>
                </c:pt>
                <c:pt idx="6">
                  <c:v>919.3563</c:v>
                </c:pt>
                <c:pt idx="7">
                  <c:v>905.1771</c:v>
                </c:pt>
                <c:pt idx="8">
                  <c:v>857.1164</c:v>
                </c:pt>
                <c:pt idx="9">
                  <c:v>882.225</c:v>
                </c:pt>
                <c:pt idx="10">
                  <c:v>803.5458</c:v>
                </c:pt>
                <c:pt idx="11">
                  <c:v>788.8133</c:v>
                </c:pt>
                <c:pt idx="12">
                  <c:v>944.3208</c:v>
                </c:pt>
                <c:pt idx="13">
                  <c:v>920.4034</c:v>
                </c:pt>
                <c:pt idx="14">
                  <c:v>942.1783</c:v>
                </c:pt>
                <c:pt idx="15">
                  <c:v>940.2241</c:v>
                </c:pt>
                <c:pt idx="16">
                  <c:v>942.6482</c:v>
                </c:pt>
                <c:pt idx="17">
                  <c:v>923.1878</c:v>
                </c:pt>
                <c:pt idx="18">
                  <c:v>945.0485</c:v>
                </c:pt>
                <c:pt idx="19">
                  <c:v>948.6364</c:v>
                </c:pt>
                <c:pt idx="20">
                  <c:v>962.3908</c:v>
                </c:pt>
                <c:pt idx="21">
                  <c:v>900.8788</c:v>
                </c:pt>
                <c:pt idx="22">
                  <c:v>826.9457</c:v>
                </c:pt>
                <c:pt idx="23">
                  <c:v>789.4486</c:v>
                </c:pt>
                <c:pt idx="24">
                  <c:v>629.6979</c:v>
                </c:pt>
                <c:pt idx="25">
                  <c:v>384.9076</c:v>
                </c:pt>
                <c:pt idx="26">
                  <c:v>679.4394</c:v>
                </c:pt>
                <c:pt idx="27">
                  <c:v>697.9655</c:v>
                </c:pt>
                <c:pt idx="28">
                  <c:v>788.1087</c:v>
                </c:pt>
                <c:pt idx="29">
                  <c:v>946.7083</c:v>
                </c:pt>
                <c:pt idx="30">
                  <c:v>1010.52</c:v>
                </c:pt>
                <c:pt idx="31">
                  <c:v>848.4242</c:v>
                </c:pt>
                <c:pt idx="32">
                  <c:v>1063.5357</c:v>
                </c:pt>
                <c:pt idx="33">
                  <c:v>1207.8947</c:v>
                </c:pt>
                <c:pt idx="34">
                  <c:v>1178.8667</c:v>
                </c:pt>
                <c:pt idx="35">
                  <c:v>1010.7143</c:v>
                </c:pt>
                <c:pt idx="36">
                  <c:v>1076.88</c:v>
                </c:pt>
                <c:pt idx="37">
                  <c:v>1074.7188</c:v>
                </c:pt>
                <c:pt idx="38">
                  <c:v>1109.9167</c:v>
                </c:pt>
                <c:pt idx="39">
                  <c:v>1188.303</c:v>
                </c:pt>
                <c:pt idx="40">
                  <c:v>1208.5517</c:v>
                </c:pt>
                <c:pt idx="41">
                  <c:v>1257.2</c:v>
                </c:pt>
                <c:pt idx="42">
                  <c:v>1281.4545</c:v>
                </c:pt>
                <c:pt idx="43">
                  <c:v>1093.4118</c:v>
                </c:pt>
                <c:pt idx="44">
                  <c:v>1010.225</c:v>
                </c:pt>
                <c:pt idx="45">
                  <c:v>1149.9</c:v>
                </c:pt>
                <c:pt idx="46">
                  <c:v>1103.7037</c:v>
                </c:pt>
                <c:pt idx="47">
                  <c:v>1099.8333</c:v>
                </c:pt>
                <c:pt idx="48">
                  <c:v>1006.2326</c:v>
                </c:pt>
                <c:pt idx="49">
                  <c:v>981.3279</c:v>
                </c:pt>
                <c:pt idx="50">
                  <c:v>798.9846</c:v>
                </c:pt>
                <c:pt idx="51">
                  <c:v>812.8333</c:v>
                </c:pt>
                <c:pt idx="52">
                  <c:v>817.0282</c:v>
                </c:pt>
                <c:pt idx="53">
                  <c:v>1070.5789</c:v>
                </c:pt>
                <c:pt idx="54">
                  <c:v>1131.0</c:v>
                </c:pt>
                <c:pt idx="55">
                  <c:v>1112.7241</c:v>
                </c:pt>
              </c:numCache>
            </c:numRef>
          </c:xVal>
          <c:yVal>
            <c:numRef>
              <c:f>Sheet1!$B$2:$B$57</c:f>
              <c:numCache>
                <c:formatCode>General</c:formatCode>
                <c:ptCount val="56"/>
                <c:pt idx="0">
                  <c:v>0.6645220588235294</c:v>
                </c:pt>
                <c:pt idx="1">
                  <c:v>0.5382113821138211</c:v>
                </c:pt>
                <c:pt idx="2">
                  <c:v>0.5054229934924078</c:v>
                </c:pt>
                <c:pt idx="3">
                  <c:v>0.5344202898550725</c:v>
                </c:pt>
                <c:pt idx="4">
                  <c:v>0.581081081081081</c:v>
                </c:pt>
                <c:pt idx="5">
                  <c:v>0.5744047619047619</c:v>
                </c:pt>
                <c:pt idx="6">
                  <c:v>0.554140127388535</c:v>
                </c:pt>
                <c:pt idx="7">
                  <c:v>0.5289256198347108</c:v>
                </c:pt>
                <c:pt idx="8">
                  <c:v>0.5563549160671463</c:v>
                </c:pt>
                <c:pt idx="9">
                  <c:v>0.5072463768115942</c:v>
                </c:pt>
                <c:pt idx="10">
                  <c:v>0.5594405594405595</c:v>
                </c:pt>
                <c:pt idx="11">
                  <c:v>0.551490514905149</c:v>
                </c:pt>
                <c:pt idx="12">
                  <c:v>0.4528301886792453</c:v>
                </c:pt>
                <c:pt idx="13">
                  <c:v>0.45419103313840153</c:v>
                </c:pt>
                <c:pt idx="14">
                  <c:v>0.45907473309608543</c:v>
                </c:pt>
                <c:pt idx="15">
                  <c:v>0.4027777777777778</c:v>
                </c:pt>
                <c:pt idx="16">
                  <c:v>0.398</c:v>
                </c:pt>
                <c:pt idx="17">
                  <c:v>0.447265625</c:v>
                </c:pt>
                <c:pt idx="18">
                  <c:v>0.3525641025641026</c:v>
                </c:pt>
                <c:pt idx="19">
                  <c:v>0.33060109289617484</c:v>
                </c:pt>
                <c:pt idx="20">
                  <c:v>0.3425196850393701</c:v>
                </c:pt>
                <c:pt idx="21">
                  <c:v>0.2608695652173913</c:v>
                </c:pt>
                <c:pt idx="22">
                  <c:v>0.3333333333333333</c:v>
                </c:pt>
                <c:pt idx="23">
                  <c:v>0.3614864864864865</c:v>
                </c:pt>
                <c:pt idx="24">
                  <c:v>0.32</c:v>
                </c:pt>
                <c:pt idx="25">
                  <c:v>0.5139664804469274</c:v>
                </c:pt>
                <c:pt idx="26">
                  <c:v>0.36065573770491804</c:v>
                </c:pt>
                <c:pt idx="27">
                  <c:v>0.34523809523809523</c:v>
                </c:pt>
                <c:pt idx="28">
                  <c:v>0.2857142857142857</c:v>
                </c:pt>
                <c:pt idx="29">
                  <c:v>0.21238938053097345</c:v>
                </c:pt>
                <c:pt idx="30">
                  <c:v>0.2066115702479339</c:v>
                </c:pt>
                <c:pt idx="31">
                  <c:v>0.21019108280254778</c:v>
                </c:pt>
                <c:pt idx="32">
                  <c:v>0.13930348258706468</c:v>
                </c:pt>
                <c:pt idx="33">
                  <c:v>0.13380281690140844</c:v>
                </c:pt>
                <c:pt idx="34">
                  <c:v>0.14150943396226415</c:v>
                </c:pt>
                <c:pt idx="35">
                  <c:v>0.1346153846153846</c:v>
                </c:pt>
                <c:pt idx="36">
                  <c:v>0.2</c:v>
                </c:pt>
                <c:pt idx="37">
                  <c:v>0.21052631578947367</c:v>
                </c:pt>
                <c:pt idx="38">
                  <c:v>0.19047619047619047</c:v>
                </c:pt>
                <c:pt idx="39">
                  <c:v>0.2214765100671141</c:v>
                </c:pt>
                <c:pt idx="40">
                  <c:v>0.23577235772357724</c:v>
                </c:pt>
                <c:pt idx="41">
                  <c:v>0.2229299363057325</c:v>
                </c:pt>
                <c:pt idx="42">
                  <c:v>0.11055276381909548</c:v>
                </c:pt>
                <c:pt idx="43">
                  <c:v>0.16037735849056603</c:v>
                </c:pt>
                <c:pt idx="44">
                  <c:v>0.21390374331550802</c:v>
                </c:pt>
                <c:pt idx="45">
                  <c:v>0.16759776536312848</c:v>
                </c:pt>
                <c:pt idx="46">
                  <c:v>0.13917525773195877</c:v>
                </c:pt>
                <c:pt idx="47">
                  <c:v>0.12345679012345678</c:v>
                </c:pt>
                <c:pt idx="48">
                  <c:v>0.13230769230769232</c:v>
                </c:pt>
                <c:pt idx="49">
                  <c:v>0.16666666666666666</c:v>
                </c:pt>
                <c:pt idx="50">
                  <c:v>0.26369168356997974</c:v>
                </c:pt>
                <c:pt idx="51">
                  <c:v>0.23801652892561984</c:v>
                </c:pt>
                <c:pt idx="52">
                  <c:v>0.17574257425742573</c:v>
                </c:pt>
                <c:pt idx="53">
                  <c:v>0.10106382978723404</c:v>
                </c:pt>
                <c:pt idx="54">
                  <c:v>0.11046511627906977</c:v>
                </c:pt>
                <c:pt idx="55">
                  <c:v>0.09508196721311475</c:v>
                </c:pt>
              </c:numCache>
            </c:numRef>
          </c:yVal>
          <c:smooth val="0"/>
          <c:extLst>
            <c:ext xmlns:c16="http://schemas.microsoft.com/office/drawing/2014/chart" uri="{C3380CC4-5D6E-409C-BE32-E72D297353CC}">
              <c16:uniqueId val="{00000000-F32D-48B7-BC20-E66FC6253BAD}"/>
            </c:ext>
          </c:extLst>
        </c:ser>
        <c:ser>
          <c:idx val="1"/>
          <c:order val="1"/>
          <c:tx>
            <c:strRef>
              <c:f>Sheet1!$B$5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0:$A$111</c:f>
              <c:numCache>
                <c:formatCode>General</c:formatCode>
                <c:ptCount val="52"/>
                <c:pt idx="0">
                  <c:v>1109.8182</c:v>
                </c:pt>
                <c:pt idx="1">
                  <c:v>727.5396</c:v>
                </c:pt>
                <c:pt idx="2">
                  <c:v>708.075</c:v>
                </c:pt>
                <c:pt idx="3">
                  <c:v>714.6445</c:v>
                </c:pt>
                <c:pt idx="4">
                  <c:v>715.5066</c:v>
                </c:pt>
                <c:pt idx="5">
                  <c:v>747.7813</c:v>
                </c:pt>
                <c:pt idx="6">
                  <c:v>729.6627</c:v>
                </c:pt>
                <c:pt idx="7">
                  <c:v>790.6759</c:v>
                </c:pt>
                <c:pt idx="8">
                  <c:v>818.37</c:v>
                </c:pt>
                <c:pt idx="9">
                  <c:v>791.1261</c:v>
                </c:pt>
                <c:pt idx="10">
                  <c:v>807.5344</c:v>
                </c:pt>
                <c:pt idx="11">
                  <c:v>562.3296</c:v>
                </c:pt>
                <c:pt idx="12">
                  <c:v>496.1844</c:v>
                </c:pt>
                <c:pt idx="13">
                  <c:v>513.9739</c:v>
                </c:pt>
                <c:pt idx="14">
                  <c:v>487.8586</c:v>
                </c:pt>
                <c:pt idx="15">
                  <c:v>485.3618</c:v>
                </c:pt>
                <c:pt idx="16">
                  <c:v>490.6058</c:v>
                </c:pt>
                <c:pt idx="17">
                  <c:v>472.0561</c:v>
                </c:pt>
                <c:pt idx="18">
                  <c:v>509.6282</c:v>
                </c:pt>
                <c:pt idx="19">
                  <c:v>500.3696</c:v>
                </c:pt>
                <c:pt idx="20">
                  <c:v>496.4493</c:v>
                </c:pt>
                <c:pt idx="21">
                  <c:v>600.6429</c:v>
                </c:pt>
                <c:pt idx="22">
                  <c:v>416.2407</c:v>
                </c:pt>
                <c:pt idx="23">
                  <c:v>419.8647</c:v>
                </c:pt>
                <c:pt idx="24">
                  <c:v>409.0541</c:v>
                </c:pt>
                <c:pt idx="25">
                  <c:v>443.6582</c:v>
                </c:pt>
                <c:pt idx="26">
                  <c:v>500.8611</c:v>
                </c:pt>
                <c:pt idx="27">
                  <c:v>487.6552</c:v>
                </c:pt>
                <c:pt idx="28">
                  <c:v>525.3333</c:v>
                </c:pt>
                <c:pt idx="29">
                  <c:v>521.8621</c:v>
                </c:pt>
                <c:pt idx="30">
                  <c:v>760.5714</c:v>
                </c:pt>
                <c:pt idx="31">
                  <c:v>621.8667</c:v>
                </c:pt>
                <c:pt idx="32">
                  <c:v>561.3333</c:v>
                </c:pt>
                <c:pt idx="33">
                  <c:v>638.3778</c:v>
                </c:pt>
                <c:pt idx="34">
                  <c:v>1035.8333</c:v>
                </c:pt>
                <c:pt idx="35">
                  <c:v>719.525</c:v>
                </c:pt>
                <c:pt idx="36">
                  <c:v>635.9655</c:v>
                </c:pt>
                <c:pt idx="37">
                  <c:v>400.6173</c:v>
                </c:pt>
                <c:pt idx="38">
                  <c:v>393.1837</c:v>
                </c:pt>
                <c:pt idx="39">
                  <c:v>464.4141</c:v>
                </c:pt>
                <c:pt idx="40">
                  <c:v>441.8462</c:v>
                </c:pt>
                <c:pt idx="41">
                  <c:v>463.6029</c:v>
                </c:pt>
                <c:pt idx="42">
                  <c:v>606.5581</c:v>
                </c:pt>
                <c:pt idx="43">
                  <c:v>497.1887</c:v>
                </c:pt>
                <c:pt idx="44">
                  <c:v>492.4615</c:v>
                </c:pt>
                <c:pt idx="45">
                  <c:v>567.8704</c:v>
                </c:pt>
                <c:pt idx="46">
                  <c:v>480.7627</c:v>
                </c:pt>
                <c:pt idx="47">
                  <c:v>370.8</c:v>
                </c:pt>
                <c:pt idx="48">
                  <c:v>586.6889</c:v>
                </c:pt>
                <c:pt idx="49">
                  <c:v>754.1489</c:v>
                </c:pt>
                <c:pt idx="50">
                  <c:v>717.2545</c:v>
                </c:pt>
                <c:pt idx="51">
                  <c:v>740.2941</c:v>
                </c:pt>
              </c:numCache>
            </c:numRef>
          </c:xVal>
          <c:yVal>
            <c:numRef>
              <c:f>Sheet1!$B$60:$B$111</c:f>
              <c:numCache>
                <c:formatCode>General</c:formatCode>
                <c:ptCount val="52"/>
                <c:pt idx="0">
                  <c:v>0.10679611650485436</c:v>
                </c:pt>
                <c:pt idx="1">
                  <c:v>0.3696808510638298</c:v>
                </c:pt>
                <c:pt idx="2">
                  <c:v>0.4928131416837782</c:v>
                </c:pt>
                <c:pt idx="3">
                  <c:v>0.5355648535564853</c:v>
                </c:pt>
                <c:pt idx="4">
                  <c:v>0.4670781893004115</c:v>
                </c:pt>
                <c:pt idx="5">
                  <c:v>0.32432432432432434</c:v>
                </c:pt>
                <c:pt idx="6">
                  <c:v>0.3393574297188755</c:v>
                </c:pt>
                <c:pt idx="7">
                  <c:v>0.37275064267352187</c:v>
                </c:pt>
                <c:pt idx="8">
                  <c:v>0.2808988764044944</c:v>
                </c:pt>
                <c:pt idx="9">
                  <c:v>0.27543424317617865</c:v>
                </c:pt>
                <c:pt idx="10">
                  <c:v>0.2841648590021692</c:v>
                </c:pt>
                <c:pt idx="11">
                  <c:v>0.39850746268656717</c:v>
                </c:pt>
                <c:pt idx="12">
                  <c:v>0.4279210925644917</c:v>
                </c:pt>
                <c:pt idx="13">
                  <c:v>0.41742286751361163</c:v>
                </c:pt>
                <c:pt idx="14">
                  <c:v>0.42350332594235035</c:v>
                </c:pt>
                <c:pt idx="15">
                  <c:v>0.37073170731707317</c:v>
                </c:pt>
                <c:pt idx="16">
                  <c:v>0.3881019830028329</c:v>
                </c:pt>
                <c:pt idx="17">
                  <c:v>0.3333333333333333</c:v>
                </c:pt>
                <c:pt idx="18">
                  <c:v>0.36792452830188677</c:v>
                </c:pt>
                <c:pt idx="19">
                  <c:v>0.3524904214559387</c:v>
                </c:pt>
                <c:pt idx="20">
                  <c:v>0.33495145631067963</c:v>
                </c:pt>
                <c:pt idx="21">
                  <c:v>0.2</c:v>
                </c:pt>
                <c:pt idx="22">
                  <c:v>0.463519313304721</c:v>
                </c:pt>
                <c:pt idx="23">
                  <c:v>0.5708154506437768</c:v>
                </c:pt>
                <c:pt idx="24">
                  <c:v>0.4530612244897959</c:v>
                </c:pt>
                <c:pt idx="25">
                  <c:v>0.37264150943396224</c:v>
                </c:pt>
                <c:pt idx="26">
                  <c:v>0.23076923076923078</c:v>
                </c:pt>
                <c:pt idx="27">
                  <c:v>0.19078947368421054</c:v>
                </c:pt>
                <c:pt idx="28">
                  <c:v>0.18274111675126903</c:v>
                </c:pt>
                <c:pt idx="29">
                  <c:v>0.19078947368421054</c:v>
                </c:pt>
                <c:pt idx="30">
                  <c:v>0.14093959731543623</c:v>
                </c:pt>
                <c:pt idx="31">
                  <c:v>0.11627906976744186</c:v>
                </c:pt>
                <c:pt idx="32">
                  <c:v>0.1694915254237288</c:v>
                </c:pt>
                <c:pt idx="33">
                  <c:v>0.22613065326633167</c:v>
                </c:pt>
                <c:pt idx="34">
                  <c:v>0.14788732394366197</c:v>
                </c:pt>
                <c:pt idx="35">
                  <c:v>0.17316017316017315</c:v>
                </c:pt>
                <c:pt idx="36">
                  <c:v>0.17159763313609466</c:v>
                </c:pt>
                <c:pt idx="37">
                  <c:v>0.34615384615384615</c:v>
                </c:pt>
                <c:pt idx="38">
                  <c:v>0.44545454545454544</c:v>
                </c:pt>
                <c:pt idx="39">
                  <c:v>0.339041095890411</c:v>
                </c:pt>
                <c:pt idx="40">
                  <c:v>0.22887323943661972</c:v>
                </c:pt>
                <c:pt idx="41">
                  <c:v>0.21587301587301588</c:v>
                </c:pt>
                <c:pt idx="42">
                  <c:v>0.14878892733564014</c:v>
                </c:pt>
                <c:pt idx="43">
                  <c:v>0.14171122994652408</c:v>
                </c:pt>
                <c:pt idx="44">
                  <c:v>0.13131313131313133</c:v>
                </c:pt>
                <c:pt idx="45">
                  <c:v>0.1323529411764706</c:v>
                </c:pt>
                <c:pt idx="46">
                  <c:v>0.17455621301775148</c:v>
                </c:pt>
                <c:pt idx="47">
                  <c:v>0.17543859649122806</c:v>
                </c:pt>
                <c:pt idx="48">
                  <c:v>0.12465373961218837</c:v>
                </c:pt>
                <c:pt idx="49">
                  <c:v>0.10262008733624454</c:v>
                </c:pt>
                <c:pt idx="50">
                  <c:v>0.088</c:v>
                </c:pt>
                <c:pt idx="51">
                  <c:v>0.08564231738035265</c:v>
                </c:pt>
              </c:numCache>
            </c:numRef>
          </c:yVal>
          <c:smooth val="0"/>
          <c:extLst>
            <c:ext xmlns:c16="http://schemas.microsoft.com/office/drawing/2014/chart" uri="{C3380CC4-5D6E-409C-BE32-E72D297353CC}">
              <c16:uniqueId val="{00000002-F32D-48B7-BC20-E66FC6253BAD}"/>
            </c:ext>
          </c:extLst>
        </c:ser>
        <c:ser>
          <c:idx val="2"/>
          <c:order val="2"/>
          <c:tx>
            <c:strRef>
              <c:f>Sheet1!$B$113</c:f>
              <c:strCache>
                <c:ptCount val="1"/>
                <c:pt idx="0">
                  <c:v>Custom Linep3yQ</c:v>
                </c:pt>
              </c:strCache>
            </c:strRef>
          </c:tx>
          <c:spPr>
            <a:ln w="19050" cap="rnd">
              <a:solidFill>
                <a:srgbClr val="C00000"/>
              </a:solidFill>
              <a:prstDash val="sysDot"/>
              <a:round/>
            </a:ln>
            <a:effectLst/>
          </c:spPr>
          <c:marker>
            <c:symbol val="none"/>
          </c:marker>
          <c:xVal>
            <c:numRef>
              <c:f>Sheet1!$A$114:$A$115</c:f>
              <c:numCache>
                <c:formatCode>General</c:formatCode>
                <c:ptCount val="2"/>
                <c:pt idx="0">
                  <c:v>0</c:v>
                </c:pt>
                <c:pt idx="1">
                  <c:v>-547.8435878869165</c:v>
                </c:pt>
              </c:numCache>
            </c:numRef>
          </c:xVal>
          <c:yVal>
            <c:numRef>
              <c:f>Sheet1!$B$114:$B$115</c:f>
              <c:numCache>
                <c:formatCode>General</c:formatCode>
                <c:ptCount val="2"/>
                <c:pt idx="0">
                  <c:v>0.5546383901431974</c:v>
                </c:pt>
                <c:pt idx="1">
                  <c:v>0.5546383901431974</c:v>
                </c:pt>
              </c:numCache>
            </c:numRef>
          </c:yVal>
          <c:smooth val="0"/>
          <c:extLst>
            <c:ext xmlns:c16="http://schemas.microsoft.com/office/drawing/2014/chart" uri="{C3380CC4-5D6E-409C-BE32-E72D297353CC}">
              <c16:uniqueId val="{00000003-F32D-48B7-BC20-E66FC6253BAD}"/>
            </c:ext>
          </c:extLst>
        </c:ser>
        <c:ser>
          <c:idx val="3"/>
          <c:order val="3"/>
          <c:tx>
            <c:strRef>
              <c:f>Sheet1!$B$1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8:$A$119</c:f>
              <c:numCache>
                <c:formatCode>General</c:formatCode>
                <c:ptCount val="2"/>
                <c:pt idx="0">
                  <c:v>-547.8435878869165</c:v>
                </c:pt>
                <c:pt idx="1">
                  <c:v>-547.8435878869165</c:v>
                </c:pt>
              </c:numCache>
            </c:numRef>
          </c:xVal>
          <c:yVal>
            <c:numRef>
              <c:f>Sheet1!$B$118:$B$119</c:f>
              <c:numCache>
                <c:formatCode>General</c:formatCode>
                <c:ptCount val="2"/>
                <c:pt idx="0">
                  <c:v>0.55463839014319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2:$A$123</c:f>
              <c:numCache>
                <c:formatCode>General</c:formatCode>
                <c:ptCount val="2"/>
                <c:pt idx="0">
                  <c:v>0</c:v>
                </c:pt>
                <c:pt idx="1">
                  <c:v>238.64306815831978</c:v>
                </c:pt>
              </c:numCache>
            </c:numRef>
          </c:xVal>
          <c:yVal>
            <c:numRef>
              <c:f>Sheet1!$B$122:$B$123</c:f>
              <c:numCache>
                <c:formatCode>General</c:formatCode>
                <c:ptCount val="2"/>
                <c:pt idx="0">
                  <c:v>0.3654738250256195</c:v>
                </c:pt>
                <c:pt idx="1">
                  <c:v>0.3654738250256195</c:v>
                </c:pt>
              </c:numCache>
            </c:numRef>
          </c:yVal>
          <c:smooth val="0"/>
          <c:extLst>
            <c:ext xmlns:c16="http://schemas.microsoft.com/office/drawing/2014/chart" uri="{C3380CC4-5D6E-409C-BE32-E72D297353CC}">
              <c16:uniqueId val="{0000000A-F32D-48B7-BC20-E66FC6253BAD}"/>
            </c:ext>
          </c:extLst>
        </c:ser>
        <c:ser>
          <c:idx val="5"/>
          <c:order val="5"/>
          <c:tx>
            <c:strRef>
              <c:f>Sheet1!$B$1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238.64306815831978</c:v>
                </c:pt>
                <c:pt idx="1">
                  <c:v>238.64306815831978</c:v>
                </c:pt>
              </c:numCache>
            </c:numRef>
          </c:xVal>
          <c:yVal>
            <c:numRef>
              <c:f>Sheet1!$B$126:$B$127</c:f>
              <c:numCache>
                <c:formatCode>General</c:formatCode>
                <c:ptCount val="2"/>
                <c:pt idx="0">
                  <c:v>0.36547382502561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9</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0:$A$131</c:f>
              <c:numCache>
                <c:formatCode>General</c:formatCode>
                <c:ptCount val="2"/>
                <c:pt idx="0">
                  <c:v>0</c:v>
                </c:pt>
                <c:pt idx="1">
                  <c:v>1090.1034153549751</c:v>
                </c:pt>
              </c:numCache>
            </c:numRef>
          </c:xVal>
          <c:yVal>
            <c:numRef>
              <c:f>Sheet1!$B$130:$B$131</c:f>
              <c:numCache>
                <c:formatCode>General</c:formatCode>
                <c:ptCount val="2"/>
                <c:pt idx="0">
                  <c:v>0.16068188729304442</c:v>
                </c:pt>
                <c:pt idx="1">
                  <c:v>0.16068188729304442</c:v>
                </c:pt>
              </c:numCache>
            </c:numRef>
          </c:yVal>
          <c:smooth val="0"/>
          <c:extLst>
            <c:ext xmlns:c16="http://schemas.microsoft.com/office/drawing/2014/chart" uri="{C3380CC4-5D6E-409C-BE32-E72D297353CC}">
              <c16:uniqueId val="{00000011-F32D-48B7-BC20-E66FC6253BAD}"/>
            </c:ext>
          </c:extLst>
        </c:ser>
        <c:ser>
          <c:idx val="7"/>
          <c:order val="7"/>
          <c:tx>
            <c:strRef>
              <c:f>Sheet1!$B$133</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1090.1034153549751</c:v>
                </c:pt>
                <c:pt idx="1">
                  <c:v>1090.1034153549751</c:v>
                </c:pt>
              </c:numCache>
            </c:numRef>
          </c:xVal>
          <c:yVal>
            <c:numRef>
              <c:f>Sheet1!$B$134:$B$135</c:f>
              <c:numCache>
                <c:formatCode>General</c:formatCode>
                <c:ptCount val="2"/>
                <c:pt idx="0">
                  <c:v>0.1606818872930444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7</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8:$A$192</c:f>
              <c:numCache>
                <c:formatCode>General</c:formatCode>
                <c:ptCount val="55"/>
                <c:pt idx="0">
                  <c:v>1109.8182</c:v>
                </c:pt>
                <c:pt idx="1">
                  <c:v>727.5396</c:v>
                </c:pt>
                <c:pt idx="2">
                  <c:v>708.075</c:v>
                </c:pt>
                <c:pt idx="3">
                  <c:v>714.6445</c:v>
                </c:pt>
                <c:pt idx="4">
                  <c:v>715.5066</c:v>
                </c:pt>
                <c:pt idx="5">
                  <c:v>747.7813</c:v>
                </c:pt>
                <c:pt idx="6">
                  <c:v>729.6627</c:v>
                </c:pt>
                <c:pt idx="7">
                  <c:v>790.6759</c:v>
                </c:pt>
                <c:pt idx="8">
                  <c:v>818.37</c:v>
                </c:pt>
                <c:pt idx="9">
                  <c:v>791.1261</c:v>
                </c:pt>
                <c:pt idx="10">
                  <c:v>807.5344</c:v>
                </c:pt>
                <c:pt idx="11">
                  <c:v>562.3296</c:v>
                </c:pt>
                <c:pt idx="12">
                  <c:v>496.1844</c:v>
                </c:pt>
                <c:pt idx="13">
                  <c:v>513.9739</c:v>
                </c:pt>
                <c:pt idx="14">
                  <c:v>487.8586</c:v>
                </c:pt>
                <c:pt idx="15">
                  <c:v>485.3618</c:v>
                </c:pt>
                <c:pt idx="16">
                  <c:v>490.6058</c:v>
                </c:pt>
                <c:pt idx="17">
                  <c:v>472.0561</c:v>
                </c:pt>
                <c:pt idx="18">
                  <c:v>509.6282</c:v>
                </c:pt>
                <c:pt idx="19">
                  <c:v>500.3696</c:v>
                </c:pt>
                <c:pt idx="20">
                  <c:v>496.4493</c:v>
                </c:pt>
                <c:pt idx="21">
                  <c:v>600.6429</c:v>
                </c:pt>
                <c:pt idx="22">
                  <c:v>416.2407</c:v>
                </c:pt>
                <c:pt idx="23">
                  <c:v>419.8647</c:v>
                </c:pt>
                <c:pt idx="24">
                  <c:v>409.0541</c:v>
                </c:pt>
                <c:pt idx="25">
                  <c:v>443.6582</c:v>
                </c:pt>
                <c:pt idx="26">
                  <c:v>500.8611</c:v>
                </c:pt>
                <c:pt idx="27">
                  <c:v>487.6552</c:v>
                </c:pt>
                <c:pt idx="28">
                  <c:v>525.3333</c:v>
                </c:pt>
                <c:pt idx="29">
                  <c:v>521.8621</c:v>
                </c:pt>
                <c:pt idx="30">
                  <c:v>760.5714</c:v>
                </c:pt>
                <c:pt idx="31">
                  <c:v>621.8667</c:v>
                </c:pt>
                <c:pt idx="32">
                  <c:v>561.3333</c:v>
                </c:pt>
                <c:pt idx="33">
                  <c:v>638.3778</c:v>
                </c:pt>
                <c:pt idx="34">
                  <c:v>1035.8333</c:v>
                </c:pt>
                <c:pt idx="35">
                  <c:v>719.525</c:v>
                </c:pt>
                <c:pt idx="36">
                  <c:v>635.9655</c:v>
                </c:pt>
                <c:pt idx="37">
                  <c:v>400.6173</c:v>
                </c:pt>
                <c:pt idx="38">
                  <c:v>393.1837</c:v>
                </c:pt>
                <c:pt idx="39">
                  <c:v>464.4141</c:v>
                </c:pt>
                <c:pt idx="40">
                  <c:v>441.8462</c:v>
                </c:pt>
                <c:pt idx="41">
                  <c:v>463.6029</c:v>
                </c:pt>
                <c:pt idx="42">
                  <c:v>606.5581</c:v>
                </c:pt>
                <c:pt idx="43">
                  <c:v>497.1887</c:v>
                </c:pt>
                <c:pt idx="44">
                  <c:v>492.4615</c:v>
                </c:pt>
                <c:pt idx="45">
                  <c:v>567.8704</c:v>
                </c:pt>
                <c:pt idx="46">
                  <c:v>480.7627</c:v>
                </c:pt>
                <c:pt idx="47">
                  <c:v>370.8</c:v>
                </c:pt>
                <c:pt idx="48">
                  <c:v>586.6889</c:v>
                </c:pt>
                <c:pt idx="49">
                  <c:v>754.1489</c:v>
                </c:pt>
                <c:pt idx="50">
                  <c:v>717.2545</c:v>
                </c:pt>
                <c:pt idx="51">
                  <c:v>740.2941</c:v>
                </c:pt>
                <c:pt idx="52">
                  <c:v>238.64306815831978</c:v>
                </c:pt>
                <c:pt idx="53">
                  <c:v>-547.8435878869165</c:v>
                </c:pt>
                <c:pt idx="54">
                  <c:v>1090.1034153549751</c:v>
                </c:pt>
              </c:numCache>
            </c:numRef>
          </c:xVal>
          <c:yVal>
            <c:numRef>
              <c:f>Sheet1!$B$138:$B$192</c:f>
              <c:numCache>
                <c:formatCode>General</c:formatCode>
                <c:ptCount val="55"/>
                <c:pt idx="0">
                  <c:v>0.155940117505728</c:v>
                </c:pt>
                <c:pt idx="1">
                  <c:v>0.24788518048540717</c:v>
                </c:pt>
                <c:pt idx="2">
                  <c:v>0.2525667762453431</c:v>
                </c:pt>
                <c:pt idx="3">
                  <c:v>0.25098669017396746</c:v>
                </c:pt>
                <c:pt idx="4">
                  <c:v>0.25077933920324924</c:v>
                </c:pt>
                <c:pt idx="5">
                  <c:v>0.2430166778244793</c:v>
                </c:pt>
                <c:pt idx="6">
                  <c:v>0.24737453572733764</c:v>
                </c:pt>
                <c:pt idx="7">
                  <c:v>0.23269973437410532</c:v>
                </c:pt>
                <c:pt idx="8">
                  <c:v>0.22603879188696233</c:v>
                </c:pt>
                <c:pt idx="9">
                  <c:v>0.23259145296009612</c:v>
                </c:pt>
                <c:pt idx="10">
                  <c:v>0.22864495379197772</c:v>
                </c:pt>
                <c:pt idx="11">
                  <c:v>0.28762123647931526</c:v>
                </c:pt>
                <c:pt idx="12">
                  <c:v>0.30353037860708143</c:v>
                </c:pt>
                <c:pt idx="13">
                  <c:v>0.299251675331834</c:v>
                </c:pt>
                <c:pt idx="14">
                  <c:v>0.305532887262696</c:v>
                </c:pt>
                <c:pt idx="15">
                  <c:v>0.306133413772021</c:v>
                </c:pt>
                <c:pt idx="16">
                  <c:v>0.30487213492914195</c:v>
                </c:pt>
                <c:pt idx="17">
                  <c:v>0.3093336803432827</c:v>
                </c:pt>
                <c:pt idx="18">
                  <c:v>0.3002968964354762</c:v>
                </c:pt>
                <c:pt idx="19">
                  <c:v>0.30252376071745185</c:v>
                </c:pt>
                <c:pt idx="20">
                  <c:v>0.3034666652650756</c:v>
                </c:pt>
                <c:pt idx="21">
                  <c:v>0.2784061802834954</c:v>
                </c:pt>
                <c:pt idx="22">
                  <c:v>0.3227583148068284</c:v>
                </c:pt>
                <c:pt idx="23">
                  <c:v>0.3218866758810858</c:v>
                </c:pt>
                <c:pt idx="24">
                  <c:v>0.324486824824417</c:v>
                </c:pt>
                <c:pt idx="25">
                  <c:v>0.31616389972775943</c:v>
                </c:pt>
                <c:pt idx="26">
                  <c:v>0.3024055458907403</c:v>
                </c:pt>
                <c:pt idx="27">
                  <c:v>0.3055818087189587</c:v>
                </c:pt>
                <c:pt idx="28">
                  <c:v>0.29651952985361113</c:v>
                </c:pt>
                <c:pt idx="29">
                  <c:v>0.2973544175575398</c:v>
                </c:pt>
                <c:pt idx="30">
                  <c:v>0.23994042257499268</c:v>
                </c:pt>
                <c:pt idx="31">
                  <c:v>0.2733014644357652</c:v>
                </c:pt>
                <c:pt idx="32">
                  <c:v>0.28786086502835423</c:v>
                </c:pt>
                <c:pt idx="33">
                  <c:v>0.26933023996920136</c:v>
                </c:pt>
                <c:pt idx="34">
                  <c:v>0.17373485226212101</c:v>
                </c:pt>
                <c:pt idx="35">
                  <c:v>0.24981283979397673</c:v>
                </c:pt>
                <c:pt idx="36">
                  <c:v>0.26991044266803377</c:v>
                </c:pt>
                <c:pt idx="37">
                  <c:v>0.32651603102990945</c:v>
                </c:pt>
                <c:pt idx="38">
                  <c:v>0.328303949108938</c:v>
                </c:pt>
                <c:pt idx="39">
                  <c:v>0.31117172247091085</c:v>
                </c:pt>
                <c:pt idx="40">
                  <c:v>0.3165997191906307</c:v>
                </c:pt>
                <c:pt idx="41">
                  <c:v>0.31136683105164</c:v>
                </c:pt>
                <c:pt idx="42">
                  <c:v>0.2769834654453187</c:v>
                </c:pt>
                <c:pt idx="43">
                  <c:v>0.3032888259103035</c:v>
                </c:pt>
                <c:pt idx="44">
                  <c:v>0.3044258048092467</c:v>
                </c:pt>
                <c:pt idx="45">
                  <c:v>0.2862885717553213</c:v>
                </c:pt>
                <c:pt idx="46">
                  <c:v>0.30723958225529435</c:v>
                </c:pt>
                <c:pt idx="47">
                  <c:v>0.3336876423269687</c:v>
                </c:pt>
                <c:pt idx="48">
                  <c:v>0.28176237497715195</c:v>
                </c:pt>
                <c:pt idx="49">
                  <c:v>0.24148515243166527</c:v>
                </c:pt>
                <c:pt idx="50">
                  <c:v>0.2503589369741363</c:v>
                </c:pt>
                <c:pt idx="51">
                  <c:v>0.24481748769335887</c:v>
                </c:pt>
                <c:pt idx="52">
                  <c:v>0.3654738250256195</c:v>
                </c:pt>
                <c:pt idx="53">
                  <c:v>0.5546383901431974</c:v>
                </c:pt>
                <c:pt idx="54">
                  <c:v>0.1606818872930444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3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74264705882353"/>
          <c:min val="0.068513853904282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55</c:f>
              <c:numCache>
                <c:formatCode>General</c:formatCode>
                <c:ptCount val="52"/>
                <c:pt idx="0">
                  <c:v>0.13699204302580661</c:v>
                </c:pt>
                <c:pt idx="1">
                  <c:v>0.10689679694387305</c:v>
                </c:pt>
                <c:pt idx="2">
                  <c:v>0.10823524915927851</c:v>
                </c:pt>
                <c:pt idx="3">
                  <c:v>0.1341771926118895</c:v>
                </c:pt>
                <c:pt idx="4">
                  <c:v>0.10363465319645865</c:v>
                </c:pt>
                <c:pt idx="5">
                  <c:v>0.13069799297534027</c:v>
                </c:pt>
                <c:pt idx="6">
                  <c:v>0.1251350883210427</c:v>
                </c:pt>
                <c:pt idx="7">
                  <c:v>0.11735231628355688</c:v>
                </c:pt>
                <c:pt idx="8">
                  <c:v>0.15805429116714897</c:v>
                </c:pt>
                <c:pt idx="9">
                  <c:v>0.1314672512520509</c:v>
                </c:pt>
                <c:pt idx="10">
                  <c:v>0.11500267378727191</c:v>
                </c:pt>
                <c:pt idx="11">
                  <c:v>0.09614663116296233</c:v>
                </c:pt>
                <c:pt idx="12">
                  <c:v>0.08644004806580131</c:v>
                </c:pt>
                <c:pt idx="13">
                  <c:v>0.08427936946975664</c:v>
                </c:pt>
                <c:pt idx="14">
                  <c:v>0.08762053178412212</c:v>
                </c:pt>
                <c:pt idx="15">
                  <c:v>0.055140651537959044</c:v>
                </c:pt>
                <c:pt idx="16">
                  <c:v>0.07590522016276263</c:v>
                </c:pt>
                <c:pt idx="17">
                  <c:v>0.07958013587468818</c:v>
                </c:pt>
                <c:pt idx="18">
                  <c:v>0.08621691761123329</c:v>
                </c:pt>
                <c:pt idx="19">
                  <c:v>0.10030749402443541</c:v>
                </c:pt>
                <c:pt idx="20">
                  <c:v>0.09990001934817283</c:v>
                </c:pt>
                <c:pt idx="21">
                  <c:v>0.13143650119578762</c:v>
                </c:pt>
                <c:pt idx="22">
                  <c:v>0.08044231215213359</c:v>
                </c:pt>
                <c:pt idx="23">
                  <c:v>0.07509541129533878</c:v>
                </c:pt>
                <c:pt idx="24">
                  <c:v>0.07172955648782295</c:v>
                </c:pt>
                <c:pt idx="25">
                  <c:v>0.09302810780845241</c:v>
                </c:pt>
                <c:pt idx="26">
                  <c:v>0.08399481804460843</c:v>
                </c:pt>
                <c:pt idx="27">
                  <c:v>0.08958860356197108</c:v>
                </c:pt>
                <c:pt idx="28">
                  <c:v>0.11038578215346298</c:v>
                </c:pt>
                <c:pt idx="29">
                  <c:v>0.1122646229966656</c:v>
                </c:pt>
                <c:pt idx="30">
                  <c:v>0.14852009373169303</c:v>
                </c:pt>
                <c:pt idx="31">
                  <c:v>0.10187577282252139</c:v>
                </c:pt>
                <c:pt idx="32">
                  <c:v>0.11845140339915737</c:v>
                </c:pt>
                <c:pt idx="33">
                  <c:v>0.13405665686686266</c:v>
                </c:pt>
                <c:pt idx="34">
                  <c:v>0.1998636425029425</c:v>
                </c:pt>
                <c:pt idx="35">
                  <c:v>0.15785547785547785</c:v>
                </c:pt>
                <c:pt idx="36">
                  <c:v>0.13102848996163274</c:v>
                </c:pt>
                <c:pt idx="37">
                  <c:v>0.09337059201344404</c:v>
                </c:pt>
                <c:pt idx="38">
                  <c:v>0.07800576076188837</c:v>
                </c:pt>
                <c:pt idx="39">
                  <c:v>0.09087576333617106</c:v>
                </c:pt>
                <c:pt idx="40">
                  <c:v>0.0840121593839499</c:v>
                </c:pt>
                <c:pt idx="41">
                  <c:v>0.08741245846001555</c:v>
                </c:pt>
                <c:pt idx="42">
                  <c:v>0.11161328495932853</c:v>
                </c:pt>
                <c:pt idx="43">
                  <c:v>0.10948422005198857</c:v>
                </c:pt>
                <c:pt idx="44">
                  <c:v>0.11218842951393712</c:v>
                </c:pt>
                <c:pt idx="45">
                  <c:v>0.12210233728397307</c:v>
                </c:pt>
                <c:pt idx="46">
                  <c:v>0.1099936201953705</c:v>
                </c:pt>
                <c:pt idx="47">
                  <c:v>0.07878856504243587</c:v>
                </c:pt>
                <c:pt idx="48">
                  <c:v>0.12432554710527058</c:v>
                </c:pt>
                <c:pt idx="49">
                  <c:v>0.15417704379280456</c:v>
                </c:pt>
                <c:pt idx="50">
                  <c:v>0.1616101465434888</c:v>
                </c:pt>
                <c:pt idx="51">
                  <c:v>0.16494966577540107</c:v>
                </c:pt>
              </c:numCache>
            </c:numRef>
          </c:xVal>
          <c:yVal>
            <c:numRef>
              <c:f>Sheet1!$B$4:$B$55</c:f>
              <c:numCache>
                <c:formatCode>General</c:formatCode>
                <c:ptCount val="52"/>
                <c:pt idx="0">
                  <c:v>0.10679611650485436</c:v>
                </c:pt>
                <c:pt idx="1">
                  <c:v>0.3696808510638298</c:v>
                </c:pt>
                <c:pt idx="2">
                  <c:v>0.4928131416837782</c:v>
                </c:pt>
                <c:pt idx="3">
                  <c:v>0.5355648535564853</c:v>
                </c:pt>
                <c:pt idx="4">
                  <c:v>0.4670781893004115</c:v>
                </c:pt>
                <c:pt idx="5">
                  <c:v>0.32432432432432434</c:v>
                </c:pt>
                <c:pt idx="6">
                  <c:v>0.3393574297188755</c:v>
                </c:pt>
                <c:pt idx="7">
                  <c:v>0.37275064267352187</c:v>
                </c:pt>
                <c:pt idx="8">
                  <c:v>0.2808988764044944</c:v>
                </c:pt>
                <c:pt idx="9">
                  <c:v>0.27543424317617865</c:v>
                </c:pt>
                <c:pt idx="10">
                  <c:v>0.2841648590021692</c:v>
                </c:pt>
                <c:pt idx="11">
                  <c:v>0.39850746268656717</c:v>
                </c:pt>
                <c:pt idx="12">
                  <c:v>0.4279210925644917</c:v>
                </c:pt>
                <c:pt idx="13">
                  <c:v>0.41742286751361163</c:v>
                </c:pt>
                <c:pt idx="14">
                  <c:v>0.42350332594235035</c:v>
                </c:pt>
                <c:pt idx="15">
                  <c:v>0.37073170731707317</c:v>
                </c:pt>
                <c:pt idx="16">
                  <c:v>0.3881019830028329</c:v>
                </c:pt>
                <c:pt idx="17">
                  <c:v>0.3333333333333333</c:v>
                </c:pt>
                <c:pt idx="18">
                  <c:v>0.36792452830188677</c:v>
                </c:pt>
                <c:pt idx="19">
                  <c:v>0.3524904214559387</c:v>
                </c:pt>
                <c:pt idx="20">
                  <c:v>0.33495145631067963</c:v>
                </c:pt>
                <c:pt idx="21">
                  <c:v>0.2</c:v>
                </c:pt>
                <c:pt idx="22">
                  <c:v>0.463519313304721</c:v>
                </c:pt>
                <c:pt idx="23">
                  <c:v>0.5708154506437768</c:v>
                </c:pt>
                <c:pt idx="24">
                  <c:v>0.4530612244897959</c:v>
                </c:pt>
                <c:pt idx="25">
                  <c:v>0.37264150943396224</c:v>
                </c:pt>
                <c:pt idx="26">
                  <c:v>0.23076923076923078</c:v>
                </c:pt>
                <c:pt idx="27">
                  <c:v>0.19078947368421054</c:v>
                </c:pt>
                <c:pt idx="28">
                  <c:v>0.18274111675126903</c:v>
                </c:pt>
                <c:pt idx="29">
                  <c:v>0.19078947368421054</c:v>
                </c:pt>
                <c:pt idx="30">
                  <c:v>0.14093959731543623</c:v>
                </c:pt>
                <c:pt idx="31">
                  <c:v>0.11627906976744186</c:v>
                </c:pt>
                <c:pt idx="32">
                  <c:v>0.1694915254237288</c:v>
                </c:pt>
                <c:pt idx="33">
                  <c:v>0.22613065326633167</c:v>
                </c:pt>
                <c:pt idx="34">
                  <c:v>0.14788732394366197</c:v>
                </c:pt>
                <c:pt idx="35">
                  <c:v>0.17316017316017315</c:v>
                </c:pt>
                <c:pt idx="36">
                  <c:v>0.17159763313609466</c:v>
                </c:pt>
                <c:pt idx="37">
                  <c:v>0.34615384615384615</c:v>
                </c:pt>
                <c:pt idx="38">
                  <c:v>0.44545454545454544</c:v>
                </c:pt>
                <c:pt idx="39">
                  <c:v>0.339041095890411</c:v>
                </c:pt>
                <c:pt idx="40">
                  <c:v>0.22887323943661972</c:v>
                </c:pt>
                <c:pt idx="41">
                  <c:v>0.21587301587301588</c:v>
                </c:pt>
                <c:pt idx="42">
                  <c:v>0.14878892733564014</c:v>
                </c:pt>
                <c:pt idx="43">
                  <c:v>0.14171122994652408</c:v>
                </c:pt>
                <c:pt idx="44">
                  <c:v>0.13131313131313133</c:v>
                </c:pt>
                <c:pt idx="45">
                  <c:v>0.1323529411764706</c:v>
                </c:pt>
                <c:pt idx="46">
                  <c:v>0.17455621301775148</c:v>
                </c:pt>
                <c:pt idx="47">
                  <c:v>0.17543859649122806</c:v>
                </c:pt>
                <c:pt idx="48">
                  <c:v>0.12465373961218837</c:v>
                </c:pt>
                <c:pt idx="49">
                  <c:v>0.10262008733624454</c:v>
                </c:pt>
                <c:pt idx="50">
                  <c:v>0.088</c:v>
                </c:pt>
                <c:pt idx="51">
                  <c:v>0.08564231738035265</c:v>
                </c:pt>
              </c:numCache>
            </c:numRef>
          </c:yVal>
          <c:smooth val="0"/>
          <c:extLst>
            <c:ext xmlns:c16="http://schemas.microsoft.com/office/drawing/2014/chart" uri="{C3380CC4-5D6E-409C-BE32-E72D297353CC}">
              <c16:uniqueId val="{00000002-096C-4121-9522-6AB7243CCAAE}"/>
            </c:ext>
          </c:extLst>
        </c:ser>
        <c:ser>
          <c:idx val="2"/>
          <c:order val="2"/>
          <c:tx>
            <c:strRef>
              <c:f>Sheet1!$B$5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8:$A$59</c:f>
              <c:numCache>
                <c:formatCode>General</c:formatCode>
                <c:ptCount val="2"/>
                <c:pt idx="0">
                  <c:v>0</c:v>
                </c:pt>
                <c:pt idx="1">
                  <c:v>0.07570722988413307</c:v>
                </c:pt>
              </c:numCache>
            </c:numRef>
          </c:xVal>
          <c:yVal>
            <c:numRef>
              <c:f>Sheet1!$B$58:$B$59</c:f>
              <c:numCache>
                <c:formatCode>General</c:formatCode>
                <c:ptCount val="2"/>
                <c:pt idx="0">
                  <c:v>0.3654738250256195</c:v>
                </c:pt>
                <c:pt idx="1">
                  <c:v>0.3654738250256195</c:v>
                </c:pt>
              </c:numCache>
            </c:numRef>
          </c:yVal>
          <c:smooth val="0"/>
          <c:extLst>
            <c:ext xmlns:c16="http://schemas.microsoft.com/office/drawing/2014/chart" uri="{C3380CC4-5D6E-409C-BE32-E72D297353CC}">
              <c16:uniqueId val="{00000005-096C-4121-9522-6AB7243CCAAE}"/>
            </c:ext>
          </c:extLst>
        </c:ser>
        <c:ser>
          <c:idx val="3"/>
          <c:order val="3"/>
          <c:tx>
            <c:strRef>
              <c:f>Sheet1!$B$6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2:$A$63</c:f>
              <c:numCache>
                <c:formatCode>General</c:formatCode>
                <c:ptCount val="2"/>
                <c:pt idx="0">
                  <c:v>0.07570722988413307</c:v>
                </c:pt>
                <c:pt idx="1">
                  <c:v>0.07570722988413307</c:v>
                </c:pt>
              </c:numCache>
            </c:numRef>
          </c:xVal>
          <c:yVal>
            <c:numRef>
              <c:f>Sheet1!$B$62:$B$63</c:f>
              <c:numCache>
                <c:formatCode>General</c:formatCode>
                <c:ptCount val="2"/>
                <c:pt idx="0">
                  <c:v>0.365473825025619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6:$A$67</c:f>
              <c:numCache>
                <c:formatCode>General</c:formatCode>
                <c:ptCount val="2"/>
                <c:pt idx="0">
                  <c:v>0</c:v>
                </c:pt>
                <c:pt idx="1">
                  <c:v>0.07570722988413307</c:v>
                </c:pt>
              </c:numCache>
            </c:numRef>
          </c:xVal>
          <c:yVal>
            <c:numRef>
              <c:f>Sheet1!$B$66:$B$67</c:f>
              <c:numCache>
                <c:formatCode>General</c:formatCode>
                <c:ptCount val="2"/>
                <c:pt idx="0">
                  <c:v>0.3654738250256195</c:v>
                </c:pt>
                <c:pt idx="1">
                  <c:v>0.3654738250256195</c:v>
                </c:pt>
              </c:numCache>
            </c:numRef>
          </c:yVal>
          <c:smooth val="0"/>
          <c:extLst>
            <c:ext xmlns:c16="http://schemas.microsoft.com/office/drawing/2014/chart" uri="{C3380CC4-5D6E-409C-BE32-E72D297353CC}">
              <c16:uniqueId val="{0000000D-096C-4121-9522-6AB7243CCAAE}"/>
            </c:ext>
          </c:extLst>
        </c:ser>
        <c:ser>
          <c:idx val="5"/>
          <c:order val="5"/>
          <c:tx>
            <c:strRef>
              <c:f>Sheet1!$B$6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0:$A$71</c:f>
              <c:numCache>
                <c:formatCode>General</c:formatCode>
                <c:ptCount val="2"/>
                <c:pt idx="0">
                  <c:v>0.07570722988413307</c:v>
                </c:pt>
                <c:pt idx="1">
                  <c:v>0.07570722988413307</c:v>
                </c:pt>
              </c:numCache>
            </c:numRef>
          </c:xVal>
          <c:yVal>
            <c:numRef>
              <c:f>Sheet1!$B$70:$B$71</c:f>
              <c:numCache>
                <c:formatCode>General</c:formatCode>
                <c:ptCount val="2"/>
                <c:pt idx="0">
                  <c:v>0.36547382502561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7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74:$A$75</c:f>
              <c:numCache>
                <c:formatCode>General</c:formatCode>
                <c:ptCount val="2"/>
                <c:pt idx="0">
                  <c:v>0</c:v>
                </c:pt>
                <c:pt idx="1">
                  <c:v>0.15858890542509263</c:v>
                </c:pt>
              </c:numCache>
            </c:numRef>
          </c:xVal>
          <c:yVal>
            <c:numRef>
              <c:f>Sheet1!$B$74:$B$75</c:f>
              <c:numCache>
                <c:formatCode>General</c:formatCode>
                <c:ptCount val="2"/>
                <c:pt idx="0">
                  <c:v>0.16068188729304442</c:v>
                </c:pt>
                <c:pt idx="1">
                  <c:v>0.16068188729304442</c:v>
                </c:pt>
              </c:numCache>
            </c:numRef>
          </c:yVal>
          <c:smooth val="0"/>
          <c:extLst>
            <c:ext xmlns:c16="http://schemas.microsoft.com/office/drawing/2014/chart" uri="{C3380CC4-5D6E-409C-BE32-E72D297353CC}">
              <c16:uniqueId val="{00000015-096C-4121-9522-6AB7243CCAAE}"/>
            </c:ext>
          </c:extLst>
        </c:ser>
        <c:ser>
          <c:idx val="7"/>
          <c:order val="7"/>
          <c:tx>
            <c:strRef>
              <c:f>Sheet1!$B$7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8:$A$79</c:f>
              <c:numCache>
                <c:formatCode>General</c:formatCode>
                <c:ptCount val="2"/>
                <c:pt idx="0">
                  <c:v>0.15858890542509263</c:v>
                </c:pt>
                <c:pt idx="1">
                  <c:v>0.15858890542509263</c:v>
                </c:pt>
              </c:numCache>
            </c:numRef>
          </c:xVal>
          <c:yVal>
            <c:numRef>
              <c:f>Sheet1!$B$78:$B$79</c:f>
              <c:numCache>
                <c:formatCode>General</c:formatCode>
                <c:ptCount val="2"/>
                <c:pt idx="0">
                  <c:v>0.1606818872930444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8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82:$A$136</c:f>
              <c:numCache>
                <c:formatCode>General</c:formatCode>
                <c:ptCount val="55"/>
                <c:pt idx="0">
                  <c:v>0.13699204302580661</c:v>
                </c:pt>
                <c:pt idx="1">
                  <c:v>0.10689679694387305</c:v>
                </c:pt>
                <c:pt idx="2">
                  <c:v>0.10823524915927851</c:v>
                </c:pt>
                <c:pt idx="3">
                  <c:v>0.1341771926118895</c:v>
                </c:pt>
                <c:pt idx="4">
                  <c:v>0.10363465319645865</c:v>
                </c:pt>
                <c:pt idx="5">
                  <c:v>0.13069799297534027</c:v>
                </c:pt>
                <c:pt idx="6">
                  <c:v>0.1251350883210427</c:v>
                </c:pt>
                <c:pt idx="7">
                  <c:v>0.11735231628355688</c:v>
                </c:pt>
                <c:pt idx="8">
                  <c:v>0.15805429116714897</c:v>
                </c:pt>
                <c:pt idx="9">
                  <c:v>0.1314672512520509</c:v>
                </c:pt>
                <c:pt idx="10">
                  <c:v>0.11500267378727191</c:v>
                </c:pt>
                <c:pt idx="11">
                  <c:v>0.09614663116296233</c:v>
                </c:pt>
                <c:pt idx="12">
                  <c:v>0.08644004806580131</c:v>
                </c:pt>
                <c:pt idx="13">
                  <c:v>0.08427936946975664</c:v>
                </c:pt>
                <c:pt idx="14">
                  <c:v>0.08762053178412212</c:v>
                </c:pt>
                <c:pt idx="15">
                  <c:v>0.055140651537959044</c:v>
                </c:pt>
                <c:pt idx="16">
                  <c:v>0.07590522016276263</c:v>
                </c:pt>
                <c:pt idx="17">
                  <c:v>0.07958013587468818</c:v>
                </c:pt>
                <c:pt idx="18">
                  <c:v>0.08621691761123329</c:v>
                </c:pt>
                <c:pt idx="19">
                  <c:v>0.10030749402443541</c:v>
                </c:pt>
                <c:pt idx="20">
                  <c:v>0.09990001934817283</c:v>
                </c:pt>
                <c:pt idx="21">
                  <c:v>0.13143650119578762</c:v>
                </c:pt>
                <c:pt idx="22">
                  <c:v>0.08044231215213359</c:v>
                </c:pt>
                <c:pt idx="23">
                  <c:v>0.07509541129533878</c:v>
                </c:pt>
                <c:pt idx="24">
                  <c:v>0.07172955648782295</c:v>
                </c:pt>
                <c:pt idx="25">
                  <c:v>0.09302810780845241</c:v>
                </c:pt>
                <c:pt idx="26">
                  <c:v>0.08399481804460843</c:v>
                </c:pt>
                <c:pt idx="27">
                  <c:v>0.08958860356197108</c:v>
                </c:pt>
                <c:pt idx="28">
                  <c:v>0.11038578215346298</c:v>
                </c:pt>
                <c:pt idx="29">
                  <c:v>0.1122646229966656</c:v>
                </c:pt>
                <c:pt idx="30">
                  <c:v>0.14852009373169303</c:v>
                </c:pt>
                <c:pt idx="31">
                  <c:v>0.10187577282252139</c:v>
                </c:pt>
                <c:pt idx="32">
                  <c:v>0.11845140339915737</c:v>
                </c:pt>
                <c:pt idx="33">
                  <c:v>0.13405665686686266</c:v>
                </c:pt>
                <c:pt idx="34">
                  <c:v>0.1998636425029425</c:v>
                </c:pt>
                <c:pt idx="35">
                  <c:v>0.15785547785547785</c:v>
                </c:pt>
                <c:pt idx="36">
                  <c:v>0.13102848996163274</c:v>
                </c:pt>
                <c:pt idx="37">
                  <c:v>0.09337059201344404</c:v>
                </c:pt>
                <c:pt idx="38">
                  <c:v>0.07800576076188837</c:v>
                </c:pt>
                <c:pt idx="39">
                  <c:v>0.09087576333617106</c:v>
                </c:pt>
                <c:pt idx="40">
                  <c:v>0.0840121593839499</c:v>
                </c:pt>
                <c:pt idx="41">
                  <c:v>0.08741245846001555</c:v>
                </c:pt>
                <c:pt idx="42">
                  <c:v>0.11161328495932853</c:v>
                </c:pt>
                <c:pt idx="43">
                  <c:v>0.10948422005198857</c:v>
                </c:pt>
                <c:pt idx="44">
                  <c:v>0.11218842951393712</c:v>
                </c:pt>
                <c:pt idx="45">
                  <c:v>0.12210233728397307</c:v>
                </c:pt>
                <c:pt idx="46">
                  <c:v>0.1099936201953705</c:v>
                </c:pt>
                <c:pt idx="47">
                  <c:v>0.07878856504243587</c:v>
                </c:pt>
                <c:pt idx="48">
                  <c:v>0.12432554710527058</c:v>
                </c:pt>
                <c:pt idx="49">
                  <c:v>0.15417704379280456</c:v>
                </c:pt>
                <c:pt idx="50">
                  <c:v>0.1616101465434888</c:v>
                </c:pt>
                <c:pt idx="51">
                  <c:v>0.16494966577540107</c:v>
                </c:pt>
                <c:pt idx="52">
                  <c:v>0.07570722988413307</c:v>
                </c:pt>
                <c:pt idx="53">
                  <c:v>0.07570722988413307</c:v>
                </c:pt>
                <c:pt idx="54">
                  <c:v>0.15858890542509263</c:v>
                </c:pt>
              </c:numCache>
            </c:numRef>
          </c:xVal>
          <c:yVal>
            <c:numRef>
              <c:f>Sheet1!$B$82:$B$136</c:f>
              <c:numCache>
                <c:formatCode>General</c:formatCode>
                <c:ptCount val="55"/>
                <c:pt idx="0">
                  <c:v>0.21404547183481476</c:v>
                </c:pt>
                <c:pt idx="1">
                  <c:v>0.28840767218164554</c:v>
                </c:pt>
                <c:pt idx="2">
                  <c:v>0.28510049697112655</c:v>
                </c:pt>
                <c:pt idx="3">
                  <c:v>0.22100067232914528</c:v>
                </c:pt>
                <c:pt idx="4">
                  <c:v>0.29646808764543586</c:v>
                </c:pt>
                <c:pt idx="5">
                  <c:v>0.22959741015661922</c:v>
                </c:pt>
                <c:pt idx="6">
                  <c:v>0.24334276479791334</c:v>
                </c:pt>
                <c:pt idx="7">
                  <c:v>0.26257317919391515</c:v>
                </c:pt>
                <c:pt idx="8">
                  <c:v>0.16200286311923456</c:v>
                </c:pt>
                <c:pt idx="9">
                  <c:v>0.22769665354092394</c:v>
                </c:pt>
                <c:pt idx="10">
                  <c:v>0.26837889965808703</c:v>
                </c:pt>
                <c:pt idx="11">
                  <c:v>0.3149702056590381</c:v>
                </c:pt>
                <c:pt idx="12">
                  <c:v>0.33895415564865305</c:v>
                </c:pt>
                <c:pt idx="13">
                  <c:v>0.3442929661108355</c:v>
                </c:pt>
                <c:pt idx="14">
                  <c:v>0.33603730404594623</c:v>
                </c:pt>
                <c:pt idx="15">
                  <c:v>0.4162916856027783</c:v>
                </c:pt>
                <c:pt idx="16">
                  <c:v>0.3649846117882167</c:v>
                </c:pt>
                <c:pt idx="17">
                  <c:v>0.35590428004133745</c:v>
                </c:pt>
                <c:pt idx="18">
                  <c:v>0.33950548762716204</c:v>
                </c:pt>
                <c:pt idx="19">
                  <c:v>0.30468914941254044</c:v>
                </c:pt>
                <c:pt idx="20">
                  <c:v>0.30569597665130116</c:v>
                </c:pt>
                <c:pt idx="21">
                  <c:v>0.22777263370863216</c:v>
                </c:pt>
                <c:pt idx="22">
                  <c:v>0.3537739327797423</c:v>
                </c:pt>
                <c:pt idx="23">
                  <c:v>0.3669855646655604</c:v>
                </c:pt>
                <c:pt idx="24">
                  <c:v>0.37530223929428486</c:v>
                </c:pt>
                <c:pt idx="25">
                  <c:v>0.32267575017736483</c:v>
                </c:pt>
                <c:pt idx="26">
                  <c:v>0.3449960628733023</c:v>
                </c:pt>
                <c:pt idx="27">
                  <c:v>0.33117440485439575</c:v>
                </c:pt>
                <c:pt idx="28">
                  <c:v>0.27978675522830637</c:v>
                </c:pt>
                <c:pt idx="29">
                  <c:v>0.27514433632860136</c:v>
                </c:pt>
                <c:pt idx="30">
                  <c:v>0.1855608661975754</c:v>
                </c:pt>
                <c:pt idx="31">
                  <c:v>0.30081409679242027</c:v>
                </c:pt>
                <c:pt idx="32">
                  <c:v>0.25985745006957456</c:v>
                </c:pt>
                <c:pt idx="33">
                  <c:v>0.22129850352800767</c:v>
                </c:pt>
                <c:pt idx="34">
                  <c:v>0.05869633583784789</c:v>
                </c:pt>
                <c:pt idx="35">
                  <c:v>0.1624941099850637</c:v>
                </c:pt>
                <c:pt idx="36">
                  <c:v>0.22878078672573599</c:v>
                </c:pt>
                <c:pt idx="37">
                  <c:v>0.3218295075848346</c:v>
                </c:pt>
                <c:pt idx="38">
                  <c:v>0.35979439601647695</c:v>
                </c:pt>
                <c:pt idx="39">
                  <c:v>0.32799396789279534</c:v>
                </c:pt>
                <c:pt idx="40">
                  <c:v>0.34495321424043573</c:v>
                </c:pt>
                <c:pt idx="41">
                  <c:v>0.33655143143244176</c:v>
                </c:pt>
                <c:pt idx="42">
                  <c:v>0.27675372438590806</c:v>
                </c:pt>
                <c:pt idx="43">
                  <c:v>0.28201442073509203</c:v>
                </c:pt>
                <c:pt idx="44">
                  <c:v>0.2753326024425368</c:v>
                </c:pt>
                <c:pt idx="45">
                  <c:v>0.2508363749051925</c:v>
                </c:pt>
                <c:pt idx="46">
                  <c:v>0.2807557463446005</c:v>
                </c:pt>
                <c:pt idx="47">
                  <c:v>0.35786016864435477</c:v>
                </c:pt>
                <c:pt idx="48">
                  <c:v>0.24534305633606435</c:v>
                </c:pt>
                <c:pt idx="49">
                  <c:v>0.17158313520806473</c:v>
                </c:pt>
                <c:pt idx="50">
                  <c:v>0.15321671698904987</c:v>
                </c:pt>
                <c:pt idx="51">
                  <c:v>0.14496511480877622</c:v>
                </c:pt>
                <c:pt idx="52">
                  <c:v>0.3654738250256195</c:v>
                </c:pt>
                <c:pt idx="53">
                  <c:v>0.3654738250256195</c:v>
                </c:pt>
                <c:pt idx="54">
                  <c:v>0.1606818872930444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849785407725322"/>
          <c:min val="0.068513853904282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55</c:f>
              <c:numCache>
                <c:formatCode>General</c:formatCode>
                <c:ptCount val="52"/>
                <c:pt idx="0">
                  <c:v>1109.8182</c:v>
                </c:pt>
                <c:pt idx="1">
                  <c:v>727.5396</c:v>
                </c:pt>
                <c:pt idx="2">
                  <c:v>708.075</c:v>
                </c:pt>
                <c:pt idx="3">
                  <c:v>714.6445</c:v>
                </c:pt>
                <c:pt idx="4">
                  <c:v>715.5066</c:v>
                </c:pt>
                <c:pt idx="5">
                  <c:v>747.7813</c:v>
                </c:pt>
                <c:pt idx="6">
                  <c:v>729.6627</c:v>
                </c:pt>
                <c:pt idx="7">
                  <c:v>790.6759</c:v>
                </c:pt>
                <c:pt idx="8">
                  <c:v>818.37</c:v>
                </c:pt>
                <c:pt idx="9">
                  <c:v>791.1261</c:v>
                </c:pt>
                <c:pt idx="10">
                  <c:v>807.5344</c:v>
                </c:pt>
                <c:pt idx="11">
                  <c:v>562.3296</c:v>
                </c:pt>
                <c:pt idx="12">
                  <c:v>496.1844</c:v>
                </c:pt>
                <c:pt idx="13">
                  <c:v>513.9739</c:v>
                </c:pt>
                <c:pt idx="14">
                  <c:v>487.8586</c:v>
                </c:pt>
                <c:pt idx="15">
                  <c:v>485.3618</c:v>
                </c:pt>
                <c:pt idx="16">
                  <c:v>490.6058</c:v>
                </c:pt>
                <c:pt idx="17">
                  <c:v>472.0561</c:v>
                </c:pt>
                <c:pt idx="18">
                  <c:v>509.6282</c:v>
                </c:pt>
                <c:pt idx="19">
                  <c:v>500.3696</c:v>
                </c:pt>
                <c:pt idx="20">
                  <c:v>496.4493</c:v>
                </c:pt>
                <c:pt idx="21">
                  <c:v>600.6429</c:v>
                </c:pt>
                <c:pt idx="22">
                  <c:v>416.2407</c:v>
                </c:pt>
                <c:pt idx="23">
                  <c:v>419.8647</c:v>
                </c:pt>
                <c:pt idx="24">
                  <c:v>409.0541</c:v>
                </c:pt>
                <c:pt idx="25">
                  <c:v>443.6582</c:v>
                </c:pt>
                <c:pt idx="26">
                  <c:v>500.8611</c:v>
                </c:pt>
                <c:pt idx="27">
                  <c:v>487.6552</c:v>
                </c:pt>
                <c:pt idx="28">
                  <c:v>525.3333</c:v>
                </c:pt>
                <c:pt idx="29">
                  <c:v>521.8621</c:v>
                </c:pt>
                <c:pt idx="30">
                  <c:v>760.5714</c:v>
                </c:pt>
                <c:pt idx="31">
                  <c:v>621.8667</c:v>
                </c:pt>
                <c:pt idx="32">
                  <c:v>561.3333</c:v>
                </c:pt>
                <c:pt idx="33">
                  <c:v>638.3778</c:v>
                </c:pt>
                <c:pt idx="34">
                  <c:v>1035.8333</c:v>
                </c:pt>
                <c:pt idx="35">
                  <c:v>719.525</c:v>
                </c:pt>
                <c:pt idx="36">
                  <c:v>635.9655</c:v>
                </c:pt>
                <c:pt idx="37">
                  <c:v>400.6173</c:v>
                </c:pt>
                <c:pt idx="38">
                  <c:v>393.1837</c:v>
                </c:pt>
                <c:pt idx="39">
                  <c:v>464.4141</c:v>
                </c:pt>
                <c:pt idx="40">
                  <c:v>441.8462</c:v>
                </c:pt>
                <c:pt idx="41">
                  <c:v>463.6029</c:v>
                </c:pt>
                <c:pt idx="42">
                  <c:v>606.5581</c:v>
                </c:pt>
                <c:pt idx="43">
                  <c:v>497.1887</c:v>
                </c:pt>
                <c:pt idx="44">
                  <c:v>492.4615</c:v>
                </c:pt>
                <c:pt idx="45">
                  <c:v>567.8704</c:v>
                </c:pt>
                <c:pt idx="46">
                  <c:v>480.7627</c:v>
                </c:pt>
                <c:pt idx="47">
                  <c:v>370.8</c:v>
                </c:pt>
                <c:pt idx="48">
                  <c:v>586.6889</c:v>
                </c:pt>
                <c:pt idx="49">
                  <c:v>754.1489</c:v>
                </c:pt>
                <c:pt idx="50">
                  <c:v>717.2545</c:v>
                </c:pt>
                <c:pt idx="51">
                  <c:v>740.2941</c:v>
                </c:pt>
              </c:numCache>
            </c:numRef>
          </c:xVal>
          <c:yVal>
            <c:numRef>
              <c:f>Sheet1!$B$4:$B$55</c:f>
              <c:numCache>
                <c:formatCode>General</c:formatCode>
                <c:ptCount val="52"/>
                <c:pt idx="0">
                  <c:v>0.10679611650485436</c:v>
                </c:pt>
                <c:pt idx="1">
                  <c:v>0.3696808510638298</c:v>
                </c:pt>
                <c:pt idx="2">
                  <c:v>0.4928131416837782</c:v>
                </c:pt>
                <c:pt idx="3">
                  <c:v>0.5355648535564853</c:v>
                </c:pt>
                <c:pt idx="4">
                  <c:v>0.4670781893004115</c:v>
                </c:pt>
                <c:pt idx="5">
                  <c:v>0.32432432432432434</c:v>
                </c:pt>
                <c:pt idx="6">
                  <c:v>0.3393574297188755</c:v>
                </c:pt>
                <c:pt idx="7">
                  <c:v>0.37275064267352187</c:v>
                </c:pt>
                <c:pt idx="8">
                  <c:v>0.2808988764044944</c:v>
                </c:pt>
                <c:pt idx="9">
                  <c:v>0.27543424317617865</c:v>
                </c:pt>
                <c:pt idx="10">
                  <c:v>0.2841648590021692</c:v>
                </c:pt>
                <c:pt idx="11">
                  <c:v>0.39850746268656717</c:v>
                </c:pt>
                <c:pt idx="12">
                  <c:v>0.4279210925644917</c:v>
                </c:pt>
                <c:pt idx="13">
                  <c:v>0.41742286751361163</c:v>
                </c:pt>
                <c:pt idx="14">
                  <c:v>0.42350332594235035</c:v>
                </c:pt>
                <c:pt idx="15">
                  <c:v>0.37073170731707317</c:v>
                </c:pt>
                <c:pt idx="16">
                  <c:v>0.3881019830028329</c:v>
                </c:pt>
                <c:pt idx="17">
                  <c:v>0.3333333333333333</c:v>
                </c:pt>
                <c:pt idx="18">
                  <c:v>0.36792452830188677</c:v>
                </c:pt>
                <c:pt idx="19">
                  <c:v>0.3524904214559387</c:v>
                </c:pt>
                <c:pt idx="20">
                  <c:v>0.33495145631067963</c:v>
                </c:pt>
                <c:pt idx="21">
                  <c:v>0.2</c:v>
                </c:pt>
                <c:pt idx="22">
                  <c:v>0.463519313304721</c:v>
                </c:pt>
                <c:pt idx="23">
                  <c:v>0.5708154506437768</c:v>
                </c:pt>
                <c:pt idx="24">
                  <c:v>0.4530612244897959</c:v>
                </c:pt>
                <c:pt idx="25">
                  <c:v>0.37264150943396224</c:v>
                </c:pt>
                <c:pt idx="26">
                  <c:v>0.23076923076923078</c:v>
                </c:pt>
                <c:pt idx="27">
                  <c:v>0.19078947368421054</c:v>
                </c:pt>
                <c:pt idx="28">
                  <c:v>0.18274111675126903</c:v>
                </c:pt>
                <c:pt idx="29">
                  <c:v>0.19078947368421054</c:v>
                </c:pt>
                <c:pt idx="30">
                  <c:v>0.14093959731543623</c:v>
                </c:pt>
                <c:pt idx="31">
                  <c:v>0.11627906976744186</c:v>
                </c:pt>
                <c:pt idx="32">
                  <c:v>0.1694915254237288</c:v>
                </c:pt>
                <c:pt idx="33">
                  <c:v>0.22613065326633167</c:v>
                </c:pt>
                <c:pt idx="34">
                  <c:v>0.14788732394366197</c:v>
                </c:pt>
                <c:pt idx="35">
                  <c:v>0.17316017316017315</c:v>
                </c:pt>
                <c:pt idx="36">
                  <c:v>0.17159763313609466</c:v>
                </c:pt>
                <c:pt idx="37">
                  <c:v>0.34615384615384615</c:v>
                </c:pt>
                <c:pt idx="38">
                  <c:v>0.44545454545454544</c:v>
                </c:pt>
                <c:pt idx="39">
                  <c:v>0.339041095890411</c:v>
                </c:pt>
                <c:pt idx="40">
                  <c:v>0.22887323943661972</c:v>
                </c:pt>
                <c:pt idx="41">
                  <c:v>0.21587301587301588</c:v>
                </c:pt>
                <c:pt idx="42">
                  <c:v>0.14878892733564014</c:v>
                </c:pt>
                <c:pt idx="43">
                  <c:v>0.14171122994652408</c:v>
                </c:pt>
                <c:pt idx="44">
                  <c:v>0.13131313131313133</c:v>
                </c:pt>
                <c:pt idx="45">
                  <c:v>0.1323529411764706</c:v>
                </c:pt>
                <c:pt idx="46">
                  <c:v>0.17455621301775148</c:v>
                </c:pt>
                <c:pt idx="47">
                  <c:v>0.17543859649122806</c:v>
                </c:pt>
                <c:pt idx="48">
                  <c:v>0.12465373961218837</c:v>
                </c:pt>
                <c:pt idx="49">
                  <c:v>0.10262008733624454</c:v>
                </c:pt>
                <c:pt idx="50">
                  <c:v>0.088</c:v>
                </c:pt>
                <c:pt idx="51">
                  <c:v>0.08564231738035265</c:v>
                </c:pt>
              </c:numCache>
            </c:numRef>
          </c:yVal>
          <c:smooth val="0"/>
          <c:extLst>
            <c:ext xmlns:c16="http://schemas.microsoft.com/office/drawing/2014/chart" uri="{C3380CC4-5D6E-409C-BE32-E72D297353CC}">
              <c16:uniqueId val="{00000002-F32D-48B7-BC20-E66FC6253BAD}"/>
            </c:ext>
          </c:extLst>
        </c:ser>
        <c:ser>
          <c:idx val="2"/>
          <c:order val="2"/>
          <c:tx>
            <c:strRef>
              <c:f>Sheet1!$B$57</c:f>
              <c:strCache>
                <c:ptCount val="1"/>
                <c:pt idx="0">
                  <c:v>Custom Linep3yQ</c:v>
                </c:pt>
              </c:strCache>
            </c:strRef>
          </c:tx>
          <c:spPr>
            <a:ln w="19050" cap="rnd">
              <a:solidFill>
                <a:srgbClr val="C00000"/>
              </a:solidFill>
              <a:prstDash val="sysDot"/>
              <a:round/>
            </a:ln>
            <a:effectLst/>
          </c:spPr>
          <c:marker>
            <c:symbol val="none"/>
          </c:marker>
          <c:xVal>
            <c:numRef>
              <c:f>Sheet1!$A$58:$A$59</c:f>
              <c:numCache>
                <c:formatCode>General</c:formatCode>
                <c:ptCount val="2"/>
                <c:pt idx="0">
                  <c:v>0</c:v>
                </c:pt>
                <c:pt idx="1">
                  <c:v>238.64306815831978</c:v>
                </c:pt>
              </c:numCache>
            </c:numRef>
          </c:xVal>
          <c:yVal>
            <c:numRef>
              <c:f>Sheet1!$B$58:$B$59</c:f>
              <c:numCache>
                <c:formatCode>General</c:formatCode>
                <c:ptCount val="2"/>
                <c:pt idx="0">
                  <c:v>0.3654738250256195</c:v>
                </c:pt>
                <c:pt idx="1">
                  <c:v>0.3654738250256195</c:v>
                </c:pt>
              </c:numCache>
            </c:numRef>
          </c:yVal>
          <c:smooth val="0"/>
          <c:extLst>
            <c:ext xmlns:c16="http://schemas.microsoft.com/office/drawing/2014/chart" uri="{C3380CC4-5D6E-409C-BE32-E72D297353CC}">
              <c16:uniqueId val="{00000003-F32D-48B7-BC20-E66FC6253BAD}"/>
            </c:ext>
          </c:extLst>
        </c:ser>
        <c:ser>
          <c:idx val="3"/>
          <c:order val="3"/>
          <c:tx>
            <c:strRef>
              <c:f>Sheet1!$B$6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2:$A$63</c:f>
              <c:numCache>
                <c:formatCode>General</c:formatCode>
                <c:ptCount val="2"/>
                <c:pt idx="0">
                  <c:v>238.64306815831978</c:v>
                </c:pt>
                <c:pt idx="1">
                  <c:v>238.64306815831978</c:v>
                </c:pt>
              </c:numCache>
            </c:numRef>
          </c:xVal>
          <c:yVal>
            <c:numRef>
              <c:f>Sheet1!$B$62:$B$63</c:f>
              <c:numCache>
                <c:formatCode>General</c:formatCode>
                <c:ptCount val="2"/>
                <c:pt idx="0">
                  <c:v>0.365473825025619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6:$A$67</c:f>
              <c:numCache>
                <c:formatCode>General</c:formatCode>
                <c:ptCount val="2"/>
                <c:pt idx="0">
                  <c:v>0</c:v>
                </c:pt>
                <c:pt idx="1">
                  <c:v>238.64306815831978</c:v>
                </c:pt>
              </c:numCache>
            </c:numRef>
          </c:xVal>
          <c:yVal>
            <c:numRef>
              <c:f>Sheet1!$B$66:$B$67</c:f>
              <c:numCache>
                <c:formatCode>General</c:formatCode>
                <c:ptCount val="2"/>
                <c:pt idx="0">
                  <c:v>0.3654738250256195</c:v>
                </c:pt>
                <c:pt idx="1">
                  <c:v>0.3654738250256195</c:v>
                </c:pt>
              </c:numCache>
            </c:numRef>
          </c:yVal>
          <c:smooth val="0"/>
          <c:extLst>
            <c:ext xmlns:c16="http://schemas.microsoft.com/office/drawing/2014/chart" uri="{C3380CC4-5D6E-409C-BE32-E72D297353CC}">
              <c16:uniqueId val="{0000000A-F32D-48B7-BC20-E66FC6253BAD}"/>
            </c:ext>
          </c:extLst>
        </c:ser>
        <c:ser>
          <c:idx val="5"/>
          <c:order val="5"/>
          <c:tx>
            <c:strRef>
              <c:f>Sheet1!$B$6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0:$A$71</c:f>
              <c:numCache>
                <c:formatCode>General</c:formatCode>
                <c:ptCount val="2"/>
                <c:pt idx="0">
                  <c:v>238.64306815831978</c:v>
                </c:pt>
                <c:pt idx="1">
                  <c:v>238.64306815831978</c:v>
                </c:pt>
              </c:numCache>
            </c:numRef>
          </c:xVal>
          <c:yVal>
            <c:numRef>
              <c:f>Sheet1!$B$70:$B$71</c:f>
              <c:numCache>
                <c:formatCode>General</c:formatCode>
                <c:ptCount val="2"/>
                <c:pt idx="0">
                  <c:v>0.36547382502561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7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74:$A$75</c:f>
              <c:numCache>
                <c:formatCode>General</c:formatCode>
                <c:ptCount val="2"/>
                <c:pt idx="0">
                  <c:v>0</c:v>
                </c:pt>
                <c:pt idx="1">
                  <c:v>1090.1034153549751</c:v>
                </c:pt>
              </c:numCache>
            </c:numRef>
          </c:xVal>
          <c:yVal>
            <c:numRef>
              <c:f>Sheet1!$B$74:$B$75</c:f>
              <c:numCache>
                <c:formatCode>General</c:formatCode>
                <c:ptCount val="2"/>
                <c:pt idx="0">
                  <c:v>0.16068188729304442</c:v>
                </c:pt>
                <c:pt idx="1">
                  <c:v>0.16068188729304442</c:v>
                </c:pt>
              </c:numCache>
            </c:numRef>
          </c:yVal>
          <c:smooth val="0"/>
          <c:extLst>
            <c:ext xmlns:c16="http://schemas.microsoft.com/office/drawing/2014/chart" uri="{C3380CC4-5D6E-409C-BE32-E72D297353CC}">
              <c16:uniqueId val="{00000011-F32D-48B7-BC20-E66FC6253BAD}"/>
            </c:ext>
          </c:extLst>
        </c:ser>
        <c:ser>
          <c:idx val="7"/>
          <c:order val="7"/>
          <c:tx>
            <c:strRef>
              <c:f>Sheet1!$B$7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8:$A$79</c:f>
              <c:numCache>
                <c:formatCode>General</c:formatCode>
                <c:ptCount val="2"/>
                <c:pt idx="0">
                  <c:v>1090.1034153549751</c:v>
                </c:pt>
                <c:pt idx="1">
                  <c:v>1090.1034153549751</c:v>
                </c:pt>
              </c:numCache>
            </c:numRef>
          </c:xVal>
          <c:yVal>
            <c:numRef>
              <c:f>Sheet1!$B$78:$B$79</c:f>
              <c:numCache>
                <c:formatCode>General</c:formatCode>
                <c:ptCount val="2"/>
                <c:pt idx="0">
                  <c:v>0.1606818872930444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8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82:$A$136</c:f>
              <c:numCache>
                <c:formatCode>General</c:formatCode>
                <c:ptCount val="55"/>
                <c:pt idx="0">
                  <c:v>1109.8182</c:v>
                </c:pt>
                <c:pt idx="1">
                  <c:v>727.5396</c:v>
                </c:pt>
                <c:pt idx="2">
                  <c:v>708.075</c:v>
                </c:pt>
                <c:pt idx="3">
                  <c:v>714.6445</c:v>
                </c:pt>
                <c:pt idx="4">
                  <c:v>715.5066</c:v>
                </c:pt>
                <c:pt idx="5">
                  <c:v>747.7813</c:v>
                </c:pt>
                <c:pt idx="6">
                  <c:v>729.6627</c:v>
                </c:pt>
                <c:pt idx="7">
                  <c:v>790.6759</c:v>
                </c:pt>
                <c:pt idx="8">
                  <c:v>818.37</c:v>
                </c:pt>
                <c:pt idx="9">
                  <c:v>791.1261</c:v>
                </c:pt>
                <c:pt idx="10">
                  <c:v>807.5344</c:v>
                </c:pt>
                <c:pt idx="11">
                  <c:v>562.3296</c:v>
                </c:pt>
                <c:pt idx="12">
                  <c:v>496.1844</c:v>
                </c:pt>
                <c:pt idx="13">
                  <c:v>513.9739</c:v>
                </c:pt>
                <c:pt idx="14">
                  <c:v>487.8586</c:v>
                </c:pt>
                <c:pt idx="15">
                  <c:v>485.3618</c:v>
                </c:pt>
                <c:pt idx="16">
                  <c:v>490.6058</c:v>
                </c:pt>
                <c:pt idx="17">
                  <c:v>472.0561</c:v>
                </c:pt>
                <c:pt idx="18">
                  <c:v>509.6282</c:v>
                </c:pt>
                <c:pt idx="19">
                  <c:v>500.3696</c:v>
                </c:pt>
                <c:pt idx="20">
                  <c:v>496.4493</c:v>
                </c:pt>
                <c:pt idx="21">
                  <c:v>600.6429</c:v>
                </c:pt>
                <c:pt idx="22">
                  <c:v>416.2407</c:v>
                </c:pt>
                <c:pt idx="23">
                  <c:v>419.8647</c:v>
                </c:pt>
                <c:pt idx="24">
                  <c:v>409.0541</c:v>
                </c:pt>
                <c:pt idx="25">
                  <c:v>443.6582</c:v>
                </c:pt>
                <c:pt idx="26">
                  <c:v>500.8611</c:v>
                </c:pt>
                <c:pt idx="27">
                  <c:v>487.6552</c:v>
                </c:pt>
                <c:pt idx="28">
                  <c:v>525.3333</c:v>
                </c:pt>
                <c:pt idx="29">
                  <c:v>521.8621</c:v>
                </c:pt>
                <c:pt idx="30">
                  <c:v>760.5714</c:v>
                </c:pt>
                <c:pt idx="31">
                  <c:v>621.8667</c:v>
                </c:pt>
                <c:pt idx="32">
                  <c:v>561.3333</c:v>
                </c:pt>
                <c:pt idx="33">
                  <c:v>638.3778</c:v>
                </c:pt>
                <c:pt idx="34">
                  <c:v>1035.8333</c:v>
                </c:pt>
                <c:pt idx="35">
                  <c:v>719.525</c:v>
                </c:pt>
                <c:pt idx="36">
                  <c:v>635.9655</c:v>
                </c:pt>
                <c:pt idx="37">
                  <c:v>400.6173</c:v>
                </c:pt>
                <c:pt idx="38">
                  <c:v>393.1837</c:v>
                </c:pt>
                <c:pt idx="39">
                  <c:v>464.4141</c:v>
                </c:pt>
                <c:pt idx="40">
                  <c:v>441.8462</c:v>
                </c:pt>
                <c:pt idx="41">
                  <c:v>463.6029</c:v>
                </c:pt>
                <c:pt idx="42">
                  <c:v>606.5581</c:v>
                </c:pt>
                <c:pt idx="43">
                  <c:v>497.1887</c:v>
                </c:pt>
                <c:pt idx="44">
                  <c:v>492.4615</c:v>
                </c:pt>
                <c:pt idx="45">
                  <c:v>567.8704</c:v>
                </c:pt>
                <c:pt idx="46">
                  <c:v>480.7627</c:v>
                </c:pt>
                <c:pt idx="47">
                  <c:v>370.8</c:v>
                </c:pt>
                <c:pt idx="48">
                  <c:v>586.6889</c:v>
                </c:pt>
                <c:pt idx="49">
                  <c:v>754.1489</c:v>
                </c:pt>
                <c:pt idx="50">
                  <c:v>717.2545</c:v>
                </c:pt>
                <c:pt idx="51">
                  <c:v>740.2941</c:v>
                </c:pt>
                <c:pt idx="52">
                  <c:v>238.64306815831978</c:v>
                </c:pt>
                <c:pt idx="53">
                  <c:v>238.64306815831978</c:v>
                </c:pt>
                <c:pt idx="54">
                  <c:v>1090.1034153549751</c:v>
                </c:pt>
              </c:numCache>
            </c:numRef>
          </c:xVal>
          <c:yVal>
            <c:numRef>
              <c:f>Sheet1!$B$82:$B$136</c:f>
              <c:numCache>
                <c:formatCode>General</c:formatCode>
                <c:ptCount val="55"/>
                <c:pt idx="0">
                  <c:v>0.155940117505728</c:v>
                </c:pt>
                <c:pt idx="1">
                  <c:v>0.24788518048540717</c:v>
                </c:pt>
                <c:pt idx="2">
                  <c:v>0.2525667762453431</c:v>
                </c:pt>
                <c:pt idx="3">
                  <c:v>0.25098669017396746</c:v>
                </c:pt>
                <c:pt idx="4">
                  <c:v>0.25077933920324924</c:v>
                </c:pt>
                <c:pt idx="5">
                  <c:v>0.2430166778244793</c:v>
                </c:pt>
                <c:pt idx="6">
                  <c:v>0.24737453572733764</c:v>
                </c:pt>
                <c:pt idx="7">
                  <c:v>0.23269973437410532</c:v>
                </c:pt>
                <c:pt idx="8">
                  <c:v>0.22603879188696233</c:v>
                </c:pt>
                <c:pt idx="9">
                  <c:v>0.23259145296009612</c:v>
                </c:pt>
                <c:pt idx="10">
                  <c:v>0.22864495379197772</c:v>
                </c:pt>
                <c:pt idx="11">
                  <c:v>0.28762123647931526</c:v>
                </c:pt>
                <c:pt idx="12">
                  <c:v>0.30353037860708143</c:v>
                </c:pt>
                <c:pt idx="13">
                  <c:v>0.299251675331834</c:v>
                </c:pt>
                <c:pt idx="14">
                  <c:v>0.305532887262696</c:v>
                </c:pt>
                <c:pt idx="15">
                  <c:v>0.306133413772021</c:v>
                </c:pt>
                <c:pt idx="16">
                  <c:v>0.30487213492914195</c:v>
                </c:pt>
                <c:pt idx="17">
                  <c:v>0.3093336803432827</c:v>
                </c:pt>
                <c:pt idx="18">
                  <c:v>0.3002968964354762</c:v>
                </c:pt>
                <c:pt idx="19">
                  <c:v>0.30252376071745185</c:v>
                </c:pt>
                <c:pt idx="20">
                  <c:v>0.3034666652650756</c:v>
                </c:pt>
                <c:pt idx="21">
                  <c:v>0.2784061802834954</c:v>
                </c:pt>
                <c:pt idx="22">
                  <c:v>0.3227583148068284</c:v>
                </c:pt>
                <c:pt idx="23">
                  <c:v>0.3218866758810858</c:v>
                </c:pt>
                <c:pt idx="24">
                  <c:v>0.324486824824417</c:v>
                </c:pt>
                <c:pt idx="25">
                  <c:v>0.31616389972775943</c:v>
                </c:pt>
                <c:pt idx="26">
                  <c:v>0.3024055458907403</c:v>
                </c:pt>
                <c:pt idx="27">
                  <c:v>0.3055818087189587</c:v>
                </c:pt>
                <c:pt idx="28">
                  <c:v>0.29651952985361113</c:v>
                </c:pt>
                <c:pt idx="29">
                  <c:v>0.2973544175575398</c:v>
                </c:pt>
                <c:pt idx="30">
                  <c:v>0.23994042257499268</c:v>
                </c:pt>
                <c:pt idx="31">
                  <c:v>0.2733014644357652</c:v>
                </c:pt>
                <c:pt idx="32">
                  <c:v>0.28786086502835423</c:v>
                </c:pt>
                <c:pt idx="33">
                  <c:v>0.26933023996920136</c:v>
                </c:pt>
                <c:pt idx="34">
                  <c:v>0.17373485226212101</c:v>
                </c:pt>
                <c:pt idx="35">
                  <c:v>0.24981283979397673</c:v>
                </c:pt>
                <c:pt idx="36">
                  <c:v>0.26991044266803377</c:v>
                </c:pt>
                <c:pt idx="37">
                  <c:v>0.32651603102990945</c:v>
                </c:pt>
                <c:pt idx="38">
                  <c:v>0.328303949108938</c:v>
                </c:pt>
                <c:pt idx="39">
                  <c:v>0.31117172247091085</c:v>
                </c:pt>
                <c:pt idx="40">
                  <c:v>0.3165997191906307</c:v>
                </c:pt>
                <c:pt idx="41">
                  <c:v>0.31136683105164</c:v>
                </c:pt>
                <c:pt idx="42">
                  <c:v>0.2769834654453187</c:v>
                </c:pt>
                <c:pt idx="43">
                  <c:v>0.3032888259103035</c:v>
                </c:pt>
                <c:pt idx="44">
                  <c:v>0.3044258048092467</c:v>
                </c:pt>
                <c:pt idx="45">
                  <c:v>0.2862885717553213</c:v>
                </c:pt>
                <c:pt idx="46">
                  <c:v>0.30723958225529435</c:v>
                </c:pt>
                <c:pt idx="47">
                  <c:v>0.3336876423269687</c:v>
                </c:pt>
                <c:pt idx="48">
                  <c:v>0.28176237497715195</c:v>
                </c:pt>
                <c:pt idx="49">
                  <c:v>0.24148515243166527</c:v>
                </c:pt>
                <c:pt idx="50">
                  <c:v>0.2503589369741363</c:v>
                </c:pt>
                <c:pt idx="51">
                  <c:v>0.24481748769335887</c:v>
                </c:pt>
                <c:pt idx="52">
                  <c:v>0.3654738250256195</c:v>
                </c:pt>
                <c:pt idx="53">
                  <c:v>0.3654738250256195</c:v>
                </c:pt>
                <c:pt idx="54">
                  <c:v>0.1606818872930444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332.0"/>
          <c:min val="19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849785407725322"/>
          <c:min val="0.068513853904282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0.4372507178924083</c:v>
                </c:pt>
                <c:pt idx="1">
                  <c:v>0.3901677585061482</c:v>
                </c:pt>
                <c:pt idx="2">
                  <c:v>0.42185896705100223</c:v>
                </c:pt>
                <c:pt idx="3">
                  <c:v>0.3868707703381967</c:v>
                </c:pt>
                <c:pt idx="4">
                  <c:v>0.3829013890633912</c:v>
                </c:pt>
                <c:pt idx="5">
                  <c:v>0.3656598858990771</c:v>
                </c:pt>
                <c:pt idx="6">
                  <c:v>0.44451489001526096</c:v>
                </c:pt>
                <c:pt idx="7">
                  <c:v>0.4171164779246528</c:v>
                </c:pt>
                <c:pt idx="8">
                  <c:v>0.4805184394547115</c:v>
                </c:pt>
                <c:pt idx="9">
                  <c:v>0.3862947638232862</c:v>
                </c:pt>
                <c:pt idx="10">
                  <c:v>0.3860481498029368</c:v>
                </c:pt>
                <c:pt idx="11">
                  <c:v>0.41308027120720425</c:v>
                </c:pt>
                <c:pt idx="12">
                  <c:v>0.4418119229154737</c:v>
                </c:pt>
                <c:pt idx="13">
                  <c:v>0.3808687731169121</c:v>
                </c:pt>
                <c:pt idx="14">
                  <c:v>0.5405172430820142</c:v>
                </c:pt>
                <c:pt idx="15">
                  <c:v>0.47800531738514684</c:v>
                </c:pt>
                <c:pt idx="16">
                  <c:v>0.4235620552295876</c:v>
                </c:pt>
                <c:pt idx="17">
                  <c:v>0.4876098596353523</c:v>
                </c:pt>
                <c:pt idx="18">
                  <c:v>0.36754357801521303</c:v>
                </c:pt>
                <c:pt idx="19">
                  <c:v>0.40640881204884394</c:v>
                </c:pt>
                <c:pt idx="20">
                  <c:v>0.48228507859790015</c:v>
                </c:pt>
                <c:pt idx="21">
                  <c:v>0.47079221688047884</c:v>
                </c:pt>
                <c:pt idx="22">
                  <c:v>0.45205799648658973</c:v>
                </c:pt>
                <c:pt idx="23">
                  <c:v>0.36549990286513745</c:v>
                </c:pt>
                <c:pt idx="24">
                  <c:v>0.4974234358263541</c:v>
                </c:pt>
                <c:pt idx="25">
                  <c:v>0.42937050780703895</c:v>
                </c:pt>
                <c:pt idx="26">
                  <c:v>0.3888326321034995</c:v>
                </c:pt>
                <c:pt idx="27">
                  <c:v>0.35798168777156575</c:v>
                </c:pt>
                <c:pt idx="28">
                  <c:v>0.4919372178026231</c:v>
                </c:pt>
                <c:pt idx="29">
                  <c:v>0.40788707562876925</c:v>
                </c:pt>
                <c:pt idx="30">
                  <c:v>0.45090926131869236</c:v>
                </c:pt>
                <c:pt idx="31">
                  <c:v>0.400593821429413</c:v>
                </c:pt>
                <c:pt idx="32">
                  <c:v>0.4018901747427611</c:v>
                </c:pt>
                <c:pt idx="33">
                  <c:v>0.41563437884746374</c:v>
                </c:pt>
                <c:pt idx="34">
                  <c:v>0.39994606948587974</c:v>
                </c:pt>
                <c:pt idx="35">
                  <c:v>0.42550877223170536</c:v>
                </c:pt>
                <c:pt idx="36">
                  <c:v>0.39544666758883307</c:v>
                </c:pt>
                <c:pt idx="37">
                  <c:v>0.4380128151464677</c:v>
                </c:pt>
                <c:pt idx="38">
                  <c:v>0.3807596465786525</c:v>
                </c:pt>
                <c:pt idx="39">
                  <c:v>0.4015802822993161</c:v>
                </c:pt>
                <c:pt idx="40">
                  <c:v>0.38785261389838244</c:v>
                </c:pt>
                <c:pt idx="41">
                  <c:v>0.3876662249827632</c:v>
                </c:pt>
                <c:pt idx="42">
                  <c:v>0.412108156791223</c:v>
                </c:pt>
                <c:pt idx="43">
                  <c:v>0.4399656424012663</c:v>
                </c:pt>
                <c:pt idx="44">
                  <c:v>0.4285114549217502</c:v>
                </c:pt>
                <c:pt idx="45">
                  <c:v>0.3764978834957343</c:v>
                </c:pt>
                <c:pt idx="46">
                  <c:v>0.42253034570253256</c:v>
                </c:pt>
                <c:pt idx="47">
                  <c:v>0.439183950922896</c:v>
                </c:pt>
                <c:pt idx="48">
                  <c:v>0.40961219616398636</c:v>
                </c:pt>
                <c:pt idx="49">
                  <c:v>0.3968586544535692</c:v>
                </c:pt>
                <c:pt idx="50">
                  <c:v>0.432028103750558</c:v>
                </c:pt>
                <c:pt idx="51">
                  <c:v>0.39169335287642676</c:v>
                </c:pt>
                <c:pt idx="52">
                  <c:v>0.40356443262763936</c:v>
                </c:pt>
                <c:pt idx="53">
                  <c:v>0.43758856798163676</c:v>
                </c:pt>
                <c:pt idx="54">
                  <c:v>0.45356132825810686</c:v>
                </c:pt>
                <c:pt idx="55">
                  <c:v>0.39957767186894144</c:v>
                </c:pt>
                <c:pt idx="56">
                  <c:v>0.3845940720067555</c:v>
                </c:pt>
                <c:pt idx="57">
                  <c:v>0.375925684261724</c:v>
                </c:pt>
                <c:pt idx="58">
                  <c:v>0.4151814185830808</c:v>
                </c:pt>
                <c:pt idx="59">
                  <c:v>0.46054978279442516</c:v>
                </c:pt>
                <c:pt idx="60">
                  <c:v>0.41958717660962036</c:v>
                </c:pt>
                <c:pt idx="61">
                  <c:v>0.376212305295461</c:v>
                </c:pt>
                <c:pt idx="62">
                  <c:v>0.34119090388218226</c:v>
                </c:pt>
                <c:pt idx="63">
                  <c:v>0.37807402809997154</c:v>
                </c:pt>
                <c:pt idx="64">
                  <c:v>0.3606014908783955</c:v>
                </c:pt>
                <c:pt idx="65">
                  <c:v>0.5042803435401167</c:v>
                </c:pt>
                <c:pt idx="66">
                  <c:v>0.49049651890242235</c:v>
                </c:pt>
                <c:pt idx="67">
                  <c:v>0.6613173791256058</c:v>
                </c:pt>
                <c:pt idx="68">
                  <c:v>0.569203683398998</c:v>
                </c:pt>
                <c:pt idx="69">
                  <c:v>0.5519467815140139</c:v>
                </c:pt>
                <c:pt idx="70">
                  <c:v>0.37726496763622447</c:v>
                </c:pt>
                <c:pt idx="71">
                  <c:v>0.5423552922122837</c:v>
                </c:pt>
                <c:pt idx="72">
                  <c:v>0.4297541669735017</c:v>
                </c:pt>
                <c:pt idx="73">
                  <c:v>0.4236830744366264</c:v>
                </c:pt>
                <c:pt idx="74">
                  <c:v>0.4169982252443838</c:v>
                </c:pt>
                <c:pt idx="75">
                  <c:v>0.5233909701504447</c:v>
                </c:pt>
                <c:pt idx="76">
                  <c:v>0.37632271628292835</c:v>
                </c:pt>
                <c:pt idx="77">
                  <c:v>0.5320571393897229</c:v>
                </c:pt>
                <c:pt idx="78">
                  <c:v>0.4141354508015091</c:v>
                </c:pt>
                <c:pt idx="79">
                  <c:v>0.41184449973341164</c:v>
                </c:pt>
                <c:pt idx="80">
                  <c:v>0.6331577913765254</c:v>
                </c:pt>
                <c:pt idx="81">
                  <c:v>0.4122572927210822</c:v>
                </c:pt>
                <c:pt idx="82">
                  <c:v>0.3075608596610748</c:v>
                </c:pt>
                <c:pt idx="83">
                  <c:v>0.37671328633284196</c:v>
                </c:pt>
                <c:pt idx="84">
                  <c:v>0.5674864053242432</c:v>
                </c:pt>
                <c:pt idx="85">
                  <c:v>0.4342377050859478</c:v>
                </c:pt>
                <c:pt idx="86">
                  <c:v>0.37703462691690415</c:v>
                </c:pt>
                <c:pt idx="87">
                  <c:v>0.5465043736092813</c:v>
                </c:pt>
                <c:pt idx="88">
                  <c:v>0.4302262769341576</c:v>
                </c:pt>
                <c:pt idx="89">
                  <c:v>0.3118726650276935</c:v>
                </c:pt>
                <c:pt idx="90">
                  <c:v>0.6388224393648201</c:v>
                </c:pt>
                <c:pt idx="91">
                  <c:v>0.42623986306365225</c:v>
                </c:pt>
                <c:pt idx="92">
                  <c:v>0.4199337554500777</c:v>
                </c:pt>
                <c:pt idx="93">
                  <c:v>0.41410571309220523</c:v>
                </c:pt>
                <c:pt idx="94">
                  <c:v>0.5315287735069685</c:v>
                </c:pt>
                <c:pt idx="95">
                  <c:v>0.31755495644960596</c:v>
                </c:pt>
                <c:pt idx="96">
                  <c:v>0.37736433752066134</c:v>
                </c:pt>
                <c:pt idx="97">
                  <c:v>0.42408836845841363</c:v>
                </c:pt>
                <c:pt idx="98">
                  <c:v>0.3134132280032729</c:v>
                </c:pt>
                <c:pt idx="99">
                  <c:v>0.32486332326153994</c:v>
                </c:pt>
              </c:numCache>
            </c:numRef>
          </c:xVal>
          <c:yVal>
            <c:numRef>
              <c:f>Sheet1!$B$2:$B$101</c:f>
              <c:numCache>
                <c:formatCode>General</c:formatCode>
                <c:ptCount val="100"/>
                <c:pt idx="0">
                  <c:v>0.01652892561983471</c:v>
                </c:pt>
                <c:pt idx="1">
                  <c:v>0.020080321285140562</c:v>
                </c:pt>
                <c:pt idx="2">
                  <c:v>0.02608695652173913</c:v>
                </c:pt>
                <c:pt idx="3">
                  <c:v>0.018691588785046728</c:v>
                </c:pt>
                <c:pt idx="4">
                  <c:v>0.013824884792626729</c:v>
                </c:pt>
                <c:pt idx="5">
                  <c:v>0.02092050209205021</c:v>
                </c:pt>
                <c:pt idx="6">
                  <c:v>0.01282051282051282</c:v>
                </c:pt>
                <c:pt idx="7">
                  <c:v>0.012195121951219513</c:v>
                </c:pt>
                <c:pt idx="8">
                  <c:v>0.007067137809187279</c:v>
                </c:pt>
                <c:pt idx="9">
                  <c:v>0.009375</c:v>
                </c:pt>
                <c:pt idx="10">
                  <c:v>0.0056657223796034</c:v>
                </c:pt>
                <c:pt idx="11">
                  <c:v>0.008152173913043478</c:v>
                </c:pt>
                <c:pt idx="12">
                  <c:v>0.00911854103343465</c:v>
                </c:pt>
                <c:pt idx="13">
                  <c:v>0.006802721088435374</c:v>
                </c:pt>
                <c:pt idx="14">
                  <c:v>0.008</c:v>
                </c:pt>
                <c:pt idx="15">
                  <c:v>0.009302325581395349</c:v>
                </c:pt>
                <c:pt idx="16">
                  <c:v>0.011111111111111112</c:v>
                </c:pt>
                <c:pt idx="17">
                  <c:v>0.014084507042253521</c:v>
                </c:pt>
                <c:pt idx="18">
                  <c:v>0.013513513513513514</c:v>
                </c:pt>
                <c:pt idx="19">
                  <c:v>0.028409090909090908</c:v>
                </c:pt>
                <c:pt idx="20">
                  <c:v>0.02962962962962963</c:v>
                </c:pt>
                <c:pt idx="21">
                  <c:v>0.02564102564102564</c:v>
                </c:pt>
                <c:pt idx="22">
                  <c:v>0.0297029702970297</c:v>
                </c:pt>
                <c:pt idx="23">
                  <c:v>0.025</c:v>
                </c:pt>
                <c:pt idx="24">
                  <c:v>0.009174311926605505</c:v>
                </c:pt>
                <c:pt idx="25">
                  <c:v>0.02158273381294964</c:v>
                </c:pt>
                <c:pt idx="26">
                  <c:v>0.03418803418803419</c:v>
                </c:pt>
                <c:pt idx="27">
                  <c:v>0.0273972602739726</c:v>
                </c:pt>
                <c:pt idx="28">
                  <c:v>0.012903225806451613</c:v>
                </c:pt>
                <c:pt idx="29">
                  <c:v>0.046296296296296294</c:v>
                </c:pt>
                <c:pt idx="30">
                  <c:v>0.017857142857142856</c:v>
                </c:pt>
                <c:pt idx="31">
                  <c:v>0.03361344537815126</c:v>
                </c:pt>
                <c:pt idx="32">
                  <c:v>0.043478260869565216</c:v>
                </c:pt>
                <c:pt idx="33">
                  <c:v>0.024691358024691357</c:v>
                </c:pt>
                <c:pt idx="34">
                  <c:v>0.049019607843137254</c:v>
                </c:pt>
                <c:pt idx="35">
                  <c:v>0.0440251572327044</c:v>
                </c:pt>
                <c:pt idx="36">
                  <c:v>0.07518796992481203</c:v>
                </c:pt>
                <c:pt idx="37">
                  <c:v>0.03968253968253968</c:v>
                </c:pt>
                <c:pt idx="38">
                  <c:v>0.03816793893129771</c:v>
                </c:pt>
                <c:pt idx="39">
                  <c:v>0.04666666666666667</c:v>
                </c:pt>
                <c:pt idx="40">
                  <c:v>0.051094890510948905</c:v>
                </c:pt>
                <c:pt idx="41">
                  <c:v>0.0425531914893617</c:v>
                </c:pt>
                <c:pt idx="42">
                  <c:v>0.05056179775280899</c:v>
                </c:pt>
                <c:pt idx="43">
                  <c:v>0.026905829596412557</c:v>
                </c:pt>
                <c:pt idx="44">
                  <c:v>0.01984126984126984</c:v>
                </c:pt>
                <c:pt idx="45">
                  <c:v>0.021505376344086023</c:v>
                </c:pt>
                <c:pt idx="46">
                  <c:v>0.011363636363636364</c:v>
                </c:pt>
                <c:pt idx="47">
                  <c:v>0.009876543209876543</c:v>
                </c:pt>
                <c:pt idx="48">
                  <c:v>0.012962962962962963</c:v>
                </c:pt>
                <c:pt idx="49">
                  <c:v>0.03514376996805112</c:v>
                </c:pt>
                <c:pt idx="50">
                  <c:v>0.02702702702702703</c:v>
                </c:pt>
                <c:pt idx="51">
                  <c:v>0.02147239263803681</c:v>
                </c:pt>
                <c:pt idx="52">
                  <c:v>0.03007518796992481</c:v>
                </c:pt>
                <c:pt idx="53">
                  <c:v>0.027888446215139442</c:v>
                </c:pt>
                <c:pt idx="54">
                  <c:v>0.013513513513513514</c:v>
                </c:pt>
                <c:pt idx="55">
                  <c:v>0.03389830508474576</c:v>
                </c:pt>
                <c:pt idx="56">
                  <c:v>0.01556420233463035</c:v>
                </c:pt>
                <c:pt idx="57">
                  <c:v>0.013468013468013467</c:v>
                </c:pt>
                <c:pt idx="58">
                  <c:v>0.005</c:v>
                </c:pt>
                <c:pt idx="59">
                  <c:v>0.004545454545454545</c:v>
                </c:pt>
                <c:pt idx="60">
                  <c:v>0.009779951100244499</c:v>
                </c:pt>
                <c:pt idx="61">
                  <c:v>0.007853403141361256</c:v>
                </c:pt>
                <c:pt idx="62">
                  <c:v>0.0069605568445475635</c:v>
                </c:pt>
                <c:pt idx="63">
                  <c:v>0.0044742729306487695</c:v>
                </c:pt>
                <c:pt idx="64">
                  <c:v>0.012626262626262626</c:v>
                </c:pt>
                <c:pt idx="65">
                  <c:v>0.0028735632183908046</c:v>
                </c:pt>
                <c:pt idx="66">
                  <c:v>0.006430868167202572</c:v>
                </c:pt>
                <c:pt idx="67">
                  <c:v>0.003937007874015748</c:v>
                </c:pt>
                <c:pt idx="68">
                  <c:v>0.005319148936170213</c:v>
                </c:pt>
                <c:pt idx="69">
                  <c:v>0.005076142131979695</c:v>
                </c:pt>
                <c:pt idx="70">
                  <c:v>0.009345794392523364</c:v>
                </c:pt>
                <c:pt idx="71">
                  <c:v>0.004329004329004329</c:v>
                </c:pt>
                <c:pt idx="72">
                  <c:v>0.01015228426395939</c:v>
                </c:pt>
                <c:pt idx="73">
                  <c:v>0.0048543689320388345</c:v>
                </c:pt>
                <c:pt idx="74">
                  <c:v>0.0125</c:v>
                </c:pt>
                <c:pt idx="75">
                  <c:v>0.0064516129032258064</c:v>
                </c:pt>
                <c:pt idx="76">
                  <c:v>0.01282051282051282</c:v>
                </c:pt>
                <c:pt idx="77">
                  <c:v>0.008</c:v>
                </c:pt>
                <c:pt idx="78">
                  <c:v>0.008264462809917356</c:v>
                </c:pt>
                <c:pt idx="79">
                  <c:v>0.006535947712418301</c:v>
                </c:pt>
                <c:pt idx="80">
                  <c:v>0.00819672131147541</c:v>
                </c:pt>
                <c:pt idx="81">
                  <c:v>0.010869565217391304</c:v>
                </c:pt>
                <c:pt idx="82">
                  <c:v>0.008849557522123894</c:v>
                </c:pt>
                <c:pt idx="83">
                  <c:v>0.00966183574879227</c:v>
                </c:pt>
                <c:pt idx="84">
                  <c:v>0.007194244604316547</c:v>
                </c:pt>
                <c:pt idx="85">
                  <c:v>0.017094017094017096</c:v>
                </c:pt>
                <c:pt idx="86">
                  <c:v>0.017543859649122806</c:v>
                </c:pt>
                <c:pt idx="87">
                  <c:v>0.007633587786259542</c:v>
                </c:pt>
                <c:pt idx="88">
                  <c:v>0.006369426751592357</c:v>
                </c:pt>
                <c:pt idx="89">
                  <c:v>0.0058823529411764705</c:v>
                </c:pt>
                <c:pt idx="90">
                  <c:v>0.007936507936507936</c:v>
                </c:pt>
                <c:pt idx="91">
                  <c:v>0.0051813471502590676</c:v>
                </c:pt>
                <c:pt idx="92">
                  <c:v>0.004484304932735426</c:v>
                </c:pt>
                <c:pt idx="93">
                  <c:v>0.00749063670411985</c:v>
                </c:pt>
                <c:pt idx="94">
                  <c:v>0.0031446540880503146</c:v>
                </c:pt>
                <c:pt idx="95">
                  <c:v>0.0023752969121140144</c:v>
                </c:pt>
                <c:pt idx="96">
                  <c:v>0.0036900369003690036</c:v>
                </c:pt>
                <c:pt idx="97">
                  <c:v>0.0031446540880503146</c:v>
                </c:pt>
                <c:pt idx="98">
                  <c:v>0.002777777777777778</c:v>
                </c:pt>
                <c:pt idx="99">
                  <c:v>0.003367003367003367</c:v>
                </c:pt>
              </c:numCache>
            </c:numRef>
          </c:yVal>
          <c:smooth val="0"/>
          <c:extLst>
            <c:ext xmlns:c16="http://schemas.microsoft.com/office/drawing/2014/chart" uri="{C3380CC4-5D6E-409C-BE32-E72D297353CC}">
              <c16:uniqueId val="{00000000-096C-4121-9522-6AB7243CCAAE}"/>
            </c:ext>
          </c:extLst>
        </c:ser>
        <c:ser>
          <c:idx val="1"/>
          <c:order val="1"/>
          <c:tx>
            <c:strRef>
              <c:f>Sheet1!$B$10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0.3234946632922264</c:v>
                </c:pt>
                <c:pt idx="4">
                  <c:v>0.3188771853972099</c:v>
                </c:pt>
                <c:pt idx="5">
                  <c:v>0.5189520713717359</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7121671059360372</c:v>
                </c:pt>
                <c:pt idx="23">
                  <c:v>0.0</c:v>
                </c:pt>
                <c:pt idx="24">
                  <c:v>0.5974493215604484</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036496350364963502</c:v>
                </c:pt>
                <c:pt idx="4">
                  <c:v>0.0033444816053511705</c:v>
                </c:pt>
                <c:pt idx="5">
                  <c:v>0.0031645569620253164</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4405286343612335</c:v>
                </c:pt>
                <c:pt idx="23">
                  <c:v>0.0</c:v>
                </c:pt>
                <c:pt idx="24">
                  <c:v>0.009523809523809525</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096C-4121-9522-6AB7243CCAAE}"/>
            </c:ext>
          </c:extLst>
        </c:ser>
        <c:ser>
          <c:idx val="2"/>
          <c:order val="2"/>
          <c:tx>
            <c:strRef>
              <c:f>Sheet1!$B$13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0:$A$141</c:f>
              <c:numCache>
                <c:formatCode>General</c:formatCode>
                <c:ptCount val="2"/>
                <c:pt idx="0">
                  <c:v>0</c:v>
                </c:pt>
                <c:pt idx="1">
                  <c:v>4.201791681459645</c:v>
                </c:pt>
              </c:numCache>
            </c:numRef>
          </c:xVal>
          <c:yVal>
            <c:numRef>
              <c:f>Sheet1!$B$140:$B$141</c:f>
              <c:numCache>
                <c:formatCode>General</c:formatCode>
                <c:ptCount val="2"/>
                <c:pt idx="0">
                  <c:v>0.03973660555228324</c:v>
                </c:pt>
                <c:pt idx="1">
                  <c:v>0.03973660555228324</c:v>
                </c:pt>
              </c:numCache>
            </c:numRef>
          </c:yVal>
          <c:smooth val="0"/>
          <c:extLst>
            <c:ext xmlns:c16="http://schemas.microsoft.com/office/drawing/2014/chart" uri="{C3380CC4-5D6E-409C-BE32-E72D297353CC}">
              <c16:uniqueId val="{00000005-096C-4121-9522-6AB7243CCAAE}"/>
            </c:ext>
          </c:extLst>
        </c:ser>
        <c:ser>
          <c:idx val="3"/>
          <c:order val="3"/>
          <c:tx>
            <c:strRef>
              <c:f>Sheet1!$B$14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4:$A$145</c:f>
              <c:numCache>
                <c:formatCode>General</c:formatCode>
                <c:ptCount val="2"/>
                <c:pt idx="0">
                  <c:v>4.201791681459645</c:v>
                </c:pt>
                <c:pt idx="1">
                  <c:v>4.201791681459645</c:v>
                </c:pt>
              </c:numCache>
            </c:numRef>
          </c:xVal>
          <c:yVal>
            <c:numRef>
              <c:f>Sheet1!$B$144:$B$145</c:f>
              <c:numCache>
                <c:formatCode>General</c:formatCode>
                <c:ptCount val="2"/>
                <c:pt idx="0">
                  <c:v>0.0397366055522832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8:$A$149</c:f>
              <c:numCache>
                <c:formatCode>General</c:formatCode>
                <c:ptCount val="2"/>
                <c:pt idx="0">
                  <c:v>0</c:v>
                </c:pt>
                <c:pt idx="1">
                  <c:v>0.17684899847193575</c:v>
                </c:pt>
              </c:numCache>
            </c:numRef>
          </c:xVal>
          <c:yVal>
            <c:numRef>
              <c:f>Sheet1!$B$148:$B$149</c:f>
              <c:numCache>
                <c:formatCode>General</c:formatCode>
                <c:ptCount val="2"/>
                <c:pt idx="0">
                  <c:v>0.0016931122673121395</c:v>
                </c:pt>
                <c:pt idx="1">
                  <c:v>0.0016931122673121395</c:v>
                </c:pt>
              </c:numCache>
            </c:numRef>
          </c:yVal>
          <c:smooth val="0"/>
          <c:extLst>
            <c:ext xmlns:c16="http://schemas.microsoft.com/office/drawing/2014/chart" uri="{C3380CC4-5D6E-409C-BE32-E72D297353CC}">
              <c16:uniqueId val="{0000000D-096C-4121-9522-6AB7243CCAAE}"/>
            </c:ext>
          </c:extLst>
        </c:ser>
        <c:ser>
          <c:idx val="5"/>
          <c:order val="5"/>
          <c:tx>
            <c:strRef>
              <c:f>Sheet1!$B$15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2:$A$153</c:f>
              <c:numCache>
                <c:formatCode>General</c:formatCode>
                <c:ptCount val="2"/>
                <c:pt idx="0">
                  <c:v>0.17684899847193575</c:v>
                </c:pt>
                <c:pt idx="1">
                  <c:v>0.17684899847193575</c:v>
                </c:pt>
              </c:numCache>
            </c:numRef>
          </c:xVal>
          <c:yVal>
            <c:numRef>
              <c:f>Sheet1!$B$152:$B$153</c:f>
              <c:numCache>
                <c:formatCode>General</c:formatCode>
                <c:ptCount val="2"/>
                <c:pt idx="0">
                  <c:v>0.00169311226731213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6:$A$157</c:f>
              <c:numCache>
                <c:formatCode>General</c:formatCode>
                <c:ptCount val="2"/>
                <c:pt idx="0">
                  <c:v>0</c:v>
                </c:pt>
                <c:pt idx="1">
                  <c:v>-0.002279657793887103</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5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0:$A$161</c:f>
              <c:numCache>
                <c:formatCode>General</c:formatCode>
                <c:ptCount val="2"/>
                <c:pt idx="0">
                  <c:v>-0.002279657793887103</c:v>
                </c:pt>
                <c:pt idx="1">
                  <c:v>-0.002279657793887103</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4:$A$200</c:f>
              <c:numCache>
                <c:formatCode>General</c:formatCode>
                <c:ptCount val="37"/>
                <c:pt idx="0">
                  <c:v>0.0</c:v>
                </c:pt>
                <c:pt idx="1">
                  <c:v>0.0</c:v>
                </c:pt>
                <c:pt idx="2">
                  <c:v>0.0</c:v>
                </c:pt>
                <c:pt idx="3">
                  <c:v>0.3234946632922264</c:v>
                </c:pt>
                <c:pt idx="4">
                  <c:v>0.3188771853972099</c:v>
                </c:pt>
                <c:pt idx="5">
                  <c:v>0.5189520713717359</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7121671059360372</c:v>
                </c:pt>
                <c:pt idx="23">
                  <c:v>0.0</c:v>
                </c:pt>
                <c:pt idx="24">
                  <c:v>0.5974493215604484</c:v>
                </c:pt>
                <c:pt idx="25">
                  <c:v>0.0</c:v>
                </c:pt>
                <c:pt idx="26">
                  <c:v>0.0</c:v>
                </c:pt>
                <c:pt idx="27">
                  <c:v>0.0</c:v>
                </c:pt>
                <c:pt idx="28">
                  <c:v>0.0</c:v>
                </c:pt>
                <c:pt idx="29">
                  <c:v>0.0</c:v>
                </c:pt>
                <c:pt idx="30">
                  <c:v>0.0</c:v>
                </c:pt>
                <c:pt idx="31">
                  <c:v>0.0</c:v>
                </c:pt>
                <c:pt idx="32">
                  <c:v>0.0</c:v>
                </c:pt>
                <c:pt idx="33">
                  <c:v>0.0</c:v>
                </c:pt>
                <c:pt idx="34">
                  <c:v>0.17684899847193575</c:v>
                </c:pt>
                <c:pt idx="35">
                  <c:v>4.201791681459645</c:v>
                </c:pt>
                <c:pt idx="36">
                  <c:v>-0.002279657793887103</c:v>
                </c:pt>
              </c:numCache>
            </c:numRef>
          </c:xVal>
          <c:yVal>
            <c:numRef>
              <c:f>Sheet1!$B$164:$B$200</c:f>
              <c:numCache>
                <c:formatCode>General</c:formatCode>
                <c:ptCount val="37"/>
                <c:pt idx="0">
                  <c:v>2.1547175402110153e-05</c:v>
                </c:pt>
                <c:pt idx="1">
                  <c:v>2.1547175402110153e-05</c:v>
                </c:pt>
                <c:pt idx="2">
                  <c:v>2.1547175402110153e-05</c:v>
                </c:pt>
                <c:pt idx="3">
                  <c:v>0.0030791974377771337</c:v>
                </c:pt>
                <c:pt idx="4">
                  <c:v>0.0030355533406735773</c:v>
                </c:pt>
                <c:pt idx="5">
                  <c:v>0.004926647992340318</c:v>
                </c:pt>
                <c:pt idx="6">
                  <c:v>2.1547175402110153e-05</c:v>
                </c:pt>
                <c:pt idx="7">
                  <c:v>2.1547175402110153e-05</c:v>
                </c:pt>
                <c:pt idx="8">
                  <c:v>2.1547175402110153e-05</c:v>
                </c:pt>
                <c:pt idx="9">
                  <c:v>2.1547175402110153e-05</c:v>
                </c:pt>
                <c:pt idx="10">
                  <c:v>2.1547175402110153e-05</c:v>
                </c:pt>
                <c:pt idx="11">
                  <c:v>2.1547175402110153e-05</c:v>
                </c:pt>
                <c:pt idx="12">
                  <c:v>2.1547175402110153e-05</c:v>
                </c:pt>
                <c:pt idx="13">
                  <c:v>2.1547175402110153e-05</c:v>
                </c:pt>
                <c:pt idx="14">
                  <c:v>2.1547175402110153e-05</c:v>
                </c:pt>
                <c:pt idx="15">
                  <c:v>2.1547175402110153e-05</c:v>
                </c:pt>
                <c:pt idx="16">
                  <c:v>2.1547175402110153e-05</c:v>
                </c:pt>
                <c:pt idx="17">
                  <c:v>2.1547175402110153e-05</c:v>
                </c:pt>
                <c:pt idx="18">
                  <c:v>2.1547175402110153e-05</c:v>
                </c:pt>
                <c:pt idx="19">
                  <c:v>2.1547175402110153e-05</c:v>
                </c:pt>
                <c:pt idx="20">
                  <c:v>2.1547175402110153e-05</c:v>
                </c:pt>
                <c:pt idx="21">
                  <c:v>2.1547175402110153e-05</c:v>
                </c:pt>
                <c:pt idx="22">
                  <c:v>0.006752903780049108</c:v>
                </c:pt>
                <c:pt idx="23">
                  <c:v>2.1547175402110153e-05</c:v>
                </c:pt>
                <c:pt idx="24">
                  <c:v>0.005668598833793355</c:v>
                </c:pt>
                <c:pt idx="25">
                  <c:v>2.1547175402110153e-05</c:v>
                </c:pt>
                <c:pt idx="26">
                  <c:v>2.1547175402110153e-05</c:v>
                </c:pt>
                <c:pt idx="27">
                  <c:v>2.1547175402110153e-05</c:v>
                </c:pt>
                <c:pt idx="28">
                  <c:v>2.1547175402110153e-05</c:v>
                </c:pt>
                <c:pt idx="29">
                  <c:v>2.1547175402110153e-05</c:v>
                </c:pt>
                <c:pt idx="30">
                  <c:v>2.1547175402110153e-05</c:v>
                </c:pt>
                <c:pt idx="31">
                  <c:v>2.1547175402110153e-05</c:v>
                </c:pt>
                <c:pt idx="32">
                  <c:v>2.1547175402110153e-05</c:v>
                </c:pt>
                <c:pt idx="33">
                  <c:v>2.1547175402110153e-05</c:v>
                </c:pt>
                <c:pt idx="34">
                  <c:v>0.0016931122673121395</c:v>
                </c:pt>
                <c:pt idx="35">
                  <c:v>0.039736605552283234</c:v>
                </c:pt>
                <c:pt idx="36">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9022556390977443"/>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1244.25</c:v>
                </c:pt>
                <c:pt idx="1">
                  <c:v>1116.4</c:v>
                </c:pt>
                <c:pt idx="2">
                  <c:v>1214.8333</c:v>
                </c:pt>
                <c:pt idx="3">
                  <c:v>1106.5</c:v>
                </c:pt>
                <c:pt idx="4">
                  <c:v>1102.0</c:v>
                </c:pt>
                <c:pt idx="5">
                  <c:v>1050.4</c:v>
                </c:pt>
                <c:pt idx="6">
                  <c:v>1291.6667</c:v>
                </c:pt>
                <c:pt idx="7">
                  <c:v>1199.6667</c:v>
                </c:pt>
                <c:pt idx="8">
                  <c:v>1377.5</c:v>
                </c:pt>
                <c:pt idx="9">
                  <c:v>1108.0</c:v>
                </c:pt>
                <c:pt idx="10">
                  <c:v>1102.0</c:v>
                </c:pt>
                <c:pt idx="11">
                  <c:v>1193.6667</c:v>
                </c:pt>
                <c:pt idx="12">
                  <c:v>1253.3333</c:v>
                </c:pt>
                <c:pt idx="13">
                  <c:v>1081.5</c:v>
                </c:pt>
                <c:pt idx="14">
                  <c:v>1532.5</c:v>
                </c:pt>
                <c:pt idx="15">
                  <c:v>1381.0</c:v>
                </c:pt>
                <c:pt idx="16">
                  <c:v>1225.0</c:v>
                </c:pt>
                <c:pt idx="17">
                  <c:v>1397.5</c:v>
                </c:pt>
                <c:pt idx="18">
                  <c:v>1067.5</c:v>
                </c:pt>
                <c:pt idx="19">
                  <c:v>1170.2</c:v>
                </c:pt>
                <c:pt idx="20">
                  <c:v>1398.75</c:v>
                </c:pt>
                <c:pt idx="21">
                  <c:v>1355.3333</c:v>
                </c:pt>
                <c:pt idx="22">
                  <c:v>1351.6667</c:v>
                </c:pt>
                <c:pt idx="23">
                  <c:v>1120.0</c:v>
                </c:pt>
                <c:pt idx="24">
                  <c:v>1561.0</c:v>
                </c:pt>
                <c:pt idx="25">
                  <c:v>1343.6667</c:v>
                </c:pt>
                <c:pt idx="26">
                  <c:v>1231.75</c:v>
                </c:pt>
                <c:pt idx="27">
                  <c:v>1154.5</c:v>
                </c:pt>
                <c:pt idx="28">
                  <c:v>1573.0</c:v>
                </c:pt>
                <c:pt idx="29">
                  <c:v>1300.4</c:v>
                </c:pt>
                <c:pt idx="30">
                  <c:v>1412.5</c:v>
                </c:pt>
                <c:pt idx="31">
                  <c:v>1232.5</c:v>
                </c:pt>
                <c:pt idx="32">
                  <c:v>1284.6667</c:v>
                </c:pt>
                <c:pt idx="33">
                  <c:v>1314.5</c:v>
                </c:pt>
                <c:pt idx="34">
                  <c:v>1244.1</c:v>
                </c:pt>
                <c:pt idx="35">
                  <c:v>1340.2857</c:v>
                </c:pt>
                <c:pt idx="36">
                  <c:v>1239.3</c:v>
                </c:pt>
                <c:pt idx="37">
                  <c:v>1365.6</c:v>
                </c:pt>
                <c:pt idx="38">
                  <c:v>1188.2</c:v>
                </c:pt>
                <c:pt idx="39">
                  <c:v>1283.7143</c:v>
                </c:pt>
                <c:pt idx="40">
                  <c:v>1238.4286</c:v>
                </c:pt>
                <c:pt idx="41">
                  <c:v>1233.6667</c:v>
                </c:pt>
                <c:pt idx="42">
                  <c:v>1301.8889</c:v>
                </c:pt>
                <c:pt idx="43">
                  <c:v>1376.3333</c:v>
                </c:pt>
                <c:pt idx="44">
                  <c:v>1350.2</c:v>
                </c:pt>
                <c:pt idx="45">
                  <c:v>1179.8333</c:v>
                </c:pt>
                <c:pt idx="46">
                  <c:v>1328.6667</c:v>
                </c:pt>
                <c:pt idx="47">
                  <c:v>1386.5</c:v>
                </c:pt>
                <c:pt idx="48">
                  <c:v>1289.7143</c:v>
                </c:pt>
                <c:pt idx="49">
                  <c:v>1256.4545</c:v>
                </c:pt>
                <c:pt idx="50">
                  <c:v>1356.75</c:v>
                </c:pt>
                <c:pt idx="51">
                  <c:v>1232.8571</c:v>
                </c:pt>
                <c:pt idx="52">
                  <c:v>1278.125</c:v>
                </c:pt>
                <c:pt idx="53">
                  <c:v>1385.7143</c:v>
                </c:pt>
                <c:pt idx="54">
                  <c:v>1440.3333</c:v>
                </c:pt>
                <c:pt idx="55">
                  <c:v>1268.875</c:v>
                </c:pt>
                <c:pt idx="56">
                  <c:v>1231.25</c:v>
                </c:pt>
                <c:pt idx="57">
                  <c:v>1184.25</c:v>
                </c:pt>
                <c:pt idx="58">
                  <c:v>1322.5</c:v>
                </c:pt>
                <c:pt idx="59">
                  <c:v>1467.0</c:v>
                </c:pt>
                <c:pt idx="60">
                  <c:v>1332.25</c:v>
                </c:pt>
                <c:pt idx="61">
                  <c:v>1186.0</c:v>
                </c:pt>
                <c:pt idx="62">
                  <c:v>1077.0</c:v>
                </c:pt>
                <c:pt idx="63">
                  <c:v>1192.0</c:v>
                </c:pt>
                <c:pt idx="64">
                  <c:v>1140.0</c:v>
                </c:pt>
                <c:pt idx="65">
                  <c:v>1599.0</c:v>
                </c:pt>
                <c:pt idx="66">
                  <c:v>1546.0</c:v>
                </c:pt>
                <c:pt idx="67">
                  <c:v>2084.0</c:v>
                </c:pt>
                <c:pt idx="68">
                  <c:v>1757.0</c:v>
                </c:pt>
                <c:pt idx="69">
                  <c:v>1735.0</c:v>
                </c:pt>
                <c:pt idx="70">
                  <c:v>1194.5</c:v>
                </c:pt>
                <c:pt idx="71">
                  <c:v>1705.0</c:v>
                </c:pt>
                <c:pt idx="72">
                  <c:v>1354.5</c:v>
                </c:pt>
                <c:pt idx="73">
                  <c:v>1340.0</c:v>
                </c:pt>
                <c:pt idx="74">
                  <c:v>1344.0</c:v>
                </c:pt>
                <c:pt idx="75">
                  <c:v>1676.0</c:v>
                </c:pt>
                <c:pt idx="76">
                  <c:v>1199.0</c:v>
                </c:pt>
                <c:pt idx="77">
                  <c:v>1680.0</c:v>
                </c:pt>
                <c:pt idx="78">
                  <c:v>1319.0</c:v>
                </c:pt>
                <c:pt idx="79">
                  <c:v>1335.0</c:v>
                </c:pt>
                <c:pt idx="80">
                  <c:v>1977.0</c:v>
                </c:pt>
                <c:pt idx="81">
                  <c:v>1344.0</c:v>
                </c:pt>
                <c:pt idx="82">
                  <c:v>983.0</c:v>
                </c:pt>
                <c:pt idx="83">
                  <c:v>1191.0</c:v>
                </c:pt>
                <c:pt idx="84">
                  <c:v>1748.0</c:v>
                </c:pt>
                <c:pt idx="85">
                  <c:v>1354.5</c:v>
                </c:pt>
                <c:pt idx="86">
                  <c:v>1195.5</c:v>
                </c:pt>
                <c:pt idx="87">
                  <c:v>1701.0</c:v>
                </c:pt>
                <c:pt idx="88">
                  <c:v>1344.0</c:v>
                </c:pt>
                <c:pt idx="89">
                  <c:v>1029.0</c:v>
                </c:pt>
                <c:pt idx="90">
                  <c:v>2066.0</c:v>
                </c:pt>
                <c:pt idx="91">
                  <c:v>1365.0</c:v>
                </c:pt>
                <c:pt idx="92">
                  <c:v>1344.0</c:v>
                </c:pt>
                <c:pt idx="93">
                  <c:v>1337.5</c:v>
                </c:pt>
                <c:pt idx="94">
                  <c:v>1714.0</c:v>
                </c:pt>
                <c:pt idx="95">
                  <c:v>1029.0</c:v>
                </c:pt>
                <c:pt idx="96">
                  <c:v>1208.0</c:v>
                </c:pt>
                <c:pt idx="97">
                  <c:v>1365.0</c:v>
                </c:pt>
                <c:pt idx="98">
                  <c:v>1008.0</c:v>
                </c:pt>
                <c:pt idx="99">
                  <c:v>1051.0</c:v>
                </c:pt>
              </c:numCache>
            </c:numRef>
          </c:xVal>
          <c:yVal>
            <c:numRef>
              <c:f>Sheet1!$B$2:$B$101</c:f>
              <c:numCache>
                <c:formatCode>General</c:formatCode>
                <c:ptCount val="100"/>
                <c:pt idx="0">
                  <c:v>0.01652892561983471</c:v>
                </c:pt>
                <c:pt idx="1">
                  <c:v>0.020080321285140562</c:v>
                </c:pt>
                <c:pt idx="2">
                  <c:v>0.02608695652173913</c:v>
                </c:pt>
                <c:pt idx="3">
                  <c:v>0.018691588785046728</c:v>
                </c:pt>
                <c:pt idx="4">
                  <c:v>0.013824884792626729</c:v>
                </c:pt>
                <c:pt idx="5">
                  <c:v>0.02092050209205021</c:v>
                </c:pt>
                <c:pt idx="6">
                  <c:v>0.01282051282051282</c:v>
                </c:pt>
                <c:pt idx="7">
                  <c:v>0.012195121951219513</c:v>
                </c:pt>
                <c:pt idx="8">
                  <c:v>0.007067137809187279</c:v>
                </c:pt>
                <c:pt idx="9">
                  <c:v>0.009375</c:v>
                </c:pt>
                <c:pt idx="10">
                  <c:v>0.0056657223796034</c:v>
                </c:pt>
                <c:pt idx="11">
                  <c:v>0.008152173913043478</c:v>
                </c:pt>
                <c:pt idx="12">
                  <c:v>0.00911854103343465</c:v>
                </c:pt>
                <c:pt idx="13">
                  <c:v>0.006802721088435374</c:v>
                </c:pt>
                <c:pt idx="14">
                  <c:v>0.008</c:v>
                </c:pt>
                <c:pt idx="15">
                  <c:v>0.009302325581395349</c:v>
                </c:pt>
                <c:pt idx="16">
                  <c:v>0.011111111111111112</c:v>
                </c:pt>
                <c:pt idx="17">
                  <c:v>0.014084507042253521</c:v>
                </c:pt>
                <c:pt idx="18">
                  <c:v>0.013513513513513514</c:v>
                </c:pt>
                <c:pt idx="19">
                  <c:v>0.028409090909090908</c:v>
                </c:pt>
                <c:pt idx="20">
                  <c:v>0.02962962962962963</c:v>
                </c:pt>
                <c:pt idx="21">
                  <c:v>0.02564102564102564</c:v>
                </c:pt>
                <c:pt idx="22">
                  <c:v>0.0297029702970297</c:v>
                </c:pt>
                <c:pt idx="23">
                  <c:v>0.025</c:v>
                </c:pt>
                <c:pt idx="24">
                  <c:v>0.009174311926605505</c:v>
                </c:pt>
                <c:pt idx="25">
                  <c:v>0.02158273381294964</c:v>
                </c:pt>
                <c:pt idx="26">
                  <c:v>0.03418803418803419</c:v>
                </c:pt>
                <c:pt idx="27">
                  <c:v>0.0273972602739726</c:v>
                </c:pt>
                <c:pt idx="28">
                  <c:v>0.012903225806451613</c:v>
                </c:pt>
                <c:pt idx="29">
                  <c:v>0.046296296296296294</c:v>
                </c:pt>
                <c:pt idx="30">
                  <c:v>0.017857142857142856</c:v>
                </c:pt>
                <c:pt idx="31">
                  <c:v>0.03361344537815126</c:v>
                </c:pt>
                <c:pt idx="32">
                  <c:v>0.043478260869565216</c:v>
                </c:pt>
                <c:pt idx="33">
                  <c:v>0.024691358024691357</c:v>
                </c:pt>
                <c:pt idx="34">
                  <c:v>0.049019607843137254</c:v>
                </c:pt>
                <c:pt idx="35">
                  <c:v>0.0440251572327044</c:v>
                </c:pt>
                <c:pt idx="36">
                  <c:v>0.07518796992481203</c:v>
                </c:pt>
                <c:pt idx="37">
                  <c:v>0.03968253968253968</c:v>
                </c:pt>
                <c:pt idx="38">
                  <c:v>0.03816793893129771</c:v>
                </c:pt>
                <c:pt idx="39">
                  <c:v>0.04666666666666667</c:v>
                </c:pt>
                <c:pt idx="40">
                  <c:v>0.051094890510948905</c:v>
                </c:pt>
                <c:pt idx="41">
                  <c:v>0.0425531914893617</c:v>
                </c:pt>
                <c:pt idx="42">
                  <c:v>0.05056179775280899</c:v>
                </c:pt>
                <c:pt idx="43">
                  <c:v>0.026905829596412557</c:v>
                </c:pt>
                <c:pt idx="44">
                  <c:v>0.01984126984126984</c:v>
                </c:pt>
                <c:pt idx="45">
                  <c:v>0.021505376344086023</c:v>
                </c:pt>
                <c:pt idx="46">
                  <c:v>0.011363636363636364</c:v>
                </c:pt>
                <c:pt idx="47">
                  <c:v>0.009876543209876543</c:v>
                </c:pt>
                <c:pt idx="48">
                  <c:v>0.012962962962962963</c:v>
                </c:pt>
                <c:pt idx="49">
                  <c:v>0.03514376996805112</c:v>
                </c:pt>
                <c:pt idx="50">
                  <c:v>0.02702702702702703</c:v>
                </c:pt>
                <c:pt idx="51">
                  <c:v>0.02147239263803681</c:v>
                </c:pt>
                <c:pt idx="52">
                  <c:v>0.03007518796992481</c:v>
                </c:pt>
                <c:pt idx="53">
                  <c:v>0.027888446215139442</c:v>
                </c:pt>
                <c:pt idx="54">
                  <c:v>0.013513513513513514</c:v>
                </c:pt>
                <c:pt idx="55">
                  <c:v>0.03389830508474576</c:v>
                </c:pt>
                <c:pt idx="56">
                  <c:v>0.01556420233463035</c:v>
                </c:pt>
                <c:pt idx="57">
                  <c:v>0.013468013468013467</c:v>
                </c:pt>
                <c:pt idx="58">
                  <c:v>0.005</c:v>
                </c:pt>
                <c:pt idx="59">
                  <c:v>0.004545454545454545</c:v>
                </c:pt>
                <c:pt idx="60">
                  <c:v>0.009779951100244499</c:v>
                </c:pt>
                <c:pt idx="61">
                  <c:v>0.007853403141361256</c:v>
                </c:pt>
                <c:pt idx="62">
                  <c:v>0.0069605568445475635</c:v>
                </c:pt>
                <c:pt idx="63">
                  <c:v>0.0044742729306487695</c:v>
                </c:pt>
                <c:pt idx="64">
                  <c:v>0.012626262626262626</c:v>
                </c:pt>
                <c:pt idx="65">
                  <c:v>0.0028735632183908046</c:v>
                </c:pt>
                <c:pt idx="66">
                  <c:v>0.006430868167202572</c:v>
                </c:pt>
                <c:pt idx="67">
                  <c:v>0.003937007874015748</c:v>
                </c:pt>
                <c:pt idx="68">
                  <c:v>0.005319148936170213</c:v>
                </c:pt>
                <c:pt idx="69">
                  <c:v>0.005076142131979695</c:v>
                </c:pt>
                <c:pt idx="70">
                  <c:v>0.009345794392523364</c:v>
                </c:pt>
                <c:pt idx="71">
                  <c:v>0.004329004329004329</c:v>
                </c:pt>
                <c:pt idx="72">
                  <c:v>0.01015228426395939</c:v>
                </c:pt>
                <c:pt idx="73">
                  <c:v>0.0048543689320388345</c:v>
                </c:pt>
                <c:pt idx="74">
                  <c:v>0.0125</c:v>
                </c:pt>
                <c:pt idx="75">
                  <c:v>0.0064516129032258064</c:v>
                </c:pt>
                <c:pt idx="76">
                  <c:v>0.01282051282051282</c:v>
                </c:pt>
                <c:pt idx="77">
                  <c:v>0.008</c:v>
                </c:pt>
                <c:pt idx="78">
                  <c:v>0.008264462809917356</c:v>
                </c:pt>
                <c:pt idx="79">
                  <c:v>0.006535947712418301</c:v>
                </c:pt>
                <c:pt idx="80">
                  <c:v>0.00819672131147541</c:v>
                </c:pt>
                <c:pt idx="81">
                  <c:v>0.010869565217391304</c:v>
                </c:pt>
                <c:pt idx="82">
                  <c:v>0.008849557522123894</c:v>
                </c:pt>
                <c:pt idx="83">
                  <c:v>0.00966183574879227</c:v>
                </c:pt>
                <c:pt idx="84">
                  <c:v>0.007194244604316547</c:v>
                </c:pt>
                <c:pt idx="85">
                  <c:v>0.017094017094017096</c:v>
                </c:pt>
                <c:pt idx="86">
                  <c:v>0.017543859649122806</c:v>
                </c:pt>
                <c:pt idx="87">
                  <c:v>0.007633587786259542</c:v>
                </c:pt>
                <c:pt idx="88">
                  <c:v>0.006369426751592357</c:v>
                </c:pt>
                <c:pt idx="89">
                  <c:v>0.0058823529411764705</c:v>
                </c:pt>
                <c:pt idx="90">
                  <c:v>0.007936507936507936</c:v>
                </c:pt>
                <c:pt idx="91">
                  <c:v>0.0051813471502590676</c:v>
                </c:pt>
                <c:pt idx="92">
                  <c:v>0.004484304932735426</c:v>
                </c:pt>
                <c:pt idx="93">
                  <c:v>0.00749063670411985</c:v>
                </c:pt>
                <c:pt idx="94">
                  <c:v>0.0031446540880503146</c:v>
                </c:pt>
                <c:pt idx="95">
                  <c:v>0.0023752969121140144</c:v>
                </c:pt>
                <c:pt idx="96">
                  <c:v>0.0036900369003690036</c:v>
                </c:pt>
                <c:pt idx="97">
                  <c:v>0.0031446540880503146</c:v>
                </c:pt>
                <c:pt idx="98">
                  <c:v>0.002777777777777778</c:v>
                </c:pt>
                <c:pt idx="99">
                  <c:v>0.003367003367003367</c:v>
                </c:pt>
              </c:numCache>
            </c:numRef>
          </c:yVal>
          <c:smooth val="0"/>
          <c:extLst>
            <c:ext xmlns:c16="http://schemas.microsoft.com/office/drawing/2014/chart" uri="{C3380CC4-5D6E-409C-BE32-E72D297353CC}">
              <c16:uniqueId val="{00000000-F32D-48B7-BC20-E66FC6253BAD}"/>
            </c:ext>
          </c:extLst>
        </c:ser>
        <c:ser>
          <c:idx val="1"/>
          <c:order val="1"/>
          <c:tx>
            <c:strRef>
              <c:f>Sheet1!$B$10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036496350364963502</c:v>
                </c:pt>
                <c:pt idx="4">
                  <c:v>0.0033444816053511705</c:v>
                </c:pt>
                <c:pt idx="5">
                  <c:v>0.0031645569620253164</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4405286343612335</c:v>
                </c:pt>
                <c:pt idx="23">
                  <c:v>0.0</c:v>
                </c:pt>
                <c:pt idx="24">
                  <c:v>0.009523809523809525</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F32D-48B7-BC20-E66FC6253BAD}"/>
            </c:ext>
          </c:extLst>
        </c:ser>
        <c:ser>
          <c:idx val="2"/>
          <c:order val="2"/>
          <c:tx>
            <c:strRef>
              <c:f>Sheet1!$B$139</c:f>
              <c:strCache>
                <c:ptCount val="1"/>
                <c:pt idx="0">
                  <c:v>Custom Linep3yQ</c:v>
                </c:pt>
              </c:strCache>
            </c:strRef>
          </c:tx>
          <c:spPr>
            <a:ln w="19050" cap="rnd">
              <a:solidFill>
                <a:srgbClr val="C00000"/>
              </a:solidFill>
              <a:prstDash val="sysDot"/>
              <a:round/>
            </a:ln>
            <a:effectLst/>
          </c:spPr>
          <c:marker>
            <c:symbol val="none"/>
          </c:marker>
          <c:xVal>
            <c:numRef>
              <c:f>Sheet1!$A$140:$A$141</c:f>
              <c:numCache>
                <c:formatCode>General</c:formatCode>
                <c:ptCount val="2"/>
                <c:pt idx="0">
                  <c:v>0</c:v>
                </c:pt>
                <c:pt idx="1">
                  <c:v>13471.414118555178</c:v>
                </c:pt>
              </c:numCache>
            </c:numRef>
          </c:xVal>
          <c:yVal>
            <c:numRef>
              <c:f>Sheet1!$B$140:$B$141</c:f>
              <c:numCache>
                <c:formatCode>General</c:formatCode>
                <c:ptCount val="2"/>
                <c:pt idx="0">
                  <c:v>0.03973660555228324</c:v>
                </c:pt>
                <c:pt idx="1">
                  <c:v>0.03973660555228324</c:v>
                </c:pt>
              </c:numCache>
            </c:numRef>
          </c:yVal>
          <c:smooth val="0"/>
          <c:extLst>
            <c:ext xmlns:c16="http://schemas.microsoft.com/office/drawing/2014/chart" uri="{C3380CC4-5D6E-409C-BE32-E72D297353CC}">
              <c16:uniqueId val="{00000003-F32D-48B7-BC20-E66FC6253BAD}"/>
            </c:ext>
          </c:extLst>
        </c:ser>
        <c:ser>
          <c:idx val="3"/>
          <c:order val="3"/>
          <c:tx>
            <c:strRef>
              <c:f>Sheet1!$B$14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4:$A$145</c:f>
              <c:numCache>
                <c:formatCode>General</c:formatCode>
                <c:ptCount val="2"/>
                <c:pt idx="0">
                  <c:v>13471.414118555178</c:v>
                </c:pt>
                <c:pt idx="1">
                  <c:v>13471.414118555178</c:v>
                </c:pt>
              </c:numCache>
            </c:numRef>
          </c:xVal>
          <c:yVal>
            <c:numRef>
              <c:f>Sheet1!$B$144:$B$145</c:f>
              <c:numCache>
                <c:formatCode>General</c:formatCode>
                <c:ptCount val="2"/>
                <c:pt idx="0">
                  <c:v>0.0397366055522832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8:$A$149</c:f>
              <c:numCache>
                <c:formatCode>General</c:formatCode>
                <c:ptCount val="2"/>
                <c:pt idx="0">
                  <c:v>0</c:v>
                </c:pt>
                <c:pt idx="1">
                  <c:v>566.6504473075377</c:v>
                </c:pt>
              </c:numCache>
            </c:numRef>
          </c:xVal>
          <c:yVal>
            <c:numRef>
              <c:f>Sheet1!$B$148:$B$149</c:f>
              <c:numCache>
                <c:formatCode>General</c:formatCode>
                <c:ptCount val="2"/>
                <c:pt idx="0">
                  <c:v>0.0016931122673121395</c:v>
                </c:pt>
                <c:pt idx="1">
                  <c:v>0.0016931122673121395</c:v>
                </c:pt>
              </c:numCache>
            </c:numRef>
          </c:yVal>
          <c:smooth val="0"/>
          <c:extLst>
            <c:ext xmlns:c16="http://schemas.microsoft.com/office/drawing/2014/chart" uri="{C3380CC4-5D6E-409C-BE32-E72D297353CC}">
              <c16:uniqueId val="{0000000A-F32D-48B7-BC20-E66FC6253BAD}"/>
            </c:ext>
          </c:extLst>
        </c:ser>
        <c:ser>
          <c:idx val="5"/>
          <c:order val="5"/>
          <c:tx>
            <c:strRef>
              <c:f>Sheet1!$B$15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2:$A$153</c:f>
              <c:numCache>
                <c:formatCode>General</c:formatCode>
                <c:ptCount val="2"/>
                <c:pt idx="0">
                  <c:v>566.6504473075377</c:v>
                </c:pt>
                <c:pt idx="1">
                  <c:v>566.6504473075377</c:v>
                </c:pt>
              </c:numCache>
            </c:numRef>
          </c:xVal>
          <c:yVal>
            <c:numRef>
              <c:f>Sheet1!$B$152:$B$153</c:f>
              <c:numCache>
                <c:formatCode>General</c:formatCode>
                <c:ptCount val="2"/>
                <c:pt idx="0">
                  <c:v>0.00169311226731213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6:$A$157</c:f>
              <c:numCache>
                <c:formatCode>General</c:formatCode>
                <c:ptCount val="2"/>
                <c:pt idx="0">
                  <c:v>0</c:v>
                </c:pt>
                <c:pt idx="1">
                  <c:v>-7.6715140036453136</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5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0:$A$161</c:f>
              <c:numCache>
                <c:formatCode>General</c:formatCode>
                <c:ptCount val="2"/>
                <c:pt idx="0">
                  <c:v>-7.6715140036453136</c:v>
                </c:pt>
                <c:pt idx="1">
                  <c:v>-7.6715140036453136</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4:$A$200</c:f>
              <c:numCache>
                <c:formatCode>General</c:formatCode>
                <c:ptCount val="37"/>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pt idx="34">
                  <c:v>566.6504473075377</c:v>
                </c:pt>
                <c:pt idx="35">
                  <c:v>13471.414118555178</c:v>
                </c:pt>
                <c:pt idx="36">
                  <c:v>-7.6715140036453136</c:v>
                </c:pt>
              </c:numCache>
            </c:numRef>
          </c:xVal>
          <c:yVal>
            <c:numRef>
              <c:f>Sheet1!$B$164:$B$200</c:f>
              <c:numCache>
                <c:formatCode>General</c:formatCode>
                <c:ptCount val="37"/>
                <c:pt idx="0">
                  <c:v>2.261577188999587e-05</c:v>
                </c:pt>
                <c:pt idx="1">
                  <c:v>2.261577188999587e-05</c:v>
                </c:pt>
                <c:pt idx="2">
                  <c:v>2.261577188999587e-05</c:v>
                </c:pt>
                <c:pt idx="3">
                  <c:v>0.0031209841311331827</c:v>
                </c:pt>
                <c:pt idx="4">
                  <c:v>0.0030561277049644384</c:v>
                </c:pt>
                <c:pt idx="5">
                  <c:v>0.005010664548140682</c:v>
                </c:pt>
                <c:pt idx="6">
                  <c:v>2.261577188999587e-05</c:v>
                </c:pt>
                <c:pt idx="7">
                  <c:v>2.261577188999587e-05</c:v>
                </c:pt>
                <c:pt idx="8">
                  <c:v>2.261577188999587e-05</c:v>
                </c:pt>
                <c:pt idx="9">
                  <c:v>2.261577188999587e-05</c:v>
                </c:pt>
                <c:pt idx="10">
                  <c:v>2.261577188999587e-05</c:v>
                </c:pt>
                <c:pt idx="11">
                  <c:v>2.261577188999587e-05</c:v>
                </c:pt>
                <c:pt idx="12">
                  <c:v>2.261577188999587e-05</c:v>
                </c:pt>
                <c:pt idx="13">
                  <c:v>2.261577188999587e-05</c:v>
                </c:pt>
                <c:pt idx="14">
                  <c:v>2.261577188999587e-05</c:v>
                </c:pt>
                <c:pt idx="15">
                  <c:v>2.261577188999587e-05</c:v>
                </c:pt>
                <c:pt idx="16">
                  <c:v>2.261577188999587e-05</c:v>
                </c:pt>
                <c:pt idx="17">
                  <c:v>2.261577188999587e-05</c:v>
                </c:pt>
                <c:pt idx="18">
                  <c:v>2.261577188999587e-05</c:v>
                </c:pt>
                <c:pt idx="19">
                  <c:v>2.261577188999587e-05</c:v>
                </c:pt>
                <c:pt idx="20">
                  <c:v>2.261577188999587e-05</c:v>
                </c:pt>
                <c:pt idx="21">
                  <c:v>2.261577188999587e-05</c:v>
                </c:pt>
                <c:pt idx="22">
                  <c:v>0.006693983609156723</c:v>
                </c:pt>
                <c:pt idx="23">
                  <c:v>2.261577188999587e-05</c:v>
                </c:pt>
                <c:pt idx="24">
                  <c:v>0.005550152093089782</c:v>
                </c:pt>
                <c:pt idx="25">
                  <c:v>2.261577188999587e-05</c:v>
                </c:pt>
                <c:pt idx="26">
                  <c:v>2.261577188999587e-05</c:v>
                </c:pt>
                <c:pt idx="27">
                  <c:v>2.261577188999587e-05</c:v>
                </c:pt>
                <c:pt idx="28">
                  <c:v>2.261577188999587e-05</c:v>
                </c:pt>
                <c:pt idx="29">
                  <c:v>2.261577188999587e-05</c:v>
                </c:pt>
                <c:pt idx="30">
                  <c:v>2.261577188999587e-05</c:v>
                </c:pt>
                <c:pt idx="31">
                  <c:v>2.261577188999587e-05</c:v>
                </c:pt>
                <c:pt idx="32">
                  <c:v>2.261577188999587e-05</c:v>
                </c:pt>
                <c:pt idx="33">
                  <c:v>2.261577188999587e-05</c:v>
                </c:pt>
                <c:pt idx="34">
                  <c:v>0.0016931122673121397</c:v>
                </c:pt>
                <c:pt idx="35">
                  <c:v>0.03973660555228324</c:v>
                </c:pt>
                <c:pt idx="36">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16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9022556390977443"/>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0.27824655983936863</c:v>
                </c:pt>
                <c:pt idx="1">
                  <c:v>0.24291923292355475</c:v>
                </c:pt>
                <c:pt idx="2">
                  <c:v>0.2600361784574151</c:v>
                </c:pt>
                <c:pt idx="3">
                  <c:v>0.22787416979869227</c:v>
                </c:pt>
                <c:pt idx="4">
                  <c:v>0.21699975702722304</c:v>
                </c:pt>
                <c:pt idx="5">
                  <c:v>0.21421164567403417</c:v>
                </c:pt>
                <c:pt idx="6">
                  <c:v>0.2636489349120808</c:v>
                </c:pt>
                <c:pt idx="7">
                  <c:v>0.2486650336166235</c:v>
                </c:pt>
                <c:pt idx="8">
                  <c:v>0.27864741731873705</c:v>
                </c:pt>
                <c:pt idx="9">
                  <c:v>0.2284358844488004</c:v>
                </c:pt>
                <c:pt idx="10">
                  <c:v>0.23088298326626344</c:v>
                </c:pt>
                <c:pt idx="11">
                  <c:v>0.2589504454551345</c:v>
                </c:pt>
                <c:pt idx="12">
                  <c:v>0.2730200867781299</c:v>
                </c:pt>
                <c:pt idx="13">
                  <c:v>0.22543461041397425</c:v>
                </c:pt>
                <c:pt idx="14">
                  <c:v>0.30270346289798716</c:v>
                </c:pt>
                <c:pt idx="15">
                  <c:v>0.29709147233456673</c:v>
                </c:pt>
                <c:pt idx="16">
                  <c:v>0.24721433339421872</c:v>
                </c:pt>
                <c:pt idx="17">
                  <c:v>0.3000390340585204</c:v>
                </c:pt>
                <c:pt idx="18">
                  <c:v>0.24708228228851012</c:v>
                </c:pt>
                <c:pt idx="19">
                  <c:v>0.27160894995822116</c:v>
                </c:pt>
                <c:pt idx="20">
                  <c:v>0.32009474117808595</c:v>
                </c:pt>
                <c:pt idx="21">
                  <c:v>0.31326924657997</c:v>
                </c:pt>
                <c:pt idx="22">
                  <c:v>0.36868664482714325</c:v>
                </c:pt>
                <c:pt idx="23">
                  <c:v>0.29945908331457033</c:v>
                </c:pt>
                <c:pt idx="24">
                  <c:v>0.2704482059633743</c:v>
                </c:pt>
                <c:pt idx="25">
                  <c:v>0.23606558776789793</c:v>
                </c:pt>
                <c:pt idx="26">
                  <c:v>0.20871115545240632</c:v>
                </c:pt>
                <c:pt idx="27">
                  <c:v>0.2092059118020856</c:v>
                </c:pt>
                <c:pt idx="28">
                  <c:v>0.28115758206838787</c:v>
                </c:pt>
                <c:pt idx="29">
                  <c:v>0.19619137089278632</c:v>
                </c:pt>
                <c:pt idx="30">
                  <c:v>0.22058019634588955</c:v>
                </c:pt>
                <c:pt idx="31">
                  <c:v>0.19563181536801003</c:v>
                </c:pt>
                <c:pt idx="32">
                  <c:v>0.21887376604096484</c:v>
                </c:pt>
                <c:pt idx="33">
                  <c:v>0.21614687713885924</c:v>
                </c:pt>
                <c:pt idx="34">
                  <c:v>0.2219058474946578</c:v>
                </c:pt>
                <c:pt idx="35">
                  <c:v>0.22800067691559608</c:v>
                </c:pt>
                <c:pt idx="36">
                  <c:v>0.21799565859174488</c:v>
                </c:pt>
                <c:pt idx="37">
                  <c:v>0.23773293444940843</c:v>
                </c:pt>
                <c:pt idx="38">
                  <c:v>0.21964300155970193</c:v>
                </c:pt>
                <c:pt idx="39">
                  <c:v>0.2331853136849754</c:v>
                </c:pt>
                <c:pt idx="40">
                  <c:v>0.22721536515761095</c:v>
                </c:pt>
                <c:pt idx="41">
                  <c:v>0.20665140327494277</c:v>
                </c:pt>
                <c:pt idx="42">
                  <c:v>0.21609509367334928</c:v>
                </c:pt>
                <c:pt idx="43">
                  <c:v>0.23404711128692138</c:v>
                </c:pt>
                <c:pt idx="44">
                  <c:v>0.22893316399536154</c:v>
                </c:pt>
                <c:pt idx="45">
                  <c:v>0.204059715547955</c:v>
                </c:pt>
                <c:pt idx="46">
                  <c:v>0.2189680815739913</c:v>
                </c:pt>
                <c:pt idx="47">
                  <c:v>0.2468380868907096</c:v>
                </c:pt>
                <c:pt idx="48">
                  <c:v>0.23783295622312253</c:v>
                </c:pt>
                <c:pt idx="49">
                  <c:v>0.22290553022657</c:v>
                </c:pt>
                <c:pt idx="50">
                  <c:v>0.2289823176875444</c:v>
                </c:pt>
                <c:pt idx="51">
                  <c:v>0.21580255876627708</c:v>
                </c:pt>
                <c:pt idx="52">
                  <c:v>0.21815878542433556</c:v>
                </c:pt>
                <c:pt idx="53">
                  <c:v>0.23295736976242193</c:v>
                </c:pt>
                <c:pt idx="54">
                  <c:v>0.2326957179711031</c:v>
                </c:pt>
                <c:pt idx="55">
                  <c:v>0.20496840671779784</c:v>
                </c:pt>
                <c:pt idx="56">
                  <c:v>0.20225222492642</c:v>
                </c:pt>
                <c:pt idx="57">
                  <c:v>0.19442399054629045</c:v>
                </c:pt>
                <c:pt idx="58">
                  <c:v>0.21453664626581326</c:v>
                </c:pt>
                <c:pt idx="59">
                  <c:v>0.24227368252496279</c:v>
                </c:pt>
                <c:pt idx="60">
                  <c:v>0.22176822275187655</c:v>
                </c:pt>
                <c:pt idx="61">
                  <c:v>0.19373924918689955</c:v>
                </c:pt>
                <c:pt idx="62">
                  <c:v>0.17101547480445842</c:v>
                </c:pt>
                <c:pt idx="63">
                  <c:v>0.18801553046137087</c:v>
                </c:pt>
                <c:pt idx="64">
                  <c:v>0.18880087842092907</c:v>
                </c:pt>
                <c:pt idx="65">
                  <c:v>0.25688191303928737</c:v>
                </c:pt>
                <c:pt idx="66">
                  <c:v>0.2366809552969994</c:v>
                </c:pt>
                <c:pt idx="67">
                  <c:v>0.3268175213898853</c:v>
                </c:pt>
                <c:pt idx="68">
                  <c:v>0.2849656363393759</c:v>
                </c:pt>
                <c:pt idx="69">
                  <c:v>0.2772908894264301</c:v>
                </c:pt>
                <c:pt idx="70">
                  <c:v>0.18155506342404612</c:v>
                </c:pt>
                <c:pt idx="71">
                  <c:v>0.2783673469387755</c:v>
                </c:pt>
                <c:pt idx="72">
                  <c:v>0.21657597524385505</c:v>
                </c:pt>
                <c:pt idx="73">
                  <c:v>0.21474536896403454</c:v>
                </c:pt>
                <c:pt idx="74">
                  <c:v>0.21972822332679615</c:v>
                </c:pt>
                <c:pt idx="75">
                  <c:v>0.27211767953110033</c:v>
                </c:pt>
                <c:pt idx="76">
                  <c:v>0.19708141977520555</c:v>
                </c:pt>
                <c:pt idx="77">
                  <c:v>0.2569616257790755</c:v>
                </c:pt>
                <c:pt idx="78">
                  <c:v>0.2183440449931095</c:v>
                </c:pt>
                <c:pt idx="79">
                  <c:v>0.22027917473091949</c:v>
                </c:pt>
                <c:pt idx="80">
                  <c:v>0.3239248059928809</c:v>
                </c:pt>
                <c:pt idx="81">
                  <c:v>0.2019886655803664</c:v>
                </c:pt>
                <c:pt idx="82">
                  <c:v>0.16066490623911517</c:v>
                </c:pt>
                <c:pt idx="83">
                  <c:v>0.20542912436482558</c:v>
                </c:pt>
                <c:pt idx="84">
                  <c:v>0.29962887330098814</c:v>
                </c:pt>
                <c:pt idx="85">
                  <c:v>0.2115169008328191</c:v>
                </c:pt>
                <c:pt idx="86">
                  <c:v>0.17985337955332</c:v>
                </c:pt>
                <c:pt idx="87">
                  <c:v>0.28180914512922467</c:v>
                </c:pt>
                <c:pt idx="88">
                  <c:v>0.21821302689556737</c:v>
                </c:pt>
                <c:pt idx="89">
                  <c:v>0.15201830672702724</c:v>
                </c:pt>
                <c:pt idx="90">
                  <c:v>0.3326113070618162</c:v>
                </c:pt>
                <c:pt idx="91">
                  <c:v>0.2087100243470564</c:v>
                </c:pt>
                <c:pt idx="92">
                  <c:v>0.20890082262470516</c:v>
                </c:pt>
                <c:pt idx="93">
                  <c:v>0.21105004046164588</c:v>
                </c:pt>
                <c:pt idx="94">
                  <c:v>0.26991063343962834</c:v>
                </c:pt>
                <c:pt idx="95">
                  <c:v>0.16707433453756748</c:v>
                </c:pt>
                <c:pt idx="96">
                  <c:v>0.20115074544917672</c:v>
                </c:pt>
                <c:pt idx="97">
                  <c:v>0.2153876741444849</c:v>
                </c:pt>
                <c:pt idx="98">
                  <c:v>0.16215331885857576</c:v>
                </c:pt>
                <c:pt idx="99">
                  <c:v>0.16422589382638145</c:v>
                </c:pt>
              </c:numCache>
            </c:numRef>
          </c:xVal>
          <c:yVal>
            <c:numRef>
              <c:f>Sheet1!$B$2:$B$101</c:f>
              <c:numCache>
                <c:formatCode>General</c:formatCode>
                <c:ptCount val="100"/>
                <c:pt idx="0">
                  <c:v>0.01652892561983471</c:v>
                </c:pt>
                <c:pt idx="1">
                  <c:v>0.020080321285140562</c:v>
                </c:pt>
                <c:pt idx="2">
                  <c:v>0.02608695652173913</c:v>
                </c:pt>
                <c:pt idx="3">
                  <c:v>0.018691588785046728</c:v>
                </c:pt>
                <c:pt idx="4">
                  <c:v>0.013824884792626729</c:v>
                </c:pt>
                <c:pt idx="5">
                  <c:v>0.02092050209205021</c:v>
                </c:pt>
                <c:pt idx="6">
                  <c:v>0.01282051282051282</c:v>
                </c:pt>
                <c:pt idx="7">
                  <c:v>0.012195121951219513</c:v>
                </c:pt>
                <c:pt idx="8">
                  <c:v>0.007067137809187279</c:v>
                </c:pt>
                <c:pt idx="9">
                  <c:v>0.009375</c:v>
                </c:pt>
                <c:pt idx="10">
                  <c:v>0.0056657223796034</c:v>
                </c:pt>
                <c:pt idx="11">
                  <c:v>0.008152173913043478</c:v>
                </c:pt>
                <c:pt idx="12">
                  <c:v>0.00911854103343465</c:v>
                </c:pt>
                <c:pt idx="13">
                  <c:v>0.006802721088435374</c:v>
                </c:pt>
                <c:pt idx="14">
                  <c:v>0.008</c:v>
                </c:pt>
                <c:pt idx="15">
                  <c:v>0.009302325581395349</c:v>
                </c:pt>
                <c:pt idx="16">
                  <c:v>0.011111111111111112</c:v>
                </c:pt>
                <c:pt idx="17">
                  <c:v>0.014084507042253521</c:v>
                </c:pt>
                <c:pt idx="18">
                  <c:v>0.013513513513513514</c:v>
                </c:pt>
                <c:pt idx="19">
                  <c:v>0.028409090909090908</c:v>
                </c:pt>
                <c:pt idx="20">
                  <c:v>0.02962962962962963</c:v>
                </c:pt>
                <c:pt idx="21">
                  <c:v>0.02564102564102564</c:v>
                </c:pt>
                <c:pt idx="22">
                  <c:v>0.0297029702970297</c:v>
                </c:pt>
                <c:pt idx="23">
                  <c:v>0.025</c:v>
                </c:pt>
                <c:pt idx="24">
                  <c:v>0.009174311926605505</c:v>
                </c:pt>
                <c:pt idx="25">
                  <c:v>0.02158273381294964</c:v>
                </c:pt>
                <c:pt idx="26">
                  <c:v>0.03418803418803419</c:v>
                </c:pt>
                <c:pt idx="27">
                  <c:v>0.0273972602739726</c:v>
                </c:pt>
                <c:pt idx="28">
                  <c:v>0.012903225806451613</c:v>
                </c:pt>
                <c:pt idx="29">
                  <c:v>0.046296296296296294</c:v>
                </c:pt>
                <c:pt idx="30">
                  <c:v>0.017857142857142856</c:v>
                </c:pt>
                <c:pt idx="31">
                  <c:v>0.03361344537815126</c:v>
                </c:pt>
                <c:pt idx="32">
                  <c:v>0.043478260869565216</c:v>
                </c:pt>
                <c:pt idx="33">
                  <c:v>0.024691358024691357</c:v>
                </c:pt>
                <c:pt idx="34">
                  <c:v>0.049019607843137254</c:v>
                </c:pt>
                <c:pt idx="35">
                  <c:v>0.0440251572327044</c:v>
                </c:pt>
                <c:pt idx="36">
                  <c:v>0.07518796992481203</c:v>
                </c:pt>
                <c:pt idx="37">
                  <c:v>0.03968253968253968</c:v>
                </c:pt>
                <c:pt idx="38">
                  <c:v>0.03816793893129771</c:v>
                </c:pt>
                <c:pt idx="39">
                  <c:v>0.04666666666666667</c:v>
                </c:pt>
                <c:pt idx="40">
                  <c:v>0.051094890510948905</c:v>
                </c:pt>
                <c:pt idx="41">
                  <c:v>0.0425531914893617</c:v>
                </c:pt>
                <c:pt idx="42">
                  <c:v>0.05056179775280899</c:v>
                </c:pt>
                <c:pt idx="43">
                  <c:v>0.026905829596412557</c:v>
                </c:pt>
                <c:pt idx="44">
                  <c:v>0.01984126984126984</c:v>
                </c:pt>
                <c:pt idx="45">
                  <c:v>0.021505376344086023</c:v>
                </c:pt>
                <c:pt idx="46">
                  <c:v>0.011363636363636364</c:v>
                </c:pt>
                <c:pt idx="47">
                  <c:v>0.009876543209876543</c:v>
                </c:pt>
                <c:pt idx="48">
                  <c:v>0.012962962962962963</c:v>
                </c:pt>
                <c:pt idx="49">
                  <c:v>0.03514376996805112</c:v>
                </c:pt>
                <c:pt idx="50">
                  <c:v>0.02702702702702703</c:v>
                </c:pt>
                <c:pt idx="51">
                  <c:v>0.02147239263803681</c:v>
                </c:pt>
                <c:pt idx="52">
                  <c:v>0.03007518796992481</c:v>
                </c:pt>
                <c:pt idx="53">
                  <c:v>0.027888446215139442</c:v>
                </c:pt>
                <c:pt idx="54">
                  <c:v>0.013513513513513514</c:v>
                </c:pt>
                <c:pt idx="55">
                  <c:v>0.03389830508474576</c:v>
                </c:pt>
                <c:pt idx="56">
                  <c:v>0.01556420233463035</c:v>
                </c:pt>
                <c:pt idx="57">
                  <c:v>0.013468013468013467</c:v>
                </c:pt>
                <c:pt idx="58">
                  <c:v>0.005</c:v>
                </c:pt>
                <c:pt idx="59">
                  <c:v>0.004545454545454545</c:v>
                </c:pt>
                <c:pt idx="60">
                  <c:v>0.009779951100244499</c:v>
                </c:pt>
                <c:pt idx="61">
                  <c:v>0.007853403141361256</c:v>
                </c:pt>
                <c:pt idx="62">
                  <c:v>0.0069605568445475635</c:v>
                </c:pt>
                <c:pt idx="63">
                  <c:v>0.0044742729306487695</c:v>
                </c:pt>
                <c:pt idx="64">
                  <c:v>0.012626262626262626</c:v>
                </c:pt>
                <c:pt idx="65">
                  <c:v>0.0028735632183908046</c:v>
                </c:pt>
                <c:pt idx="66">
                  <c:v>0.006430868167202572</c:v>
                </c:pt>
                <c:pt idx="67">
                  <c:v>0.003937007874015748</c:v>
                </c:pt>
                <c:pt idx="68">
                  <c:v>0.005319148936170213</c:v>
                </c:pt>
                <c:pt idx="69">
                  <c:v>0.005076142131979695</c:v>
                </c:pt>
                <c:pt idx="70">
                  <c:v>0.009345794392523364</c:v>
                </c:pt>
                <c:pt idx="71">
                  <c:v>0.004329004329004329</c:v>
                </c:pt>
                <c:pt idx="72">
                  <c:v>0.01015228426395939</c:v>
                </c:pt>
                <c:pt idx="73">
                  <c:v>0.0048543689320388345</c:v>
                </c:pt>
                <c:pt idx="74">
                  <c:v>0.0125</c:v>
                </c:pt>
                <c:pt idx="75">
                  <c:v>0.0064516129032258064</c:v>
                </c:pt>
                <c:pt idx="76">
                  <c:v>0.01282051282051282</c:v>
                </c:pt>
                <c:pt idx="77">
                  <c:v>0.008</c:v>
                </c:pt>
                <c:pt idx="78">
                  <c:v>0.008264462809917356</c:v>
                </c:pt>
                <c:pt idx="79">
                  <c:v>0.006535947712418301</c:v>
                </c:pt>
                <c:pt idx="80">
                  <c:v>0.00819672131147541</c:v>
                </c:pt>
                <c:pt idx="81">
                  <c:v>0.010869565217391304</c:v>
                </c:pt>
                <c:pt idx="82">
                  <c:v>0.008849557522123894</c:v>
                </c:pt>
                <c:pt idx="83">
                  <c:v>0.00966183574879227</c:v>
                </c:pt>
                <c:pt idx="84">
                  <c:v>0.007194244604316547</c:v>
                </c:pt>
                <c:pt idx="85">
                  <c:v>0.017094017094017096</c:v>
                </c:pt>
                <c:pt idx="86">
                  <c:v>0.017543859649122806</c:v>
                </c:pt>
                <c:pt idx="87">
                  <c:v>0.007633587786259542</c:v>
                </c:pt>
                <c:pt idx="88">
                  <c:v>0.006369426751592357</c:v>
                </c:pt>
                <c:pt idx="89">
                  <c:v>0.0058823529411764705</c:v>
                </c:pt>
                <c:pt idx="90">
                  <c:v>0.007936507936507936</c:v>
                </c:pt>
                <c:pt idx="91">
                  <c:v>0.0051813471502590676</c:v>
                </c:pt>
                <c:pt idx="92">
                  <c:v>0.004484304932735426</c:v>
                </c:pt>
                <c:pt idx="93">
                  <c:v>0.00749063670411985</c:v>
                </c:pt>
                <c:pt idx="94">
                  <c:v>0.0031446540880503146</c:v>
                </c:pt>
                <c:pt idx="95">
                  <c:v>0.0023752969121140144</c:v>
                </c:pt>
                <c:pt idx="96">
                  <c:v>0.0036900369003690036</c:v>
                </c:pt>
                <c:pt idx="97">
                  <c:v>0.0031446540880503146</c:v>
                </c:pt>
                <c:pt idx="98">
                  <c:v>0.002777777777777778</c:v>
                </c:pt>
                <c:pt idx="99">
                  <c:v>0.003367003367003367</c:v>
                </c:pt>
              </c:numCache>
            </c:numRef>
          </c:yVal>
          <c:smooth val="0"/>
          <c:extLst>
            <c:ext xmlns:c16="http://schemas.microsoft.com/office/drawing/2014/chart" uri="{C3380CC4-5D6E-409C-BE32-E72D297353CC}">
              <c16:uniqueId val="{00000000-096C-4121-9522-6AB7243CCAAE}"/>
            </c:ext>
          </c:extLst>
        </c:ser>
        <c:ser>
          <c:idx val="1"/>
          <c:order val="1"/>
          <c:tx>
            <c:strRef>
              <c:f>Sheet1!$B$10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0.16139093123319764</c:v>
                </c:pt>
                <c:pt idx="4">
                  <c:v>0.16448130843362324</c:v>
                </c:pt>
                <c:pt idx="5">
                  <c:v>0.26538375267024755</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33309067121067304</c:v>
                </c:pt>
                <c:pt idx="23">
                  <c:v>0.0</c:v>
                </c:pt>
                <c:pt idx="24">
                  <c:v>0.2806406071631846</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036496350364963502</c:v>
                </c:pt>
                <c:pt idx="4">
                  <c:v>0.0033444816053511705</c:v>
                </c:pt>
                <c:pt idx="5">
                  <c:v>0.0031645569620253164</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4405286343612335</c:v>
                </c:pt>
                <c:pt idx="23">
                  <c:v>0.0</c:v>
                </c:pt>
                <c:pt idx="24">
                  <c:v>0.009523809523809525</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096C-4121-9522-6AB7243CCAAE}"/>
            </c:ext>
          </c:extLst>
        </c:ser>
        <c:ser>
          <c:idx val="2"/>
          <c:order val="2"/>
          <c:tx>
            <c:strRef>
              <c:f>Sheet1!$B$13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0:$A$141</c:f>
              <c:numCache>
                <c:formatCode>General</c:formatCode>
                <c:ptCount val="2"/>
                <c:pt idx="0">
                  <c:v>0</c:v>
                </c:pt>
                <c:pt idx="1">
                  <c:v>2.0406856503299964</c:v>
                </c:pt>
              </c:numCache>
            </c:numRef>
          </c:xVal>
          <c:yVal>
            <c:numRef>
              <c:f>Sheet1!$B$140:$B$141</c:f>
              <c:numCache>
                <c:formatCode>General</c:formatCode>
                <c:ptCount val="2"/>
                <c:pt idx="0">
                  <c:v>0.03973660555228324</c:v>
                </c:pt>
                <c:pt idx="1">
                  <c:v>0.03973660555228324</c:v>
                </c:pt>
              </c:numCache>
            </c:numRef>
          </c:yVal>
          <c:smooth val="0"/>
          <c:extLst>
            <c:ext xmlns:c16="http://schemas.microsoft.com/office/drawing/2014/chart" uri="{C3380CC4-5D6E-409C-BE32-E72D297353CC}">
              <c16:uniqueId val="{00000005-096C-4121-9522-6AB7243CCAAE}"/>
            </c:ext>
          </c:extLst>
        </c:ser>
        <c:ser>
          <c:idx val="3"/>
          <c:order val="3"/>
          <c:tx>
            <c:strRef>
              <c:f>Sheet1!$B$14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4:$A$145</c:f>
              <c:numCache>
                <c:formatCode>General</c:formatCode>
                <c:ptCount val="2"/>
                <c:pt idx="0">
                  <c:v>2.0406856503299964</c:v>
                </c:pt>
                <c:pt idx="1">
                  <c:v>2.0406856503299964</c:v>
                </c:pt>
              </c:numCache>
            </c:numRef>
          </c:xVal>
          <c:yVal>
            <c:numRef>
              <c:f>Sheet1!$B$144:$B$145</c:f>
              <c:numCache>
                <c:formatCode>General</c:formatCode>
                <c:ptCount val="2"/>
                <c:pt idx="0">
                  <c:v>0.0397366055522832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8:$A$149</c:f>
              <c:numCache>
                <c:formatCode>General</c:formatCode>
                <c:ptCount val="2"/>
                <c:pt idx="0">
                  <c:v>0</c:v>
                </c:pt>
                <c:pt idx="1">
                  <c:v>0.08603150822584343</c:v>
                </c:pt>
              </c:numCache>
            </c:numRef>
          </c:xVal>
          <c:yVal>
            <c:numRef>
              <c:f>Sheet1!$B$148:$B$149</c:f>
              <c:numCache>
                <c:formatCode>General</c:formatCode>
                <c:ptCount val="2"/>
                <c:pt idx="0">
                  <c:v>0.0016931122673121395</c:v>
                </c:pt>
                <c:pt idx="1">
                  <c:v>0.0016931122673121395</c:v>
                </c:pt>
              </c:numCache>
            </c:numRef>
          </c:yVal>
          <c:smooth val="0"/>
          <c:extLst>
            <c:ext xmlns:c16="http://schemas.microsoft.com/office/drawing/2014/chart" uri="{C3380CC4-5D6E-409C-BE32-E72D297353CC}">
              <c16:uniqueId val="{0000000D-096C-4121-9522-6AB7243CCAAE}"/>
            </c:ext>
          </c:extLst>
        </c:ser>
        <c:ser>
          <c:idx val="5"/>
          <c:order val="5"/>
          <c:tx>
            <c:strRef>
              <c:f>Sheet1!$B$15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2:$A$153</c:f>
              <c:numCache>
                <c:formatCode>General</c:formatCode>
                <c:ptCount val="2"/>
                <c:pt idx="0">
                  <c:v>0.08603150822584343</c:v>
                </c:pt>
                <c:pt idx="1">
                  <c:v>0.08603150822584343</c:v>
                </c:pt>
              </c:numCache>
            </c:numRef>
          </c:xVal>
          <c:yVal>
            <c:numRef>
              <c:f>Sheet1!$B$152:$B$153</c:f>
              <c:numCache>
                <c:formatCode>General</c:formatCode>
                <c:ptCount val="2"/>
                <c:pt idx="0">
                  <c:v>0.00169311226731213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6:$A$157</c:f>
              <c:numCache>
                <c:formatCode>General</c:formatCode>
                <c:ptCount val="2"/>
                <c:pt idx="0">
                  <c:v>0</c:v>
                </c:pt>
                <c:pt idx="1">
                  <c:v>-0.0009596858151204599</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5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0:$A$161</c:f>
              <c:numCache>
                <c:formatCode>General</c:formatCode>
                <c:ptCount val="2"/>
                <c:pt idx="0">
                  <c:v>-0.0009596858151204599</c:v>
                </c:pt>
                <c:pt idx="1">
                  <c:v>-0.0009596858151204599</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4:$A$200</c:f>
              <c:numCache>
                <c:formatCode>General</c:formatCode>
                <c:ptCount val="37"/>
                <c:pt idx="0">
                  <c:v>0.0</c:v>
                </c:pt>
                <c:pt idx="1">
                  <c:v>0.0</c:v>
                </c:pt>
                <c:pt idx="2">
                  <c:v>0.0</c:v>
                </c:pt>
                <c:pt idx="3">
                  <c:v>0.16139093123319764</c:v>
                </c:pt>
                <c:pt idx="4">
                  <c:v>0.16448130843362324</c:v>
                </c:pt>
                <c:pt idx="5">
                  <c:v>0.26538375267024755</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33309067121067304</c:v>
                </c:pt>
                <c:pt idx="23">
                  <c:v>0.0</c:v>
                </c:pt>
                <c:pt idx="24">
                  <c:v>0.2806406071631846</c:v>
                </c:pt>
                <c:pt idx="25">
                  <c:v>0.0</c:v>
                </c:pt>
                <c:pt idx="26">
                  <c:v>0.0</c:v>
                </c:pt>
                <c:pt idx="27">
                  <c:v>0.0</c:v>
                </c:pt>
                <c:pt idx="28">
                  <c:v>0.0</c:v>
                </c:pt>
                <c:pt idx="29">
                  <c:v>0.0</c:v>
                </c:pt>
                <c:pt idx="30">
                  <c:v>0.0</c:v>
                </c:pt>
                <c:pt idx="31">
                  <c:v>0.0</c:v>
                </c:pt>
                <c:pt idx="32">
                  <c:v>0.0</c:v>
                </c:pt>
                <c:pt idx="33">
                  <c:v>0.0</c:v>
                </c:pt>
                <c:pt idx="34">
                  <c:v>0.08603150822584343</c:v>
                </c:pt>
                <c:pt idx="35">
                  <c:v>2.0406856503299964</c:v>
                </c:pt>
                <c:pt idx="36">
                  <c:v>-0.0009596858151204599</c:v>
                </c:pt>
              </c:numCache>
            </c:numRef>
          </c:xVal>
          <c:yVal>
            <c:numRef>
              <c:f>Sheet1!$B$164:$B$200</c:f>
              <c:numCache>
                <c:formatCode>General</c:formatCode>
                <c:ptCount val="37"/>
                <c:pt idx="0">
                  <c:v>1.8678394339325438e-05</c:v>
                </c:pt>
                <c:pt idx="1">
                  <c:v>1.8678394339325438e-05</c:v>
                </c:pt>
                <c:pt idx="2">
                  <c:v>1.8678394339325438e-05</c:v>
                </c:pt>
                <c:pt idx="3">
                  <c:v>0.003159835019631569</c:v>
                </c:pt>
                <c:pt idx="4">
                  <c:v>0.0032199831254984507</c:v>
                </c:pt>
                <c:pt idx="5">
                  <c:v>0.005183850480375314</c:v>
                </c:pt>
                <c:pt idx="6">
                  <c:v>1.8678394339325438e-05</c:v>
                </c:pt>
                <c:pt idx="7">
                  <c:v>1.8678394339325438e-05</c:v>
                </c:pt>
                <c:pt idx="8">
                  <c:v>1.8678394339325438e-05</c:v>
                </c:pt>
                <c:pt idx="9">
                  <c:v>1.8678394339325438e-05</c:v>
                </c:pt>
                <c:pt idx="10">
                  <c:v>1.8678394339325438e-05</c:v>
                </c:pt>
                <c:pt idx="11">
                  <c:v>1.8678394339325438e-05</c:v>
                </c:pt>
                <c:pt idx="12">
                  <c:v>1.8678394339325438e-05</c:v>
                </c:pt>
                <c:pt idx="13">
                  <c:v>1.8678394339325438e-05</c:v>
                </c:pt>
                <c:pt idx="14">
                  <c:v>1.8678394339325438e-05</c:v>
                </c:pt>
                <c:pt idx="15">
                  <c:v>1.8678394339325438e-05</c:v>
                </c:pt>
                <c:pt idx="16">
                  <c:v>1.8678394339325438e-05</c:v>
                </c:pt>
                <c:pt idx="17">
                  <c:v>1.8678394339325438e-05</c:v>
                </c:pt>
                <c:pt idx="18">
                  <c:v>1.8678394339325438e-05</c:v>
                </c:pt>
                <c:pt idx="19">
                  <c:v>1.8678394339325438e-05</c:v>
                </c:pt>
                <c:pt idx="20">
                  <c:v>1.8678394339325438e-05</c:v>
                </c:pt>
                <c:pt idx="21">
                  <c:v>1.8678394339325438e-05</c:v>
                </c:pt>
                <c:pt idx="22">
                  <c:v>0.006501632304461056</c:v>
                </c:pt>
                <c:pt idx="23">
                  <c:v>1.8678394339325438e-05</c:v>
                </c:pt>
                <c:pt idx="24">
                  <c:v>0.005480795105487875</c:v>
                </c:pt>
                <c:pt idx="25">
                  <c:v>1.8678394339325438e-05</c:v>
                </c:pt>
                <c:pt idx="26">
                  <c:v>1.8678394339325438e-05</c:v>
                </c:pt>
                <c:pt idx="27">
                  <c:v>1.8678394339325438e-05</c:v>
                </c:pt>
                <c:pt idx="28">
                  <c:v>1.8678394339325438e-05</c:v>
                </c:pt>
                <c:pt idx="29">
                  <c:v>1.8678394339325438e-05</c:v>
                </c:pt>
                <c:pt idx="30">
                  <c:v>1.8678394339325438e-05</c:v>
                </c:pt>
                <c:pt idx="31">
                  <c:v>1.8678394339325438e-05</c:v>
                </c:pt>
                <c:pt idx="32">
                  <c:v>1.8678394339325438e-05</c:v>
                </c:pt>
                <c:pt idx="33">
                  <c:v>1.8678394339325438e-05</c:v>
                </c:pt>
                <c:pt idx="34">
                  <c:v>0.0016931122673121395</c:v>
                </c:pt>
                <c:pt idx="35">
                  <c:v>0.039736605552283234</c:v>
                </c:pt>
                <c:pt idx="36">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9022556390977443"/>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4074124569866173</c:v>
                </c:pt>
                <c:pt idx="1">
                  <c:v>4.615889462265177</c:v>
                </c:pt>
                <c:pt idx="2">
                  <c:v>4.450229158299708</c:v>
                </c:pt>
                <c:pt idx="3">
                  <c:v>3.481328665545739</c:v>
                </c:pt>
                <c:pt idx="4">
                  <c:v>4.039241008249752</c:v>
                </c:pt>
                <c:pt idx="5">
                  <c:v>5.229882354156703</c:v>
                </c:pt>
                <c:pt idx="6">
                  <c:v>3.9534916473686645</c:v>
                </c:pt>
                <c:pt idx="7">
                  <c:v>2.80950855408974</c:v>
                </c:pt>
                <c:pt idx="8">
                  <c:v>4.7158615612828125</c:v>
                </c:pt>
                <c:pt idx="9">
                  <c:v>4.199286519738798</c:v>
                </c:pt>
                <c:pt idx="10">
                  <c:v>3.930887708538971</c:v>
                </c:pt>
                <c:pt idx="11">
                  <c:v>3.2791218619584552</c:v>
                </c:pt>
                <c:pt idx="12">
                  <c:v>5.322811731278501</c:v>
                </c:pt>
                <c:pt idx="13">
                  <c:v>3.9603982545093945</c:v>
                </c:pt>
                <c:pt idx="14">
                  <c:v>0.0</c:v>
                </c:pt>
                <c:pt idx="15">
                  <c:v>2.760039801053566</c:v>
                </c:pt>
                <c:pt idx="16">
                  <c:v>1.5809498403461022</c:v>
                </c:pt>
                <c:pt idx="17">
                  <c:v>4.666717305514024</c:v>
                </c:pt>
                <c:pt idx="18">
                  <c:v>0.0</c:v>
                </c:pt>
                <c:pt idx="19">
                  <c:v>2.6496338431529516</c:v>
                </c:pt>
                <c:pt idx="20">
                  <c:v>3.5586268756193604</c:v>
                </c:pt>
                <c:pt idx="21">
                  <c:v>4.231978170098435</c:v>
                </c:pt>
                <c:pt idx="22">
                  <c:v>3.320128191685775</c:v>
                </c:pt>
                <c:pt idx="23">
                  <c:v>3.9253940797669444</c:v>
                </c:pt>
                <c:pt idx="24">
                  <c:v>3.7221580632261864</c:v>
                </c:pt>
                <c:pt idx="25">
                  <c:v>2.653476939090491</c:v>
                </c:pt>
                <c:pt idx="26">
                  <c:v>3.723195911812249</c:v>
                </c:pt>
                <c:pt idx="27">
                  <c:v>9.097649057074152</c:v>
                </c:pt>
                <c:pt idx="28">
                  <c:v>1.9404996203572065</c:v>
                </c:pt>
                <c:pt idx="29">
                  <c:v>4.1129767964101696</c:v>
                </c:pt>
                <c:pt idx="30">
                  <c:v>2.2398605720406994</c:v>
                </c:pt>
                <c:pt idx="31">
                  <c:v>2.920058908102486</c:v>
                </c:pt>
                <c:pt idx="32">
                  <c:v>4.930807758654919</c:v>
                </c:pt>
                <c:pt idx="33">
                  <c:v>2.2536056404105267</c:v>
                </c:pt>
                <c:pt idx="34">
                  <c:v>2.1549977216912457</c:v>
                </c:pt>
                <c:pt idx="35">
                  <c:v>2.3976043486561</c:v>
                </c:pt>
                <c:pt idx="36">
                  <c:v>4.062515804330188</c:v>
                </c:pt>
                <c:pt idx="37">
                  <c:v>2.7386412399734086</c:v>
                </c:pt>
                <c:pt idx="38">
                  <c:v>4.646906650722172</c:v>
                </c:pt>
                <c:pt idx="39">
                  <c:v>3.4366661831433967</c:v>
                </c:pt>
                <c:pt idx="40">
                  <c:v>5.184091857143022</c:v>
                </c:pt>
                <c:pt idx="41">
                  <c:v>3.0932735301742866</c:v>
                </c:pt>
                <c:pt idx="42">
                  <c:v>6.287898692353348</c:v>
                </c:pt>
                <c:pt idx="43">
                  <c:v>4.314492409800739</c:v>
                </c:pt>
                <c:pt idx="44">
                  <c:v>2.823381004079519</c:v>
                </c:pt>
                <c:pt idx="45">
                  <c:v>2.8321546337601444</c:v>
                </c:pt>
                <c:pt idx="46">
                  <c:v>2.6751752754590647</c:v>
                </c:pt>
                <c:pt idx="47">
                  <c:v>2.278598406487121</c:v>
                </c:pt>
                <c:pt idx="48">
                  <c:v>2.982881112546417</c:v>
                </c:pt>
                <c:pt idx="49">
                  <c:v>2.399177259727395</c:v>
                </c:pt>
                <c:pt idx="50">
                  <c:v>2.8525047373503787</c:v>
                </c:pt>
                <c:pt idx="51">
                  <c:v>2.6556500049548606</c:v>
                </c:pt>
                <c:pt idx="52">
                  <c:v>3.1460864532174146</c:v>
                </c:pt>
                <c:pt idx="53">
                  <c:v>2.343591463382834</c:v>
                </c:pt>
                <c:pt idx="54">
                  <c:v>2.3764925322902384</c:v>
                </c:pt>
                <c:pt idx="55">
                  <c:v>2.8242128913232203</c:v>
                </c:pt>
                <c:pt idx="56">
                  <c:v>5.844968822896939</c:v>
                </c:pt>
                <c:pt idx="57">
                  <c:v>2.3054701302828</c:v>
                </c:pt>
                <c:pt idx="58">
                  <c:v>2.4271482044196393</c:v>
                </c:pt>
                <c:pt idx="59">
                  <c:v>2.027622682394199</c:v>
                </c:pt>
                <c:pt idx="60">
                  <c:v>1.7648605236195334</c:v>
                </c:pt>
                <c:pt idx="61">
                  <c:v>1.7700498751581837</c:v>
                </c:pt>
                <c:pt idx="62">
                  <c:v>1.850716697798237</c:v>
                </c:pt>
                <c:pt idx="63">
                  <c:v>1.5126414307179636</c:v>
                </c:pt>
                <c:pt idx="64">
                  <c:v>1.6830313757383977</c:v>
                </c:pt>
                <c:pt idx="65">
                  <c:v>1.6381324421478691</c:v>
                </c:pt>
                <c:pt idx="66">
                  <c:v>1.5308467534800612</c:v>
                </c:pt>
                <c:pt idx="67">
                  <c:v>2.0564082611303967</c:v>
                </c:pt>
                <c:pt idx="68">
                  <c:v>1.5278214862746422</c:v>
                </c:pt>
                <c:pt idx="69">
                  <c:v>1.3656692249350604</c:v>
                </c:pt>
                <c:pt idx="70">
                  <c:v>1.4362260433285536</c:v>
                </c:pt>
                <c:pt idx="71">
                  <c:v>1.0738223068579316</c:v>
                </c:pt>
                <c:pt idx="72">
                  <c:v>1.7223418210448218</c:v>
                </c:pt>
                <c:pt idx="73">
                  <c:v>1.1461978848309389</c:v>
                </c:pt>
                <c:pt idx="74">
                  <c:v>1.4173879838635173</c:v>
                </c:pt>
                <c:pt idx="75">
                  <c:v>2.206293724204793</c:v>
                </c:pt>
                <c:pt idx="76">
                  <c:v>2.1641791336002636</c:v>
                </c:pt>
                <c:pt idx="77">
                  <c:v>2.5233763991417453</c:v>
                </c:pt>
                <c:pt idx="78">
                  <c:v>1.699840481374918</c:v>
                </c:pt>
                <c:pt idx="79">
                  <c:v>2.653286876263026</c:v>
                </c:pt>
                <c:pt idx="80">
                  <c:v>2.4932676843397275</c:v>
                </c:pt>
                <c:pt idx="81">
                  <c:v>2.0316807492047233</c:v>
                </c:pt>
                <c:pt idx="82">
                  <c:v>2.396808604703136</c:v>
                </c:pt>
                <c:pt idx="83">
                  <c:v>2.407157884250548</c:v>
                </c:pt>
                <c:pt idx="84">
                  <c:v>2.382414064228138</c:v>
                </c:pt>
                <c:pt idx="85">
                  <c:v>2.0731321374634772</c:v>
                </c:pt>
                <c:pt idx="86">
                  <c:v>2.8368552593169185</c:v>
                </c:pt>
                <c:pt idx="87">
                  <c:v>2.96323584474941</c:v>
                </c:pt>
                <c:pt idx="88">
                  <c:v>2.3631691721370216</c:v>
                </c:pt>
                <c:pt idx="89">
                  <c:v>2.147002135127102</c:v>
                </c:pt>
                <c:pt idx="90">
                  <c:v>2.2467928548239167</c:v>
                </c:pt>
                <c:pt idx="91">
                  <c:v>2.179736145569139</c:v>
                </c:pt>
                <c:pt idx="92">
                  <c:v>2.4619050496131414</c:v>
                </c:pt>
                <c:pt idx="93">
                  <c:v>2.4717474828959483</c:v>
                </c:pt>
                <c:pt idx="94">
                  <c:v>2.9130138794975053</c:v>
                </c:pt>
                <c:pt idx="95">
                  <c:v>2.64943301031113</c:v>
                </c:pt>
                <c:pt idx="96">
                  <c:v>2.123629861958632</c:v>
                </c:pt>
                <c:pt idx="97">
                  <c:v>2.3582051003896494</c:v>
                </c:pt>
                <c:pt idx="98">
                  <c:v>2.323908701256022</c:v>
                </c:pt>
                <c:pt idx="99">
                  <c:v>2.434207664789987</c:v>
                </c:pt>
                <c:pt idx="100">
                  <c:v>2.7451056936477585</c:v>
                </c:pt>
                <c:pt idx="101">
                  <c:v>2.3961725919000245</c:v>
                </c:pt>
                <c:pt idx="102">
                  <c:v>2.371578525659041</c:v>
                </c:pt>
                <c:pt idx="103">
                  <c:v>2.525143936343305</c:v>
                </c:pt>
                <c:pt idx="104">
                  <c:v>2.724987577056769</c:v>
                </c:pt>
              </c:numCache>
            </c:numRef>
          </c:xVal>
          <c:yVal>
            <c:numRef>
              <c:f>Sheet1!$B$2:$B$106</c:f>
              <c:numCache>
                <c:formatCode>General</c:formatCode>
                <c:ptCount val="105"/>
                <c:pt idx="0">
                  <c:v>0.00031891666462232905</c:v>
                </c:pt>
                <c:pt idx="1">
                  <c:v>7.925395609330832e-05</c:v>
                </c:pt>
                <c:pt idx="2">
                  <c:v>7.552299675251114e-05</c:v>
                </c:pt>
                <c:pt idx="3">
                  <c:v>8.004482510205715e-05</c:v>
                </c:pt>
                <c:pt idx="4">
                  <c:v>6.23966555392631e-05</c:v>
                </c:pt>
                <c:pt idx="5">
                  <c:v>9.57548675390999e-05</c:v>
                </c:pt>
                <c:pt idx="6">
                  <c:v>0.00018340210912425492</c:v>
                </c:pt>
                <c:pt idx="7">
                  <c:v>0.00021210407239819005</c:v>
                </c:pt>
                <c:pt idx="8">
                  <c:v>0.00011031033975584644</c:v>
                </c:pt>
                <c:pt idx="9">
                  <c:v>0.0001392757660167131</c:v>
                </c:pt>
                <c:pt idx="10">
                  <c:v>0.00010751532093323298</c:v>
                </c:pt>
                <c:pt idx="11">
                  <c:v>0.00018946057866673884</c:v>
                </c:pt>
                <c:pt idx="12">
                  <c:v>0.00012403870007442322</c:v>
                </c:pt>
                <c:pt idx="13">
                  <c:v>0.00015577132769094968</c:v>
                </c:pt>
                <c:pt idx="14">
                  <c:v>0.0</c:v>
                </c:pt>
                <c:pt idx="15">
                  <c:v>0.00015527950310559007</c:v>
                </c:pt>
                <c:pt idx="16">
                  <c:v>0.00014243999715120005</c:v>
                </c:pt>
                <c:pt idx="17">
                  <c:v>7.810669374365383e-05</c:v>
                </c:pt>
                <c:pt idx="18">
                  <c:v>0.0</c:v>
                </c:pt>
                <c:pt idx="19">
                  <c:v>0.00015323322096230462</c:v>
                </c:pt>
                <c:pt idx="20">
                  <c:v>0.00012568077084206116</c:v>
                </c:pt>
                <c:pt idx="21">
                  <c:v>5.2578999947421e-05</c:v>
                </c:pt>
                <c:pt idx="22">
                  <c:v>0.00020874647740319382</c:v>
                </c:pt>
                <c:pt idx="23">
                  <c:v>0.0001632386549134835</c:v>
                </c:pt>
                <c:pt idx="24">
                  <c:v>0.00020258293238794632</c:v>
                </c:pt>
                <c:pt idx="25">
                  <c:v>0.0003478059242942438</c:v>
                </c:pt>
                <c:pt idx="26">
                  <c:v>0.00025717518773788703</c:v>
                </c:pt>
                <c:pt idx="27">
                  <c:v>5.060728744939271e-05</c:v>
                </c:pt>
                <c:pt idx="28">
                  <c:v>0.0002570561924836769</c:v>
                </c:pt>
                <c:pt idx="29">
                  <c:v>0.00017968644714972374</c:v>
                </c:pt>
                <c:pt idx="30">
                  <c:v>0.00023078698361412417</c:v>
                </c:pt>
                <c:pt idx="31">
                  <c:v>0.0002249212775528565</c:v>
                </c:pt>
                <c:pt idx="32">
                  <c:v>0.00011039355301650383</c:v>
                </c:pt>
                <c:pt idx="33">
                  <c:v>0.00039227651135422567</c:v>
                </c:pt>
                <c:pt idx="34">
                  <c:v>0.0004630165528417641</c:v>
                </c:pt>
                <c:pt idx="35">
                  <c:v>0.0004770504651242035</c:v>
                </c:pt>
                <c:pt idx="36">
                  <c:v>0.00016523463317911433</c:v>
                </c:pt>
                <c:pt idx="37">
                  <c:v>0.00019287333044023337</c:v>
                </c:pt>
                <c:pt idx="38">
                  <c:v>9.664637092877162e-05</c:v>
                </c:pt>
                <c:pt idx="39">
                  <c:v>0.00020469781485082646</c:v>
                </c:pt>
                <c:pt idx="40">
                  <c:v>8.289468230613006e-05</c:v>
                </c:pt>
                <c:pt idx="41">
                  <c:v>0.0001376399339328317</c:v>
                </c:pt>
                <c:pt idx="42">
                  <c:v>3.913894324853229e-05</c:v>
                </c:pt>
                <c:pt idx="43">
                  <c:v>0.00010425716768027802</c:v>
                </c:pt>
                <c:pt idx="44">
                  <c:v>0.00014063708599957808</c:v>
                </c:pt>
                <c:pt idx="45">
                  <c:v>0.0001060332944544587</c:v>
                </c:pt>
                <c:pt idx="46">
                  <c:v>0.00022583559168925022</c:v>
                </c:pt>
                <c:pt idx="47">
                  <c:v>0.000293581059827626</c:v>
                </c:pt>
                <c:pt idx="48">
                  <c:v>0.00015294027682190105</c:v>
                </c:pt>
                <c:pt idx="49">
                  <c:v>0.00016961550285696112</c:v>
                </c:pt>
                <c:pt idx="50">
                  <c:v>0.0002012477359629704</c:v>
                </c:pt>
                <c:pt idx="51">
                  <c:v>0.0002486139770777913</c:v>
                </c:pt>
                <c:pt idx="52">
                  <c:v>8.450228156160216e-05</c:v>
                </c:pt>
                <c:pt idx="53">
                  <c:v>0.0001316586354899018</c:v>
                </c:pt>
                <c:pt idx="54">
                  <c:v>0.0002624289254993439</c:v>
                </c:pt>
                <c:pt idx="55">
                  <c:v>0.00014956178397295924</c:v>
                </c:pt>
                <c:pt idx="56">
                  <c:v>6.046680372475511e-05</c:v>
                </c:pt>
                <c:pt idx="57">
                  <c:v>0.00010392849719393057</c:v>
                </c:pt>
                <c:pt idx="58">
                  <c:v>9.544716999140975e-05</c:v>
                </c:pt>
                <c:pt idx="59">
                  <c:v>0.0001570869790603057</c:v>
                </c:pt>
                <c:pt idx="60">
                  <c:v>0.0002410260824653525</c:v>
                </c:pt>
                <c:pt idx="61">
                  <c:v>0.00032864621235240263</c:v>
                </c:pt>
                <c:pt idx="62">
                  <c:v>0.00027110679348440006</c:v>
                </c:pt>
                <c:pt idx="63">
                  <c:v>0.00036864849366129393</c:v>
                </c:pt>
                <c:pt idx="64">
                  <c:v>0.0003807615230460922</c:v>
                </c:pt>
                <c:pt idx="65">
                  <c:v>0.00032711808963035657</c:v>
                </c:pt>
                <c:pt idx="66">
                  <c:v>0.0002484135407962783</c:v>
                </c:pt>
                <c:pt idx="67">
                  <c:v>0.0002141174791235458</c:v>
                </c:pt>
                <c:pt idx="68">
                  <c:v>0.0003691608689478915</c:v>
                </c:pt>
                <c:pt idx="69">
                  <c:v>0.00041263410608447746</c:v>
                </c:pt>
                <c:pt idx="70">
                  <c:v>0.0003591051100657162</c:v>
                </c:pt>
                <c:pt idx="71">
                  <c:v>0.0003860854793251226</c:v>
                </c:pt>
                <c:pt idx="72">
                  <c:v>0.00040169442009932807</c:v>
                </c:pt>
                <c:pt idx="73">
                  <c:v>0.0007383515330509462</c:v>
                </c:pt>
                <c:pt idx="74">
                  <c:v>0.0007898597058712905</c:v>
                </c:pt>
                <c:pt idx="75">
                  <c:v>0.0007884708046782601</c:v>
                </c:pt>
                <c:pt idx="76">
                  <c:v>0.0010745153001635132</c:v>
                </c:pt>
                <c:pt idx="77">
                  <c:v>0.0011077397293262053</c:v>
                </c:pt>
                <c:pt idx="78">
                  <c:v>0.0018812147272238647</c:v>
                </c:pt>
                <c:pt idx="79">
                  <c:v>0.0011912703707233393</c:v>
                </c:pt>
                <c:pt idx="80">
                  <c:v>0.0011436195558944058</c:v>
                </c:pt>
                <c:pt idx="81">
                  <c:v>0.0016303240269003464</c:v>
                </c:pt>
                <c:pt idx="82">
                  <c:v>0.0013089005235602095</c:v>
                </c:pt>
                <c:pt idx="83">
                  <c:v>0.001287395782246199</c:v>
                </c:pt>
                <c:pt idx="84">
                  <c:v>0.0012380068090374497</c:v>
                </c:pt>
                <c:pt idx="85">
                  <c:v>0.0011462256427050926</c:v>
                </c:pt>
                <c:pt idx="86">
                  <c:v>0.0010637427379101548</c:v>
                </c:pt>
                <c:pt idx="87">
                  <c:v>0.0009602827072290082</c:v>
                </c:pt>
                <c:pt idx="88">
                  <c:v>0.001459356910054969</c:v>
                </c:pt>
                <c:pt idx="89">
                  <c:v>0.0018212984786800943</c:v>
                </c:pt>
                <c:pt idx="90">
                  <c:v>0.0017051705170517053</c:v>
                </c:pt>
                <c:pt idx="91">
                  <c:v>0.0016994158258098779</c:v>
                </c:pt>
                <c:pt idx="92">
                  <c:v>0.0014476709529081156</c:v>
                </c:pt>
                <c:pt idx="93">
                  <c:v>0.0014341911162104573</c:v>
                </c:pt>
                <c:pt idx="94">
                  <c:v>0.0013409784518634976</c:v>
                </c:pt>
                <c:pt idx="95">
                  <c:v>0.0015918173812910655</c:v>
                </c:pt>
                <c:pt idx="96">
                  <c:v>0.0021358186495801174</c:v>
                </c:pt>
                <c:pt idx="97">
                  <c:v>0.0024340169746227274</c:v>
                </c:pt>
                <c:pt idx="98">
                  <c:v>0.002288203851504723</c:v>
                </c:pt>
                <c:pt idx="99">
                  <c:v>0.0021538071709109336</c:v>
                </c:pt>
                <c:pt idx="100">
                  <c:v>0.0016596553909986745</c:v>
                </c:pt>
                <c:pt idx="101">
                  <c:v>0.002235498931708475</c:v>
                </c:pt>
                <c:pt idx="102">
                  <c:v>0.0018664144933306789</c:v>
                </c:pt>
                <c:pt idx="103">
                  <c:v>0.001825415399017084</c:v>
                </c:pt>
                <c:pt idx="104">
                  <c:v>0.001356668023334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2.5299357537968614</c:v>
                </c:pt>
                <c:pt idx="1">
                  <c:v>2.0804513634473034</c:v>
                </c:pt>
                <c:pt idx="2">
                  <c:v>2.466422259533966</c:v>
                </c:pt>
                <c:pt idx="3">
                  <c:v>2.1018023276545015</c:v>
                </c:pt>
                <c:pt idx="4">
                  <c:v>2.4548024523273217</c:v>
                </c:pt>
                <c:pt idx="5">
                  <c:v>2.6503437057143784</c:v>
                </c:pt>
                <c:pt idx="6">
                  <c:v>2.719150549671889</c:v>
                </c:pt>
                <c:pt idx="7">
                  <c:v>2.6213727008941157</c:v>
                </c:pt>
                <c:pt idx="8">
                  <c:v>2.4296644565621515</c:v>
                </c:pt>
                <c:pt idx="9">
                  <c:v>2.395594639437104</c:v>
                </c:pt>
                <c:pt idx="10">
                  <c:v>2.4299278911151263</c:v>
                </c:pt>
                <c:pt idx="11">
                  <c:v>2.605347872225586</c:v>
                </c:pt>
                <c:pt idx="12">
                  <c:v>2.3447510842314223</c:v>
                </c:pt>
                <c:pt idx="13">
                  <c:v>1.9922495293256943</c:v>
                </c:pt>
                <c:pt idx="14">
                  <c:v>2.0105680770354963</c:v>
                </c:pt>
                <c:pt idx="15">
                  <c:v>2.1256922196451424</c:v>
                </c:pt>
                <c:pt idx="16">
                  <c:v>2.2191758329735065</c:v>
                </c:pt>
                <c:pt idx="17">
                  <c:v>1.706311221272135</c:v>
                </c:pt>
                <c:pt idx="18">
                  <c:v>2.4305758632020624</c:v>
                </c:pt>
                <c:pt idx="19">
                  <c:v>2.4799780567277216</c:v>
                </c:pt>
                <c:pt idx="20">
                  <c:v>2.2986035931871402</c:v>
                </c:pt>
                <c:pt idx="21">
                  <c:v>1.8636495217657558</c:v>
                </c:pt>
                <c:pt idx="22">
                  <c:v>2.02981563785494</c:v>
                </c:pt>
                <c:pt idx="23">
                  <c:v>1.6624264534030204</c:v>
                </c:pt>
                <c:pt idx="24">
                  <c:v>2.131112863999382</c:v>
                </c:pt>
                <c:pt idx="25">
                  <c:v>2.1123336827798394</c:v>
                </c:pt>
                <c:pt idx="26">
                  <c:v>2.1045327371013127</c:v>
                </c:pt>
                <c:pt idx="27">
                  <c:v>2.0356311416433672</c:v>
                </c:pt>
                <c:pt idx="28">
                  <c:v>2.066032415548499</c:v>
                </c:pt>
                <c:pt idx="29">
                  <c:v>1.951464903987336</c:v>
                </c:pt>
                <c:pt idx="30">
                  <c:v>1.9019675410951689</c:v>
                </c:pt>
                <c:pt idx="31">
                  <c:v>2.0915536328256836</c:v>
                </c:pt>
                <c:pt idx="32">
                  <c:v>2.330814710074526</c:v>
                </c:pt>
                <c:pt idx="33">
                  <c:v>2.3578605698610375</c:v>
                </c:pt>
                <c:pt idx="34">
                  <c:v>2.4754686978476426</c:v>
                </c:pt>
                <c:pt idx="35">
                  <c:v>2.198830046355265</c:v>
                </c:pt>
                <c:pt idx="36">
                  <c:v>1.9871221131841306</c:v>
                </c:pt>
                <c:pt idx="37">
                  <c:v>2.033633934545479</c:v>
                </c:pt>
                <c:pt idx="38">
                  <c:v>1.7848789525363729</c:v>
                </c:pt>
                <c:pt idx="39">
                  <c:v>1.7595384332000432</c:v>
                </c:pt>
                <c:pt idx="40">
                  <c:v>1.6756989218450542</c:v>
                </c:pt>
                <c:pt idx="41">
                  <c:v>1.8396367635622564</c:v>
                </c:pt>
                <c:pt idx="42">
                  <c:v>1.695919384942588</c:v>
                </c:pt>
                <c:pt idx="43">
                  <c:v>1.9395101875806626</c:v>
                </c:pt>
                <c:pt idx="44">
                  <c:v>2.465380332418277</c:v>
                </c:pt>
                <c:pt idx="45">
                  <c:v>2.6319498900019873</c:v>
                </c:pt>
                <c:pt idx="46">
                  <c:v>2.6826949139091765</c:v>
                </c:pt>
                <c:pt idx="47">
                  <c:v>2.5143752353230826</c:v>
                </c:pt>
                <c:pt idx="48">
                  <c:v>2.474335727547163</c:v>
                </c:pt>
                <c:pt idx="49">
                  <c:v>2.559559397874464</c:v>
                </c:pt>
                <c:pt idx="50">
                  <c:v>2.741835465309002</c:v>
                </c:pt>
                <c:pt idx="51">
                  <c:v>2.8985041079133613</c:v>
                </c:pt>
              </c:numCache>
            </c:numRef>
          </c:xVal>
          <c:yVal>
            <c:numRef>
              <c:f>Sheet1!$B$109:$B$160</c:f>
              <c:numCache>
                <c:formatCode>General</c:formatCode>
                <c:ptCount val="52"/>
                <c:pt idx="0">
                  <c:v>0.0014574738766334823</c:v>
                </c:pt>
                <c:pt idx="1">
                  <c:v>0.001754845468831849</c:v>
                </c:pt>
                <c:pt idx="2">
                  <c:v>0.0015945971297251665</c:v>
                </c:pt>
                <c:pt idx="3">
                  <c:v>0.0016878032771513631</c:v>
                </c:pt>
                <c:pt idx="4">
                  <c:v>0.0016790772375529274</c:v>
                </c:pt>
                <c:pt idx="5">
                  <c:v>0.001467064404127341</c:v>
                </c:pt>
                <c:pt idx="6">
                  <c:v>0.0015850773012336037</c:v>
                </c:pt>
                <c:pt idx="7">
                  <c:v>0.0018228675592431957</c:v>
                </c:pt>
                <c:pt idx="8">
                  <c:v>0.0021541568495456074</c:v>
                </c:pt>
                <c:pt idx="9">
                  <c:v>0.0022634957055595174</c:v>
                </c:pt>
                <c:pt idx="10">
                  <c:v>0.0021662363868364047</c:v>
                </c:pt>
                <c:pt idx="11">
                  <c:v>0.0022191338653277143</c:v>
                </c:pt>
                <c:pt idx="12">
                  <c:v>0.0022670596236681025</c:v>
                </c:pt>
                <c:pt idx="13">
                  <c:v>0.003259726603575184</c:v>
                </c:pt>
                <c:pt idx="14">
                  <c:v>0.003245906390378206</c:v>
                </c:pt>
                <c:pt idx="15">
                  <c:v>0.0030689110015809542</c:v>
                </c:pt>
                <c:pt idx="16">
                  <c:v>0.0030204962243797194</c:v>
                </c:pt>
                <c:pt idx="17">
                  <c:v>0.003840072283713576</c:v>
                </c:pt>
                <c:pt idx="18">
                  <c:v>0.0020977745348412986</c:v>
                </c:pt>
                <c:pt idx="19">
                  <c:v>0.001841620626151013</c:v>
                </c:pt>
                <c:pt idx="20">
                  <c:v>0.0021836089946106673</c:v>
                </c:pt>
                <c:pt idx="21">
                  <c:v>0.003158196956646569</c:v>
                </c:pt>
                <c:pt idx="22">
                  <c:v>0.002605789384240639</c:v>
                </c:pt>
                <c:pt idx="23">
                  <c:v>0.00262574396078889</c:v>
                </c:pt>
                <c:pt idx="24">
                  <c:v>0.0023803083581282122</c:v>
                </c:pt>
                <c:pt idx="25">
                  <c:v>0.0025542059257577477</c:v>
                </c:pt>
                <c:pt idx="26">
                  <c:v>0.00275690577869074</c:v>
                </c:pt>
                <c:pt idx="27">
                  <c:v>0.0027923382158428454</c:v>
                </c:pt>
                <c:pt idx="28">
                  <c:v>0.002306293520202244</c:v>
                </c:pt>
                <c:pt idx="29">
                  <c:v>0.0026136121186259866</c:v>
                </c:pt>
                <c:pt idx="30">
                  <c:v>0.0025564076914527064</c:v>
                </c:pt>
                <c:pt idx="31">
                  <c:v>0.002603378337470485</c:v>
                </c:pt>
                <c:pt idx="32">
                  <c:v>0.0022248119504184767</c:v>
                </c:pt>
                <c:pt idx="33">
                  <c:v>0.0021675661328850746</c:v>
                </c:pt>
                <c:pt idx="34">
                  <c:v>0.0019902546153318236</c:v>
                </c:pt>
                <c:pt idx="35">
                  <c:v>0.0024293831837272502</c:v>
                </c:pt>
                <c:pt idx="36">
                  <c:v>0.003050165487701992</c:v>
                </c:pt>
                <c:pt idx="37">
                  <c:v>0.0030033498902622157</c:v>
                </c:pt>
                <c:pt idx="38">
                  <c:v>0.003501491375956426</c:v>
                </c:pt>
                <c:pt idx="39">
                  <c:v>0.003268438254938184</c:v>
                </c:pt>
                <c:pt idx="40">
                  <c:v>0.0030971201405260483</c:v>
                </c:pt>
                <c:pt idx="41">
                  <c:v>0.0025173611111111113</c:v>
                </c:pt>
                <c:pt idx="42">
                  <c:v>0.0028767858013555025</c:v>
                </c:pt>
                <c:pt idx="43">
                  <c:v>0.0021081969556206673</c:v>
                </c:pt>
                <c:pt idx="44">
                  <c:v>0.0015509774084045418</c:v>
                </c:pt>
                <c:pt idx="45">
                  <c:v>0.0012992732878220655</c:v>
                </c:pt>
                <c:pt idx="46">
                  <c:v>0.0013457884737175427</c:v>
                </c:pt>
                <c:pt idx="47">
                  <c:v>0.0013377263606411177</c:v>
                </c:pt>
                <c:pt idx="48">
                  <c:v>0.0014954823969259528</c:v>
                </c:pt>
                <c:pt idx="49">
                  <c:v>0.0013136165740879747</c:v>
                </c:pt>
                <c:pt idx="50">
                  <c:v>0.0011035611546473564</c:v>
                </c:pt>
                <c:pt idx="51">
                  <c:v>0.001310531517208782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0148369059086755</c:v>
                </c:pt>
              </c:numCache>
            </c:numRef>
          </c:xVal>
          <c:yVal>
            <c:numRef>
              <c:f>Sheet1!$B$163:$B$164</c:f>
              <c:numCache>
                <c:formatCode>General</c:formatCode>
                <c:ptCount val="2"/>
                <c:pt idx="0">
                  <c:v>0.0026640183997899175</c:v>
                </c:pt>
                <c:pt idx="1">
                  <c:v>0.002664018399789917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0148369059086755</c:v>
                </c:pt>
                <c:pt idx="1">
                  <c:v>2.0148369059086755</c:v>
                </c:pt>
              </c:numCache>
            </c:numRef>
          </c:xVal>
          <c:yVal>
            <c:numRef>
              <c:f>Sheet1!$B$167:$B$168</c:f>
              <c:numCache>
                <c:formatCode>General</c:formatCode>
                <c:ptCount val="2"/>
                <c:pt idx="0">
                  <c:v>0.002664018399789917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0148369059086755</c:v>
                </c:pt>
              </c:numCache>
            </c:numRef>
          </c:xVal>
          <c:yVal>
            <c:numRef>
              <c:f>Sheet1!$B$171:$B$172</c:f>
              <c:numCache>
                <c:formatCode>General</c:formatCode>
                <c:ptCount val="2"/>
                <c:pt idx="0">
                  <c:v>0.0026640183997899175</c:v>
                </c:pt>
                <c:pt idx="1">
                  <c:v>0.002664018399789917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0148369059086755</c:v>
                </c:pt>
                <c:pt idx="1">
                  <c:v>2.0148369059086755</c:v>
                </c:pt>
              </c:numCache>
            </c:numRef>
          </c:xVal>
          <c:yVal>
            <c:numRef>
              <c:f>Sheet1!$B$175:$B$176</c:f>
              <c:numCache>
                <c:formatCode>General</c:formatCode>
                <c:ptCount val="2"/>
                <c:pt idx="0">
                  <c:v>0.002664018399789917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452552556884567</c:v>
                </c:pt>
              </c:numCache>
            </c:numRef>
          </c:xVal>
          <c:yVal>
            <c:numRef>
              <c:f>Sheet1!$B$179:$B$180</c:f>
              <c:numCache>
                <c:formatCode>General</c:formatCode>
                <c:ptCount val="2"/>
                <c:pt idx="0">
                  <c:v>0.0018942199566928347</c:v>
                </c:pt>
                <c:pt idx="1">
                  <c:v>0.001894219956692834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452552556884567</c:v>
                </c:pt>
                <c:pt idx="1">
                  <c:v>2.452552556884567</c:v>
                </c:pt>
              </c:numCache>
            </c:numRef>
          </c:xVal>
          <c:yVal>
            <c:numRef>
              <c:f>Sheet1!$B$183:$B$184</c:f>
              <c:numCache>
                <c:formatCode>General</c:formatCode>
                <c:ptCount val="2"/>
                <c:pt idx="0">
                  <c:v>0.00189421995669283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2.5299357537968614</c:v>
                </c:pt>
                <c:pt idx="1">
                  <c:v>2.0804513634473034</c:v>
                </c:pt>
                <c:pt idx="2">
                  <c:v>2.466422259533966</c:v>
                </c:pt>
                <c:pt idx="3">
                  <c:v>2.1018023276545015</c:v>
                </c:pt>
                <c:pt idx="4">
                  <c:v>2.4548024523273217</c:v>
                </c:pt>
                <c:pt idx="5">
                  <c:v>2.6503437057143784</c:v>
                </c:pt>
                <c:pt idx="6">
                  <c:v>2.719150549671889</c:v>
                </c:pt>
                <c:pt idx="7">
                  <c:v>2.6213727008941157</c:v>
                </c:pt>
                <c:pt idx="8">
                  <c:v>2.4296644565621515</c:v>
                </c:pt>
                <c:pt idx="9">
                  <c:v>2.395594639437104</c:v>
                </c:pt>
                <c:pt idx="10">
                  <c:v>2.4299278911151263</c:v>
                </c:pt>
                <c:pt idx="11">
                  <c:v>2.605347872225586</c:v>
                </c:pt>
                <c:pt idx="12">
                  <c:v>2.3447510842314223</c:v>
                </c:pt>
                <c:pt idx="13">
                  <c:v>1.9922495293256943</c:v>
                </c:pt>
                <c:pt idx="14">
                  <c:v>2.0105680770354963</c:v>
                </c:pt>
                <c:pt idx="15">
                  <c:v>2.1256922196451424</c:v>
                </c:pt>
                <c:pt idx="16">
                  <c:v>2.2191758329735065</c:v>
                </c:pt>
                <c:pt idx="17">
                  <c:v>1.706311221272135</c:v>
                </c:pt>
                <c:pt idx="18">
                  <c:v>2.4305758632020624</c:v>
                </c:pt>
                <c:pt idx="19">
                  <c:v>2.4799780567277216</c:v>
                </c:pt>
                <c:pt idx="20">
                  <c:v>2.2986035931871402</c:v>
                </c:pt>
                <c:pt idx="21">
                  <c:v>1.8636495217657558</c:v>
                </c:pt>
                <c:pt idx="22">
                  <c:v>2.02981563785494</c:v>
                </c:pt>
                <c:pt idx="23">
                  <c:v>1.6624264534030204</c:v>
                </c:pt>
                <c:pt idx="24">
                  <c:v>2.131112863999382</c:v>
                </c:pt>
                <c:pt idx="25">
                  <c:v>2.1123336827798394</c:v>
                </c:pt>
                <c:pt idx="26">
                  <c:v>2.1045327371013127</c:v>
                </c:pt>
                <c:pt idx="27">
                  <c:v>2.0356311416433672</c:v>
                </c:pt>
                <c:pt idx="28">
                  <c:v>2.066032415548499</c:v>
                </c:pt>
                <c:pt idx="29">
                  <c:v>1.951464903987336</c:v>
                </c:pt>
                <c:pt idx="30">
                  <c:v>1.9019675410951689</c:v>
                </c:pt>
                <c:pt idx="31">
                  <c:v>2.0915536328256836</c:v>
                </c:pt>
                <c:pt idx="32">
                  <c:v>2.330814710074526</c:v>
                </c:pt>
                <c:pt idx="33">
                  <c:v>2.3578605698610375</c:v>
                </c:pt>
                <c:pt idx="34">
                  <c:v>2.4754686978476426</c:v>
                </c:pt>
                <c:pt idx="35">
                  <c:v>2.198830046355265</c:v>
                </c:pt>
                <c:pt idx="36">
                  <c:v>1.9871221131841306</c:v>
                </c:pt>
                <c:pt idx="37">
                  <c:v>2.033633934545479</c:v>
                </c:pt>
                <c:pt idx="38">
                  <c:v>1.7848789525363729</c:v>
                </c:pt>
                <c:pt idx="39">
                  <c:v>1.7595384332000432</c:v>
                </c:pt>
                <c:pt idx="40">
                  <c:v>1.6756989218450542</c:v>
                </c:pt>
                <c:pt idx="41">
                  <c:v>1.8396367635622564</c:v>
                </c:pt>
                <c:pt idx="42">
                  <c:v>1.695919384942588</c:v>
                </c:pt>
                <c:pt idx="43">
                  <c:v>1.9395101875806626</c:v>
                </c:pt>
                <c:pt idx="44">
                  <c:v>2.465380332418277</c:v>
                </c:pt>
                <c:pt idx="45">
                  <c:v>2.6319498900019873</c:v>
                </c:pt>
                <c:pt idx="46">
                  <c:v>2.6826949139091765</c:v>
                </c:pt>
                <c:pt idx="47">
                  <c:v>2.5143752353230826</c:v>
                </c:pt>
                <c:pt idx="48">
                  <c:v>2.474335727547163</c:v>
                </c:pt>
                <c:pt idx="49">
                  <c:v>2.559559397874464</c:v>
                </c:pt>
                <c:pt idx="50">
                  <c:v>2.741835465309002</c:v>
                </c:pt>
                <c:pt idx="51">
                  <c:v>2.8985041079133613</c:v>
                </c:pt>
                <c:pt idx="52">
                  <c:v>2.0148369059086755</c:v>
                </c:pt>
                <c:pt idx="53">
                  <c:v>2.0148369059086755</c:v>
                </c:pt>
                <c:pt idx="54">
                  <c:v>2.452552556884567</c:v>
                </c:pt>
              </c:numCache>
            </c:numRef>
          </c:xVal>
          <c:yVal>
            <c:numRef>
              <c:f>Sheet1!$B$187:$B$241</c:f>
              <c:numCache>
                <c:formatCode>General</c:formatCode>
                <c:ptCount val="55"/>
                <c:pt idx="0">
                  <c:v>0.0017581282625252891</c:v>
                </c:pt>
                <c:pt idx="1">
                  <c:v>0.0025486240629749484</c:v>
                </c:pt>
                <c:pt idx="2">
                  <c:v>0.0018698276931721613</c:v>
                </c:pt>
                <c:pt idx="3">
                  <c:v>0.0025110747110870767</c:v>
                </c:pt>
                <c:pt idx="4">
                  <c:v>0.0018902631276301717</c:v>
                </c:pt>
                <c:pt idx="5">
                  <c:v>0.0015463701183603268</c:v>
                </c:pt>
                <c:pt idx="6">
                  <c:v>0.0014253614195970446</c:v>
                </c:pt>
                <c:pt idx="7">
                  <c:v>0.0015973206255123426</c:v>
                </c:pt>
                <c:pt idx="8">
                  <c:v>0.0019344726274720565</c:v>
                </c:pt>
                <c:pt idx="9">
                  <c:v>0.001994390275198361</c:v>
                </c:pt>
                <c:pt idx="10">
                  <c:v>0.001934009332389311</c:v>
                </c:pt>
                <c:pt idx="11">
                  <c:v>0.001625503049724108</c:v>
                </c:pt>
                <c:pt idx="12">
                  <c:v>0.0020838074334644484</c:v>
                </c:pt>
                <c:pt idx="13">
                  <c:v>0.0027037421960226095</c:v>
                </c:pt>
                <c:pt idx="14">
                  <c:v>0.0026715258713941306</c:v>
                </c:pt>
                <c:pt idx="15">
                  <c:v>0.0024690602169305364</c:v>
                </c:pt>
                <c:pt idx="16">
                  <c:v>0.00230465316446435</c:v>
                </c:pt>
                <c:pt idx="17">
                  <c:v>0.003206614012167853</c:v>
                </c:pt>
                <c:pt idx="18">
                  <c:v>0.0019328697617511997</c:v>
                </c:pt>
                <c:pt idx="19">
                  <c:v>0.0018459874865187614</c:v>
                </c:pt>
                <c:pt idx="20">
                  <c:v>0.0021649657532081517</c:v>
                </c:pt>
                <c:pt idx="21">
                  <c:v>0.0029299074825075706</c:v>
                </c:pt>
                <c:pt idx="22">
                  <c:v>0.002637675717032069</c:v>
                </c:pt>
                <c:pt idx="23">
                  <c:v>0.0032837929430696907</c:v>
                </c:pt>
                <c:pt idx="24">
                  <c:v>0.0024595270792070545</c:v>
                </c:pt>
                <c:pt idx="25">
                  <c:v>0.0024925535072847613</c:v>
                </c:pt>
                <c:pt idx="26">
                  <c:v>0.00250627281529814</c:v>
                </c:pt>
                <c:pt idx="27">
                  <c:v>0.002627448150911974</c:v>
                </c:pt>
                <c:pt idx="28">
                  <c:v>0.0025739822689674705</c:v>
                </c:pt>
                <c:pt idx="29">
                  <c:v>0.0027754689917580794</c:v>
                </c:pt>
                <c:pt idx="30">
                  <c:v>0.0028625186387306076</c:v>
                </c:pt>
                <c:pt idx="31">
                  <c:v>0.0025290988080217225</c:v>
                </c:pt>
                <c:pt idx="32">
                  <c:v>0.0021083169503265447</c:v>
                </c:pt>
                <c:pt idx="33">
                  <c:v>0.002060752142649551</c:v>
                </c:pt>
                <c:pt idx="34">
                  <c:v>0.00185391797161225</c:v>
                </c:pt>
                <c:pt idx="35">
                  <c:v>0.0023404347382494973</c:v>
                </c:pt>
                <c:pt idx="36">
                  <c:v>0.0027127596413757437</c:v>
                </c:pt>
                <c:pt idx="37">
                  <c:v>0.0026309605839517094</c:v>
                </c:pt>
                <c:pt idx="38">
                  <c:v>0.003068439110105209</c:v>
                </c:pt>
                <c:pt idx="39">
                  <c:v>0.003113004782566056</c:v>
                </c:pt>
                <c:pt idx="40">
                  <c:v>0.0032604510188776873</c:v>
                </c:pt>
                <c:pt idx="41">
                  <c:v>0.002972138058083994</c:v>
                </c:pt>
                <c:pt idx="42">
                  <c:v>0.003224889848111964</c:v>
                </c:pt>
                <c:pt idx="43">
                  <c:v>0.0027964934217893263</c:v>
                </c:pt>
                <c:pt idx="44">
                  <c:v>0.0018716601016539915</c:v>
                </c:pt>
                <c:pt idx="45">
                  <c:v>0.0015787188147490545</c:v>
                </c:pt>
                <c:pt idx="46">
                  <c:v>0.0014894749407601158</c:v>
                </c:pt>
                <c:pt idx="47">
                  <c:v>0.001785494117203302</c:v>
                </c:pt>
                <c:pt idx="48">
                  <c:v>0.001855910495232184</c:v>
                </c:pt>
                <c:pt idx="49">
                  <c:v>0.0017060299767112938</c:v>
                </c:pt>
                <c:pt idx="50">
                  <c:v>0.001385466084119995</c:v>
                </c:pt>
                <c:pt idx="51">
                  <c:v>0.0011099372633202754</c:v>
                </c:pt>
                <c:pt idx="52">
                  <c:v>0.0026640183997899175</c:v>
                </c:pt>
                <c:pt idx="53">
                  <c:v>0.0026640183997899175</c:v>
                </c:pt>
                <c:pt idx="54">
                  <c:v>0.00189421995669283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0808674045629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1244.25</c:v>
                </c:pt>
                <c:pt idx="1">
                  <c:v>1116.4</c:v>
                </c:pt>
                <c:pt idx="2">
                  <c:v>1214.8333</c:v>
                </c:pt>
                <c:pt idx="3">
                  <c:v>1106.5</c:v>
                </c:pt>
                <c:pt idx="4">
                  <c:v>1102.0</c:v>
                </c:pt>
                <c:pt idx="5">
                  <c:v>1050.4</c:v>
                </c:pt>
                <c:pt idx="6">
                  <c:v>1291.6667</c:v>
                </c:pt>
                <c:pt idx="7">
                  <c:v>1199.6667</c:v>
                </c:pt>
                <c:pt idx="8">
                  <c:v>1377.5</c:v>
                </c:pt>
                <c:pt idx="9">
                  <c:v>1108.0</c:v>
                </c:pt>
                <c:pt idx="10">
                  <c:v>1102.0</c:v>
                </c:pt>
                <c:pt idx="11">
                  <c:v>1193.6667</c:v>
                </c:pt>
                <c:pt idx="12">
                  <c:v>1253.3333</c:v>
                </c:pt>
                <c:pt idx="13">
                  <c:v>1081.5</c:v>
                </c:pt>
                <c:pt idx="14">
                  <c:v>1532.5</c:v>
                </c:pt>
                <c:pt idx="15">
                  <c:v>1381.0</c:v>
                </c:pt>
                <c:pt idx="16">
                  <c:v>1225.0</c:v>
                </c:pt>
                <c:pt idx="17">
                  <c:v>1397.5</c:v>
                </c:pt>
                <c:pt idx="18">
                  <c:v>1067.5</c:v>
                </c:pt>
                <c:pt idx="19">
                  <c:v>1170.2</c:v>
                </c:pt>
                <c:pt idx="20">
                  <c:v>1398.75</c:v>
                </c:pt>
                <c:pt idx="21">
                  <c:v>1355.3333</c:v>
                </c:pt>
                <c:pt idx="22">
                  <c:v>1351.6667</c:v>
                </c:pt>
                <c:pt idx="23">
                  <c:v>1120.0</c:v>
                </c:pt>
                <c:pt idx="24">
                  <c:v>1561.0</c:v>
                </c:pt>
                <c:pt idx="25">
                  <c:v>1343.6667</c:v>
                </c:pt>
                <c:pt idx="26">
                  <c:v>1231.75</c:v>
                </c:pt>
                <c:pt idx="27">
                  <c:v>1154.5</c:v>
                </c:pt>
                <c:pt idx="28">
                  <c:v>1573.0</c:v>
                </c:pt>
                <c:pt idx="29">
                  <c:v>1300.4</c:v>
                </c:pt>
                <c:pt idx="30">
                  <c:v>1412.5</c:v>
                </c:pt>
                <c:pt idx="31">
                  <c:v>1232.5</c:v>
                </c:pt>
                <c:pt idx="32">
                  <c:v>1284.6667</c:v>
                </c:pt>
                <c:pt idx="33">
                  <c:v>1314.5</c:v>
                </c:pt>
                <c:pt idx="34">
                  <c:v>1244.1</c:v>
                </c:pt>
                <c:pt idx="35">
                  <c:v>1340.2857</c:v>
                </c:pt>
                <c:pt idx="36">
                  <c:v>1239.3</c:v>
                </c:pt>
                <c:pt idx="37">
                  <c:v>1365.6</c:v>
                </c:pt>
                <c:pt idx="38">
                  <c:v>1188.2</c:v>
                </c:pt>
                <c:pt idx="39">
                  <c:v>1283.7143</c:v>
                </c:pt>
                <c:pt idx="40">
                  <c:v>1238.4286</c:v>
                </c:pt>
                <c:pt idx="41">
                  <c:v>1233.6667</c:v>
                </c:pt>
                <c:pt idx="42">
                  <c:v>1301.8889</c:v>
                </c:pt>
                <c:pt idx="43">
                  <c:v>1376.3333</c:v>
                </c:pt>
                <c:pt idx="44">
                  <c:v>1350.2</c:v>
                </c:pt>
                <c:pt idx="45">
                  <c:v>1179.8333</c:v>
                </c:pt>
                <c:pt idx="46">
                  <c:v>1328.6667</c:v>
                </c:pt>
                <c:pt idx="47">
                  <c:v>1386.5</c:v>
                </c:pt>
                <c:pt idx="48">
                  <c:v>1289.7143</c:v>
                </c:pt>
                <c:pt idx="49">
                  <c:v>1256.4545</c:v>
                </c:pt>
                <c:pt idx="50">
                  <c:v>1356.75</c:v>
                </c:pt>
                <c:pt idx="51">
                  <c:v>1232.8571</c:v>
                </c:pt>
                <c:pt idx="52">
                  <c:v>1278.125</c:v>
                </c:pt>
                <c:pt idx="53">
                  <c:v>1385.7143</c:v>
                </c:pt>
                <c:pt idx="54">
                  <c:v>1440.3333</c:v>
                </c:pt>
                <c:pt idx="55">
                  <c:v>1268.875</c:v>
                </c:pt>
                <c:pt idx="56">
                  <c:v>1231.25</c:v>
                </c:pt>
                <c:pt idx="57">
                  <c:v>1184.25</c:v>
                </c:pt>
                <c:pt idx="58">
                  <c:v>1322.5</c:v>
                </c:pt>
                <c:pt idx="59">
                  <c:v>1467.0</c:v>
                </c:pt>
                <c:pt idx="60">
                  <c:v>1332.25</c:v>
                </c:pt>
                <c:pt idx="61">
                  <c:v>1186.0</c:v>
                </c:pt>
                <c:pt idx="62">
                  <c:v>1077.0</c:v>
                </c:pt>
                <c:pt idx="63">
                  <c:v>1192.0</c:v>
                </c:pt>
                <c:pt idx="64">
                  <c:v>1140.0</c:v>
                </c:pt>
                <c:pt idx="65">
                  <c:v>1599.0</c:v>
                </c:pt>
                <c:pt idx="66">
                  <c:v>1546.0</c:v>
                </c:pt>
                <c:pt idx="67">
                  <c:v>2084.0</c:v>
                </c:pt>
                <c:pt idx="68">
                  <c:v>1757.0</c:v>
                </c:pt>
                <c:pt idx="69">
                  <c:v>1735.0</c:v>
                </c:pt>
                <c:pt idx="70">
                  <c:v>1194.5</c:v>
                </c:pt>
                <c:pt idx="71">
                  <c:v>1705.0</c:v>
                </c:pt>
                <c:pt idx="72">
                  <c:v>1354.5</c:v>
                </c:pt>
                <c:pt idx="73">
                  <c:v>1340.0</c:v>
                </c:pt>
                <c:pt idx="74">
                  <c:v>1344.0</c:v>
                </c:pt>
                <c:pt idx="75">
                  <c:v>1676.0</c:v>
                </c:pt>
                <c:pt idx="76">
                  <c:v>1199.0</c:v>
                </c:pt>
                <c:pt idx="77">
                  <c:v>1680.0</c:v>
                </c:pt>
                <c:pt idx="78">
                  <c:v>1319.0</c:v>
                </c:pt>
                <c:pt idx="79">
                  <c:v>1335.0</c:v>
                </c:pt>
                <c:pt idx="80">
                  <c:v>1977.0</c:v>
                </c:pt>
                <c:pt idx="81">
                  <c:v>1344.0</c:v>
                </c:pt>
                <c:pt idx="82">
                  <c:v>983.0</c:v>
                </c:pt>
                <c:pt idx="83">
                  <c:v>1191.0</c:v>
                </c:pt>
                <c:pt idx="84">
                  <c:v>1748.0</c:v>
                </c:pt>
                <c:pt idx="85">
                  <c:v>1354.5</c:v>
                </c:pt>
                <c:pt idx="86">
                  <c:v>1195.5</c:v>
                </c:pt>
                <c:pt idx="87">
                  <c:v>1701.0</c:v>
                </c:pt>
                <c:pt idx="88">
                  <c:v>1344.0</c:v>
                </c:pt>
                <c:pt idx="89">
                  <c:v>1029.0</c:v>
                </c:pt>
                <c:pt idx="90">
                  <c:v>2066.0</c:v>
                </c:pt>
                <c:pt idx="91">
                  <c:v>1365.0</c:v>
                </c:pt>
                <c:pt idx="92">
                  <c:v>1344.0</c:v>
                </c:pt>
                <c:pt idx="93">
                  <c:v>1337.5</c:v>
                </c:pt>
                <c:pt idx="94">
                  <c:v>1714.0</c:v>
                </c:pt>
                <c:pt idx="95">
                  <c:v>1029.0</c:v>
                </c:pt>
                <c:pt idx="96">
                  <c:v>1208.0</c:v>
                </c:pt>
                <c:pt idx="97">
                  <c:v>1365.0</c:v>
                </c:pt>
                <c:pt idx="98">
                  <c:v>1008.0</c:v>
                </c:pt>
                <c:pt idx="99">
                  <c:v>1051.0</c:v>
                </c:pt>
              </c:numCache>
            </c:numRef>
          </c:xVal>
          <c:yVal>
            <c:numRef>
              <c:f>Sheet1!$B$2:$B$101</c:f>
              <c:numCache>
                <c:formatCode>General</c:formatCode>
                <c:ptCount val="100"/>
                <c:pt idx="0">
                  <c:v>0.01652892561983471</c:v>
                </c:pt>
                <c:pt idx="1">
                  <c:v>0.020080321285140562</c:v>
                </c:pt>
                <c:pt idx="2">
                  <c:v>0.02608695652173913</c:v>
                </c:pt>
                <c:pt idx="3">
                  <c:v>0.018691588785046728</c:v>
                </c:pt>
                <c:pt idx="4">
                  <c:v>0.013824884792626729</c:v>
                </c:pt>
                <c:pt idx="5">
                  <c:v>0.02092050209205021</c:v>
                </c:pt>
                <c:pt idx="6">
                  <c:v>0.01282051282051282</c:v>
                </c:pt>
                <c:pt idx="7">
                  <c:v>0.012195121951219513</c:v>
                </c:pt>
                <c:pt idx="8">
                  <c:v>0.007067137809187279</c:v>
                </c:pt>
                <c:pt idx="9">
                  <c:v>0.009375</c:v>
                </c:pt>
                <c:pt idx="10">
                  <c:v>0.0056657223796034</c:v>
                </c:pt>
                <c:pt idx="11">
                  <c:v>0.008152173913043478</c:v>
                </c:pt>
                <c:pt idx="12">
                  <c:v>0.00911854103343465</c:v>
                </c:pt>
                <c:pt idx="13">
                  <c:v>0.006802721088435374</c:v>
                </c:pt>
                <c:pt idx="14">
                  <c:v>0.008</c:v>
                </c:pt>
                <c:pt idx="15">
                  <c:v>0.009302325581395349</c:v>
                </c:pt>
                <c:pt idx="16">
                  <c:v>0.011111111111111112</c:v>
                </c:pt>
                <c:pt idx="17">
                  <c:v>0.014084507042253521</c:v>
                </c:pt>
                <c:pt idx="18">
                  <c:v>0.013513513513513514</c:v>
                </c:pt>
                <c:pt idx="19">
                  <c:v>0.028409090909090908</c:v>
                </c:pt>
                <c:pt idx="20">
                  <c:v>0.02962962962962963</c:v>
                </c:pt>
                <c:pt idx="21">
                  <c:v>0.02564102564102564</c:v>
                </c:pt>
                <c:pt idx="22">
                  <c:v>0.0297029702970297</c:v>
                </c:pt>
                <c:pt idx="23">
                  <c:v>0.025</c:v>
                </c:pt>
                <c:pt idx="24">
                  <c:v>0.009174311926605505</c:v>
                </c:pt>
                <c:pt idx="25">
                  <c:v>0.02158273381294964</c:v>
                </c:pt>
                <c:pt idx="26">
                  <c:v>0.03418803418803419</c:v>
                </c:pt>
                <c:pt idx="27">
                  <c:v>0.0273972602739726</c:v>
                </c:pt>
                <c:pt idx="28">
                  <c:v>0.012903225806451613</c:v>
                </c:pt>
                <c:pt idx="29">
                  <c:v>0.046296296296296294</c:v>
                </c:pt>
                <c:pt idx="30">
                  <c:v>0.017857142857142856</c:v>
                </c:pt>
                <c:pt idx="31">
                  <c:v>0.03361344537815126</c:v>
                </c:pt>
                <c:pt idx="32">
                  <c:v>0.043478260869565216</c:v>
                </c:pt>
                <c:pt idx="33">
                  <c:v>0.024691358024691357</c:v>
                </c:pt>
                <c:pt idx="34">
                  <c:v>0.049019607843137254</c:v>
                </c:pt>
                <c:pt idx="35">
                  <c:v>0.0440251572327044</c:v>
                </c:pt>
                <c:pt idx="36">
                  <c:v>0.07518796992481203</c:v>
                </c:pt>
                <c:pt idx="37">
                  <c:v>0.03968253968253968</c:v>
                </c:pt>
                <c:pt idx="38">
                  <c:v>0.03816793893129771</c:v>
                </c:pt>
                <c:pt idx="39">
                  <c:v>0.04666666666666667</c:v>
                </c:pt>
                <c:pt idx="40">
                  <c:v>0.051094890510948905</c:v>
                </c:pt>
                <c:pt idx="41">
                  <c:v>0.0425531914893617</c:v>
                </c:pt>
                <c:pt idx="42">
                  <c:v>0.05056179775280899</c:v>
                </c:pt>
                <c:pt idx="43">
                  <c:v>0.026905829596412557</c:v>
                </c:pt>
                <c:pt idx="44">
                  <c:v>0.01984126984126984</c:v>
                </c:pt>
                <c:pt idx="45">
                  <c:v>0.021505376344086023</c:v>
                </c:pt>
                <c:pt idx="46">
                  <c:v>0.011363636363636364</c:v>
                </c:pt>
                <c:pt idx="47">
                  <c:v>0.009876543209876543</c:v>
                </c:pt>
                <c:pt idx="48">
                  <c:v>0.012962962962962963</c:v>
                </c:pt>
                <c:pt idx="49">
                  <c:v>0.03514376996805112</c:v>
                </c:pt>
                <c:pt idx="50">
                  <c:v>0.02702702702702703</c:v>
                </c:pt>
                <c:pt idx="51">
                  <c:v>0.02147239263803681</c:v>
                </c:pt>
                <c:pt idx="52">
                  <c:v>0.03007518796992481</c:v>
                </c:pt>
                <c:pt idx="53">
                  <c:v>0.027888446215139442</c:v>
                </c:pt>
                <c:pt idx="54">
                  <c:v>0.013513513513513514</c:v>
                </c:pt>
                <c:pt idx="55">
                  <c:v>0.03389830508474576</c:v>
                </c:pt>
                <c:pt idx="56">
                  <c:v>0.01556420233463035</c:v>
                </c:pt>
                <c:pt idx="57">
                  <c:v>0.013468013468013467</c:v>
                </c:pt>
                <c:pt idx="58">
                  <c:v>0.005</c:v>
                </c:pt>
                <c:pt idx="59">
                  <c:v>0.004545454545454545</c:v>
                </c:pt>
                <c:pt idx="60">
                  <c:v>0.009779951100244499</c:v>
                </c:pt>
                <c:pt idx="61">
                  <c:v>0.007853403141361256</c:v>
                </c:pt>
                <c:pt idx="62">
                  <c:v>0.0069605568445475635</c:v>
                </c:pt>
                <c:pt idx="63">
                  <c:v>0.0044742729306487695</c:v>
                </c:pt>
                <c:pt idx="64">
                  <c:v>0.012626262626262626</c:v>
                </c:pt>
                <c:pt idx="65">
                  <c:v>0.0028735632183908046</c:v>
                </c:pt>
                <c:pt idx="66">
                  <c:v>0.006430868167202572</c:v>
                </c:pt>
                <c:pt idx="67">
                  <c:v>0.003937007874015748</c:v>
                </c:pt>
                <c:pt idx="68">
                  <c:v>0.005319148936170213</c:v>
                </c:pt>
                <c:pt idx="69">
                  <c:v>0.005076142131979695</c:v>
                </c:pt>
                <c:pt idx="70">
                  <c:v>0.009345794392523364</c:v>
                </c:pt>
                <c:pt idx="71">
                  <c:v>0.004329004329004329</c:v>
                </c:pt>
                <c:pt idx="72">
                  <c:v>0.01015228426395939</c:v>
                </c:pt>
                <c:pt idx="73">
                  <c:v>0.0048543689320388345</c:v>
                </c:pt>
                <c:pt idx="74">
                  <c:v>0.0125</c:v>
                </c:pt>
                <c:pt idx="75">
                  <c:v>0.0064516129032258064</c:v>
                </c:pt>
                <c:pt idx="76">
                  <c:v>0.01282051282051282</c:v>
                </c:pt>
                <c:pt idx="77">
                  <c:v>0.008</c:v>
                </c:pt>
                <c:pt idx="78">
                  <c:v>0.008264462809917356</c:v>
                </c:pt>
                <c:pt idx="79">
                  <c:v>0.006535947712418301</c:v>
                </c:pt>
                <c:pt idx="80">
                  <c:v>0.00819672131147541</c:v>
                </c:pt>
                <c:pt idx="81">
                  <c:v>0.010869565217391304</c:v>
                </c:pt>
                <c:pt idx="82">
                  <c:v>0.008849557522123894</c:v>
                </c:pt>
                <c:pt idx="83">
                  <c:v>0.00966183574879227</c:v>
                </c:pt>
                <c:pt idx="84">
                  <c:v>0.007194244604316547</c:v>
                </c:pt>
                <c:pt idx="85">
                  <c:v>0.017094017094017096</c:v>
                </c:pt>
                <c:pt idx="86">
                  <c:v>0.017543859649122806</c:v>
                </c:pt>
                <c:pt idx="87">
                  <c:v>0.007633587786259542</c:v>
                </c:pt>
                <c:pt idx="88">
                  <c:v>0.006369426751592357</c:v>
                </c:pt>
                <c:pt idx="89">
                  <c:v>0.0058823529411764705</c:v>
                </c:pt>
                <c:pt idx="90">
                  <c:v>0.007936507936507936</c:v>
                </c:pt>
                <c:pt idx="91">
                  <c:v>0.0051813471502590676</c:v>
                </c:pt>
                <c:pt idx="92">
                  <c:v>0.004484304932735426</c:v>
                </c:pt>
                <c:pt idx="93">
                  <c:v>0.00749063670411985</c:v>
                </c:pt>
                <c:pt idx="94">
                  <c:v>0.0031446540880503146</c:v>
                </c:pt>
                <c:pt idx="95">
                  <c:v>0.0023752969121140144</c:v>
                </c:pt>
                <c:pt idx="96">
                  <c:v>0.0036900369003690036</c:v>
                </c:pt>
                <c:pt idx="97">
                  <c:v>0.0031446540880503146</c:v>
                </c:pt>
                <c:pt idx="98">
                  <c:v>0.002777777777777778</c:v>
                </c:pt>
                <c:pt idx="99">
                  <c:v>0.003367003367003367</c:v>
                </c:pt>
              </c:numCache>
            </c:numRef>
          </c:yVal>
          <c:smooth val="0"/>
          <c:extLst>
            <c:ext xmlns:c16="http://schemas.microsoft.com/office/drawing/2014/chart" uri="{C3380CC4-5D6E-409C-BE32-E72D297353CC}">
              <c16:uniqueId val="{00000000-F32D-48B7-BC20-E66FC6253BAD}"/>
            </c:ext>
          </c:extLst>
        </c:ser>
        <c:ser>
          <c:idx val="1"/>
          <c:order val="1"/>
          <c:tx>
            <c:strRef>
              <c:f>Sheet1!$B$10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036496350364963502</c:v>
                </c:pt>
                <c:pt idx="4">
                  <c:v>0.0033444816053511705</c:v>
                </c:pt>
                <c:pt idx="5">
                  <c:v>0.0031645569620253164</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4405286343612335</c:v>
                </c:pt>
                <c:pt idx="23">
                  <c:v>0.0</c:v>
                </c:pt>
                <c:pt idx="24">
                  <c:v>0.009523809523809525</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F32D-48B7-BC20-E66FC6253BAD}"/>
            </c:ext>
          </c:extLst>
        </c:ser>
        <c:ser>
          <c:idx val="2"/>
          <c:order val="2"/>
          <c:tx>
            <c:strRef>
              <c:f>Sheet1!$B$139</c:f>
              <c:strCache>
                <c:ptCount val="1"/>
                <c:pt idx="0">
                  <c:v>Custom Linep3yQ</c:v>
                </c:pt>
              </c:strCache>
            </c:strRef>
          </c:tx>
          <c:spPr>
            <a:ln w="19050" cap="rnd">
              <a:solidFill>
                <a:srgbClr val="C00000"/>
              </a:solidFill>
              <a:prstDash val="sysDot"/>
              <a:round/>
            </a:ln>
            <a:effectLst/>
          </c:spPr>
          <c:marker>
            <c:symbol val="none"/>
          </c:marker>
          <c:xVal>
            <c:numRef>
              <c:f>Sheet1!$A$140:$A$141</c:f>
              <c:numCache>
                <c:formatCode>General</c:formatCode>
                <c:ptCount val="2"/>
                <c:pt idx="0">
                  <c:v>0</c:v>
                </c:pt>
                <c:pt idx="1">
                  <c:v>13471.414118555178</c:v>
                </c:pt>
              </c:numCache>
            </c:numRef>
          </c:xVal>
          <c:yVal>
            <c:numRef>
              <c:f>Sheet1!$B$140:$B$141</c:f>
              <c:numCache>
                <c:formatCode>General</c:formatCode>
                <c:ptCount val="2"/>
                <c:pt idx="0">
                  <c:v>0.03973660555228324</c:v>
                </c:pt>
                <c:pt idx="1">
                  <c:v>0.03973660555228324</c:v>
                </c:pt>
              </c:numCache>
            </c:numRef>
          </c:yVal>
          <c:smooth val="0"/>
          <c:extLst>
            <c:ext xmlns:c16="http://schemas.microsoft.com/office/drawing/2014/chart" uri="{C3380CC4-5D6E-409C-BE32-E72D297353CC}">
              <c16:uniqueId val="{00000003-F32D-48B7-BC20-E66FC6253BAD}"/>
            </c:ext>
          </c:extLst>
        </c:ser>
        <c:ser>
          <c:idx val="3"/>
          <c:order val="3"/>
          <c:tx>
            <c:strRef>
              <c:f>Sheet1!$B$14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4:$A$145</c:f>
              <c:numCache>
                <c:formatCode>General</c:formatCode>
                <c:ptCount val="2"/>
                <c:pt idx="0">
                  <c:v>13471.414118555178</c:v>
                </c:pt>
                <c:pt idx="1">
                  <c:v>13471.414118555178</c:v>
                </c:pt>
              </c:numCache>
            </c:numRef>
          </c:xVal>
          <c:yVal>
            <c:numRef>
              <c:f>Sheet1!$B$144:$B$145</c:f>
              <c:numCache>
                <c:formatCode>General</c:formatCode>
                <c:ptCount val="2"/>
                <c:pt idx="0">
                  <c:v>0.0397366055522832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8:$A$149</c:f>
              <c:numCache>
                <c:formatCode>General</c:formatCode>
                <c:ptCount val="2"/>
                <c:pt idx="0">
                  <c:v>0</c:v>
                </c:pt>
                <c:pt idx="1">
                  <c:v>566.6504473075377</c:v>
                </c:pt>
              </c:numCache>
            </c:numRef>
          </c:xVal>
          <c:yVal>
            <c:numRef>
              <c:f>Sheet1!$B$148:$B$149</c:f>
              <c:numCache>
                <c:formatCode>General</c:formatCode>
                <c:ptCount val="2"/>
                <c:pt idx="0">
                  <c:v>0.0016931122673121395</c:v>
                </c:pt>
                <c:pt idx="1">
                  <c:v>0.0016931122673121395</c:v>
                </c:pt>
              </c:numCache>
            </c:numRef>
          </c:yVal>
          <c:smooth val="0"/>
          <c:extLst>
            <c:ext xmlns:c16="http://schemas.microsoft.com/office/drawing/2014/chart" uri="{C3380CC4-5D6E-409C-BE32-E72D297353CC}">
              <c16:uniqueId val="{0000000A-F32D-48B7-BC20-E66FC6253BAD}"/>
            </c:ext>
          </c:extLst>
        </c:ser>
        <c:ser>
          <c:idx val="5"/>
          <c:order val="5"/>
          <c:tx>
            <c:strRef>
              <c:f>Sheet1!$B$15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2:$A$153</c:f>
              <c:numCache>
                <c:formatCode>General</c:formatCode>
                <c:ptCount val="2"/>
                <c:pt idx="0">
                  <c:v>566.6504473075377</c:v>
                </c:pt>
                <c:pt idx="1">
                  <c:v>566.6504473075377</c:v>
                </c:pt>
              </c:numCache>
            </c:numRef>
          </c:xVal>
          <c:yVal>
            <c:numRef>
              <c:f>Sheet1!$B$152:$B$153</c:f>
              <c:numCache>
                <c:formatCode>General</c:formatCode>
                <c:ptCount val="2"/>
                <c:pt idx="0">
                  <c:v>0.00169311226731213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6:$A$157</c:f>
              <c:numCache>
                <c:formatCode>General</c:formatCode>
                <c:ptCount val="2"/>
                <c:pt idx="0">
                  <c:v>0</c:v>
                </c:pt>
                <c:pt idx="1">
                  <c:v>-7.6715140036453136</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5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0:$A$161</c:f>
              <c:numCache>
                <c:formatCode>General</c:formatCode>
                <c:ptCount val="2"/>
                <c:pt idx="0">
                  <c:v>-7.6715140036453136</c:v>
                </c:pt>
                <c:pt idx="1">
                  <c:v>-7.6715140036453136</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4:$A$200</c:f>
              <c:numCache>
                <c:formatCode>General</c:formatCode>
                <c:ptCount val="37"/>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pt idx="34">
                  <c:v>566.6504473075377</c:v>
                </c:pt>
                <c:pt idx="35">
                  <c:v>13471.414118555178</c:v>
                </c:pt>
                <c:pt idx="36">
                  <c:v>-7.6715140036453136</c:v>
                </c:pt>
              </c:numCache>
            </c:numRef>
          </c:xVal>
          <c:yVal>
            <c:numRef>
              <c:f>Sheet1!$B$164:$B$200</c:f>
              <c:numCache>
                <c:formatCode>General</c:formatCode>
                <c:ptCount val="37"/>
                <c:pt idx="0">
                  <c:v>2.261577188999587e-05</c:v>
                </c:pt>
                <c:pt idx="1">
                  <c:v>2.261577188999587e-05</c:v>
                </c:pt>
                <c:pt idx="2">
                  <c:v>2.261577188999587e-05</c:v>
                </c:pt>
                <c:pt idx="3">
                  <c:v>0.0031209841311331827</c:v>
                </c:pt>
                <c:pt idx="4">
                  <c:v>0.0030561277049644384</c:v>
                </c:pt>
                <c:pt idx="5">
                  <c:v>0.005010664548140682</c:v>
                </c:pt>
                <c:pt idx="6">
                  <c:v>2.261577188999587e-05</c:v>
                </c:pt>
                <c:pt idx="7">
                  <c:v>2.261577188999587e-05</c:v>
                </c:pt>
                <c:pt idx="8">
                  <c:v>2.261577188999587e-05</c:v>
                </c:pt>
                <c:pt idx="9">
                  <c:v>2.261577188999587e-05</c:v>
                </c:pt>
                <c:pt idx="10">
                  <c:v>2.261577188999587e-05</c:v>
                </c:pt>
                <c:pt idx="11">
                  <c:v>2.261577188999587e-05</c:v>
                </c:pt>
                <c:pt idx="12">
                  <c:v>2.261577188999587e-05</c:v>
                </c:pt>
                <c:pt idx="13">
                  <c:v>2.261577188999587e-05</c:v>
                </c:pt>
                <c:pt idx="14">
                  <c:v>2.261577188999587e-05</c:v>
                </c:pt>
                <c:pt idx="15">
                  <c:v>2.261577188999587e-05</c:v>
                </c:pt>
                <c:pt idx="16">
                  <c:v>2.261577188999587e-05</c:v>
                </c:pt>
                <c:pt idx="17">
                  <c:v>2.261577188999587e-05</c:v>
                </c:pt>
                <c:pt idx="18">
                  <c:v>2.261577188999587e-05</c:v>
                </c:pt>
                <c:pt idx="19">
                  <c:v>2.261577188999587e-05</c:v>
                </c:pt>
                <c:pt idx="20">
                  <c:v>2.261577188999587e-05</c:v>
                </c:pt>
                <c:pt idx="21">
                  <c:v>2.261577188999587e-05</c:v>
                </c:pt>
                <c:pt idx="22">
                  <c:v>0.006693983609156723</c:v>
                </c:pt>
                <c:pt idx="23">
                  <c:v>2.261577188999587e-05</c:v>
                </c:pt>
                <c:pt idx="24">
                  <c:v>0.005550152093089782</c:v>
                </c:pt>
                <c:pt idx="25">
                  <c:v>2.261577188999587e-05</c:v>
                </c:pt>
                <c:pt idx="26">
                  <c:v>2.261577188999587e-05</c:v>
                </c:pt>
                <c:pt idx="27">
                  <c:v>2.261577188999587e-05</c:v>
                </c:pt>
                <c:pt idx="28">
                  <c:v>2.261577188999587e-05</c:v>
                </c:pt>
                <c:pt idx="29">
                  <c:v>2.261577188999587e-05</c:v>
                </c:pt>
                <c:pt idx="30">
                  <c:v>2.261577188999587e-05</c:v>
                </c:pt>
                <c:pt idx="31">
                  <c:v>2.261577188999587e-05</c:v>
                </c:pt>
                <c:pt idx="32">
                  <c:v>2.261577188999587e-05</c:v>
                </c:pt>
                <c:pt idx="33">
                  <c:v>2.261577188999587e-05</c:v>
                </c:pt>
                <c:pt idx="34">
                  <c:v>0.0016931122673121397</c:v>
                </c:pt>
                <c:pt idx="35">
                  <c:v>0.03973660555228324</c:v>
                </c:pt>
                <c:pt idx="36">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16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9022556390977443"/>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93</c:f>
              <c:numCache>
                <c:formatCode>General</c:formatCode>
                <c:ptCount val="92"/>
                <c:pt idx="0">
                  <c:v>0.0</c:v>
                </c:pt>
                <c:pt idx="1">
                  <c:v>0.5515181682429069</c:v>
                </c:pt>
                <c:pt idx="2">
                  <c:v>0.3946206120300702</c:v>
                </c:pt>
                <c:pt idx="3">
                  <c:v>0.36903260460164994</c:v>
                </c:pt>
                <c:pt idx="4">
                  <c:v>0.40675369746422924</c:v>
                </c:pt>
                <c:pt idx="5">
                  <c:v>0.37514452950302735</c:v>
                </c:pt>
                <c:pt idx="6">
                  <c:v>0.5544963740098123</c:v>
                </c:pt>
                <c:pt idx="7">
                  <c:v>0.47459553016925776</c:v>
                </c:pt>
                <c:pt idx="8">
                  <c:v>0.44026983185573987</c:v>
                </c:pt>
                <c:pt idx="9">
                  <c:v>0.4879397187923969</c:v>
                </c:pt>
                <c:pt idx="10">
                  <c:v>0.3439972812775057</c:v>
                </c:pt>
                <c:pt idx="11">
                  <c:v>0.3950975757985009</c:v>
                </c:pt>
                <c:pt idx="12">
                  <c:v>0.46149404237998354</c:v>
                </c:pt>
                <c:pt idx="13">
                  <c:v>0.902524068659398</c:v>
                </c:pt>
                <c:pt idx="14">
                  <c:v>0.4899391274511787</c:v>
                </c:pt>
                <c:pt idx="15">
                  <c:v>0.41355663767080764</c:v>
                </c:pt>
                <c:pt idx="16">
                  <c:v>0.530952380952381</c:v>
                </c:pt>
                <c:pt idx="17">
                  <c:v>0.48460110015146457</c:v>
                </c:pt>
                <c:pt idx="18">
                  <c:v>0.45376680788358814</c:v>
                </c:pt>
                <c:pt idx="19">
                  <c:v>0.41792800742098235</c:v>
                </c:pt>
                <c:pt idx="20">
                  <c:v>0.5505182378502672</c:v>
                </c:pt>
                <c:pt idx="21">
                  <c:v>0.48260458025295916</c:v>
                </c:pt>
                <c:pt idx="22">
                  <c:v>0.49130434782608695</c:v>
                </c:pt>
                <c:pt idx="23">
                  <c:v>0.4914600982449671</c:v>
                </c:pt>
                <c:pt idx="24">
                  <c:v>0.4683699363092251</c:v>
                </c:pt>
                <c:pt idx="25">
                  <c:v>0.42000159757169103</c:v>
                </c:pt>
                <c:pt idx="26">
                  <c:v>0.4391035144622683</c:v>
                </c:pt>
                <c:pt idx="27">
                  <c:v>0.4807964553770355</c:v>
                </c:pt>
                <c:pt idx="28">
                  <c:v>0.44260714285714287</c:v>
                </c:pt>
                <c:pt idx="29">
                  <c:v>0.4509907529722589</c:v>
                </c:pt>
                <c:pt idx="30">
                  <c:v>0.39937817738750475</c:v>
                </c:pt>
                <c:pt idx="31">
                  <c:v>0.43507544816305105</c:v>
                </c:pt>
                <c:pt idx="32">
                  <c:v>0.44647071679030725</c:v>
                </c:pt>
                <c:pt idx="33">
                  <c:v>0.42467987130720003</c:v>
                </c:pt>
                <c:pt idx="34">
                  <c:v>0.44448238306589277</c:v>
                </c:pt>
                <c:pt idx="35">
                  <c:v>0.4420321166476643</c:v>
                </c:pt>
                <c:pt idx="36">
                  <c:v>0.44104965637031424</c:v>
                </c:pt>
                <c:pt idx="37">
                  <c:v>0.3993378922276411</c:v>
                </c:pt>
                <c:pt idx="38">
                  <c:v>0.43801065849351545</c:v>
                </c:pt>
                <c:pt idx="39">
                  <c:v>0.45801400634249473</c:v>
                </c:pt>
                <c:pt idx="40">
                  <c:v>0.4128121158836575</c:v>
                </c:pt>
                <c:pt idx="41">
                  <c:v>0.4253179032181737</c:v>
                </c:pt>
                <c:pt idx="42">
                  <c:v>0.45194267897829477</c:v>
                </c:pt>
                <c:pt idx="43">
                  <c:v>0.3847213590819665</c:v>
                </c:pt>
                <c:pt idx="44">
                  <c:v>0.42042894031348166</c:v>
                </c:pt>
                <c:pt idx="45">
                  <c:v>0.4552085876478879</c:v>
                </c:pt>
                <c:pt idx="46">
                  <c:v>0.4600033712999536</c:v>
                </c:pt>
                <c:pt idx="47">
                  <c:v>0.4161610364053788</c:v>
                </c:pt>
                <c:pt idx="48">
                  <c:v>0.39581354801381485</c:v>
                </c:pt>
                <c:pt idx="49">
                  <c:v>0.38573410811303793</c:v>
                </c:pt>
                <c:pt idx="50">
                  <c:v>0.42736554910171637</c:v>
                </c:pt>
                <c:pt idx="51">
                  <c:v>0.46103079824010057</c:v>
                </c:pt>
                <c:pt idx="52">
                  <c:v>0.4320623926309955</c:v>
                </c:pt>
                <c:pt idx="53">
                  <c:v>0.3715904733351407</c:v>
                </c:pt>
                <c:pt idx="54">
                  <c:v>0.35770674702679933</c:v>
                </c:pt>
                <c:pt idx="55">
                  <c:v>0.39722457324517885</c:v>
                </c:pt>
                <c:pt idx="56">
                  <c:v>0.3756848462870622</c:v>
                </c:pt>
                <c:pt idx="57">
                  <c:v>0.4532609446218874</c:v>
                </c:pt>
                <c:pt idx="58">
                  <c:v>0.49868286115066</c:v>
                </c:pt>
                <c:pt idx="59">
                  <c:v>0.7017307562798841</c:v>
                </c:pt>
                <c:pt idx="60">
                  <c:v>0.6117924687128391</c:v>
                </c:pt>
                <c:pt idx="61">
                  <c:v>0.6165326700128815</c:v>
                </c:pt>
                <c:pt idx="62">
                  <c:v>0.37562236333226373</c:v>
                </c:pt>
                <c:pt idx="63">
                  <c:v>0.5489696724682726</c:v>
                </c:pt>
                <c:pt idx="64">
                  <c:v>0.4150663985195751</c:v>
                </c:pt>
                <c:pt idx="65">
                  <c:v>0.43811905159388037</c:v>
                </c:pt>
                <c:pt idx="66">
                  <c:v>0.40175676515496617</c:v>
                </c:pt>
                <c:pt idx="67">
                  <c:v>0.5229580127745288</c:v>
                </c:pt>
                <c:pt idx="68">
                  <c:v>0.3890330953926022</c:v>
                </c:pt>
                <c:pt idx="69">
                  <c:v>0.47353956733140723</c:v>
                </c:pt>
                <c:pt idx="70">
                  <c:v>0.38991944423915453</c:v>
                </c:pt>
                <c:pt idx="71">
                  <c:v>0.43076095261348796</c:v>
                </c:pt>
                <c:pt idx="72">
                  <c:v>0.6593453651022405</c:v>
                </c:pt>
                <c:pt idx="73">
                  <c:v>0.4288312434191634</c:v>
                </c:pt>
                <c:pt idx="74">
                  <c:v>0.351219668358595</c:v>
                </c:pt>
                <c:pt idx="75">
                  <c:v>0.35871529685513004</c:v>
                </c:pt>
                <c:pt idx="76">
                  <c:v>0.5117096018735363</c:v>
                </c:pt>
                <c:pt idx="77">
                  <c:v>0.42652013729256544</c:v>
                </c:pt>
                <c:pt idx="78">
                  <c:v>0.4038442049792251</c:v>
                </c:pt>
                <c:pt idx="79">
                  <c:v>0.564366290643663</c:v>
                </c:pt>
                <c:pt idx="80">
                  <c:v>0.4317552102156367</c:v>
                </c:pt>
                <c:pt idx="81">
                  <c:v>0.3672844958220764</c:v>
                </c:pt>
                <c:pt idx="82">
                  <c:v>0.6812860676009893</c:v>
                </c:pt>
                <c:pt idx="83">
                  <c:v>0.46113448745780067</c:v>
                </c:pt>
                <c:pt idx="84">
                  <c:v>0.4014850885630102</c:v>
                </c:pt>
                <c:pt idx="85">
                  <c:v>0.39354525752807207</c:v>
                </c:pt>
                <c:pt idx="86">
                  <c:v>0.49521022786517904</c:v>
                </c:pt>
                <c:pt idx="87">
                  <c:v>0.300667393956451</c:v>
                </c:pt>
                <c:pt idx="88">
                  <c:v>0.3558552909745937</c:v>
                </c:pt>
                <c:pt idx="89">
                  <c:v>0.3947430178129739</c:v>
                </c:pt>
                <c:pt idx="90">
                  <c:v>0.3072946725133543</c:v>
                </c:pt>
                <c:pt idx="91">
                  <c:v>0.30901109276318955</c:v>
                </c:pt>
              </c:numCache>
            </c:numRef>
          </c:xVal>
          <c:yVal>
            <c:numRef>
              <c:f>Sheet1!$B$2:$B$93</c:f>
              <c:numCache>
                <c:formatCode>General</c:formatCode>
                <c:ptCount val="92"/>
                <c:pt idx="0">
                  <c:v>0.01652892561983471</c:v>
                </c:pt>
                <c:pt idx="1">
                  <c:v>0.009375</c:v>
                </c:pt>
                <c:pt idx="2">
                  <c:v>0.0056657223796034</c:v>
                </c:pt>
                <c:pt idx="3">
                  <c:v>0.008152173913043478</c:v>
                </c:pt>
                <c:pt idx="4">
                  <c:v>0.00911854103343465</c:v>
                </c:pt>
                <c:pt idx="5">
                  <c:v>0.006802721088435374</c:v>
                </c:pt>
                <c:pt idx="6">
                  <c:v>0.008</c:v>
                </c:pt>
                <c:pt idx="7">
                  <c:v>0.009302325581395349</c:v>
                </c:pt>
                <c:pt idx="8">
                  <c:v>0.011111111111111112</c:v>
                </c:pt>
                <c:pt idx="9">
                  <c:v>0.014084507042253521</c:v>
                </c:pt>
                <c:pt idx="10">
                  <c:v>0.013513513513513514</c:v>
                </c:pt>
                <c:pt idx="11">
                  <c:v>0.028409090909090908</c:v>
                </c:pt>
                <c:pt idx="12">
                  <c:v>0.02962962962962963</c:v>
                </c:pt>
                <c:pt idx="13">
                  <c:v>0.02564102564102564</c:v>
                </c:pt>
                <c:pt idx="14">
                  <c:v>0.0297029702970297</c:v>
                </c:pt>
                <c:pt idx="15">
                  <c:v>0.025</c:v>
                </c:pt>
                <c:pt idx="16">
                  <c:v>0.009174311926605505</c:v>
                </c:pt>
                <c:pt idx="17">
                  <c:v>0.02158273381294964</c:v>
                </c:pt>
                <c:pt idx="18">
                  <c:v>0.03418803418803419</c:v>
                </c:pt>
                <c:pt idx="19">
                  <c:v>0.0273972602739726</c:v>
                </c:pt>
                <c:pt idx="20">
                  <c:v>0.012903225806451613</c:v>
                </c:pt>
                <c:pt idx="21">
                  <c:v>0.046296296296296294</c:v>
                </c:pt>
                <c:pt idx="22">
                  <c:v>0.017857142857142856</c:v>
                </c:pt>
                <c:pt idx="23">
                  <c:v>0.03361344537815126</c:v>
                </c:pt>
                <c:pt idx="24">
                  <c:v>0.043478260869565216</c:v>
                </c:pt>
                <c:pt idx="25">
                  <c:v>0.024691358024691357</c:v>
                </c:pt>
                <c:pt idx="26">
                  <c:v>0.049019607843137254</c:v>
                </c:pt>
                <c:pt idx="27">
                  <c:v>0.0440251572327044</c:v>
                </c:pt>
                <c:pt idx="28">
                  <c:v>0.07518796992481203</c:v>
                </c:pt>
                <c:pt idx="29">
                  <c:v>0.03968253968253968</c:v>
                </c:pt>
                <c:pt idx="30">
                  <c:v>0.03816793893129771</c:v>
                </c:pt>
                <c:pt idx="31">
                  <c:v>0.04666666666666667</c:v>
                </c:pt>
                <c:pt idx="32">
                  <c:v>0.051094890510948905</c:v>
                </c:pt>
                <c:pt idx="33">
                  <c:v>0.0425531914893617</c:v>
                </c:pt>
                <c:pt idx="34">
                  <c:v>0.05056179775280899</c:v>
                </c:pt>
                <c:pt idx="35">
                  <c:v>0.026905829596412557</c:v>
                </c:pt>
                <c:pt idx="36">
                  <c:v>0.01984126984126984</c:v>
                </c:pt>
                <c:pt idx="37">
                  <c:v>0.021505376344086023</c:v>
                </c:pt>
                <c:pt idx="38">
                  <c:v>0.011363636363636364</c:v>
                </c:pt>
                <c:pt idx="39">
                  <c:v>0.009876543209876543</c:v>
                </c:pt>
                <c:pt idx="40">
                  <c:v>0.012962962962962963</c:v>
                </c:pt>
                <c:pt idx="41">
                  <c:v>0.03514376996805112</c:v>
                </c:pt>
                <c:pt idx="42">
                  <c:v>0.02702702702702703</c:v>
                </c:pt>
                <c:pt idx="43">
                  <c:v>0.02147239263803681</c:v>
                </c:pt>
                <c:pt idx="44">
                  <c:v>0.03007518796992481</c:v>
                </c:pt>
                <c:pt idx="45">
                  <c:v>0.027888446215139442</c:v>
                </c:pt>
                <c:pt idx="46">
                  <c:v>0.013513513513513514</c:v>
                </c:pt>
                <c:pt idx="47">
                  <c:v>0.03389830508474576</c:v>
                </c:pt>
                <c:pt idx="48">
                  <c:v>0.01556420233463035</c:v>
                </c:pt>
                <c:pt idx="49">
                  <c:v>0.013468013468013467</c:v>
                </c:pt>
                <c:pt idx="50">
                  <c:v>0.005</c:v>
                </c:pt>
                <c:pt idx="51">
                  <c:v>0.004545454545454545</c:v>
                </c:pt>
                <c:pt idx="52">
                  <c:v>0.009779951100244499</c:v>
                </c:pt>
                <c:pt idx="53">
                  <c:v>0.007853403141361256</c:v>
                </c:pt>
                <c:pt idx="54">
                  <c:v>0.0069605568445475635</c:v>
                </c:pt>
                <c:pt idx="55">
                  <c:v>0.0044742729306487695</c:v>
                </c:pt>
                <c:pt idx="56">
                  <c:v>0.012626262626262626</c:v>
                </c:pt>
                <c:pt idx="57">
                  <c:v>0.0028735632183908046</c:v>
                </c:pt>
                <c:pt idx="58">
                  <c:v>0.006430868167202572</c:v>
                </c:pt>
                <c:pt idx="59">
                  <c:v>0.003937007874015748</c:v>
                </c:pt>
                <c:pt idx="60">
                  <c:v>0.005319148936170213</c:v>
                </c:pt>
                <c:pt idx="61">
                  <c:v>0.005076142131979695</c:v>
                </c:pt>
                <c:pt idx="62">
                  <c:v>0.009345794392523364</c:v>
                </c:pt>
                <c:pt idx="63">
                  <c:v>0.004329004329004329</c:v>
                </c:pt>
                <c:pt idx="64">
                  <c:v>0.01015228426395939</c:v>
                </c:pt>
                <c:pt idx="65">
                  <c:v>0.0048543689320388345</c:v>
                </c:pt>
                <c:pt idx="66">
                  <c:v>0.0125</c:v>
                </c:pt>
                <c:pt idx="67">
                  <c:v>0.0064516129032258064</c:v>
                </c:pt>
                <c:pt idx="68">
                  <c:v>0.01282051282051282</c:v>
                </c:pt>
                <c:pt idx="69">
                  <c:v>0.008</c:v>
                </c:pt>
                <c:pt idx="70">
                  <c:v>0.008264462809917356</c:v>
                </c:pt>
                <c:pt idx="71">
                  <c:v>0.006535947712418301</c:v>
                </c:pt>
                <c:pt idx="72">
                  <c:v>0.00819672131147541</c:v>
                </c:pt>
                <c:pt idx="73">
                  <c:v>0.010869565217391304</c:v>
                </c:pt>
                <c:pt idx="74">
                  <c:v>0.008849557522123894</c:v>
                </c:pt>
                <c:pt idx="75">
                  <c:v>0.00966183574879227</c:v>
                </c:pt>
                <c:pt idx="76">
                  <c:v>0.007194244604316547</c:v>
                </c:pt>
                <c:pt idx="77">
                  <c:v>0.017094017094017096</c:v>
                </c:pt>
                <c:pt idx="78">
                  <c:v>0.017543859649122806</c:v>
                </c:pt>
                <c:pt idx="79">
                  <c:v>0.007633587786259542</c:v>
                </c:pt>
                <c:pt idx="80">
                  <c:v>0.006369426751592357</c:v>
                </c:pt>
                <c:pt idx="81">
                  <c:v>0.0058823529411764705</c:v>
                </c:pt>
                <c:pt idx="82">
                  <c:v>0.007936507936507936</c:v>
                </c:pt>
                <c:pt idx="83">
                  <c:v>0.0051813471502590676</c:v>
                </c:pt>
                <c:pt idx="84">
                  <c:v>0.004484304932735426</c:v>
                </c:pt>
                <c:pt idx="85">
                  <c:v>0.00749063670411985</c:v>
                </c:pt>
                <c:pt idx="86">
                  <c:v>0.0031446540880503146</c:v>
                </c:pt>
                <c:pt idx="87">
                  <c:v>0.0023752969121140144</c:v>
                </c:pt>
                <c:pt idx="88">
                  <c:v>0.0036900369003690036</c:v>
                </c:pt>
                <c:pt idx="89">
                  <c:v>0.0031446540880503146</c:v>
                </c:pt>
                <c:pt idx="90">
                  <c:v>0.002777777777777778</c:v>
                </c:pt>
                <c:pt idx="91">
                  <c:v>0.003367003367003367</c:v>
                </c:pt>
              </c:numCache>
            </c:numRef>
          </c:yVal>
          <c:smooth val="0"/>
          <c:extLst>
            <c:ext xmlns:c16="http://schemas.microsoft.com/office/drawing/2014/chart" uri="{C3380CC4-5D6E-409C-BE32-E72D297353CC}">
              <c16:uniqueId val="{00000000-096C-4121-9522-6AB7243CCAAE}"/>
            </c:ext>
          </c:extLst>
        </c:ser>
        <c:ser>
          <c:idx val="1"/>
          <c:order val="1"/>
          <c:tx>
            <c:strRef>
              <c:f>Sheet1!$B$9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6:$A$129</c:f>
              <c:numCache>
                <c:formatCode>General</c:formatCode>
                <c:ptCount val="34"/>
                <c:pt idx="0">
                  <c:v>0.0</c:v>
                </c:pt>
                <c:pt idx="1">
                  <c:v>0.0</c:v>
                </c:pt>
                <c:pt idx="2">
                  <c:v>0.0</c:v>
                </c:pt>
                <c:pt idx="3">
                  <c:v>0.3000726798300452</c:v>
                </c:pt>
                <c:pt idx="4">
                  <c:v>0.29832050772584884</c:v>
                </c:pt>
                <c:pt idx="5">
                  <c:v>0.5060716635760004</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6509144974766061</c:v>
                </c:pt>
                <c:pt idx="23">
                  <c:v>0.0</c:v>
                </c:pt>
                <c:pt idx="24">
                  <c:v>0.5508405400658053</c:v>
                </c:pt>
                <c:pt idx="25">
                  <c:v>0.0</c:v>
                </c:pt>
                <c:pt idx="26">
                  <c:v>0.0</c:v>
                </c:pt>
                <c:pt idx="27">
                  <c:v>0.0</c:v>
                </c:pt>
                <c:pt idx="28">
                  <c:v>0.0</c:v>
                </c:pt>
                <c:pt idx="29">
                  <c:v>0.0</c:v>
                </c:pt>
                <c:pt idx="30">
                  <c:v>0.0</c:v>
                </c:pt>
                <c:pt idx="31">
                  <c:v>0.0</c:v>
                </c:pt>
                <c:pt idx="32">
                  <c:v>0.0</c:v>
                </c:pt>
                <c:pt idx="33">
                  <c:v>0.0</c:v>
                </c:pt>
              </c:numCache>
            </c:numRef>
          </c:xVal>
          <c:yVal>
            <c:numRef>
              <c:f>Sheet1!$B$96:$B$129</c:f>
              <c:numCache>
                <c:formatCode>General</c:formatCode>
                <c:ptCount val="34"/>
                <c:pt idx="0">
                  <c:v>0.0</c:v>
                </c:pt>
                <c:pt idx="1">
                  <c:v>0.0</c:v>
                </c:pt>
                <c:pt idx="2">
                  <c:v>0.0</c:v>
                </c:pt>
                <c:pt idx="3">
                  <c:v>0.0036496350364963502</c:v>
                </c:pt>
                <c:pt idx="4">
                  <c:v>0.0033444816053511705</c:v>
                </c:pt>
                <c:pt idx="5">
                  <c:v>0.0031645569620253164</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4405286343612335</c:v>
                </c:pt>
                <c:pt idx="23">
                  <c:v>0.0</c:v>
                </c:pt>
                <c:pt idx="24">
                  <c:v>0.009523809523809525</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096C-4121-9522-6AB7243CCAAE}"/>
            </c:ext>
          </c:extLst>
        </c:ser>
        <c:ser>
          <c:idx val="2"/>
          <c:order val="2"/>
          <c:tx>
            <c:strRef>
              <c:f>Sheet1!$B$13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2:$A$133</c:f>
              <c:numCache>
                <c:formatCode>General</c:formatCode>
                <c:ptCount val="2"/>
                <c:pt idx="0">
                  <c:v>0</c:v>
                </c:pt>
                <c:pt idx="1">
                  <c:v>3.9262404632920305</c:v>
                </c:pt>
              </c:numCache>
            </c:numRef>
          </c:xVal>
          <c:yVal>
            <c:numRef>
              <c:f>Sheet1!$B$132:$B$133</c:f>
              <c:numCache>
                <c:formatCode>General</c:formatCode>
                <c:ptCount val="2"/>
                <c:pt idx="0">
                  <c:v>0.03973660555228324</c:v>
                </c:pt>
                <c:pt idx="1">
                  <c:v>0.03973660555228324</c:v>
                </c:pt>
              </c:numCache>
            </c:numRef>
          </c:yVal>
          <c:smooth val="0"/>
          <c:extLst>
            <c:ext xmlns:c16="http://schemas.microsoft.com/office/drawing/2014/chart" uri="{C3380CC4-5D6E-409C-BE32-E72D297353CC}">
              <c16:uniqueId val="{00000005-096C-4121-9522-6AB7243CCAAE}"/>
            </c:ext>
          </c:extLst>
        </c:ser>
        <c:ser>
          <c:idx val="3"/>
          <c:order val="3"/>
          <c:tx>
            <c:strRef>
              <c:f>Sheet1!$B$13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6:$A$137</c:f>
              <c:numCache>
                <c:formatCode>General</c:formatCode>
                <c:ptCount val="2"/>
                <c:pt idx="0">
                  <c:v>3.9262404632920305</c:v>
                </c:pt>
                <c:pt idx="1">
                  <c:v>3.9262404632920305</c:v>
                </c:pt>
              </c:numCache>
            </c:numRef>
          </c:xVal>
          <c:yVal>
            <c:numRef>
              <c:f>Sheet1!$B$136:$B$137</c:f>
              <c:numCache>
                <c:formatCode>General</c:formatCode>
                <c:ptCount val="2"/>
                <c:pt idx="0">
                  <c:v>0.0397366055522832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0:$A$141</c:f>
              <c:numCache>
                <c:formatCode>General</c:formatCode>
                <c:ptCount val="2"/>
                <c:pt idx="0">
                  <c:v>0</c:v>
                </c:pt>
                <c:pt idx="1">
                  <c:v>0.1651745730129749</c:v>
                </c:pt>
              </c:numCache>
            </c:numRef>
          </c:xVal>
          <c:yVal>
            <c:numRef>
              <c:f>Sheet1!$B$140:$B$141</c:f>
              <c:numCache>
                <c:formatCode>General</c:formatCode>
                <c:ptCount val="2"/>
                <c:pt idx="0">
                  <c:v>0.0016931122673121395</c:v>
                </c:pt>
                <c:pt idx="1">
                  <c:v>0.0016931122673121395</c:v>
                </c:pt>
              </c:numCache>
            </c:numRef>
          </c:yVal>
          <c:smooth val="0"/>
          <c:extLst>
            <c:ext xmlns:c16="http://schemas.microsoft.com/office/drawing/2014/chart" uri="{C3380CC4-5D6E-409C-BE32-E72D297353CC}">
              <c16:uniqueId val="{0000000D-096C-4121-9522-6AB7243CCAAE}"/>
            </c:ext>
          </c:extLst>
        </c:ser>
        <c:ser>
          <c:idx val="5"/>
          <c:order val="5"/>
          <c:tx>
            <c:strRef>
              <c:f>Sheet1!$B$14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4:$A$145</c:f>
              <c:numCache>
                <c:formatCode>General</c:formatCode>
                <c:ptCount val="2"/>
                <c:pt idx="0">
                  <c:v>0.1651745730129749</c:v>
                </c:pt>
                <c:pt idx="1">
                  <c:v>0.1651745730129749</c:v>
                </c:pt>
              </c:numCache>
            </c:numRef>
          </c:xVal>
          <c:yVal>
            <c:numRef>
              <c:f>Sheet1!$B$144:$B$145</c:f>
              <c:numCache>
                <c:formatCode>General</c:formatCode>
                <c:ptCount val="2"/>
                <c:pt idx="0">
                  <c:v>0.00169311226731213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4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48:$A$149</c:f>
              <c:numCache>
                <c:formatCode>General</c:formatCode>
                <c:ptCount val="2"/>
                <c:pt idx="0">
                  <c:v>0</c:v>
                </c:pt>
                <c:pt idx="1">
                  <c:v>-0.0022103395475215636</c:v>
                </c:pt>
              </c:numCache>
            </c:numRef>
          </c:xVal>
          <c:yVal>
            <c:numRef>
              <c:f>Sheet1!$B$148:$B$149</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5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2:$A$153</c:f>
              <c:numCache>
                <c:formatCode>General</c:formatCode>
                <c:ptCount val="2"/>
                <c:pt idx="0">
                  <c:v>-0.0022103395475215636</c:v>
                </c:pt>
                <c:pt idx="1">
                  <c:v>-0.0022103395475215636</c:v>
                </c:pt>
              </c:numCache>
            </c:numRef>
          </c:xVal>
          <c:yVal>
            <c:numRef>
              <c:f>Sheet1!$B$152:$B$153</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5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56:$A$192</c:f>
              <c:numCache>
                <c:formatCode>General</c:formatCode>
                <c:ptCount val="37"/>
                <c:pt idx="0">
                  <c:v>0.0</c:v>
                </c:pt>
                <c:pt idx="1">
                  <c:v>0.0</c:v>
                </c:pt>
                <c:pt idx="2">
                  <c:v>0.0</c:v>
                </c:pt>
                <c:pt idx="3">
                  <c:v>0.3000726798300452</c:v>
                </c:pt>
                <c:pt idx="4">
                  <c:v>0.29832050772584884</c:v>
                </c:pt>
                <c:pt idx="5">
                  <c:v>0.5060716635760004</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6509144974766061</c:v>
                </c:pt>
                <c:pt idx="23">
                  <c:v>0.0</c:v>
                </c:pt>
                <c:pt idx="24">
                  <c:v>0.5508405400658053</c:v>
                </c:pt>
                <c:pt idx="25">
                  <c:v>0.0</c:v>
                </c:pt>
                <c:pt idx="26">
                  <c:v>0.0</c:v>
                </c:pt>
                <c:pt idx="27">
                  <c:v>0.0</c:v>
                </c:pt>
                <c:pt idx="28">
                  <c:v>0.0</c:v>
                </c:pt>
                <c:pt idx="29">
                  <c:v>0.0</c:v>
                </c:pt>
                <c:pt idx="30">
                  <c:v>0.0</c:v>
                </c:pt>
                <c:pt idx="31">
                  <c:v>0.0</c:v>
                </c:pt>
                <c:pt idx="32">
                  <c:v>0.0</c:v>
                </c:pt>
                <c:pt idx="33">
                  <c:v>0.0</c:v>
                </c:pt>
                <c:pt idx="34">
                  <c:v>0.1651745730129749</c:v>
                </c:pt>
                <c:pt idx="35">
                  <c:v>3.9262404632920305</c:v>
                </c:pt>
                <c:pt idx="36">
                  <c:v>-0.0022103395475215636</c:v>
                </c:pt>
              </c:numCache>
            </c:numRef>
          </c:xVal>
          <c:yVal>
            <c:numRef>
              <c:f>Sheet1!$B$156:$B$192</c:f>
              <c:numCache>
                <c:formatCode>General</c:formatCode>
                <c:ptCount val="37"/>
                <c:pt idx="0">
                  <c:v>2.2357767767637704e-05</c:v>
                </c:pt>
                <c:pt idx="1">
                  <c:v>2.2357767767637704e-05</c:v>
                </c:pt>
                <c:pt idx="2">
                  <c:v>2.2357767767637704e-05</c:v>
                </c:pt>
                <c:pt idx="3">
                  <c:v>0.0030576178012659085</c:v>
                </c:pt>
                <c:pt idx="4">
                  <c:v>0.003039894435171101</c:v>
                </c:pt>
                <c:pt idx="5">
                  <c:v>0.005141314599853144</c:v>
                </c:pt>
                <c:pt idx="6">
                  <c:v>2.2357767767637704e-05</c:v>
                </c:pt>
                <c:pt idx="7">
                  <c:v>2.2357767767637704e-05</c:v>
                </c:pt>
                <c:pt idx="8">
                  <c:v>2.2357767767637704e-05</c:v>
                </c:pt>
                <c:pt idx="9">
                  <c:v>2.2357767767637704e-05</c:v>
                </c:pt>
                <c:pt idx="10">
                  <c:v>2.2357767767637704e-05</c:v>
                </c:pt>
                <c:pt idx="11">
                  <c:v>2.2357767767637704e-05</c:v>
                </c:pt>
                <c:pt idx="12">
                  <c:v>2.2357767767637704e-05</c:v>
                </c:pt>
                <c:pt idx="13">
                  <c:v>2.2357767767637704e-05</c:v>
                </c:pt>
                <c:pt idx="14">
                  <c:v>2.2357767767637704e-05</c:v>
                </c:pt>
                <c:pt idx="15">
                  <c:v>2.2357767767637704e-05</c:v>
                </c:pt>
                <c:pt idx="16">
                  <c:v>2.2357767767637704e-05</c:v>
                </c:pt>
                <c:pt idx="17">
                  <c:v>2.2357767767637704e-05</c:v>
                </c:pt>
                <c:pt idx="18">
                  <c:v>2.2357767767637704e-05</c:v>
                </c:pt>
                <c:pt idx="19">
                  <c:v>2.2357767767637704e-05</c:v>
                </c:pt>
                <c:pt idx="20">
                  <c:v>2.2357767767637704e-05</c:v>
                </c:pt>
                <c:pt idx="21">
                  <c:v>2.2357767767637704e-05</c:v>
                </c:pt>
                <c:pt idx="22">
                  <c:v>0.0066064118727076305</c:v>
                </c:pt>
                <c:pt idx="23">
                  <c:v>2.2357767767637704e-05</c:v>
                </c:pt>
                <c:pt idx="24">
                  <c:v>0.005594155497035411</c:v>
                </c:pt>
                <c:pt idx="25">
                  <c:v>2.2357767767637704e-05</c:v>
                </c:pt>
                <c:pt idx="26">
                  <c:v>2.2357767767637704e-05</c:v>
                </c:pt>
                <c:pt idx="27">
                  <c:v>2.2357767767637704e-05</c:v>
                </c:pt>
                <c:pt idx="28">
                  <c:v>2.2357767767637704e-05</c:v>
                </c:pt>
                <c:pt idx="29">
                  <c:v>2.2357767767637704e-05</c:v>
                </c:pt>
                <c:pt idx="30">
                  <c:v>2.2357767767637704e-05</c:v>
                </c:pt>
                <c:pt idx="31">
                  <c:v>2.2357767767637704e-05</c:v>
                </c:pt>
                <c:pt idx="32">
                  <c:v>2.2357767767637704e-05</c:v>
                </c:pt>
                <c:pt idx="33">
                  <c:v>2.2357767767637704e-05</c:v>
                </c:pt>
                <c:pt idx="34">
                  <c:v>0.0016931122673121395</c:v>
                </c:pt>
                <c:pt idx="35">
                  <c:v>0.03973660555228324</c:v>
                </c:pt>
                <c:pt idx="36">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eliocar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9022556390977443"/>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3</c:f>
              <c:numCache>
                <c:formatCode>General</c:formatCode>
                <c:ptCount val="92"/>
                <c:pt idx="0">
                  <c:v>1244.25</c:v>
                </c:pt>
                <c:pt idx="1">
                  <c:v>1108.0</c:v>
                </c:pt>
                <c:pt idx="2">
                  <c:v>1102.0</c:v>
                </c:pt>
                <c:pt idx="3">
                  <c:v>1193.6667</c:v>
                </c:pt>
                <c:pt idx="4">
                  <c:v>1253.3333</c:v>
                </c:pt>
                <c:pt idx="5">
                  <c:v>1081.5</c:v>
                </c:pt>
                <c:pt idx="6">
                  <c:v>1532.5</c:v>
                </c:pt>
                <c:pt idx="7">
                  <c:v>1381.0</c:v>
                </c:pt>
                <c:pt idx="8">
                  <c:v>1225.0</c:v>
                </c:pt>
                <c:pt idx="9">
                  <c:v>1397.5</c:v>
                </c:pt>
                <c:pt idx="10">
                  <c:v>1067.5</c:v>
                </c:pt>
                <c:pt idx="11">
                  <c:v>1170.2</c:v>
                </c:pt>
                <c:pt idx="12">
                  <c:v>1398.75</c:v>
                </c:pt>
                <c:pt idx="13">
                  <c:v>1355.3333</c:v>
                </c:pt>
                <c:pt idx="14">
                  <c:v>1351.6667</c:v>
                </c:pt>
                <c:pt idx="15">
                  <c:v>1120.0</c:v>
                </c:pt>
                <c:pt idx="16">
                  <c:v>1561.0</c:v>
                </c:pt>
                <c:pt idx="17">
                  <c:v>1343.6667</c:v>
                </c:pt>
                <c:pt idx="18">
                  <c:v>1231.75</c:v>
                </c:pt>
                <c:pt idx="19">
                  <c:v>1154.5</c:v>
                </c:pt>
                <c:pt idx="20">
                  <c:v>1573.0</c:v>
                </c:pt>
                <c:pt idx="21">
                  <c:v>1300.4</c:v>
                </c:pt>
                <c:pt idx="22">
                  <c:v>1412.5</c:v>
                </c:pt>
                <c:pt idx="23">
                  <c:v>1232.5</c:v>
                </c:pt>
                <c:pt idx="24">
                  <c:v>1284.6667</c:v>
                </c:pt>
                <c:pt idx="25">
                  <c:v>1314.5</c:v>
                </c:pt>
                <c:pt idx="26">
                  <c:v>1244.1</c:v>
                </c:pt>
                <c:pt idx="27">
                  <c:v>1340.2857</c:v>
                </c:pt>
                <c:pt idx="28">
                  <c:v>1239.3</c:v>
                </c:pt>
                <c:pt idx="29">
                  <c:v>1365.6</c:v>
                </c:pt>
                <c:pt idx="30">
                  <c:v>1188.2</c:v>
                </c:pt>
                <c:pt idx="31">
                  <c:v>1283.7143</c:v>
                </c:pt>
                <c:pt idx="32">
                  <c:v>1238.4286</c:v>
                </c:pt>
                <c:pt idx="33">
                  <c:v>1233.6667</c:v>
                </c:pt>
                <c:pt idx="34">
                  <c:v>1301.8889</c:v>
                </c:pt>
                <c:pt idx="35">
                  <c:v>1376.3333</c:v>
                </c:pt>
                <c:pt idx="36">
                  <c:v>1350.2</c:v>
                </c:pt>
                <c:pt idx="37">
                  <c:v>1179.8333</c:v>
                </c:pt>
                <c:pt idx="38">
                  <c:v>1328.6667</c:v>
                </c:pt>
                <c:pt idx="39">
                  <c:v>1386.5</c:v>
                </c:pt>
                <c:pt idx="40">
                  <c:v>1289.7143</c:v>
                </c:pt>
                <c:pt idx="41">
                  <c:v>1256.4545</c:v>
                </c:pt>
                <c:pt idx="42">
                  <c:v>1356.75</c:v>
                </c:pt>
                <c:pt idx="43">
                  <c:v>1232.8571</c:v>
                </c:pt>
                <c:pt idx="44">
                  <c:v>1278.125</c:v>
                </c:pt>
                <c:pt idx="45">
                  <c:v>1385.7143</c:v>
                </c:pt>
                <c:pt idx="46">
                  <c:v>1440.3333</c:v>
                </c:pt>
                <c:pt idx="47">
                  <c:v>1268.875</c:v>
                </c:pt>
                <c:pt idx="48">
                  <c:v>1231.25</c:v>
                </c:pt>
                <c:pt idx="49">
                  <c:v>1184.25</c:v>
                </c:pt>
                <c:pt idx="50">
                  <c:v>1322.5</c:v>
                </c:pt>
                <c:pt idx="51">
                  <c:v>1467.0</c:v>
                </c:pt>
                <c:pt idx="52">
                  <c:v>1332.25</c:v>
                </c:pt>
                <c:pt idx="53">
                  <c:v>1186.0</c:v>
                </c:pt>
                <c:pt idx="54">
                  <c:v>1077.0</c:v>
                </c:pt>
                <c:pt idx="55">
                  <c:v>1192.0</c:v>
                </c:pt>
                <c:pt idx="56">
                  <c:v>1140.0</c:v>
                </c:pt>
                <c:pt idx="57">
                  <c:v>1599.0</c:v>
                </c:pt>
                <c:pt idx="58">
                  <c:v>1546.0</c:v>
                </c:pt>
                <c:pt idx="59">
                  <c:v>2084.0</c:v>
                </c:pt>
                <c:pt idx="60">
                  <c:v>1757.0</c:v>
                </c:pt>
                <c:pt idx="61">
                  <c:v>1735.0</c:v>
                </c:pt>
                <c:pt idx="62">
                  <c:v>1194.5</c:v>
                </c:pt>
                <c:pt idx="63">
                  <c:v>1705.0</c:v>
                </c:pt>
                <c:pt idx="64">
                  <c:v>1354.5</c:v>
                </c:pt>
                <c:pt idx="65">
                  <c:v>1340.0</c:v>
                </c:pt>
                <c:pt idx="66">
                  <c:v>1344.0</c:v>
                </c:pt>
                <c:pt idx="67">
                  <c:v>1676.0</c:v>
                </c:pt>
                <c:pt idx="68">
                  <c:v>1199.0</c:v>
                </c:pt>
                <c:pt idx="69">
                  <c:v>1680.0</c:v>
                </c:pt>
                <c:pt idx="70">
                  <c:v>1319.0</c:v>
                </c:pt>
                <c:pt idx="71">
                  <c:v>1335.0</c:v>
                </c:pt>
                <c:pt idx="72">
                  <c:v>1977.0</c:v>
                </c:pt>
                <c:pt idx="73">
                  <c:v>1344.0</c:v>
                </c:pt>
                <c:pt idx="74">
                  <c:v>983.0</c:v>
                </c:pt>
                <c:pt idx="75">
                  <c:v>1191.0</c:v>
                </c:pt>
                <c:pt idx="76">
                  <c:v>1748.0</c:v>
                </c:pt>
                <c:pt idx="77">
                  <c:v>1354.5</c:v>
                </c:pt>
                <c:pt idx="78">
                  <c:v>1195.5</c:v>
                </c:pt>
                <c:pt idx="79">
                  <c:v>1701.0</c:v>
                </c:pt>
                <c:pt idx="80">
                  <c:v>1344.0</c:v>
                </c:pt>
                <c:pt idx="81">
                  <c:v>1029.0</c:v>
                </c:pt>
                <c:pt idx="82">
                  <c:v>2066.0</c:v>
                </c:pt>
                <c:pt idx="83">
                  <c:v>1365.0</c:v>
                </c:pt>
                <c:pt idx="84">
                  <c:v>1344.0</c:v>
                </c:pt>
                <c:pt idx="85">
                  <c:v>1337.5</c:v>
                </c:pt>
                <c:pt idx="86">
                  <c:v>1714.0</c:v>
                </c:pt>
                <c:pt idx="87">
                  <c:v>1029.0</c:v>
                </c:pt>
                <c:pt idx="88">
                  <c:v>1208.0</c:v>
                </c:pt>
                <c:pt idx="89">
                  <c:v>1365.0</c:v>
                </c:pt>
                <c:pt idx="90">
                  <c:v>1008.0</c:v>
                </c:pt>
                <c:pt idx="91">
                  <c:v>1051.0</c:v>
                </c:pt>
              </c:numCache>
            </c:numRef>
          </c:xVal>
          <c:yVal>
            <c:numRef>
              <c:f>Sheet1!$B$2:$B$93</c:f>
              <c:numCache>
                <c:formatCode>General</c:formatCode>
                <c:ptCount val="92"/>
                <c:pt idx="0">
                  <c:v>0.01652892561983471</c:v>
                </c:pt>
                <c:pt idx="1">
                  <c:v>0.009375</c:v>
                </c:pt>
                <c:pt idx="2">
                  <c:v>0.0056657223796034</c:v>
                </c:pt>
                <c:pt idx="3">
                  <c:v>0.008152173913043478</c:v>
                </c:pt>
                <c:pt idx="4">
                  <c:v>0.00911854103343465</c:v>
                </c:pt>
                <c:pt idx="5">
                  <c:v>0.006802721088435374</c:v>
                </c:pt>
                <c:pt idx="6">
                  <c:v>0.008</c:v>
                </c:pt>
                <c:pt idx="7">
                  <c:v>0.009302325581395349</c:v>
                </c:pt>
                <c:pt idx="8">
                  <c:v>0.011111111111111112</c:v>
                </c:pt>
                <c:pt idx="9">
                  <c:v>0.014084507042253521</c:v>
                </c:pt>
                <c:pt idx="10">
                  <c:v>0.013513513513513514</c:v>
                </c:pt>
                <c:pt idx="11">
                  <c:v>0.028409090909090908</c:v>
                </c:pt>
                <c:pt idx="12">
                  <c:v>0.02962962962962963</c:v>
                </c:pt>
                <c:pt idx="13">
                  <c:v>0.02564102564102564</c:v>
                </c:pt>
                <c:pt idx="14">
                  <c:v>0.0297029702970297</c:v>
                </c:pt>
                <c:pt idx="15">
                  <c:v>0.025</c:v>
                </c:pt>
                <c:pt idx="16">
                  <c:v>0.009174311926605505</c:v>
                </c:pt>
                <c:pt idx="17">
                  <c:v>0.02158273381294964</c:v>
                </c:pt>
                <c:pt idx="18">
                  <c:v>0.03418803418803419</c:v>
                </c:pt>
                <c:pt idx="19">
                  <c:v>0.0273972602739726</c:v>
                </c:pt>
                <c:pt idx="20">
                  <c:v>0.012903225806451613</c:v>
                </c:pt>
                <c:pt idx="21">
                  <c:v>0.046296296296296294</c:v>
                </c:pt>
                <c:pt idx="22">
                  <c:v>0.017857142857142856</c:v>
                </c:pt>
                <c:pt idx="23">
                  <c:v>0.03361344537815126</c:v>
                </c:pt>
                <c:pt idx="24">
                  <c:v>0.043478260869565216</c:v>
                </c:pt>
                <c:pt idx="25">
                  <c:v>0.024691358024691357</c:v>
                </c:pt>
                <c:pt idx="26">
                  <c:v>0.049019607843137254</c:v>
                </c:pt>
                <c:pt idx="27">
                  <c:v>0.0440251572327044</c:v>
                </c:pt>
                <c:pt idx="28">
                  <c:v>0.07518796992481203</c:v>
                </c:pt>
                <c:pt idx="29">
                  <c:v>0.03968253968253968</c:v>
                </c:pt>
                <c:pt idx="30">
                  <c:v>0.03816793893129771</c:v>
                </c:pt>
                <c:pt idx="31">
                  <c:v>0.04666666666666667</c:v>
                </c:pt>
                <c:pt idx="32">
                  <c:v>0.051094890510948905</c:v>
                </c:pt>
                <c:pt idx="33">
                  <c:v>0.0425531914893617</c:v>
                </c:pt>
                <c:pt idx="34">
                  <c:v>0.05056179775280899</c:v>
                </c:pt>
                <c:pt idx="35">
                  <c:v>0.026905829596412557</c:v>
                </c:pt>
                <c:pt idx="36">
                  <c:v>0.01984126984126984</c:v>
                </c:pt>
                <c:pt idx="37">
                  <c:v>0.021505376344086023</c:v>
                </c:pt>
                <c:pt idx="38">
                  <c:v>0.011363636363636364</c:v>
                </c:pt>
                <c:pt idx="39">
                  <c:v>0.009876543209876543</c:v>
                </c:pt>
                <c:pt idx="40">
                  <c:v>0.012962962962962963</c:v>
                </c:pt>
                <c:pt idx="41">
                  <c:v>0.03514376996805112</c:v>
                </c:pt>
                <c:pt idx="42">
                  <c:v>0.02702702702702703</c:v>
                </c:pt>
                <c:pt idx="43">
                  <c:v>0.02147239263803681</c:v>
                </c:pt>
                <c:pt idx="44">
                  <c:v>0.03007518796992481</c:v>
                </c:pt>
                <c:pt idx="45">
                  <c:v>0.027888446215139442</c:v>
                </c:pt>
                <c:pt idx="46">
                  <c:v>0.013513513513513514</c:v>
                </c:pt>
                <c:pt idx="47">
                  <c:v>0.03389830508474576</c:v>
                </c:pt>
                <c:pt idx="48">
                  <c:v>0.01556420233463035</c:v>
                </c:pt>
                <c:pt idx="49">
                  <c:v>0.013468013468013467</c:v>
                </c:pt>
                <c:pt idx="50">
                  <c:v>0.005</c:v>
                </c:pt>
                <c:pt idx="51">
                  <c:v>0.004545454545454545</c:v>
                </c:pt>
                <c:pt idx="52">
                  <c:v>0.009779951100244499</c:v>
                </c:pt>
                <c:pt idx="53">
                  <c:v>0.007853403141361256</c:v>
                </c:pt>
                <c:pt idx="54">
                  <c:v>0.0069605568445475635</c:v>
                </c:pt>
                <c:pt idx="55">
                  <c:v>0.0044742729306487695</c:v>
                </c:pt>
                <c:pt idx="56">
                  <c:v>0.012626262626262626</c:v>
                </c:pt>
                <c:pt idx="57">
                  <c:v>0.0028735632183908046</c:v>
                </c:pt>
                <c:pt idx="58">
                  <c:v>0.006430868167202572</c:v>
                </c:pt>
                <c:pt idx="59">
                  <c:v>0.003937007874015748</c:v>
                </c:pt>
                <c:pt idx="60">
                  <c:v>0.005319148936170213</c:v>
                </c:pt>
                <c:pt idx="61">
                  <c:v>0.005076142131979695</c:v>
                </c:pt>
                <c:pt idx="62">
                  <c:v>0.009345794392523364</c:v>
                </c:pt>
                <c:pt idx="63">
                  <c:v>0.004329004329004329</c:v>
                </c:pt>
                <c:pt idx="64">
                  <c:v>0.01015228426395939</c:v>
                </c:pt>
                <c:pt idx="65">
                  <c:v>0.0048543689320388345</c:v>
                </c:pt>
                <c:pt idx="66">
                  <c:v>0.0125</c:v>
                </c:pt>
                <c:pt idx="67">
                  <c:v>0.0064516129032258064</c:v>
                </c:pt>
                <c:pt idx="68">
                  <c:v>0.01282051282051282</c:v>
                </c:pt>
                <c:pt idx="69">
                  <c:v>0.008</c:v>
                </c:pt>
                <c:pt idx="70">
                  <c:v>0.008264462809917356</c:v>
                </c:pt>
                <c:pt idx="71">
                  <c:v>0.006535947712418301</c:v>
                </c:pt>
                <c:pt idx="72">
                  <c:v>0.00819672131147541</c:v>
                </c:pt>
                <c:pt idx="73">
                  <c:v>0.010869565217391304</c:v>
                </c:pt>
                <c:pt idx="74">
                  <c:v>0.008849557522123894</c:v>
                </c:pt>
                <c:pt idx="75">
                  <c:v>0.00966183574879227</c:v>
                </c:pt>
                <c:pt idx="76">
                  <c:v>0.007194244604316547</c:v>
                </c:pt>
                <c:pt idx="77">
                  <c:v>0.017094017094017096</c:v>
                </c:pt>
                <c:pt idx="78">
                  <c:v>0.017543859649122806</c:v>
                </c:pt>
                <c:pt idx="79">
                  <c:v>0.007633587786259542</c:v>
                </c:pt>
                <c:pt idx="80">
                  <c:v>0.006369426751592357</c:v>
                </c:pt>
                <c:pt idx="81">
                  <c:v>0.0058823529411764705</c:v>
                </c:pt>
                <c:pt idx="82">
                  <c:v>0.007936507936507936</c:v>
                </c:pt>
                <c:pt idx="83">
                  <c:v>0.0051813471502590676</c:v>
                </c:pt>
                <c:pt idx="84">
                  <c:v>0.004484304932735426</c:v>
                </c:pt>
                <c:pt idx="85">
                  <c:v>0.00749063670411985</c:v>
                </c:pt>
                <c:pt idx="86">
                  <c:v>0.0031446540880503146</c:v>
                </c:pt>
                <c:pt idx="87">
                  <c:v>0.0023752969121140144</c:v>
                </c:pt>
                <c:pt idx="88">
                  <c:v>0.0036900369003690036</c:v>
                </c:pt>
                <c:pt idx="89">
                  <c:v>0.0031446540880503146</c:v>
                </c:pt>
                <c:pt idx="90">
                  <c:v>0.002777777777777778</c:v>
                </c:pt>
                <c:pt idx="91">
                  <c:v>0.003367003367003367</c:v>
                </c:pt>
              </c:numCache>
            </c:numRef>
          </c:yVal>
          <c:smooth val="0"/>
          <c:extLst>
            <c:ext xmlns:c16="http://schemas.microsoft.com/office/drawing/2014/chart" uri="{C3380CC4-5D6E-409C-BE32-E72D297353CC}">
              <c16:uniqueId val="{00000000-F32D-48B7-BC20-E66FC6253BAD}"/>
            </c:ext>
          </c:extLst>
        </c:ser>
        <c:ser>
          <c:idx val="1"/>
          <c:order val="1"/>
          <c:tx>
            <c:strRef>
              <c:f>Sheet1!$B$9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6:$A$129</c:f>
              <c:numCache>
                <c:formatCode>General</c:formatCode>
                <c:ptCount val="34"/>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numCache>
            </c:numRef>
          </c:xVal>
          <c:yVal>
            <c:numRef>
              <c:f>Sheet1!$B$96:$B$129</c:f>
              <c:numCache>
                <c:formatCode>General</c:formatCode>
                <c:ptCount val="34"/>
                <c:pt idx="0">
                  <c:v>0.0</c:v>
                </c:pt>
                <c:pt idx="1">
                  <c:v>0.0</c:v>
                </c:pt>
                <c:pt idx="2">
                  <c:v>0.0</c:v>
                </c:pt>
                <c:pt idx="3">
                  <c:v>0.0036496350364963502</c:v>
                </c:pt>
                <c:pt idx="4">
                  <c:v>0.0033444816053511705</c:v>
                </c:pt>
                <c:pt idx="5">
                  <c:v>0.0031645569620253164</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04405286343612335</c:v>
                </c:pt>
                <c:pt idx="23">
                  <c:v>0.0</c:v>
                </c:pt>
                <c:pt idx="24">
                  <c:v>0.009523809523809525</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F32D-48B7-BC20-E66FC6253BAD}"/>
            </c:ext>
          </c:extLst>
        </c:ser>
        <c:ser>
          <c:idx val="2"/>
          <c:order val="2"/>
          <c:tx>
            <c:strRef>
              <c:f>Sheet1!$B$131</c:f>
              <c:strCache>
                <c:ptCount val="1"/>
                <c:pt idx="0">
                  <c:v>Custom Linep3yQ</c:v>
                </c:pt>
              </c:strCache>
            </c:strRef>
          </c:tx>
          <c:spPr>
            <a:ln w="19050" cap="rnd">
              <a:solidFill>
                <a:srgbClr val="C00000"/>
              </a:solidFill>
              <a:prstDash val="sysDot"/>
              <a:round/>
            </a:ln>
            <a:effectLst/>
          </c:spPr>
          <c:marker>
            <c:symbol val="none"/>
          </c:marker>
          <c:xVal>
            <c:numRef>
              <c:f>Sheet1!$A$132:$A$133</c:f>
              <c:numCache>
                <c:formatCode>General</c:formatCode>
                <c:ptCount val="2"/>
                <c:pt idx="0">
                  <c:v>0</c:v>
                </c:pt>
                <c:pt idx="1">
                  <c:v>13471.414118555178</c:v>
                </c:pt>
              </c:numCache>
            </c:numRef>
          </c:xVal>
          <c:yVal>
            <c:numRef>
              <c:f>Sheet1!$B$132:$B$133</c:f>
              <c:numCache>
                <c:formatCode>General</c:formatCode>
                <c:ptCount val="2"/>
                <c:pt idx="0">
                  <c:v>0.03973660555228324</c:v>
                </c:pt>
                <c:pt idx="1">
                  <c:v>0.03973660555228324</c:v>
                </c:pt>
              </c:numCache>
            </c:numRef>
          </c:yVal>
          <c:smooth val="0"/>
          <c:extLst>
            <c:ext xmlns:c16="http://schemas.microsoft.com/office/drawing/2014/chart" uri="{C3380CC4-5D6E-409C-BE32-E72D297353CC}">
              <c16:uniqueId val="{00000003-F32D-48B7-BC20-E66FC6253BAD}"/>
            </c:ext>
          </c:extLst>
        </c:ser>
        <c:ser>
          <c:idx val="3"/>
          <c:order val="3"/>
          <c:tx>
            <c:strRef>
              <c:f>Sheet1!$B$13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6:$A$137</c:f>
              <c:numCache>
                <c:formatCode>General</c:formatCode>
                <c:ptCount val="2"/>
                <c:pt idx="0">
                  <c:v>13471.414118555178</c:v>
                </c:pt>
                <c:pt idx="1">
                  <c:v>13471.414118555178</c:v>
                </c:pt>
              </c:numCache>
            </c:numRef>
          </c:xVal>
          <c:yVal>
            <c:numRef>
              <c:f>Sheet1!$B$136:$B$137</c:f>
              <c:numCache>
                <c:formatCode>General</c:formatCode>
                <c:ptCount val="2"/>
                <c:pt idx="0">
                  <c:v>0.0397366055522832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0:$A$141</c:f>
              <c:numCache>
                <c:formatCode>General</c:formatCode>
                <c:ptCount val="2"/>
                <c:pt idx="0">
                  <c:v>0</c:v>
                </c:pt>
                <c:pt idx="1">
                  <c:v>566.6504473075377</c:v>
                </c:pt>
              </c:numCache>
            </c:numRef>
          </c:xVal>
          <c:yVal>
            <c:numRef>
              <c:f>Sheet1!$B$140:$B$141</c:f>
              <c:numCache>
                <c:formatCode>General</c:formatCode>
                <c:ptCount val="2"/>
                <c:pt idx="0">
                  <c:v>0.0016931122673121395</c:v>
                </c:pt>
                <c:pt idx="1">
                  <c:v>0.0016931122673121395</c:v>
                </c:pt>
              </c:numCache>
            </c:numRef>
          </c:yVal>
          <c:smooth val="0"/>
          <c:extLst>
            <c:ext xmlns:c16="http://schemas.microsoft.com/office/drawing/2014/chart" uri="{C3380CC4-5D6E-409C-BE32-E72D297353CC}">
              <c16:uniqueId val="{0000000A-F32D-48B7-BC20-E66FC6253BAD}"/>
            </c:ext>
          </c:extLst>
        </c:ser>
        <c:ser>
          <c:idx val="5"/>
          <c:order val="5"/>
          <c:tx>
            <c:strRef>
              <c:f>Sheet1!$B$14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4:$A$145</c:f>
              <c:numCache>
                <c:formatCode>General</c:formatCode>
                <c:ptCount val="2"/>
                <c:pt idx="0">
                  <c:v>566.6504473075377</c:v>
                </c:pt>
                <c:pt idx="1">
                  <c:v>566.6504473075377</c:v>
                </c:pt>
              </c:numCache>
            </c:numRef>
          </c:xVal>
          <c:yVal>
            <c:numRef>
              <c:f>Sheet1!$B$144:$B$145</c:f>
              <c:numCache>
                <c:formatCode>General</c:formatCode>
                <c:ptCount val="2"/>
                <c:pt idx="0">
                  <c:v>0.00169311226731213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4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48:$A$149</c:f>
              <c:numCache>
                <c:formatCode>General</c:formatCode>
                <c:ptCount val="2"/>
                <c:pt idx="0">
                  <c:v>0</c:v>
                </c:pt>
                <c:pt idx="1">
                  <c:v>-7.6715140036453136</c:v>
                </c:pt>
              </c:numCache>
            </c:numRef>
          </c:xVal>
          <c:yVal>
            <c:numRef>
              <c:f>Sheet1!$B$148:$B$149</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5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2:$A$153</c:f>
              <c:numCache>
                <c:formatCode>General</c:formatCode>
                <c:ptCount val="2"/>
                <c:pt idx="0">
                  <c:v>-7.6715140036453136</c:v>
                </c:pt>
                <c:pt idx="1">
                  <c:v>-7.6715140036453136</c:v>
                </c:pt>
              </c:numCache>
            </c:numRef>
          </c:xVal>
          <c:yVal>
            <c:numRef>
              <c:f>Sheet1!$B$152:$B$153</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5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56:$A$192</c:f>
              <c:numCache>
                <c:formatCode>General</c:formatCode>
                <c:ptCount val="37"/>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pt idx="34">
                  <c:v>566.6504473075377</c:v>
                </c:pt>
                <c:pt idx="35">
                  <c:v>13471.414118555178</c:v>
                </c:pt>
                <c:pt idx="36">
                  <c:v>-7.6715140036453136</c:v>
                </c:pt>
              </c:numCache>
            </c:numRef>
          </c:xVal>
          <c:yVal>
            <c:numRef>
              <c:f>Sheet1!$B$156:$B$192</c:f>
              <c:numCache>
                <c:formatCode>General</c:formatCode>
                <c:ptCount val="37"/>
                <c:pt idx="0">
                  <c:v>2.261577188999587e-05</c:v>
                </c:pt>
                <c:pt idx="1">
                  <c:v>2.261577188999587e-05</c:v>
                </c:pt>
                <c:pt idx="2">
                  <c:v>2.261577188999587e-05</c:v>
                </c:pt>
                <c:pt idx="3">
                  <c:v>0.0031209841311331827</c:v>
                </c:pt>
                <c:pt idx="4">
                  <c:v>0.0030561277049644384</c:v>
                </c:pt>
                <c:pt idx="5">
                  <c:v>0.005010664548140682</c:v>
                </c:pt>
                <c:pt idx="6">
                  <c:v>2.261577188999587e-05</c:v>
                </c:pt>
                <c:pt idx="7">
                  <c:v>2.261577188999587e-05</c:v>
                </c:pt>
                <c:pt idx="8">
                  <c:v>2.261577188999587e-05</c:v>
                </c:pt>
                <c:pt idx="9">
                  <c:v>2.261577188999587e-05</c:v>
                </c:pt>
                <c:pt idx="10">
                  <c:v>2.261577188999587e-05</c:v>
                </c:pt>
                <c:pt idx="11">
                  <c:v>2.261577188999587e-05</c:v>
                </c:pt>
                <c:pt idx="12">
                  <c:v>2.261577188999587e-05</c:v>
                </c:pt>
                <c:pt idx="13">
                  <c:v>2.261577188999587e-05</c:v>
                </c:pt>
                <c:pt idx="14">
                  <c:v>2.261577188999587e-05</c:v>
                </c:pt>
                <c:pt idx="15">
                  <c:v>2.261577188999587e-05</c:v>
                </c:pt>
                <c:pt idx="16">
                  <c:v>2.261577188999587e-05</c:v>
                </c:pt>
                <c:pt idx="17">
                  <c:v>2.261577188999587e-05</c:v>
                </c:pt>
                <c:pt idx="18">
                  <c:v>2.261577188999587e-05</c:v>
                </c:pt>
                <c:pt idx="19">
                  <c:v>2.261577188999587e-05</c:v>
                </c:pt>
                <c:pt idx="20">
                  <c:v>2.261577188999587e-05</c:v>
                </c:pt>
                <c:pt idx="21">
                  <c:v>2.261577188999587e-05</c:v>
                </c:pt>
                <c:pt idx="22">
                  <c:v>0.006693983609156723</c:v>
                </c:pt>
                <c:pt idx="23">
                  <c:v>2.261577188999587e-05</c:v>
                </c:pt>
                <c:pt idx="24">
                  <c:v>0.005550152093089782</c:v>
                </c:pt>
                <c:pt idx="25">
                  <c:v>2.261577188999587e-05</c:v>
                </c:pt>
                <c:pt idx="26">
                  <c:v>2.261577188999587e-05</c:v>
                </c:pt>
                <c:pt idx="27">
                  <c:v>2.261577188999587e-05</c:v>
                </c:pt>
                <c:pt idx="28">
                  <c:v>2.261577188999587e-05</c:v>
                </c:pt>
                <c:pt idx="29">
                  <c:v>2.261577188999587e-05</c:v>
                </c:pt>
                <c:pt idx="30">
                  <c:v>2.261577188999587e-05</c:v>
                </c:pt>
                <c:pt idx="31">
                  <c:v>2.261577188999587e-05</c:v>
                </c:pt>
                <c:pt idx="32">
                  <c:v>2.261577188999587e-05</c:v>
                </c:pt>
                <c:pt idx="33">
                  <c:v>2.261577188999587e-05</c:v>
                </c:pt>
                <c:pt idx="34">
                  <c:v>0.0016931122673121397</c:v>
                </c:pt>
                <c:pt idx="35">
                  <c:v>0.03973660555228324</c:v>
                </c:pt>
                <c:pt idx="36">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16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9022556390977443"/>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7344534914595353</c:v>
                </c:pt>
                <c:pt idx="1">
                  <c:v>0.07895850980261103</c:v>
                </c:pt>
                <c:pt idx="2">
                  <c:v>0.07842193694260559</c:v>
                </c:pt>
                <c:pt idx="3">
                  <c:v>0.07904705830725985</c:v>
                </c:pt>
                <c:pt idx="4">
                  <c:v>0.07511488824198391</c:v>
                </c:pt>
                <c:pt idx="5">
                  <c:v>0.07288268808502925</c:v>
                </c:pt>
                <c:pt idx="6">
                  <c:v>0.07067434660801686</c:v>
                </c:pt>
                <c:pt idx="7">
                  <c:v>0.06876260849911595</c:v>
                </c:pt>
                <c:pt idx="8">
                  <c:v>0.06953342277377159</c:v>
                </c:pt>
                <c:pt idx="9">
                  <c:v>0.06734314634399875</c:v>
                </c:pt>
                <c:pt idx="10">
                  <c:v>0.0623873696395475</c:v>
                </c:pt>
                <c:pt idx="11">
                  <c:v>0.06236648720304336</c:v>
                </c:pt>
                <c:pt idx="12">
                  <c:v>0.06638938136497004</c:v>
                </c:pt>
                <c:pt idx="13">
                  <c:v>0.06156412105161763</c:v>
                </c:pt>
                <c:pt idx="14">
                  <c:v>0.07455509885046097</c:v>
                </c:pt>
                <c:pt idx="15">
                  <c:v>0.07555808039215849</c:v>
                </c:pt>
                <c:pt idx="16">
                  <c:v>0.07856830191300894</c:v>
                </c:pt>
                <c:pt idx="17">
                  <c:v>0.08349178410642676</c:v>
                </c:pt>
                <c:pt idx="18">
                  <c:v>0.08236107721187487</c:v>
                </c:pt>
                <c:pt idx="19">
                  <c:v>0.08338721925475588</c:v>
                </c:pt>
                <c:pt idx="20">
                  <c:v>0.08631225509396408</c:v>
                </c:pt>
                <c:pt idx="21">
                  <c:v>0.08589678009483033</c:v>
                </c:pt>
                <c:pt idx="22">
                  <c:v>0.08436266424483752</c:v>
                </c:pt>
                <c:pt idx="23">
                  <c:v>0.08392510799510741</c:v>
                </c:pt>
                <c:pt idx="24">
                  <c:v>0.08293593846978876</c:v>
                </c:pt>
                <c:pt idx="25">
                  <c:v>0.0841986566794752</c:v>
                </c:pt>
                <c:pt idx="26">
                  <c:v>0.08155685214485123</c:v>
                </c:pt>
                <c:pt idx="27">
                  <c:v>0.08194696913352625</c:v>
                </c:pt>
                <c:pt idx="28">
                  <c:v>0.08114793589282267</c:v>
                </c:pt>
                <c:pt idx="29">
                  <c:v>0.0856685573257607</c:v>
                </c:pt>
                <c:pt idx="30">
                  <c:v>0.08396795759721584</c:v>
                </c:pt>
                <c:pt idx="31">
                  <c:v>0.08400995569083802</c:v>
                </c:pt>
                <c:pt idx="32">
                  <c:v>0.08471035542868519</c:v>
                </c:pt>
                <c:pt idx="33">
                  <c:v>0.08772002355341911</c:v>
                </c:pt>
                <c:pt idx="34">
                  <c:v>0.08717899434940589</c:v>
                </c:pt>
                <c:pt idx="35">
                  <c:v>0.08744213062025823</c:v>
                </c:pt>
                <c:pt idx="36">
                  <c:v>0.08714077880277794</c:v>
                </c:pt>
                <c:pt idx="37">
                  <c:v>0.08894868974632746</c:v>
                </c:pt>
                <c:pt idx="38">
                  <c:v>0.08889402834381745</c:v>
                </c:pt>
                <c:pt idx="39">
                  <c:v>0.09450052639126548</c:v>
                </c:pt>
                <c:pt idx="40">
                  <c:v>0.0999543968948754</c:v>
                </c:pt>
                <c:pt idx="41">
                  <c:v>0.09981698637645539</c:v>
                </c:pt>
                <c:pt idx="42">
                  <c:v>0.0997572186739473</c:v>
                </c:pt>
                <c:pt idx="43">
                  <c:v>0.0985735920478362</c:v>
                </c:pt>
                <c:pt idx="44">
                  <c:v>0.09985058585073792</c:v>
                </c:pt>
                <c:pt idx="45">
                  <c:v>0.09981514679853673</c:v>
                </c:pt>
                <c:pt idx="46">
                  <c:v>0.09722828026954525</c:v>
                </c:pt>
                <c:pt idx="47">
                  <c:v>0.09602141175211411</c:v>
                </c:pt>
                <c:pt idx="48">
                  <c:v>0.09064430563127865</c:v>
                </c:pt>
                <c:pt idx="49">
                  <c:v>0.08304165489269169</c:v>
                </c:pt>
                <c:pt idx="50">
                  <c:v>0.08881069646823923</c:v>
                </c:pt>
                <c:pt idx="51">
                  <c:v>0.08718359131197757</c:v>
                </c:pt>
                <c:pt idx="52">
                  <c:v>0.0874078545230432</c:v>
                </c:pt>
                <c:pt idx="53">
                  <c:v>0.1006545492689584</c:v>
                </c:pt>
                <c:pt idx="54">
                  <c:v>0.10023292906897865</c:v>
                </c:pt>
                <c:pt idx="55">
                  <c:v>0.10206984983203207</c:v>
                </c:pt>
                <c:pt idx="56">
                  <c:v>0.10072354468032042</c:v>
                </c:pt>
                <c:pt idx="57">
                  <c:v>0.09882648838051382</c:v>
                </c:pt>
                <c:pt idx="58">
                  <c:v>0.09759513222346504</c:v>
                </c:pt>
                <c:pt idx="59">
                  <c:v>0.09866823092104558</c:v>
                </c:pt>
                <c:pt idx="60">
                  <c:v>0.10000396639050031</c:v>
                </c:pt>
                <c:pt idx="61">
                  <c:v>0.09557125023684111</c:v>
                </c:pt>
                <c:pt idx="62">
                  <c:v>0.08764026314318138</c:v>
                </c:pt>
                <c:pt idx="63">
                  <c:v>0.088971865989694</c:v>
                </c:pt>
                <c:pt idx="64">
                  <c:v>0.09091776802593296</c:v>
                </c:pt>
                <c:pt idx="65">
                  <c:v>0.08779793469793673</c:v>
                </c:pt>
                <c:pt idx="66">
                  <c:v>0.09494656634005363</c:v>
                </c:pt>
                <c:pt idx="67">
                  <c:v>0.09691857192941856</c:v>
                </c:pt>
                <c:pt idx="68">
                  <c:v>0.096421926572741</c:v>
                </c:pt>
                <c:pt idx="69">
                  <c:v>0.10156118856594346</c:v>
                </c:pt>
                <c:pt idx="70">
                  <c:v>0.10093269042606604</c:v>
                </c:pt>
                <c:pt idx="71">
                  <c:v>0.10176918301382526</c:v>
                </c:pt>
                <c:pt idx="72">
                  <c:v>0.1005530293893448</c:v>
                </c:pt>
                <c:pt idx="73">
                  <c:v>0.10090214866194704</c:v>
                </c:pt>
                <c:pt idx="74">
                  <c:v>0.10023907744467993</c:v>
                </c:pt>
                <c:pt idx="75">
                  <c:v>0.09814200339323496</c:v>
                </c:pt>
                <c:pt idx="76">
                  <c:v>0.09302879945806325</c:v>
                </c:pt>
                <c:pt idx="77">
                  <c:v>0.09154596368770075</c:v>
                </c:pt>
                <c:pt idx="78">
                  <c:v>0.0928675150367314</c:v>
                </c:pt>
                <c:pt idx="79">
                  <c:v>0.09039231645102815</c:v>
                </c:pt>
                <c:pt idx="80">
                  <c:v>0.09342033581408205</c:v>
                </c:pt>
                <c:pt idx="81">
                  <c:v>0.10265991540567307</c:v>
                </c:pt>
                <c:pt idx="82">
                  <c:v>0.10160340403989318</c:v>
                </c:pt>
                <c:pt idx="83">
                  <c:v>0.09903440985463836</c:v>
                </c:pt>
                <c:pt idx="84">
                  <c:v>0.10398678387081006</c:v>
                </c:pt>
                <c:pt idx="85">
                  <c:v>0.1042560180718126</c:v>
                </c:pt>
                <c:pt idx="86">
                  <c:v>0.10657904386811992</c:v>
                </c:pt>
                <c:pt idx="87">
                  <c:v>0.10559977367627749</c:v>
                </c:pt>
                <c:pt idx="88">
                  <c:v>0.10462352913894146</c:v>
                </c:pt>
                <c:pt idx="89">
                  <c:v>0.10620016979822945</c:v>
                </c:pt>
                <c:pt idx="90">
                  <c:v>0.10622650505768909</c:v>
                </c:pt>
                <c:pt idx="91">
                  <c:v>0.10782053975308659</c:v>
                </c:pt>
                <c:pt idx="92">
                  <c:v>0.10349498613325539</c:v>
                </c:pt>
                <c:pt idx="93">
                  <c:v>0.1027946669363231</c:v>
                </c:pt>
                <c:pt idx="94">
                  <c:v>0.10019636444992867</c:v>
                </c:pt>
                <c:pt idx="95">
                  <c:v>0.1002492619665455</c:v>
                </c:pt>
                <c:pt idx="96">
                  <c:v>0.09422857372535623</c:v>
                </c:pt>
                <c:pt idx="97">
                  <c:v>0.09638925281072862</c:v>
                </c:pt>
                <c:pt idx="98">
                  <c:v>0.09356275435716645</c:v>
                </c:pt>
                <c:pt idx="99">
                  <c:v>0.09218579349895817</c:v>
                </c:pt>
                <c:pt idx="100">
                  <c:v>0.08924316739868797</c:v>
                </c:pt>
                <c:pt idx="101">
                  <c:v>0.09841203180783022</c:v>
                </c:pt>
                <c:pt idx="102">
                  <c:v>0.09731530015391314</c:v>
                </c:pt>
                <c:pt idx="103">
                  <c:v>0.09225153211319008</c:v>
                </c:pt>
                <c:pt idx="104">
                  <c:v>0.09223913792677846</c:v>
                </c:pt>
              </c:numCache>
            </c:numRef>
          </c:xVal>
          <c:yVal>
            <c:numRef>
              <c:f>Sheet1!$B$2:$B$106</c:f>
              <c:numCache>
                <c:formatCode>General</c:formatCode>
                <c:ptCount val="105"/>
                <c:pt idx="0">
                  <c:v>0.13427074717397297</c:v>
                </c:pt>
                <c:pt idx="1">
                  <c:v>0.1202069385270846</c:v>
                </c:pt>
                <c:pt idx="2">
                  <c:v>0.12754107490949596</c:v>
                </c:pt>
                <c:pt idx="3">
                  <c:v>0.12725684333139195</c:v>
                </c:pt>
                <c:pt idx="4">
                  <c:v>0.1633227736712425</c:v>
                </c:pt>
                <c:pt idx="5">
                  <c:v>0.20968303726924417</c:v>
                </c:pt>
                <c:pt idx="6">
                  <c:v>0.2364175172867962</c:v>
                </c:pt>
                <c:pt idx="7">
                  <c:v>0.22059871703492517</c:v>
                </c:pt>
                <c:pt idx="8">
                  <c:v>0.24217961654894046</c:v>
                </c:pt>
                <c:pt idx="9">
                  <c:v>0.2414469994391475</c:v>
                </c:pt>
                <c:pt idx="10">
                  <c:v>0.23595505617977527</c:v>
                </c:pt>
                <c:pt idx="11">
                  <c:v>0.23183962264150942</c:v>
                </c:pt>
                <c:pt idx="12">
                  <c:v>0.20474967907573813</c:v>
                </c:pt>
                <c:pt idx="13">
                  <c:v>0.1973006134969325</c:v>
                </c:pt>
                <c:pt idx="14">
                  <c:v>0.1620933521923621</c:v>
                </c:pt>
                <c:pt idx="15">
                  <c:v>0.13411458333333334</c:v>
                </c:pt>
                <c:pt idx="16">
                  <c:v>0.11000369139904023</c:v>
                </c:pt>
                <c:pt idx="17">
                  <c:v>0.09394837071519255</c:v>
                </c:pt>
                <c:pt idx="18">
                  <c:v>0.08697611536728256</c:v>
                </c:pt>
                <c:pt idx="19">
                  <c:v>0.07957957957957958</c:v>
                </c:pt>
                <c:pt idx="20">
                  <c:v>0.09942554131683606</c:v>
                </c:pt>
                <c:pt idx="21">
                  <c:v>0.0910843373493976</c:v>
                </c:pt>
                <c:pt idx="22">
                  <c:v>0.07091469681397738</c:v>
                </c:pt>
                <c:pt idx="23">
                  <c:v>0.08893380495199596</c:v>
                </c:pt>
                <c:pt idx="24">
                  <c:v>0.09251101321585903</c:v>
                </c:pt>
                <c:pt idx="25">
                  <c:v>0.08225556130367305</c:v>
                </c:pt>
                <c:pt idx="26">
                  <c:v>0.09800443458980045</c:v>
                </c:pt>
                <c:pt idx="27">
                  <c:v>0.11557788944723618</c:v>
                </c:pt>
                <c:pt idx="28">
                  <c:v>0.11515151515151516</c:v>
                </c:pt>
                <c:pt idx="29">
                  <c:v>0.11750503018108652</c:v>
                </c:pt>
                <c:pt idx="30">
                  <c:v>0.12556962025316457</c:v>
                </c:pt>
                <c:pt idx="31">
                  <c:v>0.11542443064182195</c:v>
                </c:pt>
                <c:pt idx="32">
                  <c:v>0.12888436067244013</c:v>
                </c:pt>
                <c:pt idx="33">
                  <c:v>0.11785400175901495</c:v>
                </c:pt>
                <c:pt idx="34">
                  <c:v>0.12234494477485132</c:v>
                </c:pt>
                <c:pt idx="35">
                  <c:v>0.16348577601728484</c:v>
                </c:pt>
                <c:pt idx="36">
                  <c:v>0.13529631010063362</c:v>
                </c:pt>
                <c:pt idx="37">
                  <c:v>0.12146277753591642</c:v>
                </c:pt>
                <c:pt idx="38">
                  <c:v>0.11839323467230443</c:v>
                </c:pt>
                <c:pt idx="39">
                  <c:v>0.11349546971864569</c:v>
                </c:pt>
                <c:pt idx="40">
                  <c:v>0.11539992041384799</c:v>
                </c:pt>
                <c:pt idx="41">
                  <c:v>0.10976138828633406</c:v>
                </c:pt>
                <c:pt idx="42">
                  <c:v>0.11896046852122986</c:v>
                </c:pt>
                <c:pt idx="43">
                  <c:v>0.12146422628951747</c:v>
                </c:pt>
                <c:pt idx="44">
                  <c:v>0.11178168459721857</c:v>
                </c:pt>
                <c:pt idx="45">
                  <c:v>0.11015881018401814</c:v>
                </c:pt>
                <c:pt idx="46">
                  <c:v>0.11380084851509857</c:v>
                </c:pt>
                <c:pt idx="47">
                  <c:v>0.1018041237113402</c:v>
                </c:pt>
                <c:pt idx="48">
                  <c:v>0.10218978102189781</c:v>
                </c:pt>
                <c:pt idx="49">
                  <c:v>0.1284156353388065</c:v>
                </c:pt>
                <c:pt idx="50">
                  <c:v>0.11115561786501102</c:v>
                </c:pt>
                <c:pt idx="51">
                  <c:v>0.11254162042175361</c:v>
                </c:pt>
                <c:pt idx="52">
                  <c:v>0.10813472523143589</c:v>
                </c:pt>
                <c:pt idx="53">
                  <c:v>0.09897435897435898</c:v>
                </c:pt>
                <c:pt idx="54">
                  <c:v>0.09769959404600811</c:v>
                </c:pt>
                <c:pt idx="55">
                  <c:v>0.09923447689254324</c:v>
                </c:pt>
                <c:pt idx="56">
                  <c:v>0.11205247335337525</c:v>
                </c:pt>
                <c:pt idx="57">
                  <c:v>0.10125030644765874</c:v>
                </c:pt>
                <c:pt idx="58">
                  <c:v>0.10614262179336315</c:v>
                </c:pt>
                <c:pt idx="59">
                  <c:v>0.09303058971933144</c:v>
                </c:pt>
                <c:pt idx="60">
                  <c:v>0.09547985587946282</c:v>
                </c:pt>
                <c:pt idx="61">
                  <c:v>0.09913606911447084</c:v>
                </c:pt>
                <c:pt idx="62">
                  <c:v>0.10485525416001823</c:v>
                </c:pt>
                <c:pt idx="63">
                  <c:v>0.10827296988181472</c:v>
                </c:pt>
                <c:pt idx="64">
                  <c:v>0.10044642857142858</c:v>
                </c:pt>
                <c:pt idx="65">
                  <c:v>0.10498581272800973</c:v>
                </c:pt>
                <c:pt idx="66">
                  <c:v>0.09874973511337147</c:v>
                </c:pt>
                <c:pt idx="67">
                  <c:v>0.09221713538260301</c:v>
                </c:pt>
                <c:pt idx="68">
                  <c:v>0.08138711960368011</c:v>
                </c:pt>
                <c:pt idx="69">
                  <c:v>0.06966145833333333</c:v>
                </c:pt>
                <c:pt idx="70">
                  <c:v>0.08130081300813008</c:v>
                </c:pt>
                <c:pt idx="71">
                  <c:v>0.07125307125307126</c:v>
                </c:pt>
                <c:pt idx="72">
                  <c:v>0.07948410317936412</c:v>
                </c:pt>
                <c:pt idx="73">
                  <c:v>0.07556368068251067</c:v>
                </c:pt>
                <c:pt idx="74">
                  <c:v>0.07519260400616333</c:v>
                </c:pt>
                <c:pt idx="75">
                  <c:v>0.07231920199501247</c:v>
                </c:pt>
                <c:pt idx="76">
                  <c:v>0.08065112837587865</c:v>
                </c:pt>
                <c:pt idx="77">
                  <c:v>0.0779367469879518</c:v>
                </c:pt>
                <c:pt idx="78">
                  <c:v>0.08711656441717791</c:v>
                </c:pt>
                <c:pt idx="79">
                  <c:v>0.09402423735896365</c:v>
                </c:pt>
                <c:pt idx="80">
                  <c:v>0.09437156157427</c:v>
                </c:pt>
                <c:pt idx="81">
                  <c:v>0.08113522537562605</c:v>
                </c:pt>
                <c:pt idx="82">
                  <c:v>0.07455012853470437</c:v>
                </c:pt>
                <c:pt idx="83">
                  <c:v>0.0644316396018858</c:v>
                </c:pt>
                <c:pt idx="84">
                  <c:v>0.06453305351521511</c:v>
                </c:pt>
                <c:pt idx="85">
                  <c:v>0.06094702297233943</c:v>
                </c:pt>
                <c:pt idx="86">
                  <c:v>0.06619469026548673</c:v>
                </c:pt>
                <c:pt idx="87">
                  <c:v>0.087486554320545</c:v>
                </c:pt>
                <c:pt idx="88">
                  <c:v>0.08738277919863598</c:v>
                </c:pt>
                <c:pt idx="89">
                  <c:v>0.06985769728331177</c:v>
                </c:pt>
                <c:pt idx="90">
                  <c:v>0.06731192256929168</c:v>
                </c:pt>
                <c:pt idx="91">
                  <c:v>0.07609630266552021</c:v>
                </c:pt>
                <c:pt idx="92">
                  <c:v>0.08708272859216255</c:v>
                </c:pt>
                <c:pt idx="93">
                  <c:v>0.08094488188976377</c:v>
                </c:pt>
                <c:pt idx="94">
                  <c:v>0.07567158531971245</c:v>
                </c:pt>
                <c:pt idx="95">
                  <c:v>0.07995331193463671</c:v>
                </c:pt>
                <c:pt idx="96">
                  <c:v>0.09115022908126356</c:v>
                </c:pt>
                <c:pt idx="97">
                  <c:v>0.09120193275619086</c:v>
                </c:pt>
                <c:pt idx="98">
                  <c:v>0.09766763848396501</c:v>
                </c:pt>
                <c:pt idx="99">
                  <c:v>0.1019409282700422</c:v>
                </c:pt>
                <c:pt idx="100">
                  <c:v>0.12390198797965789</c:v>
                </c:pt>
                <c:pt idx="101">
                  <c:v>0.10869565217391304</c:v>
                </c:pt>
                <c:pt idx="102">
                  <c:v>0.10570286959680349</c:v>
                </c:pt>
                <c:pt idx="103">
                  <c:v>0.11062368872782757</c:v>
                </c:pt>
                <c:pt idx="104">
                  <c:v>0.1081309398099260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9594921850514147</c:v>
                </c:pt>
                <c:pt idx="1">
                  <c:v>0.0968092738982528</c:v>
                </c:pt>
                <c:pt idx="2">
                  <c:v>0.09747188706225371</c:v>
                </c:pt>
                <c:pt idx="3">
                  <c:v>0.09661700575434086</c:v>
                </c:pt>
                <c:pt idx="4">
                  <c:v>0.09757178319141041</c:v>
                </c:pt>
                <c:pt idx="5">
                  <c:v>0.09830118422787483</c:v>
                </c:pt>
                <c:pt idx="6">
                  <c:v>0.09708580659126277</c:v>
                </c:pt>
                <c:pt idx="7">
                  <c:v>0.09979546009475669</c:v>
                </c:pt>
                <c:pt idx="8">
                  <c:v>0.10096597407261866</c:v>
                </c:pt>
                <c:pt idx="9">
                  <c:v>0.09164858148690556</c:v>
                </c:pt>
                <c:pt idx="10">
                  <c:v>0.093871197297881</c:v>
                </c:pt>
                <c:pt idx="11">
                  <c:v>0.10105920140936007</c:v>
                </c:pt>
                <c:pt idx="12">
                  <c:v>0.09943541305823073</c:v>
                </c:pt>
                <c:pt idx="13">
                  <c:v>0.09363688717814521</c:v>
                </c:pt>
                <c:pt idx="14">
                  <c:v>0.09911641900404275</c:v>
                </c:pt>
                <c:pt idx="15">
                  <c:v>0.09340710902115247</c:v>
                </c:pt>
                <c:pt idx="16">
                  <c:v>0.09961472317608712</c:v>
                </c:pt>
                <c:pt idx="17">
                  <c:v>0.09992892202139109</c:v>
                </c:pt>
                <c:pt idx="18">
                  <c:v>0.10379752533680654</c:v>
                </c:pt>
                <c:pt idx="19">
                  <c:v>0.10120137413092177</c:v>
                </c:pt>
                <c:pt idx="20">
                  <c:v>0.09697426631357961</c:v>
                </c:pt>
                <c:pt idx="21">
                  <c:v>0.09531894510517619</c:v>
                </c:pt>
                <c:pt idx="22">
                  <c:v>0.0975917159455047</c:v>
                </c:pt>
                <c:pt idx="23">
                  <c:v>0.09625501684390593</c:v>
                </c:pt>
                <c:pt idx="24">
                  <c:v>0.10351898785528617</c:v>
                </c:pt>
                <c:pt idx="25">
                  <c:v>0.10720930825357011</c:v>
                </c:pt>
                <c:pt idx="26">
                  <c:v>0.10561192386043343</c:v>
                </c:pt>
                <c:pt idx="27">
                  <c:v>0.10384007261408149</c:v>
                </c:pt>
                <c:pt idx="28">
                  <c:v>0.10503142464588475</c:v>
                </c:pt>
                <c:pt idx="29">
                  <c:v>0.10329782736277476</c:v>
                </c:pt>
                <c:pt idx="30">
                  <c:v>0.10360740980846217</c:v>
                </c:pt>
                <c:pt idx="31">
                  <c:v>0.10247947811557101</c:v>
                </c:pt>
                <c:pt idx="32">
                  <c:v>0.10317685563574998</c:v>
                </c:pt>
                <c:pt idx="33">
                  <c:v>0.10432011684856189</c:v>
                </c:pt>
                <c:pt idx="34">
                  <c:v>0.10429902808023714</c:v>
                </c:pt>
                <c:pt idx="35">
                  <c:v>0.10376914548939808</c:v>
                </c:pt>
                <c:pt idx="36">
                  <c:v>0.10192722318259453</c:v>
                </c:pt>
                <c:pt idx="37">
                  <c:v>0.10047243257594812</c:v>
                </c:pt>
                <c:pt idx="38">
                  <c:v>0.10191721197993542</c:v>
                </c:pt>
                <c:pt idx="39">
                  <c:v>0.09880918883691987</c:v>
                </c:pt>
                <c:pt idx="40">
                  <c:v>0.0978428754302918</c:v>
                </c:pt>
                <c:pt idx="41">
                  <c:v>0.09765948376136882</c:v>
                </c:pt>
                <c:pt idx="42">
                  <c:v>0.09897940829615208</c:v>
                </c:pt>
                <c:pt idx="43">
                  <c:v>0.09652443792568982</c:v>
                </c:pt>
                <c:pt idx="44">
                  <c:v>0.0954108080998278</c:v>
                </c:pt>
                <c:pt idx="45">
                  <c:v>0.09473531106741805</c:v>
                </c:pt>
                <c:pt idx="46">
                  <c:v>0.09531230895045709</c:v>
                </c:pt>
                <c:pt idx="47">
                  <c:v>0.09467053016655207</c:v>
                </c:pt>
                <c:pt idx="48">
                  <c:v>0.08804119765961671</c:v>
                </c:pt>
                <c:pt idx="49">
                  <c:v>0.08543757273652565</c:v>
                </c:pt>
                <c:pt idx="50">
                  <c:v>0.08468096603569601</c:v>
                </c:pt>
                <c:pt idx="51">
                  <c:v>0.0841309578858854</c:v>
                </c:pt>
              </c:numCache>
            </c:numRef>
          </c:xVal>
          <c:yVal>
            <c:numRef>
              <c:f>Sheet1!$B$109:$B$160</c:f>
              <c:numCache>
                <c:formatCode>General</c:formatCode>
                <c:ptCount val="52"/>
                <c:pt idx="0">
                  <c:v>0.11234796949082664</c:v>
                </c:pt>
                <c:pt idx="1">
                  <c:v>0.10485396091615885</c:v>
                </c:pt>
                <c:pt idx="2">
                  <c:v>0.11253644314868805</c:v>
                </c:pt>
                <c:pt idx="3">
                  <c:v>0.12994034302759136</c:v>
                </c:pt>
                <c:pt idx="4">
                  <c:v>0.12</c:v>
                </c:pt>
                <c:pt idx="5">
                  <c:v>0.11276308167599923</c:v>
                </c:pt>
                <c:pt idx="6">
                  <c:v>0.09708534283916964</c:v>
                </c:pt>
                <c:pt idx="7">
                  <c:v>0.09267059814658804</c:v>
                </c:pt>
                <c:pt idx="8">
                  <c:v>0.08981693363844394</c:v>
                </c:pt>
                <c:pt idx="9">
                  <c:v>0.10577188621927644</c:v>
                </c:pt>
                <c:pt idx="10">
                  <c:v>0.10910031023784902</c:v>
                </c:pt>
                <c:pt idx="11">
                  <c:v>0.10275470048097946</c:v>
                </c:pt>
                <c:pt idx="12">
                  <c:v>0.10693381359747861</c:v>
                </c:pt>
                <c:pt idx="13">
                  <c:v>0.10628342245989304</c:v>
                </c:pt>
                <c:pt idx="14">
                  <c:v>0.09347181008902077</c:v>
                </c:pt>
                <c:pt idx="15">
                  <c:v>0.10380710659898477</c:v>
                </c:pt>
                <c:pt idx="16">
                  <c:v>0.0874555889587319</c:v>
                </c:pt>
                <c:pt idx="17">
                  <c:v>0.08243929983060418</c:v>
                </c:pt>
                <c:pt idx="18">
                  <c:v>0.09222298692360634</c:v>
                </c:pt>
                <c:pt idx="19">
                  <c:v>0.10606504541459127</c:v>
                </c:pt>
                <c:pt idx="20">
                  <c:v>0.09246575342465753</c:v>
                </c:pt>
                <c:pt idx="21">
                  <c:v>0.09531311539976368</c:v>
                </c:pt>
                <c:pt idx="22">
                  <c:v>0.09995969367190649</c:v>
                </c:pt>
                <c:pt idx="23">
                  <c:v>0.09720483938256154</c:v>
                </c:pt>
                <c:pt idx="24">
                  <c:v>0.09660678642714571</c:v>
                </c:pt>
                <c:pt idx="25">
                  <c:v>0.09005145797598628</c:v>
                </c:pt>
                <c:pt idx="26">
                  <c:v>0.0818260120585702</c:v>
                </c:pt>
                <c:pt idx="27">
                  <c:v>0.08754716981132075</c:v>
                </c:pt>
                <c:pt idx="28">
                  <c:v>0.08738828202581926</c:v>
                </c:pt>
                <c:pt idx="29">
                  <c:v>0.08673469387755102</c:v>
                </c:pt>
                <c:pt idx="30">
                  <c:v>0.0918409184091841</c:v>
                </c:pt>
                <c:pt idx="31">
                  <c:v>0.07519135524538496</c:v>
                </c:pt>
                <c:pt idx="32">
                  <c:v>0.07114624505928854</c:v>
                </c:pt>
                <c:pt idx="33">
                  <c:v>0.0887358184764992</c:v>
                </c:pt>
                <c:pt idx="34">
                  <c:v>0.09904534606205251</c:v>
                </c:pt>
                <c:pt idx="35">
                  <c:v>0.1136959370904325</c:v>
                </c:pt>
                <c:pt idx="36">
                  <c:v>0.08916586768935762</c:v>
                </c:pt>
                <c:pt idx="37">
                  <c:v>0.08699289000418235</c:v>
                </c:pt>
                <c:pt idx="38">
                  <c:v>0.10717529518619437</c:v>
                </c:pt>
                <c:pt idx="39">
                  <c:v>0.13175906913073238</c:v>
                </c:pt>
                <c:pt idx="40">
                  <c:v>0.12512315270935961</c:v>
                </c:pt>
                <c:pt idx="41">
                  <c:v>0.1287037037037037</c:v>
                </c:pt>
                <c:pt idx="42">
                  <c:v>0.12213225371120108</c:v>
                </c:pt>
                <c:pt idx="43">
                  <c:v>0.1290564153769346</c:v>
                </c:pt>
                <c:pt idx="44">
                  <c:v>0.12566673778536377</c:v>
                </c:pt>
                <c:pt idx="45">
                  <c:v>0.12650602409638553</c:v>
                </c:pt>
                <c:pt idx="46">
                  <c:v>0.1309723386420788</c:v>
                </c:pt>
                <c:pt idx="47">
                  <c:v>0.13409648405560098</c:v>
                </c:pt>
                <c:pt idx="48">
                  <c:v>0.14907697666318356</c:v>
                </c:pt>
                <c:pt idx="49">
                  <c:v>0.15466625463535227</c:v>
                </c:pt>
                <c:pt idx="50">
                  <c:v>0.18134611543838625</c:v>
                </c:pt>
                <c:pt idx="51">
                  <c:v>0.1612489991993594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784923643138369</c:v>
                </c:pt>
              </c:numCache>
            </c:numRef>
          </c:xVal>
          <c:yVal>
            <c:numRef>
              <c:f>Sheet1!$B$163:$B$164</c:f>
              <c:numCache>
                <c:formatCode>General</c:formatCode>
                <c:ptCount val="2"/>
                <c:pt idx="0">
                  <c:v>0.17571969619478822</c:v>
                </c:pt>
                <c:pt idx="1">
                  <c:v>0.175719696194788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784923643138369</c:v>
                </c:pt>
                <c:pt idx="1">
                  <c:v>0.0784923643138369</c:v>
                </c:pt>
              </c:numCache>
            </c:numRef>
          </c:xVal>
          <c:yVal>
            <c:numRef>
              <c:f>Sheet1!$B$167:$B$168</c:f>
              <c:numCache>
                <c:formatCode>General</c:formatCode>
                <c:ptCount val="2"/>
                <c:pt idx="0">
                  <c:v>0.175719696194788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261013687544555</c:v>
                </c:pt>
              </c:numCache>
            </c:numRef>
          </c:xVal>
          <c:yVal>
            <c:numRef>
              <c:f>Sheet1!$B$171:$B$172</c:f>
              <c:numCache>
                <c:formatCode>General</c:formatCode>
                <c:ptCount val="2"/>
                <c:pt idx="0">
                  <c:v>0.1615845864840704</c:v>
                </c:pt>
                <c:pt idx="1">
                  <c:v>0.161584586484070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261013687544555</c:v>
                </c:pt>
                <c:pt idx="1">
                  <c:v>0.08261013687544555</c:v>
                </c:pt>
              </c:numCache>
            </c:numRef>
          </c:xVal>
          <c:yVal>
            <c:numRef>
              <c:f>Sheet1!$B$175:$B$176</c:f>
              <c:numCache>
                <c:formatCode>General</c:formatCode>
                <c:ptCount val="2"/>
                <c:pt idx="0">
                  <c:v>0.16158458648407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8933828813698352</c:v>
                </c:pt>
              </c:numCache>
            </c:numRef>
          </c:xVal>
          <c:yVal>
            <c:numRef>
              <c:f>Sheet1!$B$179:$B$180</c:f>
              <c:numCache>
                <c:formatCode>General</c:formatCode>
                <c:ptCount val="2"/>
                <c:pt idx="0">
                  <c:v>0.1384888096267417</c:v>
                </c:pt>
                <c:pt idx="1">
                  <c:v>0.138488809626741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8933828813698352</c:v>
                </c:pt>
                <c:pt idx="1">
                  <c:v>0.08933828813698352</c:v>
                </c:pt>
              </c:numCache>
            </c:numRef>
          </c:xVal>
          <c:yVal>
            <c:numRef>
              <c:f>Sheet1!$B$183:$B$184</c:f>
              <c:numCache>
                <c:formatCode>General</c:formatCode>
                <c:ptCount val="2"/>
                <c:pt idx="0">
                  <c:v>0.138488809626741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9594921850514147</c:v>
                </c:pt>
                <c:pt idx="1">
                  <c:v>0.0968092738982528</c:v>
                </c:pt>
                <c:pt idx="2">
                  <c:v>0.09747188706225371</c:v>
                </c:pt>
                <c:pt idx="3">
                  <c:v>0.09661700575434086</c:v>
                </c:pt>
                <c:pt idx="4">
                  <c:v>0.09757178319141041</c:v>
                </c:pt>
                <c:pt idx="5">
                  <c:v>0.09830118422787483</c:v>
                </c:pt>
                <c:pt idx="6">
                  <c:v>0.09708580659126277</c:v>
                </c:pt>
                <c:pt idx="7">
                  <c:v>0.09979546009475669</c:v>
                </c:pt>
                <c:pt idx="8">
                  <c:v>0.10096597407261866</c:v>
                </c:pt>
                <c:pt idx="9">
                  <c:v>0.09164858148690556</c:v>
                </c:pt>
                <c:pt idx="10">
                  <c:v>0.093871197297881</c:v>
                </c:pt>
                <c:pt idx="11">
                  <c:v>0.10105920140936007</c:v>
                </c:pt>
                <c:pt idx="12">
                  <c:v>0.09943541305823073</c:v>
                </c:pt>
                <c:pt idx="13">
                  <c:v>0.09363688717814521</c:v>
                </c:pt>
                <c:pt idx="14">
                  <c:v>0.09911641900404275</c:v>
                </c:pt>
                <c:pt idx="15">
                  <c:v>0.09340710902115247</c:v>
                </c:pt>
                <c:pt idx="16">
                  <c:v>0.09961472317608712</c:v>
                </c:pt>
                <c:pt idx="17">
                  <c:v>0.09992892202139109</c:v>
                </c:pt>
                <c:pt idx="18">
                  <c:v>0.10379752533680654</c:v>
                </c:pt>
                <c:pt idx="19">
                  <c:v>0.10120137413092177</c:v>
                </c:pt>
                <c:pt idx="20">
                  <c:v>0.09697426631357961</c:v>
                </c:pt>
                <c:pt idx="21">
                  <c:v>0.09531894510517619</c:v>
                </c:pt>
                <c:pt idx="22">
                  <c:v>0.0975917159455047</c:v>
                </c:pt>
                <c:pt idx="23">
                  <c:v>0.09625501684390593</c:v>
                </c:pt>
                <c:pt idx="24">
                  <c:v>0.10351898785528617</c:v>
                </c:pt>
                <c:pt idx="25">
                  <c:v>0.10720930825357011</c:v>
                </c:pt>
                <c:pt idx="26">
                  <c:v>0.10561192386043343</c:v>
                </c:pt>
                <c:pt idx="27">
                  <c:v>0.10384007261408149</c:v>
                </c:pt>
                <c:pt idx="28">
                  <c:v>0.10503142464588475</c:v>
                </c:pt>
                <c:pt idx="29">
                  <c:v>0.10329782736277476</c:v>
                </c:pt>
                <c:pt idx="30">
                  <c:v>0.10360740980846217</c:v>
                </c:pt>
                <c:pt idx="31">
                  <c:v>0.10247947811557101</c:v>
                </c:pt>
                <c:pt idx="32">
                  <c:v>0.10317685563574998</c:v>
                </c:pt>
                <c:pt idx="33">
                  <c:v>0.10432011684856189</c:v>
                </c:pt>
                <c:pt idx="34">
                  <c:v>0.10429902808023714</c:v>
                </c:pt>
                <c:pt idx="35">
                  <c:v>0.10376914548939808</c:v>
                </c:pt>
                <c:pt idx="36">
                  <c:v>0.10192722318259453</c:v>
                </c:pt>
                <c:pt idx="37">
                  <c:v>0.10047243257594812</c:v>
                </c:pt>
                <c:pt idx="38">
                  <c:v>0.10191721197993542</c:v>
                </c:pt>
                <c:pt idx="39">
                  <c:v>0.09880918883691987</c:v>
                </c:pt>
                <c:pt idx="40">
                  <c:v>0.0978428754302918</c:v>
                </c:pt>
                <c:pt idx="41">
                  <c:v>0.09765948376136882</c:v>
                </c:pt>
                <c:pt idx="42">
                  <c:v>0.09897940829615208</c:v>
                </c:pt>
                <c:pt idx="43">
                  <c:v>0.09652443792568982</c:v>
                </c:pt>
                <c:pt idx="44">
                  <c:v>0.0954108080998278</c:v>
                </c:pt>
                <c:pt idx="45">
                  <c:v>0.09473531106741805</c:v>
                </c:pt>
                <c:pt idx="46">
                  <c:v>0.09531230895045709</c:v>
                </c:pt>
                <c:pt idx="47">
                  <c:v>0.09467053016655207</c:v>
                </c:pt>
                <c:pt idx="48">
                  <c:v>0.08804119765961671</c:v>
                </c:pt>
                <c:pt idx="49">
                  <c:v>0.08543757273652565</c:v>
                </c:pt>
                <c:pt idx="50">
                  <c:v>0.08468096603569601</c:v>
                </c:pt>
                <c:pt idx="51">
                  <c:v>0.0841309578858854</c:v>
                </c:pt>
                <c:pt idx="52">
                  <c:v>0.08261013687544555</c:v>
                </c:pt>
                <c:pt idx="53">
                  <c:v>0.0784923643138369</c:v>
                </c:pt>
                <c:pt idx="54">
                  <c:v>0.08933828813698352</c:v>
                </c:pt>
              </c:numCache>
            </c:numRef>
          </c:xVal>
          <c:yVal>
            <c:numRef>
              <c:f>Sheet1!$B$187:$B$241</c:f>
              <c:numCache>
                <c:formatCode>General</c:formatCode>
                <c:ptCount val="55"/>
                <c:pt idx="0">
                  <c:v>0.1157954178364668</c:v>
                </c:pt>
                <c:pt idx="1">
                  <c:v>0.11284309903861311</c:v>
                </c:pt>
                <c:pt idx="2">
                  <c:v>0.11056854170724373</c:v>
                </c:pt>
                <c:pt idx="3">
                  <c:v>0.11350309938283071</c:v>
                </c:pt>
                <c:pt idx="4">
                  <c:v>0.11022562749229392</c:v>
                </c:pt>
                <c:pt idx="5">
                  <c:v>0.10772180691471733</c:v>
                </c:pt>
                <c:pt idx="6">
                  <c:v>0.11189384312517603</c:v>
                </c:pt>
                <c:pt idx="7">
                  <c:v>0.10259239459277947</c:v>
                </c:pt>
                <c:pt idx="8">
                  <c:v>0.09857436221059657</c:v>
                </c:pt>
                <c:pt idx="9">
                  <c:v>0.13055824778135106</c:v>
                </c:pt>
                <c:pt idx="10">
                  <c:v>0.12292865730182234</c:v>
                </c:pt>
                <c:pt idx="11">
                  <c:v>0.09825434001093358</c:v>
                </c:pt>
                <c:pt idx="12">
                  <c:v>0.10382833083893411</c:v>
                </c:pt>
                <c:pt idx="13">
                  <c:v>0.12373297546151768</c:v>
                </c:pt>
                <c:pt idx="14">
                  <c:v>0.10492334419519689</c:v>
                </c:pt>
                <c:pt idx="15">
                  <c:v>0.12452173671766387</c:v>
                </c:pt>
                <c:pt idx="16">
                  <c:v>0.10321281161094847</c:v>
                </c:pt>
                <c:pt idx="17">
                  <c:v>0.10213425880529825</c:v>
                </c:pt>
                <c:pt idx="18">
                  <c:v>0.08885447429255633</c:v>
                </c:pt>
                <c:pt idx="19">
                  <c:v>0.09776630261035385</c:v>
                </c:pt>
                <c:pt idx="20">
                  <c:v>0.1122767282988048</c:v>
                </c:pt>
                <c:pt idx="21">
                  <c:v>0.11795896220978108</c:v>
                </c:pt>
                <c:pt idx="22">
                  <c:v>0.11015720417319502</c:v>
                </c:pt>
                <c:pt idx="23">
                  <c:v>0.1147457015145672</c:v>
                </c:pt>
                <c:pt idx="24">
                  <c:v>0.08981061205901408</c:v>
                </c:pt>
                <c:pt idx="25">
                  <c:v>0.07714282069438722</c:v>
                </c:pt>
                <c:pt idx="26">
                  <c:v>0.08262617445163178</c:v>
                </c:pt>
                <c:pt idx="27">
                  <c:v>0.08870842192488049</c:v>
                </c:pt>
                <c:pt idx="28">
                  <c:v>0.08461885859381413</c:v>
                </c:pt>
                <c:pt idx="29">
                  <c:v>0.09056979139166371</c:v>
                </c:pt>
                <c:pt idx="30">
                  <c:v>0.08950708533667118</c:v>
                </c:pt>
                <c:pt idx="31">
                  <c:v>0.0933789451799899</c:v>
                </c:pt>
                <c:pt idx="32">
                  <c:v>0.09098505197437118</c:v>
                </c:pt>
                <c:pt idx="33">
                  <c:v>0.0870605703694931</c:v>
                </c:pt>
                <c:pt idx="34">
                  <c:v>0.08713296194757919</c:v>
                </c:pt>
                <c:pt idx="35">
                  <c:v>0.0889518940141874</c:v>
                </c:pt>
                <c:pt idx="36">
                  <c:v>0.09527467495843545</c:v>
                </c:pt>
                <c:pt idx="37">
                  <c:v>0.10026854592226436</c:v>
                </c:pt>
                <c:pt idx="38">
                  <c:v>0.0953090404912097</c:v>
                </c:pt>
                <c:pt idx="39">
                  <c:v>0.10597797556537325</c:v>
                </c:pt>
                <c:pt idx="40">
                  <c:v>0.10929504706780935</c:v>
                </c:pt>
                <c:pt idx="41">
                  <c:v>0.1099245770676997</c:v>
                </c:pt>
                <c:pt idx="42">
                  <c:v>0.10539366191153554</c:v>
                </c:pt>
                <c:pt idx="43">
                  <c:v>0.1138208576839726</c:v>
                </c:pt>
                <c:pt idx="44">
                  <c:v>0.1176436233977588</c:v>
                </c:pt>
                <c:pt idx="45">
                  <c:v>0.1199624072838329</c:v>
                </c:pt>
                <c:pt idx="46">
                  <c:v>0.11798174218939589</c:v>
                </c:pt>
                <c:pt idx="47">
                  <c:v>0.12018478118311937</c:v>
                </c:pt>
                <c:pt idx="48">
                  <c:v>0.14294134213746024</c:v>
                </c:pt>
                <c:pt idx="49">
                  <c:v>0.15187882554209836</c:v>
                </c:pt>
                <c:pt idx="50">
                  <c:v>0.1544760352140947</c:v>
                </c:pt>
                <c:pt idx="51">
                  <c:v>0.15636405244259477</c:v>
                </c:pt>
                <c:pt idx="52">
                  <c:v>0.16158458648407037</c:v>
                </c:pt>
                <c:pt idx="53">
                  <c:v>0.17571969619478822</c:v>
                </c:pt>
                <c:pt idx="54">
                  <c:v>0.138488809626741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061553985872857"/>
          <c:min val="0.0487576183778715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3.4784</c:v>
                </c:pt>
                <c:pt idx="1">
                  <c:v>924.2886</c:v>
                </c:pt>
                <c:pt idx="2">
                  <c:v>928.9563</c:v>
                </c:pt>
                <c:pt idx="3">
                  <c:v>923.5355</c:v>
                </c:pt>
                <c:pt idx="4">
                  <c:v>897.8341</c:v>
                </c:pt>
                <c:pt idx="5">
                  <c:v>858.6296</c:v>
                </c:pt>
                <c:pt idx="6">
                  <c:v>833.2201</c:v>
                </c:pt>
                <c:pt idx="7">
                  <c:v>825.6381</c:v>
                </c:pt>
                <c:pt idx="8">
                  <c:v>829.2556</c:v>
                </c:pt>
                <c:pt idx="9">
                  <c:v>803.3995</c:v>
                </c:pt>
                <c:pt idx="10">
                  <c:v>736.0563</c:v>
                </c:pt>
                <c:pt idx="11">
                  <c:v>726.824</c:v>
                </c:pt>
                <c:pt idx="12">
                  <c:v>768.4242</c:v>
                </c:pt>
                <c:pt idx="13">
                  <c:v>705.7289</c:v>
                </c:pt>
                <c:pt idx="14">
                  <c:v>869.0942</c:v>
                </c:pt>
                <c:pt idx="15">
                  <c:v>876.3908</c:v>
                </c:pt>
                <c:pt idx="16">
                  <c:v>919.2013</c:v>
                </c:pt>
                <c:pt idx="17">
                  <c:v>965.464</c:v>
                </c:pt>
                <c:pt idx="18">
                  <c:v>959.9223</c:v>
                </c:pt>
                <c:pt idx="19">
                  <c:v>957.3208</c:v>
                </c:pt>
                <c:pt idx="20">
                  <c:v>990.5422</c:v>
                </c:pt>
                <c:pt idx="21">
                  <c:v>983.6402</c:v>
                </c:pt>
                <c:pt idx="22">
                  <c:v>987.6957</c:v>
                </c:pt>
                <c:pt idx="23">
                  <c:v>985.4886</c:v>
                </c:pt>
                <c:pt idx="24">
                  <c:v>999.8042</c:v>
                </c:pt>
                <c:pt idx="25">
                  <c:v>994.4654</c:v>
                </c:pt>
                <c:pt idx="26">
                  <c:v>969.6018</c:v>
                </c:pt>
                <c:pt idx="27">
                  <c:v>974.996</c:v>
                </c:pt>
                <c:pt idx="28">
                  <c:v>975.1781</c:v>
                </c:pt>
                <c:pt idx="29">
                  <c:v>1028.637</c:v>
                </c:pt>
                <c:pt idx="30">
                  <c:v>1000.7056</c:v>
                </c:pt>
                <c:pt idx="31">
                  <c:v>1007.6816</c:v>
                </c:pt>
                <c:pt idx="32">
                  <c:v>1027.3083</c:v>
                </c:pt>
                <c:pt idx="33">
                  <c:v>1037.9776</c:v>
                </c:pt>
                <c:pt idx="34">
                  <c:v>1034.0625</c:v>
                </c:pt>
                <c:pt idx="35">
                  <c:v>1036.9604</c:v>
                </c:pt>
                <c:pt idx="36">
                  <c:v>1027.2975</c:v>
                </c:pt>
                <c:pt idx="37">
                  <c:v>1054.4516</c:v>
                </c:pt>
                <c:pt idx="38">
                  <c:v>1060.9607</c:v>
                </c:pt>
                <c:pt idx="39">
                  <c:v>1122.7689</c:v>
                </c:pt>
                <c:pt idx="40">
                  <c:v>1181.9241</c:v>
                </c:pt>
                <c:pt idx="41">
                  <c:v>1179.6126</c:v>
                </c:pt>
                <c:pt idx="42">
                  <c:v>1171.88</c:v>
                </c:pt>
                <c:pt idx="43">
                  <c:v>1173.9397</c:v>
                </c:pt>
                <c:pt idx="44">
                  <c:v>1192.3263</c:v>
                </c:pt>
                <c:pt idx="45">
                  <c:v>1196.2815</c:v>
                </c:pt>
                <c:pt idx="46">
                  <c:v>1156.875</c:v>
                </c:pt>
                <c:pt idx="47">
                  <c:v>1138.4759</c:v>
                </c:pt>
                <c:pt idx="48">
                  <c:v>1080.5036</c:v>
                </c:pt>
                <c:pt idx="49">
                  <c:v>996.8511</c:v>
                </c:pt>
                <c:pt idx="50">
                  <c:v>1053.5802</c:v>
                </c:pt>
                <c:pt idx="51">
                  <c:v>1044.7357</c:v>
                </c:pt>
                <c:pt idx="52">
                  <c:v>1044.2787</c:v>
                </c:pt>
                <c:pt idx="53">
                  <c:v>1210.1995</c:v>
                </c:pt>
                <c:pt idx="54">
                  <c:v>1211.5956</c:v>
                </c:pt>
                <c:pt idx="55">
                  <c:v>1206.5714</c:v>
                </c:pt>
                <c:pt idx="56">
                  <c:v>1190.4927</c:v>
                </c:pt>
                <c:pt idx="57">
                  <c:v>1194.3705</c:v>
                </c:pt>
                <c:pt idx="58">
                  <c:v>1196.714</c:v>
                </c:pt>
                <c:pt idx="59">
                  <c:v>1202.7661</c:v>
                </c:pt>
                <c:pt idx="60">
                  <c:v>1212.9897</c:v>
                </c:pt>
                <c:pt idx="61">
                  <c:v>1164.976</c:v>
                </c:pt>
                <c:pt idx="62">
                  <c:v>1071.8587</c:v>
                </c:pt>
                <c:pt idx="63">
                  <c:v>1082.2465</c:v>
                </c:pt>
                <c:pt idx="64">
                  <c:v>1107.2259</c:v>
                </c:pt>
                <c:pt idx="65">
                  <c:v>1074.89</c:v>
                </c:pt>
                <c:pt idx="66">
                  <c:v>1160.1052</c:v>
                </c:pt>
                <c:pt idx="67">
                  <c:v>1199.26</c:v>
                </c:pt>
                <c:pt idx="68">
                  <c:v>1181.5855</c:v>
                </c:pt>
                <c:pt idx="69">
                  <c:v>1237.1495</c:v>
                </c:pt>
                <c:pt idx="70">
                  <c:v>1246.9</c:v>
                </c:pt>
                <c:pt idx="71">
                  <c:v>1236.2716</c:v>
                </c:pt>
                <c:pt idx="72">
                  <c:v>1225.7472</c:v>
                </c:pt>
                <c:pt idx="73">
                  <c:v>1228.5161</c:v>
                </c:pt>
                <c:pt idx="74">
                  <c:v>1225.0656</c:v>
                </c:pt>
                <c:pt idx="75">
                  <c:v>1225.6749</c:v>
                </c:pt>
                <c:pt idx="76">
                  <c:v>1148.8853</c:v>
                </c:pt>
                <c:pt idx="77">
                  <c:v>1140.4251</c:v>
                </c:pt>
                <c:pt idx="78">
                  <c:v>1123.2958</c:v>
                </c:pt>
                <c:pt idx="79">
                  <c:v>1110.9289</c:v>
                </c:pt>
                <c:pt idx="80">
                  <c:v>1161.861</c:v>
                </c:pt>
                <c:pt idx="81">
                  <c:v>1256.5761</c:v>
                </c:pt>
                <c:pt idx="82">
                  <c:v>1256.2069</c:v>
                </c:pt>
                <c:pt idx="83">
                  <c:v>1221.0813</c:v>
                </c:pt>
                <c:pt idx="84">
                  <c:v>1273.4228</c:v>
                </c:pt>
                <c:pt idx="85">
                  <c:v>1300.8923</c:v>
                </c:pt>
                <c:pt idx="86">
                  <c:v>1311.6791</c:v>
                </c:pt>
                <c:pt idx="87">
                  <c:v>1288.9754</c:v>
                </c:pt>
                <c:pt idx="88">
                  <c:v>1279.0341</c:v>
                </c:pt>
                <c:pt idx="89">
                  <c:v>1307.3765</c:v>
                </c:pt>
                <c:pt idx="90">
                  <c:v>1303.2418</c:v>
                </c:pt>
                <c:pt idx="91">
                  <c:v>1311.5593</c:v>
                </c:pt>
                <c:pt idx="92">
                  <c:v>1260.5917</c:v>
                </c:pt>
                <c:pt idx="93">
                  <c:v>1262.9611</c:v>
                </c:pt>
                <c:pt idx="94">
                  <c:v>1239.185</c:v>
                </c:pt>
                <c:pt idx="95">
                  <c:v>1235.635</c:v>
                </c:pt>
                <c:pt idx="96">
                  <c:v>1172.1799</c:v>
                </c:pt>
                <c:pt idx="97">
                  <c:v>1195.1038</c:v>
                </c:pt>
                <c:pt idx="98">
                  <c:v>1161.8619</c:v>
                </c:pt>
                <c:pt idx="99">
                  <c:v>1152.3808</c:v>
                </c:pt>
                <c:pt idx="100">
                  <c:v>1111.2239</c:v>
                </c:pt>
                <c:pt idx="101">
                  <c:v>1218.3133</c:v>
                </c:pt>
                <c:pt idx="102">
                  <c:v>1202.6993</c:v>
                </c:pt>
                <c:pt idx="103">
                  <c:v>1153.0138</c:v>
                </c:pt>
                <c:pt idx="104">
                  <c:v>1148.2793</c:v>
                </c:pt>
              </c:numCache>
            </c:numRef>
          </c:xVal>
          <c:yVal>
            <c:numRef>
              <c:f>Sheet1!$B$2:$B$106</c:f>
              <c:numCache>
                <c:formatCode>General</c:formatCode>
                <c:ptCount val="105"/>
                <c:pt idx="0">
                  <c:v>0.13427074717397297</c:v>
                </c:pt>
                <c:pt idx="1">
                  <c:v>0.1202069385270846</c:v>
                </c:pt>
                <c:pt idx="2">
                  <c:v>0.12754107490949596</c:v>
                </c:pt>
                <c:pt idx="3">
                  <c:v>0.12725684333139195</c:v>
                </c:pt>
                <c:pt idx="4">
                  <c:v>0.1633227736712425</c:v>
                </c:pt>
                <c:pt idx="5">
                  <c:v>0.20968303726924417</c:v>
                </c:pt>
                <c:pt idx="6">
                  <c:v>0.2364175172867962</c:v>
                </c:pt>
                <c:pt idx="7">
                  <c:v>0.22059871703492517</c:v>
                </c:pt>
                <c:pt idx="8">
                  <c:v>0.24217961654894046</c:v>
                </c:pt>
                <c:pt idx="9">
                  <c:v>0.2414469994391475</c:v>
                </c:pt>
                <c:pt idx="10">
                  <c:v>0.23595505617977527</c:v>
                </c:pt>
                <c:pt idx="11">
                  <c:v>0.23183962264150942</c:v>
                </c:pt>
                <c:pt idx="12">
                  <c:v>0.20474967907573813</c:v>
                </c:pt>
                <c:pt idx="13">
                  <c:v>0.1973006134969325</c:v>
                </c:pt>
                <c:pt idx="14">
                  <c:v>0.1620933521923621</c:v>
                </c:pt>
                <c:pt idx="15">
                  <c:v>0.13411458333333334</c:v>
                </c:pt>
                <c:pt idx="16">
                  <c:v>0.11000369139904023</c:v>
                </c:pt>
                <c:pt idx="17">
                  <c:v>0.09394837071519255</c:v>
                </c:pt>
                <c:pt idx="18">
                  <c:v>0.08697611536728256</c:v>
                </c:pt>
                <c:pt idx="19">
                  <c:v>0.07957957957957958</c:v>
                </c:pt>
                <c:pt idx="20">
                  <c:v>0.09942554131683606</c:v>
                </c:pt>
                <c:pt idx="21">
                  <c:v>0.0910843373493976</c:v>
                </c:pt>
                <c:pt idx="22">
                  <c:v>0.07091469681397738</c:v>
                </c:pt>
                <c:pt idx="23">
                  <c:v>0.08893380495199596</c:v>
                </c:pt>
                <c:pt idx="24">
                  <c:v>0.09251101321585903</c:v>
                </c:pt>
                <c:pt idx="25">
                  <c:v>0.08225556130367305</c:v>
                </c:pt>
                <c:pt idx="26">
                  <c:v>0.09800443458980045</c:v>
                </c:pt>
                <c:pt idx="27">
                  <c:v>0.11557788944723618</c:v>
                </c:pt>
                <c:pt idx="28">
                  <c:v>0.11515151515151516</c:v>
                </c:pt>
                <c:pt idx="29">
                  <c:v>0.11750503018108652</c:v>
                </c:pt>
                <c:pt idx="30">
                  <c:v>0.12556962025316457</c:v>
                </c:pt>
                <c:pt idx="31">
                  <c:v>0.11542443064182195</c:v>
                </c:pt>
                <c:pt idx="32">
                  <c:v>0.12888436067244013</c:v>
                </c:pt>
                <c:pt idx="33">
                  <c:v>0.11785400175901495</c:v>
                </c:pt>
                <c:pt idx="34">
                  <c:v>0.12234494477485132</c:v>
                </c:pt>
                <c:pt idx="35">
                  <c:v>0.16348577601728484</c:v>
                </c:pt>
                <c:pt idx="36">
                  <c:v>0.13529631010063362</c:v>
                </c:pt>
                <c:pt idx="37">
                  <c:v>0.12146277753591642</c:v>
                </c:pt>
                <c:pt idx="38">
                  <c:v>0.11839323467230443</c:v>
                </c:pt>
                <c:pt idx="39">
                  <c:v>0.11349546971864569</c:v>
                </c:pt>
                <c:pt idx="40">
                  <c:v>0.11539992041384799</c:v>
                </c:pt>
                <c:pt idx="41">
                  <c:v>0.10976138828633406</c:v>
                </c:pt>
                <c:pt idx="42">
                  <c:v>0.11896046852122986</c:v>
                </c:pt>
                <c:pt idx="43">
                  <c:v>0.12146422628951747</c:v>
                </c:pt>
                <c:pt idx="44">
                  <c:v>0.11178168459721857</c:v>
                </c:pt>
                <c:pt idx="45">
                  <c:v>0.11015881018401814</c:v>
                </c:pt>
                <c:pt idx="46">
                  <c:v>0.11380084851509857</c:v>
                </c:pt>
                <c:pt idx="47">
                  <c:v>0.1018041237113402</c:v>
                </c:pt>
                <c:pt idx="48">
                  <c:v>0.10218978102189781</c:v>
                </c:pt>
                <c:pt idx="49">
                  <c:v>0.1284156353388065</c:v>
                </c:pt>
                <c:pt idx="50">
                  <c:v>0.11115561786501102</c:v>
                </c:pt>
                <c:pt idx="51">
                  <c:v>0.11254162042175361</c:v>
                </c:pt>
                <c:pt idx="52">
                  <c:v>0.10813472523143589</c:v>
                </c:pt>
                <c:pt idx="53">
                  <c:v>0.09897435897435898</c:v>
                </c:pt>
                <c:pt idx="54">
                  <c:v>0.09769959404600811</c:v>
                </c:pt>
                <c:pt idx="55">
                  <c:v>0.09923447689254324</c:v>
                </c:pt>
                <c:pt idx="56">
                  <c:v>0.11205247335337525</c:v>
                </c:pt>
                <c:pt idx="57">
                  <c:v>0.10125030644765874</c:v>
                </c:pt>
                <c:pt idx="58">
                  <c:v>0.10614262179336315</c:v>
                </c:pt>
                <c:pt idx="59">
                  <c:v>0.09303058971933144</c:v>
                </c:pt>
                <c:pt idx="60">
                  <c:v>0.09547985587946282</c:v>
                </c:pt>
                <c:pt idx="61">
                  <c:v>0.09913606911447084</c:v>
                </c:pt>
                <c:pt idx="62">
                  <c:v>0.10485525416001823</c:v>
                </c:pt>
                <c:pt idx="63">
                  <c:v>0.10827296988181472</c:v>
                </c:pt>
                <c:pt idx="64">
                  <c:v>0.10044642857142858</c:v>
                </c:pt>
                <c:pt idx="65">
                  <c:v>0.10498581272800973</c:v>
                </c:pt>
                <c:pt idx="66">
                  <c:v>0.09874973511337147</c:v>
                </c:pt>
                <c:pt idx="67">
                  <c:v>0.09221713538260301</c:v>
                </c:pt>
                <c:pt idx="68">
                  <c:v>0.08138711960368011</c:v>
                </c:pt>
                <c:pt idx="69">
                  <c:v>0.06966145833333333</c:v>
                </c:pt>
                <c:pt idx="70">
                  <c:v>0.08130081300813008</c:v>
                </c:pt>
                <c:pt idx="71">
                  <c:v>0.07125307125307126</c:v>
                </c:pt>
                <c:pt idx="72">
                  <c:v>0.07948410317936412</c:v>
                </c:pt>
                <c:pt idx="73">
                  <c:v>0.07556368068251067</c:v>
                </c:pt>
                <c:pt idx="74">
                  <c:v>0.07519260400616333</c:v>
                </c:pt>
                <c:pt idx="75">
                  <c:v>0.07231920199501247</c:v>
                </c:pt>
                <c:pt idx="76">
                  <c:v>0.08065112837587865</c:v>
                </c:pt>
                <c:pt idx="77">
                  <c:v>0.0779367469879518</c:v>
                </c:pt>
                <c:pt idx="78">
                  <c:v>0.08711656441717791</c:v>
                </c:pt>
                <c:pt idx="79">
                  <c:v>0.09402423735896365</c:v>
                </c:pt>
                <c:pt idx="80">
                  <c:v>0.09437156157427</c:v>
                </c:pt>
                <c:pt idx="81">
                  <c:v>0.08113522537562605</c:v>
                </c:pt>
                <c:pt idx="82">
                  <c:v>0.07455012853470437</c:v>
                </c:pt>
                <c:pt idx="83">
                  <c:v>0.0644316396018858</c:v>
                </c:pt>
                <c:pt idx="84">
                  <c:v>0.06453305351521511</c:v>
                </c:pt>
                <c:pt idx="85">
                  <c:v>0.06094702297233943</c:v>
                </c:pt>
                <c:pt idx="86">
                  <c:v>0.06619469026548673</c:v>
                </c:pt>
                <c:pt idx="87">
                  <c:v>0.087486554320545</c:v>
                </c:pt>
                <c:pt idx="88">
                  <c:v>0.08738277919863598</c:v>
                </c:pt>
                <c:pt idx="89">
                  <c:v>0.06985769728331177</c:v>
                </c:pt>
                <c:pt idx="90">
                  <c:v>0.06731192256929168</c:v>
                </c:pt>
                <c:pt idx="91">
                  <c:v>0.07609630266552021</c:v>
                </c:pt>
                <c:pt idx="92">
                  <c:v>0.08708272859216255</c:v>
                </c:pt>
                <c:pt idx="93">
                  <c:v>0.08094488188976377</c:v>
                </c:pt>
                <c:pt idx="94">
                  <c:v>0.07567158531971245</c:v>
                </c:pt>
                <c:pt idx="95">
                  <c:v>0.07995331193463671</c:v>
                </c:pt>
                <c:pt idx="96">
                  <c:v>0.09115022908126356</c:v>
                </c:pt>
                <c:pt idx="97">
                  <c:v>0.09120193275619086</c:v>
                </c:pt>
                <c:pt idx="98">
                  <c:v>0.09766763848396501</c:v>
                </c:pt>
                <c:pt idx="99">
                  <c:v>0.1019409282700422</c:v>
                </c:pt>
                <c:pt idx="100">
                  <c:v>0.12390198797965789</c:v>
                </c:pt>
                <c:pt idx="101">
                  <c:v>0.10869565217391304</c:v>
                </c:pt>
                <c:pt idx="102">
                  <c:v>0.10570286959680349</c:v>
                </c:pt>
                <c:pt idx="103">
                  <c:v>0.11062368872782757</c:v>
                </c:pt>
                <c:pt idx="104">
                  <c:v>0.1081309398099260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4.4972</c:v>
                </c:pt>
                <c:pt idx="1">
                  <c:v>1220.1543</c:v>
                </c:pt>
                <c:pt idx="2">
                  <c:v>1227.0345</c:v>
                </c:pt>
                <c:pt idx="3">
                  <c:v>1222.0387</c:v>
                </c:pt>
                <c:pt idx="4">
                  <c:v>1222.9314</c:v>
                </c:pt>
                <c:pt idx="5">
                  <c:v>1223.762</c:v>
                </c:pt>
                <c:pt idx="6">
                  <c:v>1231.1922</c:v>
                </c:pt>
                <c:pt idx="7">
                  <c:v>1231.3333</c:v>
                </c:pt>
                <c:pt idx="8">
                  <c:v>1250.1146</c:v>
                </c:pt>
                <c:pt idx="9">
                  <c:v>1132.6397</c:v>
                </c:pt>
                <c:pt idx="10">
                  <c:v>1153.9076</c:v>
                </c:pt>
                <c:pt idx="11">
                  <c:v>1238.3638</c:v>
                </c:pt>
                <c:pt idx="12">
                  <c:v>1233.32</c:v>
                </c:pt>
                <c:pt idx="13">
                  <c:v>1158.413</c:v>
                </c:pt>
                <c:pt idx="14">
                  <c:v>1234.9974</c:v>
                </c:pt>
                <c:pt idx="15">
                  <c:v>1144.6724</c:v>
                </c:pt>
                <c:pt idx="16">
                  <c:v>1233.8438</c:v>
                </c:pt>
                <c:pt idx="17">
                  <c:v>1241.5411</c:v>
                </c:pt>
                <c:pt idx="18">
                  <c:v>1275.1007</c:v>
                </c:pt>
                <c:pt idx="19">
                  <c:v>1249.6575</c:v>
                </c:pt>
                <c:pt idx="20">
                  <c:v>1199.101</c:v>
                </c:pt>
                <c:pt idx="21">
                  <c:v>1193.6488</c:v>
                </c:pt>
                <c:pt idx="22">
                  <c:v>1185.7782</c:v>
                </c:pt>
                <c:pt idx="23">
                  <c:v>1194.8455</c:v>
                </c:pt>
                <c:pt idx="24">
                  <c:v>1273.3306</c:v>
                </c:pt>
                <c:pt idx="25">
                  <c:v>1302.981</c:v>
                </c:pt>
                <c:pt idx="26">
                  <c:v>1304.7211</c:v>
                </c:pt>
                <c:pt idx="27">
                  <c:v>1289.3578</c:v>
                </c:pt>
                <c:pt idx="28">
                  <c:v>1309.6856</c:v>
                </c:pt>
                <c:pt idx="29">
                  <c:v>1283.2398</c:v>
                </c:pt>
                <c:pt idx="30">
                  <c:v>1284.2634</c:v>
                </c:pt>
                <c:pt idx="31">
                  <c:v>1271.5689</c:v>
                </c:pt>
                <c:pt idx="32">
                  <c:v>1292.0278</c:v>
                </c:pt>
                <c:pt idx="33">
                  <c:v>1300.7169</c:v>
                </c:pt>
                <c:pt idx="34">
                  <c:v>1293.5392</c:v>
                </c:pt>
                <c:pt idx="35">
                  <c:v>1283.6571</c:v>
                </c:pt>
                <c:pt idx="36">
                  <c:v>1263.2366</c:v>
                </c:pt>
                <c:pt idx="37">
                  <c:v>1246.2933</c:v>
                </c:pt>
                <c:pt idx="38">
                  <c:v>1261.3856</c:v>
                </c:pt>
                <c:pt idx="39">
                  <c:v>1229.6675</c:v>
                </c:pt>
                <c:pt idx="40">
                  <c:v>1217.6929</c:v>
                </c:pt>
                <c:pt idx="41">
                  <c:v>1225.458</c:v>
                </c:pt>
                <c:pt idx="42">
                  <c:v>1235.442</c:v>
                </c:pt>
                <c:pt idx="43">
                  <c:v>1223.6925</c:v>
                </c:pt>
                <c:pt idx="44">
                  <c:v>1193.9576</c:v>
                </c:pt>
                <c:pt idx="45">
                  <c:v>1188.0294</c:v>
                </c:pt>
                <c:pt idx="46">
                  <c:v>1190.6272</c:v>
                </c:pt>
                <c:pt idx="47">
                  <c:v>1188.3735</c:v>
                </c:pt>
                <c:pt idx="48">
                  <c:v>1113.2664</c:v>
                </c:pt>
                <c:pt idx="49">
                  <c:v>1088.7233</c:v>
                </c:pt>
                <c:pt idx="50">
                  <c:v>1070.5165</c:v>
                </c:pt>
                <c:pt idx="51">
                  <c:v>1074.9106</c:v>
                </c:pt>
              </c:numCache>
            </c:numRef>
          </c:xVal>
          <c:yVal>
            <c:numRef>
              <c:f>Sheet1!$B$109:$B$160</c:f>
              <c:numCache>
                <c:formatCode>General</c:formatCode>
                <c:ptCount val="52"/>
                <c:pt idx="0">
                  <c:v>0.11234796949082664</c:v>
                </c:pt>
                <c:pt idx="1">
                  <c:v>0.10485396091615885</c:v>
                </c:pt>
                <c:pt idx="2">
                  <c:v>0.11253644314868805</c:v>
                </c:pt>
                <c:pt idx="3">
                  <c:v>0.12994034302759136</c:v>
                </c:pt>
                <c:pt idx="4">
                  <c:v>0.12</c:v>
                </c:pt>
                <c:pt idx="5">
                  <c:v>0.11276308167599923</c:v>
                </c:pt>
                <c:pt idx="6">
                  <c:v>0.09708534283916964</c:v>
                </c:pt>
                <c:pt idx="7">
                  <c:v>0.09267059814658804</c:v>
                </c:pt>
                <c:pt idx="8">
                  <c:v>0.08981693363844394</c:v>
                </c:pt>
                <c:pt idx="9">
                  <c:v>0.10577188621927644</c:v>
                </c:pt>
                <c:pt idx="10">
                  <c:v>0.10910031023784902</c:v>
                </c:pt>
                <c:pt idx="11">
                  <c:v>0.10275470048097946</c:v>
                </c:pt>
                <c:pt idx="12">
                  <c:v>0.10693381359747861</c:v>
                </c:pt>
                <c:pt idx="13">
                  <c:v>0.10628342245989304</c:v>
                </c:pt>
                <c:pt idx="14">
                  <c:v>0.09347181008902077</c:v>
                </c:pt>
                <c:pt idx="15">
                  <c:v>0.10380710659898477</c:v>
                </c:pt>
                <c:pt idx="16">
                  <c:v>0.0874555889587319</c:v>
                </c:pt>
                <c:pt idx="17">
                  <c:v>0.08243929983060418</c:v>
                </c:pt>
                <c:pt idx="18">
                  <c:v>0.09222298692360634</c:v>
                </c:pt>
                <c:pt idx="19">
                  <c:v>0.10606504541459127</c:v>
                </c:pt>
                <c:pt idx="20">
                  <c:v>0.09246575342465753</c:v>
                </c:pt>
                <c:pt idx="21">
                  <c:v>0.09531311539976368</c:v>
                </c:pt>
                <c:pt idx="22">
                  <c:v>0.09995969367190649</c:v>
                </c:pt>
                <c:pt idx="23">
                  <c:v>0.09720483938256154</c:v>
                </c:pt>
                <c:pt idx="24">
                  <c:v>0.09660678642714571</c:v>
                </c:pt>
                <c:pt idx="25">
                  <c:v>0.09005145797598628</c:v>
                </c:pt>
                <c:pt idx="26">
                  <c:v>0.0818260120585702</c:v>
                </c:pt>
                <c:pt idx="27">
                  <c:v>0.08754716981132075</c:v>
                </c:pt>
                <c:pt idx="28">
                  <c:v>0.08738828202581926</c:v>
                </c:pt>
                <c:pt idx="29">
                  <c:v>0.08673469387755102</c:v>
                </c:pt>
                <c:pt idx="30">
                  <c:v>0.0918409184091841</c:v>
                </c:pt>
                <c:pt idx="31">
                  <c:v>0.07519135524538496</c:v>
                </c:pt>
                <c:pt idx="32">
                  <c:v>0.07114624505928854</c:v>
                </c:pt>
                <c:pt idx="33">
                  <c:v>0.0887358184764992</c:v>
                </c:pt>
                <c:pt idx="34">
                  <c:v>0.09904534606205251</c:v>
                </c:pt>
                <c:pt idx="35">
                  <c:v>0.1136959370904325</c:v>
                </c:pt>
                <c:pt idx="36">
                  <c:v>0.08916586768935762</c:v>
                </c:pt>
                <c:pt idx="37">
                  <c:v>0.08699289000418235</c:v>
                </c:pt>
                <c:pt idx="38">
                  <c:v>0.10717529518619437</c:v>
                </c:pt>
                <c:pt idx="39">
                  <c:v>0.13175906913073238</c:v>
                </c:pt>
                <c:pt idx="40">
                  <c:v>0.12512315270935961</c:v>
                </c:pt>
                <c:pt idx="41">
                  <c:v>0.1287037037037037</c:v>
                </c:pt>
                <c:pt idx="42">
                  <c:v>0.12213225371120108</c:v>
                </c:pt>
                <c:pt idx="43">
                  <c:v>0.1290564153769346</c:v>
                </c:pt>
                <c:pt idx="44">
                  <c:v>0.12566673778536377</c:v>
                </c:pt>
                <c:pt idx="45">
                  <c:v>0.12650602409638553</c:v>
                </c:pt>
                <c:pt idx="46">
                  <c:v>0.1309723386420788</c:v>
                </c:pt>
                <c:pt idx="47">
                  <c:v>0.13409648405560098</c:v>
                </c:pt>
                <c:pt idx="48">
                  <c:v>0.14907697666318356</c:v>
                </c:pt>
                <c:pt idx="49">
                  <c:v>0.15466625463535227</c:v>
                </c:pt>
                <c:pt idx="50">
                  <c:v>0.18134611543838625</c:v>
                </c:pt>
                <c:pt idx="51">
                  <c:v>0.1612489991993594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87.8198020705274</c:v>
                </c:pt>
              </c:numCache>
            </c:numRef>
          </c:xVal>
          <c:yVal>
            <c:numRef>
              <c:f>Sheet1!$B$163:$B$164</c:f>
              <c:numCache>
                <c:formatCode>General</c:formatCode>
                <c:ptCount val="2"/>
                <c:pt idx="0">
                  <c:v>0.17571969619478822</c:v>
                </c:pt>
                <c:pt idx="1">
                  <c:v>0.175719696194788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87.8198020705274</c:v>
                </c:pt>
                <c:pt idx="1">
                  <c:v>987.8198020705274</c:v>
                </c:pt>
              </c:numCache>
            </c:numRef>
          </c:xVal>
          <c:yVal>
            <c:numRef>
              <c:f>Sheet1!$B$167:$B$168</c:f>
              <c:numCache>
                <c:formatCode>General</c:formatCode>
                <c:ptCount val="2"/>
                <c:pt idx="0">
                  <c:v>0.175719696194788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6.809482583582</c:v>
                </c:pt>
              </c:numCache>
            </c:numRef>
          </c:xVal>
          <c:yVal>
            <c:numRef>
              <c:f>Sheet1!$B$171:$B$172</c:f>
              <c:numCache>
                <c:formatCode>General</c:formatCode>
                <c:ptCount val="2"/>
                <c:pt idx="0">
                  <c:v>0.1615845864840704</c:v>
                </c:pt>
                <c:pt idx="1">
                  <c:v>0.161584586484070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6.809482583582</c:v>
                </c:pt>
                <c:pt idx="1">
                  <c:v>1036.809482583582</c:v>
                </c:pt>
              </c:numCache>
            </c:numRef>
          </c:xVal>
          <c:yVal>
            <c:numRef>
              <c:f>Sheet1!$B$175:$B$176</c:f>
              <c:numCache>
                <c:formatCode>General</c:formatCode>
                <c:ptCount val="2"/>
                <c:pt idx="0">
                  <c:v>0.16158458648407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16.8551810321344</c:v>
                </c:pt>
              </c:numCache>
            </c:numRef>
          </c:xVal>
          <c:yVal>
            <c:numRef>
              <c:f>Sheet1!$B$179:$B$180</c:f>
              <c:numCache>
                <c:formatCode>General</c:formatCode>
                <c:ptCount val="2"/>
                <c:pt idx="0">
                  <c:v>0.1384888096267417</c:v>
                </c:pt>
                <c:pt idx="1">
                  <c:v>0.138488809626741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16.8551810321344</c:v>
                </c:pt>
                <c:pt idx="1">
                  <c:v>1116.8551810321344</c:v>
                </c:pt>
              </c:numCache>
            </c:numRef>
          </c:xVal>
          <c:yVal>
            <c:numRef>
              <c:f>Sheet1!$B$183:$B$184</c:f>
              <c:numCache>
                <c:formatCode>General</c:formatCode>
                <c:ptCount val="2"/>
                <c:pt idx="0">
                  <c:v>0.138488809626741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4.4972</c:v>
                </c:pt>
                <c:pt idx="1">
                  <c:v>1220.1543</c:v>
                </c:pt>
                <c:pt idx="2">
                  <c:v>1227.0345</c:v>
                </c:pt>
                <c:pt idx="3">
                  <c:v>1222.0387</c:v>
                </c:pt>
                <c:pt idx="4">
                  <c:v>1222.9314</c:v>
                </c:pt>
                <c:pt idx="5">
                  <c:v>1223.762</c:v>
                </c:pt>
                <c:pt idx="6">
                  <c:v>1231.1922</c:v>
                </c:pt>
                <c:pt idx="7">
                  <c:v>1231.3333</c:v>
                </c:pt>
                <c:pt idx="8">
                  <c:v>1250.1146</c:v>
                </c:pt>
                <c:pt idx="9">
                  <c:v>1132.6397</c:v>
                </c:pt>
                <c:pt idx="10">
                  <c:v>1153.9076</c:v>
                </c:pt>
                <c:pt idx="11">
                  <c:v>1238.3638</c:v>
                </c:pt>
                <c:pt idx="12">
                  <c:v>1233.32</c:v>
                </c:pt>
                <c:pt idx="13">
                  <c:v>1158.413</c:v>
                </c:pt>
                <c:pt idx="14">
                  <c:v>1234.9974</c:v>
                </c:pt>
                <c:pt idx="15">
                  <c:v>1144.6724</c:v>
                </c:pt>
                <c:pt idx="16">
                  <c:v>1233.8438</c:v>
                </c:pt>
                <c:pt idx="17">
                  <c:v>1241.5411</c:v>
                </c:pt>
                <c:pt idx="18">
                  <c:v>1275.1007</c:v>
                </c:pt>
                <c:pt idx="19">
                  <c:v>1249.6575</c:v>
                </c:pt>
                <c:pt idx="20">
                  <c:v>1199.101</c:v>
                </c:pt>
                <c:pt idx="21">
                  <c:v>1193.6488</c:v>
                </c:pt>
                <c:pt idx="22">
                  <c:v>1185.7782</c:v>
                </c:pt>
                <c:pt idx="23">
                  <c:v>1194.8455</c:v>
                </c:pt>
                <c:pt idx="24">
                  <c:v>1273.3306</c:v>
                </c:pt>
                <c:pt idx="25">
                  <c:v>1302.981</c:v>
                </c:pt>
                <c:pt idx="26">
                  <c:v>1304.7211</c:v>
                </c:pt>
                <c:pt idx="27">
                  <c:v>1289.3578</c:v>
                </c:pt>
                <c:pt idx="28">
                  <c:v>1309.6856</c:v>
                </c:pt>
                <c:pt idx="29">
                  <c:v>1283.2398</c:v>
                </c:pt>
                <c:pt idx="30">
                  <c:v>1284.2634</c:v>
                </c:pt>
                <c:pt idx="31">
                  <c:v>1271.5689</c:v>
                </c:pt>
                <c:pt idx="32">
                  <c:v>1292.0278</c:v>
                </c:pt>
                <c:pt idx="33">
                  <c:v>1300.7169</c:v>
                </c:pt>
                <c:pt idx="34">
                  <c:v>1293.5392</c:v>
                </c:pt>
                <c:pt idx="35">
                  <c:v>1283.6571</c:v>
                </c:pt>
                <c:pt idx="36">
                  <c:v>1263.2366</c:v>
                </c:pt>
                <c:pt idx="37">
                  <c:v>1246.2933</c:v>
                </c:pt>
                <c:pt idx="38">
                  <c:v>1261.3856</c:v>
                </c:pt>
                <c:pt idx="39">
                  <c:v>1229.6675</c:v>
                </c:pt>
                <c:pt idx="40">
                  <c:v>1217.6929</c:v>
                </c:pt>
                <c:pt idx="41">
                  <c:v>1225.458</c:v>
                </c:pt>
                <c:pt idx="42">
                  <c:v>1235.442</c:v>
                </c:pt>
                <c:pt idx="43">
                  <c:v>1223.6925</c:v>
                </c:pt>
                <c:pt idx="44">
                  <c:v>1193.9576</c:v>
                </c:pt>
                <c:pt idx="45">
                  <c:v>1188.0294</c:v>
                </c:pt>
                <c:pt idx="46">
                  <c:v>1190.6272</c:v>
                </c:pt>
                <c:pt idx="47">
                  <c:v>1188.3735</c:v>
                </c:pt>
                <c:pt idx="48">
                  <c:v>1113.2664</c:v>
                </c:pt>
                <c:pt idx="49">
                  <c:v>1088.7233</c:v>
                </c:pt>
                <c:pt idx="50">
                  <c:v>1070.5165</c:v>
                </c:pt>
                <c:pt idx="51">
                  <c:v>1074.9106</c:v>
                </c:pt>
                <c:pt idx="52">
                  <c:v>1036.809482583582</c:v>
                </c:pt>
                <c:pt idx="53">
                  <c:v>987.8198020705274</c:v>
                </c:pt>
                <c:pt idx="54">
                  <c:v>1116.8551810321344</c:v>
                </c:pt>
              </c:numCache>
            </c:numRef>
          </c:xVal>
          <c:yVal>
            <c:numRef>
              <c:f>Sheet1!$B$187:$B$241</c:f>
              <c:numCache>
                <c:formatCode>General</c:formatCode>
                <c:ptCount val="55"/>
                <c:pt idx="0">
                  <c:v>0.113201248238186</c:v>
                </c:pt>
                <c:pt idx="1">
                  <c:v>0.10868366772053589</c:v>
                </c:pt>
                <c:pt idx="2">
                  <c:v>0.10669850715583762</c:v>
                </c:pt>
                <c:pt idx="3">
                  <c:v>0.10813995728070597</c:v>
                </c:pt>
                <c:pt idx="4">
                  <c:v>0.10788238441420417</c:v>
                </c:pt>
                <c:pt idx="5">
                  <c:v>0.1076427294092569</c:v>
                </c:pt>
                <c:pt idx="6">
                  <c:v>0.10549887602885794</c:v>
                </c:pt>
                <c:pt idx="7">
                  <c:v>0.10545816410832087</c:v>
                </c:pt>
                <c:pt idx="8">
                  <c:v>0.10003915069101221</c:v>
                </c:pt>
                <c:pt idx="9">
                  <c:v>0.13393446460948383</c:v>
                </c:pt>
                <c:pt idx="10">
                  <c:v>0.12779798654577262</c:v>
                </c:pt>
                <c:pt idx="11">
                  <c:v>0.10342963712507752</c:v>
                </c:pt>
                <c:pt idx="12">
                  <c:v>0.10488493680477073</c:v>
                </c:pt>
                <c:pt idx="13">
                  <c:v>0.12649803270603088</c:v>
                </c:pt>
                <c:pt idx="14">
                  <c:v>0.10440095257012277</c:v>
                </c:pt>
                <c:pt idx="15">
                  <c:v>0.13046264089406212</c:v>
                </c:pt>
                <c:pt idx="16">
                  <c:v>0.10473380353774514</c:v>
                </c:pt>
                <c:pt idx="17">
                  <c:v>0.10251288315539414</c:v>
                </c:pt>
                <c:pt idx="18">
                  <c:v>0.09282985148668588</c:v>
                </c:pt>
                <c:pt idx="19">
                  <c:v>0.10017103884747913</c:v>
                </c:pt>
                <c:pt idx="20">
                  <c:v>0.1147582267328845</c:v>
                </c:pt>
                <c:pt idx="21">
                  <c:v>0.11633136304154529</c:v>
                </c:pt>
                <c:pt idx="22">
                  <c:v>0.11860228608746165</c:v>
                </c:pt>
                <c:pt idx="23">
                  <c:v>0.11598607632781976</c:v>
                </c:pt>
                <c:pt idx="24">
                  <c:v>0.09334058267408918</c:v>
                </c:pt>
                <c:pt idx="25">
                  <c:v>0.08478548183290313</c:v>
                </c:pt>
                <c:pt idx="26">
                  <c:v>0.0842834066172653</c:v>
                </c:pt>
                <c:pt idx="27">
                  <c:v>0.08871621631809207</c:v>
                </c:pt>
                <c:pt idx="28">
                  <c:v>0.08285098755627224</c:v>
                </c:pt>
                <c:pt idx="29">
                  <c:v>0.09048145749346831</c:v>
                </c:pt>
                <c:pt idx="30">
                  <c:v>0.09018611573682966</c:v>
                </c:pt>
                <c:pt idx="31">
                  <c:v>0.09384889018939818</c:v>
                </c:pt>
                <c:pt idx="32">
                  <c:v>0.08794583483096313</c:v>
                </c:pt>
                <c:pt idx="33">
                  <c:v>0.08543874802204493</c:v>
                </c:pt>
                <c:pt idx="34">
                  <c:v>0.08750974697341762</c:v>
                </c:pt>
                <c:pt idx="35">
                  <c:v>0.09036105292621033</c:v>
                </c:pt>
                <c:pt idx="36">
                  <c:v>0.0962530286407855</c:v>
                </c:pt>
                <c:pt idx="37">
                  <c:v>0.10114171952126155</c:v>
                </c:pt>
                <c:pt idx="38">
                  <c:v>0.09678710209871638</c:v>
                </c:pt>
                <c:pt idx="39">
                  <c:v>0.1059388013672195</c:v>
                </c:pt>
                <c:pt idx="40">
                  <c:v>0.10939386135065537</c:v>
                </c:pt>
                <c:pt idx="41">
                  <c:v>0.10715337847211426</c:v>
                </c:pt>
                <c:pt idx="42">
                  <c:v>0.10427267106855814</c:v>
                </c:pt>
                <c:pt idx="43">
                  <c:v>0.10766278241051352</c:v>
                </c:pt>
                <c:pt idx="44">
                  <c:v>0.11624226423883915</c:v>
                </c:pt>
                <c:pt idx="45">
                  <c:v>0.11795274196617905</c:v>
                </c:pt>
                <c:pt idx="46">
                  <c:v>0.11720319251776579</c:v>
                </c:pt>
                <c:pt idx="47">
                  <c:v>0.11785345797002883</c:v>
                </c:pt>
                <c:pt idx="48">
                  <c:v>0.13952428920296484</c:v>
                </c:pt>
                <c:pt idx="49">
                  <c:v>0.14660576855755403</c:v>
                </c:pt>
                <c:pt idx="50">
                  <c:v>0.15185902011555352</c:v>
                </c:pt>
                <c:pt idx="51">
                  <c:v>0.15059117993106175</c:v>
                </c:pt>
                <c:pt idx="52">
                  <c:v>0.16158458648407037</c:v>
                </c:pt>
                <c:pt idx="53">
                  <c:v>0.17571969619478822</c:v>
                </c:pt>
                <c:pt idx="54">
                  <c:v>0.138488809626741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4.0"/>
          <c:min val="56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061553985872857"/>
          <c:min val="0.0487576183778715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2220911911299048</c:v>
                </c:pt>
                <c:pt idx="1">
                  <c:v>0.12902780987730605</c:v>
                </c:pt>
                <c:pt idx="2">
                  <c:v>0.12685599633556008</c:v>
                </c:pt>
                <c:pt idx="3">
                  <c:v>0.1253881350155778</c:v>
                </c:pt>
                <c:pt idx="4">
                  <c:v>0.12409352487220499</c:v>
                </c:pt>
                <c:pt idx="5">
                  <c:v>0.12101798692912673</c:v>
                </c:pt>
                <c:pt idx="6">
                  <c:v>0.12567621167942764</c:v>
                </c:pt>
                <c:pt idx="7">
                  <c:v>0.1225972599024681</c:v>
                </c:pt>
                <c:pt idx="8">
                  <c:v>0.1239730915101214</c:v>
                </c:pt>
                <c:pt idx="9">
                  <c:v>0.12379382420054895</c:v>
                </c:pt>
                <c:pt idx="10">
                  <c:v>0.11548857430736122</c:v>
                </c:pt>
                <c:pt idx="11">
                  <c:v>0.11922817039636364</c:v>
                </c:pt>
                <c:pt idx="12">
                  <c:v>0.12760016376277777</c:v>
                </c:pt>
                <c:pt idx="13">
                  <c:v>0.11254852549368496</c:v>
                </c:pt>
                <c:pt idx="14">
                  <c:v>0.13617593151516125</c:v>
                </c:pt>
                <c:pt idx="15">
                  <c:v>0.13250336330600754</c:v>
                </c:pt>
                <c:pt idx="16">
                  <c:v>0.13269537341460327</c:v>
                </c:pt>
                <c:pt idx="17">
                  <c:v>0.13969354535326206</c:v>
                </c:pt>
                <c:pt idx="18">
                  <c:v>0.12841043070859762</c:v>
                </c:pt>
                <c:pt idx="19">
                  <c:v>0.12759922286790704</c:v>
                </c:pt>
                <c:pt idx="20">
                  <c:v>0.1321202247892839</c:v>
                </c:pt>
                <c:pt idx="21">
                  <c:v>0.12933005417821625</c:v>
                </c:pt>
                <c:pt idx="22">
                  <c:v>0.12950059465379568</c:v>
                </c:pt>
                <c:pt idx="23">
                  <c:v>0.1377559232027914</c:v>
                </c:pt>
                <c:pt idx="24">
                  <c:v>0.1290937845490341</c:v>
                </c:pt>
                <c:pt idx="25">
                  <c:v>0.13418933228532923</c:v>
                </c:pt>
                <c:pt idx="26">
                  <c:v>0.13333102681352654</c:v>
                </c:pt>
                <c:pt idx="27">
                  <c:v>0.1259636582373594</c:v>
                </c:pt>
                <c:pt idx="28">
                  <c:v>0.12846733069731386</c:v>
                </c:pt>
                <c:pt idx="29">
                  <c:v>0.1343842800661012</c:v>
                </c:pt>
                <c:pt idx="30">
                  <c:v>0.12777718786341344</c:v>
                </c:pt>
                <c:pt idx="31">
                  <c:v>0.12685865262119222</c:v>
                </c:pt>
                <c:pt idx="32">
                  <c:v>0.1296225169943172</c:v>
                </c:pt>
                <c:pt idx="33">
                  <c:v>0.13660619895721945</c:v>
                </c:pt>
                <c:pt idx="34">
                  <c:v>0.13587216993832288</c:v>
                </c:pt>
                <c:pt idx="35">
                  <c:v>0.14453592231169296</c:v>
                </c:pt>
                <c:pt idx="36">
                  <c:v>0.1354441640655382</c:v>
                </c:pt>
                <c:pt idx="37">
                  <c:v>0.13000457521215916</c:v>
                </c:pt>
                <c:pt idx="38">
                  <c:v>0.1250679559100382</c:v>
                </c:pt>
                <c:pt idx="39">
                  <c:v>0.13494530128911428</c:v>
                </c:pt>
                <c:pt idx="40">
                  <c:v>0.14730768936441724</c:v>
                </c:pt>
                <c:pt idx="41">
                  <c:v>0.14643447045511288</c:v>
                </c:pt>
                <c:pt idx="42">
                  <c:v>0.1445005504592043</c:v>
                </c:pt>
                <c:pt idx="43">
                  <c:v>0.15283756140326824</c:v>
                </c:pt>
                <c:pt idx="44">
                  <c:v>0.1615634076858664</c:v>
                </c:pt>
                <c:pt idx="45">
                  <c:v>0.17118445058493315</c:v>
                </c:pt>
                <c:pt idx="46">
                  <c:v>0.16359794514051634</c:v>
                </c:pt>
                <c:pt idx="47">
                  <c:v>0.16080026129712838</c:v>
                </c:pt>
                <c:pt idx="48">
                  <c:v>0.1637060092889556</c:v>
                </c:pt>
                <c:pt idx="49">
                  <c:v>0.16526705292654742</c:v>
                </c:pt>
                <c:pt idx="50">
                  <c:v>0.15237047268534404</c:v>
                </c:pt>
                <c:pt idx="51">
                  <c:v>0.1495119225780533</c:v>
                </c:pt>
                <c:pt idx="52">
                  <c:v>0.1534251192646422</c:v>
                </c:pt>
                <c:pt idx="53">
                  <c:v>0.17364466352652166</c:v>
                </c:pt>
                <c:pt idx="54">
                  <c:v>0.16819249576109227</c:v>
                </c:pt>
                <c:pt idx="55">
                  <c:v>0.16877492045387626</c:v>
                </c:pt>
                <c:pt idx="56">
                  <c:v>0.16135372553331223</c:v>
                </c:pt>
                <c:pt idx="57">
                  <c:v>0.16291014518388602</c:v>
                </c:pt>
                <c:pt idx="58">
                  <c:v>0.1601538572492179</c:v>
                </c:pt>
                <c:pt idx="59">
                  <c:v>0.18479702344877288</c:v>
                </c:pt>
                <c:pt idx="60">
                  <c:v>0.18151837806130802</c:v>
                </c:pt>
                <c:pt idx="61">
                  <c:v>0.16579743849208153</c:v>
                </c:pt>
                <c:pt idx="62">
                  <c:v>0.1546370474984283</c:v>
                </c:pt>
                <c:pt idx="63">
                  <c:v>0.16234105300725155</c:v>
                </c:pt>
                <c:pt idx="64">
                  <c:v>0.17126172905428874</c:v>
                </c:pt>
                <c:pt idx="65">
                  <c:v>0.1628558759360304</c:v>
                </c:pt>
                <c:pt idx="66">
                  <c:v>0.17194732503793353</c:v>
                </c:pt>
                <c:pt idx="67">
                  <c:v>0.17423286964119442</c:v>
                </c:pt>
                <c:pt idx="68">
                  <c:v>0.16497756662921953</c:v>
                </c:pt>
                <c:pt idx="69">
                  <c:v>0.16514581788254076</c:v>
                </c:pt>
                <c:pt idx="70">
                  <c:v>0.16784217887011943</c:v>
                </c:pt>
                <c:pt idx="71">
                  <c:v>0.16089683873202154</c:v>
                </c:pt>
                <c:pt idx="72">
                  <c:v>0.1620864880930326</c:v>
                </c:pt>
                <c:pt idx="73">
                  <c:v>0.15934964354464246</c:v>
                </c:pt>
                <c:pt idx="74">
                  <c:v>0.15691385898121452</c:v>
                </c:pt>
                <c:pt idx="75">
                  <c:v>0.1501358048240135</c:v>
                </c:pt>
                <c:pt idx="76">
                  <c:v>0.14355331653887562</c:v>
                </c:pt>
                <c:pt idx="77">
                  <c:v>0.14285670800450959</c:v>
                </c:pt>
                <c:pt idx="78">
                  <c:v>0.14600221170846975</c:v>
                </c:pt>
                <c:pt idx="79">
                  <c:v>0.14674097615676374</c:v>
                </c:pt>
                <c:pt idx="80">
                  <c:v>0.1465963133833477</c:v>
                </c:pt>
                <c:pt idx="81">
                  <c:v>0.16214311754602165</c:v>
                </c:pt>
                <c:pt idx="82">
                  <c:v>0.15601487828795016</c:v>
                </c:pt>
                <c:pt idx="83">
                  <c:v>0.14870178105594323</c:v>
                </c:pt>
                <c:pt idx="84">
                  <c:v>0.15411559762674942</c:v>
                </c:pt>
                <c:pt idx="85">
                  <c:v>0.1575506807473491</c:v>
                </c:pt>
                <c:pt idx="86">
                  <c:v>0.1651179796014804</c:v>
                </c:pt>
                <c:pt idx="87">
                  <c:v>0.16933459574311502</c:v>
                </c:pt>
                <c:pt idx="88">
                  <c:v>0.16770575465839813</c:v>
                </c:pt>
                <c:pt idx="89">
                  <c:v>0.15331664973339793</c:v>
                </c:pt>
                <c:pt idx="90">
                  <c:v>0.15226269632065936</c:v>
                </c:pt>
                <c:pt idx="91">
                  <c:v>0.15902153231215693</c:v>
                </c:pt>
                <c:pt idx="92">
                  <c:v>0.15559424742334058</c:v>
                </c:pt>
                <c:pt idx="93">
                  <c:v>0.15186206603822533</c:v>
                </c:pt>
                <c:pt idx="94">
                  <c:v>0.1534679114924286</c:v>
                </c:pt>
                <c:pt idx="95">
                  <c:v>0.1512746480800166</c:v>
                </c:pt>
                <c:pt idx="96">
                  <c:v>0.1544828252796962</c:v>
                </c:pt>
                <c:pt idx="97">
                  <c:v>0.1600089554388593</c:v>
                </c:pt>
                <c:pt idx="98">
                  <c:v>0.16879058401525016</c:v>
                </c:pt>
                <c:pt idx="99">
                  <c:v>0.17532888292203563</c:v>
                </c:pt>
                <c:pt idx="100">
                  <c:v>0.17688171345539958</c:v>
                </c:pt>
                <c:pt idx="101">
                  <c:v>0.18324199209049383</c:v>
                </c:pt>
                <c:pt idx="102">
                  <c:v>0.17982325667628057</c:v>
                </c:pt>
                <c:pt idx="103">
                  <c:v>0.16596505407949022</c:v>
                </c:pt>
                <c:pt idx="104">
                  <c:v>0.16442054059807912</c:v>
                </c:pt>
              </c:numCache>
            </c:numRef>
          </c:xVal>
          <c:yVal>
            <c:numRef>
              <c:f>Sheet1!$B$2:$B$106</c:f>
              <c:numCache>
                <c:formatCode>General</c:formatCode>
                <c:ptCount val="105"/>
                <c:pt idx="0">
                  <c:v>0.13427074717397297</c:v>
                </c:pt>
                <c:pt idx="1">
                  <c:v>0.1202069385270846</c:v>
                </c:pt>
                <c:pt idx="2">
                  <c:v>0.12754107490949596</c:v>
                </c:pt>
                <c:pt idx="3">
                  <c:v>0.12725684333139195</c:v>
                </c:pt>
                <c:pt idx="4">
                  <c:v>0.1633227736712425</c:v>
                </c:pt>
                <c:pt idx="5">
                  <c:v>0.20968303726924417</c:v>
                </c:pt>
                <c:pt idx="6">
                  <c:v>0.2364175172867962</c:v>
                </c:pt>
                <c:pt idx="7">
                  <c:v>0.22059871703492517</c:v>
                </c:pt>
                <c:pt idx="8">
                  <c:v>0.24217961654894046</c:v>
                </c:pt>
                <c:pt idx="9">
                  <c:v>0.2414469994391475</c:v>
                </c:pt>
                <c:pt idx="10">
                  <c:v>0.23595505617977527</c:v>
                </c:pt>
                <c:pt idx="11">
                  <c:v>0.23183962264150942</c:v>
                </c:pt>
                <c:pt idx="12">
                  <c:v>0.20474967907573813</c:v>
                </c:pt>
                <c:pt idx="13">
                  <c:v>0.1973006134969325</c:v>
                </c:pt>
                <c:pt idx="14">
                  <c:v>0.1620933521923621</c:v>
                </c:pt>
                <c:pt idx="15">
                  <c:v>0.13411458333333334</c:v>
                </c:pt>
                <c:pt idx="16">
                  <c:v>0.11000369139904023</c:v>
                </c:pt>
                <c:pt idx="17">
                  <c:v>0.09394837071519255</c:v>
                </c:pt>
                <c:pt idx="18">
                  <c:v>0.08697611536728256</c:v>
                </c:pt>
                <c:pt idx="19">
                  <c:v>0.07957957957957958</c:v>
                </c:pt>
                <c:pt idx="20">
                  <c:v>0.09942554131683606</c:v>
                </c:pt>
                <c:pt idx="21">
                  <c:v>0.0910843373493976</c:v>
                </c:pt>
                <c:pt idx="22">
                  <c:v>0.07091469681397738</c:v>
                </c:pt>
                <c:pt idx="23">
                  <c:v>0.08893380495199596</c:v>
                </c:pt>
                <c:pt idx="24">
                  <c:v>0.09251101321585903</c:v>
                </c:pt>
                <c:pt idx="25">
                  <c:v>0.08225556130367305</c:v>
                </c:pt>
                <c:pt idx="26">
                  <c:v>0.09800443458980045</c:v>
                </c:pt>
                <c:pt idx="27">
                  <c:v>0.11557788944723618</c:v>
                </c:pt>
                <c:pt idx="28">
                  <c:v>0.11515151515151516</c:v>
                </c:pt>
                <c:pt idx="29">
                  <c:v>0.11750503018108652</c:v>
                </c:pt>
                <c:pt idx="30">
                  <c:v>0.12556962025316457</c:v>
                </c:pt>
                <c:pt idx="31">
                  <c:v>0.11542443064182195</c:v>
                </c:pt>
                <c:pt idx="32">
                  <c:v>0.12888436067244013</c:v>
                </c:pt>
                <c:pt idx="33">
                  <c:v>0.11785400175901495</c:v>
                </c:pt>
                <c:pt idx="34">
                  <c:v>0.12234494477485132</c:v>
                </c:pt>
                <c:pt idx="35">
                  <c:v>0.16348577601728484</c:v>
                </c:pt>
                <c:pt idx="36">
                  <c:v>0.13529631010063362</c:v>
                </c:pt>
                <c:pt idx="37">
                  <c:v>0.12146277753591642</c:v>
                </c:pt>
                <c:pt idx="38">
                  <c:v>0.11839323467230443</c:v>
                </c:pt>
                <c:pt idx="39">
                  <c:v>0.11349546971864569</c:v>
                </c:pt>
                <c:pt idx="40">
                  <c:v>0.11539992041384799</c:v>
                </c:pt>
                <c:pt idx="41">
                  <c:v>0.10976138828633406</c:v>
                </c:pt>
                <c:pt idx="42">
                  <c:v>0.11896046852122986</c:v>
                </c:pt>
                <c:pt idx="43">
                  <c:v>0.12146422628951747</c:v>
                </c:pt>
                <c:pt idx="44">
                  <c:v>0.11178168459721857</c:v>
                </c:pt>
                <c:pt idx="45">
                  <c:v>0.11015881018401814</c:v>
                </c:pt>
                <c:pt idx="46">
                  <c:v>0.11380084851509857</c:v>
                </c:pt>
                <c:pt idx="47">
                  <c:v>0.1018041237113402</c:v>
                </c:pt>
                <c:pt idx="48">
                  <c:v>0.10218978102189781</c:v>
                </c:pt>
                <c:pt idx="49">
                  <c:v>0.1284156353388065</c:v>
                </c:pt>
                <c:pt idx="50">
                  <c:v>0.11115561786501102</c:v>
                </c:pt>
                <c:pt idx="51">
                  <c:v>0.11254162042175361</c:v>
                </c:pt>
                <c:pt idx="52">
                  <c:v>0.10813472523143589</c:v>
                </c:pt>
                <c:pt idx="53">
                  <c:v>0.09897435897435898</c:v>
                </c:pt>
                <c:pt idx="54">
                  <c:v>0.09769959404600811</c:v>
                </c:pt>
                <c:pt idx="55">
                  <c:v>0.09923447689254324</c:v>
                </c:pt>
                <c:pt idx="56">
                  <c:v>0.11205247335337525</c:v>
                </c:pt>
                <c:pt idx="57">
                  <c:v>0.10125030644765874</c:v>
                </c:pt>
                <c:pt idx="58">
                  <c:v>0.10614262179336315</c:v>
                </c:pt>
                <c:pt idx="59">
                  <c:v>0.09303058971933144</c:v>
                </c:pt>
                <c:pt idx="60">
                  <c:v>0.09547985587946282</c:v>
                </c:pt>
                <c:pt idx="61">
                  <c:v>0.09913606911447084</c:v>
                </c:pt>
                <c:pt idx="62">
                  <c:v>0.10485525416001823</c:v>
                </c:pt>
                <c:pt idx="63">
                  <c:v>0.10827296988181472</c:v>
                </c:pt>
                <c:pt idx="64">
                  <c:v>0.10044642857142858</c:v>
                </c:pt>
                <c:pt idx="65">
                  <c:v>0.10498581272800973</c:v>
                </c:pt>
                <c:pt idx="66">
                  <c:v>0.09874973511337147</c:v>
                </c:pt>
                <c:pt idx="67">
                  <c:v>0.09221713538260301</c:v>
                </c:pt>
                <c:pt idx="68">
                  <c:v>0.08138711960368011</c:v>
                </c:pt>
                <c:pt idx="69">
                  <c:v>0.06966145833333333</c:v>
                </c:pt>
                <c:pt idx="70">
                  <c:v>0.08130081300813008</c:v>
                </c:pt>
                <c:pt idx="71">
                  <c:v>0.07125307125307126</c:v>
                </c:pt>
                <c:pt idx="72">
                  <c:v>0.07948410317936412</c:v>
                </c:pt>
                <c:pt idx="73">
                  <c:v>0.07556368068251067</c:v>
                </c:pt>
                <c:pt idx="74">
                  <c:v>0.07519260400616333</c:v>
                </c:pt>
                <c:pt idx="75">
                  <c:v>0.07231920199501247</c:v>
                </c:pt>
                <c:pt idx="76">
                  <c:v>0.08065112837587865</c:v>
                </c:pt>
                <c:pt idx="77">
                  <c:v>0.0779367469879518</c:v>
                </c:pt>
                <c:pt idx="78">
                  <c:v>0.08711656441717791</c:v>
                </c:pt>
                <c:pt idx="79">
                  <c:v>0.09402423735896365</c:v>
                </c:pt>
                <c:pt idx="80">
                  <c:v>0.09437156157427</c:v>
                </c:pt>
                <c:pt idx="81">
                  <c:v>0.08113522537562605</c:v>
                </c:pt>
                <c:pt idx="82">
                  <c:v>0.07455012853470437</c:v>
                </c:pt>
                <c:pt idx="83">
                  <c:v>0.0644316396018858</c:v>
                </c:pt>
                <c:pt idx="84">
                  <c:v>0.06453305351521511</c:v>
                </c:pt>
                <c:pt idx="85">
                  <c:v>0.06094702297233943</c:v>
                </c:pt>
                <c:pt idx="86">
                  <c:v>0.06619469026548673</c:v>
                </c:pt>
                <c:pt idx="87">
                  <c:v>0.087486554320545</c:v>
                </c:pt>
                <c:pt idx="88">
                  <c:v>0.08738277919863598</c:v>
                </c:pt>
                <c:pt idx="89">
                  <c:v>0.06985769728331177</c:v>
                </c:pt>
                <c:pt idx="90">
                  <c:v>0.06731192256929168</c:v>
                </c:pt>
                <c:pt idx="91">
                  <c:v>0.07609630266552021</c:v>
                </c:pt>
                <c:pt idx="92">
                  <c:v>0.08708272859216255</c:v>
                </c:pt>
                <c:pt idx="93">
                  <c:v>0.08094488188976377</c:v>
                </c:pt>
                <c:pt idx="94">
                  <c:v>0.07567158531971245</c:v>
                </c:pt>
                <c:pt idx="95">
                  <c:v>0.07995331193463671</c:v>
                </c:pt>
                <c:pt idx="96">
                  <c:v>0.09115022908126356</c:v>
                </c:pt>
                <c:pt idx="97">
                  <c:v>0.09120193275619086</c:v>
                </c:pt>
                <c:pt idx="98">
                  <c:v>0.09766763848396501</c:v>
                </c:pt>
                <c:pt idx="99">
                  <c:v>0.1019409282700422</c:v>
                </c:pt>
                <c:pt idx="100">
                  <c:v>0.12390198797965789</c:v>
                </c:pt>
                <c:pt idx="101">
                  <c:v>0.10869565217391304</c:v>
                </c:pt>
                <c:pt idx="102">
                  <c:v>0.10570286959680349</c:v>
                </c:pt>
                <c:pt idx="103">
                  <c:v>0.11062368872782757</c:v>
                </c:pt>
                <c:pt idx="104">
                  <c:v>0.1081309398099260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7054628871369046</c:v>
                </c:pt>
                <c:pt idx="1">
                  <c:v>0.1709096054067392</c:v>
                </c:pt>
                <c:pt idx="2">
                  <c:v>0.1769077362562341</c:v>
                </c:pt>
                <c:pt idx="3">
                  <c:v>0.1761934896202757</c:v>
                </c:pt>
                <c:pt idx="4">
                  <c:v>0.1767501387956651</c:v>
                </c:pt>
                <c:pt idx="5">
                  <c:v>0.1791752849316637</c:v>
                </c:pt>
                <c:pt idx="6">
                  <c:v>0.1741392618830361</c:v>
                </c:pt>
                <c:pt idx="7">
                  <c:v>0.17049841321544223</c:v>
                </c:pt>
                <c:pt idx="8">
                  <c:v>0.1715746635670954</c:v>
                </c:pt>
                <c:pt idx="9">
                  <c:v>0.15622867379553512</c:v>
                </c:pt>
                <c:pt idx="10">
                  <c:v>0.17172675359444764</c:v>
                </c:pt>
                <c:pt idx="11">
                  <c:v>0.18675549635426297</c:v>
                </c:pt>
                <c:pt idx="12">
                  <c:v>0.1868055557764429</c:v>
                </c:pt>
                <c:pt idx="13">
                  <c:v>0.17195991924090406</c:v>
                </c:pt>
                <c:pt idx="14">
                  <c:v>0.1853893379440084</c:v>
                </c:pt>
                <c:pt idx="15">
                  <c:v>0.17204633420046453</c:v>
                </c:pt>
                <c:pt idx="16">
                  <c:v>0.17929780532047715</c:v>
                </c:pt>
                <c:pt idx="17">
                  <c:v>0.18074072273223757</c:v>
                </c:pt>
                <c:pt idx="18">
                  <c:v>0.1504984030842867</c:v>
                </c:pt>
                <c:pt idx="19">
                  <c:v>0.1445359827725107</c:v>
                </c:pt>
                <c:pt idx="20">
                  <c:v>0.13462110684750794</c:v>
                </c:pt>
                <c:pt idx="21">
                  <c:v>0.13140663877817166</c:v>
                </c:pt>
                <c:pt idx="22">
                  <c:v>0.1357069104412571</c:v>
                </c:pt>
                <c:pt idx="23">
                  <c:v>0.13706130238242656</c:v>
                </c:pt>
                <c:pt idx="24">
                  <c:v>0.1442083287215826</c:v>
                </c:pt>
                <c:pt idx="25">
                  <c:v>0.1511889191920922</c:v>
                </c:pt>
                <c:pt idx="26">
                  <c:v>0.15144221508544123</c:v>
                </c:pt>
                <c:pt idx="27">
                  <c:v>0.15086664573763203</c:v>
                </c:pt>
                <c:pt idx="28">
                  <c:v>0.16504209041734444</c:v>
                </c:pt>
                <c:pt idx="29">
                  <c:v>0.15561974185726646</c:v>
                </c:pt>
                <c:pt idx="30">
                  <c:v>0.14774894733209085</c:v>
                </c:pt>
                <c:pt idx="31">
                  <c:v>0.14745033683125952</c:v>
                </c:pt>
                <c:pt idx="32">
                  <c:v>0.15409834086888224</c:v>
                </c:pt>
                <c:pt idx="33">
                  <c:v>0.163421464524258</c:v>
                </c:pt>
                <c:pt idx="34">
                  <c:v>0.17394227141901367</c:v>
                </c:pt>
                <c:pt idx="35">
                  <c:v>0.16988269893803817</c:v>
                </c:pt>
                <c:pt idx="36">
                  <c:v>0.14464222290793227</c:v>
                </c:pt>
                <c:pt idx="37">
                  <c:v>0.14458529118025099</c:v>
                </c:pt>
                <c:pt idx="38">
                  <c:v>0.15067090348114082</c:v>
                </c:pt>
                <c:pt idx="39">
                  <c:v>0.15765819100823505</c:v>
                </c:pt>
                <c:pt idx="40">
                  <c:v>0.15677719164770917</c:v>
                </c:pt>
                <c:pt idx="41">
                  <c:v>0.1556550226580131</c:v>
                </c:pt>
                <c:pt idx="42">
                  <c:v>0.14820760014262666</c:v>
                </c:pt>
                <c:pt idx="43">
                  <c:v>0.16038899228539555</c:v>
                </c:pt>
                <c:pt idx="44">
                  <c:v>0.1668679798618136</c:v>
                </c:pt>
                <c:pt idx="45">
                  <c:v>0.17991487601907782</c:v>
                </c:pt>
                <c:pt idx="46">
                  <c:v>0.16966431216380254</c:v>
                </c:pt>
                <c:pt idx="47">
                  <c:v>0.17520614419365552</c:v>
                </c:pt>
                <c:pt idx="48">
                  <c:v>0.17064636641717945</c:v>
                </c:pt>
                <c:pt idx="49">
                  <c:v>0.17660565485790525</c:v>
                </c:pt>
                <c:pt idx="50">
                  <c:v>0.18155380082069192</c:v>
                </c:pt>
                <c:pt idx="51">
                  <c:v>0.17001738433941643</c:v>
                </c:pt>
              </c:numCache>
            </c:numRef>
          </c:xVal>
          <c:yVal>
            <c:numRef>
              <c:f>Sheet1!$B$109:$B$160</c:f>
              <c:numCache>
                <c:formatCode>General</c:formatCode>
                <c:ptCount val="52"/>
                <c:pt idx="0">
                  <c:v>0.11234796949082664</c:v>
                </c:pt>
                <c:pt idx="1">
                  <c:v>0.10485396091615885</c:v>
                </c:pt>
                <c:pt idx="2">
                  <c:v>0.11253644314868805</c:v>
                </c:pt>
                <c:pt idx="3">
                  <c:v>0.12994034302759136</c:v>
                </c:pt>
                <c:pt idx="4">
                  <c:v>0.12</c:v>
                </c:pt>
                <c:pt idx="5">
                  <c:v>0.11276308167599923</c:v>
                </c:pt>
                <c:pt idx="6">
                  <c:v>0.09708534283916964</c:v>
                </c:pt>
                <c:pt idx="7">
                  <c:v>0.09267059814658804</c:v>
                </c:pt>
                <c:pt idx="8">
                  <c:v>0.08981693363844394</c:v>
                </c:pt>
                <c:pt idx="9">
                  <c:v>0.10577188621927644</c:v>
                </c:pt>
                <c:pt idx="10">
                  <c:v>0.10910031023784902</c:v>
                </c:pt>
                <c:pt idx="11">
                  <c:v>0.10275470048097946</c:v>
                </c:pt>
                <c:pt idx="12">
                  <c:v>0.10693381359747861</c:v>
                </c:pt>
                <c:pt idx="13">
                  <c:v>0.10628342245989304</c:v>
                </c:pt>
                <c:pt idx="14">
                  <c:v>0.09347181008902077</c:v>
                </c:pt>
                <c:pt idx="15">
                  <c:v>0.10380710659898477</c:v>
                </c:pt>
                <c:pt idx="16">
                  <c:v>0.0874555889587319</c:v>
                </c:pt>
                <c:pt idx="17">
                  <c:v>0.08243929983060418</c:v>
                </c:pt>
                <c:pt idx="18">
                  <c:v>0.09222298692360634</c:v>
                </c:pt>
                <c:pt idx="19">
                  <c:v>0.10606504541459127</c:v>
                </c:pt>
                <c:pt idx="20">
                  <c:v>0.09246575342465753</c:v>
                </c:pt>
                <c:pt idx="21">
                  <c:v>0.09531311539976368</c:v>
                </c:pt>
                <c:pt idx="22">
                  <c:v>0.09995969367190649</c:v>
                </c:pt>
                <c:pt idx="23">
                  <c:v>0.09720483938256154</c:v>
                </c:pt>
                <c:pt idx="24">
                  <c:v>0.09660678642714571</c:v>
                </c:pt>
                <c:pt idx="25">
                  <c:v>0.09005145797598628</c:v>
                </c:pt>
                <c:pt idx="26">
                  <c:v>0.0818260120585702</c:v>
                </c:pt>
                <c:pt idx="27">
                  <c:v>0.08754716981132075</c:v>
                </c:pt>
                <c:pt idx="28">
                  <c:v>0.08738828202581926</c:v>
                </c:pt>
                <c:pt idx="29">
                  <c:v>0.08673469387755102</c:v>
                </c:pt>
                <c:pt idx="30">
                  <c:v>0.0918409184091841</c:v>
                </c:pt>
                <c:pt idx="31">
                  <c:v>0.07519135524538496</c:v>
                </c:pt>
                <c:pt idx="32">
                  <c:v>0.07114624505928854</c:v>
                </c:pt>
                <c:pt idx="33">
                  <c:v>0.0887358184764992</c:v>
                </c:pt>
                <c:pt idx="34">
                  <c:v>0.09904534606205251</c:v>
                </c:pt>
                <c:pt idx="35">
                  <c:v>0.1136959370904325</c:v>
                </c:pt>
                <c:pt idx="36">
                  <c:v>0.08916586768935762</c:v>
                </c:pt>
                <c:pt idx="37">
                  <c:v>0.08699289000418235</c:v>
                </c:pt>
                <c:pt idx="38">
                  <c:v>0.10717529518619437</c:v>
                </c:pt>
                <c:pt idx="39">
                  <c:v>0.13175906913073238</c:v>
                </c:pt>
                <c:pt idx="40">
                  <c:v>0.12512315270935961</c:v>
                </c:pt>
                <c:pt idx="41">
                  <c:v>0.1287037037037037</c:v>
                </c:pt>
                <c:pt idx="42">
                  <c:v>0.12213225371120108</c:v>
                </c:pt>
                <c:pt idx="43">
                  <c:v>0.1290564153769346</c:v>
                </c:pt>
                <c:pt idx="44">
                  <c:v>0.12566673778536377</c:v>
                </c:pt>
                <c:pt idx="45">
                  <c:v>0.12650602409638553</c:v>
                </c:pt>
                <c:pt idx="46">
                  <c:v>0.1309723386420788</c:v>
                </c:pt>
                <c:pt idx="47">
                  <c:v>0.13409648405560098</c:v>
                </c:pt>
                <c:pt idx="48">
                  <c:v>0.14907697666318356</c:v>
                </c:pt>
                <c:pt idx="49">
                  <c:v>0.15466625463535227</c:v>
                </c:pt>
                <c:pt idx="50">
                  <c:v>0.18134611543838625</c:v>
                </c:pt>
                <c:pt idx="51">
                  <c:v>0.1612489991993594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8575409337363517</c:v>
                </c:pt>
              </c:numCache>
            </c:numRef>
          </c:xVal>
          <c:yVal>
            <c:numRef>
              <c:f>Sheet1!$B$163:$B$164</c:f>
              <c:numCache>
                <c:formatCode>General</c:formatCode>
                <c:ptCount val="2"/>
                <c:pt idx="0">
                  <c:v>0.17571969619478822</c:v>
                </c:pt>
                <c:pt idx="1">
                  <c:v>0.175719696194788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8575409337363517</c:v>
                </c:pt>
                <c:pt idx="1">
                  <c:v>0.28575409337363517</c:v>
                </c:pt>
              </c:numCache>
            </c:numRef>
          </c:xVal>
          <c:yVal>
            <c:numRef>
              <c:f>Sheet1!$B$167:$B$168</c:f>
              <c:numCache>
                <c:formatCode>General</c:formatCode>
                <c:ptCount val="2"/>
                <c:pt idx="0">
                  <c:v>0.175719696194788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6019650585591747</c:v>
                </c:pt>
              </c:numCache>
            </c:numRef>
          </c:xVal>
          <c:yVal>
            <c:numRef>
              <c:f>Sheet1!$B$171:$B$172</c:f>
              <c:numCache>
                <c:formatCode>General</c:formatCode>
                <c:ptCount val="2"/>
                <c:pt idx="0">
                  <c:v>0.1615845864840704</c:v>
                </c:pt>
                <c:pt idx="1">
                  <c:v>0.161584586484070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6019650585591747</c:v>
                </c:pt>
                <c:pt idx="1">
                  <c:v>0.26019650585591747</c:v>
                </c:pt>
              </c:numCache>
            </c:numRef>
          </c:xVal>
          <c:yVal>
            <c:numRef>
              <c:f>Sheet1!$B$175:$B$176</c:f>
              <c:numCache>
                <c:formatCode>General</c:formatCode>
                <c:ptCount val="2"/>
                <c:pt idx="0">
                  <c:v>0.16158458648407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1843720222113305</c:v>
                </c:pt>
              </c:numCache>
            </c:numRef>
          </c:xVal>
          <c:yVal>
            <c:numRef>
              <c:f>Sheet1!$B$179:$B$180</c:f>
              <c:numCache>
                <c:formatCode>General</c:formatCode>
                <c:ptCount val="2"/>
                <c:pt idx="0">
                  <c:v>0.1384888096267417</c:v>
                </c:pt>
                <c:pt idx="1">
                  <c:v>0.138488809626741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1843720222113305</c:v>
                </c:pt>
                <c:pt idx="1">
                  <c:v>0.21843720222113305</c:v>
                </c:pt>
              </c:numCache>
            </c:numRef>
          </c:xVal>
          <c:yVal>
            <c:numRef>
              <c:f>Sheet1!$B$183:$B$184</c:f>
              <c:numCache>
                <c:formatCode>General</c:formatCode>
                <c:ptCount val="2"/>
                <c:pt idx="0">
                  <c:v>0.138488809626741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7054628871369046</c:v>
                </c:pt>
                <c:pt idx="1">
                  <c:v>0.1709096054067392</c:v>
                </c:pt>
                <c:pt idx="2">
                  <c:v>0.1769077362562341</c:v>
                </c:pt>
                <c:pt idx="3">
                  <c:v>0.1761934896202757</c:v>
                </c:pt>
                <c:pt idx="4">
                  <c:v>0.1767501387956651</c:v>
                </c:pt>
                <c:pt idx="5">
                  <c:v>0.1791752849316637</c:v>
                </c:pt>
                <c:pt idx="6">
                  <c:v>0.1741392618830361</c:v>
                </c:pt>
                <c:pt idx="7">
                  <c:v>0.17049841321544223</c:v>
                </c:pt>
                <c:pt idx="8">
                  <c:v>0.1715746635670954</c:v>
                </c:pt>
                <c:pt idx="9">
                  <c:v>0.15622867379553512</c:v>
                </c:pt>
                <c:pt idx="10">
                  <c:v>0.17172675359444764</c:v>
                </c:pt>
                <c:pt idx="11">
                  <c:v>0.18675549635426297</c:v>
                </c:pt>
                <c:pt idx="12">
                  <c:v>0.1868055557764429</c:v>
                </c:pt>
                <c:pt idx="13">
                  <c:v>0.17195991924090406</c:v>
                </c:pt>
                <c:pt idx="14">
                  <c:v>0.1853893379440084</c:v>
                </c:pt>
                <c:pt idx="15">
                  <c:v>0.17204633420046453</c:v>
                </c:pt>
                <c:pt idx="16">
                  <c:v>0.17929780532047715</c:v>
                </c:pt>
                <c:pt idx="17">
                  <c:v>0.18074072273223757</c:v>
                </c:pt>
                <c:pt idx="18">
                  <c:v>0.1504984030842867</c:v>
                </c:pt>
                <c:pt idx="19">
                  <c:v>0.1445359827725107</c:v>
                </c:pt>
                <c:pt idx="20">
                  <c:v>0.13462110684750794</c:v>
                </c:pt>
                <c:pt idx="21">
                  <c:v>0.13140663877817166</c:v>
                </c:pt>
                <c:pt idx="22">
                  <c:v>0.1357069104412571</c:v>
                </c:pt>
                <c:pt idx="23">
                  <c:v>0.13706130238242656</c:v>
                </c:pt>
                <c:pt idx="24">
                  <c:v>0.1442083287215826</c:v>
                </c:pt>
                <c:pt idx="25">
                  <c:v>0.1511889191920922</c:v>
                </c:pt>
                <c:pt idx="26">
                  <c:v>0.15144221508544123</c:v>
                </c:pt>
                <c:pt idx="27">
                  <c:v>0.15086664573763203</c:v>
                </c:pt>
                <c:pt idx="28">
                  <c:v>0.16504209041734444</c:v>
                </c:pt>
                <c:pt idx="29">
                  <c:v>0.15561974185726646</c:v>
                </c:pt>
                <c:pt idx="30">
                  <c:v>0.14774894733209085</c:v>
                </c:pt>
                <c:pt idx="31">
                  <c:v>0.14745033683125952</c:v>
                </c:pt>
                <c:pt idx="32">
                  <c:v>0.15409834086888224</c:v>
                </c:pt>
                <c:pt idx="33">
                  <c:v>0.163421464524258</c:v>
                </c:pt>
                <c:pt idx="34">
                  <c:v>0.17394227141901367</c:v>
                </c:pt>
                <c:pt idx="35">
                  <c:v>0.16988269893803817</c:v>
                </c:pt>
                <c:pt idx="36">
                  <c:v>0.14464222290793227</c:v>
                </c:pt>
                <c:pt idx="37">
                  <c:v>0.14458529118025099</c:v>
                </c:pt>
                <c:pt idx="38">
                  <c:v>0.15067090348114082</c:v>
                </c:pt>
                <c:pt idx="39">
                  <c:v>0.15765819100823505</c:v>
                </c:pt>
                <c:pt idx="40">
                  <c:v>0.15677719164770917</c:v>
                </c:pt>
                <c:pt idx="41">
                  <c:v>0.1556550226580131</c:v>
                </c:pt>
                <c:pt idx="42">
                  <c:v>0.14820760014262666</c:v>
                </c:pt>
                <c:pt idx="43">
                  <c:v>0.16038899228539555</c:v>
                </c:pt>
                <c:pt idx="44">
                  <c:v>0.1668679798618136</c:v>
                </c:pt>
                <c:pt idx="45">
                  <c:v>0.17991487601907782</c:v>
                </c:pt>
                <c:pt idx="46">
                  <c:v>0.16966431216380254</c:v>
                </c:pt>
                <c:pt idx="47">
                  <c:v>0.17520614419365552</c:v>
                </c:pt>
                <c:pt idx="48">
                  <c:v>0.17064636641717945</c:v>
                </c:pt>
                <c:pt idx="49">
                  <c:v>0.17660565485790525</c:v>
                </c:pt>
                <c:pt idx="50">
                  <c:v>0.18155380082069192</c:v>
                </c:pt>
                <c:pt idx="51">
                  <c:v>0.17001738433941643</c:v>
                </c:pt>
                <c:pt idx="52">
                  <c:v>0.26019650585591747</c:v>
                </c:pt>
                <c:pt idx="53">
                  <c:v>0.28575409337363517</c:v>
                </c:pt>
                <c:pt idx="54">
                  <c:v>0.21843720222113305</c:v>
                </c:pt>
              </c:numCache>
            </c:numRef>
          </c:xVal>
          <c:yVal>
            <c:numRef>
              <c:f>Sheet1!$B$187:$B$241</c:f>
              <c:numCache>
                <c:formatCode>General</c:formatCode>
                <c:ptCount val="55"/>
                <c:pt idx="0">
                  <c:v>0.11200182934720976</c:v>
                </c:pt>
                <c:pt idx="1">
                  <c:v>0.11220276855214914</c:v>
                </c:pt>
                <c:pt idx="2">
                  <c:v>0.11552014886271544</c:v>
                </c:pt>
                <c:pt idx="3">
                  <c:v>0.11512512118051406</c:v>
                </c:pt>
                <c:pt idx="4">
                  <c:v>0.11543298659070017</c:v>
                </c:pt>
                <c:pt idx="5">
                  <c:v>0.11677425977124195</c:v>
                </c:pt>
                <c:pt idx="6">
                  <c:v>0.11398899147278825</c:v>
                </c:pt>
                <c:pt idx="7">
                  <c:v>0.11197535089263243</c:v>
                </c:pt>
                <c:pt idx="8">
                  <c:v>0.11257059161268355</c:v>
                </c:pt>
                <c:pt idx="9">
                  <c:v>0.10408320019163564</c:v>
                </c:pt>
                <c:pt idx="10">
                  <c:v>0.11265470789404383</c:v>
                </c:pt>
                <c:pt idx="11">
                  <c:v>0.12096663982333403</c:v>
                </c:pt>
                <c:pt idx="12">
                  <c:v>0.12099432613856538</c:v>
                </c:pt>
                <c:pt idx="13">
                  <c:v>0.11278366458806462</c:v>
                </c:pt>
                <c:pt idx="14">
                  <c:v>0.12021105993936489</c:v>
                </c:pt>
                <c:pt idx="15">
                  <c:v>0.11283145802448297</c:v>
                </c:pt>
                <c:pt idx="16">
                  <c:v>0.11684202200179196</c:v>
                </c:pt>
                <c:pt idx="17">
                  <c:v>0.11764005491098573</c:v>
                </c:pt>
                <c:pt idx="18">
                  <c:v>0.10091396502343136</c:v>
                </c:pt>
                <c:pt idx="19">
                  <c:v>0.09761633510472562</c:v>
                </c:pt>
                <c:pt idx="20">
                  <c:v>0.09213272445990586</c:v>
                </c:pt>
                <c:pt idx="21">
                  <c:v>0.09035490177651806</c:v>
                </c:pt>
                <c:pt idx="22">
                  <c:v>0.09273324878213683</c:v>
                </c:pt>
                <c:pt idx="23">
                  <c:v>0.09348232099665907</c:v>
                </c:pt>
                <c:pt idx="24">
                  <c:v>0.0974351198020755</c:v>
                </c:pt>
                <c:pt idx="25">
                  <c:v>0.10129586808584218</c:v>
                </c:pt>
                <c:pt idx="26">
                  <c:v>0.10143595819564931</c:v>
                </c:pt>
                <c:pt idx="27">
                  <c:v>0.10111762862437154</c:v>
                </c:pt>
                <c:pt idx="28">
                  <c:v>0.10895762782644959</c:v>
                </c:pt>
                <c:pt idx="29">
                  <c:v>0.10374641880537136</c:v>
                </c:pt>
                <c:pt idx="30">
                  <c:v>0.09939332624345612</c:v>
                </c:pt>
                <c:pt idx="31">
                  <c:v>0.09922817402840073</c:v>
                </c:pt>
                <c:pt idx="32">
                  <c:v>0.10290497906189412</c:v>
                </c:pt>
                <c:pt idx="33">
                  <c:v>0.10806130986283403</c:v>
                </c:pt>
                <c:pt idx="34">
                  <c:v>0.11388004215122212</c:v>
                </c:pt>
                <c:pt idx="35">
                  <c:v>0.11163481840475467</c:v>
                </c:pt>
                <c:pt idx="36">
                  <c:v>0.09767509323159594</c:v>
                </c:pt>
                <c:pt idx="37">
                  <c:v>0.09764360605714187</c:v>
                </c:pt>
                <c:pt idx="38">
                  <c:v>0.1010093696477131</c:v>
                </c:pt>
                <c:pt idx="39">
                  <c:v>0.10487382186595702</c:v>
                </c:pt>
                <c:pt idx="40">
                  <c:v>0.10438656841891424</c:v>
                </c:pt>
                <c:pt idx="41">
                  <c:v>0.1037659315230287</c:v>
                </c:pt>
                <c:pt idx="42">
                  <c:v>0.0996469929008258</c:v>
                </c:pt>
                <c:pt idx="43">
                  <c:v>0.10638414343383085</c:v>
                </c:pt>
                <c:pt idx="44">
                  <c:v>0.10996747069989454</c:v>
                </c:pt>
                <c:pt idx="45">
                  <c:v>0.11718330468420254</c:v>
                </c:pt>
                <c:pt idx="46">
                  <c:v>0.1115140354470107</c:v>
                </c:pt>
                <c:pt idx="47">
                  <c:v>0.1145790510196283</c:v>
                </c:pt>
                <c:pt idx="48">
                  <c:v>0.1120571792239316</c:v>
                </c:pt>
                <c:pt idx="49">
                  <c:v>0.11535307700180583</c:v>
                </c:pt>
                <c:pt idx="50">
                  <c:v>0.11808974320710193</c:v>
                </c:pt>
                <c:pt idx="51">
                  <c:v>0.11170930872680068</c:v>
                </c:pt>
                <c:pt idx="52">
                  <c:v>0.16158458648407037</c:v>
                </c:pt>
                <c:pt idx="53">
                  <c:v>0.17571969619478822</c:v>
                </c:pt>
                <c:pt idx="54">
                  <c:v>0.138488809626741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ve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061553985872857"/>
          <c:min val="0.0487576183778715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3.4784</c:v>
                </c:pt>
                <c:pt idx="1">
                  <c:v>924.2886</c:v>
                </c:pt>
                <c:pt idx="2">
                  <c:v>928.9563</c:v>
                </c:pt>
                <c:pt idx="3">
                  <c:v>923.5355</c:v>
                </c:pt>
                <c:pt idx="4">
                  <c:v>897.8341</c:v>
                </c:pt>
                <c:pt idx="5">
                  <c:v>858.6296</c:v>
                </c:pt>
                <c:pt idx="6">
                  <c:v>833.2201</c:v>
                </c:pt>
                <c:pt idx="7">
                  <c:v>825.6381</c:v>
                </c:pt>
                <c:pt idx="8">
                  <c:v>829.2556</c:v>
                </c:pt>
                <c:pt idx="9">
                  <c:v>803.3995</c:v>
                </c:pt>
                <c:pt idx="10">
                  <c:v>736.0563</c:v>
                </c:pt>
                <c:pt idx="11">
                  <c:v>726.824</c:v>
                </c:pt>
                <c:pt idx="12">
                  <c:v>768.4242</c:v>
                </c:pt>
                <c:pt idx="13">
                  <c:v>705.7289</c:v>
                </c:pt>
                <c:pt idx="14">
                  <c:v>869.0942</c:v>
                </c:pt>
                <c:pt idx="15">
                  <c:v>876.3908</c:v>
                </c:pt>
                <c:pt idx="16">
                  <c:v>919.2013</c:v>
                </c:pt>
                <c:pt idx="17">
                  <c:v>965.464</c:v>
                </c:pt>
                <c:pt idx="18">
                  <c:v>959.9223</c:v>
                </c:pt>
                <c:pt idx="19">
                  <c:v>957.3208</c:v>
                </c:pt>
                <c:pt idx="20">
                  <c:v>990.5422</c:v>
                </c:pt>
                <c:pt idx="21">
                  <c:v>983.6402</c:v>
                </c:pt>
                <c:pt idx="22">
                  <c:v>987.6957</c:v>
                </c:pt>
                <c:pt idx="23">
                  <c:v>985.4886</c:v>
                </c:pt>
                <c:pt idx="24">
                  <c:v>999.8042</c:v>
                </c:pt>
                <c:pt idx="25">
                  <c:v>994.4654</c:v>
                </c:pt>
                <c:pt idx="26">
                  <c:v>969.6018</c:v>
                </c:pt>
                <c:pt idx="27">
                  <c:v>974.996</c:v>
                </c:pt>
                <c:pt idx="28">
                  <c:v>975.1781</c:v>
                </c:pt>
                <c:pt idx="29">
                  <c:v>1028.637</c:v>
                </c:pt>
                <c:pt idx="30">
                  <c:v>1000.7056</c:v>
                </c:pt>
                <c:pt idx="31">
                  <c:v>1007.6816</c:v>
                </c:pt>
                <c:pt idx="32">
                  <c:v>1027.3083</c:v>
                </c:pt>
                <c:pt idx="33">
                  <c:v>1037.9776</c:v>
                </c:pt>
                <c:pt idx="34">
                  <c:v>1034.0625</c:v>
                </c:pt>
                <c:pt idx="35">
                  <c:v>1036.9604</c:v>
                </c:pt>
                <c:pt idx="36">
                  <c:v>1027.2975</c:v>
                </c:pt>
                <c:pt idx="37">
                  <c:v>1054.4516</c:v>
                </c:pt>
                <c:pt idx="38">
                  <c:v>1060.9607</c:v>
                </c:pt>
                <c:pt idx="39">
                  <c:v>1122.7689</c:v>
                </c:pt>
                <c:pt idx="40">
                  <c:v>1181.9241</c:v>
                </c:pt>
                <c:pt idx="41">
                  <c:v>1179.6126</c:v>
                </c:pt>
                <c:pt idx="42">
                  <c:v>1171.88</c:v>
                </c:pt>
                <c:pt idx="43">
                  <c:v>1173.9397</c:v>
                </c:pt>
                <c:pt idx="44">
                  <c:v>1192.3263</c:v>
                </c:pt>
                <c:pt idx="45">
                  <c:v>1196.2815</c:v>
                </c:pt>
                <c:pt idx="46">
                  <c:v>1156.875</c:v>
                </c:pt>
                <c:pt idx="47">
                  <c:v>1138.4759</c:v>
                </c:pt>
                <c:pt idx="48">
                  <c:v>1080.5036</c:v>
                </c:pt>
                <c:pt idx="49">
                  <c:v>996.8511</c:v>
                </c:pt>
                <c:pt idx="50">
                  <c:v>1053.5802</c:v>
                </c:pt>
                <c:pt idx="51">
                  <c:v>1044.7357</c:v>
                </c:pt>
                <c:pt idx="52">
                  <c:v>1044.2787</c:v>
                </c:pt>
                <c:pt idx="53">
                  <c:v>1210.1995</c:v>
                </c:pt>
                <c:pt idx="54">
                  <c:v>1211.5956</c:v>
                </c:pt>
                <c:pt idx="55">
                  <c:v>1206.5714</c:v>
                </c:pt>
                <c:pt idx="56">
                  <c:v>1190.4927</c:v>
                </c:pt>
                <c:pt idx="57">
                  <c:v>1194.3705</c:v>
                </c:pt>
                <c:pt idx="58">
                  <c:v>1196.714</c:v>
                </c:pt>
                <c:pt idx="59">
                  <c:v>1202.7661</c:v>
                </c:pt>
                <c:pt idx="60">
                  <c:v>1212.9897</c:v>
                </c:pt>
                <c:pt idx="61">
                  <c:v>1164.976</c:v>
                </c:pt>
                <c:pt idx="62">
                  <c:v>1071.8587</c:v>
                </c:pt>
                <c:pt idx="63">
                  <c:v>1082.2465</c:v>
                </c:pt>
                <c:pt idx="64">
                  <c:v>1107.2259</c:v>
                </c:pt>
                <c:pt idx="65">
                  <c:v>1074.89</c:v>
                </c:pt>
                <c:pt idx="66">
                  <c:v>1160.1052</c:v>
                </c:pt>
                <c:pt idx="67">
                  <c:v>1199.26</c:v>
                </c:pt>
                <c:pt idx="68">
                  <c:v>1181.5855</c:v>
                </c:pt>
                <c:pt idx="69">
                  <c:v>1237.1495</c:v>
                </c:pt>
                <c:pt idx="70">
                  <c:v>1246.9</c:v>
                </c:pt>
                <c:pt idx="71">
                  <c:v>1236.2716</c:v>
                </c:pt>
                <c:pt idx="72">
                  <c:v>1225.7472</c:v>
                </c:pt>
                <c:pt idx="73">
                  <c:v>1228.5161</c:v>
                </c:pt>
                <c:pt idx="74">
                  <c:v>1225.0656</c:v>
                </c:pt>
                <c:pt idx="75">
                  <c:v>1225.6749</c:v>
                </c:pt>
                <c:pt idx="76">
                  <c:v>1148.8853</c:v>
                </c:pt>
                <c:pt idx="77">
                  <c:v>1140.4251</c:v>
                </c:pt>
                <c:pt idx="78">
                  <c:v>1123.2958</c:v>
                </c:pt>
                <c:pt idx="79">
                  <c:v>1110.9289</c:v>
                </c:pt>
                <c:pt idx="80">
                  <c:v>1161.861</c:v>
                </c:pt>
                <c:pt idx="81">
                  <c:v>1256.5761</c:v>
                </c:pt>
                <c:pt idx="82">
                  <c:v>1256.2069</c:v>
                </c:pt>
                <c:pt idx="83">
                  <c:v>1221.0813</c:v>
                </c:pt>
                <c:pt idx="84">
                  <c:v>1273.4228</c:v>
                </c:pt>
                <c:pt idx="85">
                  <c:v>1300.8923</c:v>
                </c:pt>
                <c:pt idx="86">
                  <c:v>1311.6791</c:v>
                </c:pt>
                <c:pt idx="87">
                  <c:v>1288.9754</c:v>
                </c:pt>
                <c:pt idx="88">
                  <c:v>1279.0341</c:v>
                </c:pt>
                <c:pt idx="89">
                  <c:v>1307.3765</c:v>
                </c:pt>
                <c:pt idx="90">
                  <c:v>1303.2418</c:v>
                </c:pt>
                <c:pt idx="91">
                  <c:v>1311.5593</c:v>
                </c:pt>
                <c:pt idx="92">
                  <c:v>1260.5917</c:v>
                </c:pt>
                <c:pt idx="93">
                  <c:v>1262.9611</c:v>
                </c:pt>
                <c:pt idx="94">
                  <c:v>1239.185</c:v>
                </c:pt>
                <c:pt idx="95">
                  <c:v>1235.635</c:v>
                </c:pt>
                <c:pt idx="96">
                  <c:v>1172.1799</c:v>
                </c:pt>
                <c:pt idx="97">
                  <c:v>1195.1038</c:v>
                </c:pt>
                <c:pt idx="98">
                  <c:v>1161.8619</c:v>
                </c:pt>
                <c:pt idx="99">
                  <c:v>1152.3808</c:v>
                </c:pt>
                <c:pt idx="100">
                  <c:v>1111.2239</c:v>
                </c:pt>
                <c:pt idx="101">
                  <c:v>1218.3133</c:v>
                </c:pt>
                <c:pt idx="102">
                  <c:v>1202.6993</c:v>
                </c:pt>
                <c:pt idx="103">
                  <c:v>1153.0138</c:v>
                </c:pt>
                <c:pt idx="104">
                  <c:v>1148.2793</c:v>
                </c:pt>
              </c:numCache>
            </c:numRef>
          </c:xVal>
          <c:yVal>
            <c:numRef>
              <c:f>Sheet1!$B$2:$B$106</c:f>
              <c:numCache>
                <c:formatCode>General</c:formatCode>
                <c:ptCount val="105"/>
                <c:pt idx="0">
                  <c:v>0.13427074717397297</c:v>
                </c:pt>
                <c:pt idx="1">
                  <c:v>0.1202069385270846</c:v>
                </c:pt>
                <c:pt idx="2">
                  <c:v>0.12754107490949596</c:v>
                </c:pt>
                <c:pt idx="3">
                  <c:v>0.12725684333139195</c:v>
                </c:pt>
                <c:pt idx="4">
                  <c:v>0.1633227736712425</c:v>
                </c:pt>
                <c:pt idx="5">
                  <c:v>0.20968303726924417</c:v>
                </c:pt>
                <c:pt idx="6">
                  <c:v>0.2364175172867962</c:v>
                </c:pt>
                <c:pt idx="7">
                  <c:v>0.22059871703492517</c:v>
                </c:pt>
                <c:pt idx="8">
                  <c:v>0.24217961654894046</c:v>
                </c:pt>
                <c:pt idx="9">
                  <c:v>0.2414469994391475</c:v>
                </c:pt>
                <c:pt idx="10">
                  <c:v>0.23595505617977527</c:v>
                </c:pt>
                <c:pt idx="11">
                  <c:v>0.23183962264150942</c:v>
                </c:pt>
                <c:pt idx="12">
                  <c:v>0.20474967907573813</c:v>
                </c:pt>
                <c:pt idx="13">
                  <c:v>0.1973006134969325</c:v>
                </c:pt>
                <c:pt idx="14">
                  <c:v>0.1620933521923621</c:v>
                </c:pt>
                <c:pt idx="15">
                  <c:v>0.13411458333333334</c:v>
                </c:pt>
                <c:pt idx="16">
                  <c:v>0.11000369139904023</c:v>
                </c:pt>
                <c:pt idx="17">
                  <c:v>0.09394837071519255</c:v>
                </c:pt>
                <c:pt idx="18">
                  <c:v>0.08697611536728256</c:v>
                </c:pt>
                <c:pt idx="19">
                  <c:v>0.07957957957957958</c:v>
                </c:pt>
                <c:pt idx="20">
                  <c:v>0.09942554131683606</c:v>
                </c:pt>
                <c:pt idx="21">
                  <c:v>0.0910843373493976</c:v>
                </c:pt>
                <c:pt idx="22">
                  <c:v>0.07091469681397738</c:v>
                </c:pt>
                <c:pt idx="23">
                  <c:v>0.08893380495199596</c:v>
                </c:pt>
                <c:pt idx="24">
                  <c:v>0.09251101321585903</c:v>
                </c:pt>
                <c:pt idx="25">
                  <c:v>0.08225556130367305</c:v>
                </c:pt>
                <c:pt idx="26">
                  <c:v>0.09800443458980045</c:v>
                </c:pt>
                <c:pt idx="27">
                  <c:v>0.11557788944723618</c:v>
                </c:pt>
                <c:pt idx="28">
                  <c:v>0.11515151515151516</c:v>
                </c:pt>
                <c:pt idx="29">
                  <c:v>0.11750503018108652</c:v>
                </c:pt>
                <c:pt idx="30">
                  <c:v>0.12556962025316457</c:v>
                </c:pt>
                <c:pt idx="31">
                  <c:v>0.11542443064182195</c:v>
                </c:pt>
                <c:pt idx="32">
                  <c:v>0.12888436067244013</c:v>
                </c:pt>
                <c:pt idx="33">
                  <c:v>0.11785400175901495</c:v>
                </c:pt>
                <c:pt idx="34">
                  <c:v>0.12234494477485132</c:v>
                </c:pt>
                <c:pt idx="35">
                  <c:v>0.16348577601728484</c:v>
                </c:pt>
                <c:pt idx="36">
                  <c:v>0.13529631010063362</c:v>
                </c:pt>
                <c:pt idx="37">
                  <c:v>0.12146277753591642</c:v>
                </c:pt>
                <c:pt idx="38">
                  <c:v>0.11839323467230443</c:v>
                </c:pt>
                <c:pt idx="39">
                  <c:v>0.11349546971864569</c:v>
                </c:pt>
                <c:pt idx="40">
                  <c:v>0.11539992041384799</c:v>
                </c:pt>
                <c:pt idx="41">
                  <c:v>0.10976138828633406</c:v>
                </c:pt>
                <c:pt idx="42">
                  <c:v>0.11896046852122986</c:v>
                </c:pt>
                <c:pt idx="43">
                  <c:v>0.12146422628951747</c:v>
                </c:pt>
                <c:pt idx="44">
                  <c:v>0.11178168459721857</c:v>
                </c:pt>
                <c:pt idx="45">
                  <c:v>0.11015881018401814</c:v>
                </c:pt>
                <c:pt idx="46">
                  <c:v>0.11380084851509857</c:v>
                </c:pt>
                <c:pt idx="47">
                  <c:v>0.1018041237113402</c:v>
                </c:pt>
                <c:pt idx="48">
                  <c:v>0.10218978102189781</c:v>
                </c:pt>
                <c:pt idx="49">
                  <c:v>0.1284156353388065</c:v>
                </c:pt>
                <c:pt idx="50">
                  <c:v>0.11115561786501102</c:v>
                </c:pt>
                <c:pt idx="51">
                  <c:v>0.11254162042175361</c:v>
                </c:pt>
                <c:pt idx="52">
                  <c:v>0.10813472523143589</c:v>
                </c:pt>
                <c:pt idx="53">
                  <c:v>0.09897435897435898</c:v>
                </c:pt>
                <c:pt idx="54">
                  <c:v>0.09769959404600811</c:v>
                </c:pt>
                <c:pt idx="55">
                  <c:v>0.09923447689254324</c:v>
                </c:pt>
                <c:pt idx="56">
                  <c:v>0.11205247335337525</c:v>
                </c:pt>
                <c:pt idx="57">
                  <c:v>0.10125030644765874</c:v>
                </c:pt>
                <c:pt idx="58">
                  <c:v>0.10614262179336315</c:v>
                </c:pt>
                <c:pt idx="59">
                  <c:v>0.09303058971933144</c:v>
                </c:pt>
                <c:pt idx="60">
                  <c:v>0.09547985587946282</c:v>
                </c:pt>
                <c:pt idx="61">
                  <c:v>0.09913606911447084</c:v>
                </c:pt>
                <c:pt idx="62">
                  <c:v>0.10485525416001823</c:v>
                </c:pt>
                <c:pt idx="63">
                  <c:v>0.10827296988181472</c:v>
                </c:pt>
                <c:pt idx="64">
                  <c:v>0.10044642857142858</c:v>
                </c:pt>
                <c:pt idx="65">
                  <c:v>0.10498581272800973</c:v>
                </c:pt>
                <c:pt idx="66">
                  <c:v>0.09874973511337147</c:v>
                </c:pt>
                <c:pt idx="67">
                  <c:v>0.09221713538260301</c:v>
                </c:pt>
                <c:pt idx="68">
                  <c:v>0.08138711960368011</c:v>
                </c:pt>
                <c:pt idx="69">
                  <c:v>0.06966145833333333</c:v>
                </c:pt>
                <c:pt idx="70">
                  <c:v>0.08130081300813008</c:v>
                </c:pt>
                <c:pt idx="71">
                  <c:v>0.07125307125307126</c:v>
                </c:pt>
                <c:pt idx="72">
                  <c:v>0.07948410317936412</c:v>
                </c:pt>
                <c:pt idx="73">
                  <c:v>0.07556368068251067</c:v>
                </c:pt>
                <c:pt idx="74">
                  <c:v>0.07519260400616333</c:v>
                </c:pt>
                <c:pt idx="75">
                  <c:v>0.07231920199501247</c:v>
                </c:pt>
                <c:pt idx="76">
                  <c:v>0.08065112837587865</c:v>
                </c:pt>
                <c:pt idx="77">
                  <c:v>0.0779367469879518</c:v>
                </c:pt>
                <c:pt idx="78">
                  <c:v>0.08711656441717791</c:v>
                </c:pt>
                <c:pt idx="79">
                  <c:v>0.09402423735896365</c:v>
                </c:pt>
                <c:pt idx="80">
                  <c:v>0.09437156157427</c:v>
                </c:pt>
                <c:pt idx="81">
                  <c:v>0.08113522537562605</c:v>
                </c:pt>
                <c:pt idx="82">
                  <c:v>0.07455012853470437</c:v>
                </c:pt>
                <c:pt idx="83">
                  <c:v>0.0644316396018858</c:v>
                </c:pt>
                <c:pt idx="84">
                  <c:v>0.06453305351521511</c:v>
                </c:pt>
                <c:pt idx="85">
                  <c:v>0.06094702297233943</c:v>
                </c:pt>
                <c:pt idx="86">
                  <c:v>0.06619469026548673</c:v>
                </c:pt>
                <c:pt idx="87">
                  <c:v>0.087486554320545</c:v>
                </c:pt>
                <c:pt idx="88">
                  <c:v>0.08738277919863598</c:v>
                </c:pt>
                <c:pt idx="89">
                  <c:v>0.06985769728331177</c:v>
                </c:pt>
                <c:pt idx="90">
                  <c:v>0.06731192256929168</c:v>
                </c:pt>
                <c:pt idx="91">
                  <c:v>0.07609630266552021</c:v>
                </c:pt>
                <c:pt idx="92">
                  <c:v>0.08708272859216255</c:v>
                </c:pt>
                <c:pt idx="93">
                  <c:v>0.08094488188976377</c:v>
                </c:pt>
                <c:pt idx="94">
                  <c:v>0.07567158531971245</c:v>
                </c:pt>
                <c:pt idx="95">
                  <c:v>0.07995331193463671</c:v>
                </c:pt>
                <c:pt idx="96">
                  <c:v>0.09115022908126356</c:v>
                </c:pt>
                <c:pt idx="97">
                  <c:v>0.09120193275619086</c:v>
                </c:pt>
                <c:pt idx="98">
                  <c:v>0.09766763848396501</c:v>
                </c:pt>
                <c:pt idx="99">
                  <c:v>0.1019409282700422</c:v>
                </c:pt>
                <c:pt idx="100">
                  <c:v>0.12390198797965789</c:v>
                </c:pt>
                <c:pt idx="101">
                  <c:v>0.10869565217391304</c:v>
                </c:pt>
                <c:pt idx="102">
                  <c:v>0.10570286959680349</c:v>
                </c:pt>
                <c:pt idx="103">
                  <c:v>0.11062368872782757</c:v>
                </c:pt>
                <c:pt idx="104">
                  <c:v>0.1081309398099260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4.4972</c:v>
                </c:pt>
                <c:pt idx="1">
                  <c:v>1220.1543</c:v>
                </c:pt>
                <c:pt idx="2">
                  <c:v>1227.0345</c:v>
                </c:pt>
                <c:pt idx="3">
                  <c:v>1222.0387</c:v>
                </c:pt>
                <c:pt idx="4">
                  <c:v>1222.9314</c:v>
                </c:pt>
                <c:pt idx="5">
                  <c:v>1223.762</c:v>
                </c:pt>
                <c:pt idx="6">
                  <c:v>1231.1922</c:v>
                </c:pt>
                <c:pt idx="7">
                  <c:v>1231.3333</c:v>
                </c:pt>
                <c:pt idx="8">
                  <c:v>1250.1146</c:v>
                </c:pt>
                <c:pt idx="9">
                  <c:v>1132.6397</c:v>
                </c:pt>
                <c:pt idx="10">
                  <c:v>1153.9076</c:v>
                </c:pt>
                <c:pt idx="11">
                  <c:v>1238.3638</c:v>
                </c:pt>
                <c:pt idx="12">
                  <c:v>1233.32</c:v>
                </c:pt>
                <c:pt idx="13">
                  <c:v>1158.413</c:v>
                </c:pt>
                <c:pt idx="14">
                  <c:v>1234.9974</c:v>
                </c:pt>
                <c:pt idx="15">
                  <c:v>1144.6724</c:v>
                </c:pt>
                <c:pt idx="16">
                  <c:v>1233.8438</c:v>
                </c:pt>
                <c:pt idx="17">
                  <c:v>1241.5411</c:v>
                </c:pt>
                <c:pt idx="18">
                  <c:v>1275.1007</c:v>
                </c:pt>
                <c:pt idx="19">
                  <c:v>1249.6575</c:v>
                </c:pt>
                <c:pt idx="20">
                  <c:v>1199.101</c:v>
                </c:pt>
                <c:pt idx="21">
                  <c:v>1193.6488</c:v>
                </c:pt>
                <c:pt idx="22">
                  <c:v>1185.7782</c:v>
                </c:pt>
                <c:pt idx="23">
                  <c:v>1194.8455</c:v>
                </c:pt>
                <c:pt idx="24">
                  <c:v>1273.3306</c:v>
                </c:pt>
                <c:pt idx="25">
                  <c:v>1302.981</c:v>
                </c:pt>
                <c:pt idx="26">
                  <c:v>1304.7211</c:v>
                </c:pt>
                <c:pt idx="27">
                  <c:v>1289.3578</c:v>
                </c:pt>
                <c:pt idx="28">
                  <c:v>1309.6856</c:v>
                </c:pt>
                <c:pt idx="29">
                  <c:v>1283.2398</c:v>
                </c:pt>
                <c:pt idx="30">
                  <c:v>1284.2634</c:v>
                </c:pt>
                <c:pt idx="31">
                  <c:v>1271.5689</c:v>
                </c:pt>
                <c:pt idx="32">
                  <c:v>1292.0278</c:v>
                </c:pt>
                <c:pt idx="33">
                  <c:v>1300.7169</c:v>
                </c:pt>
                <c:pt idx="34">
                  <c:v>1293.5392</c:v>
                </c:pt>
                <c:pt idx="35">
                  <c:v>1283.6571</c:v>
                </c:pt>
                <c:pt idx="36">
                  <c:v>1263.2366</c:v>
                </c:pt>
                <c:pt idx="37">
                  <c:v>1246.2933</c:v>
                </c:pt>
                <c:pt idx="38">
                  <c:v>1261.3856</c:v>
                </c:pt>
                <c:pt idx="39">
                  <c:v>1229.6675</c:v>
                </c:pt>
                <c:pt idx="40">
                  <c:v>1217.6929</c:v>
                </c:pt>
                <c:pt idx="41">
                  <c:v>1225.458</c:v>
                </c:pt>
                <c:pt idx="42">
                  <c:v>1235.442</c:v>
                </c:pt>
                <c:pt idx="43">
                  <c:v>1223.6925</c:v>
                </c:pt>
                <c:pt idx="44">
                  <c:v>1193.9576</c:v>
                </c:pt>
                <c:pt idx="45">
                  <c:v>1188.0294</c:v>
                </c:pt>
                <c:pt idx="46">
                  <c:v>1190.6272</c:v>
                </c:pt>
                <c:pt idx="47">
                  <c:v>1188.3735</c:v>
                </c:pt>
                <c:pt idx="48">
                  <c:v>1113.2664</c:v>
                </c:pt>
                <c:pt idx="49">
                  <c:v>1088.7233</c:v>
                </c:pt>
                <c:pt idx="50">
                  <c:v>1070.5165</c:v>
                </c:pt>
                <c:pt idx="51">
                  <c:v>1074.9106</c:v>
                </c:pt>
              </c:numCache>
            </c:numRef>
          </c:xVal>
          <c:yVal>
            <c:numRef>
              <c:f>Sheet1!$B$109:$B$160</c:f>
              <c:numCache>
                <c:formatCode>General</c:formatCode>
                <c:ptCount val="52"/>
                <c:pt idx="0">
                  <c:v>0.11234796949082664</c:v>
                </c:pt>
                <c:pt idx="1">
                  <c:v>0.10485396091615885</c:v>
                </c:pt>
                <c:pt idx="2">
                  <c:v>0.11253644314868805</c:v>
                </c:pt>
                <c:pt idx="3">
                  <c:v>0.12994034302759136</c:v>
                </c:pt>
                <c:pt idx="4">
                  <c:v>0.12</c:v>
                </c:pt>
                <c:pt idx="5">
                  <c:v>0.11276308167599923</c:v>
                </c:pt>
                <c:pt idx="6">
                  <c:v>0.09708534283916964</c:v>
                </c:pt>
                <c:pt idx="7">
                  <c:v>0.09267059814658804</c:v>
                </c:pt>
                <c:pt idx="8">
                  <c:v>0.08981693363844394</c:v>
                </c:pt>
                <c:pt idx="9">
                  <c:v>0.10577188621927644</c:v>
                </c:pt>
                <c:pt idx="10">
                  <c:v>0.10910031023784902</c:v>
                </c:pt>
                <c:pt idx="11">
                  <c:v>0.10275470048097946</c:v>
                </c:pt>
                <c:pt idx="12">
                  <c:v>0.10693381359747861</c:v>
                </c:pt>
                <c:pt idx="13">
                  <c:v>0.10628342245989304</c:v>
                </c:pt>
                <c:pt idx="14">
                  <c:v>0.09347181008902077</c:v>
                </c:pt>
                <c:pt idx="15">
                  <c:v>0.10380710659898477</c:v>
                </c:pt>
                <c:pt idx="16">
                  <c:v>0.0874555889587319</c:v>
                </c:pt>
                <c:pt idx="17">
                  <c:v>0.08243929983060418</c:v>
                </c:pt>
                <c:pt idx="18">
                  <c:v>0.09222298692360634</c:v>
                </c:pt>
                <c:pt idx="19">
                  <c:v>0.10606504541459127</c:v>
                </c:pt>
                <c:pt idx="20">
                  <c:v>0.09246575342465753</c:v>
                </c:pt>
                <c:pt idx="21">
                  <c:v>0.09531311539976368</c:v>
                </c:pt>
                <c:pt idx="22">
                  <c:v>0.09995969367190649</c:v>
                </c:pt>
                <c:pt idx="23">
                  <c:v>0.09720483938256154</c:v>
                </c:pt>
                <c:pt idx="24">
                  <c:v>0.09660678642714571</c:v>
                </c:pt>
                <c:pt idx="25">
                  <c:v>0.09005145797598628</c:v>
                </c:pt>
                <c:pt idx="26">
                  <c:v>0.0818260120585702</c:v>
                </c:pt>
                <c:pt idx="27">
                  <c:v>0.08754716981132075</c:v>
                </c:pt>
                <c:pt idx="28">
                  <c:v>0.08738828202581926</c:v>
                </c:pt>
                <c:pt idx="29">
                  <c:v>0.08673469387755102</c:v>
                </c:pt>
                <c:pt idx="30">
                  <c:v>0.0918409184091841</c:v>
                </c:pt>
                <c:pt idx="31">
                  <c:v>0.07519135524538496</c:v>
                </c:pt>
                <c:pt idx="32">
                  <c:v>0.07114624505928854</c:v>
                </c:pt>
                <c:pt idx="33">
                  <c:v>0.0887358184764992</c:v>
                </c:pt>
                <c:pt idx="34">
                  <c:v>0.09904534606205251</c:v>
                </c:pt>
                <c:pt idx="35">
                  <c:v>0.1136959370904325</c:v>
                </c:pt>
                <c:pt idx="36">
                  <c:v>0.08916586768935762</c:v>
                </c:pt>
                <c:pt idx="37">
                  <c:v>0.08699289000418235</c:v>
                </c:pt>
                <c:pt idx="38">
                  <c:v>0.10717529518619437</c:v>
                </c:pt>
                <c:pt idx="39">
                  <c:v>0.13175906913073238</c:v>
                </c:pt>
                <c:pt idx="40">
                  <c:v>0.12512315270935961</c:v>
                </c:pt>
                <c:pt idx="41">
                  <c:v>0.1287037037037037</c:v>
                </c:pt>
                <c:pt idx="42">
                  <c:v>0.12213225371120108</c:v>
                </c:pt>
                <c:pt idx="43">
                  <c:v>0.1290564153769346</c:v>
                </c:pt>
                <c:pt idx="44">
                  <c:v>0.12566673778536377</c:v>
                </c:pt>
                <c:pt idx="45">
                  <c:v>0.12650602409638553</c:v>
                </c:pt>
                <c:pt idx="46">
                  <c:v>0.1309723386420788</c:v>
                </c:pt>
                <c:pt idx="47">
                  <c:v>0.13409648405560098</c:v>
                </c:pt>
                <c:pt idx="48">
                  <c:v>0.14907697666318356</c:v>
                </c:pt>
                <c:pt idx="49">
                  <c:v>0.15466625463535227</c:v>
                </c:pt>
                <c:pt idx="50">
                  <c:v>0.18134611543838625</c:v>
                </c:pt>
                <c:pt idx="51">
                  <c:v>0.1612489991993594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87.8198020705274</c:v>
                </c:pt>
              </c:numCache>
            </c:numRef>
          </c:xVal>
          <c:yVal>
            <c:numRef>
              <c:f>Sheet1!$B$163:$B$164</c:f>
              <c:numCache>
                <c:formatCode>General</c:formatCode>
                <c:ptCount val="2"/>
                <c:pt idx="0">
                  <c:v>0.17571969619478822</c:v>
                </c:pt>
                <c:pt idx="1">
                  <c:v>0.175719696194788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87.8198020705274</c:v>
                </c:pt>
                <c:pt idx="1">
                  <c:v>987.8198020705274</c:v>
                </c:pt>
              </c:numCache>
            </c:numRef>
          </c:xVal>
          <c:yVal>
            <c:numRef>
              <c:f>Sheet1!$B$167:$B$168</c:f>
              <c:numCache>
                <c:formatCode>General</c:formatCode>
                <c:ptCount val="2"/>
                <c:pt idx="0">
                  <c:v>0.175719696194788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6.809482583582</c:v>
                </c:pt>
              </c:numCache>
            </c:numRef>
          </c:xVal>
          <c:yVal>
            <c:numRef>
              <c:f>Sheet1!$B$171:$B$172</c:f>
              <c:numCache>
                <c:formatCode>General</c:formatCode>
                <c:ptCount val="2"/>
                <c:pt idx="0">
                  <c:v>0.1615845864840704</c:v>
                </c:pt>
                <c:pt idx="1">
                  <c:v>0.161584586484070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6.809482583582</c:v>
                </c:pt>
                <c:pt idx="1">
                  <c:v>1036.809482583582</c:v>
                </c:pt>
              </c:numCache>
            </c:numRef>
          </c:xVal>
          <c:yVal>
            <c:numRef>
              <c:f>Sheet1!$B$175:$B$176</c:f>
              <c:numCache>
                <c:formatCode>General</c:formatCode>
                <c:ptCount val="2"/>
                <c:pt idx="0">
                  <c:v>0.16158458648407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16.8551810321344</c:v>
                </c:pt>
              </c:numCache>
            </c:numRef>
          </c:xVal>
          <c:yVal>
            <c:numRef>
              <c:f>Sheet1!$B$179:$B$180</c:f>
              <c:numCache>
                <c:formatCode>General</c:formatCode>
                <c:ptCount val="2"/>
                <c:pt idx="0">
                  <c:v>0.1384888096267417</c:v>
                </c:pt>
                <c:pt idx="1">
                  <c:v>0.138488809626741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16.8551810321344</c:v>
                </c:pt>
                <c:pt idx="1">
                  <c:v>1116.8551810321344</c:v>
                </c:pt>
              </c:numCache>
            </c:numRef>
          </c:xVal>
          <c:yVal>
            <c:numRef>
              <c:f>Sheet1!$B$183:$B$184</c:f>
              <c:numCache>
                <c:formatCode>General</c:formatCode>
                <c:ptCount val="2"/>
                <c:pt idx="0">
                  <c:v>0.138488809626741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4.4972</c:v>
                </c:pt>
                <c:pt idx="1">
                  <c:v>1220.1543</c:v>
                </c:pt>
                <c:pt idx="2">
                  <c:v>1227.0345</c:v>
                </c:pt>
                <c:pt idx="3">
                  <c:v>1222.0387</c:v>
                </c:pt>
                <c:pt idx="4">
                  <c:v>1222.9314</c:v>
                </c:pt>
                <c:pt idx="5">
                  <c:v>1223.762</c:v>
                </c:pt>
                <c:pt idx="6">
                  <c:v>1231.1922</c:v>
                </c:pt>
                <c:pt idx="7">
                  <c:v>1231.3333</c:v>
                </c:pt>
                <c:pt idx="8">
                  <c:v>1250.1146</c:v>
                </c:pt>
                <c:pt idx="9">
                  <c:v>1132.6397</c:v>
                </c:pt>
                <c:pt idx="10">
                  <c:v>1153.9076</c:v>
                </c:pt>
                <c:pt idx="11">
                  <c:v>1238.3638</c:v>
                </c:pt>
                <c:pt idx="12">
                  <c:v>1233.32</c:v>
                </c:pt>
                <c:pt idx="13">
                  <c:v>1158.413</c:v>
                </c:pt>
                <c:pt idx="14">
                  <c:v>1234.9974</c:v>
                </c:pt>
                <c:pt idx="15">
                  <c:v>1144.6724</c:v>
                </c:pt>
                <c:pt idx="16">
                  <c:v>1233.8438</c:v>
                </c:pt>
                <c:pt idx="17">
                  <c:v>1241.5411</c:v>
                </c:pt>
                <c:pt idx="18">
                  <c:v>1275.1007</c:v>
                </c:pt>
                <c:pt idx="19">
                  <c:v>1249.6575</c:v>
                </c:pt>
                <c:pt idx="20">
                  <c:v>1199.101</c:v>
                </c:pt>
                <c:pt idx="21">
                  <c:v>1193.6488</c:v>
                </c:pt>
                <c:pt idx="22">
                  <c:v>1185.7782</c:v>
                </c:pt>
                <c:pt idx="23">
                  <c:v>1194.8455</c:v>
                </c:pt>
                <c:pt idx="24">
                  <c:v>1273.3306</c:v>
                </c:pt>
                <c:pt idx="25">
                  <c:v>1302.981</c:v>
                </c:pt>
                <c:pt idx="26">
                  <c:v>1304.7211</c:v>
                </c:pt>
                <c:pt idx="27">
                  <c:v>1289.3578</c:v>
                </c:pt>
                <c:pt idx="28">
                  <c:v>1309.6856</c:v>
                </c:pt>
                <c:pt idx="29">
                  <c:v>1283.2398</c:v>
                </c:pt>
                <c:pt idx="30">
                  <c:v>1284.2634</c:v>
                </c:pt>
                <c:pt idx="31">
                  <c:v>1271.5689</c:v>
                </c:pt>
                <c:pt idx="32">
                  <c:v>1292.0278</c:v>
                </c:pt>
                <c:pt idx="33">
                  <c:v>1300.7169</c:v>
                </c:pt>
                <c:pt idx="34">
                  <c:v>1293.5392</c:v>
                </c:pt>
                <c:pt idx="35">
                  <c:v>1283.6571</c:v>
                </c:pt>
                <c:pt idx="36">
                  <c:v>1263.2366</c:v>
                </c:pt>
                <c:pt idx="37">
                  <c:v>1246.2933</c:v>
                </c:pt>
                <c:pt idx="38">
                  <c:v>1261.3856</c:v>
                </c:pt>
                <c:pt idx="39">
                  <c:v>1229.6675</c:v>
                </c:pt>
                <c:pt idx="40">
                  <c:v>1217.6929</c:v>
                </c:pt>
                <c:pt idx="41">
                  <c:v>1225.458</c:v>
                </c:pt>
                <c:pt idx="42">
                  <c:v>1235.442</c:v>
                </c:pt>
                <c:pt idx="43">
                  <c:v>1223.6925</c:v>
                </c:pt>
                <c:pt idx="44">
                  <c:v>1193.9576</c:v>
                </c:pt>
                <c:pt idx="45">
                  <c:v>1188.0294</c:v>
                </c:pt>
                <c:pt idx="46">
                  <c:v>1190.6272</c:v>
                </c:pt>
                <c:pt idx="47">
                  <c:v>1188.3735</c:v>
                </c:pt>
                <c:pt idx="48">
                  <c:v>1113.2664</c:v>
                </c:pt>
                <c:pt idx="49">
                  <c:v>1088.7233</c:v>
                </c:pt>
                <c:pt idx="50">
                  <c:v>1070.5165</c:v>
                </c:pt>
                <c:pt idx="51">
                  <c:v>1074.9106</c:v>
                </c:pt>
                <c:pt idx="52">
                  <c:v>1036.809482583582</c:v>
                </c:pt>
                <c:pt idx="53">
                  <c:v>987.8198020705274</c:v>
                </c:pt>
                <c:pt idx="54">
                  <c:v>1116.8551810321344</c:v>
                </c:pt>
              </c:numCache>
            </c:numRef>
          </c:xVal>
          <c:yVal>
            <c:numRef>
              <c:f>Sheet1!$B$187:$B$241</c:f>
              <c:numCache>
                <c:formatCode>General</c:formatCode>
                <c:ptCount val="55"/>
                <c:pt idx="0">
                  <c:v>0.113201248238186</c:v>
                </c:pt>
                <c:pt idx="1">
                  <c:v>0.10868366772053589</c:v>
                </c:pt>
                <c:pt idx="2">
                  <c:v>0.10669850715583762</c:v>
                </c:pt>
                <c:pt idx="3">
                  <c:v>0.10813995728070597</c:v>
                </c:pt>
                <c:pt idx="4">
                  <c:v>0.10788238441420417</c:v>
                </c:pt>
                <c:pt idx="5">
                  <c:v>0.1076427294092569</c:v>
                </c:pt>
                <c:pt idx="6">
                  <c:v>0.10549887602885794</c:v>
                </c:pt>
                <c:pt idx="7">
                  <c:v>0.10545816410832087</c:v>
                </c:pt>
                <c:pt idx="8">
                  <c:v>0.10003915069101221</c:v>
                </c:pt>
                <c:pt idx="9">
                  <c:v>0.13393446460948383</c:v>
                </c:pt>
                <c:pt idx="10">
                  <c:v>0.12779798654577262</c:v>
                </c:pt>
                <c:pt idx="11">
                  <c:v>0.10342963712507752</c:v>
                </c:pt>
                <c:pt idx="12">
                  <c:v>0.10488493680477073</c:v>
                </c:pt>
                <c:pt idx="13">
                  <c:v>0.12649803270603088</c:v>
                </c:pt>
                <c:pt idx="14">
                  <c:v>0.10440095257012277</c:v>
                </c:pt>
                <c:pt idx="15">
                  <c:v>0.13046264089406212</c:v>
                </c:pt>
                <c:pt idx="16">
                  <c:v>0.10473380353774514</c:v>
                </c:pt>
                <c:pt idx="17">
                  <c:v>0.10251288315539414</c:v>
                </c:pt>
                <c:pt idx="18">
                  <c:v>0.09282985148668588</c:v>
                </c:pt>
                <c:pt idx="19">
                  <c:v>0.10017103884747913</c:v>
                </c:pt>
                <c:pt idx="20">
                  <c:v>0.1147582267328845</c:v>
                </c:pt>
                <c:pt idx="21">
                  <c:v>0.11633136304154529</c:v>
                </c:pt>
                <c:pt idx="22">
                  <c:v>0.11860228608746165</c:v>
                </c:pt>
                <c:pt idx="23">
                  <c:v>0.11598607632781976</c:v>
                </c:pt>
                <c:pt idx="24">
                  <c:v>0.09334058267408918</c:v>
                </c:pt>
                <c:pt idx="25">
                  <c:v>0.08478548183290313</c:v>
                </c:pt>
                <c:pt idx="26">
                  <c:v>0.0842834066172653</c:v>
                </c:pt>
                <c:pt idx="27">
                  <c:v>0.08871621631809207</c:v>
                </c:pt>
                <c:pt idx="28">
                  <c:v>0.08285098755627224</c:v>
                </c:pt>
                <c:pt idx="29">
                  <c:v>0.09048145749346831</c:v>
                </c:pt>
                <c:pt idx="30">
                  <c:v>0.09018611573682966</c:v>
                </c:pt>
                <c:pt idx="31">
                  <c:v>0.09384889018939818</c:v>
                </c:pt>
                <c:pt idx="32">
                  <c:v>0.08794583483096313</c:v>
                </c:pt>
                <c:pt idx="33">
                  <c:v>0.08543874802204493</c:v>
                </c:pt>
                <c:pt idx="34">
                  <c:v>0.08750974697341762</c:v>
                </c:pt>
                <c:pt idx="35">
                  <c:v>0.09036105292621033</c:v>
                </c:pt>
                <c:pt idx="36">
                  <c:v>0.0962530286407855</c:v>
                </c:pt>
                <c:pt idx="37">
                  <c:v>0.10114171952126155</c:v>
                </c:pt>
                <c:pt idx="38">
                  <c:v>0.09678710209871638</c:v>
                </c:pt>
                <c:pt idx="39">
                  <c:v>0.1059388013672195</c:v>
                </c:pt>
                <c:pt idx="40">
                  <c:v>0.10939386135065537</c:v>
                </c:pt>
                <c:pt idx="41">
                  <c:v>0.10715337847211426</c:v>
                </c:pt>
                <c:pt idx="42">
                  <c:v>0.10427267106855814</c:v>
                </c:pt>
                <c:pt idx="43">
                  <c:v>0.10766278241051352</c:v>
                </c:pt>
                <c:pt idx="44">
                  <c:v>0.11624226423883915</c:v>
                </c:pt>
                <c:pt idx="45">
                  <c:v>0.11795274196617905</c:v>
                </c:pt>
                <c:pt idx="46">
                  <c:v>0.11720319251776579</c:v>
                </c:pt>
                <c:pt idx="47">
                  <c:v>0.11785345797002883</c:v>
                </c:pt>
                <c:pt idx="48">
                  <c:v>0.13952428920296484</c:v>
                </c:pt>
                <c:pt idx="49">
                  <c:v>0.14660576855755403</c:v>
                </c:pt>
                <c:pt idx="50">
                  <c:v>0.15185902011555352</c:v>
                </c:pt>
                <c:pt idx="51">
                  <c:v>0.15059117993106175</c:v>
                </c:pt>
                <c:pt idx="52">
                  <c:v>0.16158458648407037</c:v>
                </c:pt>
                <c:pt idx="53">
                  <c:v>0.17571969619478822</c:v>
                </c:pt>
                <c:pt idx="54">
                  <c:v>0.138488809626741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4.0"/>
          <c:min val="56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061553985872857"/>
          <c:min val="0.0487576183778715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8002502357211491</c:v>
                </c:pt>
                <c:pt idx="1">
                  <c:v>0.08404452903740195</c:v>
                </c:pt>
                <c:pt idx="2">
                  <c:v>0.08495228547944424</c:v>
                </c:pt>
                <c:pt idx="3">
                  <c:v>0.08939688654277195</c:v>
                </c:pt>
                <c:pt idx="4">
                  <c:v>0.08226485925656722</c:v>
                </c:pt>
                <c:pt idx="5">
                  <c:v>0.07687278056075623</c:v>
                </c:pt>
                <c:pt idx="6">
                  <c:v>0.07805790070232803</c:v>
                </c:pt>
                <c:pt idx="7">
                  <c:v>0.07294822957444871</c:v>
                </c:pt>
                <c:pt idx="8">
                  <c:v>0.07005640979211089</c:v>
                </c:pt>
                <c:pt idx="9">
                  <c:v>0.07113050561213309</c:v>
                </c:pt>
                <c:pt idx="10">
                  <c:v>0.061614386575372625</c:v>
                </c:pt>
                <c:pt idx="11">
                  <c:v>0.06354504009045549</c:v>
                </c:pt>
                <c:pt idx="12">
                  <c:v>0.06431382726420834</c:v>
                </c:pt>
                <c:pt idx="13">
                  <c:v>0.05920075624883398</c:v>
                </c:pt>
                <c:pt idx="14">
                  <c:v>0.0671829011225131</c:v>
                </c:pt>
                <c:pt idx="15">
                  <c:v>0.06637444337166748</c:v>
                </c:pt>
                <c:pt idx="16">
                  <c:v>0.07208364677428764</c:v>
                </c:pt>
                <c:pt idx="17">
                  <c:v>0.07552582740494759</c:v>
                </c:pt>
                <c:pt idx="18">
                  <c:v>0.07266785602790465</c:v>
                </c:pt>
                <c:pt idx="19">
                  <c:v>0.07497994508231927</c:v>
                </c:pt>
                <c:pt idx="20">
                  <c:v>0.07633138907600177</c:v>
                </c:pt>
                <c:pt idx="21">
                  <c:v>0.07685451123012917</c:v>
                </c:pt>
                <c:pt idx="22">
                  <c:v>0.07371014703659963</c:v>
                </c:pt>
                <c:pt idx="23">
                  <c:v>0.07391463207506874</c:v>
                </c:pt>
                <c:pt idx="24">
                  <c:v>0.0712925059547853</c:v>
                </c:pt>
                <c:pt idx="25">
                  <c:v>0.07833023461954189</c:v>
                </c:pt>
                <c:pt idx="26">
                  <c:v>0.07961718721670917</c:v>
                </c:pt>
                <c:pt idx="27">
                  <c:v>0.0811374414145741</c:v>
                </c:pt>
                <c:pt idx="28">
                  <c:v>0.08418621341582501</c:v>
                </c:pt>
                <c:pt idx="29">
                  <c:v>0.08503162378991459</c:v>
                </c:pt>
                <c:pt idx="30">
                  <c:v>0.08143799007835785</c:v>
                </c:pt>
                <c:pt idx="31">
                  <c:v>0.08415335287376964</c:v>
                </c:pt>
                <c:pt idx="32">
                  <c:v>0.08532491153166372</c:v>
                </c:pt>
                <c:pt idx="33">
                  <c:v>0.09121439089744392</c:v>
                </c:pt>
                <c:pt idx="34">
                  <c:v>0.08635158343908467</c:v>
                </c:pt>
                <c:pt idx="35">
                  <c:v>0.08940077553177171</c:v>
                </c:pt>
                <c:pt idx="36">
                  <c:v>0.0886720969431012</c:v>
                </c:pt>
                <c:pt idx="37">
                  <c:v>0.08707383617235147</c:v>
                </c:pt>
                <c:pt idx="38">
                  <c:v>0.09159404368374122</c:v>
                </c:pt>
                <c:pt idx="39">
                  <c:v>0.0915797658445744</c:v>
                </c:pt>
                <c:pt idx="40">
                  <c:v>0.09563327110999717</c:v>
                </c:pt>
                <c:pt idx="41">
                  <c:v>0.09946951256167373</c:v>
                </c:pt>
                <c:pt idx="42">
                  <c:v>0.09719639556537672</c:v>
                </c:pt>
                <c:pt idx="43">
                  <c:v>0.10163031888903594</c:v>
                </c:pt>
                <c:pt idx="44">
                  <c:v>0.09870509928700198</c:v>
                </c:pt>
                <c:pt idx="45">
                  <c:v>0.10921385731379166</c:v>
                </c:pt>
                <c:pt idx="46">
                  <c:v>0.10443738197729505</c:v>
                </c:pt>
                <c:pt idx="47">
                  <c:v>0.10145392116210249</c:v>
                </c:pt>
                <c:pt idx="48">
                  <c:v>0.09818805163803751</c:v>
                </c:pt>
                <c:pt idx="49">
                  <c:v>0.10291892130971572</c:v>
                </c:pt>
                <c:pt idx="50">
                  <c:v>0.09725912074330112</c:v>
                </c:pt>
                <c:pt idx="51">
                  <c:v>0.0970003524464014</c:v>
                </c:pt>
                <c:pt idx="52">
                  <c:v>0.09759300261748596</c:v>
                </c:pt>
                <c:pt idx="53">
                  <c:v>0.10636068443436315</c:v>
                </c:pt>
                <c:pt idx="54">
                  <c:v>0.10774585889479579</c:v>
                </c:pt>
                <c:pt idx="55">
                  <c:v>0.10722321711205096</c:v>
                </c:pt>
                <c:pt idx="56">
                  <c:v>0.10485545936401502</c:v>
                </c:pt>
                <c:pt idx="57">
                  <c:v>0.10860007248306433</c:v>
                </c:pt>
                <c:pt idx="58">
                  <c:v>0.10231989762623693</c:v>
                </c:pt>
                <c:pt idx="59">
                  <c:v>0.10332166702508419</c:v>
                </c:pt>
                <c:pt idx="60">
                  <c:v>0.10876578816519902</c:v>
                </c:pt>
                <c:pt idx="61">
                  <c:v>0.09665802916042816</c:v>
                </c:pt>
                <c:pt idx="62">
                  <c:v>0.091332843013542</c:v>
                </c:pt>
                <c:pt idx="63">
                  <c:v>0.09438958197294008</c:v>
                </c:pt>
                <c:pt idx="64">
                  <c:v>0.10014456586347333</c:v>
                </c:pt>
                <c:pt idx="65">
                  <c:v>0.0985099310967531</c:v>
                </c:pt>
                <c:pt idx="66">
                  <c:v>0.10451810620995675</c:v>
                </c:pt>
                <c:pt idx="67">
                  <c:v>0.09761371795468274</c:v>
                </c:pt>
                <c:pt idx="68">
                  <c:v>0.1010409033920128</c:v>
                </c:pt>
                <c:pt idx="69">
                  <c:v>0.10117590881686309</c:v>
                </c:pt>
                <c:pt idx="70">
                  <c:v>0.10660230232418069</c:v>
                </c:pt>
                <c:pt idx="71">
                  <c:v>0.10103941816173244</c:v>
                </c:pt>
                <c:pt idx="72">
                  <c:v>0.10302751553296215</c:v>
                </c:pt>
                <c:pt idx="73">
                  <c:v>0.09863923637386461</c:v>
                </c:pt>
                <c:pt idx="74">
                  <c:v>0.10196310922556506</c:v>
                </c:pt>
                <c:pt idx="75">
                  <c:v>0.09704629817640356</c:v>
                </c:pt>
                <c:pt idx="76">
                  <c:v>0.08793488072792306</c:v>
                </c:pt>
                <c:pt idx="77">
                  <c:v>0.08938901865496159</c:v>
                </c:pt>
                <c:pt idx="78">
                  <c:v>0.08768529129357053</c:v>
                </c:pt>
                <c:pt idx="79">
                  <c:v>0.08689498874954661</c:v>
                </c:pt>
                <c:pt idx="80">
                  <c:v>0.08881206380282036</c:v>
                </c:pt>
                <c:pt idx="81">
                  <c:v>0.10092899655424455</c:v>
                </c:pt>
                <c:pt idx="82">
                  <c:v>0.09639909682170193</c:v>
                </c:pt>
                <c:pt idx="83">
                  <c:v>0.09666221395688222</c:v>
                </c:pt>
                <c:pt idx="84">
                  <c:v>0.10148454632968312</c:v>
                </c:pt>
                <c:pt idx="85">
                  <c:v>0.09855200796529784</c:v>
                </c:pt>
                <c:pt idx="86">
                  <c:v>0.10219460907640802</c:v>
                </c:pt>
                <c:pt idx="87">
                  <c:v>0.09332864214609754</c:v>
                </c:pt>
                <c:pt idx="88">
                  <c:v>0.09359674399146878</c:v>
                </c:pt>
                <c:pt idx="89">
                  <c:v>0.1005036766872212</c:v>
                </c:pt>
                <c:pt idx="90">
                  <c:v>0.10038346841750607</c:v>
                </c:pt>
                <c:pt idx="91">
                  <c:v>0.10518850122153496</c:v>
                </c:pt>
                <c:pt idx="92">
                  <c:v>0.09722989315802096</c:v>
                </c:pt>
                <c:pt idx="93">
                  <c:v>0.10188066776566192</c:v>
                </c:pt>
                <c:pt idx="94">
                  <c:v>0.10077773999018592</c:v>
                </c:pt>
                <c:pt idx="95">
                  <c:v>0.09439820363076103</c:v>
                </c:pt>
                <c:pt idx="96">
                  <c:v>0.09372696840343511</c:v>
                </c:pt>
                <c:pt idx="97">
                  <c:v>0.09114072423204594</c:v>
                </c:pt>
                <c:pt idx="98">
                  <c:v>0.09234332825472087</c:v>
                </c:pt>
                <c:pt idx="99">
                  <c:v>0.09272808213276468</c:v>
                </c:pt>
                <c:pt idx="100">
                  <c:v>0.09459553341109715</c:v>
                </c:pt>
                <c:pt idx="101">
                  <c:v>0.10001761844108051</c:v>
                </c:pt>
                <c:pt idx="102">
                  <c:v>0.10057393657906057</c:v>
                </c:pt>
                <c:pt idx="103">
                  <c:v>0.09601510361958368</c:v>
                </c:pt>
                <c:pt idx="104">
                  <c:v>0.09003674526737344</c:v>
                </c:pt>
              </c:numCache>
            </c:numRef>
          </c:xVal>
          <c:yVal>
            <c:numRef>
              <c:f>Sheet1!$B$2:$B$106</c:f>
              <c:numCache>
                <c:formatCode>General</c:formatCode>
                <c:ptCount val="105"/>
                <c:pt idx="0">
                  <c:v>0.13427074717397297</c:v>
                </c:pt>
                <c:pt idx="1">
                  <c:v>0.1202069385270846</c:v>
                </c:pt>
                <c:pt idx="2">
                  <c:v>0.12754107490949596</c:v>
                </c:pt>
                <c:pt idx="3">
                  <c:v>0.12725684333139195</c:v>
                </c:pt>
                <c:pt idx="4">
                  <c:v>0.1633227736712425</c:v>
                </c:pt>
                <c:pt idx="5">
                  <c:v>0.20968303726924417</c:v>
                </c:pt>
                <c:pt idx="6">
                  <c:v>0.2364175172867962</c:v>
                </c:pt>
                <c:pt idx="7">
                  <c:v>0.22059871703492517</c:v>
                </c:pt>
                <c:pt idx="8">
                  <c:v>0.24217961654894046</c:v>
                </c:pt>
                <c:pt idx="9">
                  <c:v>0.2414469994391475</c:v>
                </c:pt>
                <c:pt idx="10">
                  <c:v>0.23595505617977527</c:v>
                </c:pt>
                <c:pt idx="11">
                  <c:v>0.23183962264150942</c:v>
                </c:pt>
                <c:pt idx="12">
                  <c:v>0.20474967907573813</c:v>
                </c:pt>
                <c:pt idx="13">
                  <c:v>0.1973006134969325</c:v>
                </c:pt>
                <c:pt idx="14">
                  <c:v>0.1620933521923621</c:v>
                </c:pt>
                <c:pt idx="15">
                  <c:v>0.13411458333333334</c:v>
                </c:pt>
                <c:pt idx="16">
                  <c:v>0.11000369139904023</c:v>
                </c:pt>
                <c:pt idx="17">
                  <c:v>0.09394837071519255</c:v>
                </c:pt>
                <c:pt idx="18">
                  <c:v>0.08697611536728256</c:v>
                </c:pt>
                <c:pt idx="19">
                  <c:v>0.07957957957957958</c:v>
                </c:pt>
                <c:pt idx="20">
                  <c:v>0.09942554131683606</c:v>
                </c:pt>
                <c:pt idx="21">
                  <c:v>0.0910843373493976</c:v>
                </c:pt>
                <c:pt idx="22">
                  <c:v>0.07091469681397738</c:v>
                </c:pt>
                <c:pt idx="23">
                  <c:v>0.08893380495199596</c:v>
                </c:pt>
                <c:pt idx="24">
                  <c:v>0.09251101321585903</c:v>
                </c:pt>
                <c:pt idx="25">
                  <c:v>0.08225556130367305</c:v>
                </c:pt>
                <c:pt idx="26">
                  <c:v>0.09800443458980045</c:v>
                </c:pt>
                <c:pt idx="27">
                  <c:v>0.11557788944723618</c:v>
                </c:pt>
                <c:pt idx="28">
                  <c:v>0.11515151515151516</c:v>
                </c:pt>
                <c:pt idx="29">
                  <c:v>0.11750503018108652</c:v>
                </c:pt>
                <c:pt idx="30">
                  <c:v>0.12556962025316457</c:v>
                </c:pt>
                <c:pt idx="31">
                  <c:v>0.11542443064182195</c:v>
                </c:pt>
                <c:pt idx="32">
                  <c:v>0.12888436067244013</c:v>
                </c:pt>
                <c:pt idx="33">
                  <c:v>0.11785400175901495</c:v>
                </c:pt>
                <c:pt idx="34">
                  <c:v>0.12234494477485132</c:v>
                </c:pt>
                <c:pt idx="35">
                  <c:v>0.16348577601728484</c:v>
                </c:pt>
                <c:pt idx="36">
                  <c:v>0.13529631010063362</c:v>
                </c:pt>
                <c:pt idx="37">
                  <c:v>0.12146277753591642</c:v>
                </c:pt>
                <c:pt idx="38">
                  <c:v>0.11839323467230443</c:v>
                </c:pt>
                <c:pt idx="39">
                  <c:v>0.11349546971864569</c:v>
                </c:pt>
                <c:pt idx="40">
                  <c:v>0.11539992041384799</c:v>
                </c:pt>
                <c:pt idx="41">
                  <c:v>0.10976138828633406</c:v>
                </c:pt>
                <c:pt idx="42">
                  <c:v>0.11896046852122986</c:v>
                </c:pt>
                <c:pt idx="43">
                  <c:v>0.12146422628951747</c:v>
                </c:pt>
                <c:pt idx="44">
                  <c:v>0.11178168459721857</c:v>
                </c:pt>
                <c:pt idx="45">
                  <c:v>0.11015881018401814</c:v>
                </c:pt>
                <c:pt idx="46">
                  <c:v>0.11380084851509857</c:v>
                </c:pt>
                <c:pt idx="47">
                  <c:v>0.1018041237113402</c:v>
                </c:pt>
                <c:pt idx="48">
                  <c:v>0.10218978102189781</c:v>
                </c:pt>
                <c:pt idx="49">
                  <c:v>0.1284156353388065</c:v>
                </c:pt>
                <c:pt idx="50">
                  <c:v>0.11115561786501102</c:v>
                </c:pt>
                <c:pt idx="51">
                  <c:v>0.11254162042175361</c:v>
                </c:pt>
                <c:pt idx="52">
                  <c:v>0.10813472523143589</c:v>
                </c:pt>
                <c:pt idx="53">
                  <c:v>0.09897435897435898</c:v>
                </c:pt>
                <c:pt idx="54">
                  <c:v>0.09769959404600811</c:v>
                </c:pt>
                <c:pt idx="55">
                  <c:v>0.09923447689254324</c:v>
                </c:pt>
                <c:pt idx="56">
                  <c:v>0.11205247335337525</c:v>
                </c:pt>
                <c:pt idx="57">
                  <c:v>0.10125030644765874</c:v>
                </c:pt>
                <c:pt idx="58">
                  <c:v>0.10614262179336315</c:v>
                </c:pt>
                <c:pt idx="59">
                  <c:v>0.09303058971933144</c:v>
                </c:pt>
                <c:pt idx="60">
                  <c:v>0.09547985587946282</c:v>
                </c:pt>
                <c:pt idx="61">
                  <c:v>0.09913606911447084</c:v>
                </c:pt>
                <c:pt idx="62">
                  <c:v>0.10485525416001823</c:v>
                </c:pt>
                <c:pt idx="63">
                  <c:v>0.10827296988181472</c:v>
                </c:pt>
                <c:pt idx="64">
                  <c:v>0.10044642857142858</c:v>
                </c:pt>
                <c:pt idx="65">
                  <c:v>0.10498581272800973</c:v>
                </c:pt>
                <c:pt idx="66">
                  <c:v>0.09874973511337147</c:v>
                </c:pt>
                <c:pt idx="67">
                  <c:v>0.09221713538260301</c:v>
                </c:pt>
                <c:pt idx="68">
                  <c:v>0.08138711960368011</c:v>
                </c:pt>
                <c:pt idx="69">
                  <c:v>0.06966145833333333</c:v>
                </c:pt>
                <c:pt idx="70">
                  <c:v>0.08130081300813008</c:v>
                </c:pt>
                <c:pt idx="71">
                  <c:v>0.07125307125307126</c:v>
                </c:pt>
                <c:pt idx="72">
                  <c:v>0.07948410317936412</c:v>
                </c:pt>
                <c:pt idx="73">
                  <c:v>0.07556368068251067</c:v>
                </c:pt>
                <c:pt idx="74">
                  <c:v>0.07519260400616333</c:v>
                </c:pt>
                <c:pt idx="75">
                  <c:v>0.07231920199501247</c:v>
                </c:pt>
                <c:pt idx="76">
                  <c:v>0.08065112837587865</c:v>
                </c:pt>
                <c:pt idx="77">
                  <c:v>0.0779367469879518</c:v>
                </c:pt>
                <c:pt idx="78">
                  <c:v>0.08711656441717791</c:v>
                </c:pt>
                <c:pt idx="79">
                  <c:v>0.09402423735896365</c:v>
                </c:pt>
                <c:pt idx="80">
                  <c:v>0.09437156157427</c:v>
                </c:pt>
                <c:pt idx="81">
                  <c:v>0.08113522537562605</c:v>
                </c:pt>
                <c:pt idx="82">
                  <c:v>0.07455012853470437</c:v>
                </c:pt>
                <c:pt idx="83">
                  <c:v>0.0644316396018858</c:v>
                </c:pt>
                <c:pt idx="84">
                  <c:v>0.06453305351521511</c:v>
                </c:pt>
                <c:pt idx="85">
                  <c:v>0.06094702297233943</c:v>
                </c:pt>
                <c:pt idx="86">
                  <c:v>0.06619469026548673</c:v>
                </c:pt>
                <c:pt idx="87">
                  <c:v>0.087486554320545</c:v>
                </c:pt>
                <c:pt idx="88">
                  <c:v>0.08738277919863598</c:v>
                </c:pt>
                <c:pt idx="89">
                  <c:v>0.06985769728331177</c:v>
                </c:pt>
                <c:pt idx="90">
                  <c:v>0.06731192256929168</c:v>
                </c:pt>
                <c:pt idx="91">
                  <c:v>0.07609630266552021</c:v>
                </c:pt>
                <c:pt idx="92">
                  <c:v>0.08708272859216255</c:v>
                </c:pt>
                <c:pt idx="93">
                  <c:v>0.08094488188976377</c:v>
                </c:pt>
                <c:pt idx="94">
                  <c:v>0.07567158531971245</c:v>
                </c:pt>
                <c:pt idx="95">
                  <c:v>0.07995331193463671</c:v>
                </c:pt>
                <c:pt idx="96">
                  <c:v>0.09115022908126356</c:v>
                </c:pt>
                <c:pt idx="97">
                  <c:v>0.09120193275619086</c:v>
                </c:pt>
                <c:pt idx="98">
                  <c:v>0.09766763848396501</c:v>
                </c:pt>
                <c:pt idx="99">
                  <c:v>0.1019409282700422</c:v>
                </c:pt>
                <c:pt idx="100">
                  <c:v>0.12390198797965789</c:v>
                </c:pt>
                <c:pt idx="101">
                  <c:v>0.10869565217391304</c:v>
                </c:pt>
                <c:pt idx="102">
                  <c:v>0.10570286959680349</c:v>
                </c:pt>
                <c:pt idx="103">
                  <c:v>0.11062368872782757</c:v>
                </c:pt>
                <c:pt idx="104">
                  <c:v>0.1081309398099260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9690288800400762</c:v>
                </c:pt>
                <c:pt idx="1">
                  <c:v>0.09089655865791306</c:v>
                </c:pt>
                <c:pt idx="2">
                  <c:v>0.09580606268704105</c:v>
                </c:pt>
                <c:pt idx="3">
                  <c:v>0.08861762135907686</c:v>
                </c:pt>
                <c:pt idx="4">
                  <c:v>0.10002977259143526</c:v>
                </c:pt>
                <c:pt idx="5">
                  <c:v>0.09740088903078083</c:v>
                </c:pt>
                <c:pt idx="6">
                  <c:v>0.09577369447422265</c:v>
                </c:pt>
                <c:pt idx="7">
                  <c:v>0.10082718141482594</c:v>
                </c:pt>
                <c:pt idx="8">
                  <c:v>0.10318968373412303</c:v>
                </c:pt>
                <c:pt idx="9">
                  <c:v>0.09163827909214552</c:v>
                </c:pt>
                <c:pt idx="10">
                  <c:v>0.0946709903651755</c:v>
                </c:pt>
                <c:pt idx="11">
                  <c:v>0.10411819334318226</c:v>
                </c:pt>
                <c:pt idx="12">
                  <c:v>0.10586578892334933</c:v>
                </c:pt>
                <c:pt idx="13">
                  <c:v>0.09500113788501006</c:v>
                </c:pt>
                <c:pt idx="14">
                  <c:v>0.10414571924310914</c:v>
                </c:pt>
                <c:pt idx="15">
                  <c:v>0.09026726504994335</c:v>
                </c:pt>
                <c:pt idx="16">
                  <c:v>0.09908450070829493</c:v>
                </c:pt>
                <c:pt idx="17">
                  <c:v>0.10302328265707128</c:v>
                </c:pt>
                <c:pt idx="18">
                  <c:v>0.09847975333534623</c:v>
                </c:pt>
                <c:pt idx="19">
                  <c:v>0.09725412166976771</c:v>
                </c:pt>
                <c:pt idx="20">
                  <c:v>0.08826668497512433</c:v>
                </c:pt>
                <c:pt idx="21">
                  <c:v>0.09564730792001612</c:v>
                </c:pt>
                <c:pt idx="22">
                  <c:v>0.0913215035951514</c:v>
                </c:pt>
                <c:pt idx="23">
                  <c:v>0.09278242354706494</c:v>
                </c:pt>
                <c:pt idx="24">
                  <c:v>0.10083939233534342</c:v>
                </c:pt>
                <c:pt idx="25">
                  <c:v>0.09857428264167586</c:v>
                </c:pt>
                <c:pt idx="26">
                  <c:v>0.10407665169695245</c:v>
                </c:pt>
                <c:pt idx="27">
                  <c:v>0.0974877357941755</c:v>
                </c:pt>
                <c:pt idx="28">
                  <c:v>0.09929350420394001</c:v>
                </c:pt>
                <c:pt idx="29">
                  <c:v>0.1050290433701904</c:v>
                </c:pt>
                <c:pt idx="30">
                  <c:v>0.09655415735534303</c:v>
                </c:pt>
                <c:pt idx="31">
                  <c:v>0.10172062940978832</c:v>
                </c:pt>
                <c:pt idx="32">
                  <c:v>0.09964022939216789</c:v>
                </c:pt>
                <c:pt idx="33">
                  <c:v>0.10112796685770069</c:v>
                </c:pt>
                <c:pt idx="34">
                  <c:v>0.10302276271326478</c:v>
                </c:pt>
                <c:pt idx="35">
                  <c:v>0.10761461693931135</c:v>
                </c:pt>
                <c:pt idx="36">
                  <c:v>0.10016264143370705</c:v>
                </c:pt>
                <c:pt idx="37">
                  <c:v>0.09740607471252569</c:v>
                </c:pt>
                <c:pt idx="38">
                  <c:v>0.10338264601420517</c:v>
                </c:pt>
                <c:pt idx="39">
                  <c:v>0.09515468616714773</c:v>
                </c:pt>
                <c:pt idx="40">
                  <c:v>0.09656802823860063</c:v>
                </c:pt>
                <c:pt idx="41">
                  <c:v>0.09781381465264764</c:v>
                </c:pt>
                <c:pt idx="42">
                  <c:v>0.1011302703919814</c:v>
                </c:pt>
                <c:pt idx="43">
                  <c:v>0.09974297991204666</c:v>
                </c:pt>
                <c:pt idx="44">
                  <c:v>0.0967412414447098</c:v>
                </c:pt>
                <c:pt idx="45">
                  <c:v>0.10135443628351933</c:v>
                </c:pt>
                <c:pt idx="46">
                  <c:v>0.10029913411206734</c:v>
                </c:pt>
                <c:pt idx="47">
                  <c:v>0.10207394329532013</c:v>
                </c:pt>
                <c:pt idx="48">
                  <c:v>0.09977489519936523</c:v>
                </c:pt>
                <c:pt idx="49">
                  <c:v>0.10257866233295934</c:v>
                </c:pt>
                <c:pt idx="50">
                  <c:v>0.10589491745863236</c:v>
                </c:pt>
                <c:pt idx="51">
                  <c:v>0.09449402154730786</c:v>
                </c:pt>
              </c:numCache>
            </c:numRef>
          </c:xVal>
          <c:yVal>
            <c:numRef>
              <c:f>Sheet1!$B$109:$B$160</c:f>
              <c:numCache>
                <c:formatCode>General</c:formatCode>
                <c:ptCount val="52"/>
                <c:pt idx="0">
                  <c:v>0.11234796949082664</c:v>
                </c:pt>
                <c:pt idx="1">
                  <c:v>0.10485396091615885</c:v>
                </c:pt>
                <c:pt idx="2">
                  <c:v>0.11253644314868805</c:v>
                </c:pt>
                <c:pt idx="3">
                  <c:v>0.12994034302759136</c:v>
                </c:pt>
                <c:pt idx="4">
                  <c:v>0.12</c:v>
                </c:pt>
                <c:pt idx="5">
                  <c:v>0.11276308167599923</c:v>
                </c:pt>
                <c:pt idx="6">
                  <c:v>0.09708534283916964</c:v>
                </c:pt>
                <c:pt idx="7">
                  <c:v>0.09267059814658804</c:v>
                </c:pt>
                <c:pt idx="8">
                  <c:v>0.08981693363844394</c:v>
                </c:pt>
                <c:pt idx="9">
                  <c:v>0.10577188621927644</c:v>
                </c:pt>
                <c:pt idx="10">
                  <c:v>0.10910031023784902</c:v>
                </c:pt>
                <c:pt idx="11">
                  <c:v>0.10275470048097946</c:v>
                </c:pt>
                <c:pt idx="12">
                  <c:v>0.10693381359747861</c:v>
                </c:pt>
                <c:pt idx="13">
                  <c:v>0.10628342245989304</c:v>
                </c:pt>
                <c:pt idx="14">
                  <c:v>0.09347181008902077</c:v>
                </c:pt>
                <c:pt idx="15">
                  <c:v>0.10380710659898477</c:v>
                </c:pt>
                <c:pt idx="16">
                  <c:v>0.0874555889587319</c:v>
                </c:pt>
                <c:pt idx="17">
                  <c:v>0.08243929983060418</c:v>
                </c:pt>
                <c:pt idx="18">
                  <c:v>0.09222298692360634</c:v>
                </c:pt>
                <c:pt idx="19">
                  <c:v>0.10606504541459127</c:v>
                </c:pt>
                <c:pt idx="20">
                  <c:v>0.09246575342465753</c:v>
                </c:pt>
                <c:pt idx="21">
                  <c:v>0.09531311539976368</c:v>
                </c:pt>
                <c:pt idx="22">
                  <c:v>0.09995969367190649</c:v>
                </c:pt>
                <c:pt idx="23">
                  <c:v>0.09720483938256154</c:v>
                </c:pt>
                <c:pt idx="24">
                  <c:v>0.09660678642714571</c:v>
                </c:pt>
                <c:pt idx="25">
                  <c:v>0.09005145797598628</c:v>
                </c:pt>
                <c:pt idx="26">
                  <c:v>0.0818260120585702</c:v>
                </c:pt>
                <c:pt idx="27">
                  <c:v>0.08754716981132075</c:v>
                </c:pt>
                <c:pt idx="28">
                  <c:v>0.08738828202581926</c:v>
                </c:pt>
                <c:pt idx="29">
                  <c:v>0.08673469387755102</c:v>
                </c:pt>
                <c:pt idx="30">
                  <c:v>0.0918409184091841</c:v>
                </c:pt>
                <c:pt idx="31">
                  <c:v>0.07519135524538496</c:v>
                </c:pt>
                <c:pt idx="32">
                  <c:v>0.07114624505928854</c:v>
                </c:pt>
                <c:pt idx="33">
                  <c:v>0.0887358184764992</c:v>
                </c:pt>
                <c:pt idx="34">
                  <c:v>0.09904534606205251</c:v>
                </c:pt>
                <c:pt idx="35">
                  <c:v>0.1136959370904325</c:v>
                </c:pt>
                <c:pt idx="36">
                  <c:v>0.08916586768935762</c:v>
                </c:pt>
                <c:pt idx="37">
                  <c:v>0.08699289000418235</c:v>
                </c:pt>
                <c:pt idx="38">
                  <c:v>0.10717529518619437</c:v>
                </c:pt>
                <c:pt idx="39">
                  <c:v>0.13175906913073238</c:v>
                </c:pt>
                <c:pt idx="40">
                  <c:v>0.12512315270935961</c:v>
                </c:pt>
                <c:pt idx="41">
                  <c:v>0.1287037037037037</c:v>
                </c:pt>
                <c:pt idx="42">
                  <c:v>0.12213225371120108</c:v>
                </c:pt>
                <c:pt idx="43">
                  <c:v>0.1290564153769346</c:v>
                </c:pt>
                <c:pt idx="44">
                  <c:v>0.12566673778536377</c:v>
                </c:pt>
                <c:pt idx="45">
                  <c:v>0.12650602409638553</c:v>
                </c:pt>
                <c:pt idx="46">
                  <c:v>0.1309723386420788</c:v>
                </c:pt>
                <c:pt idx="47">
                  <c:v>0.13409648405560098</c:v>
                </c:pt>
                <c:pt idx="48">
                  <c:v>0.14907697666318356</c:v>
                </c:pt>
                <c:pt idx="49">
                  <c:v>0.15466625463535227</c:v>
                </c:pt>
                <c:pt idx="50">
                  <c:v>0.18134611543838625</c:v>
                </c:pt>
                <c:pt idx="51">
                  <c:v>0.1612489991993594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388403575536574</c:v>
                </c:pt>
              </c:numCache>
            </c:numRef>
          </c:xVal>
          <c:yVal>
            <c:numRef>
              <c:f>Sheet1!$B$163:$B$164</c:f>
              <c:numCache>
                <c:formatCode>General</c:formatCode>
                <c:ptCount val="2"/>
                <c:pt idx="0">
                  <c:v>0.17571969619478822</c:v>
                </c:pt>
                <c:pt idx="1">
                  <c:v>0.175719696194788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388403575536574</c:v>
                </c:pt>
                <c:pt idx="1">
                  <c:v>3.388403575536574</c:v>
                </c:pt>
              </c:numCache>
            </c:numRef>
          </c:xVal>
          <c:yVal>
            <c:numRef>
              <c:f>Sheet1!$B$167:$B$168</c:f>
              <c:numCache>
                <c:formatCode>General</c:formatCode>
                <c:ptCount val="2"/>
                <c:pt idx="0">
                  <c:v>0.175719696194788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703534013858386</c:v>
                </c:pt>
              </c:numCache>
            </c:numRef>
          </c:xVal>
          <c:yVal>
            <c:numRef>
              <c:f>Sheet1!$B$171:$B$172</c:f>
              <c:numCache>
                <c:formatCode>General</c:formatCode>
                <c:ptCount val="2"/>
                <c:pt idx="0">
                  <c:v>0.1615845864840704</c:v>
                </c:pt>
                <c:pt idx="1">
                  <c:v>0.161584586484070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703534013858386</c:v>
                </c:pt>
                <c:pt idx="1">
                  <c:v>2.703534013858386</c:v>
                </c:pt>
              </c:numCache>
            </c:numRef>
          </c:xVal>
          <c:yVal>
            <c:numRef>
              <c:f>Sheet1!$B$175:$B$176</c:f>
              <c:numCache>
                <c:formatCode>General</c:formatCode>
                <c:ptCount val="2"/>
                <c:pt idx="0">
                  <c:v>0.16158458648407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5845052339896046</c:v>
                </c:pt>
              </c:numCache>
            </c:numRef>
          </c:xVal>
          <c:yVal>
            <c:numRef>
              <c:f>Sheet1!$B$179:$B$180</c:f>
              <c:numCache>
                <c:formatCode>General</c:formatCode>
                <c:ptCount val="2"/>
                <c:pt idx="0">
                  <c:v>0.1384888096267417</c:v>
                </c:pt>
                <c:pt idx="1">
                  <c:v>0.138488809626741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5845052339896046</c:v>
                </c:pt>
                <c:pt idx="1">
                  <c:v>1.5845052339896046</c:v>
                </c:pt>
              </c:numCache>
            </c:numRef>
          </c:xVal>
          <c:yVal>
            <c:numRef>
              <c:f>Sheet1!$B$183:$B$184</c:f>
              <c:numCache>
                <c:formatCode>General</c:formatCode>
                <c:ptCount val="2"/>
                <c:pt idx="0">
                  <c:v>0.138488809626741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9690288800400762</c:v>
                </c:pt>
                <c:pt idx="1">
                  <c:v>0.09089655865791306</c:v>
                </c:pt>
                <c:pt idx="2">
                  <c:v>0.09580606268704105</c:v>
                </c:pt>
                <c:pt idx="3">
                  <c:v>0.08861762135907686</c:v>
                </c:pt>
                <c:pt idx="4">
                  <c:v>0.10002977259143526</c:v>
                </c:pt>
                <c:pt idx="5">
                  <c:v>0.09740088903078083</c:v>
                </c:pt>
                <c:pt idx="6">
                  <c:v>0.09577369447422265</c:v>
                </c:pt>
                <c:pt idx="7">
                  <c:v>0.10082718141482594</c:v>
                </c:pt>
                <c:pt idx="8">
                  <c:v>0.10318968373412303</c:v>
                </c:pt>
                <c:pt idx="9">
                  <c:v>0.09163827909214552</c:v>
                </c:pt>
                <c:pt idx="10">
                  <c:v>0.0946709903651755</c:v>
                </c:pt>
                <c:pt idx="11">
                  <c:v>0.10411819334318226</c:v>
                </c:pt>
                <c:pt idx="12">
                  <c:v>0.10586578892334933</c:v>
                </c:pt>
                <c:pt idx="13">
                  <c:v>0.09500113788501006</c:v>
                </c:pt>
                <c:pt idx="14">
                  <c:v>0.10414571924310914</c:v>
                </c:pt>
                <c:pt idx="15">
                  <c:v>0.09026726504994335</c:v>
                </c:pt>
                <c:pt idx="16">
                  <c:v>0.09908450070829493</c:v>
                </c:pt>
                <c:pt idx="17">
                  <c:v>0.10302328265707128</c:v>
                </c:pt>
                <c:pt idx="18">
                  <c:v>0.09847975333534623</c:v>
                </c:pt>
                <c:pt idx="19">
                  <c:v>0.09725412166976771</c:v>
                </c:pt>
                <c:pt idx="20">
                  <c:v>0.08826668497512433</c:v>
                </c:pt>
                <c:pt idx="21">
                  <c:v>0.09564730792001612</c:v>
                </c:pt>
                <c:pt idx="22">
                  <c:v>0.0913215035951514</c:v>
                </c:pt>
                <c:pt idx="23">
                  <c:v>0.09278242354706494</c:v>
                </c:pt>
                <c:pt idx="24">
                  <c:v>0.10083939233534342</c:v>
                </c:pt>
                <c:pt idx="25">
                  <c:v>0.09857428264167586</c:v>
                </c:pt>
                <c:pt idx="26">
                  <c:v>0.10407665169695245</c:v>
                </c:pt>
                <c:pt idx="27">
                  <c:v>0.0974877357941755</c:v>
                </c:pt>
                <c:pt idx="28">
                  <c:v>0.09929350420394001</c:v>
                </c:pt>
                <c:pt idx="29">
                  <c:v>0.1050290433701904</c:v>
                </c:pt>
                <c:pt idx="30">
                  <c:v>0.09655415735534303</c:v>
                </c:pt>
                <c:pt idx="31">
                  <c:v>0.10172062940978832</c:v>
                </c:pt>
                <c:pt idx="32">
                  <c:v>0.09964022939216789</c:v>
                </c:pt>
                <c:pt idx="33">
                  <c:v>0.10112796685770069</c:v>
                </c:pt>
                <c:pt idx="34">
                  <c:v>0.10302276271326478</c:v>
                </c:pt>
                <c:pt idx="35">
                  <c:v>0.10761461693931135</c:v>
                </c:pt>
                <c:pt idx="36">
                  <c:v>0.10016264143370705</c:v>
                </c:pt>
                <c:pt idx="37">
                  <c:v>0.09740607471252569</c:v>
                </c:pt>
                <c:pt idx="38">
                  <c:v>0.10338264601420517</c:v>
                </c:pt>
                <c:pt idx="39">
                  <c:v>0.09515468616714773</c:v>
                </c:pt>
                <c:pt idx="40">
                  <c:v>0.09656802823860063</c:v>
                </c:pt>
                <c:pt idx="41">
                  <c:v>0.09781381465264764</c:v>
                </c:pt>
                <c:pt idx="42">
                  <c:v>0.1011302703919814</c:v>
                </c:pt>
                <c:pt idx="43">
                  <c:v>0.09974297991204666</c:v>
                </c:pt>
                <c:pt idx="44">
                  <c:v>0.0967412414447098</c:v>
                </c:pt>
                <c:pt idx="45">
                  <c:v>0.10135443628351933</c:v>
                </c:pt>
                <c:pt idx="46">
                  <c:v>0.10029913411206734</c:v>
                </c:pt>
                <c:pt idx="47">
                  <c:v>0.10207394329532013</c:v>
                </c:pt>
                <c:pt idx="48">
                  <c:v>0.09977489519936523</c:v>
                </c:pt>
                <c:pt idx="49">
                  <c:v>0.10257866233295934</c:v>
                </c:pt>
                <c:pt idx="50">
                  <c:v>0.10589491745863236</c:v>
                </c:pt>
                <c:pt idx="51">
                  <c:v>0.09449402154730786</c:v>
                </c:pt>
                <c:pt idx="52">
                  <c:v>2.703534013858386</c:v>
                </c:pt>
                <c:pt idx="53">
                  <c:v>3.388403575536574</c:v>
                </c:pt>
                <c:pt idx="54">
                  <c:v>1.5845052339896046</c:v>
                </c:pt>
              </c:numCache>
            </c:numRef>
          </c:xVal>
          <c:yVal>
            <c:numRef>
              <c:f>Sheet1!$B$187:$B$241</c:f>
              <c:numCache>
                <c:formatCode>General</c:formatCode>
                <c:ptCount val="55"/>
                <c:pt idx="0">
                  <c:v>0.1077859962108519</c:v>
                </c:pt>
                <c:pt idx="1">
                  <c:v>0.10766203081799999</c:v>
                </c:pt>
                <c:pt idx="2">
                  <c:v>0.10776335869408034</c:v>
                </c:pt>
                <c:pt idx="3">
                  <c:v>0.10761499554216737</c:v>
                </c:pt>
                <c:pt idx="4">
                  <c:v>0.10785053237827587</c:v>
                </c:pt>
                <c:pt idx="5">
                  <c:v>0.10779627451717966</c:v>
                </c:pt>
                <c:pt idx="6">
                  <c:v>0.10776269064243237</c:v>
                </c:pt>
                <c:pt idx="7">
                  <c:v>0.1078669902000767</c:v>
                </c:pt>
                <c:pt idx="8">
                  <c:v>0.10791575018496093</c:v>
                </c:pt>
                <c:pt idx="9">
                  <c:v>0.10767733928007686</c:v>
                </c:pt>
                <c:pt idx="10">
                  <c:v>0.10773993179252575</c:v>
                </c:pt>
                <c:pt idx="11">
                  <c:v>0.10793491381249803</c:v>
                </c:pt>
                <c:pt idx="12">
                  <c:v>0.10797098265923595</c:v>
                </c:pt>
                <c:pt idx="13">
                  <c:v>0.10774674574904347</c:v>
                </c:pt>
                <c:pt idx="14">
                  <c:v>0.10793548192303634</c:v>
                </c:pt>
                <c:pt idx="15">
                  <c:v>0.10764904274744373</c:v>
                </c:pt>
                <c:pt idx="16">
                  <c:v>0.10783102279203888</c:v>
                </c:pt>
                <c:pt idx="17">
                  <c:v>0.10791231581203545</c:v>
                </c:pt>
                <c:pt idx="18">
                  <c:v>0.10781854133433919</c:v>
                </c:pt>
                <c:pt idx="19">
                  <c:v>0.10779324536700866</c:v>
                </c:pt>
                <c:pt idx="20">
                  <c:v>0.10760775252164753</c:v>
                </c:pt>
                <c:pt idx="21">
                  <c:v>0.10776008213431691</c:v>
                </c:pt>
                <c:pt idx="22">
                  <c:v>0.10767080131043384</c:v>
                </c:pt>
                <c:pt idx="23">
                  <c:v>0.1077009534225357</c:v>
                </c:pt>
                <c:pt idx="24">
                  <c:v>0.10786724222281335</c:v>
                </c:pt>
                <c:pt idx="25">
                  <c:v>0.10782049233667687</c:v>
                </c:pt>
                <c:pt idx="26">
                  <c:v>0.10793405642919489</c:v>
                </c:pt>
                <c:pt idx="27">
                  <c:v>0.10779806695853973</c:v>
                </c:pt>
                <c:pt idx="28">
                  <c:v>0.1078353364416828</c:v>
                </c:pt>
                <c:pt idx="29">
                  <c:v>0.10795371296168234</c:v>
                </c:pt>
                <c:pt idx="30">
                  <c:v>0.1077787987147823</c:v>
                </c:pt>
                <c:pt idx="31">
                  <c:v>0.10788543018651539</c:v>
                </c:pt>
                <c:pt idx="32">
                  <c:v>0.1078424925468002</c:v>
                </c:pt>
                <c:pt idx="33">
                  <c:v>0.10787319814896555</c:v>
                </c:pt>
                <c:pt idx="34">
                  <c:v>0.10791230508084931</c:v>
                </c:pt>
                <c:pt idx="35">
                  <c:v>0.10800707694237247</c:v>
                </c:pt>
                <c:pt idx="36">
                  <c:v>0.10785327467515653</c:v>
                </c:pt>
                <c:pt idx="37">
                  <c:v>0.10779638154512262</c:v>
                </c:pt>
                <c:pt idx="38">
                  <c:v>0.10791973275792315</c:v>
                </c:pt>
                <c:pt idx="39">
                  <c:v>0.10774991485150524</c:v>
                </c:pt>
                <c:pt idx="40">
                  <c:v>0.10777908499770039</c:v>
                </c:pt>
                <c:pt idx="41">
                  <c:v>0.10780479694143977</c:v>
                </c:pt>
                <c:pt idx="42">
                  <c:v>0.10787324569190161</c:v>
                </c:pt>
                <c:pt idx="43">
                  <c:v>0.1078446132278066</c:v>
                </c:pt>
                <c:pt idx="44">
                  <c:v>0.10778265996702112</c:v>
                </c:pt>
                <c:pt idx="45">
                  <c:v>0.10787787228015663</c:v>
                </c:pt>
                <c:pt idx="46">
                  <c:v>0.10785609176484964</c:v>
                </c:pt>
                <c:pt idx="47">
                  <c:v>0.10789272227659175</c:v>
                </c:pt>
                <c:pt idx="48">
                  <c:v>0.10784527193146777</c:v>
                </c:pt>
                <c:pt idx="49">
                  <c:v>0.10790313923679748</c:v>
                </c:pt>
                <c:pt idx="50">
                  <c:v>0.10797158384676854</c:v>
                </c:pt>
                <c:pt idx="51">
                  <c:v>0.10773627931065781</c:v>
                </c:pt>
                <c:pt idx="52">
                  <c:v>0.1615845864840704</c:v>
                </c:pt>
                <c:pt idx="53">
                  <c:v>0.17571969619478822</c:v>
                </c:pt>
                <c:pt idx="54">
                  <c:v>0.138488809626741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061553985872857"/>
          <c:min val="0.0487576183778715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3.4784</c:v>
                </c:pt>
                <c:pt idx="1">
                  <c:v>924.2886</c:v>
                </c:pt>
                <c:pt idx="2">
                  <c:v>928.9563</c:v>
                </c:pt>
                <c:pt idx="3">
                  <c:v>923.5355</c:v>
                </c:pt>
                <c:pt idx="4">
                  <c:v>897.8341</c:v>
                </c:pt>
                <c:pt idx="5">
                  <c:v>858.6296</c:v>
                </c:pt>
                <c:pt idx="6">
                  <c:v>833.2201</c:v>
                </c:pt>
                <c:pt idx="7">
                  <c:v>825.6381</c:v>
                </c:pt>
                <c:pt idx="8">
                  <c:v>829.2556</c:v>
                </c:pt>
                <c:pt idx="9">
                  <c:v>803.3995</c:v>
                </c:pt>
                <c:pt idx="10">
                  <c:v>736.0563</c:v>
                </c:pt>
                <c:pt idx="11">
                  <c:v>726.824</c:v>
                </c:pt>
                <c:pt idx="12">
                  <c:v>768.4242</c:v>
                </c:pt>
                <c:pt idx="13">
                  <c:v>705.7289</c:v>
                </c:pt>
                <c:pt idx="14">
                  <c:v>869.0942</c:v>
                </c:pt>
                <c:pt idx="15">
                  <c:v>876.3908</c:v>
                </c:pt>
                <c:pt idx="16">
                  <c:v>919.2013</c:v>
                </c:pt>
                <c:pt idx="17">
                  <c:v>965.464</c:v>
                </c:pt>
                <c:pt idx="18">
                  <c:v>959.9223</c:v>
                </c:pt>
                <c:pt idx="19">
                  <c:v>957.3208</c:v>
                </c:pt>
                <c:pt idx="20">
                  <c:v>990.5422</c:v>
                </c:pt>
                <c:pt idx="21">
                  <c:v>983.6402</c:v>
                </c:pt>
                <c:pt idx="22">
                  <c:v>987.6957</c:v>
                </c:pt>
                <c:pt idx="23">
                  <c:v>985.4886</c:v>
                </c:pt>
                <c:pt idx="24">
                  <c:v>999.8042</c:v>
                </c:pt>
                <c:pt idx="25">
                  <c:v>994.4654</c:v>
                </c:pt>
                <c:pt idx="26">
                  <c:v>969.6018</c:v>
                </c:pt>
                <c:pt idx="27">
                  <c:v>974.996</c:v>
                </c:pt>
                <c:pt idx="28">
                  <c:v>975.1781</c:v>
                </c:pt>
                <c:pt idx="29">
                  <c:v>1028.637</c:v>
                </c:pt>
                <c:pt idx="30">
                  <c:v>1000.7056</c:v>
                </c:pt>
                <c:pt idx="31">
                  <c:v>1007.6816</c:v>
                </c:pt>
                <c:pt idx="32">
                  <c:v>1027.3083</c:v>
                </c:pt>
                <c:pt idx="33">
                  <c:v>1037.9776</c:v>
                </c:pt>
                <c:pt idx="34">
                  <c:v>1034.0625</c:v>
                </c:pt>
                <c:pt idx="35">
                  <c:v>1036.9604</c:v>
                </c:pt>
                <c:pt idx="36">
                  <c:v>1027.2975</c:v>
                </c:pt>
                <c:pt idx="37">
                  <c:v>1054.4516</c:v>
                </c:pt>
                <c:pt idx="38">
                  <c:v>1060.9607</c:v>
                </c:pt>
                <c:pt idx="39">
                  <c:v>1122.7689</c:v>
                </c:pt>
                <c:pt idx="40">
                  <c:v>1181.9241</c:v>
                </c:pt>
                <c:pt idx="41">
                  <c:v>1179.6126</c:v>
                </c:pt>
                <c:pt idx="42">
                  <c:v>1171.88</c:v>
                </c:pt>
                <c:pt idx="43">
                  <c:v>1173.9397</c:v>
                </c:pt>
                <c:pt idx="44">
                  <c:v>1192.3263</c:v>
                </c:pt>
                <c:pt idx="45">
                  <c:v>1196.2815</c:v>
                </c:pt>
                <c:pt idx="46">
                  <c:v>1156.875</c:v>
                </c:pt>
                <c:pt idx="47">
                  <c:v>1138.4759</c:v>
                </c:pt>
                <c:pt idx="48">
                  <c:v>1080.5036</c:v>
                </c:pt>
                <c:pt idx="49">
                  <c:v>996.8511</c:v>
                </c:pt>
                <c:pt idx="50">
                  <c:v>1053.5802</c:v>
                </c:pt>
                <c:pt idx="51">
                  <c:v>1044.7357</c:v>
                </c:pt>
                <c:pt idx="52">
                  <c:v>1044.2787</c:v>
                </c:pt>
                <c:pt idx="53">
                  <c:v>1210.1995</c:v>
                </c:pt>
                <c:pt idx="54">
                  <c:v>1211.5956</c:v>
                </c:pt>
                <c:pt idx="55">
                  <c:v>1206.5714</c:v>
                </c:pt>
                <c:pt idx="56">
                  <c:v>1190.4927</c:v>
                </c:pt>
                <c:pt idx="57">
                  <c:v>1194.3705</c:v>
                </c:pt>
                <c:pt idx="58">
                  <c:v>1196.714</c:v>
                </c:pt>
                <c:pt idx="59">
                  <c:v>1202.7661</c:v>
                </c:pt>
                <c:pt idx="60">
                  <c:v>1212.9897</c:v>
                </c:pt>
                <c:pt idx="61">
                  <c:v>1164.976</c:v>
                </c:pt>
                <c:pt idx="62">
                  <c:v>1071.8587</c:v>
                </c:pt>
                <c:pt idx="63">
                  <c:v>1082.2465</c:v>
                </c:pt>
                <c:pt idx="64">
                  <c:v>1107.2259</c:v>
                </c:pt>
                <c:pt idx="65">
                  <c:v>1074.89</c:v>
                </c:pt>
                <c:pt idx="66">
                  <c:v>1160.1052</c:v>
                </c:pt>
                <c:pt idx="67">
                  <c:v>1199.26</c:v>
                </c:pt>
                <c:pt idx="68">
                  <c:v>1181.5855</c:v>
                </c:pt>
                <c:pt idx="69">
                  <c:v>1237.1495</c:v>
                </c:pt>
                <c:pt idx="70">
                  <c:v>1246.9</c:v>
                </c:pt>
                <c:pt idx="71">
                  <c:v>1236.2716</c:v>
                </c:pt>
                <c:pt idx="72">
                  <c:v>1225.7472</c:v>
                </c:pt>
                <c:pt idx="73">
                  <c:v>1228.5161</c:v>
                </c:pt>
                <c:pt idx="74">
                  <c:v>1225.0656</c:v>
                </c:pt>
                <c:pt idx="75">
                  <c:v>1225.6749</c:v>
                </c:pt>
                <c:pt idx="76">
                  <c:v>1148.8853</c:v>
                </c:pt>
                <c:pt idx="77">
                  <c:v>1140.4251</c:v>
                </c:pt>
                <c:pt idx="78">
                  <c:v>1123.2958</c:v>
                </c:pt>
                <c:pt idx="79">
                  <c:v>1110.9289</c:v>
                </c:pt>
                <c:pt idx="80">
                  <c:v>1161.861</c:v>
                </c:pt>
                <c:pt idx="81">
                  <c:v>1256.5761</c:v>
                </c:pt>
                <c:pt idx="82">
                  <c:v>1256.2069</c:v>
                </c:pt>
                <c:pt idx="83">
                  <c:v>1221.0813</c:v>
                </c:pt>
                <c:pt idx="84">
                  <c:v>1273.4228</c:v>
                </c:pt>
                <c:pt idx="85">
                  <c:v>1300.8923</c:v>
                </c:pt>
                <c:pt idx="86">
                  <c:v>1311.6791</c:v>
                </c:pt>
                <c:pt idx="87">
                  <c:v>1288.9754</c:v>
                </c:pt>
                <c:pt idx="88">
                  <c:v>1279.0341</c:v>
                </c:pt>
                <c:pt idx="89">
                  <c:v>1307.3765</c:v>
                </c:pt>
                <c:pt idx="90">
                  <c:v>1303.2418</c:v>
                </c:pt>
                <c:pt idx="91">
                  <c:v>1311.5593</c:v>
                </c:pt>
                <c:pt idx="92">
                  <c:v>1260.5917</c:v>
                </c:pt>
                <c:pt idx="93">
                  <c:v>1262.9611</c:v>
                </c:pt>
                <c:pt idx="94">
                  <c:v>1239.185</c:v>
                </c:pt>
                <c:pt idx="95">
                  <c:v>1235.635</c:v>
                </c:pt>
                <c:pt idx="96">
                  <c:v>1172.1799</c:v>
                </c:pt>
                <c:pt idx="97">
                  <c:v>1195.1038</c:v>
                </c:pt>
                <c:pt idx="98">
                  <c:v>1161.8619</c:v>
                </c:pt>
                <c:pt idx="99">
                  <c:v>1152.3808</c:v>
                </c:pt>
                <c:pt idx="100">
                  <c:v>1111.2239</c:v>
                </c:pt>
                <c:pt idx="101">
                  <c:v>1218.3133</c:v>
                </c:pt>
                <c:pt idx="102">
                  <c:v>1202.6993</c:v>
                </c:pt>
                <c:pt idx="103">
                  <c:v>1153.0138</c:v>
                </c:pt>
                <c:pt idx="104">
                  <c:v>1148.2793</c:v>
                </c:pt>
              </c:numCache>
            </c:numRef>
          </c:xVal>
          <c:yVal>
            <c:numRef>
              <c:f>Sheet1!$B$2:$B$106</c:f>
              <c:numCache>
                <c:formatCode>General</c:formatCode>
                <c:ptCount val="105"/>
                <c:pt idx="0">
                  <c:v>0.13427074717397297</c:v>
                </c:pt>
                <c:pt idx="1">
                  <c:v>0.1202069385270846</c:v>
                </c:pt>
                <c:pt idx="2">
                  <c:v>0.12754107490949596</c:v>
                </c:pt>
                <c:pt idx="3">
                  <c:v>0.12725684333139195</c:v>
                </c:pt>
                <c:pt idx="4">
                  <c:v>0.1633227736712425</c:v>
                </c:pt>
                <c:pt idx="5">
                  <c:v>0.20968303726924417</c:v>
                </c:pt>
                <c:pt idx="6">
                  <c:v>0.2364175172867962</c:v>
                </c:pt>
                <c:pt idx="7">
                  <c:v>0.22059871703492517</c:v>
                </c:pt>
                <c:pt idx="8">
                  <c:v>0.24217961654894046</c:v>
                </c:pt>
                <c:pt idx="9">
                  <c:v>0.2414469994391475</c:v>
                </c:pt>
                <c:pt idx="10">
                  <c:v>0.23595505617977527</c:v>
                </c:pt>
                <c:pt idx="11">
                  <c:v>0.23183962264150942</c:v>
                </c:pt>
                <c:pt idx="12">
                  <c:v>0.20474967907573813</c:v>
                </c:pt>
                <c:pt idx="13">
                  <c:v>0.1973006134969325</c:v>
                </c:pt>
                <c:pt idx="14">
                  <c:v>0.1620933521923621</c:v>
                </c:pt>
                <c:pt idx="15">
                  <c:v>0.13411458333333334</c:v>
                </c:pt>
                <c:pt idx="16">
                  <c:v>0.11000369139904023</c:v>
                </c:pt>
                <c:pt idx="17">
                  <c:v>0.09394837071519255</c:v>
                </c:pt>
                <c:pt idx="18">
                  <c:v>0.08697611536728256</c:v>
                </c:pt>
                <c:pt idx="19">
                  <c:v>0.07957957957957958</c:v>
                </c:pt>
                <c:pt idx="20">
                  <c:v>0.09942554131683606</c:v>
                </c:pt>
                <c:pt idx="21">
                  <c:v>0.0910843373493976</c:v>
                </c:pt>
                <c:pt idx="22">
                  <c:v>0.07091469681397738</c:v>
                </c:pt>
                <c:pt idx="23">
                  <c:v>0.08893380495199596</c:v>
                </c:pt>
                <c:pt idx="24">
                  <c:v>0.09251101321585903</c:v>
                </c:pt>
                <c:pt idx="25">
                  <c:v>0.08225556130367305</c:v>
                </c:pt>
                <c:pt idx="26">
                  <c:v>0.09800443458980045</c:v>
                </c:pt>
                <c:pt idx="27">
                  <c:v>0.11557788944723618</c:v>
                </c:pt>
                <c:pt idx="28">
                  <c:v>0.11515151515151516</c:v>
                </c:pt>
                <c:pt idx="29">
                  <c:v>0.11750503018108652</c:v>
                </c:pt>
                <c:pt idx="30">
                  <c:v>0.12556962025316457</c:v>
                </c:pt>
                <c:pt idx="31">
                  <c:v>0.11542443064182195</c:v>
                </c:pt>
                <c:pt idx="32">
                  <c:v>0.12888436067244013</c:v>
                </c:pt>
                <c:pt idx="33">
                  <c:v>0.11785400175901495</c:v>
                </c:pt>
                <c:pt idx="34">
                  <c:v>0.12234494477485132</c:v>
                </c:pt>
                <c:pt idx="35">
                  <c:v>0.16348577601728484</c:v>
                </c:pt>
                <c:pt idx="36">
                  <c:v>0.13529631010063362</c:v>
                </c:pt>
                <c:pt idx="37">
                  <c:v>0.12146277753591642</c:v>
                </c:pt>
                <c:pt idx="38">
                  <c:v>0.11839323467230443</c:v>
                </c:pt>
                <c:pt idx="39">
                  <c:v>0.11349546971864569</c:v>
                </c:pt>
                <c:pt idx="40">
                  <c:v>0.11539992041384799</c:v>
                </c:pt>
                <c:pt idx="41">
                  <c:v>0.10976138828633406</c:v>
                </c:pt>
                <c:pt idx="42">
                  <c:v>0.11896046852122986</c:v>
                </c:pt>
                <c:pt idx="43">
                  <c:v>0.12146422628951747</c:v>
                </c:pt>
                <c:pt idx="44">
                  <c:v>0.11178168459721857</c:v>
                </c:pt>
                <c:pt idx="45">
                  <c:v>0.11015881018401814</c:v>
                </c:pt>
                <c:pt idx="46">
                  <c:v>0.11380084851509857</c:v>
                </c:pt>
                <c:pt idx="47">
                  <c:v>0.1018041237113402</c:v>
                </c:pt>
                <c:pt idx="48">
                  <c:v>0.10218978102189781</c:v>
                </c:pt>
                <c:pt idx="49">
                  <c:v>0.1284156353388065</c:v>
                </c:pt>
                <c:pt idx="50">
                  <c:v>0.11115561786501102</c:v>
                </c:pt>
                <c:pt idx="51">
                  <c:v>0.11254162042175361</c:v>
                </c:pt>
                <c:pt idx="52">
                  <c:v>0.10813472523143589</c:v>
                </c:pt>
                <c:pt idx="53">
                  <c:v>0.09897435897435898</c:v>
                </c:pt>
                <c:pt idx="54">
                  <c:v>0.09769959404600811</c:v>
                </c:pt>
                <c:pt idx="55">
                  <c:v>0.09923447689254324</c:v>
                </c:pt>
                <c:pt idx="56">
                  <c:v>0.11205247335337525</c:v>
                </c:pt>
                <c:pt idx="57">
                  <c:v>0.10125030644765874</c:v>
                </c:pt>
                <c:pt idx="58">
                  <c:v>0.10614262179336315</c:v>
                </c:pt>
                <c:pt idx="59">
                  <c:v>0.09303058971933144</c:v>
                </c:pt>
                <c:pt idx="60">
                  <c:v>0.09547985587946282</c:v>
                </c:pt>
                <c:pt idx="61">
                  <c:v>0.09913606911447084</c:v>
                </c:pt>
                <c:pt idx="62">
                  <c:v>0.10485525416001823</c:v>
                </c:pt>
                <c:pt idx="63">
                  <c:v>0.10827296988181472</c:v>
                </c:pt>
                <c:pt idx="64">
                  <c:v>0.10044642857142858</c:v>
                </c:pt>
                <c:pt idx="65">
                  <c:v>0.10498581272800973</c:v>
                </c:pt>
                <c:pt idx="66">
                  <c:v>0.09874973511337147</c:v>
                </c:pt>
                <c:pt idx="67">
                  <c:v>0.09221713538260301</c:v>
                </c:pt>
                <c:pt idx="68">
                  <c:v>0.08138711960368011</c:v>
                </c:pt>
                <c:pt idx="69">
                  <c:v>0.06966145833333333</c:v>
                </c:pt>
                <c:pt idx="70">
                  <c:v>0.08130081300813008</c:v>
                </c:pt>
                <c:pt idx="71">
                  <c:v>0.07125307125307126</c:v>
                </c:pt>
                <c:pt idx="72">
                  <c:v>0.07948410317936412</c:v>
                </c:pt>
                <c:pt idx="73">
                  <c:v>0.07556368068251067</c:v>
                </c:pt>
                <c:pt idx="74">
                  <c:v>0.07519260400616333</c:v>
                </c:pt>
                <c:pt idx="75">
                  <c:v>0.07231920199501247</c:v>
                </c:pt>
                <c:pt idx="76">
                  <c:v>0.08065112837587865</c:v>
                </c:pt>
                <c:pt idx="77">
                  <c:v>0.0779367469879518</c:v>
                </c:pt>
                <c:pt idx="78">
                  <c:v>0.08711656441717791</c:v>
                </c:pt>
                <c:pt idx="79">
                  <c:v>0.09402423735896365</c:v>
                </c:pt>
                <c:pt idx="80">
                  <c:v>0.09437156157427</c:v>
                </c:pt>
                <c:pt idx="81">
                  <c:v>0.08113522537562605</c:v>
                </c:pt>
                <c:pt idx="82">
                  <c:v>0.07455012853470437</c:v>
                </c:pt>
                <c:pt idx="83">
                  <c:v>0.0644316396018858</c:v>
                </c:pt>
                <c:pt idx="84">
                  <c:v>0.06453305351521511</c:v>
                </c:pt>
                <c:pt idx="85">
                  <c:v>0.06094702297233943</c:v>
                </c:pt>
                <c:pt idx="86">
                  <c:v>0.06619469026548673</c:v>
                </c:pt>
                <c:pt idx="87">
                  <c:v>0.087486554320545</c:v>
                </c:pt>
                <c:pt idx="88">
                  <c:v>0.08738277919863598</c:v>
                </c:pt>
                <c:pt idx="89">
                  <c:v>0.06985769728331177</c:v>
                </c:pt>
                <c:pt idx="90">
                  <c:v>0.06731192256929168</c:v>
                </c:pt>
                <c:pt idx="91">
                  <c:v>0.07609630266552021</c:v>
                </c:pt>
                <c:pt idx="92">
                  <c:v>0.08708272859216255</c:v>
                </c:pt>
                <c:pt idx="93">
                  <c:v>0.08094488188976377</c:v>
                </c:pt>
                <c:pt idx="94">
                  <c:v>0.07567158531971245</c:v>
                </c:pt>
                <c:pt idx="95">
                  <c:v>0.07995331193463671</c:v>
                </c:pt>
                <c:pt idx="96">
                  <c:v>0.09115022908126356</c:v>
                </c:pt>
                <c:pt idx="97">
                  <c:v>0.09120193275619086</c:v>
                </c:pt>
                <c:pt idx="98">
                  <c:v>0.09766763848396501</c:v>
                </c:pt>
                <c:pt idx="99">
                  <c:v>0.1019409282700422</c:v>
                </c:pt>
                <c:pt idx="100">
                  <c:v>0.12390198797965789</c:v>
                </c:pt>
                <c:pt idx="101">
                  <c:v>0.10869565217391304</c:v>
                </c:pt>
                <c:pt idx="102">
                  <c:v>0.10570286959680349</c:v>
                </c:pt>
                <c:pt idx="103">
                  <c:v>0.11062368872782757</c:v>
                </c:pt>
                <c:pt idx="104">
                  <c:v>0.1081309398099260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4.4972</c:v>
                </c:pt>
                <c:pt idx="1">
                  <c:v>1220.1543</c:v>
                </c:pt>
                <c:pt idx="2">
                  <c:v>1227.0345</c:v>
                </c:pt>
                <c:pt idx="3">
                  <c:v>1222.0387</c:v>
                </c:pt>
                <c:pt idx="4">
                  <c:v>1222.9314</c:v>
                </c:pt>
                <c:pt idx="5">
                  <c:v>1223.762</c:v>
                </c:pt>
                <c:pt idx="6">
                  <c:v>1231.1922</c:v>
                </c:pt>
                <c:pt idx="7">
                  <c:v>1231.3333</c:v>
                </c:pt>
                <c:pt idx="8">
                  <c:v>1250.1146</c:v>
                </c:pt>
                <c:pt idx="9">
                  <c:v>1132.6397</c:v>
                </c:pt>
                <c:pt idx="10">
                  <c:v>1153.9076</c:v>
                </c:pt>
                <c:pt idx="11">
                  <c:v>1238.3638</c:v>
                </c:pt>
                <c:pt idx="12">
                  <c:v>1233.32</c:v>
                </c:pt>
                <c:pt idx="13">
                  <c:v>1158.413</c:v>
                </c:pt>
                <c:pt idx="14">
                  <c:v>1234.9974</c:v>
                </c:pt>
                <c:pt idx="15">
                  <c:v>1144.6724</c:v>
                </c:pt>
                <c:pt idx="16">
                  <c:v>1233.8438</c:v>
                </c:pt>
                <c:pt idx="17">
                  <c:v>1241.5411</c:v>
                </c:pt>
                <c:pt idx="18">
                  <c:v>1275.1007</c:v>
                </c:pt>
                <c:pt idx="19">
                  <c:v>1249.6575</c:v>
                </c:pt>
                <c:pt idx="20">
                  <c:v>1199.101</c:v>
                </c:pt>
                <c:pt idx="21">
                  <c:v>1193.6488</c:v>
                </c:pt>
                <c:pt idx="22">
                  <c:v>1185.7782</c:v>
                </c:pt>
                <c:pt idx="23">
                  <c:v>1194.8455</c:v>
                </c:pt>
                <c:pt idx="24">
                  <c:v>1273.3306</c:v>
                </c:pt>
                <c:pt idx="25">
                  <c:v>1302.981</c:v>
                </c:pt>
                <c:pt idx="26">
                  <c:v>1304.7211</c:v>
                </c:pt>
                <c:pt idx="27">
                  <c:v>1289.3578</c:v>
                </c:pt>
                <c:pt idx="28">
                  <c:v>1309.6856</c:v>
                </c:pt>
                <c:pt idx="29">
                  <c:v>1283.2398</c:v>
                </c:pt>
                <c:pt idx="30">
                  <c:v>1284.2634</c:v>
                </c:pt>
                <c:pt idx="31">
                  <c:v>1271.5689</c:v>
                </c:pt>
                <c:pt idx="32">
                  <c:v>1292.0278</c:v>
                </c:pt>
                <c:pt idx="33">
                  <c:v>1300.7169</c:v>
                </c:pt>
                <c:pt idx="34">
                  <c:v>1293.5392</c:v>
                </c:pt>
                <c:pt idx="35">
                  <c:v>1283.6571</c:v>
                </c:pt>
                <c:pt idx="36">
                  <c:v>1263.2366</c:v>
                </c:pt>
                <c:pt idx="37">
                  <c:v>1246.2933</c:v>
                </c:pt>
                <c:pt idx="38">
                  <c:v>1261.3856</c:v>
                </c:pt>
                <c:pt idx="39">
                  <c:v>1229.6675</c:v>
                </c:pt>
                <c:pt idx="40">
                  <c:v>1217.6929</c:v>
                </c:pt>
                <c:pt idx="41">
                  <c:v>1225.458</c:v>
                </c:pt>
                <c:pt idx="42">
                  <c:v>1235.442</c:v>
                </c:pt>
                <c:pt idx="43">
                  <c:v>1223.6925</c:v>
                </c:pt>
                <c:pt idx="44">
                  <c:v>1193.9576</c:v>
                </c:pt>
                <c:pt idx="45">
                  <c:v>1188.0294</c:v>
                </c:pt>
                <c:pt idx="46">
                  <c:v>1190.6272</c:v>
                </c:pt>
                <c:pt idx="47">
                  <c:v>1188.3735</c:v>
                </c:pt>
                <c:pt idx="48">
                  <c:v>1113.2664</c:v>
                </c:pt>
                <c:pt idx="49">
                  <c:v>1088.7233</c:v>
                </c:pt>
                <c:pt idx="50">
                  <c:v>1070.5165</c:v>
                </c:pt>
                <c:pt idx="51">
                  <c:v>1074.9106</c:v>
                </c:pt>
              </c:numCache>
            </c:numRef>
          </c:xVal>
          <c:yVal>
            <c:numRef>
              <c:f>Sheet1!$B$109:$B$160</c:f>
              <c:numCache>
                <c:formatCode>General</c:formatCode>
                <c:ptCount val="52"/>
                <c:pt idx="0">
                  <c:v>0.11234796949082664</c:v>
                </c:pt>
                <c:pt idx="1">
                  <c:v>0.10485396091615885</c:v>
                </c:pt>
                <c:pt idx="2">
                  <c:v>0.11253644314868805</c:v>
                </c:pt>
                <c:pt idx="3">
                  <c:v>0.12994034302759136</c:v>
                </c:pt>
                <c:pt idx="4">
                  <c:v>0.12</c:v>
                </c:pt>
                <c:pt idx="5">
                  <c:v>0.11276308167599923</c:v>
                </c:pt>
                <c:pt idx="6">
                  <c:v>0.09708534283916964</c:v>
                </c:pt>
                <c:pt idx="7">
                  <c:v>0.09267059814658804</c:v>
                </c:pt>
                <c:pt idx="8">
                  <c:v>0.08981693363844394</c:v>
                </c:pt>
                <c:pt idx="9">
                  <c:v>0.10577188621927644</c:v>
                </c:pt>
                <c:pt idx="10">
                  <c:v>0.10910031023784902</c:v>
                </c:pt>
                <c:pt idx="11">
                  <c:v>0.10275470048097946</c:v>
                </c:pt>
                <c:pt idx="12">
                  <c:v>0.10693381359747861</c:v>
                </c:pt>
                <c:pt idx="13">
                  <c:v>0.10628342245989304</c:v>
                </c:pt>
                <c:pt idx="14">
                  <c:v>0.09347181008902077</c:v>
                </c:pt>
                <c:pt idx="15">
                  <c:v>0.10380710659898477</c:v>
                </c:pt>
                <c:pt idx="16">
                  <c:v>0.0874555889587319</c:v>
                </c:pt>
                <c:pt idx="17">
                  <c:v>0.08243929983060418</c:v>
                </c:pt>
                <c:pt idx="18">
                  <c:v>0.09222298692360634</c:v>
                </c:pt>
                <c:pt idx="19">
                  <c:v>0.10606504541459127</c:v>
                </c:pt>
                <c:pt idx="20">
                  <c:v>0.09246575342465753</c:v>
                </c:pt>
                <c:pt idx="21">
                  <c:v>0.09531311539976368</c:v>
                </c:pt>
                <c:pt idx="22">
                  <c:v>0.09995969367190649</c:v>
                </c:pt>
                <c:pt idx="23">
                  <c:v>0.09720483938256154</c:v>
                </c:pt>
                <c:pt idx="24">
                  <c:v>0.09660678642714571</c:v>
                </c:pt>
                <c:pt idx="25">
                  <c:v>0.09005145797598628</c:v>
                </c:pt>
                <c:pt idx="26">
                  <c:v>0.0818260120585702</c:v>
                </c:pt>
                <c:pt idx="27">
                  <c:v>0.08754716981132075</c:v>
                </c:pt>
                <c:pt idx="28">
                  <c:v>0.08738828202581926</c:v>
                </c:pt>
                <c:pt idx="29">
                  <c:v>0.08673469387755102</c:v>
                </c:pt>
                <c:pt idx="30">
                  <c:v>0.0918409184091841</c:v>
                </c:pt>
                <c:pt idx="31">
                  <c:v>0.07519135524538496</c:v>
                </c:pt>
                <c:pt idx="32">
                  <c:v>0.07114624505928854</c:v>
                </c:pt>
                <c:pt idx="33">
                  <c:v>0.0887358184764992</c:v>
                </c:pt>
                <c:pt idx="34">
                  <c:v>0.09904534606205251</c:v>
                </c:pt>
                <c:pt idx="35">
                  <c:v>0.1136959370904325</c:v>
                </c:pt>
                <c:pt idx="36">
                  <c:v>0.08916586768935762</c:v>
                </c:pt>
                <c:pt idx="37">
                  <c:v>0.08699289000418235</c:v>
                </c:pt>
                <c:pt idx="38">
                  <c:v>0.10717529518619437</c:v>
                </c:pt>
                <c:pt idx="39">
                  <c:v>0.13175906913073238</c:v>
                </c:pt>
                <c:pt idx="40">
                  <c:v>0.12512315270935961</c:v>
                </c:pt>
                <c:pt idx="41">
                  <c:v>0.1287037037037037</c:v>
                </c:pt>
                <c:pt idx="42">
                  <c:v>0.12213225371120108</c:v>
                </c:pt>
                <c:pt idx="43">
                  <c:v>0.1290564153769346</c:v>
                </c:pt>
                <c:pt idx="44">
                  <c:v>0.12566673778536377</c:v>
                </c:pt>
                <c:pt idx="45">
                  <c:v>0.12650602409638553</c:v>
                </c:pt>
                <c:pt idx="46">
                  <c:v>0.1309723386420788</c:v>
                </c:pt>
                <c:pt idx="47">
                  <c:v>0.13409648405560098</c:v>
                </c:pt>
                <c:pt idx="48">
                  <c:v>0.14907697666318356</c:v>
                </c:pt>
                <c:pt idx="49">
                  <c:v>0.15466625463535227</c:v>
                </c:pt>
                <c:pt idx="50">
                  <c:v>0.18134611543838625</c:v>
                </c:pt>
                <c:pt idx="51">
                  <c:v>0.1612489991993594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87.8198020705274</c:v>
                </c:pt>
              </c:numCache>
            </c:numRef>
          </c:xVal>
          <c:yVal>
            <c:numRef>
              <c:f>Sheet1!$B$163:$B$164</c:f>
              <c:numCache>
                <c:formatCode>General</c:formatCode>
                <c:ptCount val="2"/>
                <c:pt idx="0">
                  <c:v>0.17571969619478822</c:v>
                </c:pt>
                <c:pt idx="1">
                  <c:v>0.175719696194788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87.8198020705274</c:v>
                </c:pt>
                <c:pt idx="1">
                  <c:v>987.8198020705274</c:v>
                </c:pt>
              </c:numCache>
            </c:numRef>
          </c:xVal>
          <c:yVal>
            <c:numRef>
              <c:f>Sheet1!$B$167:$B$168</c:f>
              <c:numCache>
                <c:formatCode>General</c:formatCode>
                <c:ptCount val="2"/>
                <c:pt idx="0">
                  <c:v>0.175719696194788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6.809482583582</c:v>
                </c:pt>
              </c:numCache>
            </c:numRef>
          </c:xVal>
          <c:yVal>
            <c:numRef>
              <c:f>Sheet1!$B$171:$B$172</c:f>
              <c:numCache>
                <c:formatCode>General</c:formatCode>
                <c:ptCount val="2"/>
                <c:pt idx="0">
                  <c:v>0.1615845864840704</c:v>
                </c:pt>
                <c:pt idx="1">
                  <c:v>0.161584586484070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6.809482583582</c:v>
                </c:pt>
                <c:pt idx="1">
                  <c:v>1036.809482583582</c:v>
                </c:pt>
              </c:numCache>
            </c:numRef>
          </c:xVal>
          <c:yVal>
            <c:numRef>
              <c:f>Sheet1!$B$175:$B$176</c:f>
              <c:numCache>
                <c:formatCode>General</c:formatCode>
                <c:ptCount val="2"/>
                <c:pt idx="0">
                  <c:v>0.16158458648407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16.8551810321344</c:v>
                </c:pt>
              </c:numCache>
            </c:numRef>
          </c:xVal>
          <c:yVal>
            <c:numRef>
              <c:f>Sheet1!$B$179:$B$180</c:f>
              <c:numCache>
                <c:formatCode>General</c:formatCode>
                <c:ptCount val="2"/>
                <c:pt idx="0">
                  <c:v>0.1384888096267417</c:v>
                </c:pt>
                <c:pt idx="1">
                  <c:v>0.138488809626741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16.8551810321344</c:v>
                </c:pt>
                <c:pt idx="1">
                  <c:v>1116.8551810321344</c:v>
                </c:pt>
              </c:numCache>
            </c:numRef>
          </c:xVal>
          <c:yVal>
            <c:numRef>
              <c:f>Sheet1!$B$183:$B$184</c:f>
              <c:numCache>
                <c:formatCode>General</c:formatCode>
                <c:ptCount val="2"/>
                <c:pt idx="0">
                  <c:v>0.138488809626741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4.4972</c:v>
                </c:pt>
                <c:pt idx="1">
                  <c:v>1220.1543</c:v>
                </c:pt>
                <c:pt idx="2">
                  <c:v>1227.0345</c:v>
                </c:pt>
                <c:pt idx="3">
                  <c:v>1222.0387</c:v>
                </c:pt>
                <c:pt idx="4">
                  <c:v>1222.9314</c:v>
                </c:pt>
                <c:pt idx="5">
                  <c:v>1223.762</c:v>
                </c:pt>
                <c:pt idx="6">
                  <c:v>1231.1922</c:v>
                </c:pt>
                <c:pt idx="7">
                  <c:v>1231.3333</c:v>
                </c:pt>
                <c:pt idx="8">
                  <c:v>1250.1146</c:v>
                </c:pt>
                <c:pt idx="9">
                  <c:v>1132.6397</c:v>
                </c:pt>
                <c:pt idx="10">
                  <c:v>1153.9076</c:v>
                </c:pt>
                <c:pt idx="11">
                  <c:v>1238.3638</c:v>
                </c:pt>
                <c:pt idx="12">
                  <c:v>1233.32</c:v>
                </c:pt>
                <c:pt idx="13">
                  <c:v>1158.413</c:v>
                </c:pt>
                <c:pt idx="14">
                  <c:v>1234.9974</c:v>
                </c:pt>
                <c:pt idx="15">
                  <c:v>1144.6724</c:v>
                </c:pt>
                <c:pt idx="16">
                  <c:v>1233.8438</c:v>
                </c:pt>
                <c:pt idx="17">
                  <c:v>1241.5411</c:v>
                </c:pt>
                <c:pt idx="18">
                  <c:v>1275.1007</c:v>
                </c:pt>
                <c:pt idx="19">
                  <c:v>1249.6575</c:v>
                </c:pt>
                <c:pt idx="20">
                  <c:v>1199.101</c:v>
                </c:pt>
                <c:pt idx="21">
                  <c:v>1193.6488</c:v>
                </c:pt>
                <c:pt idx="22">
                  <c:v>1185.7782</c:v>
                </c:pt>
                <c:pt idx="23">
                  <c:v>1194.8455</c:v>
                </c:pt>
                <c:pt idx="24">
                  <c:v>1273.3306</c:v>
                </c:pt>
                <c:pt idx="25">
                  <c:v>1302.981</c:v>
                </c:pt>
                <c:pt idx="26">
                  <c:v>1304.7211</c:v>
                </c:pt>
                <c:pt idx="27">
                  <c:v>1289.3578</c:v>
                </c:pt>
                <c:pt idx="28">
                  <c:v>1309.6856</c:v>
                </c:pt>
                <c:pt idx="29">
                  <c:v>1283.2398</c:v>
                </c:pt>
                <c:pt idx="30">
                  <c:v>1284.2634</c:v>
                </c:pt>
                <c:pt idx="31">
                  <c:v>1271.5689</c:v>
                </c:pt>
                <c:pt idx="32">
                  <c:v>1292.0278</c:v>
                </c:pt>
                <c:pt idx="33">
                  <c:v>1300.7169</c:v>
                </c:pt>
                <c:pt idx="34">
                  <c:v>1293.5392</c:v>
                </c:pt>
                <c:pt idx="35">
                  <c:v>1283.6571</c:v>
                </c:pt>
                <c:pt idx="36">
                  <c:v>1263.2366</c:v>
                </c:pt>
                <c:pt idx="37">
                  <c:v>1246.2933</c:v>
                </c:pt>
                <c:pt idx="38">
                  <c:v>1261.3856</c:v>
                </c:pt>
                <c:pt idx="39">
                  <c:v>1229.6675</c:v>
                </c:pt>
                <c:pt idx="40">
                  <c:v>1217.6929</c:v>
                </c:pt>
                <c:pt idx="41">
                  <c:v>1225.458</c:v>
                </c:pt>
                <c:pt idx="42">
                  <c:v>1235.442</c:v>
                </c:pt>
                <c:pt idx="43">
                  <c:v>1223.6925</c:v>
                </c:pt>
                <c:pt idx="44">
                  <c:v>1193.9576</c:v>
                </c:pt>
                <c:pt idx="45">
                  <c:v>1188.0294</c:v>
                </c:pt>
                <c:pt idx="46">
                  <c:v>1190.6272</c:v>
                </c:pt>
                <c:pt idx="47">
                  <c:v>1188.3735</c:v>
                </c:pt>
                <c:pt idx="48">
                  <c:v>1113.2664</c:v>
                </c:pt>
                <c:pt idx="49">
                  <c:v>1088.7233</c:v>
                </c:pt>
                <c:pt idx="50">
                  <c:v>1070.5165</c:v>
                </c:pt>
                <c:pt idx="51">
                  <c:v>1074.9106</c:v>
                </c:pt>
                <c:pt idx="52">
                  <c:v>1036.809482583582</c:v>
                </c:pt>
                <c:pt idx="53">
                  <c:v>987.8198020705274</c:v>
                </c:pt>
                <c:pt idx="54">
                  <c:v>1116.8551810321344</c:v>
                </c:pt>
              </c:numCache>
            </c:numRef>
          </c:xVal>
          <c:yVal>
            <c:numRef>
              <c:f>Sheet1!$B$187:$B$241</c:f>
              <c:numCache>
                <c:formatCode>General</c:formatCode>
                <c:ptCount val="55"/>
                <c:pt idx="0">
                  <c:v>0.113201248238186</c:v>
                </c:pt>
                <c:pt idx="1">
                  <c:v>0.10868366772053589</c:v>
                </c:pt>
                <c:pt idx="2">
                  <c:v>0.10669850715583762</c:v>
                </c:pt>
                <c:pt idx="3">
                  <c:v>0.10813995728070597</c:v>
                </c:pt>
                <c:pt idx="4">
                  <c:v>0.10788238441420417</c:v>
                </c:pt>
                <c:pt idx="5">
                  <c:v>0.1076427294092569</c:v>
                </c:pt>
                <c:pt idx="6">
                  <c:v>0.10549887602885794</c:v>
                </c:pt>
                <c:pt idx="7">
                  <c:v>0.10545816410832087</c:v>
                </c:pt>
                <c:pt idx="8">
                  <c:v>0.10003915069101221</c:v>
                </c:pt>
                <c:pt idx="9">
                  <c:v>0.13393446460948383</c:v>
                </c:pt>
                <c:pt idx="10">
                  <c:v>0.12779798654577262</c:v>
                </c:pt>
                <c:pt idx="11">
                  <c:v>0.10342963712507752</c:v>
                </c:pt>
                <c:pt idx="12">
                  <c:v>0.10488493680477073</c:v>
                </c:pt>
                <c:pt idx="13">
                  <c:v>0.12649803270603088</c:v>
                </c:pt>
                <c:pt idx="14">
                  <c:v>0.10440095257012277</c:v>
                </c:pt>
                <c:pt idx="15">
                  <c:v>0.13046264089406212</c:v>
                </c:pt>
                <c:pt idx="16">
                  <c:v>0.10473380353774514</c:v>
                </c:pt>
                <c:pt idx="17">
                  <c:v>0.10251288315539414</c:v>
                </c:pt>
                <c:pt idx="18">
                  <c:v>0.09282985148668588</c:v>
                </c:pt>
                <c:pt idx="19">
                  <c:v>0.10017103884747913</c:v>
                </c:pt>
                <c:pt idx="20">
                  <c:v>0.1147582267328845</c:v>
                </c:pt>
                <c:pt idx="21">
                  <c:v>0.11633136304154529</c:v>
                </c:pt>
                <c:pt idx="22">
                  <c:v>0.11860228608746165</c:v>
                </c:pt>
                <c:pt idx="23">
                  <c:v>0.11598607632781976</c:v>
                </c:pt>
                <c:pt idx="24">
                  <c:v>0.09334058267408918</c:v>
                </c:pt>
                <c:pt idx="25">
                  <c:v>0.08478548183290313</c:v>
                </c:pt>
                <c:pt idx="26">
                  <c:v>0.0842834066172653</c:v>
                </c:pt>
                <c:pt idx="27">
                  <c:v>0.08871621631809207</c:v>
                </c:pt>
                <c:pt idx="28">
                  <c:v>0.08285098755627224</c:v>
                </c:pt>
                <c:pt idx="29">
                  <c:v>0.09048145749346831</c:v>
                </c:pt>
                <c:pt idx="30">
                  <c:v>0.09018611573682966</c:v>
                </c:pt>
                <c:pt idx="31">
                  <c:v>0.09384889018939818</c:v>
                </c:pt>
                <c:pt idx="32">
                  <c:v>0.08794583483096313</c:v>
                </c:pt>
                <c:pt idx="33">
                  <c:v>0.08543874802204493</c:v>
                </c:pt>
                <c:pt idx="34">
                  <c:v>0.08750974697341762</c:v>
                </c:pt>
                <c:pt idx="35">
                  <c:v>0.09036105292621033</c:v>
                </c:pt>
                <c:pt idx="36">
                  <c:v>0.0962530286407855</c:v>
                </c:pt>
                <c:pt idx="37">
                  <c:v>0.10114171952126155</c:v>
                </c:pt>
                <c:pt idx="38">
                  <c:v>0.09678710209871638</c:v>
                </c:pt>
                <c:pt idx="39">
                  <c:v>0.1059388013672195</c:v>
                </c:pt>
                <c:pt idx="40">
                  <c:v>0.10939386135065537</c:v>
                </c:pt>
                <c:pt idx="41">
                  <c:v>0.10715337847211426</c:v>
                </c:pt>
                <c:pt idx="42">
                  <c:v>0.10427267106855814</c:v>
                </c:pt>
                <c:pt idx="43">
                  <c:v>0.10766278241051352</c:v>
                </c:pt>
                <c:pt idx="44">
                  <c:v>0.11624226423883915</c:v>
                </c:pt>
                <c:pt idx="45">
                  <c:v>0.11795274196617905</c:v>
                </c:pt>
                <c:pt idx="46">
                  <c:v>0.11720319251776579</c:v>
                </c:pt>
                <c:pt idx="47">
                  <c:v>0.11785345797002883</c:v>
                </c:pt>
                <c:pt idx="48">
                  <c:v>0.13952428920296484</c:v>
                </c:pt>
                <c:pt idx="49">
                  <c:v>0.14660576855755403</c:v>
                </c:pt>
                <c:pt idx="50">
                  <c:v>0.15185902011555352</c:v>
                </c:pt>
                <c:pt idx="51">
                  <c:v>0.15059117993106175</c:v>
                </c:pt>
                <c:pt idx="52">
                  <c:v>0.16158458648407037</c:v>
                </c:pt>
                <c:pt idx="53">
                  <c:v>0.17571969619478822</c:v>
                </c:pt>
                <c:pt idx="54">
                  <c:v>0.138488809626741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4.0"/>
          <c:min val="56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061553985872857"/>
          <c:min val="0.0487576183778715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7726715116007649</c:v>
                </c:pt>
                <c:pt idx="1">
                  <c:v>0.0775886315292095</c:v>
                </c:pt>
                <c:pt idx="2">
                  <c:v>0.07651491949609485</c:v>
                </c:pt>
                <c:pt idx="3">
                  <c:v>0.07851185283265136</c:v>
                </c:pt>
                <c:pt idx="4">
                  <c:v>0.0801364264800796</c:v>
                </c:pt>
                <c:pt idx="5">
                  <c:v>0.08574646348438796</c:v>
                </c:pt>
                <c:pt idx="6">
                  <c:v>0.08905037005084122</c:v>
                </c:pt>
                <c:pt idx="7">
                  <c:v>0.08713520292037046</c:v>
                </c:pt>
                <c:pt idx="8">
                  <c:v>0.08612929733355694</c:v>
                </c:pt>
                <c:pt idx="9">
                  <c:v>0.07568630013983897</c:v>
                </c:pt>
                <c:pt idx="10">
                  <c:v>0.06930937997537769</c:v>
                </c:pt>
                <c:pt idx="11">
                  <c:v>0.07027055204145466</c:v>
                </c:pt>
                <c:pt idx="12">
                  <c:v>0.06992662130869946</c:v>
                </c:pt>
                <c:pt idx="13">
                  <c:v>0.07090347025975419</c:v>
                </c:pt>
                <c:pt idx="14">
                  <c:v>0.08577150836308595</c:v>
                </c:pt>
                <c:pt idx="15">
                  <c:v>0.08681577491332283</c:v>
                </c:pt>
                <c:pt idx="16">
                  <c:v>0.08746273908679966</c:v>
                </c:pt>
                <c:pt idx="17">
                  <c:v>0.08839086342190074</c:v>
                </c:pt>
                <c:pt idx="18">
                  <c:v>0.087405011866146</c:v>
                </c:pt>
                <c:pt idx="19">
                  <c:v>0.09075969828994152</c:v>
                </c:pt>
                <c:pt idx="20">
                  <c:v>0.094271526716487</c:v>
                </c:pt>
                <c:pt idx="21">
                  <c:v>0.0927674295376318</c:v>
                </c:pt>
                <c:pt idx="22">
                  <c:v>0.09120348370036534</c:v>
                </c:pt>
                <c:pt idx="23">
                  <c:v>0.09074565395762686</c:v>
                </c:pt>
                <c:pt idx="24">
                  <c:v>0.08865570699139726</c:v>
                </c:pt>
                <c:pt idx="25">
                  <c:v>0.09186432844379366</c:v>
                </c:pt>
                <c:pt idx="26">
                  <c:v>0.09089618785845814</c:v>
                </c:pt>
                <c:pt idx="27">
                  <c:v>0.0910107109162392</c:v>
                </c:pt>
                <c:pt idx="28">
                  <c:v>0.08908631613199777</c:v>
                </c:pt>
                <c:pt idx="29">
                  <c:v>0.09210519433936927</c:v>
                </c:pt>
                <c:pt idx="30">
                  <c:v>0.09434152103743439</c:v>
                </c:pt>
                <c:pt idx="31">
                  <c:v>0.09361225970490067</c:v>
                </c:pt>
                <c:pt idx="32">
                  <c:v>0.09173161871877748</c:v>
                </c:pt>
                <c:pt idx="33">
                  <c:v>0.09324110407649325</c:v>
                </c:pt>
                <c:pt idx="34">
                  <c:v>0.09305226085056162</c:v>
                </c:pt>
                <c:pt idx="35">
                  <c:v>0.09444790412940783</c:v>
                </c:pt>
                <c:pt idx="36">
                  <c:v>0.09619033634997409</c:v>
                </c:pt>
                <c:pt idx="37">
                  <c:v>0.09638870132933657</c:v>
                </c:pt>
                <c:pt idx="38">
                  <c:v>0.09674749921613678</c:v>
                </c:pt>
                <c:pt idx="39">
                  <c:v>0.10464799927131241</c:v>
                </c:pt>
                <c:pt idx="40">
                  <c:v>0.11124361792053528</c:v>
                </c:pt>
                <c:pt idx="41">
                  <c:v>0.11205828863878628</c:v>
                </c:pt>
                <c:pt idx="42">
                  <c:v>0.11265606676273227</c:v>
                </c:pt>
                <c:pt idx="43">
                  <c:v>0.10971817773106833</c:v>
                </c:pt>
                <c:pt idx="44">
                  <c:v>0.10682044350553262</c:v>
                </c:pt>
                <c:pt idx="45">
                  <c:v>0.10403783585733918</c:v>
                </c:pt>
                <c:pt idx="46">
                  <c:v>0.1004260243835038</c:v>
                </c:pt>
                <c:pt idx="47">
                  <c:v>0.09899026941344603</c:v>
                </c:pt>
                <c:pt idx="48">
                  <c:v>0.08664299156587119</c:v>
                </c:pt>
                <c:pt idx="49">
                  <c:v>0.08346747146966041</c:v>
                </c:pt>
                <c:pt idx="50">
                  <c:v>0.08873688004031353</c:v>
                </c:pt>
                <c:pt idx="51">
                  <c:v>0.08442056591558181</c:v>
                </c:pt>
                <c:pt idx="52">
                  <c:v>0.08372420331761216</c:v>
                </c:pt>
                <c:pt idx="53">
                  <c:v>0.10092054120997065</c:v>
                </c:pt>
                <c:pt idx="54">
                  <c:v>0.10222152087228445</c:v>
                </c:pt>
                <c:pt idx="55">
                  <c:v>0.10264021437782066</c:v>
                </c:pt>
                <c:pt idx="56">
                  <c:v>0.10160159201878152</c:v>
                </c:pt>
                <c:pt idx="57">
                  <c:v>0.10246603084460482</c:v>
                </c:pt>
                <c:pt idx="58">
                  <c:v>0.10120849120726425</c:v>
                </c:pt>
                <c:pt idx="59">
                  <c:v>0.10231560471142433</c:v>
                </c:pt>
                <c:pt idx="60">
                  <c:v>0.10372528325951788</c:v>
                </c:pt>
                <c:pt idx="61">
                  <c:v>0.09738567293620422</c:v>
                </c:pt>
                <c:pt idx="62">
                  <c:v>0.08941404319138106</c:v>
                </c:pt>
                <c:pt idx="63">
                  <c:v>0.08678253854091193</c:v>
                </c:pt>
                <c:pt idx="64">
                  <c:v>0.08638461495825883</c:v>
                </c:pt>
                <c:pt idx="65">
                  <c:v>0.08635966552310474</c:v>
                </c:pt>
                <c:pt idx="66">
                  <c:v>0.09546987908775524</c:v>
                </c:pt>
                <c:pt idx="67">
                  <c:v>0.09638987007209035</c:v>
                </c:pt>
                <c:pt idx="68">
                  <c:v>0.09527751417240593</c:v>
                </c:pt>
                <c:pt idx="69">
                  <c:v>0.09931723664532427</c:v>
                </c:pt>
                <c:pt idx="70">
                  <c:v>0.09992651235624084</c:v>
                </c:pt>
                <c:pt idx="71">
                  <c:v>0.09431681254658869</c:v>
                </c:pt>
                <c:pt idx="72">
                  <c:v>0.09689879721157015</c:v>
                </c:pt>
                <c:pt idx="73">
                  <c:v>0.10018592938182372</c:v>
                </c:pt>
                <c:pt idx="74">
                  <c:v>0.10023294068693542</c:v>
                </c:pt>
                <c:pt idx="75">
                  <c:v>0.09844587589880503</c:v>
                </c:pt>
                <c:pt idx="76">
                  <c:v>0.09425746901908624</c:v>
                </c:pt>
                <c:pt idx="77">
                  <c:v>0.09366399718336192</c:v>
                </c:pt>
                <c:pt idx="78">
                  <c:v>0.09768088618345297</c:v>
                </c:pt>
                <c:pt idx="79">
                  <c:v>0.10344244188917517</c:v>
                </c:pt>
                <c:pt idx="80">
                  <c:v>0.10258021814955529</c:v>
                </c:pt>
                <c:pt idx="81">
                  <c:v>0.10937653911614471</c:v>
                </c:pt>
                <c:pt idx="82">
                  <c:v>0.10628383190968163</c:v>
                </c:pt>
                <c:pt idx="83">
                  <c:v>0.1029821890240683</c:v>
                </c:pt>
                <c:pt idx="84">
                  <c:v>0.10668201360211625</c:v>
                </c:pt>
                <c:pt idx="85">
                  <c:v>0.10546041502026761</c:v>
                </c:pt>
                <c:pt idx="86">
                  <c:v>0.10793472458104554</c:v>
                </c:pt>
                <c:pt idx="87">
                  <c:v>0.10937679493343426</c:v>
                </c:pt>
                <c:pt idx="88">
                  <c:v>0.10740572098761161</c:v>
                </c:pt>
                <c:pt idx="89">
                  <c:v>0.10948577325515017</c:v>
                </c:pt>
                <c:pt idx="90">
                  <c:v>0.10699700561227522</c:v>
                </c:pt>
                <c:pt idx="91">
                  <c:v>0.10878894062999499</c:v>
                </c:pt>
                <c:pt idx="92">
                  <c:v>0.11132577244089188</c:v>
                </c:pt>
                <c:pt idx="93">
                  <c:v>0.10933804609171592</c:v>
                </c:pt>
                <c:pt idx="94">
                  <c:v>0.09882256122456447</c:v>
                </c:pt>
                <c:pt idx="95">
                  <c:v>0.10145963447911928</c:v>
                </c:pt>
                <c:pt idx="96">
                  <c:v>0.08989392873650998</c:v>
                </c:pt>
                <c:pt idx="97">
                  <c:v>0.09575646998401756</c:v>
                </c:pt>
                <c:pt idx="98">
                  <c:v>0.08976532195505074</c:v>
                </c:pt>
                <c:pt idx="99">
                  <c:v>0.09128959090416643</c:v>
                </c:pt>
                <c:pt idx="100">
                  <c:v>0.08487760633513919</c:v>
                </c:pt>
                <c:pt idx="101">
                  <c:v>0.10585799241485207</c:v>
                </c:pt>
                <c:pt idx="102">
                  <c:v>0.10673886068484993</c:v>
                </c:pt>
                <c:pt idx="103">
                  <c:v>0.09398723231674108</c:v>
                </c:pt>
                <c:pt idx="104">
                  <c:v>0.09348519603427373</c:v>
                </c:pt>
              </c:numCache>
            </c:numRef>
          </c:xVal>
          <c:yVal>
            <c:numRef>
              <c:f>Sheet1!$B$2:$B$106</c:f>
              <c:numCache>
                <c:formatCode>General</c:formatCode>
                <c:ptCount val="105"/>
                <c:pt idx="0">
                  <c:v>0.29335539012958367</c:v>
                </c:pt>
                <c:pt idx="1">
                  <c:v>0.32988435788192333</c:v>
                </c:pt>
                <c:pt idx="2">
                  <c:v>0.2962962962962963</c:v>
                </c:pt>
                <c:pt idx="3">
                  <c:v>0.2711124053581829</c:v>
                </c:pt>
                <c:pt idx="4">
                  <c:v>0.1999296022527279</c:v>
                </c:pt>
                <c:pt idx="5">
                  <c:v>0.1452455590386625</c:v>
                </c:pt>
                <c:pt idx="6">
                  <c:v>0.12973328943035892</c:v>
                </c:pt>
                <c:pt idx="7">
                  <c:v>0.10869565217391304</c:v>
                </c:pt>
                <c:pt idx="8">
                  <c:v>0.1436259670366633</c:v>
                </c:pt>
                <c:pt idx="9">
                  <c:v>0.14610207515423443</c:v>
                </c:pt>
                <c:pt idx="10">
                  <c:v>0.17722165474974463</c:v>
                </c:pt>
                <c:pt idx="11">
                  <c:v>0.17665094339622642</c:v>
                </c:pt>
                <c:pt idx="12">
                  <c:v>0.2139495079161318</c:v>
                </c:pt>
                <c:pt idx="13">
                  <c:v>0.20098159509202454</c:v>
                </c:pt>
                <c:pt idx="14">
                  <c:v>0.22036775106082038</c:v>
                </c:pt>
                <c:pt idx="15">
                  <c:v>0.20182291666666666</c:v>
                </c:pt>
                <c:pt idx="16">
                  <c:v>0.1967515688445921</c:v>
                </c:pt>
                <c:pt idx="17">
                  <c:v>0.1878967414303851</c:v>
                </c:pt>
                <c:pt idx="18">
                  <c:v>0.16448850833708878</c:v>
                </c:pt>
                <c:pt idx="19">
                  <c:v>0.15015015015015015</c:v>
                </c:pt>
                <c:pt idx="20">
                  <c:v>0.172779496243924</c:v>
                </c:pt>
                <c:pt idx="21">
                  <c:v>0.14506024096385542</c:v>
                </c:pt>
                <c:pt idx="22">
                  <c:v>0.14182939362795477</c:v>
                </c:pt>
                <c:pt idx="23">
                  <c:v>0.12834765032844872</c:v>
                </c:pt>
                <c:pt idx="24">
                  <c:v>0.14488497307880568</c:v>
                </c:pt>
                <c:pt idx="25">
                  <c:v>0.12415933781686497</c:v>
                </c:pt>
                <c:pt idx="26">
                  <c:v>0.13569844789356986</c:v>
                </c:pt>
                <c:pt idx="27">
                  <c:v>0.1498401096391046</c:v>
                </c:pt>
                <c:pt idx="28">
                  <c:v>0.15058275058275059</c:v>
                </c:pt>
                <c:pt idx="29">
                  <c:v>0.13561368209255534</c:v>
                </c:pt>
                <c:pt idx="30">
                  <c:v>0.12253164556962025</c:v>
                </c:pt>
                <c:pt idx="31">
                  <c:v>0.11024844720496894</c:v>
                </c:pt>
                <c:pt idx="32">
                  <c:v>0.11920529801324503</c:v>
                </c:pt>
                <c:pt idx="33">
                  <c:v>0.13148636763412488</c:v>
                </c:pt>
                <c:pt idx="34">
                  <c:v>0.14188615123194562</c:v>
                </c:pt>
                <c:pt idx="35">
                  <c:v>0.18617212819589485</c:v>
                </c:pt>
                <c:pt idx="36">
                  <c:v>0.1673499813641446</c:v>
                </c:pt>
                <c:pt idx="37">
                  <c:v>0.1393121462777536</c:v>
                </c:pt>
                <c:pt idx="38">
                  <c:v>0.12938689217758986</c:v>
                </c:pt>
                <c:pt idx="39">
                  <c:v>0.10777300906056271</c:v>
                </c:pt>
                <c:pt idx="40">
                  <c:v>0.12176681257461201</c:v>
                </c:pt>
                <c:pt idx="41">
                  <c:v>0.09544468546637744</c:v>
                </c:pt>
                <c:pt idx="42">
                  <c:v>0.1061493411420205</c:v>
                </c:pt>
                <c:pt idx="43">
                  <c:v>0.10782029950083195</c:v>
                </c:pt>
                <c:pt idx="44">
                  <c:v>0.14064549986880084</c:v>
                </c:pt>
                <c:pt idx="45">
                  <c:v>0.13561885555835643</c:v>
                </c:pt>
                <c:pt idx="46">
                  <c:v>0.14025455452957325</c:v>
                </c:pt>
                <c:pt idx="47">
                  <c:v>0.1368556701030928</c:v>
                </c:pt>
                <c:pt idx="48">
                  <c:v>0.1739051094890511</c:v>
                </c:pt>
                <c:pt idx="49">
                  <c:v>0.18747702487440265</c:v>
                </c:pt>
                <c:pt idx="50">
                  <c:v>0.14840777087923093</c:v>
                </c:pt>
                <c:pt idx="51">
                  <c:v>0.15249722530521642</c:v>
                </c:pt>
                <c:pt idx="52">
                  <c:v>0.185739610005909</c:v>
                </c:pt>
                <c:pt idx="53">
                  <c:v>0.14897435897435898</c:v>
                </c:pt>
                <c:pt idx="54">
                  <c:v>0.12692828146143437</c:v>
                </c:pt>
                <c:pt idx="55">
                  <c:v>0.13467536149702297</c:v>
                </c:pt>
                <c:pt idx="56">
                  <c:v>0.14375512435091556</c:v>
                </c:pt>
                <c:pt idx="57">
                  <c:v>0.13140475606766364</c:v>
                </c:pt>
                <c:pt idx="58">
                  <c:v>0.1341492115791951</c:v>
                </c:pt>
                <c:pt idx="59">
                  <c:v>0.14758751182592242</c:v>
                </c:pt>
                <c:pt idx="60">
                  <c:v>0.14428431051424828</c:v>
                </c:pt>
                <c:pt idx="61">
                  <c:v>0.1369330453563715</c:v>
                </c:pt>
                <c:pt idx="62">
                  <c:v>0.14360610895828585</c:v>
                </c:pt>
                <c:pt idx="63">
                  <c:v>0.16469691193290126</c:v>
                </c:pt>
                <c:pt idx="64">
                  <c:v>0.17001488095238096</c:v>
                </c:pt>
                <c:pt idx="65">
                  <c:v>0.17632752330766113</c:v>
                </c:pt>
                <c:pt idx="66">
                  <c:v>0.15744861199406654</c:v>
                </c:pt>
                <c:pt idx="67">
                  <c:v>0.1460649662088511</c:v>
                </c:pt>
                <c:pt idx="68">
                  <c:v>0.1361170087284737</c:v>
                </c:pt>
                <c:pt idx="69">
                  <c:v>0.11100260416666667</c:v>
                </c:pt>
                <c:pt idx="70">
                  <c:v>0.09996988858777477</c:v>
                </c:pt>
                <c:pt idx="71">
                  <c:v>0.12008599508599509</c:v>
                </c:pt>
                <c:pt idx="72">
                  <c:v>0.1247750449910018</c:v>
                </c:pt>
                <c:pt idx="73">
                  <c:v>0.11791590493601463</c:v>
                </c:pt>
                <c:pt idx="74">
                  <c:v>0.09799691833590139</c:v>
                </c:pt>
                <c:pt idx="75">
                  <c:v>0.08870680441752761</c:v>
                </c:pt>
                <c:pt idx="76">
                  <c:v>0.09396966333703292</c:v>
                </c:pt>
                <c:pt idx="77">
                  <c:v>0.08734939759036145</c:v>
                </c:pt>
                <c:pt idx="78">
                  <c:v>0.09734151329243354</c:v>
                </c:pt>
                <c:pt idx="79">
                  <c:v>0.0885917258671124</c:v>
                </c:pt>
                <c:pt idx="80">
                  <c:v>0.08336859923825646</c:v>
                </c:pt>
                <c:pt idx="81">
                  <c:v>0.07746243739565943</c:v>
                </c:pt>
                <c:pt idx="82">
                  <c:v>0.08011996572407884</c:v>
                </c:pt>
                <c:pt idx="83">
                  <c:v>0.07543216343635412</c:v>
                </c:pt>
                <c:pt idx="84">
                  <c:v>0.06610703043022036</c:v>
                </c:pt>
                <c:pt idx="85">
                  <c:v>0.05907172995780591</c:v>
                </c:pt>
                <c:pt idx="86">
                  <c:v>0.07008849557522123</c:v>
                </c:pt>
                <c:pt idx="87">
                  <c:v>0.10039440659734672</c:v>
                </c:pt>
                <c:pt idx="88">
                  <c:v>0.09121909633418585</c:v>
                </c:pt>
                <c:pt idx="89">
                  <c:v>0.0685640362225097</c:v>
                </c:pt>
                <c:pt idx="90">
                  <c:v>0.05763308402991641</c:v>
                </c:pt>
                <c:pt idx="91">
                  <c:v>0.07351676698194325</c:v>
                </c:pt>
                <c:pt idx="92">
                  <c:v>0.06567489114658925</c:v>
                </c:pt>
                <c:pt idx="93">
                  <c:v>0.06393700787401575</c:v>
                </c:pt>
                <c:pt idx="94">
                  <c:v>0.0681044267877412</c:v>
                </c:pt>
                <c:pt idx="95">
                  <c:v>0.08433031806244529</c:v>
                </c:pt>
                <c:pt idx="96">
                  <c:v>0.08319266939956595</c:v>
                </c:pt>
                <c:pt idx="97">
                  <c:v>0.08657137104892289</c:v>
                </c:pt>
                <c:pt idx="98">
                  <c:v>0.1113338192419825</c:v>
                </c:pt>
                <c:pt idx="99">
                  <c:v>0.10447257383966245</c:v>
                </c:pt>
                <c:pt idx="100">
                  <c:v>0.1383495145631068</c:v>
                </c:pt>
                <c:pt idx="101">
                  <c:v>0.09347826086956522</c:v>
                </c:pt>
                <c:pt idx="102">
                  <c:v>0.07682528151107883</c:v>
                </c:pt>
                <c:pt idx="103">
                  <c:v>0.09002479496471485</c:v>
                </c:pt>
                <c:pt idx="104">
                  <c:v>0.1083421330517423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0830886874827751</c:v>
                </c:pt>
                <c:pt idx="1">
                  <c:v>0.10704663902339158</c:v>
                </c:pt>
                <c:pt idx="2">
                  <c:v>0.1081048891937856</c:v>
                </c:pt>
                <c:pt idx="3">
                  <c:v>0.10811979733999352</c:v>
                </c:pt>
                <c:pt idx="4">
                  <c:v>0.10881859521558365</c:v>
                </c:pt>
                <c:pt idx="5">
                  <c:v>0.11048538307252453</c:v>
                </c:pt>
                <c:pt idx="6">
                  <c:v>0.09847000568151126</c:v>
                </c:pt>
                <c:pt idx="7">
                  <c:v>0.09469672511409202</c:v>
                </c:pt>
                <c:pt idx="8">
                  <c:v>0.10843870152376399</c:v>
                </c:pt>
                <c:pt idx="9">
                  <c:v>0.09586908296379505</c:v>
                </c:pt>
                <c:pt idx="10">
                  <c:v>0.09358618510129514</c:v>
                </c:pt>
                <c:pt idx="11">
                  <c:v>0.11136263669597063</c:v>
                </c:pt>
                <c:pt idx="12">
                  <c:v>0.10630011044706349</c:v>
                </c:pt>
                <c:pt idx="13">
                  <c:v>0.0965046948300263</c:v>
                </c:pt>
                <c:pt idx="14">
                  <c:v>0.1090844217489393</c:v>
                </c:pt>
                <c:pt idx="15">
                  <c:v>0.10288133321099618</c:v>
                </c:pt>
                <c:pt idx="16">
                  <c:v>0.09926070705212166</c:v>
                </c:pt>
                <c:pt idx="17">
                  <c:v>0.09708602824289825</c:v>
                </c:pt>
                <c:pt idx="18">
                  <c:v>0.08834163376612805</c:v>
                </c:pt>
                <c:pt idx="19">
                  <c:v>0.07707493803199238</c:v>
                </c:pt>
                <c:pt idx="20">
                  <c:v>0.07627312038941973</c:v>
                </c:pt>
                <c:pt idx="21">
                  <c:v>0.08019666490602141</c:v>
                </c:pt>
                <c:pt idx="22">
                  <c:v>0.08428050600251526</c:v>
                </c:pt>
                <c:pt idx="23">
                  <c:v>0.08542061735848815</c:v>
                </c:pt>
                <c:pt idx="24">
                  <c:v>0.10863278263417014</c:v>
                </c:pt>
                <c:pt idx="25">
                  <c:v>0.11323315224761626</c:v>
                </c:pt>
                <c:pt idx="26">
                  <c:v>0.11076445097156826</c:v>
                </c:pt>
                <c:pt idx="27">
                  <c:v>0.11169680489730127</c:v>
                </c:pt>
                <c:pt idx="28">
                  <c:v>0.09909887628452492</c:v>
                </c:pt>
                <c:pt idx="29">
                  <c:v>0.1010471041675887</c:v>
                </c:pt>
                <c:pt idx="30">
                  <c:v>0.11096522995808883</c:v>
                </c:pt>
                <c:pt idx="31">
                  <c:v>0.11040812305929677</c:v>
                </c:pt>
                <c:pt idx="32">
                  <c:v>0.10730646834052766</c:v>
                </c:pt>
                <c:pt idx="33">
                  <c:v>0.10857994263406484</c:v>
                </c:pt>
                <c:pt idx="34">
                  <c:v>0.11008063945211345</c:v>
                </c:pt>
                <c:pt idx="35">
                  <c:v>0.11225943803310179</c:v>
                </c:pt>
                <c:pt idx="36">
                  <c:v>0.11065888626449674</c:v>
                </c:pt>
                <c:pt idx="37">
                  <c:v>0.11198211424688775</c:v>
                </c:pt>
                <c:pt idx="38">
                  <c:v>0.11381439264408852</c:v>
                </c:pt>
                <c:pt idx="39">
                  <c:v>0.11493053053129948</c:v>
                </c:pt>
                <c:pt idx="40">
                  <c:v>0.11648066582332371</c:v>
                </c:pt>
                <c:pt idx="41">
                  <c:v>0.1156449766511322</c:v>
                </c:pt>
                <c:pt idx="42">
                  <c:v>0.11567604351045832</c:v>
                </c:pt>
                <c:pt idx="43">
                  <c:v>0.11189380672314617</c:v>
                </c:pt>
                <c:pt idx="44">
                  <c:v>0.11101876462413347</c:v>
                </c:pt>
                <c:pt idx="45">
                  <c:v>0.10903415992631242</c:v>
                </c:pt>
                <c:pt idx="46">
                  <c:v>0.10776120823851619</c:v>
                </c:pt>
                <c:pt idx="47">
                  <c:v>0.10627625360410675</c:v>
                </c:pt>
                <c:pt idx="48">
                  <c:v>0.09970157933577749</c:v>
                </c:pt>
                <c:pt idx="49">
                  <c:v>0.0926961894889001</c:v>
                </c:pt>
                <c:pt idx="50">
                  <c:v>0.08898432232611651</c:v>
                </c:pt>
                <c:pt idx="51">
                  <c:v>0.09095553221416496</c:v>
                </c:pt>
              </c:numCache>
            </c:numRef>
          </c:xVal>
          <c:yVal>
            <c:numRef>
              <c:f>Sheet1!$B$109:$B$160</c:f>
              <c:numCache>
                <c:formatCode>General</c:formatCode>
                <c:ptCount val="52"/>
                <c:pt idx="0">
                  <c:v>0.10245310245310245</c:v>
                </c:pt>
                <c:pt idx="1">
                  <c:v>0.09077537297751628</c:v>
                </c:pt>
                <c:pt idx="2">
                  <c:v>0.09115646258503401</c:v>
                </c:pt>
                <c:pt idx="3">
                  <c:v>0.09265473527218494</c:v>
                </c:pt>
                <c:pt idx="4">
                  <c:v>0.08411764705882353</c:v>
                </c:pt>
                <c:pt idx="5">
                  <c:v>0.0764626375748214</c:v>
                </c:pt>
                <c:pt idx="6">
                  <c:v>0.08995596561123925</c:v>
                </c:pt>
                <c:pt idx="7">
                  <c:v>0.10643077787138444</c:v>
                </c:pt>
                <c:pt idx="8">
                  <c:v>0.08466819221967964</c:v>
                </c:pt>
                <c:pt idx="9">
                  <c:v>0.0892018779342723</c:v>
                </c:pt>
                <c:pt idx="10">
                  <c:v>0.09979317476732161</c:v>
                </c:pt>
                <c:pt idx="11">
                  <c:v>0.09794490599038042</c:v>
                </c:pt>
                <c:pt idx="12">
                  <c:v>0.09792886087348042</c:v>
                </c:pt>
                <c:pt idx="13">
                  <c:v>0.09246880570409982</c:v>
                </c:pt>
                <c:pt idx="14">
                  <c:v>0.08679525222551929</c:v>
                </c:pt>
                <c:pt idx="15">
                  <c:v>0.08375634517766498</c:v>
                </c:pt>
                <c:pt idx="16">
                  <c:v>0.08636239409674774</c:v>
                </c:pt>
                <c:pt idx="17">
                  <c:v>0.08074534161490683</c:v>
                </c:pt>
                <c:pt idx="18">
                  <c:v>0.09015829318651067</c:v>
                </c:pt>
                <c:pt idx="19">
                  <c:v>0.10430706123644887</c:v>
                </c:pt>
                <c:pt idx="20">
                  <c:v>0.09464508094645081</c:v>
                </c:pt>
                <c:pt idx="21">
                  <c:v>0.10082709728239464</c:v>
                </c:pt>
                <c:pt idx="22">
                  <c:v>0.09673518742442563</c:v>
                </c:pt>
                <c:pt idx="23">
                  <c:v>0.07884856070087609</c:v>
                </c:pt>
                <c:pt idx="24">
                  <c:v>0.0686626746506986</c:v>
                </c:pt>
                <c:pt idx="25">
                  <c:v>0.06903945111492281</c:v>
                </c:pt>
                <c:pt idx="26">
                  <c:v>0.06201550387596899</c:v>
                </c:pt>
                <c:pt idx="27">
                  <c:v>0.06075471698113208</c:v>
                </c:pt>
                <c:pt idx="28">
                  <c:v>0.05362462760675273</c:v>
                </c:pt>
                <c:pt idx="29">
                  <c:v>0.05612244897959184</c:v>
                </c:pt>
                <c:pt idx="30">
                  <c:v>0.062320623206232065</c:v>
                </c:pt>
                <c:pt idx="31">
                  <c:v>0.06033318325078793</c:v>
                </c:pt>
                <c:pt idx="32">
                  <c:v>0.0533596837944664</c:v>
                </c:pt>
                <c:pt idx="33">
                  <c:v>0.07414910858995137</c:v>
                </c:pt>
                <c:pt idx="34">
                  <c:v>0.08681384248210024</c:v>
                </c:pt>
                <c:pt idx="35">
                  <c:v>0.09665792922673656</c:v>
                </c:pt>
                <c:pt idx="36">
                  <c:v>0.06567593480345159</c:v>
                </c:pt>
                <c:pt idx="37">
                  <c:v>0.0794646591384358</c:v>
                </c:pt>
                <c:pt idx="38">
                  <c:v>0.08265213442325159</c:v>
                </c:pt>
                <c:pt idx="39">
                  <c:v>0.1054072553045859</c:v>
                </c:pt>
                <c:pt idx="40">
                  <c:v>0.08571428571428572</c:v>
                </c:pt>
                <c:pt idx="41">
                  <c:v>0.08518518518518518</c:v>
                </c:pt>
                <c:pt idx="42">
                  <c:v>0.07456140350877193</c:v>
                </c:pt>
                <c:pt idx="43">
                  <c:v>0.09136295556665003</c:v>
                </c:pt>
                <c:pt idx="44">
                  <c:v>0.09131640708342223</c:v>
                </c:pt>
                <c:pt idx="45">
                  <c:v>0.11268603827072998</c:v>
                </c:pt>
                <c:pt idx="46">
                  <c:v>0.09639564124056998</c:v>
                </c:pt>
                <c:pt idx="47">
                  <c:v>0.10404742436631234</c:v>
                </c:pt>
                <c:pt idx="48">
                  <c:v>0.09787530477185649</c:v>
                </c:pt>
                <c:pt idx="49">
                  <c:v>0.10645859085290482</c:v>
                </c:pt>
                <c:pt idx="50">
                  <c:v>0.15558218494108247</c:v>
                </c:pt>
                <c:pt idx="51">
                  <c:v>0.1212169735788630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8183845655460659</c:v>
                </c:pt>
              </c:numCache>
            </c:numRef>
          </c:xVal>
          <c:yVal>
            <c:numRef>
              <c:f>Sheet1!$B$163:$B$164</c:f>
              <c:numCache>
                <c:formatCode>General</c:formatCode>
                <c:ptCount val="2"/>
                <c:pt idx="0">
                  <c:v>0.21309761328870133</c:v>
                </c:pt>
                <c:pt idx="1">
                  <c:v>0.2130976132887013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8183845655460659</c:v>
                </c:pt>
                <c:pt idx="1">
                  <c:v>-0.08183845655460659</c:v>
                </c:pt>
              </c:numCache>
            </c:numRef>
          </c:xVal>
          <c:yVal>
            <c:numRef>
              <c:f>Sheet1!$B$167:$B$168</c:f>
              <c:numCache>
                <c:formatCode>General</c:formatCode>
                <c:ptCount val="2"/>
                <c:pt idx="0">
                  <c:v>0.2130976132887013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5524222478220681</c:v>
                </c:pt>
              </c:numCache>
            </c:numRef>
          </c:xVal>
          <c:yVal>
            <c:numRef>
              <c:f>Sheet1!$B$171:$B$172</c:f>
              <c:numCache>
                <c:formatCode>General</c:formatCode>
                <c:ptCount val="2"/>
                <c:pt idx="0">
                  <c:v>0.12028326353617672</c:v>
                </c:pt>
                <c:pt idx="1">
                  <c:v>0.1202832635361767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5524222478220681</c:v>
                </c:pt>
                <c:pt idx="1">
                  <c:v>0.05524222478220681</c:v>
                </c:pt>
              </c:numCache>
            </c:numRef>
          </c:xVal>
          <c:yVal>
            <c:numRef>
              <c:f>Sheet1!$B$175:$B$176</c:f>
              <c:numCache>
                <c:formatCode>General</c:formatCode>
                <c:ptCount val="2"/>
                <c:pt idx="0">
                  <c:v>0.1202832635361767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8203980583614803</c:v>
                </c:pt>
              </c:numCache>
            </c:numRef>
          </c:xVal>
          <c:yVal>
            <c:numRef>
              <c:f>Sheet1!$B$179:$B$180</c:f>
              <c:numCache>
                <c:formatCode>General</c:formatCode>
                <c:ptCount val="2"/>
                <c:pt idx="0">
                  <c:v>0.10213920387578616</c:v>
                </c:pt>
                <c:pt idx="1">
                  <c:v>0.1021392038757861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8203980583614803</c:v>
                </c:pt>
                <c:pt idx="1">
                  <c:v>0.08203980583614803</c:v>
                </c:pt>
              </c:numCache>
            </c:numRef>
          </c:xVal>
          <c:yVal>
            <c:numRef>
              <c:f>Sheet1!$B$183:$B$184</c:f>
              <c:numCache>
                <c:formatCode>General</c:formatCode>
                <c:ptCount val="2"/>
                <c:pt idx="0">
                  <c:v>0.1021392038757861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0830886874827751</c:v>
                </c:pt>
                <c:pt idx="1">
                  <c:v>0.10704663902339158</c:v>
                </c:pt>
                <c:pt idx="2">
                  <c:v>0.1081048891937856</c:v>
                </c:pt>
                <c:pt idx="3">
                  <c:v>0.10811979733999352</c:v>
                </c:pt>
                <c:pt idx="4">
                  <c:v>0.10881859521558365</c:v>
                </c:pt>
                <c:pt idx="5">
                  <c:v>0.11048538307252453</c:v>
                </c:pt>
                <c:pt idx="6">
                  <c:v>0.09847000568151126</c:v>
                </c:pt>
                <c:pt idx="7">
                  <c:v>0.09469672511409202</c:v>
                </c:pt>
                <c:pt idx="8">
                  <c:v>0.10843870152376399</c:v>
                </c:pt>
                <c:pt idx="9">
                  <c:v>0.09586908296379505</c:v>
                </c:pt>
                <c:pt idx="10">
                  <c:v>0.09358618510129514</c:v>
                </c:pt>
                <c:pt idx="11">
                  <c:v>0.11136263669597063</c:v>
                </c:pt>
                <c:pt idx="12">
                  <c:v>0.10630011044706349</c:v>
                </c:pt>
                <c:pt idx="13">
                  <c:v>0.0965046948300263</c:v>
                </c:pt>
                <c:pt idx="14">
                  <c:v>0.1090844217489393</c:v>
                </c:pt>
                <c:pt idx="15">
                  <c:v>0.10288133321099618</c:v>
                </c:pt>
                <c:pt idx="16">
                  <c:v>0.09926070705212166</c:v>
                </c:pt>
                <c:pt idx="17">
                  <c:v>0.09708602824289825</c:v>
                </c:pt>
                <c:pt idx="18">
                  <c:v>0.08834163376612805</c:v>
                </c:pt>
                <c:pt idx="19">
                  <c:v>0.07707493803199238</c:v>
                </c:pt>
                <c:pt idx="20">
                  <c:v>0.07627312038941973</c:v>
                </c:pt>
                <c:pt idx="21">
                  <c:v>0.08019666490602141</c:v>
                </c:pt>
                <c:pt idx="22">
                  <c:v>0.08428050600251526</c:v>
                </c:pt>
                <c:pt idx="23">
                  <c:v>0.08542061735848815</c:v>
                </c:pt>
                <c:pt idx="24">
                  <c:v>0.10863278263417014</c:v>
                </c:pt>
                <c:pt idx="25">
                  <c:v>0.11323315224761626</c:v>
                </c:pt>
                <c:pt idx="26">
                  <c:v>0.11076445097156826</c:v>
                </c:pt>
                <c:pt idx="27">
                  <c:v>0.11169680489730127</c:v>
                </c:pt>
                <c:pt idx="28">
                  <c:v>0.09909887628452492</c:v>
                </c:pt>
                <c:pt idx="29">
                  <c:v>0.1010471041675887</c:v>
                </c:pt>
                <c:pt idx="30">
                  <c:v>0.11096522995808883</c:v>
                </c:pt>
                <c:pt idx="31">
                  <c:v>0.11040812305929677</c:v>
                </c:pt>
                <c:pt idx="32">
                  <c:v>0.10730646834052766</c:v>
                </c:pt>
                <c:pt idx="33">
                  <c:v>0.10857994263406484</c:v>
                </c:pt>
                <c:pt idx="34">
                  <c:v>0.11008063945211345</c:v>
                </c:pt>
                <c:pt idx="35">
                  <c:v>0.11225943803310179</c:v>
                </c:pt>
                <c:pt idx="36">
                  <c:v>0.11065888626449674</c:v>
                </c:pt>
                <c:pt idx="37">
                  <c:v>0.11198211424688775</c:v>
                </c:pt>
                <c:pt idx="38">
                  <c:v>0.11381439264408852</c:v>
                </c:pt>
                <c:pt idx="39">
                  <c:v>0.11493053053129948</c:v>
                </c:pt>
                <c:pt idx="40">
                  <c:v>0.11648066582332371</c:v>
                </c:pt>
                <c:pt idx="41">
                  <c:v>0.1156449766511322</c:v>
                </c:pt>
                <c:pt idx="42">
                  <c:v>0.11567604351045832</c:v>
                </c:pt>
                <c:pt idx="43">
                  <c:v>0.11189380672314617</c:v>
                </c:pt>
                <c:pt idx="44">
                  <c:v>0.11101876462413347</c:v>
                </c:pt>
                <c:pt idx="45">
                  <c:v>0.10903415992631242</c:v>
                </c:pt>
                <c:pt idx="46">
                  <c:v>0.10776120823851619</c:v>
                </c:pt>
                <c:pt idx="47">
                  <c:v>0.10627625360410675</c:v>
                </c:pt>
                <c:pt idx="48">
                  <c:v>0.09970157933577749</c:v>
                </c:pt>
                <c:pt idx="49">
                  <c:v>0.0926961894889001</c:v>
                </c:pt>
                <c:pt idx="50">
                  <c:v>0.08898432232611651</c:v>
                </c:pt>
                <c:pt idx="51">
                  <c:v>0.09095553221416496</c:v>
                </c:pt>
                <c:pt idx="52">
                  <c:v>0.05524222478220681</c:v>
                </c:pt>
                <c:pt idx="53">
                  <c:v>-0.08183845655460659</c:v>
                </c:pt>
                <c:pt idx="54">
                  <c:v>0.08203980583614803</c:v>
                </c:pt>
              </c:numCache>
            </c:numRef>
          </c:xVal>
          <c:yVal>
            <c:numRef>
              <c:f>Sheet1!$B$187:$B$241</c:f>
              <c:numCache>
                <c:formatCode>General</c:formatCode>
                <c:ptCount val="55"/>
                <c:pt idx="0">
                  <c:v>0.08435299236136552</c:v>
                </c:pt>
                <c:pt idx="1">
                  <c:v>0.08520762067230706</c:v>
                </c:pt>
                <c:pt idx="2">
                  <c:v>0.08449110248401992</c:v>
                </c:pt>
                <c:pt idx="3">
                  <c:v>0.08448100850226545</c:v>
                </c:pt>
                <c:pt idx="4">
                  <c:v>0.08400786764974821</c:v>
                </c:pt>
                <c:pt idx="5">
                  <c:v>0.0828793218210529</c:v>
                </c:pt>
                <c:pt idx="6">
                  <c:v>0.09101467268670835</c:v>
                </c:pt>
                <c:pt idx="7">
                  <c:v>0.09356947894302071</c:v>
                </c:pt>
                <c:pt idx="8">
                  <c:v>0.08426508541112404</c:v>
                </c:pt>
                <c:pt idx="9">
                  <c:v>0.09277570092531376</c:v>
                </c:pt>
                <c:pt idx="10">
                  <c:v>0.09432140144702875</c:v>
                </c:pt>
                <c:pt idx="11">
                  <c:v>0.08228535246056995</c:v>
                </c:pt>
                <c:pt idx="12">
                  <c:v>0.08571307894482122</c:v>
                </c:pt>
                <c:pt idx="13">
                  <c:v>0.09234534194632465</c:v>
                </c:pt>
                <c:pt idx="14">
                  <c:v>0.08382788228200883</c:v>
                </c:pt>
                <c:pt idx="15">
                  <c:v>0.08802785870094652</c:v>
                </c:pt>
                <c:pt idx="16">
                  <c:v>0.09047930597532386</c:v>
                </c:pt>
                <c:pt idx="17">
                  <c:v>0.09195173372831068</c:v>
                </c:pt>
                <c:pt idx="18">
                  <c:v>0.09787237316069607</c:v>
                </c:pt>
                <c:pt idx="19">
                  <c:v>0.10550080794979655</c:v>
                </c:pt>
                <c:pt idx="20">
                  <c:v>0.1060437012473038</c:v>
                </c:pt>
                <c:pt idx="21">
                  <c:v>0.10338715453713165</c:v>
                </c:pt>
                <c:pt idx="22">
                  <c:v>0.10062207449691507</c:v>
                </c:pt>
                <c:pt idx="23">
                  <c:v>0.09985012987920419</c:v>
                </c:pt>
                <c:pt idx="24">
                  <c:v>0.08413367730980789</c:v>
                </c:pt>
                <c:pt idx="25">
                  <c:v>0.0810188670380077</c:v>
                </c:pt>
                <c:pt idx="26">
                  <c:v>0.08269037101241995</c:v>
                </c:pt>
                <c:pt idx="27">
                  <c:v>0.08205909443491666</c:v>
                </c:pt>
                <c:pt idx="28">
                  <c:v>0.09058887807051602</c:v>
                </c:pt>
                <c:pt idx="29">
                  <c:v>0.08926977531750292</c:v>
                </c:pt>
                <c:pt idx="30">
                  <c:v>0.08255442792477152</c:v>
                </c:pt>
                <c:pt idx="31">
                  <c:v>0.08293163289668863</c:v>
                </c:pt>
                <c:pt idx="32">
                  <c:v>0.08503169588931467</c:v>
                </c:pt>
                <c:pt idx="33">
                  <c:v>0.0841694541253509</c:v>
                </c:pt>
                <c:pt idx="34">
                  <c:v>0.08315336492894085</c:v>
                </c:pt>
                <c:pt idx="35">
                  <c:v>0.08167814776803921</c:v>
                </c:pt>
                <c:pt idx="36">
                  <c:v>0.0827618465810275</c:v>
                </c:pt>
                <c:pt idx="37">
                  <c:v>0.08186591767578515</c:v>
                </c:pt>
                <c:pt idx="38">
                  <c:v>0.08062532179937615</c:v>
                </c:pt>
                <c:pt idx="39">
                  <c:v>0.07986960909627755</c:v>
                </c:pt>
                <c:pt idx="40">
                  <c:v>0.07882004618373145</c:v>
                </c:pt>
                <c:pt idx="41">
                  <c:v>0.07938587315771331</c:v>
                </c:pt>
                <c:pt idx="42">
                  <c:v>0.0793648384625317</c:v>
                </c:pt>
                <c:pt idx="43">
                  <c:v>0.08192570878066151</c:v>
                </c:pt>
                <c:pt idx="44">
                  <c:v>0.08251818076602022</c:v>
                </c:pt>
                <c:pt idx="45">
                  <c:v>0.08386191346962037</c:v>
                </c:pt>
                <c:pt idx="46">
                  <c:v>0.08472380138859628</c:v>
                </c:pt>
                <c:pt idx="47">
                  <c:v>0.08572923189463576</c:v>
                </c:pt>
                <c:pt idx="48">
                  <c:v>0.0901808009348442</c:v>
                </c:pt>
                <c:pt idx="49">
                  <c:v>0.09492399813126963</c:v>
                </c:pt>
                <c:pt idx="50">
                  <c:v>0.09743722270618271</c:v>
                </c:pt>
                <c:pt idx="51">
                  <c:v>0.0961025593371305</c:v>
                </c:pt>
                <c:pt idx="52">
                  <c:v>0.12028326353617672</c:v>
                </c:pt>
                <c:pt idx="53">
                  <c:v>0.21309761328870133</c:v>
                </c:pt>
                <c:pt idx="54">
                  <c:v>0.1021392038757861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5861229458308"/>
          <c:min val="0.04268774703557312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56.3077</c:v>
                </c:pt>
                <c:pt idx="1">
                  <c:v>6230.0</c:v>
                </c:pt>
                <c:pt idx="2">
                  <c:v>6349.3333</c:v>
                </c:pt>
                <c:pt idx="3">
                  <c:v>5043.3333</c:v>
                </c:pt>
                <c:pt idx="4">
                  <c:v>5971.5</c:v>
                </c:pt>
                <c:pt idx="5">
                  <c:v>7694.0</c:v>
                </c:pt>
                <c:pt idx="6">
                  <c:v>5895.0</c:v>
                </c:pt>
                <c:pt idx="7">
                  <c:v>4277.0</c:v>
                </c:pt>
                <c:pt idx="8">
                  <c:v>7050.6667</c:v>
                </c:pt>
                <c:pt idx="9">
                  <c:v>5817.6</c:v>
                </c:pt>
                <c:pt idx="10">
                  <c:v>5290.25</c:v>
                </c:pt>
                <c:pt idx="11">
                  <c:v>4469.2857</c:v>
                </c:pt>
                <c:pt idx="12">
                  <c:v>7055.8</c:v>
                </c:pt>
                <c:pt idx="13">
                  <c:v>5252.6667</c:v>
                </c:pt>
                <c:pt idx="14">
                  <c:v>0.0</c:v>
                </c:pt>
                <c:pt idx="15">
                  <c:v>3753.0</c:v>
                </c:pt>
                <c:pt idx="16">
                  <c:v>2170.25</c:v>
                </c:pt>
                <c:pt idx="17">
                  <c:v>6580.0</c:v>
                </c:pt>
                <c:pt idx="18">
                  <c:v>0.0</c:v>
                </c:pt>
                <c:pt idx="19">
                  <c:v>3807.0</c:v>
                </c:pt>
                <c:pt idx="20">
                  <c:v>5072.3333</c:v>
                </c:pt>
                <c:pt idx="21">
                  <c:v>6718.0</c:v>
                </c:pt>
                <c:pt idx="22">
                  <c:v>5462.25</c:v>
                </c:pt>
                <c:pt idx="23">
                  <c:v>6538.6667</c:v>
                </c:pt>
                <c:pt idx="24">
                  <c:v>6316.5</c:v>
                </c:pt>
                <c:pt idx="25">
                  <c:v>4606.0</c:v>
                </c:pt>
                <c:pt idx="26">
                  <c:v>6402.0</c:v>
                </c:pt>
                <c:pt idx="27">
                  <c:v>15524.0</c:v>
                </c:pt>
                <c:pt idx="28">
                  <c:v>3345.4</c:v>
                </c:pt>
                <c:pt idx="29">
                  <c:v>7017.0</c:v>
                </c:pt>
                <c:pt idx="30">
                  <c:v>3873.25</c:v>
                </c:pt>
                <c:pt idx="31">
                  <c:v>5011.5</c:v>
                </c:pt>
                <c:pt idx="32">
                  <c:v>8655.5</c:v>
                </c:pt>
                <c:pt idx="33">
                  <c:v>3845.7778</c:v>
                </c:pt>
                <c:pt idx="34">
                  <c:v>3505.4167</c:v>
                </c:pt>
                <c:pt idx="35">
                  <c:v>3707.5</c:v>
                </c:pt>
                <c:pt idx="36">
                  <c:v>6482.5</c:v>
                </c:pt>
                <c:pt idx="37">
                  <c:v>4574.0</c:v>
                </c:pt>
                <c:pt idx="38">
                  <c:v>7663.0</c:v>
                </c:pt>
                <c:pt idx="39">
                  <c:v>5600.75</c:v>
                </c:pt>
                <c:pt idx="40">
                  <c:v>8541.5</c:v>
                </c:pt>
                <c:pt idx="41">
                  <c:v>5335.6667</c:v>
                </c:pt>
                <c:pt idx="42">
                  <c:v>10645.0</c:v>
                </c:pt>
                <c:pt idx="43">
                  <c:v>7240.0</c:v>
                </c:pt>
                <c:pt idx="44">
                  <c:v>4505.0</c:v>
                </c:pt>
                <c:pt idx="45">
                  <c:v>4392.2</c:v>
                </c:pt>
                <c:pt idx="46">
                  <c:v>4084.1818</c:v>
                </c:pt>
                <c:pt idx="47">
                  <c:v>3419.4286</c:v>
                </c:pt>
                <c:pt idx="48">
                  <c:v>4401.9</c:v>
                </c:pt>
                <c:pt idx="49">
                  <c:v>3402.25</c:v>
                </c:pt>
                <c:pt idx="50">
                  <c:v>4337.6</c:v>
                </c:pt>
                <c:pt idx="51">
                  <c:v>4108.2</c:v>
                </c:pt>
                <c:pt idx="52">
                  <c:v>4801.75</c:v>
                </c:pt>
                <c:pt idx="53">
                  <c:v>3999.4</c:v>
                </c:pt>
                <c:pt idx="54">
                  <c:v>4201.4444</c:v>
                </c:pt>
                <c:pt idx="55">
                  <c:v>4984.2</c:v>
                </c:pt>
                <c:pt idx="56">
                  <c:v>10395.0</c:v>
                </c:pt>
                <c:pt idx="57">
                  <c:v>4042.75</c:v>
                </c:pt>
                <c:pt idx="58">
                  <c:v>4289.0</c:v>
                </c:pt>
                <c:pt idx="59">
                  <c:v>3433.0</c:v>
                </c:pt>
                <c:pt idx="60">
                  <c:v>3007.3571</c:v>
                </c:pt>
                <c:pt idx="61">
                  <c:v>2989.9286</c:v>
                </c:pt>
                <c:pt idx="62">
                  <c:v>3040.0833</c:v>
                </c:pt>
                <c:pt idx="63">
                  <c:v>2470.9444</c:v>
                </c:pt>
                <c:pt idx="64">
                  <c:v>2609.3158</c:v>
                </c:pt>
                <c:pt idx="65">
                  <c:v>2489.9333</c:v>
                </c:pt>
                <c:pt idx="66">
                  <c:v>2358.7273</c:v>
                </c:pt>
                <c:pt idx="67">
                  <c:v>3155.3333</c:v>
                </c:pt>
                <c:pt idx="68">
                  <c:v>2346.9231</c:v>
                </c:pt>
                <c:pt idx="69">
                  <c:v>2135.0</c:v>
                </c:pt>
                <c:pt idx="70">
                  <c:v>2302.5</c:v>
                </c:pt>
                <c:pt idx="71">
                  <c:v>1857.8</c:v>
                </c:pt>
                <c:pt idx="72">
                  <c:v>2952.3636</c:v>
                </c:pt>
                <c:pt idx="73">
                  <c:v>2025.9474</c:v>
                </c:pt>
                <c:pt idx="74">
                  <c:v>2531.4762</c:v>
                </c:pt>
                <c:pt idx="75">
                  <c:v>3962.4444</c:v>
                </c:pt>
                <c:pt idx="76">
                  <c:v>3882.0</c:v>
                </c:pt>
                <c:pt idx="77">
                  <c:v>4467.6957</c:v>
                </c:pt>
                <c:pt idx="78">
                  <c:v>3018.5429</c:v>
                </c:pt>
                <c:pt idx="79">
                  <c:v>4773.4</c:v>
                </c:pt>
                <c:pt idx="80">
                  <c:v>4299.5</c:v>
                </c:pt>
                <c:pt idx="81">
                  <c:v>3470.475</c:v>
                </c:pt>
                <c:pt idx="82">
                  <c:v>4188.0</c:v>
                </c:pt>
                <c:pt idx="83">
                  <c:v>4291.4286</c:v>
                </c:pt>
                <c:pt idx="84">
                  <c:v>4199.35</c:v>
                </c:pt>
                <c:pt idx="85">
                  <c:v>3644.0476</c:v>
                </c:pt>
                <c:pt idx="86">
                  <c:v>4846.4231</c:v>
                </c:pt>
                <c:pt idx="87">
                  <c:v>4906.68</c:v>
                </c:pt>
                <c:pt idx="88">
                  <c:v>4199.0333</c:v>
                </c:pt>
                <c:pt idx="89">
                  <c:v>3929.7353</c:v>
                </c:pt>
                <c:pt idx="90">
                  <c:v>4177.2903</c:v>
                </c:pt>
                <c:pt idx="91">
                  <c:v>3942.625</c:v>
                </c:pt>
                <c:pt idx="92">
                  <c:v>4270.3235</c:v>
                </c:pt>
                <c:pt idx="93">
                  <c:v>4332.2286</c:v>
                </c:pt>
                <c:pt idx="94">
                  <c:v>5011.5517</c:v>
                </c:pt>
                <c:pt idx="95">
                  <c:v>4381.1064</c:v>
                </c:pt>
                <c:pt idx="96">
                  <c:v>3358.3295</c:v>
                </c:pt>
                <c:pt idx="97">
                  <c:v>3539.0348</c:v>
                </c:pt>
                <c:pt idx="98">
                  <c:v>3390.072</c:v>
                </c:pt>
                <c:pt idx="99">
                  <c:v>3491.0956</c:v>
                </c:pt>
                <c:pt idx="100">
                  <c:v>3928.0486</c:v>
                </c:pt>
                <c:pt idx="101">
                  <c:v>3765.3274</c:v>
                </c:pt>
                <c:pt idx="102">
                  <c:v>3902.8667</c:v>
                </c:pt>
                <c:pt idx="103">
                  <c:v>3989.4744</c:v>
                </c:pt>
                <c:pt idx="104">
                  <c:v>4479.7</c:v>
                </c:pt>
              </c:numCache>
            </c:numRef>
          </c:xVal>
          <c:yVal>
            <c:numRef>
              <c:f>Sheet1!$B$2:$B$106</c:f>
              <c:numCache>
                <c:formatCode>General</c:formatCode>
                <c:ptCount val="105"/>
                <c:pt idx="0">
                  <c:v>0.00031891666462232905</c:v>
                </c:pt>
                <c:pt idx="1">
                  <c:v>7.925395609330832e-05</c:v>
                </c:pt>
                <c:pt idx="2">
                  <c:v>7.552299675251114e-05</c:v>
                </c:pt>
                <c:pt idx="3">
                  <c:v>8.004482510205715e-05</c:v>
                </c:pt>
                <c:pt idx="4">
                  <c:v>6.23966555392631e-05</c:v>
                </c:pt>
                <c:pt idx="5">
                  <c:v>9.57548675390999e-05</c:v>
                </c:pt>
                <c:pt idx="6">
                  <c:v>0.00018340210912425492</c:v>
                </c:pt>
                <c:pt idx="7">
                  <c:v>0.00021210407239819005</c:v>
                </c:pt>
                <c:pt idx="8">
                  <c:v>0.00011031033975584644</c:v>
                </c:pt>
                <c:pt idx="9">
                  <c:v>0.0001392757660167131</c:v>
                </c:pt>
                <c:pt idx="10">
                  <c:v>0.00010751532093323298</c:v>
                </c:pt>
                <c:pt idx="11">
                  <c:v>0.00018946057866673884</c:v>
                </c:pt>
                <c:pt idx="12">
                  <c:v>0.00012403870007442322</c:v>
                </c:pt>
                <c:pt idx="13">
                  <c:v>0.00015577132769094968</c:v>
                </c:pt>
                <c:pt idx="14">
                  <c:v>0.0</c:v>
                </c:pt>
                <c:pt idx="15">
                  <c:v>0.00015527950310559007</c:v>
                </c:pt>
                <c:pt idx="16">
                  <c:v>0.00014243999715120005</c:v>
                </c:pt>
                <c:pt idx="17">
                  <c:v>7.810669374365383e-05</c:v>
                </c:pt>
                <c:pt idx="18">
                  <c:v>0.0</c:v>
                </c:pt>
                <c:pt idx="19">
                  <c:v>0.00015323322096230462</c:v>
                </c:pt>
                <c:pt idx="20">
                  <c:v>0.00012568077084206116</c:v>
                </c:pt>
                <c:pt idx="21">
                  <c:v>5.2578999947421e-05</c:v>
                </c:pt>
                <c:pt idx="22">
                  <c:v>0.00020874647740319382</c:v>
                </c:pt>
                <c:pt idx="23">
                  <c:v>0.0001632386549134835</c:v>
                </c:pt>
                <c:pt idx="24">
                  <c:v>0.00020258293238794632</c:v>
                </c:pt>
                <c:pt idx="25">
                  <c:v>0.0003478059242942438</c:v>
                </c:pt>
                <c:pt idx="26">
                  <c:v>0.00025717518773788703</c:v>
                </c:pt>
                <c:pt idx="27">
                  <c:v>5.060728744939271e-05</c:v>
                </c:pt>
                <c:pt idx="28">
                  <c:v>0.0002570561924836769</c:v>
                </c:pt>
                <c:pt idx="29">
                  <c:v>0.00017968644714972374</c:v>
                </c:pt>
                <c:pt idx="30">
                  <c:v>0.00023078698361412417</c:v>
                </c:pt>
                <c:pt idx="31">
                  <c:v>0.0002249212775528565</c:v>
                </c:pt>
                <c:pt idx="32">
                  <c:v>0.00011039355301650383</c:v>
                </c:pt>
                <c:pt idx="33">
                  <c:v>0.00039227651135422567</c:v>
                </c:pt>
                <c:pt idx="34">
                  <c:v>0.0004630165528417641</c:v>
                </c:pt>
                <c:pt idx="35">
                  <c:v>0.0004770504651242035</c:v>
                </c:pt>
                <c:pt idx="36">
                  <c:v>0.00016523463317911433</c:v>
                </c:pt>
                <c:pt idx="37">
                  <c:v>0.00019287333044023337</c:v>
                </c:pt>
                <c:pt idx="38">
                  <c:v>9.664637092877162e-05</c:v>
                </c:pt>
                <c:pt idx="39">
                  <c:v>0.00020469781485082646</c:v>
                </c:pt>
                <c:pt idx="40">
                  <c:v>8.289468230613006e-05</c:v>
                </c:pt>
                <c:pt idx="41">
                  <c:v>0.0001376399339328317</c:v>
                </c:pt>
                <c:pt idx="42">
                  <c:v>3.913894324853229e-05</c:v>
                </c:pt>
                <c:pt idx="43">
                  <c:v>0.00010425716768027802</c:v>
                </c:pt>
                <c:pt idx="44">
                  <c:v>0.00014063708599957808</c:v>
                </c:pt>
                <c:pt idx="45">
                  <c:v>0.0001060332944544587</c:v>
                </c:pt>
                <c:pt idx="46">
                  <c:v>0.00022583559168925022</c:v>
                </c:pt>
                <c:pt idx="47">
                  <c:v>0.000293581059827626</c:v>
                </c:pt>
                <c:pt idx="48">
                  <c:v>0.00015294027682190105</c:v>
                </c:pt>
                <c:pt idx="49">
                  <c:v>0.00016961550285696112</c:v>
                </c:pt>
                <c:pt idx="50">
                  <c:v>0.0002012477359629704</c:v>
                </c:pt>
                <c:pt idx="51">
                  <c:v>0.0002486139770777913</c:v>
                </c:pt>
                <c:pt idx="52">
                  <c:v>8.450228156160216e-05</c:v>
                </c:pt>
                <c:pt idx="53">
                  <c:v>0.0001316586354899018</c:v>
                </c:pt>
                <c:pt idx="54">
                  <c:v>0.0002624289254993439</c:v>
                </c:pt>
                <c:pt idx="55">
                  <c:v>0.00014956178397295924</c:v>
                </c:pt>
                <c:pt idx="56">
                  <c:v>6.046680372475511e-05</c:v>
                </c:pt>
                <c:pt idx="57">
                  <c:v>0.00010392849719393057</c:v>
                </c:pt>
                <c:pt idx="58">
                  <c:v>9.544716999140975e-05</c:v>
                </c:pt>
                <c:pt idx="59">
                  <c:v>0.0001570869790603057</c:v>
                </c:pt>
                <c:pt idx="60">
                  <c:v>0.0002410260824653525</c:v>
                </c:pt>
                <c:pt idx="61">
                  <c:v>0.00032864621235240263</c:v>
                </c:pt>
                <c:pt idx="62">
                  <c:v>0.00027110679348440006</c:v>
                </c:pt>
                <c:pt idx="63">
                  <c:v>0.00036864849366129393</c:v>
                </c:pt>
                <c:pt idx="64">
                  <c:v>0.0003807615230460922</c:v>
                </c:pt>
                <c:pt idx="65">
                  <c:v>0.00032711808963035657</c:v>
                </c:pt>
                <c:pt idx="66">
                  <c:v>0.0002484135407962783</c:v>
                </c:pt>
                <c:pt idx="67">
                  <c:v>0.0002141174791235458</c:v>
                </c:pt>
                <c:pt idx="68">
                  <c:v>0.0003691608689478915</c:v>
                </c:pt>
                <c:pt idx="69">
                  <c:v>0.00041263410608447746</c:v>
                </c:pt>
                <c:pt idx="70">
                  <c:v>0.0003591051100657162</c:v>
                </c:pt>
                <c:pt idx="71">
                  <c:v>0.0003860854793251226</c:v>
                </c:pt>
                <c:pt idx="72">
                  <c:v>0.00040169442009932807</c:v>
                </c:pt>
                <c:pt idx="73">
                  <c:v>0.0007383515330509462</c:v>
                </c:pt>
                <c:pt idx="74">
                  <c:v>0.0007898597058712905</c:v>
                </c:pt>
                <c:pt idx="75">
                  <c:v>0.0007884708046782601</c:v>
                </c:pt>
                <c:pt idx="76">
                  <c:v>0.0010745153001635132</c:v>
                </c:pt>
                <c:pt idx="77">
                  <c:v>0.0011077397293262053</c:v>
                </c:pt>
                <c:pt idx="78">
                  <c:v>0.0018812147272238647</c:v>
                </c:pt>
                <c:pt idx="79">
                  <c:v>0.0011912703707233393</c:v>
                </c:pt>
                <c:pt idx="80">
                  <c:v>0.0011436195558944058</c:v>
                </c:pt>
                <c:pt idx="81">
                  <c:v>0.0016303240269003464</c:v>
                </c:pt>
                <c:pt idx="82">
                  <c:v>0.0013089005235602095</c:v>
                </c:pt>
                <c:pt idx="83">
                  <c:v>0.001287395782246199</c:v>
                </c:pt>
                <c:pt idx="84">
                  <c:v>0.0012380068090374497</c:v>
                </c:pt>
                <c:pt idx="85">
                  <c:v>0.0011462256427050926</c:v>
                </c:pt>
                <c:pt idx="86">
                  <c:v>0.0010637427379101548</c:v>
                </c:pt>
                <c:pt idx="87">
                  <c:v>0.0009602827072290082</c:v>
                </c:pt>
                <c:pt idx="88">
                  <c:v>0.001459356910054969</c:v>
                </c:pt>
                <c:pt idx="89">
                  <c:v>0.0018212984786800943</c:v>
                </c:pt>
                <c:pt idx="90">
                  <c:v>0.0017051705170517053</c:v>
                </c:pt>
                <c:pt idx="91">
                  <c:v>0.0016994158258098779</c:v>
                </c:pt>
                <c:pt idx="92">
                  <c:v>0.0014476709529081156</c:v>
                </c:pt>
                <c:pt idx="93">
                  <c:v>0.0014341911162104573</c:v>
                </c:pt>
                <c:pt idx="94">
                  <c:v>0.0013409784518634976</c:v>
                </c:pt>
                <c:pt idx="95">
                  <c:v>0.0015918173812910655</c:v>
                </c:pt>
                <c:pt idx="96">
                  <c:v>0.0021358186495801174</c:v>
                </c:pt>
                <c:pt idx="97">
                  <c:v>0.0024340169746227274</c:v>
                </c:pt>
                <c:pt idx="98">
                  <c:v>0.002288203851504723</c:v>
                </c:pt>
                <c:pt idx="99">
                  <c:v>0.0021538071709109336</c:v>
                </c:pt>
                <c:pt idx="100">
                  <c:v>0.0016596553909986745</c:v>
                </c:pt>
                <c:pt idx="101">
                  <c:v>0.002235498931708475</c:v>
                </c:pt>
                <c:pt idx="102">
                  <c:v>0.0018664144933306789</c:v>
                </c:pt>
                <c:pt idx="103">
                  <c:v>0.001825415399017084</c:v>
                </c:pt>
                <c:pt idx="104">
                  <c:v>0.001356668023334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109:$B$160</c:f>
              <c:numCache>
                <c:formatCode>General</c:formatCode>
                <c:ptCount val="52"/>
                <c:pt idx="0">
                  <c:v>0.0014574738766334823</c:v>
                </c:pt>
                <c:pt idx="1">
                  <c:v>0.001754845468831849</c:v>
                </c:pt>
                <c:pt idx="2">
                  <c:v>0.0015945971297251665</c:v>
                </c:pt>
                <c:pt idx="3">
                  <c:v>0.0016878032771513631</c:v>
                </c:pt>
                <c:pt idx="4">
                  <c:v>0.0016790772375529274</c:v>
                </c:pt>
                <c:pt idx="5">
                  <c:v>0.001467064404127341</c:v>
                </c:pt>
                <c:pt idx="6">
                  <c:v>0.0015850773012336037</c:v>
                </c:pt>
                <c:pt idx="7">
                  <c:v>0.0018228675592431957</c:v>
                </c:pt>
                <c:pt idx="8">
                  <c:v>0.0021541568495456074</c:v>
                </c:pt>
                <c:pt idx="9">
                  <c:v>0.0022634957055595174</c:v>
                </c:pt>
                <c:pt idx="10">
                  <c:v>0.0021662363868364047</c:v>
                </c:pt>
                <c:pt idx="11">
                  <c:v>0.0022191338653277143</c:v>
                </c:pt>
                <c:pt idx="12">
                  <c:v>0.0022670596236681025</c:v>
                </c:pt>
                <c:pt idx="13">
                  <c:v>0.003259726603575184</c:v>
                </c:pt>
                <c:pt idx="14">
                  <c:v>0.003245906390378206</c:v>
                </c:pt>
                <c:pt idx="15">
                  <c:v>0.0030689110015809542</c:v>
                </c:pt>
                <c:pt idx="16">
                  <c:v>0.0030204962243797194</c:v>
                </c:pt>
                <c:pt idx="17">
                  <c:v>0.003840072283713576</c:v>
                </c:pt>
                <c:pt idx="18">
                  <c:v>0.0020977745348412986</c:v>
                </c:pt>
                <c:pt idx="19">
                  <c:v>0.001841620626151013</c:v>
                </c:pt>
                <c:pt idx="20">
                  <c:v>0.0021836089946106673</c:v>
                </c:pt>
                <c:pt idx="21">
                  <c:v>0.003158196956646569</c:v>
                </c:pt>
                <c:pt idx="22">
                  <c:v>0.002605789384240639</c:v>
                </c:pt>
                <c:pt idx="23">
                  <c:v>0.00262574396078889</c:v>
                </c:pt>
                <c:pt idx="24">
                  <c:v>0.0023803083581282122</c:v>
                </c:pt>
                <c:pt idx="25">
                  <c:v>0.0025542059257577477</c:v>
                </c:pt>
                <c:pt idx="26">
                  <c:v>0.00275690577869074</c:v>
                </c:pt>
                <c:pt idx="27">
                  <c:v>0.0027923382158428454</c:v>
                </c:pt>
                <c:pt idx="28">
                  <c:v>0.002306293520202244</c:v>
                </c:pt>
                <c:pt idx="29">
                  <c:v>0.0026136121186259866</c:v>
                </c:pt>
                <c:pt idx="30">
                  <c:v>0.0025564076914527064</c:v>
                </c:pt>
                <c:pt idx="31">
                  <c:v>0.002603378337470485</c:v>
                </c:pt>
                <c:pt idx="32">
                  <c:v>0.0022248119504184767</c:v>
                </c:pt>
                <c:pt idx="33">
                  <c:v>0.0021675661328850746</c:v>
                </c:pt>
                <c:pt idx="34">
                  <c:v>0.0019902546153318236</c:v>
                </c:pt>
                <c:pt idx="35">
                  <c:v>0.0024293831837272502</c:v>
                </c:pt>
                <c:pt idx="36">
                  <c:v>0.003050165487701992</c:v>
                </c:pt>
                <c:pt idx="37">
                  <c:v>0.0030033498902622157</c:v>
                </c:pt>
                <c:pt idx="38">
                  <c:v>0.003501491375956426</c:v>
                </c:pt>
                <c:pt idx="39">
                  <c:v>0.003268438254938184</c:v>
                </c:pt>
                <c:pt idx="40">
                  <c:v>0.0030971201405260483</c:v>
                </c:pt>
                <c:pt idx="41">
                  <c:v>0.0025173611111111113</c:v>
                </c:pt>
                <c:pt idx="42">
                  <c:v>0.0028767858013555025</c:v>
                </c:pt>
                <c:pt idx="43">
                  <c:v>0.0021081969556206673</c:v>
                </c:pt>
                <c:pt idx="44">
                  <c:v>0.0015509774084045418</c:v>
                </c:pt>
                <c:pt idx="45">
                  <c:v>0.0012992732878220655</c:v>
                </c:pt>
                <c:pt idx="46">
                  <c:v>0.0013457884737175427</c:v>
                </c:pt>
                <c:pt idx="47">
                  <c:v>0.0013377263606411177</c:v>
                </c:pt>
                <c:pt idx="48">
                  <c:v>0.0014954823969259528</c:v>
                </c:pt>
                <c:pt idx="49">
                  <c:v>0.0013136165740879747</c:v>
                </c:pt>
                <c:pt idx="50">
                  <c:v>0.0011035611546473564</c:v>
                </c:pt>
                <c:pt idx="51">
                  <c:v>0.001310531517208782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616.0995188250113</c:v>
                </c:pt>
              </c:numCache>
            </c:numRef>
          </c:xVal>
          <c:yVal>
            <c:numRef>
              <c:f>Sheet1!$B$163:$B$164</c:f>
              <c:numCache>
                <c:formatCode>General</c:formatCode>
                <c:ptCount val="2"/>
                <c:pt idx="0">
                  <c:v>0.0026640183997899175</c:v>
                </c:pt>
                <c:pt idx="1">
                  <c:v>0.002664018399789917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616.0995188250113</c:v>
                </c:pt>
                <c:pt idx="1">
                  <c:v>3616.0995188250113</c:v>
                </c:pt>
              </c:numCache>
            </c:numRef>
          </c:xVal>
          <c:yVal>
            <c:numRef>
              <c:f>Sheet1!$B$167:$B$168</c:f>
              <c:numCache>
                <c:formatCode>General</c:formatCode>
                <c:ptCount val="2"/>
                <c:pt idx="0">
                  <c:v>0.002664018399789917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616.0995188250113</c:v>
                </c:pt>
              </c:numCache>
            </c:numRef>
          </c:xVal>
          <c:yVal>
            <c:numRef>
              <c:f>Sheet1!$B$171:$B$172</c:f>
              <c:numCache>
                <c:formatCode>General</c:formatCode>
                <c:ptCount val="2"/>
                <c:pt idx="0">
                  <c:v>0.0026640183997899175</c:v>
                </c:pt>
                <c:pt idx="1">
                  <c:v>0.002664018399789917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616.0995188250113</c:v>
                </c:pt>
                <c:pt idx="1">
                  <c:v>3616.0995188250113</c:v>
                </c:pt>
              </c:numCache>
            </c:numRef>
          </c:xVal>
          <c:yVal>
            <c:numRef>
              <c:f>Sheet1!$B$175:$B$176</c:f>
              <c:numCache>
                <c:formatCode>General</c:formatCode>
                <c:ptCount val="2"/>
                <c:pt idx="0">
                  <c:v>0.002664018399789917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327.939731955908</c:v>
                </c:pt>
              </c:numCache>
            </c:numRef>
          </c:xVal>
          <c:yVal>
            <c:numRef>
              <c:f>Sheet1!$B$179:$B$180</c:f>
              <c:numCache>
                <c:formatCode>General</c:formatCode>
                <c:ptCount val="2"/>
                <c:pt idx="0">
                  <c:v>0.0018942199566928347</c:v>
                </c:pt>
                <c:pt idx="1">
                  <c:v>0.001894219956692834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327.939731955908</c:v>
                </c:pt>
                <c:pt idx="1">
                  <c:v>4327.939731955908</c:v>
                </c:pt>
              </c:numCache>
            </c:numRef>
          </c:xVal>
          <c:yVal>
            <c:numRef>
              <c:f>Sheet1!$B$183:$B$184</c:f>
              <c:numCache>
                <c:formatCode>General</c:formatCode>
                <c:ptCount val="2"/>
                <c:pt idx="0">
                  <c:v>0.00189421995669283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616.0995188250113</c:v>
                </c:pt>
                <c:pt idx="53">
                  <c:v>3616.0995188250113</c:v>
                </c:pt>
                <c:pt idx="54">
                  <c:v>4327.939731955908</c:v>
                </c:pt>
              </c:numCache>
            </c:numRef>
          </c:xVal>
          <c:yVal>
            <c:numRef>
              <c:f>Sheet1!$B$187:$B$241</c:f>
              <c:numCache>
                <c:formatCode>General</c:formatCode>
                <c:ptCount val="55"/>
                <c:pt idx="0">
                  <c:v>0.001891002117063354</c:v>
                </c:pt>
                <c:pt idx="1">
                  <c:v>0.0025376967438809255</c:v>
                </c:pt>
                <c:pt idx="2">
                  <c:v>0.0018600105583750151</c:v>
                </c:pt>
                <c:pt idx="3">
                  <c:v>0.0024694553391978163</c:v>
                </c:pt>
                <c:pt idx="4">
                  <c:v>0.0017502631618983855</c:v>
                </c:pt>
                <c:pt idx="5">
                  <c:v>0.001443310666584127</c:v>
                </c:pt>
                <c:pt idx="6">
                  <c:v>0.0016663041785715347</c:v>
                </c:pt>
                <c:pt idx="7">
                  <c:v>0.0017021280637841765</c:v>
                </c:pt>
                <c:pt idx="8">
                  <c:v>0.001995081681706811</c:v>
                </c:pt>
                <c:pt idx="9">
                  <c:v>0.0021429555234577496</c:v>
                </c:pt>
                <c:pt idx="10">
                  <c:v>0.0020943212417419707</c:v>
                </c:pt>
                <c:pt idx="11">
                  <c:v>0.002155792955467903</c:v>
                </c:pt>
                <c:pt idx="12">
                  <c:v>0.002507416219027148</c:v>
                </c:pt>
                <c:pt idx="13">
                  <c:v>0.0028536972663997396</c:v>
                </c:pt>
                <c:pt idx="14">
                  <c:v>0.002804594837844446</c:v>
                </c:pt>
                <c:pt idx="15">
                  <c:v>0.002532968341845596</c:v>
                </c:pt>
                <c:pt idx="16">
                  <c:v>0.002334408655964365</c:v>
                </c:pt>
                <c:pt idx="17">
                  <c:v>0.0033051643876469993</c:v>
                </c:pt>
                <c:pt idx="18">
                  <c:v>0.0019582876543603528</c:v>
                </c:pt>
                <c:pt idx="19">
                  <c:v>0.0015953141279609713</c:v>
                </c:pt>
                <c:pt idx="20">
                  <c:v>0.0017749224641330878</c:v>
                </c:pt>
                <c:pt idx="21">
                  <c:v>0.0026736622017848595</c:v>
                </c:pt>
                <c:pt idx="22">
                  <c:v>0.002288355940742672</c:v>
                </c:pt>
                <c:pt idx="23">
                  <c:v>0.003098496536927169</c:v>
                </c:pt>
                <c:pt idx="24">
                  <c:v>0.0020874094521599086</c:v>
                </c:pt>
                <c:pt idx="25">
                  <c:v>0.0023882677116243136</c:v>
                </c:pt>
                <c:pt idx="26">
                  <c:v>0.0023643181455198347</c:v>
                </c:pt>
                <c:pt idx="27">
                  <c:v>0.002631702337899529</c:v>
                </c:pt>
                <c:pt idx="28">
                  <c:v>0.002529967508708684</c:v>
                </c:pt>
                <c:pt idx="29">
                  <c:v>0.002541528324077472</c:v>
                </c:pt>
                <c:pt idx="30">
                  <c:v>0.0026327413665052247</c:v>
                </c:pt>
                <c:pt idx="31">
                  <c:v>0.002279366742801387</c:v>
                </c:pt>
                <c:pt idx="32">
                  <c:v>0.0017533126589479291</c:v>
                </c:pt>
                <c:pt idx="33">
                  <c:v>0.0018763885603841788</c:v>
                </c:pt>
                <c:pt idx="34">
                  <c:v>0.0017566652781021534</c:v>
                </c:pt>
                <c:pt idx="35">
                  <c:v>0.0020849246727809457</c:v>
                </c:pt>
                <c:pt idx="36">
                  <c:v>0.002103099022018379</c:v>
                </c:pt>
                <c:pt idx="37">
                  <c:v>0.0020498585387589896</c:v>
                </c:pt>
                <c:pt idx="38">
                  <c:v>0.002605469028446269</c:v>
                </c:pt>
                <c:pt idx="39">
                  <c:v>0.0029703717004843895</c:v>
                </c:pt>
                <c:pt idx="40">
                  <c:v>0.0030908351068065264</c:v>
                </c:pt>
                <c:pt idx="41">
                  <c:v>0.0027554128167564932</c:v>
                </c:pt>
                <c:pt idx="42">
                  <c:v>0.002937963589370364</c:v>
                </c:pt>
                <c:pt idx="43">
                  <c:v>0.002675141801012912</c:v>
                </c:pt>
                <c:pt idx="44">
                  <c:v>0.0021103164209717662</c:v>
                </c:pt>
                <c:pt idx="45">
                  <c:v>0.0020062376133225058</c:v>
                </c:pt>
                <c:pt idx="46">
                  <c:v>0.0017526583996781055</c:v>
                </c:pt>
                <c:pt idx="47">
                  <c:v>0.00219168551086837</c:v>
                </c:pt>
                <c:pt idx="48">
                  <c:v>0.0025131477465148546</c:v>
                </c:pt>
                <c:pt idx="49">
                  <c:v>0.002439484100544318</c:v>
                </c:pt>
                <c:pt idx="50">
                  <c:v>0.0022139149698743683</c:v>
                </c:pt>
                <c:pt idx="51">
                  <c:v>0.0018442676744967077</c:v>
                </c:pt>
                <c:pt idx="52">
                  <c:v>0.002664018399789918</c:v>
                </c:pt>
                <c:pt idx="53">
                  <c:v>0.002664018399789918</c:v>
                </c:pt>
                <c:pt idx="54">
                  <c:v>0.001894219956692835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0808674045629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97.89</c:v>
                </c:pt>
                <c:pt idx="1">
                  <c:v>908.2528</c:v>
                </c:pt>
                <c:pt idx="2">
                  <c:v>906.3665</c:v>
                </c:pt>
                <c:pt idx="3">
                  <c:v>917.2825</c:v>
                </c:pt>
                <c:pt idx="4">
                  <c:v>957.8556</c:v>
                </c:pt>
                <c:pt idx="5">
                  <c:v>1010.1775</c:v>
                </c:pt>
                <c:pt idx="6">
                  <c:v>1049.8655</c:v>
                </c:pt>
                <c:pt idx="7">
                  <c:v>1046.2393</c:v>
                </c:pt>
                <c:pt idx="8">
                  <c:v>1027.178</c:v>
                </c:pt>
                <c:pt idx="9">
                  <c:v>902.9328</c:v>
                </c:pt>
                <c:pt idx="10">
                  <c:v>817.7233</c:v>
                </c:pt>
                <c:pt idx="11">
                  <c:v>818.9386</c:v>
                </c:pt>
                <c:pt idx="12">
                  <c:v>809.366</c:v>
                </c:pt>
                <c:pt idx="13">
                  <c:v>812.7888</c:v>
                </c:pt>
                <c:pt idx="14">
                  <c:v>999.8447</c:v>
                </c:pt>
                <c:pt idx="15">
                  <c:v>1006.9677</c:v>
                </c:pt>
                <c:pt idx="16">
                  <c:v>1023.2608</c:v>
                </c:pt>
                <c:pt idx="17">
                  <c:v>1022.1149</c:v>
                </c:pt>
                <c:pt idx="18">
                  <c:v>1018.7096</c:v>
                </c:pt>
                <c:pt idx="19">
                  <c:v>1041.96</c:v>
                </c:pt>
                <c:pt idx="20">
                  <c:v>1081.8849</c:v>
                </c:pt>
                <c:pt idx="21">
                  <c:v>1062.3189</c:v>
                </c:pt>
                <c:pt idx="22">
                  <c:v>1067.7862</c:v>
                </c:pt>
                <c:pt idx="23">
                  <c:v>1065.5787</c:v>
                </c:pt>
                <c:pt idx="24">
                  <c:v>1068.7568</c:v>
                </c:pt>
                <c:pt idx="25">
                  <c:v>1085.0042</c:v>
                </c:pt>
                <c:pt idx="26">
                  <c:v>1080.634</c:v>
                </c:pt>
                <c:pt idx="27">
                  <c:v>1082.8354</c:v>
                </c:pt>
                <c:pt idx="28">
                  <c:v>1070.5759</c:v>
                </c:pt>
                <c:pt idx="29">
                  <c:v>1105.9228</c:v>
                </c:pt>
                <c:pt idx="30">
                  <c:v>1124.3347</c:v>
                </c:pt>
                <c:pt idx="31">
                  <c:v>1122.8592</c:v>
                </c:pt>
                <c:pt idx="32">
                  <c:v>1112.4573</c:v>
                </c:pt>
                <c:pt idx="33">
                  <c:v>1103.3077</c:v>
                </c:pt>
                <c:pt idx="34">
                  <c:v>1103.7275</c:v>
                </c:pt>
                <c:pt idx="35">
                  <c:v>1120.0406</c:v>
                </c:pt>
                <c:pt idx="36">
                  <c:v>1133.9822</c:v>
                </c:pt>
                <c:pt idx="37">
                  <c:v>1142.65</c:v>
                </c:pt>
                <c:pt idx="38">
                  <c:v>1154.6928</c:v>
                </c:pt>
                <c:pt idx="39">
                  <c:v>1243.3319</c:v>
                </c:pt>
                <c:pt idx="40">
                  <c:v>1315.415</c:v>
                </c:pt>
                <c:pt idx="41">
                  <c:v>1324.2773</c:v>
                </c:pt>
                <c:pt idx="42">
                  <c:v>1323.4069</c:v>
                </c:pt>
                <c:pt idx="43">
                  <c:v>1306.6636</c:v>
                </c:pt>
                <c:pt idx="44">
                  <c:v>1275.5541</c:v>
                </c:pt>
                <c:pt idx="45">
                  <c:v>1246.8903</c:v>
                </c:pt>
                <c:pt idx="46">
                  <c:v>1194.9235</c:v>
                </c:pt>
                <c:pt idx="47">
                  <c:v>1173.6761</c:v>
                </c:pt>
                <c:pt idx="48">
                  <c:v>1032.8069</c:v>
                </c:pt>
                <c:pt idx="49">
                  <c:v>1001.9627</c:v>
                </c:pt>
                <c:pt idx="50">
                  <c:v>1052.7045</c:v>
                </c:pt>
                <c:pt idx="51">
                  <c:v>1011.6259</c:v>
                </c:pt>
                <c:pt idx="52">
                  <c:v>1000.2694</c:v>
                </c:pt>
                <c:pt idx="53">
                  <c:v>1213.3976</c:v>
                </c:pt>
                <c:pt idx="54">
                  <c:v>1235.6333</c:v>
                </c:pt>
                <c:pt idx="55">
                  <c:v>1213.3137</c:v>
                </c:pt>
                <c:pt idx="56">
                  <c:v>1200.8707</c:v>
                </c:pt>
                <c:pt idx="57">
                  <c:v>1238.3563</c:v>
                </c:pt>
                <c:pt idx="58">
                  <c:v>1241.0211</c:v>
                </c:pt>
                <c:pt idx="59">
                  <c:v>1247.2276</c:v>
                </c:pt>
                <c:pt idx="60">
                  <c:v>1258.1271</c:v>
                </c:pt>
                <c:pt idx="61">
                  <c:v>1187.0931</c:v>
                </c:pt>
                <c:pt idx="62">
                  <c:v>1093.5524</c:v>
                </c:pt>
                <c:pt idx="63">
                  <c:v>1055.6157</c:v>
                </c:pt>
                <c:pt idx="64">
                  <c:v>1052.0197</c:v>
                </c:pt>
                <c:pt idx="65">
                  <c:v>1057.2816</c:v>
                </c:pt>
                <c:pt idx="66">
                  <c:v>1166.4993</c:v>
                </c:pt>
                <c:pt idx="67">
                  <c:v>1192.7179</c:v>
                </c:pt>
                <c:pt idx="68">
                  <c:v>1167.5615</c:v>
                </c:pt>
                <c:pt idx="69">
                  <c:v>1209.8152</c:v>
                </c:pt>
                <c:pt idx="70">
                  <c:v>1234.4699</c:v>
                </c:pt>
                <c:pt idx="71">
                  <c:v>1145.7417</c:v>
                </c:pt>
                <c:pt idx="72">
                  <c:v>1181.2019</c:v>
                </c:pt>
                <c:pt idx="73">
                  <c:v>1219.7959</c:v>
                </c:pt>
                <c:pt idx="74">
                  <c:v>1224.9906</c:v>
                </c:pt>
                <c:pt idx="75">
                  <c:v>1229.4699</c:v>
                </c:pt>
                <c:pt idx="76">
                  <c:v>1164.0591</c:v>
                </c:pt>
                <c:pt idx="77">
                  <c:v>1166.8103</c:v>
                </c:pt>
                <c:pt idx="78">
                  <c:v>1181.5168</c:v>
                </c:pt>
                <c:pt idx="79">
                  <c:v>1271.316</c:v>
                </c:pt>
                <c:pt idx="80">
                  <c:v>1275.7817</c:v>
                </c:pt>
                <c:pt idx="81">
                  <c:v>1338.7888</c:v>
                </c:pt>
                <c:pt idx="82">
                  <c:v>1314.0749</c:v>
                </c:pt>
                <c:pt idx="83">
                  <c:v>1269.7569</c:v>
                </c:pt>
                <c:pt idx="84">
                  <c:v>1306.4286</c:v>
                </c:pt>
                <c:pt idx="85">
                  <c:v>1315.9206</c:v>
                </c:pt>
                <c:pt idx="86">
                  <c:v>1328.3636</c:v>
                </c:pt>
                <c:pt idx="87">
                  <c:v>1335.0786</c:v>
                </c:pt>
                <c:pt idx="88">
                  <c:v>1313.0467</c:v>
                </c:pt>
                <c:pt idx="89">
                  <c:v>1347.8239</c:v>
                </c:pt>
                <c:pt idx="90">
                  <c:v>1312.6947</c:v>
                </c:pt>
                <c:pt idx="91">
                  <c:v>1323.3392</c:v>
                </c:pt>
                <c:pt idx="92">
                  <c:v>1355.9724</c:v>
                </c:pt>
                <c:pt idx="93">
                  <c:v>1343.3547</c:v>
                </c:pt>
                <c:pt idx="94">
                  <c:v>1222.1944</c:v>
                </c:pt>
                <c:pt idx="95">
                  <c:v>1250.5536</c:v>
                </c:pt>
                <c:pt idx="96">
                  <c:v>1118.258</c:v>
                </c:pt>
                <c:pt idx="97">
                  <c:v>1187.2581</c:v>
                </c:pt>
                <c:pt idx="98">
                  <c:v>1114.7054</c:v>
                </c:pt>
                <c:pt idx="99">
                  <c:v>1141.1777</c:v>
                </c:pt>
                <c:pt idx="100">
                  <c:v>1056.8655</c:v>
                </c:pt>
                <c:pt idx="101">
                  <c:v>1310.4922</c:v>
                </c:pt>
                <c:pt idx="102">
                  <c:v>1319.1631</c:v>
                </c:pt>
                <c:pt idx="103">
                  <c:v>1174.7076</c:v>
                </c:pt>
                <c:pt idx="104">
                  <c:v>1163.7914</c:v>
                </c:pt>
              </c:numCache>
            </c:numRef>
          </c:xVal>
          <c:yVal>
            <c:numRef>
              <c:f>Sheet1!$B$2:$B$106</c:f>
              <c:numCache>
                <c:formatCode>General</c:formatCode>
                <c:ptCount val="105"/>
                <c:pt idx="0">
                  <c:v>0.29335539012958367</c:v>
                </c:pt>
                <c:pt idx="1">
                  <c:v>0.32988435788192333</c:v>
                </c:pt>
                <c:pt idx="2">
                  <c:v>0.2962962962962963</c:v>
                </c:pt>
                <c:pt idx="3">
                  <c:v>0.2711124053581829</c:v>
                </c:pt>
                <c:pt idx="4">
                  <c:v>0.1999296022527279</c:v>
                </c:pt>
                <c:pt idx="5">
                  <c:v>0.1452455590386625</c:v>
                </c:pt>
                <c:pt idx="6">
                  <c:v>0.12973328943035892</c:v>
                </c:pt>
                <c:pt idx="7">
                  <c:v>0.10869565217391304</c:v>
                </c:pt>
                <c:pt idx="8">
                  <c:v>0.1436259670366633</c:v>
                </c:pt>
                <c:pt idx="9">
                  <c:v>0.14610207515423443</c:v>
                </c:pt>
                <c:pt idx="10">
                  <c:v>0.17722165474974463</c:v>
                </c:pt>
                <c:pt idx="11">
                  <c:v>0.17665094339622642</c:v>
                </c:pt>
                <c:pt idx="12">
                  <c:v>0.2139495079161318</c:v>
                </c:pt>
                <c:pt idx="13">
                  <c:v>0.20098159509202454</c:v>
                </c:pt>
                <c:pt idx="14">
                  <c:v>0.22036775106082038</c:v>
                </c:pt>
                <c:pt idx="15">
                  <c:v>0.20182291666666666</c:v>
                </c:pt>
                <c:pt idx="16">
                  <c:v>0.1967515688445921</c:v>
                </c:pt>
                <c:pt idx="17">
                  <c:v>0.1878967414303851</c:v>
                </c:pt>
                <c:pt idx="18">
                  <c:v>0.16448850833708878</c:v>
                </c:pt>
                <c:pt idx="19">
                  <c:v>0.15015015015015015</c:v>
                </c:pt>
                <c:pt idx="20">
                  <c:v>0.172779496243924</c:v>
                </c:pt>
                <c:pt idx="21">
                  <c:v>0.14506024096385542</c:v>
                </c:pt>
                <c:pt idx="22">
                  <c:v>0.14182939362795477</c:v>
                </c:pt>
                <c:pt idx="23">
                  <c:v>0.12834765032844872</c:v>
                </c:pt>
                <c:pt idx="24">
                  <c:v>0.14488497307880568</c:v>
                </c:pt>
                <c:pt idx="25">
                  <c:v>0.12415933781686497</c:v>
                </c:pt>
                <c:pt idx="26">
                  <c:v>0.13569844789356986</c:v>
                </c:pt>
                <c:pt idx="27">
                  <c:v>0.1498401096391046</c:v>
                </c:pt>
                <c:pt idx="28">
                  <c:v>0.15058275058275059</c:v>
                </c:pt>
                <c:pt idx="29">
                  <c:v>0.13561368209255534</c:v>
                </c:pt>
                <c:pt idx="30">
                  <c:v>0.12253164556962025</c:v>
                </c:pt>
                <c:pt idx="31">
                  <c:v>0.11024844720496894</c:v>
                </c:pt>
                <c:pt idx="32">
                  <c:v>0.11920529801324503</c:v>
                </c:pt>
                <c:pt idx="33">
                  <c:v>0.13148636763412488</c:v>
                </c:pt>
                <c:pt idx="34">
                  <c:v>0.14188615123194562</c:v>
                </c:pt>
                <c:pt idx="35">
                  <c:v>0.18617212819589485</c:v>
                </c:pt>
                <c:pt idx="36">
                  <c:v>0.1673499813641446</c:v>
                </c:pt>
                <c:pt idx="37">
                  <c:v>0.1393121462777536</c:v>
                </c:pt>
                <c:pt idx="38">
                  <c:v>0.12938689217758986</c:v>
                </c:pt>
                <c:pt idx="39">
                  <c:v>0.10777300906056271</c:v>
                </c:pt>
                <c:pt idx="40">
                  <c:v>0.12176681257461201</c:v>
                </c:pt>
                <c:pt idx="41">
                  <c:v>0.09544468546637744</c:v>
                </c:pt>
                <c:pt idx="42">
                  <c:v>0.1061493411420205</c:v>
                </c:pt>
                <c:pt idx="43">
                  <c:v>0.10782029950083195</c:v>
                </c:pt>
                <c:pt idx="44">
                  <c:v>0.14064549986880084</c:v>
                </c:pt>
                <c:pt idx="45">
                  <c:v>0.13561885555835643</c:v>
                </c:pt>
                <c:pt idx="46">
                  <c:v>0.14025455452957325</c:v>
                </c:pt>
                <c:pt idx="47">
                  <c:v>0.1368556701030928</c:v>
                </c:pt>
                <c:pt idx="48">
                  <c:v>0.1739051094890511</c:v>
                </c:pt>
                <c:pt idx="49">
                  <c:v>0.18747702487440265</c:v>
                </c:pt>
                <c:pt idx="50">
                  <c:v>0.14840777087923093</c:v>
                </c:pt>
                <c:pt idx="51">
                  <c:v>0.15249722530521642</c:v>
                </c:pt>
                <c:pt idx="52">
                  <c:v>0.185739610005909</c:v>
                </c:pt>
                <c:pt idx="53">
                  <c:v>0.14897435897435898</c:v>
                </c:pt>
                <c:pt idx="54">
                  <c:v>0.12692828146143437</c:v>
                </c:pt>
                <c:pt idx="55">
                  <c:v>0.13467536149702297</c:v>
                </c:pt>
                <c:pt idx="56">
                  <c:v>0.14375512435091556</c:v>
                </c:pt>
                <c:pt idx="57">
                  <c:v>0.13140475606766364</c:v>
                </c:pt>
                <c:pt idx="58">
                  <c:v>0.1341492115791951</c:v>
                </c:pt>
                <c:pt idx="59">
                  <c:v>0.14758751182592242</c:v>
                </c:pt>
                <c:pt idx="60">
                  <c:v>0.14428431051424828</c:v>
                </c:pt>
                <c:pt idx="61">
                  <c:v>0.1369330453563715</c:v>
                </c:pt>
                <c:pt idx="62">
                  <c:v>0.14360610895828585</c:v>
                </c:pt>
                <c:pt idx="63">
                  <c:v>0.16469691193290126</c:v>
                </c:pt>
                <c:pt idx="64">
                  <c:v>0.17001488095238096</c:v>
                </c:pt>
                <c:pt idx="65">
                  <c:v>0.17632752330766113</c:v>
                </c:pt>
                <c:pt idx="66">
                  <c:v>0.15744861199406654</c:v>
                </c:pt>
                <c:pt idx="67">
                  <c:v>0.1460649662088511</c:v>
                </c:pt>
                <c:pt idx="68">
                  <c:v>0.1361170087284737</c:v>
                </c:pt>
                <c:pt idx="69">
                  <c:v>0.11100260416666667</c:v>
                </c:pt>
                <c:pt idx="70">
                  <c:v>0.09996988858777477</c:v>
                </c:pt>
                <c:pt idx="71">
                  <c:v>0.12008599508599509</c:v>
                </c:pt>
                <c:pt idx="72">
                  <c:v>0.1247750449910018</c:v>
                </c:pt>
                <c:pt idx="73">
                  <c:v>0.11791590493601463</c:v>
                </c:pt>
                <c:pt idx="74">
                  <c:v>0.09799691833590139</c:v>
                </c:pt>
                <c:pt idx="75">
                  <c:v>0.08870680441752761</c:v>
                </c:pt>
                <c:pt idx="76">
                  <c:v>0.09396966333703292</c:v>
                </c:pt>
                <c:pt idx="77">
                  <c:v>0.08734939759036145</c:v>
                </c:pt>
                <c:pt idx="78">
                  <c:v>0.09734151329243354</c:v>
                </c:pt>
                <c:pt idx="79">
                  <c:v>0.0885917258671124</c:v>
                </c:pt>
                <c:pt idx="80">
                  <c:v>0.08336859923825646</c:v>
                </c:pt>
                <c:pt idx="81">
                  <c:v>0.07746243739565943</c:v>
                </c:pt>
                <c:pt idx="82">
                  <c:v>0.08011996572407884</c:v>
                </c:pt>
                <c:pt idx="83">
                  <c:v>0.07543216343635412</c:v>
                </c:pt>
                <c:pt idx="84">
                  <c:v>0.06610703043022036</c:v>
                </c:pt>
                <c:pt idx="85">
                  <c:v>0.05907172995780591</c:v>
                </c:pt>
                <c:pt idx="86">
                  <c:v>0.07008849557522123</c:v>
                </c:pt>
                <c:pt idx="87">
                  <c:v>0.10039440659734672</c:v>
                </c:pt>
                <c:pt idx="88">
                  <c:v>0.09121909633418585</c:v>
                </c:pt>
                <c:pt idx="89">
                  <c:v>0.0685640362225097</c:v>
                </c:pt>
                <c:pt idx="90">
                  <c:v>0.05763308402991641</c:v>
                </c:pt>
                <c:pt idx="91">
                  <c:v>0.07351676698194325</c:v>
                </c:pt>
                <c:pt idx="92">
                  <c:v>0.06567489114658925</c:v>
                </c:pt>
                <c:pt idx="93">
                  <c:v>0.06393700787401575</c:v>
                </c:pt>
                <c:pt idx="94">
                  <c:v>0.0681044267877412</c:v>
                </c:pt>
                <c:pt idx="95">
                  <c:v>0.08433031806244529</c:v>
                </c:pt>
                <c:pt idx="96">
                  <c:v>0.08319266939956595</c:v>
                </c:pt>
                <c:pt idx="97">
                  <c:v>0.08657137104892289</c:v>
                </c:pt>
                <c:pt idx="98">
                  <c:v>0.1113338192419825</c:v>
                </c:pt>
                <c:pt idx="99">
                  <c:v>0.10447257383966245</c:v>
                </c:pt>
                <c:pt idx="100">
                  <c:v>0.1383495145631068</c:v>
                </c:pt>
                <c:pt idx="101">
                  <c:v>0.09347826086956522</c:v>
                </c:pt>
                <c:pt idx="102">
                  <c:v>0.07682528151107883</c:v>
                </c:pt>
                <c:pt idx="103">
                  <c:v>0.09002479496471485</c:v>
                </c:pt>
                <c:pt idx="104">
                  <c:v>0.1083421330517423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59.6539</c:v>
                </c:pt>
                <c:pt idx="1">
                  <c:v>1349.1829</c:v>
                </c:pt>
                <c:pt idx="2">
                  <c:v>1360.8891</c:v>
                </c:pt>
                <c:pt idx="3">
                  <c:v>1367.5292</c:v>
                </c:pt>
                <c:pt idx="4">
                  <c:v>1363.8951</c:v>
                </c:pt>
                <c:pt idx="5">
                  <c:v>1375.4444</c:v>
                </c:pt>
                <c:pt idx="6">
                  <c:v>1248.7459</c:v>
                </c:pt>
                <c:pt idx="7">
                  <c:v>1168.4222</c:v>
                </c:pt>
                <c:pt idx="8">
                  <c:v>1342.6385</c:v>
                </c:pt>
                <c:pt idx="9">
                  <c:v>1184.7988</c:v>
                </c:pt>
                <c:pt idx="10">
                  <c:v>1150.4041</c:v>
                </c:pt>
                <c:pt idx="11">
                  <c:v>1364.6205</c:v>
                </c:pt>
                <c:pt idx="12">
                  <c:v>1318.4644</c:v>
                </c:pt>
                <c:pt idx="13">
                  <c:v>1193.8916</c:v>
                </c:pt>
                <c:pt idx="14">
                  <c:v>1359.1994</c:v>
                </c:pt>
                <c:pt idx="15">
                  <c:v>1260.7758</c:v>
                </c:pt>
                <c:pt idx="16">
                  <c:v>1229.4589</c:v>
                </c:pt>
                <c:pt idx="17">
                  <c:v>1206.2203</c:v>
                </c:pt>
                <c:pt idx="18">
                  <c:v>1085.2328</c:v>
                </c:pt>
                <c:pt idx="19">
                  <c:v>951.7388</c:v>
                </c:pt>
                <c:pt idx="20">
                  <c:v>943.1283</c:v>
                </c:pt>
                <c:pt idx="21">
                  <c:v>1004.2773</c:v>
                </c:pt>
                <c:pt idx="22">
                  <c:v>1024.0417</c:v>
                </c:pt>
                <c:pt idx="23">
                  <c:v>1060.3545</c:v>
                </c:pt>
                <c:pt idx="24">
                  <c:v>1336.2326</c:v>
                </c:pt>
                <c:pt idx="25">
                  <c:v>1376.1925</c:v>
                </c:pt>
                <c:pt idx="26">
                  <c:v>1368.375</c:v>
                </c:pt>
                <c:pt idx="27">
                  <c:v>1386.913</c:v>
                </c:pt>
                <c:pt idx="28">
                  <c:v>1235.7099</c:v>
                </c:pt>
                <c:pt idx="29">
                  <c:v>1255.2797</c:v>
                </c:pt>
                <c:pt idx="30">
                  <c:v>1375.4671</c:v>
                </c:pt>
                <c:pt idx="31">
                  <c:v>1369.9478</c:v>
                </c:pt>
                <c:pt idx="32">
                  <c:v>1343.7407</c:v>
                </c:pt>
                <c:pt idx="33">
                  <c:v>1353.8306</c:v>
                </c:pt>
                <c:pt idx="34">
                  <c:v>1365.244</c:v>
                </c:pt>
                <c:pt idx="35">
                  <c:v>1388.6847</c:v>
                </c:pt>
                <c:pt idx="36">
                  <c:v>1371.4526</c:v>
                </c:pt>
                <c:pt idx="37">
                  <c:v>1389.0632</c:v>
                </c:pt>
                <c:pt idx="38">
                  <c:v>1408.6319</c:v>
                </c:pt>
                <c:pt idx="39">
                  <c:v>1430.2955</c:v>
                </c:pt>
                <c:pt idx="40">
                  <c:v>1449.6475</c:v>
                </c:pt>
                <c:pt idx="41">
                  <c:v>1451.1449</c:v>
                </c:pt>
                <c:pt idx="42">
                  <c:v>1443.8462</c:v>
                </c:pt>
                <c:pt idx="43">
                  <c:v>1418.5383</c:v>
                </c:pt>
                <c:pt idx="44">
                  <c:v>1389.2734</c:v>
                </c:pt>
                <c:pt idx="45">
                  <c:v>1367.3443</c:v>
                </c:pt>
                <c:pt idx="46">
                  <c:v>1346.137</c:v>
                </c:pt>
                <c:pt idx="47">
                  <c:v>1334.057</c:v>
                </c:pt>
                <c:pt idx="48">
                  <c:v>1260.71</c:v>
                </c:pt>
                <c:pt idx="49">
                  <c:v>1181.2192</c:v>
                </c:pt>
                <c:pt idx="50">
                  <c:v>1124.9185</c:v>
                </c:pt>
                <c:pt idx="51">
                  <c:v>1162.1057</c:v>
                </c:pt>
              </c:numCache>
            </c:numRef>
          </c:xVal>
          <c:yVal>
            <c:numRef>
              <c:f>Sheet1!$B$109:$B$160</c:f>
              <c:numCache>
                <c:formatCode>General</c:formatCode>
                <c:ptCount val="52"/>
                <c:pt idx="0">
                  <c:v>0.10245310245310245</c:v>
                </c:pt>
                <c:pt idx="1">
                  <c:v>0.09077537297751628</c:v>
                </c:pt>
                <c:pt idx="2">
                  <c:v>0.09115646258503401</c:v>
                </c:pt>
                <c:pt idx="3">
                  <c:v>0.09265473527218494</c:v>
                </c:pt>
                <c:pt idx="4">
                  <c:v>0.08411764705882353</c:v>
                </c:pt>
                <c:pt idx="5">
                  <c:v>0.0764626375748214</c:v>
                </c:pt>
                <c:pt idx="6">
                  <c:v>0.08995596561123925</c:v>
                </c:pt>
                <c:pt idx="7">
                  <c:v>0.10643077787138444</c:v>
                </c:pt>
                <c:pt idx="8">
                  <c:v>0.08466819221967964</c:v>
                </c:pt>
                <c:pt idx="9">
                  <c:v>0.0892018779342723</c:v>
                </c:pt>
                <c:pt idx="10">
                  <c:v>0.09979317476732161</c:v>
                </c:pt>
                <c:pt idx="11">
                  <c:v>0.09794490599038042</c:v>
                </c:pt>
                <c:pt idx="12">
                  <c:v>0.09792886087348042</c:v>
                </c:pt>
                <c:pt idx="13">
                  <c:v>0.09246880570409982</c:v>
                </c:pt>
                <c:pt idx="14">
                  <c:v>0.08679525222551929</c:v>
                </c:pt>
                <c:pt idx="15">
                  <c:v>0.08375634517766498</c:v>
                </c:pt>
                <c:pt idx="16">
                  <c:v>0.08636239409674774</c:v>
                </c:pt>
                <c:pt idx="17">
                  <c:v>0.08074534161490683</c:v>
                </c:pt>
                <c:pt idx="18">
                  <c:v>0.09015829318651067</c:v>
                </c:pt>
                <c:pt idx="19">
                  <c:v>0.10430706123644887</c:v>
                </c:pt>
                <c:pt idx="20">
                  <c:v>0.09464508094645081</c:v>
                </c:pt>
                <c:pt idx="21">
                  <c:v>0.10082709728239464</c:v>
                </c:pt>
                <c:pt idx="22">
                  <c:v>0.09673518742442563</c:v>
                </c:pt>
                <c:pt idx="23">
                  <c:v>0.07884856070087609</c:v>
                </c:pt>
                <c:pt idx="24">
                  <c:v>0.0686626746506986</c:v>
                </c:pt>
                <c:pt idx="25">
                  <c:v>0.06903945111492281</c:v>
                </c:pt>
                <c:pt idx="26">
                  <c:v>0.06201550387596899</c:v>
                </c:pt>
                <c:pt idx="27">
                  <c:v>0.06075471698113208</c:v>
                </c:pt>
                <c:pt idx="28">
                  <c:v>0.05362462760675273</c:v>
                </c:pt>
                <c:pt idx="29">
                  <c:v>0.05612244897959184</c:v>
                </c:pt>
                <c:pt idx="30">
                  <c:v>0.062320623206232065</c:v>
                </c:pt>
                <c:pt idx="31">
                  <c:v>0.06033318325078793</c:v>
                </c:pt>
                <c:pt idx="32">
                  <c:v>0.0533596837944664</c:v>
                </c:pt>
                <c:pt idx="33">
                  <c:v>0.07414910858995137</c:v>
                </c:pt>
                <c:pt idx="34">
                  <c:v>0.08681384248210024</c:v>
                </c:pt>
                <c:pt idx="35">
                  <c:v>0.09665792922673656</c:v>
                </c:pt>
                <c:pt idx="36">
                  <c:v>0.06567593480345159</c:v>
                </c:pt>
                <c:pt idx="37">
                  <c:v>0.0794646591384358</c:v>
                </c:pt>
                <c:pt idx="38">
                  <c:v>0.08265213442325159</c:v>
                </c:pt>
                <c:pt idx="39">
                  <c:v>0.1054072553045859</c:v>
                </c:pt>
                <c:pt idx="40">
                  <c:v>0.08571428571428572</c:v>
                </c:pt>
                <c:pt idx="41">
                  <c:v>0.08518518518518518</c:v>
                </c:pt>
                <c:pt idx="42">
                  <c:v>0.07456140350877193</c:v>
                </c:pt>
                <c:pt idx="43">
                  <c:v>0.09136295556665003</c:v>
                </c:pt>
                <c:pt idx="44">
                  <c:v>0.09131640708342223</c:v>
                </c:pt>
                <c:pt idx="45">
                  <c:v>0.11268603827072998</c:v>
                </c:pt>
                <c:pt idx="46">
                  <c:v>0.09639564124056998</c:v>
                </c:pt>
                <c:pt idx="47">
                  <c:v>0.10404742436631234</c:v>
                </c:pt>
                <c:pt idx="48">
                  <c:v>0.09787530477185649</c:v>
                </c:pt>
                <c:pt idx="49">
                  <c:v>0.10645859085290482</c:v>
                </c:pt>
                <c:pt idx="50">
                  <c:v>0.15558218494108247</c:v>
                </c:pt>
                <c:pt idx="51">
                  <c:v>0.1212169735788630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287.7487284729348</c:v>
                </c:pt>
              </c:numCache>
            </c:numRef>
          </c:xVal>
          <c:yVal>
            <c:numRef>
              <c:f>Sheet1!$B$163:$B$164</c:f>
              <c:numCache>
                <c:formatCode>General</c:formatCode>
                <c:ptCount val="2"/>
                <c:pt idx="0">
                  <c:v>0.21309761328870133</c:v>
                </c:pt>
                <c:pt idx="1">
                  <c:v>0.2130976132887013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287.7487284729348</c:v>
                </c:pt>
                <c:pt idx="1">
                  <c:v>-1287.7487284729348</c:v>
                </c:pt>
              </c:numCache>
            </c:numRef>
          </c:xVal>
          <c:yVal>
            <c:numRef>
              <c:f>Sheet1!$B$167:$B$168</c:f>
              <c:numCache>
                <c:formatCode>General</c:formatCode>
                <c:ptCount val="2"/>
                <c:pt idx="0">
                  <c:v>0.2130976132887013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17.9365955699593</c:v>
                </c:pt>
              </c:numCache>
            </c:numRef>
          </c:xVal>
          <c:yVal>
            <c:numRef>
              <c:f>Sheet1!$B$171:$B$172</c:f>
              <c:numCache>
                <c:formatCode>General</c:formatCode>
                <c:ptCount val="2"/>
                <c:pt idx="0">
                  <c:v>0.12028326353617672</c:v>
                </c:pt>
                <c:pt idx="1">
                  <c:v>0.1202832635361767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17.9365955699593</c:v>
                </c:pt>
                <c:pt idx="1">
                  <c:v>617.9365955699593</c:v>
                </c:pt>
              </c:numCache>
            </c:numRef>
          </c:xVal>
          <c:yVal>
            <c:numRef>
              <c:f>Sheet1!$B$175:$B$176</c:f>
              <c:numCache>
                <c:formatCode>General</c:formatCode>
                <c:ptCount val="2"/>
                <c:pt idx="0">
                  <c:v>0.1202832635361767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990.4745523143522</c:v>
                </c:pt>
              </c:numCache>
            </c:numRef>
          </c:xVal>
          <c:yVal>
            <c:numRef>
              <c:f>Sheet1!$B$179:$B$180</c:f>
              <c:numCache>
                <c:formatCode>General</c:formatCode>
                <c:ptCount val="2"/>
                <c:pt idx="0">
                  <c:v>0.10213920387578616</c:v>
                </c:pt>
                <c:pt idx="1">
                  <c:v>0.1021392038757861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990.4745523143522</c:v>
                </c:pt>
                <c:pt idx="1">
                  <c:v>990.4745523143522</c:v>
                </c:pt>
              </c:numCache>
            </c:numRef>
          </c:xVal>
          <c:yVal>
            <c:numRef>
              <c:f>Sheet1!$B$183:$B$184</c:f>
              <c:numCache>
                <c:formatCode>General</c:formatCode>
                <c:ptCount val="2"/>
                <c:pt idx="0">
                  <c:v>0.1021392038757861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59.6539</c:v>
                </c:pt>
                <c:pt idx="1">
                  <c:v>1349.1829</c:v>
                </c:pt>
                <c:pt idx="2">
                  <c:v>1360.8891</c:v>
                </c:pt>
                <c:pt idx="3">
                  <c:v>1367.5292</c:v>
                </c:pt>
                <c:pt idx="4">
                  <c:v>1363.8951</c:v>
                </c:pt>
                <c:pt idx="5">
                  <c:v>1375.4444</c:v>
                </c:pt>
                <c:pt idx="6">
                  <c:v>1248.7459</c:v>
                </c:pt>
                <c:pt idx="7">
                  <c:v>1168.4222</c:v>
                </c:pt>
                <c:pt idx="8">
                  <c:v>1342.6385</c:v>
                </c:pt>
                <c:pt idx="9">
                  <c:v>1184.7988</c:v>
                </c:pt>
                <c:pt idx="10">
                  <c:v>1150.4041</c:v>
                </c:pt>
                <c:pt idx="11">
                  <c:v>1364.6205</c:v>
                </c:pt>
                <c:pt idx="12">
                  <c:v>1318.4644</c:v>
                </c:pt>
                <c:pt idx="13">
                  <c:v>1193.8916</c:v>
                </c:pt>
                <c:pt idx="14">
                  <c:v>1359.1994</c:v>
                </c:pt>
                <c:pt idx="15">
                  <c:v>1260.7758</c:v>
                </c:pt>
                <c:pt idx="16">
                  <c:v>1229.4589</c:v>
                </c:pt>
                <c:pt idx="17">
                  <c:v>1206.2203</c:v>
                </c:pt>
                <c:pt idx="18">
                  <c:v>1085.2328</c:v>
                </c:pt>
                <c:pt idx="19">
                  <c:v>951.7388</c:v>
                </c:pt>
                <c:pt idx="20">
                  <c:v>943.1283</c:v>
                </c:pt>
                <c:pt idx="21">
                  <c:v>1004.2773</c:v>
                </c:pt>
                <c:pt idx="22">
                  <c:v>1024.0417</c:v>
                </c:pt>
                <c:pt idx="23">
                  <c:v>1060.3545</c:v>
                </c:pt>
                <c:pt idx="24">
                  <c:v>1336.2326</c:v>
                </c:pt>
                <c:pt idx="25">
                  <c:v>1376.1925</c:v>
                </c:pt>
                <c:pt idx="26">
                  <c:v>1368.375</c:v>
                </c:pt>
                <c:pt idx="27">
                  <c:v>1386.913</c:v>
                </c:pt>
                <c:pt idx="28">
                  <c:v>1235.7099</c:v>
                </c:pt>
                <c:pt idx="29">
                  <c:v>1255.2797</c:v>
                </c:pt>
                <c:pt idx="30">
                  <c:v>1375.4671</c:v>
                </c:pt>
                <c:pt idx="31">
                  <c:v>1369.9478</c:v>
                </c:pt>
                <c:pt idx="32">
                  <c:v>1343.7407</c:v>
                </c:pt>
                <c:pt idx="33">
                  <c:v>1353.8306</c:v>
                </c:pt>
                <c:pt idx="34">
                  <c:v>1365.244</c:v>
                </c:pt>
                <c:pt idx="35">
                  <c:v>1388.6847</c:v>
                </c:pt>
                <c:pt idx="36">
                  <c:v>1371.4526</c:v>
                </c:pt>
                <c:pt idx="37">
                  <c:v>1389.0632</c:v>
                </c:pt>
                <c:pt idx="38">
                  <c:v>1408.6319</c:v>
                </c:pt>
                <c:pt idx="39">
                  <c:v>1430.2955</c:v>
                </c:pt>
                <c:pt idx="40">
                  <c:v>1449.6475</c:v>
                </c:pt>
                <c:pt idx="41">
                  <c:v>1451.1449</c:v>
                </c:pt>
                <c:pt idx="42">
                  <c:v>1443.8462</c:v>
                </c:pt>
                <c:pt idx="43">
                  <c:v>1418.5383</c:v>
                </c:pt>
                <c:pt idx="44">
                  <c:v>1389.2734</c:v>
                </c:pt>
                <c:pt idx="45">
                  <c:v>1367.3443</c:v>
                </c:pt>
                <c:pt idx="46">
                  <c:v>1346.137</c:v>
                </c:pt>
                <c:pt idx="47">
                  <c:v>1334.057</c:v>
                </c:pt>
                <c:pt idx="48">
                  <c:v>1260.71</c:v>
                </c:pt>
                <c:pt idx="49">
                  <c:v>1181.2192</c:v>
                </c:pt>
                <c:pt idx="50">
                  <c:v>1124.9185</c:v>
                </c:pt>
                <c:pt idx="51">
                  <c:v>1162.1057</c:v>
                </c:pt>
                <c:pt idx="52">
                  <c:v>617.9365955699593</c:v>
                </c:pt>
                <c:pt idx="53">
                  <c:v>-1287.7487284729348</c:v>
                </c:pt>
                <c:pt idx="54">
                  <c:v>990.4745523143522</c:v>
                </c:pt>
              </c:numCache>
            </c:numRef>
          </c:xVal>
          <c:yVal>
            <c:numRef>
              <c:f>Sheet1!$B$187:$B$241</c:f>
              <c:numCache>
                <c:formatCode>General</c:formatCode>
                <c:ptCount val="55"/>
                <c:pt idx="0">
                  <c:v>0.08415872164968001</c:v>
                </c:pt>
                <c:pt idx="1">
                  <c:v>0.08466870041899587</c:v>
                </c:pt>
                <c:pt idx="2">
                  <c:v>0.08409856256498333</c:v>
                </c:pt>
                <c:pt idx="3">
                  <c:v>0.0837751636512087</c:v>
                </c:pt>
                <c:pt idx="4">
                  <c:v>0.08395215857486171</c:v>
                </c:pt>
                <c:pt idx="5">
                  <c:v>0.08338966236624175</c:v>
                </c:pt>
                <c:pt idx="6">
                  <c:v>0.0895603762526103</c:v>
                </c:pt>
                <c:pt idx="7">
                  <c:v>0.09347245548791697</c:v>
                </c:pt>
                <c:pt idx="8">
                  <c:v>0.08498743836741633</c:v>
                </c:pt>
                <c:pt idx="9">
                  <c:v>0.09267485083567954</c:v>
                </c:pt>
                <c:pt idx="10">
                  <c:v>0.09435000762843937</c:v>
                </c:pt>
                <c:pt idx="11">
                  <c:v>0.08391682874970062</c:v>
                </c:pt>
                <c:pt idx="12">
                  <c:v>0.08616481185297821</c:v>
                </c:pt>
                <c:pt idx="13">
                  <c:v>0.09223199581193442</c:v>
                </c:pt>
                <c:pt idx="14">
                  <c:v>0.08418085758231816</c:v>
                </c:pt>
                <c:pt idx="15">
                  <c:v>0.08897447293898288</c:v>
                </c:pt>
                <c:pt idx="16">
                  <c:v>0.0904997288000074</c:v>
                </c:pt>
                <c:pt idx="17">
                  <c:v>0.09163153976635477</c:v>
                </c:pt>
                <c:pt idx="18">
                  <c:v>0.09752410555306112</c:v>
                </c:pt>
                <c:pt idx="19">
                  <c:v>0.10402578694271361</c:v>
                </c:pt>
                <c:pt idx="20">
                  <c:v>0.10444515206478353</c:v>
                </c:pt>
                <c:pt idx="21">
                  <c:v>0.10146695592641133</c:v>
                </c:pt>
                <c:pt idx="22">
                  <c:v>0.10050435212655778</c:v>
                </c:pt>
                <c:pt idx="23">
                  <c:v>0.09873577634063355</c:v>
                </c:pt>
                <c:pt idx="24">
                  <c:v>0.08529943082261263</c:v>
                </c:pt>
                <c:pt idx="25">
                  <c:v>0.0833532269620468</c:v>
                </c:pt>
                <c:pt idx="26">
                  <c:v>0.08373396987381519</c:v>
                </c:pt>
                <c:pt idx="27">
                  <c:v>0.08283109656414302</c:v>
                </c:pt>
                <c:pt idx="28">
                  <c:v>0.09019528058235927</c:v>
                </c:pt>
                <c:pt idx="29">
                  <c:v>0.08924215456576512</c:v>
                </c:pt>
                <c:pt idx="30">
                  <c:v>0.0833885567872079</c:v>
                </c:pt>
                <c:pt idx="31">
                  <c:v>0.08365736834498509</c:v>
                </c:pt>
                <c:pt idx="32">
                  <c:v>0.08493375690437173</c:v>
                </c:pt>
                <c:pt idx="33">
                  <c:v>0.08444233919980483</c:v>
                </c:pt>
                <c:pt idx="34">
                  <c:v>0.08388646185421134</c:v>
                </c:pt>
                <c:pt idx="35">
                  <c:v>0.0827448078251881</c:v>
                </c:pt>
                <c:pt idx="36">
                  <c:v>0.08358407868286433</c:v>
                </c:pt>
                <c:pt idx="37">
                  <c:v>0.08272637339063686</c:v>
                </c:pt>
                <c:pt idx="38">
                  <c:v>0.08177330094835711</c:v>
                </c:pt>
                <c:pt idx="39">
                  <c:v>0.08071819865946867</c:v>
                </c:pt>
                <c:pt idx="40">
                  <c:v>0.07977568035712881</c:v>
                </c:pt>
                <c:pt idx="41">
                  <c:v>0.07970275110403231</c:v>
                </c:pt>
                <c:pt idx="42">
                  <c:v>0.08005822642096533</c:v>
                </c:pt>
                <c:pt idx="43">
                  <c:v>0.08129082041351321</c:v>
                </c:pt>
                <c:pt idx="44">
                  <c:v>0.08271613582619122</c:v>
                </c:pt>
                <c:pt idx="45">
                  <c:v>0.08378416900642276</c:v>
                </c:pt>
                <c:pt idx="46">
                  <c:v>0.08481704769561312</c:v>
                </c:pt>
                <c:pt idx="47">
                  <c:v>0.08540539107574256</c:v>
                </c:pt>
                <c:pt idx="48">
                  <c:v>0.08897767765706338</c:v>
                </c:pt>
                <c:pt idx="49">
                  <c:v>0.09284919139557288</c:v>
                </c:pt>
                <c:pt idx="50">
                  <c:v>0.0955912563079615</c:v>
                </c:pt>
                <c:pt idx="51">
                  <c:v>0.09378009381246893</c:v>
                </c:pt>
                <c:pt idx="52">
                  <c:v>0.12028326353617672</c:v>
                </c:pt>
                <c:pt idx="53">
                  <c:v>0.21309761328870133</c:v>
                </c:pt>
                <c:pt idx="54">
                  <c:v>0.1021392038757861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4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5861229458308"/>
          <c:min val="0.04268774703557312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2856839254556768</c:v>
                </c:pt>
                <c:pt idx="1">
                  <c:v>0.12678926214055966</c:v>
                </c:pt>
                <c:pt idx="2">
                  <c:v>0.12377118859377391</c:v>
                </c:pt>
                <c:pt idx="3">
                  <c:v>0.12453916710015668</c:v>
                </c:pt>
                <c:pt idx="4">
                  <c:v>0.1323893553637368</c:v>
                </c:pt>
                <c:pt idx="5">
                  <c:v>0.14237762999446785</c:v>
                </c:pt>
                <c:pt idx="6">
                  <c:v>0.15835325961643046</c:v>
                </c:pt>
                <c:pt idx="7">
                  <c:v>0.15535386676350849</c:v>
                </c:pt>
                <c:pt idx="8">
                  <c:v>0.1535623421670996</c:v>
                </c:pt>
                <c:pt idx="9">
                  <c:v>0.13913066202818078</c:v>
                </c:pt>
                <c:pt idx="10">
                  <c:v>0.12830227537609643</c:v>
                </c:pt>
                <c:pt idx="11">
                  <c:v>0.13433864449297145</c:v>
                </c:pt>
                <c:pt idx="12">
                  <c:v>0.1343987268282602</c:v>
                </c:pt>
                <c:pt idx="13">
                  <c:v>0.12962226851951453</c:v>
                </c:pt>
                <c:pt idx="14">
                  <c:v>0.15666286047357922</c:v>
                </c:pt>
                <c:pt idx="15">
                  <c:v>0.15224555870567652</c:v>
                </c:pt>
                <c:pt idx="16">
                  <c:v>0.14771734325933358</c:v>
                </c:pt>
                <c:pt idx="17">
                  <c:v>0.14789039688625874</c:v>
                </c:pt>
                <c:pt idx="18">
                  <c:v>0.1362745073252108</c:v>
                </c:pt>
                <c:pt idx="19">
                  <c:v>0.13888059912564776</c:v>
                </c:pt>
                <c:pt idx="20">
                  <c:v>0.14430367144795236</c:v>
                </c:pt>
                <c:pt idx="21">
                  <c:v>0.13967481289555173</c:v>
                </c:pt>
                <c:pt idx="22">
                  <c:v>0.1400015691706634</c:v>
                </c:pt>
                <c:pt idx="23">
                  <c:v>0.14895126900882497</c:v>
                </c:pt>
                <c:pt idx="24">
                  <c:v>0.13799687986359244</c:v>
                </c:pt>
                <c:pt idx="25">
                  <c:v>0.14640628937394687</c:v>
                </c:pt>
                <c:pt idx="26">
                  <c:v>0.1485991886871584</c:v>
                </c:pt>
                <c:pt idx="27">
                  <c:v>0.13989586444756116</c:v>
                </c:pt>
                <c:pt idx="28">
                  <c:v>0.14103477937196746</c:v>
                </c:pt>
                <c:pt idx="29">
                  <c:v>0.14448113307871177</c:v>
                </c:pt>
                <c:pt idx="30">
                  <c:v>0.14356302811061974</c:v>
                </c:pt>
                <c:pt idx="31">
                  <c:v>0.1413585453930188</c:v>
                </c:pt>
                <c:pt idx="32">
                  <c:v>0.14036634890879618</c:v>
                </c:pt>
                <c:pt idx="33">
                  <c:v>0.14520416546294662</c:v>
                </c:pt>
                <c:pt idx="34">
                  <c:v>0.14502590553820516</c:v>
                </c:pt>
                <c:pt idx="35">
                  <c:v>0.15611599164976983</c:v>
                </c:pt>
                <c:pt idx="36">
                  <c:v>0.14951002133675975</c:v>
                </c:pt>
                <c:pt idx="37">
                  <c:v>0.14087865945309738</c:v>
                </c:pt>
                <c:pt idx="38">
                  <c:v>0.13611726447552538</c:v>
                </c:pt>
                <c:pt idx="39">
                  <c:v>0.1494357368180281</c:v>
                </c:pt>
                <c:pt idx="40">
                  <c:v>0.16394516721107125</c:v>
                </c:pt>
                <c:pt idx="41">
                  <c:v>0.1643928228311792</c:v>
                </c:pt>
                <c:pt idx="42">
                  <c:v>0.16318481886499395</c:v>
                </c:pt>
                <c:pt idx="43">
                  <c:v>0.17011715184213938</c:v>
                </c:pt>
                <c:pt idx="44">
                  <c:v>0.1728409975387429</c:v>
                </c:pt>
                <c:pt idx="45">
                  <c:v>0.17842642467110162</c:v>
                </c:pt>
                <c:pt idx="46">
                  <c:v>0.16897852334963914</c:v>
                </c:pt>
                <c:pt idx="47">
                  <c:v>0.1657719970692349</c:v>
                </c:pt>
                <c:pt idx="48">
                  <c:v>0.15647953043848944</c:v>
                </c:pt>
                <c:pt idx="49">
                  <c:v>0.16611450052202018</c:v>
                </c:pt>
                <c:pt idx="50">
                  <c:v>0.15224382753490315</c:v>
                </c:pt>
                <c:pt idx="51">
                  <c:v>0.14477358554776437</c:v>
                </c:pt>
                <c:pt idx="52">
                  <c:v>0.14695928586092208</c:v>
                </c:pt>
                <c:pt idx="53">
                  <c:v>0.1741035407599234</c:v>
                </c:pt>
                <c:pt idx="54">
                  <c:v>0.17152938535969794</c:v>
                </c:pt>
                <c:pt idx="55">
                  <c:v>0.16971803177424746</c:v>
                </c:pt>
                <c:pt idx="56">
                  <c:v>0.16276031035620506</c:v>
                </c:pt>
                <c:pt idx="57">
                  <c:v>0.16890973497953937</c:v>
                </c:pt>
                <c:pt idx="58">
                  <c:v>0.1660833884225198</c:v>
                </c:pt>
                <c:pt idx="59">
                  <c:v>0.1916282376458371</c:v>
                </c:pt>
                <c:pt idx="60">
                  <c:v>0.1882729841704155</c:v>
                </c:pt>
                <c:pt idx="61">
                  <c:v>0.16894510722248732</c:v>
                </c:pt>
                <c:pt idx="62">
                  <c:v>0.15776679745270553</c:v>
                </c:pt>
                <c:pt idx="63">
                  <c:v>0.1583463326598764</c:v>
                </c:pt>
                <c:pt idx="64">
                  <c:v>0.1627226321396331</c:v>
                </c:pt>
                <c:pt idx="65">
                  <c:v>0.1601880388496011</c:v>
                </c:pt>
                <c:pt idx="66">
                  <c:v>0.17289503942713294</c:v>
                </c:pt>
                <c:pt idx="67">
                  <c:v>0.1732824094770268</c:v>
                </c:pt>
                <c:pt idx="68">
                  <c:v>0.16301948116320106</c:v>
                </c:pt>
                <c:pt idx="69">
                  <c:v>0.16149699021074626</c:v>
                </c:pt>
                <c:pt idx="70">
                  <c:v>0.16616899331588614</c:v>
                </c:pt>
                <c:pt idx="71">
                  <c:v>0.1491146585697287</c:v>
                </c:pt>
                <c:pt idx="72">
                  <c:v>0.15619604735774023</c:v>
                </c:pt>
                <c:pt idx="73">
                  <c:v>0.15821855477695113</c:v>
                </c:pt>
                <c:pt idx="74">
                  <c:v>0.15690425252469206</c:v>
                </c:pt>
                <c:pt idx="75">
                  <c:v>0.1506006633108008</c:v>
                </c:pt>
                <c:pt idx="76">
                  <c:v>0.14544928414721528</c:v>
                </c:pt>
                <c:pt idx="77">
                  <c:v>0.14616188149818365</c:v>
                </c:pt>
                <c:pt idx="78">
                  <c:v>0.15356958155698053</c:v>
                </c:pt>
                <c:pt idx="79">
                  <c:v>0.16792627398901247</c:v>
                </c:pt>
                <c:pt idx="80">
                  <c:v>0.16097011079805593</c:v>
                </c:pt>
                <c:pt idx="81">
                  <c:v>0.17275148697137982</c:v>
                </c:pt>
                <c:pt idx="82">
                  <c:v>0.1632018066329283</c:v>
                </c:pt>
                <c:pt idx="83">
                  <c:v>0.154629435843521</c:v>
                </c:pt>
                <c:pt idx="84">
                  <c:v>0.1581101142885753</c:v>
                </c:pt>
                <c:pt idx="85">
                  <c:v>0.15937075370456114</c:v>
                </c:pt>
                <c:pt idx="86">
                  <c:v>0.16721827298166833</c:v>
                </c:pt>
                <c:pt idx="87">
                  <c:v>0.1753912409936481</c:v>
                </c:pt>
                <c:pt idx="88">
                  <c:v>0.17216545495168525</c:v>
                </c:pt>
                <c:pt idx="89">
                  <c:v>0.15805993512855887</c:v>
                </c:pt>
                <c:pt idx="90">
                  <c:v>0.15336711458137625</c:v>
                </c:pt>
                <c:pt idx="91">
                  <c:v>0.16044979998444897</c:v>
                </c:pt>
                <c:pt idx="92">
                  <c:v>0.16736704287742094</c:v>
                </c:pt>
                <c:pt idx="93">
                  <c:v>0.16152882314756992</c:v>
                </c:pt>
                <c:pt idx="94">
                  <c:v>0.1513636963050246</c:v>
                </c:pt>
                <c:pt idx="95">
                  <c:v>0.15310108223318197</c:v>
                </c:pt>
                <c:pt idx="96">
                  <c:v>0.14737640120908277</c:v>
                </c:pt>
                <c:pt idx="97">
                  <c:v>0.15895851759263482</c:v>
                </c:pt>
                <c:pt idx="98">
                  <c:v>0.16193987897438844</c:v>
                </c:pt>
                <c:pt idx="99">
                  <c:v>0.17362438818534456</c:v>
                </c:pt>
                <c:pt idx="100">
                  <c:v>0.16822908554423427</c:v>
                </c:pt>
                <c:pt idx="101">
                  <c:v>0.19710627910493453</c:v>
                </c:pt>
                <c:pt idx="102">
                  <c:v>0.1972365035293344</c:v>
                </c:pt>
                <c:pt idx="103">
                  <c:v>0.16908766431207342</c:v>
                </c:pt>
                <c:pt idx="104">
                  <c:v>0.16664169695595432</c:v>
                </c:pt>
              </c:numCache>
            </c:numRef>
          </c:xVal>
          <c:yVal>
            <c:numRef>
              <c:f>Sheet1!$B$2:$B$106</c:f>
              <c:numCache>
                <c:formatCode>General</c:formatCode>
                <c:ptCount val="105"/>
                <c:pt idx="0">
                  <c:v>0.29335539012958367</c:v>
                </c:pt>
                <c:pt idx="1">
                  <c:v>0.32988435788192333</c:v>
                </c:pt>
                <c:pt idx="2">
                  <c:v>0.2962962962962963</c:v>
                </c:pt>
                <c:pt idx="3">
                  <c:v>0.2711124053581829</c:v>
                </c:pt>
                <c:pt idx="4">
                  <c:v>0.1999296022527279</c:v>
                </c:pt>
                <c:pt idx="5">
                  <c:v>0.1452455590386625</c:v>
                </c:pt>
                <c:pt idx="6">
                  <c:v>0.12973328943035892</c:v>
                </c:pt>
                <c:pt idx="7">
                  <c:v>0.10869565217391304</c:v>
                </c:pt>
                <c:pt idx="8">
                  <c:v>0.1436259670366633</c:v>
                </c:pt>
                <c:pt idx="9">
                  <c:v>0.14610207515423443</c:v>
                </c:pt>
                <c:pt idx="10">
                  <c:v>0.17722165474974463</c:v>
                </c:pt>
                <c:pt idx="11">
                  <c:v>0.17665094339622642</c:v>
                </c:pt>
                <c:pt idx="12">
                  <c:v>0.2139495079161318</c:v>
                </c:pt>
                <c:pt idx="13">
                  <c:v>0.20098159509202454</c:v>
                </c:pt>
                <c:pt idx="14">
                  <c:v>0.22036775106082038</c:v>
                </c:pt>
                <c:pt idx="15">
                  <c:v>0.20182291666666666</c:v>
                </c:pt>
                <c:pt idx="16">
                  <c:v>0.1967515688445921</c:v>
                </c:pt>
                <c:pt idx="17">
                  <c:v>0.1878967414303851</c:v>
                </c:pt>
                <c:pt idx="18">
                  <c:v>0.16448850833708878</c:v>
                </c:pt>
                <c:pt idx="19">
                  <c:v>0.15015015015015015</c:v>
                </c:pt>
                <c:pt idx="20">
                  <c:v>0.172779496243924</c:v>
                </c:pt>
                <c:pt idx="21">
                  <c:v>0.14506024096385542</c:v>
                </c:pt>
                <c:pt idx="22">
                  <c:v>0.14182939362795477</c:v>
                </c:pt>
                <c:pt idx="23">
                  <c:v>0.12834765032844872</c:v>
                </c:pt>
                <c:pt idx="24">
                  <c:v>0.14488497307880568</c:v>
                </c:pt>
                <c:pt idx="25">
                  <c:v>0.12415933781686497</c:v>
                </c:pt>
                <c:pt idx="26">
                  <c:v>0.13569844789356986</c:v>
                </c:pt>
                <c:pt idx="27">
                  <c:v>0.1498401096391046</c:v>
                </c:pt>
                <c:pt idx="28">
                  <c:v>0.15058275058275059</c:v>
                </c:pt>
                <c:pt idx="29">
                  <c:v>0.13561368209255534</c:v>
                </c:pt>
                <c:pt idx="30">
                  <c:v>0.12253164556962025</c:v>
                </c:pt>
                <c:pt idx="31">
                  <c:v>0.11024844720496894</c:v>
                </c:pt>
                <c:pt idx="32">
                  <c:v>0.11920529801324503</c:v>
                </c:pt>
                <c:pt idx="33">
                  <c:v>0.13148636763412488</c:v>
                </c:pt>
                <c:pt idx="34">
                  <c:v>0.14188615123194562</c:v>
                </c:pt>
                <c:pt idx="35">
                  <c:v>0.18617212819589485</c:v>
                </c:pt>
                <c:pt idx="36">
                  <c:v>0.1673499813641446</c:v>
                </c:pt>
                <c:pt idx="37">
                  <c:v>0.1393121462777536</c:v>
                </c:pt>
                <c:pt idx="38">
                  <c:v>0.12938689217758986</c:v>
                </c:pt>
                <c:pt idx="39">
                  <c:v>0.10777300906056271</c:v>
                </c:pt>
                <c:pt idx="40">
                  <c:v>0.12176681257461201</c:v>
                </c:pt>
                <c:pt idx="41">
                  <c:v>0.09544468546637744</c:v>
                </c:pt>
                <c:pt idx="42">
                  <c:v>0.1061493411420205</c:v>
                </c:pt>
                <c:pt idx="43">
                  <c:v>0.10782029950083195</c:v>
                </c:pt>
                <c:pt idx="44">
                  <c:v>0.14064549986880084</c:v>
                </c:pt>
                <c:pt idx="45">
                  <c:v>0.13561885555835643</c:v>
                </c:pt>
                <c:pt idx="46">
                  <c:v>0.14025455452957325</c:v>
                </c:pt>
                <c:pt idx="47">
                  <c:v>0.1368556701030928</c:v>
                </c:pt>
                <c:pt idx="48">
                  <c:v>0.1739051094890511</c:v>
                </c:pt>
                <c:pt idx="49">
                  <c:v>0.18747702487440265</c:v>
                </c:pt>
                <c:pt idx="50">
                  <c:v>0.14840777087923093</c:v>
                </c:pt>
                <c:pt idx="51">
                  <c:v>0.15249722530521642</c:v>
                </c:pt>
                <c:pt idx="52">
                  <c:v>0.185739610005909</c:v>
                </c:pt>
                <c:pt idx="53">
                  <c:v>0.14897435897435898</c:v>
                </c:pt>
                <c:pt idx="54">
                  <c:v>0.12692828146143437</c:v>
                </c:pt>
                <c:pt idx="55">
                  <c:v>0.13467536149702297</c:v>
                </c:pt>
                <c:pt idx="56">
                  <c:v>0.14375512435091556</c:v>
                </c:pt>
                <c:pt idx="57">
                  <c:v>0.13140475606766364</c:v>
                </c:pt>
                <c:pt idx="58">
                  <c:v>0.1341492115791951</c:v>
                </c:pt>
                <c:pt idx="59">
                  <c:v>0.14758751182592242</c:v>
                </c:pt>
                <c:pt idx="60">
                  <c:v>0.14428431051424828</c:v>
                </c:pt>
                <c:pt idx="61">
                  <c:v>0.1369330453563715</c:v>
                </c:pt>
                <c:pt idx="62">
                  <c:v>0.14360610895828585</c:v>
                </c:pt>
                <c:pt idx="63">
                  <c:v>0.16469691193290126</c:v>
                </c:pt>
                <c:pt idx="64">
                  <c:v>0.17001488095238096</c:v>
                </c:pt>
                <c:pt idx="65">
                  <c:v>0.17632752330766113</c:v>
                </c:pt>
                <c:pt idx="66">
                  <c:v>0.15744861199406654</c:v>
                </c:pt>
                <c:pt idx="67">
                  <c:v>0.1460649662088511</c:v>
                </c:pt>
                <c:pt idx="68">
                  <c:v>0.1361170087284737</c:v>
                </c:pt>
                <c:pt idx="69">
                  <c:v>0.11100260416666667</c:v>
                </c:pt>
                <c:pt idx="70">
                  <c:v>0.09996988858777477</c:v>
                </c:pt>
                <c:pt idx="71">
                  <c:v>0.12008599508599509</c:v>
                </c:pt>
                <c:pt idx="72">
                  <c:v>0.1247750449910018</c:v>
                </c:pt>
                <c:pt idx="73">
                  <c:v>0.11791590493601463</c:v>
                </c:pt>
                <c:pt idx="74">
                  <c:v>0.09799691833590139</c:v>
                </c:pt>
                <c:pt idx="75">
                  <c:v>0.08870680441752761</c:v>
                </c:pt>
                <c:pt idx="76">
                  <c:v>0.09396966333703292</c:v>
                </c:pt>
                <c:pt idx="77">
                  <c:v>0.08734939759036145</c:v>
                </c:pt>
                <c:pt idx="78">
                  <c:v>0.09734151329243354</c:v>
                </c:pt>
                <c:pt idx="79">
                  <c:v>0.0885917258671124</c:v>
                </c:pt>
                <c:pt idx="80">
                  <c:v>0.08336859923825646</c:v>
                </c:pt>
                <c:pt idx="81">
                  <c:v>0.07746243739565943</c:v>
                </c:pt>
                <c:pt idx="82">
                  <c:v>0.08011996572407884</c:v>
                </c:pt>
                <c:pt idx="83">
                  <c:v>0.07543216343635412</c:v>
                </c:pt>
                <c:pt idx="84">
                  <c:v>0.06610703043022036</c:v>
                </c:pt>
                <c:pt idx="85">
                  <c:v>0.05907172995780591</c:v>
                </c:pt>
                <c:pt idx="86">
                  <c:v>0.07008849557522123</c:v>
                </c:pt>
                <c:pt idx="87">
                  <c:v>0.10039440659734672</c:v>
                </c:pt>
                <c:pt idx="88">
                  <c:v>0.09121909633418585</c:v>
                </c:pt>
                <c:pt idx="89">
                  <c:v>0.0685640362225097</c:v>
                </c:pt>
                <c:pt idx="90">
                  <c:v>0.05763308402991641</c:v>
                </c:pt>
                <c:pt idx="91">
                  <c:v>0.07351676698194325</c:v>
                </c:pt>
                <c:pt idx="92">
                  <c:v>0.06567489114658925</c:v>
                </c:pt>
                <c:pt idx="93">
                  <c:v>0.06393700787401575</c:v>
                </c:pt>
                <c:pt idx="94">
                  <c:v>0.0681044267877412</c:v>
                </c:pt>
                <c:pt idx="95">
                  <c:v>0.08433031806244529</c:v>
                </c:pt>
                <c:pt idx="96">
                  <c:v>0.08319266939956595</c:v>
                </c:pt>
                <c:pt idx="97">
                  <c:v>0.08657137104892289</c:v>
                </c:pt>
                <c:pt idx="98">
                  <c:v>0.1113338192419825</c:v>
                </c:pt>
                <c:pt idx="99">
                  <c:v>0.10447257383966245</c:v>
                </c:pt>
                <c:pt idx="100">
                  <c:v>0.1383495145631068</c:v>
                </c:pt>
                <c:pt idx="101">
                  <c:v>0.09347826086956522</c:v>
                </c:pt>
                <c:pt idx="102">
                  <c:v>0.07682528151107883</c:v>
                </c:pt>
                <c:pt idx="103">
                  <c:v>0.09002479496471485</c:v>
                </c:pt>
                <c:pt idx="104">
                  <c:v>0.1083421330517423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92515122974213</c:v>
                </c:pt>
                <c:pt idx="1">
                  <c:v>0.1889829155710225</c:v>
                </c:pt>
                <c:pt idx="2">
                  <c:v>0.19620622727134715</c:v>
                </c:pt>
                <c:pt idx="3">
                  <c:v>0.19717030394014845</c:v>
                </c:pt>
                <c:pt idx="4">
                  <c:v>0.19712360662889802</c:v>
                </c:pt>
                <c:pt idx="5">
                  <c:v>0.20138363691441738</c:v>
                </c:pt>
                <c:pt idx="6">
                  <c:v>0.17662204918571417</c:v>
                </c:pt>
                <c:pt idx="7">
                  <c:v>0.16178733334483528</c:v>
                </c:pt>
                <c:pt idx="8">
                  <c:v>0.18427330496718428</c:v>
                </c:pt>
                <c:pt idx="9">
                  <c:v>0.16342314792474738</c:v>
                </c:pt>
                <c:pt idx="10">
                  <c:v>0.17120535597022007</c:v>
                </c:pt>
                <c:pt idx="11">
                  <c:v>0.20579605025009814</c:v>
                </c:pt>
                <c:pt idx="12">
                  <c:v>0.1997020035460824</c:v>
                </c:pt>
                <c:pt idx="13">
                  <c:v>0.17722651862366334</c:v>
                </c:pt>
                <c:pt idx="14">
                  <c:v>0.20403369019229795</c:v>
                </c:pt>
                <c:pt idx="15">
                  <c:v>0.1894968854308517</c:v>
                </c:pt>
                <c:pt idx="16">
                  <c:v>0.17866060720305763</c:v>
                </c:pt>
                <c:pt idx="17">
                  <c:v>0.17559880119659063</c:v>
                </c:pt>
                <c:pt idx="18">
                  <c:v>0.12808855282934836</c:v>
                </c:pt>
                <c:pt idx="19">
                  <c:v>0.11007856376705617</c:v>
                </c:pt>
                <c:pt idx="20">
                  <c:v>0.10588347073783486</c:v>
                </c:pt>
                <c:pt idx="21">
                  <c:v>0.11055907264701102</c:v>
                </c:pt>
                <c:pt idx="22">
                  <c:v>0.11719690518008569</c:v>
                </c:pt>
                <c:pt idx="23">
                  <c:v>0.12163377504210102</c:v>
                </c:pt>
                <c:pt idx="24">
                  <c:v>0.15133215995067972</c:v>
                </c:pt>
                <c:pt idx="25">
                  <c:v>0.15968387618488938</c:v>
                </c:pt>
                <c:pt idx="26">
                  <c:v>0.15883068118354232</c:v>
                </c:pt>
                <c:pt idx="27">
                  <c:v>0.16228149567165645</c:v>
                </c:pt>
                <c:pt idx="28">
                  <c:v>0.15571992625207734</c:v>
                </c:pt>
                <c:pt idx="29">
                  <c:v>0.15222899326584702</c:v>
                </c:pt>
                <c:pt idx="30">
                  <c:v>0.15824153839074112</c:v>
                </c:pt>
                <c:pt idx="31">
                  <c:v>0.1588582927368253</c:v>
                </c:pt>
                <c:pt idx="32">
                  <c:v>0.16026606581374675</c:v>
                </c:pt>
                <c:pt idx="33">
                  <c:v>0.1700946450144185</c:v>
                </c:pt>
                <c:pt idx="34">
                  <c:v>0.18358441893464064</c:v>
                </c:pt>
                <c:pt idx="35">
                  <c:v>0.18378233938795638</c:v>
                </c:pt>
                <c:pt idx="36">
                  <c:v>0.15703309473210586</c:v>
                </c:pt>
                <c:pt idx="37">
                  <c:v>0.1611483486589964</c:v>
                </c:pt>
                <c:pt idx="38">
                  <c:v>0.1682592864904721</c:v>
                </c:pt>
                <c:pt idx="39">
                  <c:v>0.18338111817805958</c:v>
                </c:pt>
                <c:pt idx="40">
                  <c:v>0.18664119986995284</c:v>
                </c:pt>
                <c:pt idx="41">
                  <c:v>0.18432128419705948</c:v>
                </c:pt>
                <c:pt idx="42">
                  <c:v>0.1732084389854408</c:v>
                </c:pt>
                <c:pt idx="43">
                  <c:v>0.1859273701973642</c:v>
                </c:pt>
                <c:pt idx="44">
                  <c:v>0.19416539224990342</c:v>
                </c:pt>
                <c:pt idx="45">
                  <c:v>0.20707027975056236</c:v>
                </c:pt>
                <c:pt idx="46">
                  <c:v>0.19182445032605056</c:v>
                </c:pt>
                <c:pt idx="47">
                  <c:v>0.19668478227136124</c:v>
                </c:pt>
                <c:pt idx="48">
                  <c:v>0.19324716941587594</c:v>
                </c:pt>
                <c:pt idx="49">
                  <c:v>0.1916097417468065</c:v>
                </c:pt>
                <c:pt idx="50">
                  <c:v>0.1907800853966394</c:v>
                </c:pt>
                <c:pt idx="51">
                  <c:v>0.18380893391499406</c:v>
                </c:pt>
              </c:numCache>
            </c:numRef>
          </c:xVal>
          <c:yVal>
            <c:numRef>
              <c:f>Sheet1!$B$109:$B$160</c:f>
              <c:numCache>
                <c:formatCode>General</c:formatCode>
                <c:ptCount val="52"/>
                <c:pt idx="0">
                  <c:v>0.10245310245310245</c:v>
                </c:pt>
                <c:pt idx="1">
                  <c:v>0.09077537297751628</c:v>
                </c:pt>
                <c:pt idx="2">
                  <c:v>0.09115646258503401</c:v>
                </c:pt>
                <c:pt idx="3">
                  <c:v>0.09265473527218494</c:v>
                </c:pt>
                <c:pt idx="4">
                  <c:v>0.08411764705882353</c:v>
                </c:pt>
                <c:pt idx="5">
                  <c:v>0.0764626375748214</c:v>
                </c:pt>
                <c:pt idx="6">
                  <c:v>0.08995596561123925</c:v>
                </c:pt>
                <c:pt idx="7">
                  <c:v>0.10643077787138444</c:v>
                </c:pt>
                <c:pt idx="8">
                  <c:v>0.08466819221967964</c:v>
                </c:pt>
                <c:pt idx="9">
                  <c:v>0.0892018779342723</c:v>
                </c:pt>
                <c:pt idx="10">
                  <c:v>0.09979317476732161</c:v>
                </c:pt>
                <c:pt idx="11">
                  <c:v>0.09794490599038042</c:v>
                </c:pt>
                <c:pt idx="12">
                  <c:v>0.09792886087348042</c:v>
                </c:pt>
                <c:pt idx="13">
                  <c:v>0.09246880570409982</c:v>
                </c:pt>
                <c:pt idx="14">
                  <c:v>0.08679525222551929</c:v>
                </c:pt>
                <c:pt idx="15">
                  <c:v>0.08375634517766498</c:v>
                </c:pt>
                <c:pt idx="16">
                  <c:v>0.08636239409674774</c:v>
                </c:pt>
                <c:pt idx="17">
                  <c:v>0.08074534161490683</c:v>
                </c:pt>
                <c:pt idx="18">
                  <c:v>0.09015829318651067</c:v>
                </c:pt>
                <c:pt idx="19">
                  <c:v>0.10430706123644887</c:v>
                </c:pt>
                <c:pt idx="20">
                  <c:v>0.09464508094645081</c:v>
                </c:pt>
                <c:pt idx="21">
                  <c:v>0.10082709728239464</c:v>
                </c:pt>
                <c:pt idx="22">
                  <c:v>0.09673518742442563</c:v>
                </c:pt>
                <c:pt idx="23">
                  <c:v>0.07884856070087609</c:v>
                </c:pt>
                <c:pt idx="24">
                  <c:v>0.0686626746506986</c:v>
                </c:pt>
                <c:pt idx="25">
                  <c:v>0.06903945111492281</c:v>
                </c:pt>
                <c:pt idx="26">
                  <c:v>0.06201550387596899</c:v>
                </c:pt>
                <c:pt idx="27">
                  <c:v>0.06075471698113208</c:v>
                </c:pt>
                <c:pt idx="28">
                  <c:v>0.05362462760675273</c:v>
                </c:pt>
                <c:pt idx="29">
                  <c:v>0.05612244897959184</c:v>
                </c:pt>
                <c:pt idx="30">
                  <c:v>0.062320623206232065</c:v>
                </c:pt>
                <c:pt idx="31">
                  <c:v>0.06033318325078793</c:v>
                </c:pt>
                <c:pt idx="32">
                  <c:v>0.0533596837944664</c:v>
                </c:pt>
                <c:pt idx="33">
                  <c:v>0.07414910858995137</c:v>
                </c:pt>
                <c:pt idx="34">
                  <c:v>0.08681384248210024</c:v>
                </c:pt>
                <c:pt idx="35">
                  <c:v>0.09665792922673656</c:v>
                </c:pt>
                <c:pt idx="36">
                  <c:v>0.06567593480345159</c:v>
                </c:pt>
                <c:pt idx="37">
                  <c:v>0.0794646591384358</c:v>
                </c:pt>
                <c:pt idx="38">
                  <c:v>0.08265213442325159</c:v>
                </c:pt>
                <c:pt idx="39">
                  <c:v>0.1054072553045859</c:v>
                </c:pt>
                <c:pt idx="40">
                  <c:v>0.08571428571428572</c:v>
                </c:pt>
                <c:pt idx="41">
                  <c:v>0.08518518518518518</c:v>
                </c:pt>
                <c:pt idx="42">
                  <c:v>0.07456140350877193</c:v>
                </c:pt>
                <c:pt idx="43">
                  <c:v>0.09136295556665003</c:v>
                </c:pt>
                <c:pt idx="44">
                  <c:v>0.09131640708342223</c:v>
                </c:pt>
                <c:pt idx="45">
                  <c:v>0.11268603827072998</c:v>
                </c:pt>
                <c:pt idx="46">
                  <c:v>0.09639564124056998</c:v>
                </c:pt>
                <c:pt idx="47">
                  <c:v>0.10404742436631234</c:v>
                </c:pt>
                <c:pt idx="48">
                  <c:v>0.09787530477185649</c:v>
                </c:pt>
                <c:pt idx="49">
                  <c:v>0.10645859085290482</c:v>
                </c:pt>
                <c:pt idx="50">
                  <c:v>0.15558218494108247</c:v>
                </c:pt>
                <c:pt idx="51">
                  <c:v>0.1212169735788630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801348058495079</c:v>
                </c:pt>
              </c:numCache>
            </c:numRef>
          </c:xVal>
          <c:yVal>
            <c:numRef>
              <c:f>Sheet1!$B$163:$B$164</c:f>
              <c:numCache>
                <c:formatCode>General</c:formatCode>
                <c:ptCount val="2"/>
                <c:pt idx="0">
                  <c:v>0.21309761328870133</c:v>
                </c:pt>
                <c:pt idx="1">
                  <c:v>0.2130976132887013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801348058495079</c:v>
                </c:pt>
                <c:pt idx="1">
                  <c:v>0.8801348058495079</c:v>
                </c:pt>
              </c:numCache>
            </c:numRef>
          </c:xVal>
          <c:yVal>
            <c:numRef>
              <c:f>Sheet1!$B$167:$B$168</c:f>
              <c:numCache>
                <c:formatCode>General</c:formatCode>
                <c:ptCount val="2"/>
                <c:pt idx="0">
                  <c:v>0.2130976132887013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5635079545716364</c:v>
                </c:pt>
              </c:numCache>
            </c:numRef>
          </c:xVal>
          <c:yVal>
            <c:numRef>
              <c:f>Sheet1!$B$171:$B$172</c:f>
              <c:numCache>
                <c:formatCode>General</c:formatCode>
                <c:ptCount val="2"/>
                <c:pt idx="0">
                  <c:v>0.12028326353617672</c:v>
                </c:pt>
                <c:pt idx="1">
                  <c:v>0.1202832635361767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5635079545716364</c:v>
                </c:pt>
                <c:pt idx="1">
                  <c:v>0.35635079545716364</c:v>
                </c:pt>
              </c:numCache>
            </c:numRef>
          </c:xVal>
          <c:yVal>
            <c:numRef>
              <c:f>Sheet1!$B$175:$B$176</c:f>
              <c:numCache>
                <c:formatCode>General</c:formatCode>
                <c:ptCount val="2"/>
                <c:pt idx="0">
                  <c:v>0.1202832635361767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539574871049837</c:v>
                </c:pt>
              </c:numCache>
            </c:numRef>
          </c:xVal>
          <c:yVal>
            <c:numRef>
              <c:f>Sheet1!$B$179:$B$180</c:f>
              <c:numCache>
                <c:formatCode>General</c:formatCode>
                <c:ptCount val="2"/>
                <c:pt idx="0">
                  <c:v>0.10213920387578616</c:v>
                </c:pt>
                <c:pt idx="1">
                  <c:v>0.1021392038757861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539574871049837</c:v>
                </c:pt>
                <c:pt idx="1">
                  <c:v>0.2539574871049837</c:v>
                </c:pt>
              </c:numCache>
            </c:numRef>
          </c:xVal>
          <c:yVal>
            <c:numRef>
              <c:f>Sheet1!$B$183:$B$184</c:f>
              <c:numCache>
                <c:formatCode>General</c:formatCode>
                <c:ptCount val="2"/>
                <c:pt idx="0">
                  <c:v>0.1021392038757861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92515122974213</c:v>
                </c:pt>
                <c:pt idx="1">
                  <c:v>0.1889829155710225</c:v>
                </c:pt>
                <c:pt idx="2">
                  <c:v>0.19620622727134715</c:v>
                </c:pt>
                <c:pt idx="3">
                  <c:v>0.19717030394014845</c:v>
                </c:pt>
                <c:pt idx="4">
                  <c:v>0.19712360662889802</c:v>
                </c:pt>
                <c:pt idx="5">
                  <c:v>0.20138363691441738</c:v>
                </c:pt>
                <c:pt idx="6">
                  <c:v>0.17662204918571417</c:v>
                </c:pt>
                <c:pt idx="7">
                  <c:v>0.16178733334483528</c:v>
                </c:pt>
                <c:pt idx="8">
                  <c:v>0.18427330496718428</c:v>
                </c:pt>
                <c:pt idx="9">
                  <c:v>0.16342314792474738</c:v>
                </c:pt>
                <c:pt idx="10">
                  <c:v>0.17120535597022007</c:v>
                </c:pt>
                <c:pt idx="11">
                  <c:v>0.20579605025009814</c:v>
                </c:pt>
                <c:pt idx="12">
                  <c:v>0.1997020035460824</c:v>
                </c:pt>
                <c:pt idx="13">
                  <c:v>0.17722651862366334</c:v>
                </c:pt>
                <c:pt idx="14">
                  <c:v>0.20403369019229795</c:v>
                </c:pt>
                <c:pt idx="15">
                  <c:v>0.1894968854308517</c:v>
                </c:pt>
                <c:pt idx="16">
                  <c:v>0.17866060720305763</c:v>
                </c:pt>
                <c:pt idx="17">
                  <c:v>0.17559880119659063</c:v>
                </c:pt>
                <c:pt idx="18">
                  <c:v>0.12808855282934836</c:v>
                </c:pt>
                <c:pt idx="19">
                  <c:v>0.11007856376705617</c:v>
                </c:pt>
                <c:pt idx="20">
                  <c:v>0.10588347073783486</c:v>
                </c:pt>
                <c:pt idx="21">
                  <c:v>0.11055907264701102</c:v>
                </c:pt>
                <c:pt idx="22">
                  <c:v>0.11719690518008569</c:v>
                </c:pt>
                <c:pt idx="23">
                  <c:v>0.12163377504210102</c:v>
                </c:pt>
                <c:pt idx="24">
                  <c:v>0.15133215995067972</c:v>
                </c:pt>
                <c:pt idx="25">
                  <c:v>0.15968387618488938</c:v>
                </c:pt>
                <c:pt idx="26">
                  <c:v>0.15883068118354232</c:v>
                </c:pt>
                <c:pt idx="27">
                  <c:v>0.16228149567165645</c:v>
                </c:pt>
                <c:pt idx="28">
                  <c:v>0.15571992625207734</c:v>
                </c:pt>
                <c:pt idx="29">
                  <c:v>0.15222899326584702</c:v>
                </c:pt>
                <c:pt idx="30">
                  <c:v>0.15824153839074112</c:v>
                </c:pt>
                <c:pt idx="31">
                  <c:v>0.1588582927368253</c:v>
                </c:pt>
                <c:pt idx="32">
                  <c:v>0.16026606581374675</c:v>
                </c:pt>
                <c:pt idx="33">
                  <c:v>0.1700946450144185</c:v>
                </c:pt>
                <c:pt idx="34">
                  <c:v>0.18358441893464064</c:v>
                </c:pt>
                <c:pt idx="35">
                  <c:v>0.18378233938795638</c:v>
                </c:pt>
                <c:pt idx="36">
                  <c:v>0.15703309473210586</c:v>
                </c:pt>
                <c:pt idx="37">
                  <c:v>0.1611483486589964</c:v>
                </c:pt>
                <c:pt idx="38">
                  <c:v>0.1682592864904721</c:v>
                </c:pt>
                <c:pt idx="39">
                  <c:v>0.18338111817805958</c:v>
                </c:pt>
                <c:pt idx="40">
                  <c:v>0.18664119986995284</c:v>
                </c:pt>
                <c:pt idx="41">
                  <c:v>0.18432128419705948</c:v>
                </c:pt>
                <c:pt idx="42">
                  <c:v>0.1732084389854408</c:v>
                </c:pt>
                <c:pt idx="43">
                  <c:v>0.1859273701973642</c:v>
                </c:pt>
                <c:pt idx="44">
                  <c:v>0.19416539224990342</c:v>
                </c:pt>
                <c:pt idx="45">
                  <c:v>0.20707027975056236</c:v>
                </c:pt>
                <c:pt idx="46">
                  <c:v>0.19182445032605056</c:v>
                </c:pt>
                <c:pt idx="47">
                  <c:v>0.19668478227136124</c:v>
                </c:pt>
                <c:pt idx="48">
                  <c:v>0.19324716941587594</c:v>
                </c:pt>
                <c:pt idx="49">
                  <c:v>0.1916097417468065</c:v>
                </c:pt>
                <c:pt idx="50">
                  <c:v>0.1907800853966394</c:v>
                </c:pt>
                <c:pt idx="51">
                  <c:v>0.18380893391499406</c:v>
                </c:pt>
                <c:pt idx="52">
                  <c:v>0.35635079545716364</c:v>
                </c:pt>
                <c:pt idx="53">
                  <c:v>0.8801348058495079</c:v>
                </c:pt>
                <c:pt idx="54">
                  <c:v>0.2539574871049837</c:v>
                </c:pt>
              </c:numCache>
            </c:numRef>
          </c:xVal>
          <c:yVal>
            <c:numRef>
              <c:f>Sheet1!$B$187:$B$241</c:f>
              <c:numCache>
                <c:formatCode>General</c:formatCode>
                <c:ptCount val="55"/>
                <c:pt idx="0">
                  <c:v>0.09125163770173733</c:v>
                </c:pt>
                <c:pt idx="1">
                  <c:v>0.09062573174276656</c:v>
                </c:pt>
                <c:pt idx="2">
                  <c:v>0.09190570013665328</c:v>
                </c:pt>
                <c:pt idx="3">
                  <c:v>0.09207653419678304</c:v>
                </c:pt>
                <c:pt idx="4">
                  <c:v>0.09206825944899978</c:v>
                </c:pt>
                <c:pt idx="5">
                  <c:v>0.09282313537692352</c:v>
                </c:pt>
                <c:pt idx="6">
                  <c:v>0.08843539039372296</c:v>
                </c:pt>
                <c:pt idx="7">
                  <c:v>0.08580668375660494</c:v>
                </c:pt>
                <c:pt idx="8">
                  <c:v>0.08979119033426611</c:v>
                </c:pt>
                <c:pt idx="9">
                  <c:v>0.08609654954772848</c:v>
                </c:pt>
                <c:pt idx="10">
                  <c:v>0.08747555418522852</c:v>
                </c:pt>
                <c:pt idx="11">
                  <c:v>0.09360501352987405</c:v>
                </c:pt>
                <c:pt idx="12">
                  <c:v>0.09252515051196508</c:v>
                </c:pt>
                <c:pt idx="13">
                  <c:v>0.08854250217398998</c:v>
                </c:pt>
                <c:pt idx="14">
                  <c:v>0.09329272392280485</c:v>
                </c:pt>
                <c:pt idx="15">
                  <c:v>0.09071680702835366</c:v>
                </c:pt>
                <c:pt idx="16">
                  <c:v>0.08879662218594739</c:v>
                </c:pt>
                <c:pt idx="17">
                  <c:v>0.08825407119561507</c:v>
                </c:pt>
                <c:pt idx="18">
                  <c:v>0.07983527122979811</c:v>
                </c:pt>
                <c:pt idx="19">
                  <c:v>0.0766439072501787</c:v>
                </c:pt>
                <c:pt idx="20">
                  <c:v>0.07590053818214076</c:v>
                </c:pt>
                <c:pt idx="21">
                  <c:v>0.07672905326143228</c:v>
                </c:pt>
                <c:pt idx="22">
                  <c:v>0.07790527494460661</c:v>
                </c:pt>
                <c:pt idx="23">
                  <c:v>0.0786914867857643</c:v>
                </c:pt>
                <c:pt idx="24">
                  <c:v>0.08395403056201511</c:v>
                </c:pt>
                <c:pt idx="25">
                  <c:v>0.08543395185822868</c:v>
                </c:pt>
                <c:pt idx="26">
                  <c:v>0.08528276599212556</c:v>
                </c:pt>
                <c:pt idx="27">
                  <c:v>0.08589424915403229</c:v>
                </c:pt>
                <c:pt idx="28">
                  <c:v>0.0847315412688143</c:v>
                </c:pt>
                <c:pt idx="29">
                  <c:v>0.08411294912258993</c:v>
                </c:pt>
                <c:pt idx="30">
                  <c:v>0.08517837008820273</c:v>
                </c:pt>
                <c:pt idx="31">
                  <c:v>0.0852876587500425</c:v>
                </c:pt>
                <c:pt idx="32">
                  <c:v>0.08553711566384883</c:v>
                </c:pt>
                <c:pt idx="33">
                  <c:v>0.08727873657896272</c:v>
                </c:pt>
                <c:pt idx="34">
                  <c:v>0.08966911996194557</c:v>
                </c:pt>
                <c:pt idx="35">
                  <c:v>0.0897041913994327</c:v>
                </c:pt>
                <c:pt idx="36">
                  <c:v>0.08496423428000047</c:v>
                </c:pt>
                <c:pt idx="37">
                  <c:v>0.08569345588606812</c:v>
                </c:pt>
                <c:pt idx="38">
                  <c:v>0.086953511668345</c:v>
                </c:pt>
                <c:pt idx="39">
                  <c:v>0.08963309513653685</c:v>
                </c:pt>
                <c:pt idx="40">
                  <c:v>0.09021078051136633</c:v>
                </c:pt>
                <c:pt idx="41">
                  <c:v>0.08979969223759676</c:v>
                </c:pt>
                <c:pt idx="42">
                  <c:v>0.0878304998190572</c:v>
                </c:pt>
                <c:pt idx="43">
                  <c:v>0.09008429013445363</c:v>
                </c:pt>
                <c:pt idx="44">
                  <c:v>0.09154406486007124</c:v>
                </c:pt>
                <c:pt idx="45">
                  <c:v>0.09383080656703163</c:v>
                </c:pt>
                <c:pt idx="46">
                  <c:v>0.0911292507417325</c:v>
                </c:pt>
                <c:pt idx="47">
                  <c:v>0.09199049992104123</c:v>
                </c:pt>
                <c:pt idx="48">
                  <c:v>0.09138135608397795</c:v>
                </c:pt>
                <c:pt idx="49">
                  <c:v>0.09109120445400049</c:v>
                </c:pt>
                <c:pt idx="50">
                  <c:v>0.09094418962893713</c:v>
                </c:pt>
                <c:pt idx="51">
                  <c:v>0.08970890394064243</c:v>
                </c:pt>
                <c:pt idx="52">
                  <c:v>0.12028326353617672</c:v>
                </c:pt>
                <c:pt idx="53">
                  <c:v>0.21309761328870133</c:v>
                </c:pt>
                <c:pt idx="54">
                  <c:v>0.1021392038757861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ve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5861229458308"/>
          <c:min val="0.04268774703557312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97.89</c:v>
                </c:pt>
                <c:pt idx="1">
                  <c:v>908.2528</c:v>
                </c:pt>
                <c:pt idx="2">
                  <c:v>906.3665</c:v>
                </c:pt>
                <c:pt idx="3">
                  <c:v>917.2825</c:v>
                </c:pt>
                <c:pt idx="4">
                  <c:v>957.8556</c:v>
                </c:pt>
                <c:pt idx="5">
                  <c:v>1010.1775</c:v>
                </c:pt>
                <c:pt idx="6">
                  <c:v>1049.8655</c:v>
                </c:pt>
                <c:pt idx="7">
                  <c:v>1046.2393</c:v>
                </c:pt>
                <c:pt idx="8">
                  <c:v>1027.178</c:v>
                </c:pt>
                <c:pt idx="9">
                  <c:v>902.9328</c:v>
                </c:pt>
                <c:pt idx="10">
                  <c:v>817.7233</c:v>
                </c:pt>
                <c:pt idx="11">
                  <c:v>818.9386</c:v>
                </c:pt>
                <c:pt idx="12">
                  <c:v>809.366</c:v>
                </c:pt>
                <c:pt idx="13">
                  <c:v>812.7888</c:v>
                </c:pt>
                <c:pt idx="14">
                  <c:v>999.8447</c:v>
                </c:pt>
                <c:pt idx="15">
                  <c:v>1006.9677</c:v>
                </c:pt>
                <c:pt idx="16">
                  <c:v>1023.2608</c:v>
                </c:pt>
                <c:pt idx="17">
                  <c:v>1022.1149</c:v>
                </c:pt>
                <c:pt idx="18">
                  <c:v>1018.7096</c:v>
                </c:pt>
                <c:pt idx="19">
                  <c:v>1041.96</c:v>
                </c:pt>
                <c:pt idx="20">
                  <c:v>1081.8849</c:v>
                </c:pt>
                <c:pt idx="21">
                  <c:v>1062.3189</c:v>
                </c:pt>
                <c:pt idx="22">
                  <c:v>1067.7862</c:v>
                </c:pt>
                <c:pt idx="23">
                  <c:v>1065.5787</c:v>
                </c:pt>
                <c:pt idx="24">
                  <c:v>1068.7568</c:v>
                </c:pt>
                <c:pt idx="25">
                  <c:v>1085.0042</c:v>
                </c:pt>
                <c:pt idx="26">
                  <c:v>1080.634</c:v>
                </c:pt>
                <c:pt idx="27">
                  <c:v>1082.8354</c:v>
                </c:pt>
                <c:pt idx="28">
                  <c:v>1070.5759</c:v>
                </c:pt>
                <c:pt idx="29">
                  <c:v>1105.9228</c:v>
                </c:pt>
                <c:pt idx="30">
                  <c:v>1124.3347</c:v>
                </c:pt>
                <c:pt idx="31">
                  <c:v>1122.8592</c:v>
                </c:pt>
                <c:pt idx="32">
                  <c:v>1112.4573</c:v>
                </c:pt>
                <c:pt idx="33">
                  <c:v>1103.3077</c:v>
                </c:pt>
                <c:pt idx="34">
                  <c:v>1103.7275</c:v>
                </c:pt>
                <c:pt idx="35">
                  <c:v>1120.0406</c:v>
                </c:pt>
                <c:pt idx="36">
                  <c:v>1133.9822</c:v>
                </c:pt>
                <c:pt idx="37">
                  <c:v>1142.65</c:v>
                </c:pt>
                <c:pt idx="38">
                  <c:v>1154.6928</c:v>
                </c:pt>
                <c:pt idx="39">
                  <c:v>1243.3319</c:v>
                </c:pt>
                <c:pt idx="40">
                  <c:v>1315.415</c:v>
                </c:pt>
                <c:pt idx="41">
                  <c:v>1324.2773</c:v>
                </c:pt>
                <c:pt idx="42">
                  <c:v>1323.4069</c:v>
                </c:pt>
                <c:pt idx="43">
                  <c:v>1306.6636</c:v>
                </c:pt>
                <c:pt idx="44">
                  <c:v>1275.5541</c:v>
                </c:pt>
                <c:pt idx="45">
                  <c:v>1246.8903</c:v>
                </c:pt>
                <c:pt idx="46">
                  <c:v>1194.9235</c:v>
                </c:pt>
                <c:pt idx="47">
                  <c:v>1173.6761</c:v>
                </c:pt>
                <c:pt idx="48">
                  <c:v>1032.8069</c:v>
                </c:pt>
                <c:pt idx="49">
                  <c:v>1001.9627</c:v>
                </c:pt>
                <c:pt idx="50">
                  <c:v>1052.7045</c:v>
                </c:pt>
                <c:pt idx="51">
                  <c:v>1011.6259</c:v>
                </c:pt>
                <c:pt idx="52">
                  <c:v>1000.2694</c:v>
                </c:pt>
                <c:pt idx="53">
                  <c:v>1213.3976</c:v>
                </c:pt>
                <c:pt idx="54">
                  <c:v>1235.6333</c:v>
                </c:pt>
                <c:pt idx="55">
                  <c:v>1213.3137</c:v>
                </c:pt>
                <c:pt idx="56">
                  <c:v>1200.8707</c:v>
                </c:pt>
                <c:pt idx="57">
                  <c:v>1238.3563</c:v>
                </c:pt>
                <c:pt idx="58">
                  <c:v>1241.0211</c:v>
                </c:pt>
                <c:pt idx="59">
                  <c:v>1247.2276</c:v>
                </c:pt>
                <c:pt idx="60">
                  <c:v>1258.1271</c:v>
                </c:pt>
                <c:pt idx="61">
                  <c:v>1187.0931</c:v>
                </c:pt>
                <c:pt idx="62">
                  <c:v>1093.5524</c:v>
                </c:pt>
                <c:pt idx="63">
                  <c:v>1055.6157</c:v>
                </c:pt>
                <c:pt idx="64">
                  <c:v>1052.0197</c:v>
                </c:pt>
                <c:pt idx="65">
                  <c:v>1057.2816</c:v>
                </c:pt>
                <c:pt idx="66">
                  <c:v>1166.4993</c:v>
                </c:pt>
                <c:pt idx="67">
                  <c:v>1192.7179</c:v>
                </c:pt>
                <c:pt idx="68">
                  <c:v>1167.5615</c:v>
                </c:pt>
                <c:pt idx="69">
                  <c:v>1209.8152</c:v>
                </c:pt>
                <c:pt idx="70">
                  <c:v>1234.4699</c:v>
                </c:pt>
                <c:pt idx="71">
                  <c:v>1145.7417</c:v>
                </c:pt>
                <c:pt idx="72">
                  <c:v>1181.2019</c:v>
                </c:pt>
                <c:pt idx="73">
                  <c:v>1219.7959</c:v>
                </c:pt>
                <c:pt idx="74">
                  <c:v>1224.9906</c:v>
                </c:pt>
                <c:pt idx="75">
                  <c:v>1229.4699</c:v>
                </c:pt>
                <c:pt idx="76">
                  <c:v>1164.0591</c:v>
                </c:pt>
                <c:pt idx="77">
                  <c:v>1166.8103</c:v>
                </c:pt>
                <c:pt idx="78">
                  <c:v>1181.5168</c:v>
                </c:pt>
                <c:pt idx="79">
                  <c:v>1271.316</c:v>
                </c:pt>
                <c:pt idx="80">
                  <c:v>1275.7817</c:v>
                </c:pt>
                <c:pt idx="81">
                  <c:v>1338.7888</c:v>
                </c:pt>
                <c:pt idx="82">
                  <c:v>1314.0749</c:v>
                </c:pt>
                <c:pt idx="83">
                  <c:v>1269.7569</c:v>
                </c:pt>
                <c:pt idx="84">
                  <c:v>1306.4286</c:v>
                </c:pt>
                <c:pt idx="85">
                  <c:v>1315.9206</c:v>
                </c:pt>
                <c:pt idx="86">
                  <c:v>1328.3636</c:v>
                </c:pt>
                <c:pt idx="87">
                  <c:v>1335.0786</c:v>
                </c:pt>
                <c:pt idx="88">
                  <c:v>1313.0467</c:v>
                </c:pt>
                <c:pt idx="89">
                  <c:v>1347.8239</c:v>
                </c:pt>
                <c:pt idx="90">
                  <c:v>1312.6947</c:v>
                </c:pt>
                <c:pt idx="91">
                  <c:v>1323.3392</c:v>
                </c:pt>
                <c:pt idx="92">
                  <c:v>1355.9724</c:v>
                </c:pt>
                <c:pt idx="93">
                  <c:v>1343.3547</c:v>
                </c:pt>
                <c:pt idx="94">
                  <c:v>1222.1944</c:v>
                </c:pt>
                <c:pt idx="95">
                  <c:v>1250.5536</c:v>
                </c:pt>
                <c:pt idx="96">
                  <c:v>1118.258</c:v>
                </c:pt>
                <c:pt idx="97">
                  <c:v>1187.2581</c:v>
                </c:pt>
                <c:pt idx="98">
                  <c:v>1114.7054</c:v>
                </c:pt>
                <c:pt idx="99">
                  <c:v>1141.1777</c:v>
                </c:pt>
                <c:pt idx="100">
                  <c:v>1056.8655</c:v>
                </c:pt>
                <c:pt idx="101">
                  <c:v>1310.4922</c:v>
                </c:pt>
                <c:pt idx="102">
                  <c:v>1319.1631</c:v>
                </c:pt>
                <c:pt idx="103">
                  <c:v>1174.7076</c:v>
                </c:pt>
                <c:pt idx="104">
                  <c:v>1163.7914</c:v>
                </c:pt>
              </c:numCache>
            </c:numRef>
          </c:xVal>
          <c:yVal>
            <c:numRef>
              <c:f>Sheet1!$B$2:$B$106</c:f>
              <c:numCache>
                <c:formatCode>General</c:formatCode>
                <c:ptCount val="105"/>
                <c:pt idx="0">
                  <c:v>0.29335539012958367</c:v>
                </c:pt>
                <c:pt idx="1">
                  <c:v>0.32988435788192333</c:v>
                </c:pt>
                <c:pt idx="2">
                  <c:v>0.2962962962962963</c:v>
                </c:pt>
                <c:pt idx="3">
                  <c:v>0.2711124053581829</c:v>
                </c:pt>
                <c:pt idx="4">
                  <c:v>0.1999296022527279</c:v>
                </c:pt>
                <c:pt idx="5">
                  <c:v>0.1452455590386625</c:v>
                </c:pt>
                <c:pt idx="6">
                  <c:v>0.12973328943035892</c:v>
                </c:pt>
                <c:pt idx="7">
                  <c:v>0.10869565217391304</c:v>
                </c:pt>
                <c:pt idx="8">
                  <c:v>0.1436259670366633</c:v>
                </c:pt>
                <c:pt idx="9">
                  <c:v>0.14610207515423443</c:v>
                </c:pt>
                <c:pt idx="10">
                  <c:v>0.17722165474974463</c:v>
                </c:pt>
                <c:pt idx="11">
                  <c:v>0.17665094339622642</c:v>
                </c:pt>
                <c:pt idx="12">
                  <c:v>0.2139495079161318</c:v>
                </c:pt>
                <c:pt idx="13">
                  <c:v>0.20098159509202454</c:v>
                </c:pt>
                <c:pt idx="14">
                  <c:v>0.22036775106082038</c:v>
                </c:pt>
                <c:pt idx="15">
                  <c:v>0.20182291666666666</c:v>
                </c:pt>
                <c:pt idx="16">
                  <c:v>0.1967515688445921</c:v>
                </c:pt>
                <c:pt idx="17">
                  <c:v>0.1878967414303851</c:v>
                </c:pt>
                <c:pt idx="18">
                  <c:v>0.16448850833708878</c:v>
                </c:pt>
                <c:pt idx="19">
                  <c:v>0.15015015015015015</c:v>
                </c:pt>
                <c:pt idx="20">
                  <c:v>0.172779496243924</c:v>
                </c:pt>
                <c:pt idx="21">
                  <c:v>0.14506024096385542</c:v>
                </c:pt>
                <c:pt idx="22">
                  <c:v>0.14182939362795477</c:v>
                </c:pt>
                <c:pt idx="23">
                  <c:v>0.12834765032844872</c:v>
                </c:pt>
                <c:pt idx="24">
                  <c:v>0.14488497307880568</c:v>
                </c:pt>
                <c:pt idx="25">
                  <c:v>0.12415933781686497</c:v>
                </c:pt>
                <c:pt idx="26">
                  <c:v>0.13569844789356986</c:v>
                </c:pt>
                <c:pt idx="27">
                  <c:v>0.1498401096391046</c:v>
                </c:pt>
                <c:pt idx="28">
                  <c:v>0.15058275058275059</c:v>
                </c:pt>
                <c:pt idx="29">
                  <c:v>0.13561368209255534</c:v>
                </c:pt>
                <c:pt idx="30">
                  <c:v>0.12253164556962025</c:v>
                </c:pt>
                <c:pt idx="31">
                  <c:v>0.11024844720496894</c:v>
                </c:pt>
                <c:pt idx="32">
                  <c:v>0.11920529801324503</c:v>
                </c:pt>
                <c:pt idx="33">
                  <c:v>0.13148636763412488</c:v>
                </c:pt>
                <c:pt idx="34">
                  <c:v>0.14188615123194562</c:v>
                </c:pt>
                <c:pt idx="35">
                  <c:v>0.18617212819589485</c:v>
                </c:pt>
                <c:pt idx="36">
                  <c:v>0.1673499813641446</c:v>
                </c:pt>
                <c:pt idx="37">
                  <c:v>0.1393121462777536</c:v>
                </c:pt>
                <c:pt idx="38">
                  <c:v>0.12938689217758986</c:v>
                </c:pt>
                <c:pt idx="39">
                  <c:v>0.10777300906056271</c:v>
                </c:pt>
                <c:pt idx="40">
                  <c:v>0.12176681257461201</c:v>
                </c:pt>
                <c:pt idx="41">
                  <c:v>0.09544468546637744</c:v>
                </c:pt>
                <c:pt idx="42">
                  <c:v>0.1061493411420205</c:v>
                </c:pt>
                <c:pt idx="43">
                  <c:v>0.10782029950083195</c:v>
                </c:pt>
                <c:pt idx="44">
                  <c:v>0.14064549986880084</c:v>
                </c:pt>
                <c:pt idx="45">
                  <c:v>0.13561885555835643</c:v>
                </c:pt>
                <c:pt idx="46">
                  <c:v>0.14025455452957325</c:v>
                </c:pt>
                <c:pt idx="47">
                  <c:v>0.1368556701030928</c:v>
                </c:pt>
                <c:pt idx="48">
                  <c:v>0.1739051094890511</c:v>
                </c:pt>
                <c:pt idx="49">
                  <c:v>0.18747702487440265</c:v>
                </c:pt>
                <c:pt idx="50">
                  <c:v>0.14840777087923093</c:v>
                </c:pt>
                <c:pt idx="51">
                  <c:v>0.15249722530521642</c:v>
                </c:pt>
                <c:pt idx="52">
                  <c:v>0.185739610005909</c:v>
                </c:pt>
                <c:pt idx="53">
                  <c:v>0.14897435897435898</c:v>
                </c:pt>
                <c:pt idx="54">
                  <c:v>0.12692828146143437</c:v>
                </c:pt>
                <c:pt idx="55">
                  <c:v>0.13467536149702297</c:v>
                </c:pt>
                <c:pt idx="56">
                  <c:v>0.14375512435091556</c:v>
                </c:pt>
                <c:pt idx="57">
                  <c:v>0.13140475606766364</c:v>
                </c:pt>
                <c:pt idx="58">
                  <c:v>0.1341492115791951</c:v>
                </c:pt>
                <c:pt idx="59">
                  <c:v>0.14758751182592242</c:v>
                </c:pt>
                <c:pt idx="60">
                  <c:v>0.14428431051424828</c:v>
                </c:pt>
                <c:pt idx="61">
                  <c:v>0.1369330453563715</c:v>
                </c:pt>
                <c:pt idx="62">
                  <c:v>0.14360610895828585</c:v>
                </c:pt>
                <c:pt idx="63">
                  <c:v>0.16469691193290126</c:v>
                </c:pt>
                <c:pt idx="64">
                  <c:v>0.17001488095238096</c:v>
                </c:pt>
                <c:pt idx="65">
                  <c:v>0.17632752330766113</c:v>
                </c:pt>
                <c:pt idx="66">
                  <c:v>0.15744861199406654</c:v>
                </c:pt>
                <c:pt idx="67">
                  <c:v>0.1460649662088511</c:v>
                </c:pt>
                <c:pt idx="68">
                  <c:v>0.1361170087284737</c:v>
                </c:pt>
                <c:pt idx="69">
                  <c:v>0.11100260416666667</c:v>
                </c:pt>
                <c:pt idx="70">
                  <c:v>0.09996988858777477</c:v>
                </c:pt>
                <c:pt idx="71">
                  <c:v>0.12008599508599509</c:v>
                </c:pt>
                <c:pt idx="72">
                  <c:v>0.1247750449910018</c:v>
                </c:pt>
                <c:pt idx="73">
                  <c:v>0.11791590493601463</c:v>
                </c:pt>
                <c:pt idx="74">
                  <c:v>0.09799691833590139</c:v>
                </c:pt>
                <c:pt idx="75">
                  <c:v>0.08870680441752761</c:v>
                </c:pt>
                <c:pt idx="76">
                  <c:v>0.09396966333703292</c:v>
                </c:pt>
                <c:pt idx="77">
                  <c:v>0.08734939759036145</c:v>
                </c:pt>
                <c:pt idx="78">
                  <c:v>0.09734151329243354</c:v>
                </c:pt>
                <c:pt idx="79">
                  <c:v>0.0885917258671124</c:v>
                </c:pt>
                <c:pt idx="80">
                  <c:v>0.08336859923825646</c:v>
                </c:pt>
                <c:pt idx="81">
                  <c:v>0.07746243739565943</c:v>
                </c:pt>
                <c:pt idx="82">
                  <c:v>0.08011996572407884</c:v>
                </c:pt>
                <c:pt idx="83">
                  <c:v>0.07543216343635412</c:v>
                </c:pt>
                <c:pt idx="84">
                  <c:v>0.06610703043022036</c:v>
                </c:pt>
                <c:pt idx="85">
                  <c:v>0.05907172995780591</c:v>
                </c:pt>
                <c:pt idx="86">
                  <c:v>0.07008849557522123</c:v>
                </c:pt>
                <c:pt idx="87">
                  <c:v>0.10039440659734672</c:v>
                </c:pt>
                <c:pt idx="88">
                  <c:v>0.09121909633418585</c:v>
                </c:pt>
                <c:pt idx="89">
                  <c:v>0.0685640362225097</c:v>
                </c:pt>
                <c:pt idx="90">
                  <c:v>0.05763308402991641</c:v>
                </c:pt>
                <c:pt idx="91">
                  <c:v>0.07351676698194325</c:v>
                </c:pt>
                <c:pt idx="92">
                  <c:v>0.06567489114658925</c:v>
                </c:pt>
                <c:pt idx="93">
                  <c:v>0.06393700787401575</c:v>
                </c:pt>
                <c:pt idx="94">
                  <c:v>0.0681044267877412</c:v>
                </c:pt>
                <c:pt idx="95">
                  <c:v>0.08433031806244529</c:v>
                </c:pt>
                <c:pt idx="96">
                  <c:v>0.08319266939956595</c:v>
                </c:pt>
                <c:pt idx="97">
                  <c:v>0.08657137104892289</c:v>
                </c:pt>
                <c:pt idx="98">
                  <c:v>0.1113338192419825</c:v>
                </c:pt>
                <c:pt idx="99">
                  <c:v>0.10447257383966245</c:v>
                </c:pt>
                <c:pt idx="100">
                  <c:v>0.1383495145631068</c:v>
                </c:pt>
                <c:pt idx="101">
                  <c:v>0.09347826086956522</c:v>
                </c:pt>
                <c:pt idx="102">
                  <c:v>0.07682528151107883</c:v>
                </c:pt>
                <c:pt idx="103">
                  <c:v>0.09002479496471485</c:v>
                </c:pt>
                <c:pt idx="104">
                  <c:v>0.1083421330517423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59.6539</c:v>
                </c:pt>
                <c:pt idx="1">
                  <c:v>1349.1829</c:v>
                </c:pt>
                <c:pt idx="2">
                  <c:v>1360.8891</c:v>
                </c:pt>
                <c:pt idx="3">
                  <c:v>1367.5292</c:v>
                </c:pt>
                <c:pt idx="4">
                  <c:v>1363.8951</c:v>
                </c:pt>
                <c:pt idx="5">
                  <c:v>1375.4444</c:v>
                </c:pt>
                <c:pt idx="6">
                  <c:v>1248.7459</c:v>
                </c:pt>
                <c:pt idx="7">
                  <c:v>1168.4222</c:v>
                </c:pt>
                <c:pt idx="8">
                  <c:v>1342.6385</c:v>
                </c:pt>
                <c:pt idx="9">
                  <c:v>1184.7988</c:v>
                </c:pt>
                <c:pt idx="10">
                  <c:v>1150.4041</c:v>
                </c:pt>
                <c:pt idx="11">
                  <c:v>1364.6205</c:v>
                </c:pt>
                <c:pt idx="12">
                  <c:v>1318.4644</c:v>
                </c:pt>
                <c:pt idx="13">
                  <c:v>1193.8916</c:v>
                </c:pt>
                <c:pt idx="14">
                  <c:v>1359.1994</c:v>
                </c:pt>
                <c:pt idx="15">
                  <c:v>1260.7758</c:v>
                </c:pt>
                <c:pt idx="16">
                  <c:v>1229.4589</c:v>
                </c:pt>
                <c:pt idx="17">
                  <c:v>1206.2203</c:v>
                </c:pt>
                <c:pt idx="18">
                  <c:v>1085.2328</c:v>
                </c:pt>
                <c:pt idx="19">
                  <c:v>951.7388</c:v>
                </c:pt>
                <c:pt idx="20">
                  <c:v>943.1283</c:v>
                </c:pt>
                <c:pt idx="21">
                  <c:v>1004.2773</c:v>
                </c:pt>
                <c:pt idx="22">
                  <c:v>1024.0417</c:v>
                </c:pt>
                <c:pt idx="23">
                  <c:v>1060.3545</c:v>
                </c:pt>
                <c:pt idx="24">
                  <c:v>1336.2326</c:v>
                </c:pt>
                <c:pt idx="25">
                  <c:v>1376.1925</c:v>
                </c:pt>
                <c:pt idx="26">
                  <c:v>1368.375</c:v>
                </c:pt>
                <c:pt idx="27">
                  <c:v>1386.913</c:v>
                </c:pt>
                <c:pt idx="28">
                  <c:v>1235.7099</c:v>
                </c:pt>
                <c:pt idx="29">
                  <c:v>1255.2797</c:v>
                </c:pt>
                <c:pt idx="30">
                  <c:v>1375.4671</c:v>
                </c:pt>
                <c:pt idx="31">
                  <c:v>1369.9478</c:v>
                </c:pt>
                <c:pt idx="32">
                  <c:v>1343.7407</c:v>
                </c:pt>
                <c:pt idx="33">
                  <c:v>1353.8306</c:v>
                </c:pt>
                <c:pt idx="34">
                  <c:v>1365.244</c:v>
                </c:pt>
                <c:pt idx="35">
                  <c:v>1388.6847</c:v>
                </c:pt>
                <c:pt idx="36">
                  <c:v>1371.4526</c:v>
                </c:pt>
                <c:pt idx="37">
                  <c:v>1389.0632</c:v>
                </c:pt>
                <c:pt idx="38">
                  <c:v>1408.6319</c:v>
                </c:pt>
                <c:pt idx="39">
                  <c:v>1430.2955</c:v>
                </c:pt>
                <c:pt idx="40">
                  <c:v>1449.6475</c:v>
                </c:pt>
                <c:pt idx="41">
                  <c:v>1451.1449</c:v>
                </c:pt>
                <c:pt idx="42">
                  <c:v>1443.8462</c:v>
                </c:pt>
                <c:pt idx="43">
                  <c:v>1418.5383</c:v>
                </c:pt>
                <c:pt idx="44">
                  <c:v>1389.2734</c:v>
                </c:pt>
                <c:pt idx="45">
                  <c:v>1367.3443</c:v>
                </c:pt>
                <c:pt idx="46">
                  <c:v>1346.137</c:v>
                </c:pt>
                <c:pt idx="47">
                  <c:v>1334.057</c:v>
                </c:pt>
                <c:pt idx="48">
                  <c:v>1260.71</c:v>
                </c:pt>
                <c:pt idx="49">
                  <c:v>1181.2192</c:v>
                </c:pt>
                <c:pt idx="50">
                  <c:v>1124.9185</c:v>
                </c:pt>
                <c:pt idx="51">
                  <c:v>1162.1057</c:v>
                </c:pt>
              </c:numCache>
            </c:numRef>
          </c:xVal>
          <c:yVal>
            <c:numRef>
              <c:f>Sheet1!$B$109:$B$160</c:f>
              <c:numCache>
                <c:formatCode>General</c:formatCode>
                <c:ptCount val="52"/>
                <c:pt idx="0">
                  <c:v>0.10245310245310245</c:v>
                </c:pt>
                <c:pt idx="1">
                  <c:v>0.09077537297751628</c:v>
                </c:pt>
                <c:pt idx="2">
                  <c:v>0.09115646258503401</c:v>
                </c:pt>
                <c:pt idx="3">
                  <c:v>0.09265473527218494</c:v>
                </c:pt>
                <c:pt idx="4">
                  <c:v>0.08411764705882353</c:v>
                </c:pt>
                <c:pt idx="5">
                  <c:v>0.0764626375748214</c:v>
                </c:pt>
                <c:pt idx="6">
                  <c:v>0.08995596561123925</c:v>
                </c:pt>
                <c:pt idx="7">
                  <c:v>0.10643077787138444</c:v>
                </c:pt>
                <c:pt idx="8">
                  <c:v>0.08466819221967964</c:v>
                </c:pt>
                <c:pt idx="9">
                  <c:v>0.0892018779342723</c:v>
                </c:pt>
                <c:pt idx="10">
                  <c:v>0.09979317476732161</c:v>
                </c:pt>
                <c:pt idx="11">
                  <c:v>0.09794490599038042</c:v>
                </c:pt>
                <c:pt idx="12">
                  <c:v>0.09792886087348042</c:v>
                </c:pt>
                <c:pt idx="13">
                  <c:v>0.09246880570409982</c:v>
                </c:pt>
                <c:pt idx="14">
                  <c:v>0.08679525222551929</c:v>
                </c:pt>
                <c:pt idx="15">
                  <c:v>0.08375634517766498</c:v>
                </c:pt>
                <c:pt idx="16">
                  <c:v>0.08636239409674774</c:v>
                </c:pt>
                <c:pt idx="17">
                  <c:v>0.08074534161490683</c:v>
                </c:pt>
                <c:pt idx="18">
                  <c:v>0.09015829318651067</c:v>
                </c:pt>
                <c:pt idx="19">
                  <c:v>0.10430706123644887</c:v>
                </c:pt>
                <c:pt idx="20">
                  <c:v>0.09464508094645081</c:v>
                </c:pt>
                <c:pt idx="21">
                  <c:v>0.10082709728239464</c:v>
                </c:pt>
                <c:pt idx="22">
                  <c:v>0.09673518742442563</c:v>
                </c:pt>
                <c:pt idx="23">
                  <c:v>0.07884856070087609</c:v>
                </c:pt>
                <c:pt idx="24">
                  <c:v>0.0686626746506986</c:v>
                </c:pt>
                <c:pt idx="25">
                  <c:v>0.06903945111492281</c:v>
                </c:pt>
                <c:pt idx="26">
                  <c:v>0.06201550387596899</c:v>
                </c:pt>
                <c:pt idx="27">
                  <c:v>0.06075471698113208</c:v>
                </c:pt>
                <c:pt idx="28">
                  <c:v>0.05362462760675273</c:v>
                </c:pt>
                <c:pt idx="29">
                  <c:v>0.05612244897959184</c:v>
                </c:pt>
                <c:pt idx="30">
                  <c:v>0.062320623206232065</c:v>
                </c:pt>
                <c:pt idx="31">
                  <c:v>0.06033318325078793</c:v>
                </c:pt>
                <c:pt idx="32">
                  <c:v>0.0533596837944664</c:v>
                </c:pt>
                <c:pt idx="33">
                  <c:v>0.07414910858995137</c:v>
                </c:pt>
                <c:pt idx="34">
                  <c:v>0.08681384248210024</c:v>
                </c:pt>
                <c:pt idx="35">
                  <c:v>0.09665792922673656</c:v>
                </c:pt>
                <c:pt idx="36">
                  <c:v>0.06567593480345159</c:v>
                </c:pt>
                <c:pt idx="37">
                  <c:v>0.0794646591384358</c:v>
                </c:pt>
                <c:pt idx="38">
                  <c:v>0.08265213442325159</c:v>
                </c:pt>
                <c:pt idx="39">
                  <c:v>0.1054072553045859</c:v>
                </c:pt>
                <c:pt idx="40">
                  <c:v>0.08571428571428572</c:v>
                </c:pt>
                <c:pt idx="41">
                  <c:v>0.08518518518518518</c:v>
                </c:pt>
                <c:pt idx="42">
                  <c:v>0.07456140350877193</c:v>
                </c:pt>
                <c:pt idx="43">
                  <c:v>0.09136295556665003</c:v>
                </c:pt>
                <c:pt idx="44">
                  <c:v>0.09131640708342223</c:v>
                </c:pt>
                <c:pt idx="45">
                  <c:v>0.11268603827072998</c:v>
                </c:pt>
                <c:pt idx="46">
                  <c:v>0.09639564124056998</c:v>
                </c:pt>
                <c:pt idx="47">
                  <c:v>0.10404742436631234</c:v>
                </c:pt>
                <c:pt idx="48">
                  <c:v>0.09787530477185649</c:v>
                </c:pt>
                <c:pt idx="49">
                  <c:v>0.10645859085290482</c:v>
                </c:pt>
                <c:pt idx="50">
                  <c:v>0.15558218494108247</c:v>
                </c:pt>
                <c:pt idx="51">
                  <c:v>0.1212169735788630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287.7487284729348</c:v>
                </c:pt>
              </c:numCache>
            </c:numRef>
          </c:xVal>
          <c:yVal>
            <c:numRef>
              <c:f>Sheet1!$B$163:$B$164</c:f>
              <c:numCache>
                <c:formatCode>General</c:formatCode>
                <c:ptCount val="2"/>
                <c:pt idx="0">
                  <c:v>0.21309761328870133</c:v>
                </c:pt>
                <c:pt idx="1">
                  <c:v>0.2130976132887013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287.7487284729348</c:v>
                </c:pt>
                <c:pt idx="1">
                  <c:v>-1287.7487284729348</c:v>
                </c:pt>
              </c:numCache>
            </c:numRef>
          </c:xVal>
          <c:yVal>
            <c:numRef>
              <c:f>Sheet1!$B$167:$B$168</c:f>
              <c:numCache>
                <c:formatCode>General</c:formatCode>
                <c:ptCount val="2"/>
                <c:pt idx="0">
                  <c:v>0.2130976132887013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17.9365955699593</c:v>
                </c:pt>
              </c:numCache>
            </c:numRef>
          </c:xVal>
          <c:yVal>
            <c:numRef>
              <c:f>Sheet1!$B$171:$B$172</c:f>
              <c:numCache>
                <c:formatCode>General</c:formatCode>
                <c:ptCount val="2"/>
                <c:pt idx="0">
                  <c:v>0.12028326353617672</c:v>
                </c:pt>
                <c:pt idx="1">
                  <c:v>0.1202832635361767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17.9365955699593</c:v>
                </c:pt>
                <c:pt idx="1">
                  <c:v>617.9365955699593</c:v>
                </c:pt>
              </c:numCache>
            </c:numRef>
          </c:xVal>
          <c:yVal>
            <c:numRef>
              <c:f>Sheet1!$B$175:$B$176</c:f>
              <c:numCache>
                <c:formatCode>General</c:formatCode>
                <c:ptCount val="2"/>
                <c:pt idx="0">
                  <c:v>0.1202832635361767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990.4745523143522</c:v>
                </c:pt>
              </c:numCache>
            </c:numRef>
          </c:xVal>
          <c:yVal>
            <c:numRef>
              <c:f>Sheet1!$B$179:$B$180</c:f>
              <c:numCache>
                <c:formatCode>General</c:formatCode>
                <c:ptCount val="2"/>
                <c:pt idx="0">
                  <c:v>0.10213920387578616</c:v>
                </c:pt>
                <c:pt idx="1">
                  <c:v>0.1021392038757861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990.4745523143522</c:v>
                </c:pt>
                <c:pt idx="1">
                  <c:v>990.4745523143522</c:v>
                </c:pt>
              </c:numCache>
            </c:numRef>
          </c:xVal>
          <c:yVal>
            <c:numRef>
              <c:f>Sheet1!$B$183:$B$184</c:f>
              <c:numCache>
                <c:formatCode>General</c:formatCode>
                <c:ptCount val="2"/>
                <c:pt idx="0">
                  <c:v>0.1021392038757861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59.6539</c:v>
                </c:pt>
                <c:pt idx="1">
                  <c:v>1349.1829</c:v>
                </c:pt>
                <c:pt idx="2">
                  <c:v>1360.8891</c:v>
                </c:pt>
                <c:pt idx="3">
                  <c:v>1367.5292</c:v>
                </c:pt>
                <c:pt idx="4">
                  <c:v>1363.8951</c:v>
                </c:pt>
                <c:pt idx="5">
                  <c:v>1375.4444</c:v>
                </c:pt>
                <c:pt idx="6">
                  <c:v>1248.7459</c:v>
                </c:pt>
                <c:pt idx="7">
                  <c:v>1168.4222</c:v>
                </c:pt>
                <c:pt idx="8">
                  <c:v>1342.6385</c:v>
                </c:pt>
                <c:pt idx="9">
                  <c:v>1184.7988</c:v>
                </c:pt>
                <c:pt idx="10">
                  <c:v>1150.4041</c:v>
                </c:pt>
                <c:pt idx="11">
                  <c:v>1364.6205</c:v>
                </c:pt>
                <c:pt idx="12">
                  <c:v>1318.4644</c:v>
                </c:pt>
                <c:pt idx="13">
                  <c:v>1193.8916</c:v>
                </c:pt>
                <c:pt idx="14">
                  <c:v>1359.1994</c:v>
                </c:pt>
                <c:pt idx="15">
                  <c:v>1260.7758</c:v>
                </c:pt>
                <c:pt idx="16">
                  <c:v>1229.4589</c:v>
                </c:pt>
                <c:pt idx="17">
                  <c:v>1206.2203</c:v>
                </c:pt>
                <c:pt idx="18">
                  <c:v>1085.2328</c:v>
                </c:pt>
                <c:pt idx="19">
                  <c:v>951.7388</c:v>
                </c:pt>
                <c:pt idx="20">
                  <c:v>943.1283</c:v>
                </c:pt>
                <c:pt idx="21">
                  <c:v>1004.2773</c:v>
                </c:pt>
                <c:pt idx="22">
                  <c:v>1024.0417</c:v>
                </c:pt>
                <c:pt idx="23">
                  <c:v>1060.3545</c:v>
                </c:pt>
                <c:pt idx="24">
                  <c:v>1336.2326</c:v>
                </c:pt>
                <c:pt idx="25">
                  <c:v>1376.1925</c:v>
                </c:pt>
                <c:pt idx="26">
                  <c:v>1368.375</c:v>
                </c:pt>
                <c:pt idx="27">
                  <c:v>1386.913</c:v>
                </c:pt>
                <c:pt idx="28">
                  <c:v>1235.7099</c:v>
                </c:pt>
                <c:pt idx="29">
                  <c:v>1255.2797</c:v>
                </c:pt>
                <c:pt idx="30">
                  <c:v>1375.4671</c:v>
                </c:pt>
                <c:pt idx="31">
                  <c:v>1369.9478</c:v>
                </c:pt>
                <c:pt idx="32">
                  <c:v>1343.7407</c:v>
                </c:pt>
                <c:pt idx="33">
                  <c:v>1353.8306</c:v>
                </c:pt>
                <c:pt idx="34">
                  <c:v>1365.244</c:v>
                </c:pt>
                <c:pt idx="35">
                  <c:v>1388.6847</c:v>
                </c:pt>
                <c:pt idx="36">
                  <c:v>1371.4526</c:v>
                </c:pt>
                <c:pt idx="37">
                  <c:v>1389.0632</c:v>
                </c:pt>
                <c:pt idx="38">
                  <c:v>1408.6319</c:v>
                </c:pt>
                <c:pt idx="39">
                  <c:v>1430.2955</c:v>
                </c:pt>
                <c:pt idx="40">
                  <c:v>1449.6475</c:v>
                </c:pt>
                <c:pt idx="41">
                  <c:v>1451.1449</c:v>
                </c:pt>
                <c:pt idx="42">
                  <c:v>1443.8462</c:v>
                </c:pt>
                <c:pt idx="43">
                  <c:v>1418.5383</c:v>
                </c:pt>
                <c:pt idx="44">
                  <c:v>1389.2734</c:v>
                </c:pt>
                <c:pt idx="45">
                  <c:v>1367.3443</c:v>
                </c:pt>
                <c:pt idx="46">
                  <c:v>1346.137</c:v>
                </c:pt>
                <c:pt idx="47">
                  <c:v>1334.057</c:v>
                </c:pt>
                <c:pt idx="48">
                  <c:v>1260.71</c:v>
                </c:pt>
                <c:pt idx="49">
                  <c:v>1181.2192</c:v>
                </c:pt>
                <c:pt idx="50">
                  <c:v>1124.9185</c:v>
                </c:pt>
                <c:pt idx="51">
                  <c:v>1162.1057</c:v>
                </c:pt>
                <c:pt idx="52">
                  <c:v>617.9365955699593</c:v>
                </c:pt>
                <c:pt idx="53">
                  <c:v>-1287.7487284729348</c:v>
                </c:pt>
                <c:pt idx="54">
                  <c:v>990.4745523143522</c:v>
                </c:pt>
              </c:numCache>
            </c:numRef>
          </c:xVal>
          <c:yVal>
            <c:numRef>
              <c:f>Sheet1!$B$187:$B$241</c:f>
              <c:numCache>
                <c:formatCode>General</c:formatCode>
                <c:ptCount val="55"/>
                <c:pt idx="0">
                  <c:v>0.08415872164968001</c:v>
                </c:pt>
                <c:pt idx="1">
                  <c:v>0.08466870041899587</c:v>
                </c:pt>
                <c:pt idx="2">
                  <c:v>0.08409856256498333</c:v>
                </c:pt>
                <c:pt idx="3">
                  <c:v>0.0837751636512087</c:v>
                </c:pt>
                <c:pt idx="4">
                  <c:v>0.08395215857486171</c:v>
                </c:pt>
                <c:pt idx="5">
                  <c:v>0.08338966236624175</c:v>
                </c:pt>
                <c:pt idx="6">
                  <c:v>0.0895603762526103</c:v>
                </c:pt>
                <c:pt idx="7">
                  <c:v>0.09347245548791697</c:v>
                </c:pt>
                <c:pt idx="8">
                  <c:v>0.08498743836741633</c:v>
                </c:pt>
                <c:pt idx="9">
                  <c:v>0.09267485083567954</c:v>
                </c:pt>
                <c:pt idx="10">
                  <c:v>0.09435000762843937</c:v>
                </c:pt>
                <c:pt idx="11">
                  <c:v>0.08391682874970062</c:v>
                </c:pt>
                <c:pt idx="12">
                  <c:v>0.08616481185297821</c:v>
                </c:pt>
                <c:pt idx="13">
                  <c:v>0.09223199581193442</c:v>
                </c:pt>
                <c:pt idx="14">
                  <c:v>0.08418085758231816</c:v>
                </c:pt>
                <c:pt idx="15">
                  <c:v>0.08897447293898288</c:v>
                </c:pt>
                <c:pt idx="16">
                  <c:v>0.0904997288000074</c:v>
                </c:pt>
                <c:pt idx="17">
                  <c:v>0.09163153976635477</c:v>
                </c:pt>
                <c:pt idx="18">
                  <c:v>0.09752410555306112</c:v>
                </c:pt>
                <c:pt idx="19">
                  <c:v>0.10402578694271361</c:v>
                </c:pt>
                <c:pt idx="20">
                  <c:v>0.10444515206478353</c:v>
                </c:pt>
                <c:pt idx="21">
                  <c:v>0.10146695592641133</c:v>
                </c:pt>
                <c:pt idx="22">
                  <c:v>0.10050435212655778</c:v>
                </c:pt>
                <c:pt idx="23">
                  <c:v>0.09873577634063355</c:v>
                </c:pt>
                <c:pt idx="24">
                  <c:v>0.08529943082261263</c:v>
                </c:pt>
                <c:pt idx="25">
                  <c:v>0.0833532269620468</c:v>
                </c:pt>
                <c:pt idx="26">
                  <c:v>0.08373396987381519</c:v>
                </c:pt>
                <c:pt idx="27">
                  <c:v>0.08283109656414302</c:v>
                </c:pt>
                <c:pt idx="28">
                  <c:v>0.09019528058235927</c:v>
                </c:pt>
                <c:pt idx="29">
                  <c:v>0.08924215456576512</c:v>
                </c:pt>
                <c:pt idx="30">
                  <c:v>0.0833885567872079</c:v>
                </c:pt>
                <c:pt idx="31">
                  <c:v>0.08365736834498509</c:v>
                </c:pt>
                <c:pt idx="32">
                  <c:v>0.08493375690437173</c:v>
                </c:pt>
                <c:pt idx="33">
                  <c:v>0.08444233919980483</c:v>
                </c:pt>
                <c:pt idx="34">
                  <c:v>0.08388646185421134</c:v>
                </c:pt>
                <c:pt idx="35">
                  <c:v>0.0827448078251881</c:v>
                </c:pt>
                <c:pt idx="36">
                  <c:v>0.08358407868286433</c:v>
                </c:pt>
                <c:pt idx="37">
                  <c:v>0.08272637339063686</c:v>
                </c:pt>
                <c:pt idx="38">
                  <c:v>0.08177330094835711</c:v>
                </c:pt>
                <c:pt idx="39">
                  <c:v>0.08071819865946867</c:v>
                </c:pt>
                <c:pt idx="40">
                  <c:v>0.07977568035712881</c:v>
                </c:pt>
                <c:pt idx="41">
                  <c:v>0.07970275110403231</c:v>
                </c:pt>
                <c:pt idx="42">
                  <c:v>0.08005822642096533</c:v>
                </c:pt>
                <c:pt idx="43">
                  <c:v>0.08129082041351321</c:v>
                </c:pt>
                <c:pt idx="44">
                  <c:v>0.08271613582619122</c:v>
                </c:pt>
                <c:pt idx="45">
                  <c:v>0.08378416900642276</c:v>
                </c:pt>
                <c:pt idx="46">
                  <c:v>0.08481704769561312</c:v>
                </c:pt>
                <c:pt idx="47">
                  <c:v>0.08540539107574256</c:v>
                </c:pt>
                <c:pt idx="48">
                  <c:v>0.08897767765706338</c:v>
                </c:pt>
                <c:pt idx="49">
                  <c:v>0.09284919139557288</c:v>
                </c:pt>
                <c:pt idx="50">
                  <c:v>0.0955912563079615</c:v>
                </c:pt>
                <c:pt idx="51">
                  <c:v>0.09378009381246893</c:v>
                </c:pt>
                <c:pt idx="52">
                  <c:v>0.12028326353617672</c:v>
                </c:pt>
                <c:pt idx="53">
                  <c:v>0.21309761328870133</c:v>
                </c:pt>
                <c:pt idx="54">
                  <c:v>0.1021392038757861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4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5861229458308"/>
          <c:min val="0.04268774703557312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8418920550908641</c:v>
                </c:pt>
                <c:pt idx="1">
                  <c:v>0.08258641167152946</c:v>
                </c:pt>
                <c:pt idx="2">
                  <c:v>0.08288646694898855</c:v>
                </c:pt>
                <c:pt idx="3">
                  <c:v>0.08879160528227688</c:v>
                </c:pt>
                <c:pt idx="4">
                  <c:v>0.08776438333330706</c:v>
                </c:pt>
                <c:pt idx="5">
                  <c:v>0.09044080623928331</c:v>
                </c:pt>
                <c:pt idx="6">
                  <c:v>0.09835372064332099</c:v>
                </c:pt>
                <c:pt idx="7">
                  <c:v>0.09243917479851102</c:v>
                </c:pt>
                <c:pt idx="8">
                  <c:v>0.08677710816476958</c:v>
                </c:pt>
                <c:pt idx="9">
                  <c:v>0.07994287598856989</c:v>
                </c:pt>
                <c:pt idx="10">
                  <c:v>0.06845063280878025</c:v>
                </c:pt>
                <c:pt idx="11">
                  <c:v>0.0715984697376827</c:v>
                </c:pt>
                <c:pt idx="12">
                  <c:v>0.06774048125699743</c:v>
                </c:pt>
                <c:pt idx="13">
                  <c:v>0.06818158025069156</c:v>
                </c:pt>
                <c:pt idx="14">
                  <c:v>0.07729020354521843</c:v>
                </c:pt>
                <c:pt idx="15">
                  <c:v>0.0762638318210874</c:v>
                </c:pt>
                <c:pt idx="16">
                  <c:v>0.08024397927328322</c:v>
                </c:pt>
                <c:pt idx="17">
                  <c:v>0.07995748523551917</c:v>
                </c:pt>
                <c:pt idx="18">
                  <c:v>0.07711816107099954</c:v>
                </c:pt>
                <c:pt idx="19">
                  <c:v>0.08160911533309774</c:v>
                </c:pt>
                <c:pt idx="20">
                  <c:v>0.08337027663975474</c:v>
                </c:pt>
                <c:pt idx="21">
                  <c:v>0.08300189421907367</c:v>
                </c:pt>
                <c:pt idx="22">
                  <c:v>0.07968717268451404</c:v>
                </c:pt>
                <c:pt idx="23">
                  <c:v>0.07992163233296666</c:v>
                </c:pt>
                <c:pt idx="24">
                  <c:v>0.07620927230373437</c:v>
                </c:pt>
                <c:pt idx="25">
                  <c:v>0.085461629483729</c:v>
                </c:pt>
                <c:pt idx="26">
                  <c:v>0.0887344057021566</c:v>
                </c:pt>
                <c:pt idx="27">
                  <c:v>0.09011164541098313</c:v>
                </c:pt>
                <c:pt idx="28">
                  <c:v>0.09242181627667699</c:v>
                </c:pt>
                <c:pt idx="29">
                  <c:v>0.0914204053230527</c:v>
                </c:pt>
                <c:pt idx="30">
                  <c:v>0.09149899645145732</c:v>
                </c:pt>
                <c:pt idx="31">
                  <c:v>0.0937720471279407</c:v>
                </c:pt>
                <c:pt idx="32">
                  <c:v>0.09239711263430218</c:v>
                </c:pt>
                <c:pt idx="33">
                  <c:v>0.09695540619369801</c:v>
                </c:pt>
                <c:pt idx="34">
                  <c:v>0.09216910709967949</c:v>
                </c:pt>
                <c:pt idx="35">
                  <c:v>0.09656347365537866</c:v>
                </c:pt>
                <c:pt idx="36">
                  <c:v>0.0978806816624699</c:v>
                </c:pt>
                <c:pt idx="37">
                  <c:v>0.09435702776906725</c:v>
                </c:pt>
                <c:pt idx="38">
                  <c:v>0.09968605129718891</c:v>
                </c:pt>
                <c:pt idx="39">
                  <c:v>0.10141360726066583</c:v>
                </c:pt>
                <c:pt idx="40">
                  <c:v>0.10643444813178522</c:v>
                </c:pt>
                <c:pt idx="41">
                  <c:v>0.11166820151589546</c:v>
                </c:pt>
                <c:pt idx="42">
                  <c:v>0.109764123072626</c:v>
                </c:pt>
                <c:pt idx="43">
                  <c:v>0.11312049362390224</c:v>
                </c:pt>
                <c:pt idx="44">
                  <c:v>0.10559499868990767</c:v>
                </c:pt>
                <c:pt idx="45">
                  <c:v>0.11383415969414462</c:v>
                </c:pt>
                <c:pt idx="46">
                  <c:v>0.10787222647489689</c:v>
                </c:pt>
                <c:pt idx="47">
                  <c:v>0.10459074497689755</c:v>
                </c:pt>
                <c:pt idx="48">
                  <c:v>0.09385373378609885</c:v>
                </c:pt>
                <c:pt idx="49">
                  <c:v>0.10344666347518733</c:v>
                </c:pt>
                <c:pt idx="50">
                  <c:v>0.09717828227268929</c:v>
                </c:pt>
                <c:pt idx="51">
                  <c:v>0.0939262139160249</c:v>
                </c:pt>
                <c:pt idx="52">
                  <c:v>0.09348011615327508</c:v>
                </c:pt>
                <c:pt idx="53">
                  <c:v>0.10664175553453262</c:v>
                </c:pt>
                <c:pt idx="54">
                  <c:v>0.10988350501397567</c:v>
                </c:pt>
                <c:pt idx="55">
                  <c:v>0.10782237858457928</c:v>
                </c:pt>
                <c:pt idx="56">
                  <c:v>0.1057695262518504</c:v>
                </c:pt>
                <c:pt idx="57">
                  <c:v>0.11259955260102233</c:v>
                </c:pt>
                <c:pt idx="58">
                  <c:v>0.10610818616979491</c:v>
                </c:pt>
                <c:pt idx="59">
                  <c:v>0.10714105992153826</c:v>
                </c:pt>
                <c:pt idx="60">
                  <c:v>0.11281314725384407</c:v>
                </c:pt>
                <c:pt idx="61">
                  <c:v>0.09849308438623891</c:v>
                </c:pt>
                <c:pt idx="62">
                  <c:v>0.0931813583975967</c:v>
                </c:pt>
                <c:pt idx="63">
                  <c:v>0.09206694098532316</c:v>
                </c:pt>
                <c:pt idx="64">
                  <c:v>0.0951513653503964</c:v>
                </c:pt>
                <c:pt idx="65">
                  <c:v>0.09689618246133545</c:v>
                </c:pt>
                <c:pt idx="66">
                  <c:v>0.10509417398632487</c:v>
                </c:pt>
                <c:pt idx="67">
                  <c:v>0.09708122399654913</c:v>
                </c:pt>
                <c:pt idx="68">
                  <c:v>0.09984166928735462</c:v>
                </c:pt>
                <c:pt idx="69">
                  <c:v>0.09894046949091842</c:v>
                </c:pt>
                <c:pt idx="70">
                  <c:v>0.1055396050123515</c:v>
                </c:pt>
                <c:pt idx="71">
                  <c:v>0.09364048703507724</c:v>
                </c:pt>
                <c:pt idx="72">
                  <c:v>0.09928335720433577</c:v>
                </c:pt>
                <c:pt idx="73">
                  <c:v>0.09793907960015415</c:v>
                </c:pt>
                <c:pt idx="74">
                  <c:v>0.10195686692050654</c:v>
                </c:pt>
                <c:pt idx="75">
                  <c:v>0.09734677810103894</c:v>
                </c:pt>
                <c:pt idx="76">
                  <c:v>0.0890962728122237</c:v>
                </c:pt>
                <c:pt idx="77">
                  <c:v>0.09145714845587083</c:v>
                </c:pt>
                <c:pt idx="78">
                  <c:v>0.09223006511396847</c:v>
                </c:pt>
                <c:pt idx="79">
                  <c:v>0.09944019776343796</c:v>
                </c:pt>
                <c:pt idx="80">
                  <c:v>0.09752010415950843</c:v>
                </c:pt>
                <c:pt idx="81">
                  <c:v>0.10753237323394993</c:v>
                </c:pt>
                <c:pt idx="82">
                  <c:v>0.100839784844414</c:v>
                </c:pt>
                <c:pt idx="83">
                  <c:v>0.1005154309881148</c:v>
                </c:pt>
                <c:pt idx="84">
                  <c:v>0.10411492065567152</c:v>
                </c:pt>
                <c:pt idx="85">
                  <c:v>0.09969051046954426</c:v>
                </c:pt>
                <c:pt idx="86">
                  <c:v>0.10349451997316267</c:v>
                </c:pt>
                <c:pt idx="87">
                  <c:v>0.09666675787320138</c:v>
                </c:pt>
                <c:pt idx="88">
                  <c:v>0.09608570704154244</c:v>
                </c:pt>
                <c:pt idx="89">
                  <c:v>0.10361304297339714</c:v>
                </c:pt>
                <c:pt idx="90">
                  <c:v>0.1011115872428874</c:v>
                </c:pt>
                <c:pt idx="91">
                  <c:v>0.10613326218319301</c:v>
                </c:pt>
                <c:pt idx="92">
                  <c:v>0.10458664100138473</c:v>
                </c:pt>
                <c:pt idx="93">
                  <c:v>0.10836586644049484</c:v>
                </c:pt>
                <c:pt idx="94">
                  <c:v>0.0993959654617037</c:v>
                </c:pt>
                <c:pt idx="95">
                  <c:v>0.09553793262895699</c:v>
                </c:pt>
                <c:pt idx="96">
                  <c:v>0.08941539795460453</c:v>
                </c:pt>
                <c:pt idx="97">
                  <c:v>0.09054239730838679</c:v>
                </c:pt>
                <c:pt idx="98">
                  <c:v>0.08859538871143802</c:v>
                </c:pt>
                <c:pt idx="99">
                  <c:v>0.0918266075707609</c:v>
                </c:pt>
                <c:pt idx="100">
                  <c:v>0.08996814747800683</c:v>
                </c:pt>
                <c:pt idx="101">
                  <c:v>0.10758505946673336</c:v>
                </c:pt>
                <c:pt idx="102">
                  <c:v>0.11031304828799428</c:v>
                </c:pt>
                <c:pt idx="103">
                  <c:v>0.09782161491624165</c:v>
                </c:pt>
                <c:pt idx="104">
                  <c:v>0.09125305126214496</c:v>
                </c:pt>
              </c:numCache>
            </c:numRef>
          </c:xVal>
          <c:yVal>
            <c:numRef>
              <c:f>Sheet1!$B$2:$B$106</c:f>
              <c:numCache>
                <c:formatCode>General</c:formatCode>
                <c:ptCount val="105"/>
                <c:pt idx="0">
                  <c:v>0.29335539012958367</c:v>
                </c:pt>
                <c:pt idx="1">
                  <c:v>0.32988435788192333</c:v>
                </c:pt>
                <c:pt idx="2">
                  <c:v>0.2962962962962963</c:v>
                </c:pt>
                <c:pt idx="3">
                  <c:v>0.2711124053581829</c:v>
                </c:pt>
                <c:pt idx="4">
                  <c:v>0.1999296022527279</c:v>
                </c:pt>
                <c:pt idx="5">
                  <c:v>0.1452455590386625</c:v>
                </c:pt>
                <c:pt idx="6">
                  <c:v>0.12973328943035892</c:v>
                </c:pt>
                <c:pt idx="7">
                  <c:v>0.10869565217391304</c:v>
                </c:pt>
                <c:pt idx="8">
                  <c:v>0.1436259670366633</c:v>
                </c:pt>
                <c:pt idx="9">
                  <c:v>0.14610207515423443</c:v>
                </c:pt>
                <c:pt idx="10">
                  <c:v>0.17722165474974463</c:v>
                </c:pt>
                <c:pt idx="11">
                  <c:v>0.17665094339622642</c:v>
                </c:pt>
                <c:pt idx="12">
                  <c:v>0.2139495079161318</c:v>
                </c:pt>
                <c:pt idx="13">
                  <c:v>0.20098159509202454</c:v>
                </c:pt>
                <c:pt idx="14">
                  <c:v>0.22036775106082038</c:v>
                </c:pt>
                <c:pt idx="15">
                  <c:v>0.20182291666666666</c:v>
                </c:pt>
                <c:pt idx="16">
                  <c:v>0.1967515688445921</c:v>
                </c:pt>
                <c:pt idx="17">
                  <c:v>0.1878967414303851</c:v>
                </c:pt>
                <c:pt idx="18">
                  <c:v>0.16448850833708878</c:v>
                </c:pt>
                <c:pt idx="19">
                  <c:v>0.15015015015015015</c:v>
                </c:pt>
                <c:pt idx="20">
                  <c:v>0.172779496243924</c:v>
                </c:pt>
                <c:pt idx="21">
                  <c:v>0.14506024096385542</c:v>
                </c:pt>
                <c:pt idx="22">
                  <c:v>0.14182939362795477</c:v>
                </c:pt>
                <c:pt idx="23">
                  <c:v>0.12834765032844872</c:v>
                </c:pt>
                <c:pt idx="24">
                  <c:v>0.14488497307880568</c:v>
                </c:pt>
                <c:pt idx="25">
                  <c:v>0.12415933781686497</c:v>
                </c:pt>
                <c:pt idx="26">
                  <c:v>0.13569844789356986</c:v>
                </c:pt>
                <c:pt idx="27">
                  <c:v>0.1498401096391046</c:v>
                </c:pt>
                <c:pt idx="28">
                  <c:v>0.15058275058275059</c:v>
                </c:pt>
                <c:pt idx="29">
                  <c:v>0.13561368209255534</c:v>
                </c:pt>
                <c:pt idx="30">
                  <c:v>0.12253164556962025</c:v>
                </c:pt>
                <c:pt idx="31">
                  <c:v>0.11024844720496894</c:v>
                </c:pt>
                <c:pt idx="32">
                  <c:v>0.11920529801324503</c:v>
                </c:pt>
                <c:pt idx="33">
                  <c:v>0.13148636763412488</c:v>
                </c:pt>
                <c:pt idx="34">
                  <c:v>0.14188615123194562</c:v>
                </c:pt>
                <c:pt idx="35">
                  <c:v>0.18617212819589485</c:v>
                </c:pt>
                <c:pt idx="36">
                  <c:v>0.1673499813641446</c:v>
                </c:pt>
                <c:pt idx="37">
                  <c:v>0.1393121462777536</c:v>
                </c:pt>
                <c:pt idx="38">
                  <c:v>0.12938689217758986</c:v>
                </c:pt>
                <c:pt idx="39">
                  <c:v>0.10777300906056271</c:v>
                </c:pt>
                <c:pt idx="40">
                  <c:v>0.12176681257461201</c:v>
                </c:pt>
                <c:pt idx="41">
                  <c:v>0.09544468546637744</c:v>
                </c:pt>
                <c:pt idx="42">
                  <c:v>0.1061493411420205</c:v>
                </c:pt>
                <c:pt idx="43">
                  <c:v>0.10782029950083195</c:v>
                </c:pt>
                <c:pt idx="44">
                  <c:v>0.14064549986880084</c:v>
                </c:pt>
                <c:pt idx="45">
                  <c:v>0.13561885555835643</c:v>
                </c:pt>
                <c:pt idx="46">
                  <c:v>0.14025455452957325</c:v>
                </c:pt>
                <c:pt idx="47">
                  <c:v>0.1368556701030928</c:v>
                </c:pt>
                <c:pt idx="48">
                  <c:v>0.1739051094890511</c:v>
                </c:pt>
                <c:pt idx="49">
                  <c:v>0.18747702487440265</c:v>
                </c:pt>
                <c:pt idx="50">
                  <c:v>0.14840777087923093</c:v>
                </c:pt>
                <c:pt idx="51">
                  <c:v>0.15249722530521642</c:v>
                </c:pt>
                <c:pt idx="52">
                  <c:v>0.185739610005909</c:v>
                </c:pt>
                <c:pt idx="53">
                  <c:v>0.14897435897435898</c:v>
                </c:pt>
                <c:pt idx="54">
                  <c:v>0.12692828146143437</c:v>
                </c:pt>
                <c:pt idx="55">
                  <c:v>0.13467536149702297</c:v>
                </c:pt>
                <c:pt idx="56">
                  <c:v>0.14375512435091556</c:v>
                </c:pt>
                <c:pt idx="57">
                  <c:v>0.13140475606766364</c:v>
                </c:pt>
                <c:pt idx="58">
                  <c:v>0.1341492115791951</c:v>
                </c:pt>
                <c:pt idx="59">
                  <c:v>0.14758751182592242</c:v>
                </c:pt>
                <c:pt idx="60">
                  <c:v>0.14428431051424828</c:v>
                </c:pt>
                <c:pt idx="61">
                  <c:v>0.1369330453563715</c:v>
                </c:pt>
                <c:pt idx="62">
                  <c:v>0.14360610895828585</c:v>
                </c:pt>
                <c:pt idx="63">
                  <c:v>0.16469691193290126</c:v>
                </c:pt>
                <c:pt idx="64">
                  <c:v>0.17001488095238096</c:v>
                </c:pt>
                <c:pt idx="65">
                  <c:v>0.17632752330766113</c:v>
                </c:pt>
                <c:pt idx="66">
                  <c:v>0.15744861199406654</c:v>
                </c:pt>
                <c:pt idx="67">
                  <c:v>0.1460649662088511</c:v>
                </c:pt>
                <c:pt idx="68">
                  <c:v>0.1361170087284737</c:v>
                </c:pt>
                <c:pt idx="69">
                  <c:v>0.11100260416666667</c:v>
                </c:pt>
                <c:pt idx="70">
                  <c:v>0.09996988858777477</c:v>
                </c:pt>
                <c:pt idx="71">
                  <c:v>0.12008599508599509</c:v>
                </c:pt>
                <c:pt idx="72">
                  <c:v>0.1247750449910018</c:v>
                </c:pt>
                <c:pt idx="73">
                  <c:v>0.11791590493601463</c:v>
                </c:pt>
                <c:pt idx="74">
                  <c:v>0.09799691833590139</c:v>
                </c:pt>
                <c:pt idx="75">
                  <c:v>0.08870680441752761</c:v>
                </c:pt>
                <c:pt idx="76">
                  <c:v>0.09396966333703292</c:v>
                </c:pt>
                <c:pt idx="77">
                  <c:v>0.08734939759036145</c:v>
                </c:pt>
                <c:pt idx="78">
                  <c:v>0.09734151329243354</c:v>
                </c:pt>
                <c:pt idx="79">
                  <c:v>0.0885917258671124</c:v>
                </c:pt>
                <c:pt idx="80">
                  <c:v>0.08336859923825646</c:v>
                </c:pt>
                <c:pt idx="81">
                  <c:v>0.07746243739565943</c:v>
                </c:pt>
                <c:pt idx="82">
                  <c:v>0.08011996572407884</c:v>
                </c:pt>
                <c:pt idx="83">
                  <c:v>0.07543216343635412</c:v>
                </c:pt>
                <c:pt idx="84">
                  <c:v>0.06610703043022036</c:v>
                </c:pt>
                <c:pt idx="85">
                  <c:v>0.05907172995780591</c:v>
                </c:pt>
                <c:pt idx="86">
                  <c:v>0.07008849557522123</c:v>
                </c:pt>
                <c:pt idx="87">
                  <c:v>0.10039440659734672</c:v>
                </c:pt>
                <c:pt idx="88">
                  <c:v>0.09121909633418585</c:v>
                </c:pt>
                <c:pt idx="89">
                  <c:v>0.0685640362225097</c:v>
                </c:pt>
                <c:pt idx="90">
                  <c:v>0.05763308402991641</c:v>
                </c:pt>
                <c:pt idx="91">
                  <c:v>0.07351676698194325</c:v>
                </c:pt>
                <c:pt idx="92">
                  <c:v>0.06567489114658925</c:v>
                </c:pt>
                <c:pt idx="93">
                  <c:v>0.06393700787401575</c:v>
                </c:pt>
                <c:pt idx="94">
                  <c:v>0.0681044267877412</c:v>
                </c:pt>
                <c:pt idx="95">
                  <c:v>0.08433031806244529</c:v>
                </c:pt>
                <c:pt idx="96">
                  <c:v>0.08319266939956595</c:v>
                </c:pt>
                <c:pt idx="97">
                  <c:v>0.08657137104892289</c:v>
                </c:pt>
                <c:pt idx="98">
                  <c:v>0.1113338192419825</c:v>
                </c:pt>
                <c:pt idx="99">
                  <c:v>0.10447257383966245</c:v>
                </c:pt>
                <c:pt idx="100">
                  <c:v>0.1383495145631068</c:v>
                </c:pt>
                <c:pt idx="101">
                  <c:v>0.09347826086956522</c:v>
                </c:pt>
                <c:pt idx="102">
                  <c:v>0.07682528151107883</c:v>
                </c:pt>
                <c:pt idx="103">
                  <c:v>0.09002479496471485</c:v>
                </c:pt>
                <c:pt idx="104">
                  <c:v>0.1083421330517423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093853847031875</c:v>
                </c:pt>
                <c:pt idx="1">
                  <c:v>0.10050866731371866</c:v>
                </c:pt>
                <c:pt idx="2">
                  <c:v>0.10625734355856407</c:v>
                </c:pt>
                <c:pt idx="3">
                  <c:v>0.09916804176748353</c:v>
                </c:pt>
                <c:pt idx="4">
                  <c:v>0.11155990981307116</c:v>
                </c:pt>
                <c:pt idx="5">
                  <c:v>0.10947349841914436</c:v>
                </c:pt>
                <c:pt idx="6">
                  <c:v>0.09713918615025191</c:v>
                </c:pt>
                <c:pt idx="7">
                  <c:v>0.09567573388010381</c:v>
                </c:pt>
                <c:pt idx="8">
                  <c:v>0.11082699312867583</c:v>
                </c:pt>
                <c:pt idx="9">
                  <c:v>0.09585830613428004</c:v>
                </c:pt>
                <c:pt idx="10">
                  <c:v>0.09438354983289683</c:v>
                </c:pt>
                <c:pt idx="11">
                  <c:v>0.11473350646964167</c:v>
                </c:pt>
                <c:pt idx="12">
                  <c:v>0.11317441853967376</c:v>
                </c:pt>
                <c:pt idx="13">
                  <c:v>0.09791072830791374</c:v>
                </c:pt>
                <c:pt idx="14">
                  <c:v>0.11461951183686896</c:v>
                </c:pt>
                <c:pt idx="15">
                  <c:v>0.09942301684495439</c:v>
                </c:pt>
                <c:pt idx="16">
                  <c:v>0.09873236891725638</c:v>
                </c:pt>
                <c:pt idx="17">
                  <c:v>0.10009235692124675</c:v>
                </c:pt>
                <c:pt idx="18">
                  <c:v>0.08381570056029859</c:v>
                </c:pt>
                <c:pt idx="19">
                  <c:v>0.0740687116694284</c:v>
                </c:pt>
                <c:pt idx="20">
                  <c:v>0.06942435086554388</c:v>
                </c:pt>
                <c:pt idx="21">
                  <c:v>0.08047293320295082</c:v>
                </c:pt>
                <c:pt idx="22">
                  <c:v>0.07886553133472597</c:v>
                </c:pt>
                <c:pt idx="23">
                  <c:v>0.08233889681053849</c:v>
                </c:pt>
                <c:pt idx="24">
                  <c:v>0.10582081621432488</c:v>
                </c:pt>
                <c:pt idx="25">
                  <c:v>0.10411294444382116</c:v>
                </c:pt>
                <c:pt idx="26">
                  <c:v>0.10915427693000236</c:v>
                </c:pt>
                <c:pt idx="27">
                  <c:v>0.10486383850433706</c:v>
                </c:pt>
                <c:pt idx="28">
                  <c:v>0.09368505399349301</c:v>
                </c:pt>
                <c:pt idx="29">
                  <c:v>0.10274059926525002</c:v>
                </c:pt>
                <c:pt idx="30">
                  <c:v>0.10341108125521396</c:v>
                </c:pt>
                <c:pt idx="31">
                  <c:v>0.10959056365294464</c:v>
                </c:pt>
                <c:pt idx="32">
                  <c:v>0.10362829003492978</c:v>
                </c:pt>
                <c:pt idx="33">
                  <c:v>0.10525744383558101</c:v>
                </c:pt>
                <c:pt idx="34">
                  <c:v>0.10873362682608186</c:v>
                </c:pt>
                <c:pt idx="35">
                  <c:v>0.11641954229052487</c:v>
                </c:pt>
                <c:pt idx="36">
                  <c:v>0.10874314045138123</c:v>
                </c:pt>
                <c:pt idx="37">
                  <c:v>0.10856448786142076</c:v>
                </c:pt>
                <c:pt idx="38">
                  <c:v>0.11545089232191748</c:v>
                </c:pt>
                <c:pt idx="39">
                  <c:v>0.11067977272619113</c:v>
                </c:pt>
                <c:pt idx="40">
                  <c:v>0.11496297688523667</c:v>
                </c:pt>
                <c:pt idx="41">
                  <c:v>0.11582772994483279</c:v>
                </c:pt>
                <c:pt idx="42">
                  <c:v>0.11818973016170314</c:v>
                </c:pt>
                <c:pt idx="43">
                  <c:v>0.1156248298991526</c:v>
                </c:pt>
                <c:pt idx="44">
                  <c:v>0.1125668394104723</c:v>
                </c:pt>
                <c:pt idx="45">
                  <c:v>0.1166523410380108</c:v>
                </c:pt>
                <c:pt idx="46">
                  <c:v>0.11339937093341729</c:v>
                </c:pt>
                <c:pt idx="47">
                  <c:v>0.11458725608634399</c:v>
                </c:pt>
                <c:pt idx="48">
                  <c:v>0.11298931516013755</c:v>
                </c:pt>
                <c:pt idx="49">
                  <c:v>0.1112935540720111</c:v>
                </c:pt>
                <c:pt idx="50">
                  <c:v>0.1112763340921775</c:v>
                </c:pt>
                <c:pt idx="51">
                  <c:v>0.10215923171289715</c:v>
                </c:pt>
              </c:numCache>
            </c:numRef>
          </c:xVal>
          <c:yVal>
            <c:numRef>
              <c:f>Sheet1!$B$109:$B$160</c:f>
              <c:numCache>
                <c:formatCode>General</c:formatCode>
                <c:ptCount val="52"/>
                <c:pt idx="0">
                  <c:v>0.10245310245310245</c:v>
                </c:pt>
                <c:pt idx="1">
                  <c:v>0.09077537297751628</c:v>
                </c:pt>
                <c:pt idx="2">
                  <c:v>0.09115646258503401</c:v>
                </c:pt>
                <c:pt idx="3">
                  <c:v>0.09265473527218494</c:v>
                </c:pt>
                <c:pt idx="4">
                  <c:v>0.08411764705882353</c:v>
                </c:pt>
                <c:pt idx="5">
                  <c:v>0.0764626375748214</c:v>
                </c:pt>
                <c:pt idx="6">
                  <c:v>0.08995596561123925</c:v>
                </c:pt>
                <c:pt idx="7">
                  <c:v>0.10643077787138444</c:v>
                </c:pt>
                <c:pt idx="8">
                  <c:v>0.08466819221967964</c:v>
                </c:pt>
                <c:pt idx="9">
                  <c:v>0.0892018779342723</c:v>
                </c:pt>
                <c:pt idx="10">
                  <c:v>0.09979317476732161</c:v>
                </c:pt>
                <c:pt idx="11">
                  <c:v>0.09794490599038042</c:v>
                </c:pt>
                <c:pt idx="12">
                  <c:v>0.09792886087348042</c:v>
                </c:pt>
                <c:pt idx="13">
                  <c:v>0.09246880570409982</c:v>
                </c:pt>
                <c:pt idx="14">
                  <c:v>0.08679525222551929</c:v>
                </c:pt>
                <c:pt idx="15">
                  <c:v>0.08375634517766498</c:v>
                </c:pt>
                <c:pt idx="16">
                  <c:v>0.08636239409674774</c:v>
                </c:pt>
                <c:pt idx="17">
                  <c:v>0.08074534161490683</c:v>
                </c:pt>
                <c:pt idx="18">
                  <c:v>0.09015829318651067</c:v>
                </c:pt>
                <c:pt idx="19">
                  <c:v>0.10430706123644887</c:v>
                </c:pt>
                <c:pt idx="20">
                  <c:v>0.09464508094645081</c:v>
                </c:pt>
                <c:pt idx="21">
                  <c:v>0.10082709728239464</c:v>
                </c:pt>
                <c:pt idx="22">
                  <c:v>0.09673518742442563</c:v>
                </c:pt>
                <c:pt idx="23">
                  <c:v>0.07884856070087609</c:v>
                </c:pt>
                <c:pt idx="24">
                  <c:v>0.0686626746506986</c:v>
                </c:pt>
                <c:pt idx="25">
                  <c:v>0.06903945111492281</c:v>
                </c:pt>
                <c:pt idx="26">
                  <c:v>0.06201550387596899</c:v>
                </c:pt>
                <c:pt idx="27">
                  <c:v>0.06075471698113208</c:v>
                </c:pt>
                <c:pt idx="28">
                  <c:v>0.05362462760675273</c:v>
                </c:pt>
                <c:pt idx="29">
                  <c:v>0.05612244897959184</c:v>
                </c:pt>
                <c:pt idx="30">
                  <c:v>0.062320623206232065</c:v>
                </c:pt>
                <c:pt idx="31">
                  <c:v>0.06033318325078793</c:v>
                </c:pt>
                <c:pt idx="32">
                  <c:v>0.0533596837944664</c:v>
                </c:pt>
                <c:pt idx="33">
                  <c:v>0.07414910858995137</c:v>
                </c:pt>
                <c:pt idx="34">
                  <c:v>0.08681384248210024</c:v>
                </c:pt>
                <c:pt idx="35">
                  <c:v>0.09665792922673656</c:v>
                </c:pt>
                <c:pt idx="36">
                  <c:v>0.06567593480345159</c:v>
                </c:pt>
                <c:pt idx="37">
                  <c:v>0.0794646591384358</c:v>
                </c:pt>
                <c:pt idx="38">
                  <c:v>0.08265213442325159</c:v>
                </c:pt>
                <c:pt idx="39">
                  <c:v>0.1054072553045859</c:v>
                </c:pt>
                <c:pt idx="40">
                  <c:v>0.08571428571428572</c:v>
                </c:pt>
                <c:pt idx="41">
                  <c:v>0.08518518518518518</c:v>
                </c:pt>
                <c:pt idx="42">
                  <c:v>0.07456140350877193</c:v>
                </c:pt>
                <c:pt idx="43">
                  <c:v>0.09136295556665003</c:v>
                </c:pt>
                <c:pt idx="44">
                  <c:v>0.09131640708342223</c:v>
                </c:pt>
                <c:pt idx="45">
                  <c:v>0.11268603827072998</c:v>
                </c:pt>
                <c:pt idx="46">
                  <c:v>0.09639564124056998</c:v>
                </c:pt>
                <c:pt idx="47">
                  <c:v>0.10404742436631234</c:v>
                </c:pt>
                <c:pt idx="48">
                  <c:v>0.09787530477185649</c:v>
                </c:pt>
                <c:pt idx="49">
                  <c:v>0.10645859085290482</c:v>
                </c:pt>
                <c:pt idx="50">
                  <c:v>0.15558218494108247</c:v>
                </c:pt>
                <c:pt idx="51">
                  <c:v>0.1212169735788630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6.970566442131536</c:v>
                </c:pt>
              </c:numCache>
            </c:numRef>
          </c:xVal>
          <c:yVal>
            <c:numRef>
              <c:f>Sheet1!$B$163:$B$164</c:f>
              <c:numCache>
                <c:formatCode>General</c:formatCode>
                <c:ptCount val="2"/>
                <c:pt idx="0">
                  <c:v>0.21309761328870133</c:v>
                </c:pt>
                <c:pt idx="1">
                  <c:v>0.2130976132887013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6.970566442131536</c:v>
                </c:pt>
                <c:pt idx="1">
                  <c:v>-6.970566442131536</c:v>
                </c:pt>
              </c:numCache>
            </c:numRef>
          </c:xVal>
          <c:yVal>
            <c:numRef>
              <c:f>Sheet1!$B$167:$B$168</c:f>
              <c:numCache>
                <c:formatCode>General</c:formatCode>
                <c:ptCount val="2"/>
                <c:pt idx="0">
                  <c:v>0.2130976132887013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356536897692665</c:v>
                </c:pt>
              </c:numCache>
            </c:numRef>
          </c:xVal>
          <c:yVal>
            <c:numRef>
              <c:f>Sheet1!$B$171:$B$172</c:f>
              <c:numCache>
                <c:formatCode>General</c:formatCode>
                <c:ptCount val="2"/>
                <c:pt idx="0">
                  <c:v>0.12028326353617672</c:v>
                </c:pt>
                <c:pt idx="1">
                  <c:v>0.1202832635361767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356536897692665</c:v>
                </c:pt>
                <c:pt idx="1">
                  <c:v>-1.7356536897692665</c:v>
                </c:pt>
              </c:numCache>
            </c:numRef>
          </c:xVal>
          <c:yVal>
            <c:numRef>
              <c:f>Sheet1!$B$175:$B$176</c:f>
              <c:numCache>
                <c:formatCode>General</c:formatCode>
                <c:ptCount val="2"/>
                <c:pt idx="0">
                  <c:v>0.1202832635361767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122928673419485</c:v>
                </c:pt>
              </c:numCache>
            </c:numRef>
          </c:xVal>
          <c:yVal>
            <c:numRef>
              <c:f>Sheet1!$B$179:$B$180</c:f>
              <c:numCache>
                <c:formatCode>General</c:formatCode>
                <c:ptCount val="2"/>
                <c:pt idx="0">
                  <c:v>0.10213920387578616</c:v>
                </c:pt>
                <c:pt idx="1">
                  <c:v>0.1021392038757861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122928673419485</c:v>
                </c:pt>
                <c:pt idx="1">
                  <c:v>-0.7122928673419485</c:v>
                </c:pt>
              </c:numCache>
            </c:numRef>
          </c:xVal>
          <c:yVal>
            <c:numRef>
              <c:f>Sheet1!$B$183:$B$184</c:f>
              <c:numCache>
                <c:formatCode>General</c:formatCode>
                <c:ptCount val="2"/>
                <c:pt idx="0">
                  <c:v>0.1021392038757861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093853847031875</c:v>
                </c:pt>
                <c:pt idx="1">
                  <c:v>0.10050866731371866</c:v>
                </c:pt>
                <c:pt idx="2">
                  <c:v>0.10625734355856407</c:v>
                </c:pt>
                <c:pt idx="3">
                  <c:v>0.09916804176748353</c:v>
                </c:pt>
                <c:pt idx="4">
                  <c:v>0.11155990981307116</c:v>
                </c:pt>
                <c:pt idx="5">
                  <c:v>0.10947349841914436</c:v>
                </c:pt>
                <c:pt idx="6">
                  <c:v>0.09713918615025191</c:v>
                </c:pt>
                <c:pt idx="7">
                  <c:v>0.09567573388010381</c:v>
                </c:pt>
                <c:pt idx="8">
                  <c:v>0.11082699312867583</c:v>
                </c:pt>
                <c:pt idx="9">
                  <c:v>0.09585830613428004</c:v>
                </c:pt>
                <c:pt idx="10">
                  <c:v>0.09438354983289683</c:v>
                </c:pt>
                <c:pt idx="11">
                  <c:v>0.11473350646964167</c:v>
                </c:pt>
                <c:pt idx="12">
                  <c:v>0.11317441853967376</c:v>
                </c:pt>
                <c:pt idx="13">
                  <c:v>0.09791072830791374</c:v>
                </c:pt>
                <c:pt idx="14">
                  <c:v>0.11461951183686896</c:v>
                </c:pt>
                <c:pt idx="15">
                  <c:v>0.09942301684495439</c:v>
                </c:pt>
                <c:pt idx="16">
                  <c:v>0.09873236891725638</c:v>
                </c:pt>
                <c:pt idx="17">
                  <c:v>0.10009235692124675</c:v>
                </c:pt>
                <c:pt idx="18">
                  <c:v>0.08381570056029859</c:v>
                </c:pt>
                <c:pt idx="19">
                  <c:v>0.0740687116694284</c:v>
                </c:pt>
                <c:pt idx="20">
                  <c:v>0.06942435086554388</c:v>
                </c:pt>
                <c:pt idx="21">
                  <c:v>0.08047293320295082</c:v>
                </c:pt>
                <c:pt idx="22">
                  <c:v>0.07886553133472597</c:v>
                </c:pt>
                <c:pt idx="23">
                  <c:v>0.08233889681053849</c:v>
                </c:pt>
                <c:pt idx="24">
                  <c:v>0.10582081621432488</c:v>
                </c:pt>
                <c:pt idx="25">
                  <c:v>0.10411294444382116</c:v>
                </c:pt>
                <c:pt idx="26">
                  <c:v>0.10915427693000236</c:v>
                </c:pt>
                <c:pt idx="27">
                  <c:v>0.10486383850433706</c:v>
                </c:pt>
                <c:pt idx="28">
                  <c:v>0.09368505399349301</c:v>
                </c:pt>
                <c:pt idx="29">
                  <c:v>0.10274059926525002</c:v>
                </c:pt>
                <c:pt idx="30">
                  <c:v>0.10341108125521396</c:v>
                </c:pt>
                <c:pt idx="31">
                  <c:v>0.10959056365294464</c:v>
                </c:pt>
                <c:pt idx="32">
                  <c:v>0.10362829003492978</c:v>
                </c:pt>
                <c:pt idx="33">
                  <c:v>0.10525744383558101</c:v>
                </c:pt>
                <c:pt idx="34">
                  <c:v>0.10873362682608186</c:v>
                </c:pt>
                <c:pt idx="35">
                  <c:v>0.11641954229052487</c:v>
                </c:pt>
                <c:pt idx="36">
                  <c:v>0.10874314045138123</c:v>
                </c:pt>
                <c:pt idx="37">
                  <c:v>0.10856448786142076</c:v>
                </c:pt>
                <c:pt idx="38">
                  <c:v>0.11545089232191748</c:v>
                </c:pt>
                <c:pt idx="39">
                  <c:v>0.11067977272619113</c:v>
                </c:pt>
                <c:pt idx="40">
                  <c:v>0.11496297688523667</c:v>
                </c:pt>
                <c:pt idx="41">
                  <c:v>0.11582772994483279</c:v>
                </c:pt>
                <c:pt idx="42">
                  <c:v>0.11818973016170314</c:v>
                </c:pt>
                <c:pt idx="43">
                  <c:v>0.1156248298991526</c:v>
                </c:pt>
                <c:pt idx="44">
                  <c:v>0.1125668394104723</c:v>
                </c:pt>
                <c:pt idx="45">
                  <c:v>0.1166523410380108</c:v>
                </c:pt>
                <c:pt idx="46">
                  <c:v>0.11339937093341729</c:v>
                </c:pt>
                <c:pt idx="47">
                  <c:v>0.11458725608634399</c:v>
                </c:pt>
                <c:pt idx="48">
                  <c:v>0.11298931516013755</c:v>
                </c:pt>
                <c:pt idx="49">
                  <c:v>0.1112935540720111</c:v>
                </c:pt>
                <c:pt idx="50">
                  <c:v>0.1112763340921775</c:v>
                </c:pt>
                <c:pt idx="51">
                  <c:v>0.10215923171289715</c:v>
                </c:pt>
                <c:pt idx="52">
                  <c:v>-1.7356536897692665</c:v>
                </c:pt>
                <c:pt idx="53">
                  <c:v>-6.970566442131536</c:v>
                </c:pt>
                <c:pt idx="54">
                  <c:v>-0.7122928673419485</c:v>
                </c:pt>
              </c:numCache>
            </c:numRef>
          </c:xVal>
          <c:yVal>
            <c:numRef>
              <c:f>Sheet1!$B$187:$B$241</c:f>
              <c:numCache>
                <c:formatCode>General</c:formatCode>
                <c:ptCount val="55"/>
                <c:pt idx="0">
                  <c:v>0.08757095101714087</c:v>
                </c:pt>
                <c:pt idx="1">
                  <c:v>0.08772833410859138</c:v>
                </c:pt>
                <c:pt idx="2">
                  <c:v>0.08762641079623773</c:v>
                </c:pt>
                <c:pt idx="3">
                  <c:v>0.08775210323220844</c:v>
                </c:pt>
                <c:pt idx="4">
                  <c:v>0.08753239695833573</c:v>
                </c:pt>
                <c:pt idx="5">
                  <c:v>0.08756938877195405</c:v>
                </c:pt>
                <c:pt idx="6">
                  <c:v>0.08778807458908926</c:v>
                </c:pt>
                <c:pt idx="7">
                  <c:v>0.08781402141519182</c:v>
                </c:pt>
                <c:pt idx="8">
                  <c:v>0.08754539147967788</c:v>
                </c:pt>
                <c:pt idx="9">
                  <c:v>0.08781078443191133</c:v>
                </c:pt>
                <c:pt idx="10">
                  <c:v>0.08783693167707689</c:v>
                </c:pt>
                <c:pt idx="11">
                  <c:v>0.08747612948569762</c:v>
                </c:pt>
                <c:pt idx="12">
                  <c:v>0.08750377192011292</c:v>
                </c:pt>
                <c:pt idx="13">
                  <c:v>0.08777439524292675</c:v>
                </c:pt>
                <c:pt idx="14">
                  <c:v>0.0874781505963095</c:v>
                </c:pt>
                <c:pt idx="15">
                  <c:v>0.08774758255590723</c:v>
                </c:pt>
                <c:pt idx="16">
                  <c:v>0.08775982765746852</c:v>
                </c:pt>
                <c:pt idx="17">
                  <c:v>0.087735715239892</c:v>
                </c:pt>
                <c:pt idx="18">
                  <c:v>0.08802429832575241</c:v>
                </c:pt>
                <c:pt idx="19">
                  <c:v>0.08819711122230794</c:v>
                </c:pt>
                <c:pt idx="20">
                  <c:v>0.08827945515971819</c:v>
                </c:pt>
                <c:pt idx="21">
                  <c:v>0.08808356517380182</c:v>
                </c:pt>
                <c:pt idx="22">
                  <c:v>0.08811206420831257</c:v>
                </c:pt>
                <c:pt idx="23">
                  <c:v>0.08805048187192216</c:v>
                </c:pt>
                <c:pt idx="24">
                  <c:v>0.08763415037157</c:v>
                </c:pt>
                <c:pt idx="25">
                  <c:v>0.08766443072490893</c:v>
                </c:pt>
                <c:pt idx="26">
                  <c:v>0.08757504852911588</c:v>
                </c:pt>
                <c:pt idx="27">
                  <c:v>0.08765111746693183</c:v>
                </c:pt>
                <c:pt idx="28">
                  <c:v>0.08784931592113326</c:v>
                </c:pt>
                <c:pt idx="29">
                  <c:v>0.08768876223364852</c:v>
                </c:pt>
                <c:pt idx="30">
                  <c:v>0.08767687467164642</c:v>
                </c:pt>
                <c:pt idx="31">
                  <c:v>0.08756731321996918</c:v>
                </c:pt>
                <c:pt idx="32">
                  <c:v>0.08767302358709095</c:v>
                </c:pt>
                <c:pt idx="33">
                  <c:v>0.08764413889353306</c:v>
                </c:pt>
                <c:pt idx="34">
                  <c:v>0.08758250660295887</c:v>
                </c:pt>
                <c:pt idx="35">
                  <c:v>0.08744623628102022</c:v>
                </c:pt>
                <c:pt idx="36">
                  <c:v>0.08758233792756967</c:v>
                </c:pt>
                <c:pt idx="37">
                  <c:v>0.08758550541569281</c:v>
                </c:pt>
                <c:pt idx="38">
                  <c:v>0.08746341032407061</c:v>
                </c:pt>
                <c:pt idx="39">
                  <c:v>0.08754800167903999</c:v>
                </c:pt>
                <c:pt idx="40">
                  <c:v>0.08747206100386834</c:v>
                </c:pt>
                <c:pt idx="41">
                  <c:v>0.0874567290400478</c:v>
                </c:pt>
                <c:pt idx="42">
                  <c:v>0.08741485107099373</c:v>
                </c:pt>
                <c:pt idx="43">
                  <c:v>0.08746032643253462</c:v>
                </c:pt>
                <c:pt idx="44">
                  <c:v>0.08751454422224433</c:v>
                </c:pt>
                <c:pt idx="45">
                  <c:v>0.0874421087882819</c:v>
                </c:pt>
                <c:pt idx="46">
                  <c:v>0.08749978354224719</c:v>
                </c:pt>
                <c:pt idx="47">
                  <c:v>0.08747872248674061</c:v>
                </c:pt>
                <c:pt idx="48">
                  <c:v>0.08750705377993015</c:v>
                </c:pt>
                <c:pt idx="49">
                  <c:v>0.08753711941238201</c:v>
                </c:pt>
                <c:pt idx="50">
                  <c:v>0.08753742472047531</c:v>
                </c:pt>
                <c:pt idx="51">
                  <c:v>0.08769906980779377</c:v>
                </c:pt>
                <c:pt idx="52">
                  <c:v>0.12028326353617672</c:v>
                </c:pt>
                <c:pt idx="53">
                  <c:v>0.21309761328870133</c:v>
                </c:pt>
                <c:pt idx="54">
                  <c:v>0.1021392038757861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5861229458308"/>
          <c:min val="0.04268774703557312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97.89</c:v>
                </c:pt>
                <c:pt idx="1">
                  <c:v>908.2528</c:v>
                </c:pt>
                <c:pt idx="2">
                  <c:v>906.3665</c:v>
                </c:pt>
                <c:pt idx="3">
                  <c:v>917.2825</c:v>
                </c:pt>
                <c:pt idx="4">
                  <c:v>957.8556</c:v>
                </c:pt>
                <c:pt idx="5">
                  <c:v>1010.1775</c:v>
                </c:pt>
                <c:pt idx="6">
                  <c:v>1049.8655</c:v>
                </c:pt>
                <c:pt idx="7">
                  <c:v>1046.2393</c:v>
                </c:pt>
                <c:pt idx="8">
                  <c:v>1027.178</c:v>
                </c:pt>
                <c:pt idx="9">
                  <c:v>902.9328</c:v>
                </c:pt>
                <c:pt idx="10">
                  <c:v>817.7233</c:v>
                </c:pt>
                <c:pt idx="11">
                  <c:v>818.9386</c:v>
                </c:pt>
                <c:pt idx="12">
                  <c:v>809.366</c:v>
                </c:pt>
                <c:pt idx="13">
                  <c:v>812.7888</c:v>
                </c:pt>
                <c:pt idx="14">
                  <c:v>999.8447</c:v>
                </c:pt>
                <c:pt idx="15">
                  <c:v>1006.9677</c:v>
                </c:pt>
                <c:pt idx="16">
                  <c:v>1023.2608</c:v>
                </c:pt>
                <c:pt idx="17">
                  <c:v>1022.1149</c:v>
                </c:pt>
                <c:pt idx="18">
                  <c:v>1018.7096</c:v>
                </c:pt>
                <c:pt idx="19">
                  <c:v>1041.96</c:v>
                </c:pt>
                <c:pt idx="20">
                  <c:v>1081.8849</c:v>
                </c:pt>
                <c:pt idx="21">
                  <c:v>1062.3189</c:v>
                </c:pt>
                <c:pt idx="22">
                  <c:v>1067.7862</c:v>
                </c:pt>
                <c:pt idx="23">
                  <c:v>1065.5787</c:v>
                </c:pt>
                <c:pt idx="24">
                  <c:v>1068.7568</c:v>
                </c:pt>
                <c:pt idx="25">
                  <c:v>1085.0042</c:v>
                </c:pt>
                <c:pt idx="26">
                  <c:v>1080.634</c:v>
                </c:pt>
                <c:pt idx="27">
                  <c:v>1082.8354</c:v>
                </c:pt>
                <c:pt idx="28">
                  <c:v>1070.5759</c:v>
                </c:pt>
                <c:pt idx="29">
                  <c:v>1105.9228</c:v>
                </c:pt>
                <c:pt idx="30">
                  <c:v>1124.3347</c:v>
                </c:pt>
                <c:pt idx="31">
                  <c:v>1122.8592</c:v>
                </c:pt>
                <c:pt idx="32">
                  <c:v>1112.4573</c:v>
                </c:pt>
                <c:pt idx="33">
                  <c:v>1103.3077</c:v>
                </c:pt>
                <c:pt idx="34">
                  <c:v>1103.7275</c:v>
                </c:pt>
                <c:pt idx="35">
                  <c:v>1120.0406</c:v>
                </c:pt>
                <c:pt idx="36">
                  <c:v>1133.9822</c:v>
                </c:pt>
                <c:pt idx="37">
                  <c:v>1142.65</c:v>
                </c:pt>
                <c:pt idx="38">
                  <c:v>1154.6928</c:v>
                </c:pt>
                <c:pt idx="39">
                  <c:v>1243.3319</c:v>
                </c:pt>
                <c:pt idx="40">
                  <c:v>1315.415</c:v>
                </c:pt>
                <c:pt idx="41">
                  <c:v>1324.2773</c:v>
                </c:pt>
                <c:pt idx="42">
                  <c:v>1323.4069</c:v>
                </c:pt>
                <c:pt idx="43">
                  <c:v>1306.6636</c:v>
                </c:pt>
                <c:pt idx="44">
                  <c:v>1275.5541</c:v>
                </c:pt>
                <c:pt idx="45">
                  <c:v>1246.8903</c:v>
                </c:pt>
                <c:pt idx="46">
                  <c:v>1194.9235</c:v>
                </c:pt>
                <c:pt idx="47">
                  <c:v>1173.6761</c:v>
                </c:pt>
                <c:pt idx="48">
                  <c:v>1032.8069</c:v>
                </c:pt>
                <c:pt idx="49">
                  <c:v>1001.9627</c:v>
                </c:pt>
                <c:pt idx="50">
                  <c:v>1052.7045</c:v>
                </c:pt>
                <c:pt idx="51">
                  <c:v>1011.6259</c:v>
                </c:pt>
                <c:pt idx="52">
                  <c:v>1000.2694</c:v>
                </c:pt>
                <c:pt idx="53">
                  <c:v>1213.3976</c:v>
                </c:pt>
                <c:pt idx="54">
                  <c:v>1235.6333</c:v>
                </c:pt>
                <c:pt idx="55">
                  <c:v>1213.3137</c:v>
                </c:pt>
                <c:pt idx="56">
                  <c:v>1200.8707</c:v>
                </c:pt>
                <c:pt idx="57">
                  <c:v>1238.3563</c:v>
                </c:pt>
                <c:pt idx="58">
                  <c:v>1241.0211</c:v>
                </c:pt>
                <c:pt idx="59">
                  <c:v>1247.2276</c:v>
                </c:pt>
                <c:pt idx="60">
                  <c:v>1258.1271</c:v>
                </c:pt>
                <c:pt idx="61">
                  <c:v>1187.0931</c:v>
                </c:pt>
                <c:pt idx="62">
                  <c:v>1093.5524</c:v>
                </c:pt>
                <c:pt idx="63">
                  <c:v>1055.6157</c:v>
                </c:pt>
                <c:pt idx="64">
                  <c:v>1052.0197</c:v>
                </c:pt>
                <c:pt idx="65">
                  <c:v>1057.2816</c:v>
                </c:pt>
                <c:pt idx="66">
                  <c:v>1166.4993</c:v>
                </c:pt>
                <c:pt idx="67">
                  <c:v>1192.7179</c:v>
                </c:pt>
                <c:pt idx="68">
                  <c:v>1167.5615</c:v>
                </c:pt>
                <c:pt idx="69">
                  <c:v>1209.8152</c:v>
                </c:pt>
                <c:pt idx="70">
                  <c:v>1234.4699</c:v>
                </c:pt>
                <c:pt idx="71">
                  <c:v>1145.7417</c:v>
                </c:pt>
                <c:pt idx="72">
                  <c:v>1181.2019</c:v>
                </c:pt>
                <c:pt idx="73">
                  <c:v>1219.7959</c:v>
                </c:pt>
                <c:pt idx="74">
                  <c:v>1224.9906</c:v>
                </c:pt>
                <c:pt idx="75">
                  <c:v>1229.4699</c:v>
                </c:pt>
                <c:pt idx="76">
                  <c:v>1164.0591</c:v>
                </c:pt>
                <c:pt idx="77">
                  <c:v>1166.8103</c:v>
                </c:pt>
                <c:pt idx="78">
                  <c:v>1181.5168</c:v>
                </c:pt>
                <c:pt idx="79">
                  <c:v>1271.316</c:v>
                </c:pt>
                <c:pt idx="80">
                  <c:v>1275.7817</c:v>
                </c:pt>
                <c:pt idx="81">
                  <c:v>1338.7888</c:v>
                </c:pt>
                <c:pt idx="82">
                  <c:v>1314.0749</c:v>
                </c:pt>
                <c:pt idx="83">
                  <c:v>1269.7569</c:v>
                </c:pt>
                <c:pt idx="84">
                  <c:v>1306.4286</c:v>
                </c:pt>
                <c:pt idx="85">
                  <c:v>1315.9206</c:v>
                </c:pt>
                <c:pt idx="86">
                  <c:v>1328.3636</c:v>
                </c:pt>
                <c:pt idx="87">
                  <c:v>1335.0786</c:v>
                </c:pt>
                <c:pt idx="88">
                  <c:v>1313.0467</c:v>
                </c:pt>
                <c:pt idx="89">
                  <c:v>1347.8239</c:v>
                </c:pt>
                <c:pt idx="90">
                  <c:v>1312.6947</c:v>
                </c:pt>
                <c:pt idx="91">
                  <c:v>1323.3392</c:v>
                </c:pt>
                <c:pt idx="92">
                  <c:v>1355.9724</c:v>
                </c:pt>
                <c:pt idx="93">
                  <c:v>1343.3547</c:v>
                </c:pt>
                <c:pt idx="94">
                  <c:v>1222.1944</c:v>
                </c:pt>
                <c:pt idx="95">
                  <c:v>1250.5536</c:v>
                </c:pt>
                <c:pt idx="96">
                  <c:v>1118.258</c:v>
                </c:pt>
                <c:pt idx="97">
                  <c:v>1187.2581</c:v>
                </c:pt>
                <c:pt idx="98">
                  <c:v>1114.7054</c:v>
                </c:pt>
                <c:pt idx="99">
                  <c:v>1141.1777</c:v>
                </c:pt>
                <c:pt idx="100">
                  <c:v>1056.8655</c:v>
                </c:pt>
                <c:pt idx="101">
                  <c:v>1310.4922</c:v>
                </c:pt>
                <c:pt idx="102">
                  <c:v>1319.1631</c:v>
                </c:pt>
                <c:pt idx="103">
                  <c:v>1174.7076</c:v>
                </c:pt>
                <c:pt idx="104">
                  <c:v>1163.7914</c:v>
                </c:pt>
              </c:numCache>
            </c:numRef>
          </c:xVal>
          <c:yVal>
            <c:numRef>
              <c:f>Sheet1!$B$2:$B$106</c:f>
              <c:numCache>
                <c:formatCode>General</c:formatCode>
                <c:ptCount val="105"/>
                <c:pt idx="0">
                  <c:v>0.29335539012958367</c:v>
                </c:pt>
                <c:pt idx="1">
                  <c:v>0.32988435788192333</c:v>
                </c:pt>
                <c:pt idx="2">
                  <c:v>0.2962962962962963</c:v>
                </c:pt>
                <c:pt idx="3">
                  <c:v>0.2711124053581829</c:v>
                </c:pt>
                <c:pt idx="4">
                  <c:v>0.1999296022527279</c:v>
                </c:pt>
                <c:pt idx="5">
                  <c:v>0.1452455590386625</c:v>
                </c:pt>
                <c:pt idx="6">
                  <c:v>0.12973328943035892</c:v>
                </c:pt>
                <c:pt idx="7">
                  <c:v>0.10869565217391304</c:v>
                </c:pt>
                <c:pt idx="8">
                  <c:v>0.1436259670366633</c:v>
                </c:pt>
                <c:pt idx="9">
                  <c:v>0.14610207515423443</c:v>
                </c:pt>
                <c:pt idx="10">
                  <c:v>0.17722165474974463</c:v>
                </c:pt>
                <c:pt idx="11">
                  <c:v>0.17665094339622642</c:v>
                </c:pt>
                <c:pt idx="12">
                  <c:v>0.2139495079161318</c:v>
                </c:pt>
                <c:pt idx="13">
                  <c:v>0.20098159509202454</c:v>
                </c:pt>
                <c:pt idx="14">
                  <c:v>0.22036775106082038</c:v>
                </c:pt>
                <c:pt idx="15">
                  <c:v>0.20182291666666666</c:v>
                </c:pt>
                <c:pt idx="16">
                  <c:v>0.1967515688445921</c:v>
                </c:pt>
                <c:pt idx="17">
                  <c:v>0.1878967414303851</c:v>
                </c:pt>
                <c:pt idx="18">
                  <c:v>0.16448850833708878</c:v>
                </c:pt>
                <c:pt idx="19">
                  <c:v>0.15015015015015015</c:v>
                </c:pt>
                <c:pt idx="20">
                  <c:v>0.172779496243924</c:v>
                </c:pt>
                <c:pt idx="21">
                  <c:v>0.14506024096385542</c:v>
                </c:pt>
                <c:pt idx="22">
                  <c:v>0.14182939362795477</c:v>
                </c:pt>
                <c:pt idx="23">
                  <c:v>0.12834765032844872</c:v>
                </c:pt>
                <c:pt idx="24">
                  <c:v>0.14488497307880568</c:v>
                </c:pt>
                <c:pt idx="25">
                  <c:v>0.12415933781686497</c:v>
                </c:pt>
                <c:pt idx="26">
                  <c:v>0.13569844789356986</c:v>
                </c:pt>
                <c:pt idx="27">
                  <c:v>0.1498401096391046</c:v>
                </c:pt>
                <c:pt idx="28">
                  <c:v>0.15058275058275059</c:v>
                </c:pt>
                <c:pt idx="29">
                  <c:v>0.13561368209255534</c:v>
                </c:pt>
                <c:pt idx="30">
                  <c:v>0.12253164556962025</c:v>
                </c:pt>
                <c:pt idx="31">
                  <c:v>0.11024844720496894</c:v>
                </c:pt>
                <c:pt idx="32">
                  <c:v>0.11920529801324503</c:v>
                </c:pt>
                <c:pt idx="33">
                  <c:v>0.13148636763412488</c:v>
                </c:pt>
                <c:pt idx="34">
                  <c:v>0.14188615123194562</c:v>
                </c:pt>
                <c:pt idx="35">
                  <c:v>0.18617212819589485</c:v>
                </c:pt>
                <c:pt idx="36">
                  <c:v>0.1673499813641446</c:v>
                </c:pt>
                <c:pt idx="37">
                  <c:v>0.1393121462777536</c:v>
                </c:pt>
                <c:pt idx="38">
                  <c:v>0.12938689217758986</c:v>
                </c:pt>
                <c:pt idx="39">
                  <c:v>0.10777300906056271</c:v>
                </c:pt>
                <c:pt idx="40">
                  <c:v>0.12176681257461201</c:v>
                </c:pt>
                <c:pt idx="41">
                  <c:v>0.09544468546637744</c:v>
                </c:pt>
                <c:pt idx="42">
                  <c:v>0.1061493411420205</c:v>
                </c:pt>
                <c:pt idx="43">
                  <c:v>0.10782029950083195</c:v>
                </c:pt>
                <c:pt idx="44">
                  <c:v>0.14064549986880084</c:v>
                </c:pt>
                <c:pt idx="45">
                  <c:v>0.13561885555835643</c:v>
                </c:pt>
                <c:pt idx="46">
                  <c:v>0.14025455452957325</c:v>
                </c:pt>
                <c:pt idx="47">
                  <c:v>0.1368556701030928</c:v>
                </c:pt>
                <c:pt idx="48">
                  <c:v>0.1739051094890511</c:v>
                </c:pt>
                <c:pt idx="49">
                  <c:v>0.18747702487440265</c:v>
                </c:pt>
                <c:pt idx="50">
                  <c:v>0.14840777087923093</c:v>
                </c:pt>
                <c:pt idx="51">
                  <c:v>0.15249722530521642</c:v>
                </c:pt>
                <c:pt idx="52">
                  <c:v>0.185739610005909</c:v>
                </c:pt>
                <c:pt idx="53">
                  <c:v>0.14897435897435898</c:v>
                </c:pt>
                <c:pt idx="54">
                  <c:v>0.12692828146143437</c:v>
                </c:pt>
                <c:pt idx="55">
                  <c:v>0.13467536149702297</c:v>
                </c:pt>
                <c:pt idx="56">
                  <c:v>0.14375512435091556</c:v>
                </c:pt>
                <c:pt idx="57">
                  <c:v>0.13140475606766364</c:v>
                </c:pt>
                <c:pt idx="58">
                  <c:v>0.1341492115791951</c:v>
                </c:pt>
                <c:pt idx="59">
                  <c:v>0.14758751182592242</c:v>
                </c:pt>
                <c:pt idx="60">
                  <c:v>0.14428431051424828</c:v>
                </c:pt>
                <c:pt idx="61">
                  <c:v>0.1369330453563715</c:v>
                </c:pt>
                <c:pt idx="62">
                  <c:v>0.14360610895828585</c:v>
                </c:pt>
                <c:pt idx="63">
                  <c:v>0.16469691193290126</c:v>
                </c:pt>
                <c:pt idx="64">
                  <c:v>0.17001488095238096</c:v>
                </c:pt>
                <c:pt idx="65">
                  <c:v>0.17632752330766113</c:v>
                </c:pt>
                <c:pt idx="66">
                  <c:v>0.15744861199406654</c:v>
                </c:pt>
                <c:pt idx="67">
                  <c:v>0.1460649662088511</c:v>
                </c:pt>
                <c:pt idx="68">
                  <c:v>0.1361170087284737</c:v>
                </c:pt>
                <c:pt idx="69">
                  <c:v>0.11100260416666667</c:v>
                </c:pt>
                <c:pt idx="70">
                  <c:v>0.09996988858777477</c:v>
                </c:pt>
                <c:pt idx="71">
                  <c:v>0.12008599508599509</c:v>
                </c:pt>
                <c:pt idx="72">
                  <c:v>0.1247750449910018</c:v>
                </c:pt>
                <c:pt idx="73">
                  <c:v>0.11791590493601463</c:v>
                </c:pt>
                <c:pt idx="74">
                  <c:v>0.09799691833590139</c:v>
                </c:pt>
                <c:pt idx="75">
                  <c:v>0.08870680441752761</c:v>
                </c:pt>
                <c:pt idx="76">
                  <c:v>0.09396966333703292</c:v>
                </c:pt>
                <c:pt idx="77">
                  <c:v>0.08734939759036145</c:v>
                </c:pt>
                <c:pt idx="78">
                  <c:v>0.09734151329243354</c:v>
                </c:pt>
                <c:pt idx="79">
                  <c:v>0.0885917258671124</c:v>
                </c:pt>
                <c:pt idx="80">
                  <c:v>0.08336859923825646</c:v>
                </c:pt>
                <c:pt idx="81">
                  <c:v>0.07746243739565943</c:v>
                </c:pt>
                <c:pt idx="82">
                  <c:v>0.08011996572407884</c:v>
                </c:pt>
                <c:pt idx="83">
                  <c:v>0.07543216343635412</c:v>
                </c:pt>
                <c:pt idx="84">
                  <c:v>0.06610703043022036</c:v>
                </c:pt>
                <c:pt idx="85">
                  <c:v>0.05907172995780591</c:v>
                </c:pt>
                <c:pt idx="86">
                  <c:v>0.07008849557522123</c:v>
                </c:pt>
                <c:pt idx="87">
                  <c:v>0.10039440659734672</c:v>
                </c:pt>
                <c:pt idx="88">
                  <c:v>0.09121909633418585</c:v>
                </c:pt>
                <c:pt idx="89">
                  <c:v>0.0685640362225097</c:v>
                </c:pt>
                <c:pt idx="90">
                  <c:v>0.05763308402991641</c:v>
                </c:pt>
                <c:pt idx="91">
                  <c:v>0.07351676698194325</c:v>
                </c:pt>
                <c:pt idx="92">
                  <c:v>0.06567489114658925</c:v>
                </c:pt>
                <c:pt idx="93">
                  <c:v>0.06393700787401575</c:v>
                </c:pt>
                <c:pt idx="94">
                  <c:v>0.0681044267877412</c:v>
                </c:pt>
                <c:pt idx="95">
                  <c:v>0.08433031806244529</c:v>
                </c:pt>
                <c:pt idx="96">
                  <c:v>0.08319266939956595</c:v>
                </c:pt>
                <c:pt idx="97">
                  <c:v>0.08657137104892289</c:v>
                </c:pt>
                <c:pt idx="98">
                  <c:v>0.1113338192419825</c:v>
                </c:pt>
                <c:pt idx="99">
                  <c:v>0.10447257383966245</c:v>
                </c:pt>
                <c:pt idx="100">
                  <c:v>0.1383495145631068</c:v>
                </c:pt>
                <c:pt idx="101">
                  <c:v>0.09347826086956522</c:v>
                </c:pt>
                <c:pt idx="102">
                  <c:v>0.07682528151107883</c:v>
                </c:pt>
                <c:pt idx="103">
                  <c:v>0.09002479496471485</c:v>
                </c:pt>
                <c:pt idx="104">
                  <c:v>0.1083421330517423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59.6539</c:v>
                </c:pt>
                <c:pt idx="1">
                  <c:v>1349.1829</c:v>
                </c:pt>
                <c:pt idx="2">
                  <c:v>1360.8891</c:v>
                </c:pt>
                <c:pt idx="3">
                  <c:v>1367.5292</c:v>
                </c:pt>
                <c:pt idx="4">
                  <c:v>1363.8951</c:v>
                </c:pt>
                <c:pt idx="5">
                  <c:v>1375.4444</c:v>
                </c:pt>
                <c:pt idx="6">
                  <c:v>1248.7459</c:v>
                </c:pt>
                <c:pt idx="7">
                  <c:v>1168.4222</c:v>
                </c:pt>
                <c:pt idx="8">
                  <c:v>1342.6385</c:v>
                </c:pt>
                <c:pt idx="9">
                  <c:v>1184.7988</c:v>
                </c:pt>
                <c:pt idx="10">
                  <c:v>1150.4041</c:v>
                </c:pt>
                <c:pt idx="11">
                  <c:v>1364.6205</c:v>
                </c:pt>
                <c:pt idx="12">
                  <c:v>1318.4644</c:v>
                </c:pt>
                <c:pt idx="13">
                  <c:v>1193.8916</c:v>
                </c:pt>
                <c:pt idx="14">
                  <c:v>1359.1994</c:v>
                </c:pt>
                <c:pt idx="15">
                  <c:v>1260.7758</c:v>
                </c:pt>
                <c:pt idx="16">
                  <c:v>1229.4589</c:v>
                </c:pt>
                <c:pt idx="17">
                  <c:v>1206.2203</c:v>
                </c:pt>
                <c:pt idx="18">
                  <c:v>1085.2328</c:v>
                </c:pt>
                <c:pt idx="19">
                  <c:v>951.7388</c:v>
                </c:pt>
                <c:pt idx="20">
                  <c:v>943.1283</c:v>
                </c:pt>
                <c:pt idx="21">
                  <c:v>1004.2773</c:v>
                </c:pt>
                <c:pt idx="22">
                  <c:v>1024.0417</c:v>
                </c:pt>
                <c:pt idx="23">
                  <c:v>1060.3545</c:v>
                </c:pt>
                <c:pt idx="24">
                  <c:v>1336.2326</c:v>
                </c:pt>
                <c:pt idx="25">
                  <c:v>1376.1925</c:v>
                </c:pt>
                <c:pt idx="26">
                  <c:v>1368.375</c:v>
                </c:pt>
                <c:pt idx="27">
                  <c:v>1386.913</c:v>
                </c:pt>
                <c:pt idx="28">
                  <c:v>1235.7099</c:v>
                </c:pt>
                <c:pt idx="29">
                  <c:v>1255.2797</c:v>
                </c:pt>
                <c:pt idx="30">
                  <c:v>1375.4671</c:v>
                </c:pt>
                <c:pt idx="31">
                  <c:v>1369.9478</c:v>
                </c:pt>
                <c:pt idx="32">
                  <c:v>1343.7407</c:v>
                </c:pt>
                <c:pt idx="33">
                  <c:v>1353.8306</c:v>
                </c:pt>
                <c:pt idx="34">
                  <c:v>1365.244</c:v>
                </c:pt>
                <c:pt idx="35">
                  <c:v>1388.6847</c:v>
                </c:pt>
                <c:pt idx="36">
                  <c:v>1371.4526</c:v>
                </c:pt>
                <c:pt idx="37">
                  <c:v>1389.0632</c:v>
                </c:pt>
                <c:pt idx="38">
                  <c:v>1408.6319</c:v>
                </c:pt>
                <c:pt idx="39">
                  <c:v>1430.2955</c:v>
                </c:pt>
                <c:pt idx="40">
                  <c:v>1449.6475</c:v>
                </c:pt>
                <c:pt idx="41">
                  <c:v>1451.1449</c:v>
                </c:pt>
                <c:pt idx="42">
                  <c:v>1443.8462</c:v>
                </c:pt>
                <c:pt idx="43">
                  <c:v>1418.5383</c:v>
                </c:pt>
                <c:pt idx="44">
                  <c:v>1389.2734</c:v>
                </c:pt>
                <c:pt idx="45">
                  <c:v>1367.3443</c:v>
                </c:pt>
                <c:pt idx="46">
                  <c:v>1346.137</c:v>
                </c:pt>
                <c:pt idx="47">
                  <c:v>1334.057</c:v>
                </c:pt>
                <c:pt idx="48">
                  <c:v>1260.71</c:v>
                </c:pt>
                <c:pt idx="49">
                  <c:v>1181.2192</c:v>
                </c:pt>
                <c:pt idx="50">
                  <c:v>1124.9185</c:v>
                </c:pt>
                <c:pt idx="51">
                  <c:v>1162.1057</c:v>
                </c:pt>
              </c:numCache>
            </c:numRef>
          </c:xVal>
          <c:yVal>
            <c:numRef>
              <c:f>Sheet1!$B$109:$B$160</c:f>
              <c:numCache>
                <c:formatCode>General</c:formatCode>
                <c:ptCount val="52"/>
                <c:pt idx="0">
                  <c:v>0.10245310245310245</c:v>
                </c:pt>
                <c:pt idx="1">
                  <c:v>0.09077537297751628</c:v>
                </c:pt>
                <c:pt idx="2">
                  <c:v>0.09115646258503401</c:v>
                </c:pt>
                <c:pt idx="3">
                  <c:v>0.09265473527218494</c:v>
                </c:pt>
                <c:pt idx="4">
                  <c:v>0.08411764705882353</c:v>
                </c:pt>
                <c:pt idx="5">
                  <c:v>0.0764626375748214</c:v>
                </c:pt>
                <c:pt idx="6">
                  <c:v>0.08995596561123925</c:v>
                </c:pt>
                <c:pt idx="7">
                  <c:v>0.10643077787138444</c:v>
                </c:pt>
                <c:pt idx="8">
                  <c:v>0.08466819221967964</c:v>
                </c:pt>
                <c:pt idx="9">
                  <c:v>0.0892018779342723</c:v>
                </c:pt>
                <c:pt idx="10">
                  <c:v>0.09979317476732161</c:v>
                </c:pt>
                <c:pt idx="11">
                  <c:v>0.09794490599038042</c:v>
                </c:pt>
                <c:pt idx="12">
                  <c:v>0.09792886087348042</c:v>
                </c:pt>
                <c:pt idx="13">
                  <c:v>0.09246880570409982</c:v>
                </c:pt>
                <c:pt idx="14">
                  <c:v>0.08679525222551929</c:v>
                </c:pt>
                <c:pt idx="15">
                  <c:v>0.08375634517766498</c:v>
                </c:pt>
                <c:pt idx="16">
                  <c:v>0.08636239409674774</c:v>
                </c:pt>
                <c:pt idx="17">
                  <c:v>0.08074534161490683</c:v>
                </c:pt>
                <c:pt idx="18">
                  <c:v>0.09015829318651067</c:v>
                </c:pt>
                <c:pt idx="19">
                  <c:v>0.10430706123644887</c:v>
                </c:pt>
                <c:pt idx="20">
                  <c:v>0.09464508094645081</c:v>
                </c:pt>
                <c:pt idx="21">
                  <c:v>0.10082709728239464</c:v>
                </c:pt>
                <c:pt idx="22">
                  <c:v>0.09673518742442563</c:v>
                </c:pt>
                <c:pt idx="23">
                  <c:v>0.07884856070087609</c:v>
                </c:pt>
                <c:pt idx="24">
                  <c:v>0.0686626746506986</c:v>
                </c:pt>
                <c:pt idx="25">
                  <c:v>0.06903945111492281</c:v>
                </c:pt>
                <c:pt idx="26">
                  <c:v>0.06201550387596899</c:v>
                </c:pt>
                <c:pt idx="27">
                  <c:v>0.06075471698113208</c:v>
                </c:pt>
                <c:pt idx="28">
                  <c:v>0.05362462760675273</c:v>
                </c:pt>
                <c:pt idx="29">
                  <c:v>0.05612244897959184</c:v>
                </c:pt>
                <c:pt idx="30">
                  <c:v>0.062320623206232065</c:v>
                </c:pt>
                <c:pt idx="31">
                  <c:v>0.06033318325078793</c:v>
                </c:pt>
                <c:pt idx="32">
                  <c:v>0.0533596837944664</c:v>
                </c:pt>
                <c:pt idx="33">
                  <c:v>0.07414910858995137</c:v>
                </c:pt>
                <c:pt idx="34">
                  <c:v>0.08681384248210024</c:v>
                </c:pt>
                <c:pt idx="35">
                  <c:v>0.09665792922673656</c:v>
                </c:pt>
                <c:pt idx="36">
                  <c:v>0.06567593480345159</c:v>
                </c:pt>
                <c:pt idx="37">
                  <c:v>0.0794646591384358</c:v>
                </c:pt>
                <c:pt idx="38">
                  <c:v>0.08265213442325159</c:v>
                </c:pt>
                <c:pt idx="39">
                  <c:v>0.1054072553045859</c:v>
                </c:pt>
                <c:pt idx="40">
                  <c:v>0.08571428571428572</c:v>
                </c:pt>
                <c:pt idx="41">
                  <c:v>0.08518518518518518</c:v>
                </c:pt>
                <c:pt idx="42">
                  <c:v>0.07456140350877193</c:v>
                </c:pt>
                <c:pt idx="43">
                  <c:v>0.09136295556665003</c:v>
                </c:pt>
                <c:pt idx="44">
                  <c:v>0.09131640708342223</c:v>
                </c:pt>
                <c:pt idx="45">
                  <c:v>0.11268603827072998</c:v>
                </c:pt>
                <c:pt idx="46">
                  <c:v>0.09639564124056998</c:v>
                </c:pt>
                <c:pt idx="47">
                  <c:v>0.10404742436631234</c:v>
                </c:pt>
                <c:pt idx="48">
                  <c:v>0.09787530477185649</c:v>
                </c:pt>
                <c:pt idx="49">
                  <c:v>0.10645859085290482</c:v>
                </c:pt>
                <c:pt idx="50">
                  <c:v>0.15558218494108247</c:v>
                </c:pt>
                <c:pt idx="51">
                  <c:v>0.1212169735788630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287.7487284729348</c:v>
                </c:pt>
              </c:numCache>
            </c:numRef>
          </c:xVal>
          <c:yVal>
            <c:numRef>
              <c:f>Sheet1!$B$163:$B$164</c:f>
              <c:numCache>
                <c:formatCode>General</c:formatCode>
                <c:ptCount val="2"/>
                <c:pt idx="0">
                  <c:v>0.21309761328870133</c:v>
                </c:pt>
                <c:pt idx="1">
                  <c:v>0.2130976132887013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287.7487284729348</c:v>
                </c:pt>
                <c:pt idx="1">
                  <c:v>-1287.7487284729348</c:v>
                </c:pt>
              </c:numCache>
            </c:numRef>
          </c:xVal>
          <c:yVal>
            <c:numRef>
              <c:f>Sheet1!$B$167:$B$168</c:f>
              <c:numCache>
                <c:formatCode>General</c:formatCode>
                <c:ptCount val="2"/>
                <c:pt idx="0">
                  <c:v>0.2130976132887013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17.9365955699593</c:v>
                </c:pt>
              </c:numCache>
            </c:numRef>
          </c:xVal>
          <c:yVal>
            <c:numRef>
              <c:f>Sheet1!$B$171:$B$172</c:f>
              <c:numCache>
                <c:formatCode>General</c:formatCode>
                <c:ptCount val="2"/>
                <c:pt idx="0">
                  <c:v>0.12028326353617672</c:v>
                </c:pt>
                <c:pt idx="1">
                  <c:v>0.1202832635361767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17.9365955699593</c:v>
                </c:pt>
                <c:pt idx="1">
                  <c:v>617.9365955699593</c:v>
                </c:pt>
              </c:numCache>
            </c:numRef>
          </c:xVal>
          <c:yVal>
            <c:numRef>
              <c:f>Sheet1!$B$175:$B$176</c:f>
              <c:numCache>
                <c:formatCode>General</c:formatCode>
                <c:ptCount val="2"/>
                <c:pt idx="0">
                  <c:v>0.1202832635361767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990.4745523143522</c:v>
                </c:pt>
              </c:numCache>
            </c:numRef>
          </c:xVal>
          <c:yVal>
            <c:numRef>
              <c:f>Sheet1!$B$179:$B$180</c:f>
              <c:numCache>
                <c:formatCode>General</c:formatCode>
                <c:ptCount val="2"/>
                <c:pt idx="0">
                  <c:v>0.10213920387578616</c:v>
                </c:pt>
                <c:pt idx="1">
                  <c:v>0.1021392038757861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990.4745523143522</c:v>
                </c:pt>
                <c:pt idx="1">
                  <c:v>990.4745523143522</c:v>
                </c:pt>
              </c:numCache>
            </c:numRef>
          </c:xVal>
          <c:yVal>
            <c:numRef>
              <c:f>Sheet1!$B$183:$B$184</c:f>
              <c:numCache>
                <c:formatCode>General</c:formatCode>
                <c:ptCount val="2"/>
                <c:pt idx="0">
                  <c:v>0.1021392038757861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59.6539</c:v>
                </c:pt>
                <c:pt idx="1">
                  <c:v>1349.1829</c:v>
                </c:pt>
                <c:pt idx="2">
                  <c:v>1360.8891</c:v>
                </c:pt>
                <c:pt idx="3">
                  <c:v>1367.5292</c:v>
                </c:pt>
                <c:pt idx="4">
                  <c:v>1363.8951</c:v>
                </c:pt>
                <c:pt idx="5">
                  <c:v>1375.4444</c:v>
                </c:pt>
                <c:pt idx="6">
                  <c:v>1248.7459</c:v>
                </c:pt>
                <c:pt idx="7">
                  <c:v>1168.4222</c:v>
                </c:pt>
                <c:pt idx="8">
                  <c:v>1342.6385</c:v>
                </c:pt>
                <c:pt idx="9">
                  <c:v>1184.7988</c:v>
                </c:pt>
                <c:pt idx="10">
                  <c:v>1150.4041</c:v>
                </c:pt>
                <c:pt idx="11">
                  <c:v>1364.6205</c:v>
                </c:pt>
                <c:pt idx="12">
                  <c:v>1318.4644</c:v>
                </c:pt>
                <c:pt idx="13">
                  <c:v>1193.8916</c:v>
                </c:pt>
                <c:pt idx="14">
                  <c:v>1359.1994</c:v>
                </c:pt>
                <c:pt idx="15">
                  <c:v>1260.7758</c:v>
                </c:pt>
                <c:pt idx="16">
                  <c:v>1229.4589</c:v>
                </c:pt>
                <c:pt idx="17">
                  <c:v>1206.2203</c:v>
                </c:pt>
                <c:pt idx="18">
                  <c:v>1085.2328</c:v>
                </c:pt>
                <c:pt idx="19">
                  <c:v>951.7388</c:v>
                </c:pt>
                <c:pt idx="20">
                  <c:v>943.1283</c:v>
                </c:pt>
                <c:pt idx="21">
                  <c:v>1004.2773</c:v>
                </c:pt>
                <c:pt idx="22">
                  <c:v>1024.0417</c:v>
                </c:pt>
                <c:pt idx="23">
                  <c:v>1060.3545</c:v>
                </c:pt>
                <c:pt idx="24">
                  <c:v>1336.2326</c:v>
                </c:pt>
                <c:pt idx="25">
                  <c:v>1376.1925</c:v>
                </c:pt>
                <c:pt idx="26">
                  <c:v>1368.375</c:v>
                </c:pt>
                <c:pt idx="27">
                  <c:v>1386.913</c:v>
                </c:pt>
                <c:pt idx="28">
                  <c:v>1235.7099</c:v>
                </c:pt>
                <c:pt idx="29">
                  <c:v>1255.2797</c:v>
                </c:pt>
                <c:pt idx="30">
                  <c:v>1375.4671</c:v>
                </c:pt>
                <c:pt idx="31">
                  <c:v>1369.9478</c:v>
                </c:pt>
                <c:pt idx="32">
                  <c:v>1343.7407</c:v>
                </c:pt>
                <c:pt idx="33">
                  <c:v>1353.8306</c:v>
                </c:pt>
                <c:pt idx="34">
                  <c:v>1365.244</c:v>
                </c:pt>
                <c:pt idx="35">
                  <c:v>1388.6847</c:v>
                </c:pt>
                <c:pt idx="36">
                  <c:v>1371.4526</c:v>
                </c:pt>
                <c:pt idx="37">
                  <c:v>1389.0632</c:v>
                </c:pt>
                <c:pt idx="38">
                  <c:v>1408.6319</c:v>
                </c:pt>
                <c:pt idx="39">
                  <c:v>1430.2955</c:v>
                </c:pt>
                <c:pt idx="40">
                  <c:v>1449.6475</c:v>
                </c:pt>
                <c:pt idx="41">
                  <c:v>1451.1449</c:v>
                </c:pt>
                <c:pt idx="42">
                  <c:v>1443.8462</c:v>
                </c:pt>
                <c:pt idx="43">
                  <c:v>1418.5383</c:v>
                </c:pt>
                <c:pt idx="44">
                  <c:v>1389.2734</c:v>
                </c:pt>
                <c:pt idx="45">
                  <c:v>1367.3443</c:v>
                </c:pt>
                <c:pt idx="46">
                  <c:v>1346.137</c:v>
                </c:pt>
                <c:pt idx="47">
                  <c:v>1334.057</c:v>
                </c:pt>
                <c:pt idx="48">
                  <c:v>1260.71</c:v>
                </c:pt>
                <c:pt idx="49">
                  <c:v>1181.2192</c:v>
                </c:pt>
                <c:pt idx="50">
                  <c:v>1124.9185</c:v>
                </c:pt>
                <c:pt idx="51">
                  <c:v>1162.1057</c:v>
                </c:pt>
                <c:pt idx="52">
                  <c:v>617.9365955699593</c:v>
                </c:pt>
                <c:pt idx="53">
                  <c:v>-1287.7487284729348</c:v>
                </c:pt>
                <c:pt idx="54">
                  <c:v>990.4745523143522</c:v>
                </c:pt>
              </c:numCache>
            </c:numRef>
          </c:xVal>
          <c:yVal>
            <c:numRef>
              <c:f>Sheet1!$B$187:$B$241</c:f>
              <c:numCache>
                <c:formatCode>General</c:formatCode>
                <c:ptCount val="55"/>
                <c:pt idx="0">
                  <c:v>0.08415872164968001</c:v>
                </c:pt>
                <c:pt idx="1">
                  <c:v>0.08466870041899587</c:v>
                </c:pt>
                <c:pt idx="2">
                  <c:v>0.08409856256498333</c:v>
                </c:pt>
                <c:pt idx="3">
                  <c:v>0.0837751636512087</c:v>
                </c:pt>
                <c:pt idx="4">
                  <c:v>0.08395215857486171</c:v>
                </c:pt>
                <c:pt idx="5">
                  <c:v>0.08338966236624175</c:v>
                </c:pt>
                <c:pt idx="6">
                  <c:v>0.0895603762526103</c:v>
                </c:pt>
                <c:pt idx="7">
                  <c:v>0.09347245548791697</c:v>
                </c:pt>
                <c:pt idx="8">
                  <c:v>0.08498743836741633</c:v>
                </c:pt>
                <c:pt idx="9">
                  <c:v>0.09267485083567954</c:v>
                </c:pt>
                <c:pt idx="10">
                  <c:v>0.09435000762843937</c:v>
                </c:pt>
                <c:pt idx="11">
                  <c:v>0.08391682874970062</c:v>
                </c:pt>
                <c:pt idx="12">
                  <c:v>0.08616481185297821</c:v>
                </c:pt>
                <c:pt idx="13">
                  <c:v>0.09223199581193442</c:v>
                </c:pt>
                <c:pt idx="14">
                  <c:v>0.08418085758231816</c:v>
                </c:pt>
                <c:pt idx="15">
                  <c:v>0.08897447293898288</c:v>
                </c:pt>
                <c:pt idx="16">
                  <c:v>0.0904997288000074</c:v>
                </c:pt>
                <c:pt idx="17">
                  <c:v>0.09163153976635477</c:v>
                </c:pt>
                <c:pt idx="18">
                  <c:v>0.09752410555306112</c:v>
                </c:pt>
                <c:pt idx="19">
                  <c:v>0.10402578694271361</c:v>
                </c:pt>
                <c:pt idx="20">
                  <c:v>0.10444515206478353</c:v>
                </c:pt>
                <c:pt idx="21">
                  <c:v>0.10146695592641133</c:v>
                </c:pt>
                <c:pt idx="22">
                  <c:v>0.10050435212655778</c:v>
                </c:pt>
                <c:pt idx="23">
                  <c:v>0.09873577634063355</c:v>
                </c:pt>
                <c:pt idx="24">
                  <c:v>0.08529943082261263</c:v>
                </c:pt>
                <c:pt idx="25">
                  <c:v>0.0833532269620468</c:v>
                </c:pt>
                <c:pt idx="26">
                  <c:v>0.08373396987381519</c:v>
                </c:pt>
                <c:pt idx="27">
                  <c:v>0.08283109656414302</c:v>
                </c:pt>
                <c:pt idx="28">
                  <c:v>0.09019528058235927</c:v>
                </c:pt>
                <c:pt idx="29">
                  <c:v>0.08924215456576512</c:v>
                </c:pt>
                <c:pt idx="30">
                  <c:v>0.0833885567872079</c:v>
                </c:pt>
                <c:pt idx="31">
                  <c:v>0.08365736834498509</c:v>
                </c:pt>
                <c:pt idx="32">
                  <c:v>0.08493375690437173</c:v>
                </c:pt>
                <c:pt idx="33">
                  <c:v>0.08444233919980483</c:v>
                </c:pt>
                <c:pt idx="34">
                  <c:v>0.08388646185421134</c:v>
                </c:pt>
                <c:pt idx="35">
                  <c:v>0.0827448078251881</c:v>
                </c:pt>
                <c:pt idx="36">
                  <c:v>0.08358407868286433</c:v>
                </c:pt>
                <c:pt idx="37">
                  <c:v>0.08272637339063686</c:v>
                </c:pt>
                <c:pt idx="38">
                  <c:v>0.08177330094835711</c:v>
                </c:pt>
                <c:pt idx="39">
                  <c:v>0.08071819865946867</c:v>
                </c:pt>
                <c:pt idx="40">
                  <c:v>0.07977568035712881</c:v>
                </c:pt>
                <c:pt idx="41">
                  <c:v>0.07970275110403231</c:v>
                </c:pt>
                <c:pt idx="42">
                  <c:v>0.08005822642096533</c:v>
                </c:pt>
                <c:pt idx="43">
                  <c:v>0.08129082041351321</c:v>
                </c:pt>
                <c:pt idx="44">
                  <c:v>0.08271613582619122</c:v>
                </c:pt>
                <c:pt idx="45">
                  <c:v>0.08378416900642276</c:v>
                </c:pt>
                <c:pt idx="46">
                  <c:v>0.08481704769561312</c:v>
                </c:pt>
                <c:pt idx="47">
                  <c:v>0.08540539107574256</c:v>
                </c:pt>
                <c:pt idx="48">
                  <c:v>0.08897767765706338</c:v>
                </c:pt>
                <c:pt idx="49">
                  <c:v>0.09284919139557288</c:v>
                </c:pt>
                <c:pt idx="50">
                  <c:v>0.0955912563079615</c:v>
                </c:pt>
                <c:pt idx="51">
                  <c:v>0.09378009381246893</c:v>
                </c:pt>
                <c:pt idx="52">
                  <c:v>0.12028326353617672</c:v>
                </c:pt>
                <c:pt idx="53">
                  <c:v>0.21309761328870133</c:v>
                </c:pt>
                <c:pt idx="54">
                  <c:v>0.1021392038757861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4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5861229458308"/>
          <c:min val="0.04268774703557312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10</c:f>
              <c:numCache>
                <c:formatCode>General</c:formatCode>
                <c:ptCount val="7"/>
                <c:pt idx="0">
                  <c:v>0.0</c:v>
                </c:pt>
                <c:pt idx="1">
                  <c:v>0.0</c:v>
                </c:pt>
                <c:pt idx="2">
                  <c:v>0.0</c:v>
                </c:pt>
                <c:pt idx="3">
                  <c:v>0.0</c:v>
                </c:pt>
                <c:pt idx="4">
                  <c:v>0.0</c:v>
                </c:pt>
                <c:pt idx="5">
                  <c:v>0.0</c:v>
                </c:pt>
                <c:pt idx="6">
                  <c:v>0.0</c:v>
                </c:pt>
              </c:numCache>
            </c:numRef>
          </c:xVal>
          <c:yVal>
            <c:numRef>
              <c:f>Sheet1!$B$4:$B$10</c:f>
              <c:numCache>
                <c:formatCode>General</c:formatCode>
                <c:ptCount val="7"/>
                <c:pt idx="0">
                  <c:v>0.0</c:v>
                </c:pt>
                <c:pt idx="1">
                  <c:v>0.0</c:v>
                </c:pt>
                <c:pt idx="2">
                  <c:v>0.0</c:v>
                </c:pt>
                <c:pt idx="3">
                  <c:v>0.0</c:v>
                </c:pt>
                <c:pt idx="4">
                  <c:v>0.0</c:v>
                </c:pt>
                <c:pt idx="5">
                  <c:v>0.0</c:v>
                </c:pt>
                <c:pt idx="6">
                  <c:v>0.0</c:v>
                </c:pt>
              </c:numCache>
            </c:numRef>
          </c:yVal>
          <c:smooth val="0"/>
          <c:extLst>
            <c:ext xmlns:c16="http://schemas.microsoft.com/office/drawing/2014/chart" uri="{C3380CC4-5D6E-409C-BE32-E72D297353CC}">
              <c16:uniqueId val="{00000002-096C-4121-9522-6AB7243CCAAE}"/>
            </c:ext>
          </c:extLst>
        </c:ser>
        <c:ser>
          <c:idx val="2"/>
          <c:order val="2"/>
          <c:tx>
            <c:strRef>
              <c:f>Sheet1!$B$1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A$14</c:f>
              <c:numCache>
                <c:formatCode>General</c:formatCode>
                <c:ptCount val="2"/>
                <c:pt idx="0">
                  <c:v>0</c:v>
                </c:pt>
                <c:pt idx="1">
                  <c:v>0.0</c:v>
                </c:pt>
              </c:numCache>
            </c:numRef>
          </c:xVal>
          <c:yVal>
            <c:numRef>
              <c:f>Sheet1!$B$13:$B$14</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A$18</c:f>
              <c:numCache>
                <c:formatCode>General</c:formatCode>
                <c:ptCount val="2"/>
                <c:pt idx="0">
                  <c:v>0.0</c:v>
                </c:pt>
                <c:pt idx="1">
                  <c:v>0.0</c:v>
                </c:pt>
              </c:numCache>
            </c:numRef>
          </c:xVal>
          <c:yVal>
            <c:numRef>
              <c:f>Sheet1!$B$17:$B$18</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1:$A$22</c:f>
              <c:numCache>
                <c:formatCode>General</c:formatCode>
                <c:ptCount val="2"/>
                <c:pt idx="0">
                  <c:v>0</c:v>
                </c:pt>
                <c:pt idx="1">
                  <c:v>0.0</c:v>
                </c:pt>
              </c:numCache>
            </c:numRef>
          </c:xVal>
          <c:yVal>
            <c:numRef>
              <c:f>Sheet1!$B$21:$B$22</c:f>
              <c:numCache>
                <c:formatCode>General</c:formatCode>
                <c:ptCount val="2"/>
                <c:pt idx="0">
                  <c:v>0.0</c:v>
                </c:pt>
                <c:pt idx="1">
                  <c:v>0.0</c:v>
                </c:pt>
              </c:numCache>
            </c:numRef>
          </c:yVal>
          <c:smooth val="0"/>
          <c:extLst>
            <c:ext xmlns:c16="http://schemas.microsoft.com/office/drawing/2014/chart" uri="{C3380CC4-5D6E-409C-BE32-E72D297353CC}">
              <c16:uniqueId val="{0000000D-096C-4121-9522-6AB7243CCAAE}"/>
            </c:ext>
          </c:extLst>
        </c:ser>
        <c:ser>
          <c:idx val="5"/>
          <c:order val="5"/>
          <c:tx>
            <c:strRef>
              <c:f>Sheet1!$B$2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5:$A$26</c:f>
              <c:numCache>
                <c:formatCode>General</c:formatCode>
                <c:ptCount val="2"/>
                <c:pt idx="0">
                  <c:v>0.0</c:v>
                </c:pt>
                <c:pt idx="1">
                  <c:v>0.0</c:v>
                </c:pt>
              </c:numCache>
            </c:numRef>
          </c:xVal>
          <c:yVal>
            <c:numRef>
              <c:f>Sheet1!$B$25:$B$26</c:f>
              <c:numCache>
                <c:formatCode>General</c:formatCode>
                <c:ptCount val="2"/>
                <c:pt idx="0">
                  <c:v>0.0</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9:$A$30</c:f>
              <c:numCache>
                <c:formatCode>General</c:formatCode>
                <c:ptCount val="2"/>
                <c:pt idx="0">
                  <c:v>0</c:v>
                </c:pt>
                <c:pt idx="1">
                  <c:v>0.0</c:v>
                </c:pt>
              </c:numCache>
            </c:numRef>
          </c:xVal>
          <c:yVal>
            <c:numRef>
              <c:f>Sheet1!$B$29:$B$30</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3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3:$A$34</c:f>
              <c:numCache>
                <c:formatCode>General</c:formatCode>
                <c:ptCount val="2"/>
                <c:pt idx="0">
                  <c:v>0.0</c:v>
                </c:pt>
                <c:pt idx="1">
                  <c:v>0.0</c:v>
                </c:pt>
              </c:numCache>
            </c:numRef>
          </c:xVal>
          <c:yVal>
            <c:numRef>
              <c:f>Sheet1!$B$33:$B$34</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7:$A$46</c:f>
              <c:numCache>
                <c:formatCode>General</c:formatCode>
                <c:ptCount val="10"/>
                <c:pt idx="0">
                  <c:v>0.0</c:v>
                </c:pt>
                <c:pt idx="1">
                  <c:v>0.0</c:v>
                </c:pt>
                <c:pt idx="2">
                  <c:v>0.0</c:v>
                </c:pt>
                <c:pt idx="3">
                  <c:v>0.0</c:v>
                </c:pt>
                <c:pt idx="4">
                  <c:v>0.0</c:v>
                </c:pt>
                <c:pt idx="5">
                  <c:v>0.0</c:v>
                </c:pt>
                <c:pt idx="6">
                  <c:v>0.0</c:v>
                </c:pt>
                <c:pt idx="7">
                  <c:v>0.0</c:v>
                </c:pt>
                <c:pt idx="8">
                  <c:v>0.0</c:v>
                </c:pt>
                <c:pt idx="9">
                  <c:v>0.0</c:v>
                </c:pt>
              </c:numCache>
            </c:numRef>
          </c:xVal>
          <c:yVal>
            <c:numRef>
              <c:f>Sheet1!$B$37:$B$46</c:f>
              <c:numCache>
                <c:formatCode>General</c:formatCode>
                <c:ptCount val="10"/>
                <c:pt idx="0">
                  <c:v>0.0</c:v>
                </c:pt>
                <c:pt idx="1">
                  <c:v>0.0</c:v>
                </c:pt>
                <c:pt idx="2">
                  <c:v>0.0</c:v>
                </c:pt>
                <c:pt idx="3">
                  <c:v>0.0</c:v>
                </c:pt>
                <c:pt idx="4">
                  <c:v>0.0</c:v>
                </c:pt>
                <c:pt idx="5">
                  <c:v>0.0</c:v>
                </c:pt>
                <c:pt idx="6">
                  <c:v>0.0</c:v>
                </c:pt>
                <c:pt idx="7">
                  <c:v>0.0</c:v>
                </c:pt>
                <c:pt idx="8">
                  <c:v>0.0</c:v>
                </c:pt>
                <c:pt idx="9">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10</c:f>
              <c:numCache>
                <c:formatCode>General</c:formatCode>
                <c:ptCount val="7"/>
                <c:pt idx="0">
                  <c:v>0.0</c:v>
                </c:pt>
                <c:pt idx="1">
                  <c:v>0.0</c:v>
                </c:pt>
                <c:pt idx="2">
                  <c:v>0.0</c:v>
                </c:pt>
                <c:pt idx="3">
                  <c:v>0.0</c:v>
                </c:pt>
                <c:pt idx="4">
                  <c:v>0.0</c:v>
                </c:pt>
                <c:pt idx="5">
                  <c:v>0.0</c:v>
                </c:pt>
                <c:pt idx="6">
                  <c:v>0.0</c:v>
                </c:pt>
              </c:numCache>
            </c:numRef>
          </c:xVal>
          <c:yVal>
            <c:numRef>
              <c:f>Sheet1!$B$4:$B$10</c:f>
              <c:numCache>
                <c:formatCode>General</c:formatCode>
                <c:ptCount val="7"/>
                <c:pt idx="0">
                  <c:v>0.0</c:v>
                </c:pt>
                <c:pt idx="1">
                  <c:v>0.0</c:v>
                </c:pt>
                <c:pt idx="2">
                  <c:v>0.0</c:v>
                </c:pt>
                <c:pt idx="3">
                  <c:v>0.0</c:v>
                </c:pt>
                <c:pt idx="4">
                  <c:v>0.0</c:v>
                </c:pt>
                <c:pt idx="5">
                  <c:v>0.0</c:v>
                </c:pt>
                <c:pt idx="6">
                  <c:v>0.0</c:v>
                </c:pt>
              </c:numCache>
            </c:numRef>
          </c:yVal>
          <c:smooth val="0"/>
          <c:extLst>
            <c:ext xmlns:c16="http://schemas.microsoft.com/office/drawing/2014/chart" uri="{C3380CC4-5D6E-409C-BE32-E72D297353CC}">
              <c16:uniqueId val="{00000002-F32D-48B7-BC20-E66FC6253BAD}"/>
            </c:ext>
          </c:extLst>
        </c:ser>
        <c:ser>
          <c:idx val="2"/>
          <c:order val="2"/>
          <c:tx>
            <c:strRef>
              <c:f>Sheet1!$B$12</c:f>
              <c:strCache>
                <c:ptCount val="1"/>
                <c:pt idx="0">
                  <c:v>Custom Linep3yQ</c:v>
                </c:pt>
              </c:strCache>
            </c:strRef>
          </c:tx>
          <c:spPr>
            <a:ln w="19050" cap="rnd">
              <a:solidFill>
                <a:srgbClr val="C00000"/>
              </a:solidFill>
              <a:prstDash val="sysDot"/>
              <a:round/>
            </a:ln>
            <a:effectLst/>
          </c:spPr>
          <c:marker>
            <c:symbol val="none"/>
          </c:marker>
          <c:xVal>
            <c:numRef>
              <c:f>Sheet1!$A$13:$A$14</c:f>
              <c:numCache>
                <c:formatCode>General</c:formatCode>
                <c:ptCount val="2"/>
                <c:pt idx="0">
                  <c:v>0</c:v>
                </c:pt>
                <c:pt idx="1">
                  <c:v>0.0</c:v>
                </c:pt>
              </c:numCache>
            </c:numRef>
          </c:xVal>
          <c:yVal>
            <c:numRef>
              <c:f>Sheet1!$B$13:$B$14</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A$18</c:f>
              <c:numCache>
                <c:formatCode>General</c:formatCode>
                <c:ptCount val="2"/>
                <c:pt idx="0">
                  <c:v>0.0</c:v>
                </c:pt>
                <c:pt idx="1">
                  <c:v>0.0</c:v>
                </c:pt>
              </c:numCache>
            </c:numRef>
          </c:xVal>
          <c:yVal>
            <c:numRef>
              <c:f>Sheet1!$B$17:$B$18</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1:$A$22</c:f>
              <c:numCache>
                <c:formatCode>General</c:formatCode>
                <c:ptCount val="2"/>
                <c:pt idx="0">
                  <c:v>0</c:v>
                </c:pt>
                <c:pt idx="1">
                  <c:v>0.0</c:v>
                </c:pt>
              </c:numCache>
            </c:numRef>
          </c:xVal>
          <c:yVal>
            <c:numRef>
              <c:f>Sheet1!$B$21:$B$22</c:f>
              <c:numCache>
                <c:formatCode>General</c:formatCode>
                <c:ptCount val="2"/>
                <c:pt idx="0">
                  <c:v>0.0</c:v>
                </c:pt>
                <c:pt idx="1">
                  <c:v>0.0</c:v>
                </c:pt>
              </c:numCache>
            </c:numRef>
          </c:yVal>
          <c:smooth val="0"/>
          <c:extLst>
            <c:ext xmlns:c16="http://schemas.microsoft.com/office/drawing/2014/chart" uri="{C3380CC4-5D6E-409C-BE32-E72D297353CC}">
              <c16:uniqueId val="{0000000A-F32D-48B7-BC20-E66FC6253BAD}"/>
            </c:ext>
          </c:extLst>
        </c:ser>
        <c:ser>
          <c:idx val="5"/>
          <c:order val="5"/>
          <c:tx>
            <c:strRef>
              <c:f>Sheet1!$B$2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5:$A$26</c:f>
              <c:numCache>
                <c:formatCode>General</c:formatCode>
                <c:ptCount val="2"/>
                <c:pt idx="0">
                  <c:v>0.0</c:v>
                </c:pt>
                <c:pt idx="1">
                  <c:v>0.0</c:v>
                </c:pt>
              </c:numCache>
            </c:numRef>
          </c:xVal>
          <c:yVal>
            <c:numRef>
              <c:f>Sheet1!$B$25:$B$26</c:f>
              <c:numCache>
                <c:formatCode>General</c:formatCode>
                <c:ptCount val="2"/>
                <c:pt idx="0">
                  <c:v>0.0</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9:$A$30</c:f>
              <c:numCache>
                <c:formatCode>General</c:formatCode>
                <c:ptCount val="2"/>
                <c:pt idx="0">
                  <c:v>0</c:v>
                </c:pt>
                <c:pt idx="1">
                  <c:v>0.0</c:v>
                </c:pt>
              </c:numCache>
            </c:numRef>
          </c:xVal>
          <c:yVal>
            <c:numRef>
              <c:f>Sheet1!$B$29:$B$30</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3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3:$A$34</c:f>
              <c:numCache>
                <c:formatCode>General</c:formatCode>
                <c:ptCount val="2"/>
                <c:pt idx="0">
                  <c:v>0.0</c:v>
                </c:pt>
                <c:pt idx="1">
                  <c:v>0.0</c:v>
                </c:pt>
              </c:numCache>
            </c:numRef>
          </c:xVal>
          <c:yVal>
            <c:numRef>
              <c:f>Sheet1!$B$33:$B$34</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7:$A$46</c:f>
              <c:numCache>
                <c:formatCode>General</c:formatCode>
                <c:ptCount val="10"/>
                <c:pt idx="0">
                  <c:v>0.0</c:v>
                </c:pt>
                <c:pt idx="1">
                  <c:v>0.0</c:v>
                </c:pt>
                <c:pt idx="2">
                  <c:v>0.0</c:v>
                </c:pt>
                <c:pt idx="3">
                  <c:v>0.0</c:v>
                </c:pt>
                <c:pt idx="4">
                  <c:v>0.0</c:v>
                </c:pt>
                <c:pt idx="5">
                  <c:v>0.0</c:v>
                </c:pt>
                <c:pt idx="6">
                  <c:v>0.0</c:v>
                </c:pt>
                <c:pt idx="7">
                  <c:v>0.0</c:v>
                </c:pt>
                <c:pt idx="8">
                  <c:v>0.0</c:v>
                </c:pt>
                <c:pt idx="9">
                  <c:v>0.0</c:v>
                </c:pt>
              </c:numCache>
            </c:numRef>
          </c:xVal>
          <c:yVal>
            <c:numRef>
              <c:f>Sheet1!$B$37:$B$46</c:f>
              <c:numCache>
                <c:formatCode>General</c:formatCode>
                <c:ptCount val="10"/>
                <c:pt idx="0">
                  <c:v>0.0</c:v>
                </c:pt>
                <c:pt idx="1">
                  <c:v>0.0</c:v>
                </c:pt>
                <c:pt idx="2">
                  <c:v>0.0</c:v>
                </c:pt>
                <c:pt idx="3">
                  <c:v>0.0</c:v>
                </c:pt>
                <c:pt idx="4">
                  <c:v>0.0</c:v>
                </c:pt>
                <c:pt idx="5">
                  <c:v>0.0</c:v>
                </c:pt>
                <c:pt idx="6">
                  <c:v>0.0</c:v>
                </c:pt>
                <c:pt idx="7">
                  <c:v>0.0</c:v>
                </c:pt>
                <c:pt idx="8">
                  <c:v>0.0</c:v>
                </c:pt>
                <c:pt idx="9">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10</c:f>
              <c:numCache>
                <c:formatCode>General</c:formatCode>
                <c:ptCount val="7"/>
                <c:pt idx="0">
                  <c:v>0.0</c:v>
                </c:pt>
                <c:pt idx="1">
                  <c:v>0.0</c:v>
                </c:pt>
                <c:pt idx="2">
                  <c:v>0.0</c:v>
                </c:pt>
                <c:pt idx="3">
                  <c:v>0.0</c:v>
                </c:pt>
                <c:pt idx="4">
                  <c:v>0.0</c:v>
                </c:pt>
                <c:pt idx="5">
                  <c:v>0.0</c:v>
                </c:pt>
                <c:pt idx="6">
                  <c:v>0.0</c:v>
                </c:pt>
              </c:numCache>
            </c:numRef>
          </c:xVal>
          <c:yVal>
            <c:numRef>
              <c:f>Sheet1!$B$4:$B$10</c:f>
              <c:numCache>
                <c:formatCode>General</c:formatCode>
                <c:ptCount val="7"/>
                <c:pt idx="0">
                  <c:v>0.0</c:v>
                </c:pt>
                <c:pt idx="1">
                  <c:v>0.0</c:v>
                </c:pt>
                <c:pt idx="2">
                  <c:v>0.0</c:v>
                </c:pt>
                <c:pt idx="3">
                  <c:v>0.0</c:v>
                </c:pt>
                <c:pt idx="4">
                  <c:v>0.0</c:v>
                </c:pt>
                <c:pt idx="5">
                  <c:v>0.0</c:v>
                </c:pt>
                <c:pt idx="6">
                  <c:v>0.0</c:v>
                </c:pt>
              </c:numCache>
            </c:numRef>
          </c:yVal>
          <c:smooth val="0"/>
          <c:extLst>
            <c:ext xmlns:c16="http://schemas.microsoft.com/office/drawing/2014/chart" uri="{C3380CC4-5D6E-409C-BE32-E72D297353CC}">
              <c16:uniqueId val="{00000002-096C-4121-9522-6AB7243CCAAE}"/>
            </c:ext>
          </c:extLst>
        </c:ser>
        <c:ser>
          <c:idx val="2"/>
          <c:order val="2"/>
          <c:tx>
            <c:strRef>
              <c:f>Sheet1!$B$1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A$14</c:f>
              <c:numCache>
                <c:formatCode>General</c:formatCode>
                <c:ptCount val="2"/>
                <c:pt idx="0">
                  <c:v>0</c:v>
                </c:pt>
                <c:pt idx="1">
                  <c:v>0.0</c:v>
                </c:pt>
              </c:numCache>
            </c:numRef>
          </c:xVal>
          <c:yVal>
            <c:numRef>
              <c:f>Sheet1!$B$13:$B$14</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A$18</c:f>
              <c:numCache>
                <c:formatCode>General</c:formatCode>
                <c:ptCount val="2"/>
                <c:pt idx="0">
                  <c:v>0.0</c:v>
                </c:pt>
                <c:pt idx="1">
                  <c:v>0.0</c:v>
                </c:pt>
              </c:numCache>
            </c:numRef>
          </c:xVal>
          <c:yVal>
            <c:numRef>
              <c:f>Sheet1!$B$17:$B$18</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1:$A$22</c:f>
              <c:numCache>
                <c:formatCode>General</c:formatCode>
                <c:ptCount val="2"/>
                <c:pt idx="0">
                  <c:v>0</c:v>
                </c:pt>
                <c:pt idx="1">
                  <c:v>0.0</c:v>
                </c:pt>
              </c:numCache>
            </c:numRef>
          </c:xVal>
          <c:yVal>
            <c:numRef>
              <c:f>Sheet1!$B$21:$B$22</c:f>
              <c:numCache>
                <c:formatCode>General</c:formatCode>
                <c:ptCount val="2"/>
                <c:pt idx="0">
                  <c:v>0.0</c:v>
                </c:pt>
                <c:pt idx="1">
                  <c:v>0.0</c:v>
                </c:pt>
              </c:numCache>
            </c:numRef>
          </c:yVal>
          <c:smooth val="0"/>
          <c:extLst>
            <c:ext xmlns:c16="http://schemas.microsoft.com/office/drawing/2014/chart" uri="{C3380CC4-5D6E-409C-BE32-E72D297353CC}">
              <c16:uniqueId val="{0000000D-096C-4121-9522-6AB7243CCAAE}"/>
            </c:ext>
          </c:extLst>
        </c:ser>
        <c:ser>
          <c:idx val="5"/>
          <c:order val="5"/>
          <c:tx>
            <c:strRef>
              <c:f>Sheet1!$B$2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5:$A$26</c:f>
              <c:numCache>
                <c:formatCode>General</c:formatCode>
                <c:ptCount val="2"/>
                <c:pt idx="0">
                  <c:v>0.0</c:v>
                </c:pt>
                <c:pt idx="1">
                  <c:v>0.0</c:v>
                </c:pt>
              </c:numCache>
            </c:numRef>
          </c:xVal>
          <c:yVal>
            <c:numRef>
              <c:f>Sheet1!$B$25:$B$26</c:f>
              <c:numCache>
                <c:formatCode>General</c:formatCode>
                <c:ptCount val="2"/>
                <c:pt idx="0">
                  <c:v>0.0</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9:$A$30</c:f>
              <c:numCache>
                <c:formatCode>General</c:formatCode>
                <c:ptCount val="2"/>
                <c:pt idx="0">
                  <c:v>0</c:v>
                </c:pt>
                <c:pt idx="1">
                  <c:v>0.0</c:v>
                </c:pt>
              </c:numCache>
            </c:numRef>
          </c:xVal>
          <c:yVal>
            <c:numRef>
              <c:f>Sheet1!$B$29:$B$30</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3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3:$A$34</c:f>
              <c:numCache>
                <c:formatCode>General</c:formatCode>
                <c:ptCount val="2"/>
                <c:pt idx="0">
                  <c:v>0.0</c:v>
                </c:pt>
                <c:pt idx="1">
                  <c:v>0.0</c:v>
                </c:pt>
              </c:numCache>
            </c:numRef>
          </c:xVal>
          <c:yVal>
            <c:numRef>
              <c:f>Sheet1!$B$33:$B$34</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7:$A$46</c:f>
              <c:numCache>
                <c:formatCode>General</c:formatCode>
                <c:ptCount val="10"/>
                <c:pt idx="0">
                  <c:v>0.0</c:v>
                </c:pt>
                <c:pt idx="1">
                  <c:v>0.0</c:v>
                </c:pt>
                <c:pt idx="2">
                  <c:v>0.0</c:v>
                </c:pt>
                <c:pt idx="3">
                  <c:v>0.0</c:v>
                </c:pt>
                <c:pt idx="4">
                  <c:v>0.0</c:v>
                </c:pt>
                <c:pt idx="5">
                  <c:v>0.0</c:v>
                </c:pt>
                <c:pt idx="6">
                  <c:v>0.0</c:v>
                </c:pt>
                <c:pt idx="7">
                  <c:v>0.0</c:v>
                </c:pt>
                <c:pt idx="8">
                  <c:v>0.0</c:v>
                </c:pt>
                <c:pt idx="9">
                  <c:v>0.0</c:v>
                </c:pt>
              </c:numCache>
            </c:numRef>
          </c:xVal>
          <c:yVal>
            <c:numRef>
              <c:f>Sheet1!$B$37:$B$46</c:f>
              <c:numCache>
                <c:formatCode>General</c:formatCode>
                <c:ptCount val="10"/>
                <c:pt idx="0">
                  <c:v>0.0</c:v>
                </c:pt>
                <c:pt idx="1">
                  <c:v>0.0</c:v>
                </c:pt>
                <c:pt idx="2">
                  <c:v>0.0</c:v>
                </c:pt>
                <c:pt idx="3">
                  <c:v>0.0</c:v>
                </c:pt>
                <c:pt idx="4">
                  <c:v>0.0</c:v>
                </c:pt>
                <c:pt idx="5">
                  <c:v>0.0</c:v>
                </c:pt>
                <c:pt idx="6">
                  <c:v>0.0</c:v>
                </c:pt>
                <c:pt idx="7">
                  <c:v>0.0</c:v>
                </c:pt>
                <c:pt idx="8">
                  <c:v>0.0</c:v>
                </c:pt>
                <c:pt idx="9">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10</c:f>
              <c:numCache>
                <c:formatCode>General</c:formatCode>
                <c:ptCount val="7"/>
                <c:pt idx="0">
                  <c:v>0.0</c:v>
                </c:pt>
                <c:pt idx="1">
                  <c:v>0.0</c:v>
                </c:pt>
                <c:pt idx="2">
                  <c:v>0.0</c:v>
                </c:pt>
                <c:pt idx="3">
                  <c:v>0.0</c:v>
                </c:pt>
                <c:pt idx="4">
                  <c:v>0.0</c:v>
                </c:pt>
                <c:pt idx="5">
                  <c:v>0.0</c:v>
                </c:pt>
                <c:pt idx="6">
                  <c:v>0.0</c:v>
                </c:pt>
              </c:numCache>
            </c:numRef>
          </c:xVal>
          <c:yVal>
            <c:numRef>
              <c:f>Sheet1!$B$4:$B$10</c:f>
              <c:numCache>
                <c:formatCode>General</c:formatCode>
                <c:ptCount val="7"/>
                <c:pt idx="0">
                  <c:v>0.0</c:v>
                </c:pt>
                <c:pt idx="1">
                  <c:v>0.0</c:v>
                </c:pt>
                <c:pt idx="2">
                  <c:v>0.0</c:v>
                </c:pt>
                <c:pt idx="3">
                  <c:v>0.0</c:v>
                </c:pt>
                <c:pt idx="4">
                  <c:v>0.0</c:v>
                </c:pt>
                <c:pt idx="5">
                  <c:v>0.0</c:v>
                </c:pt>
                <c:pt idx="6">
                  <c:v>0.0</c:v>
                </c:pt>
              </c:numCache>
            </c:numRef>
          </c:yVal>
          <c:smooth val="0"/>
          <c:extLst>
            <c:ext xmlns:c16="http://schemas.microsoft.com/office/drawing/2014/chart" uri="{C3380CC4-5D6E-409C-BE32-E72D297353CC}">
              <c16:uniqueId val="{00000002-F32D-48B7-BC20-E66FC6253BAD}"/>
            </c:ext>
          </c:extLst>
        </c:ser>
        <c:ser>
          <c:idx val="2"/>
          <c:order val="2"/>
          <c:tx>
            <c:strRef>
              <c:f>Sheet1!$B$12</c:f>
              <c:strCache>
                <c:ptCount val="1"/>
                <c:pt idx="0">
                  <c:v>Custom Linep3yQ</c:v>
                </c:pt>
              </c:strCache>
            </c:strRef>
          </c:tx>
          <c:spPr>
            <a:ln w="19050" cap="rnd">
              <a:solidFill>
                <a:srgbClr val="C00000"/>
              </a:solidFill>
              <a:prstDash val="sysDot"/>
              <a:round/>
            </a:ln>
            <a:effectLst/>
          </c:spPr>
          <c:marker>
            <c:symbol val="none"/>
          </c:marker>
          <c:xVal>
            <c:numRef>
              <c:f>Sheet1!$A$13:$A$14</c:f>
              <c:numCache>
                <c:formatCode>General</c:formatCode>
                <c:ptCount val="2"/>
                <c:pt idx="0">
                  <c:v>0</c:v>
                </c:pt>
                <c:pt idx="1">
                  <c:v>0.0</c:v>
                </c:pt>
              </c:numCache>
            </c:numRef>
          </c:xVal>
          <c:yVal>
            <c:numRef>
              <c:f>Sheet1!$B$13:$B$14</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A$18</c:f>
              <c:numCache>
                <c:formatCode>General</c:formatCode>
                <c:ptCount val="2"/>
                <c:pt idx="0">
                  <c:v>0.0</c:v>
                </c:pt>
                <c:pt idx="1">
                  <c:v>0.0</c:v>
                </c:pt>
              </c:numCache>
            </c:numRef>
          </c:xVal>
          <c:yVal>
            <c:numRef>
              <c:f>Sheet1!$B$17:$B$18</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1:$A$22</c:f>
              <c:numCache>
                <c:formatCode>General</c:formatCode>
                <c:ptCount val="2"/>
                <c:pt idx="0">
                  <c:v>0</c:v>
                </c:pt>
                <c:pt idx="1">
                  <c:v>0.0</c:v>
                </c:pt>
              </c:numCache>
            </c:numRef>
          </c:xVal>
          <c:yVal>
            <c:numRef>
              <c:f>Sheet1!$B$21:$B$22</c:f>
              <c:numCache>
                <c:formatCode>General</c:formatCode>
                <c:ptCount val="2"/>
                <c:pt idx="0">
                  <c:v>0.0</c:v>
                </c:pt>
                <c:pt idx="1">
                  <c:v>0.0</c:v>
                </c:pt>
              </c:numCache>
            </c:numRef>
          </c:yVal>
          <c:smooth val="0"/>
          <c:extLst>
            <c:ext xmlns:c16="http://schemas.microsoft.com/office/drawing/2014/chart" uri="{C3380CC4-5D6E-409C-BE32-E72D297353CC}">
              <c16:uniqueId val="{0000000A-F32D-48B7-BC20-E66FC6253BAD}"/>
            </c:ext>
          </c:extLst>
        </c:ser>
        <c:ser>
          <c:idx val="5"/>
          <c:order val="5"/>
          <c:tx>
            <c:strRef>
              <c:f>Sheet1!$B$2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5:$A$26</c:f>
              <c:numCache>
                <c:formatCode>General</c:formatCode>
                <c:ptCount val="2"/>
                <c:pt idx="0">
                  <c:v>0.0</c:v>
                </c:pt>
                <c:pt idx="1">
                  <c:v>0.0</c:v>
                </c:pt>
              </c:numCache>
            </c:numRef>
          </c:xVal>
          <c:yVal>
            <c:numRef>
              <c:f>Sheet1!$B$25:$B$26</c:f>
              <c:numCache>
                <c:formatCode>General</c:formatCode>
                <c:ptCount val="2"/>
                <c:pt idx="0">
                  <c:v>0.0</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9:$A$30</c:f>
              <c:numCache>
                <c:formatCode>General</c:formatCode>
                <c:ptCount val="2"/>
                <c:pt idx="0">
                  <c:v>0</c:v>
                </c:pt>
                <c:pt idx="1">
                  <c:v>0.0</c:v>
                </c:pt>
              </c:numCache>
            </c:numRef>
          </c:xVal>
          <c:yVal>
            <c:numRef>
              <c:f>Sheet1!$B$29:$B$30</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3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3:$A$34</c:f>
              <c:numCache>
                <c:formatCode>General</c:formatCode>
                <c:ptCount val="2"/>
                <c:pt idx="0">
                  <c:v>0.0</c:v>
                </c:pt>
                <c:pt idx="1">
                  <c:v>0.0</c:v>
                </c:pt>
              </c:numCache>
            </c:numRef>
          </c:xVal>
          <c:yVal>
            <c:numRef>
              <c:f>Sheet1!$B$33:$B$34</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7:$A$46</c:f>
              <c:numCache>
                <c:formatCode>General</c:formatCode>
                <c:ptCount val="10"/>
                <c:pt idx="0">
                  <c:v>0.0</c:v>
                </c:pt>
                <c:pt idx="1">
                  <c:v>0.0</c:v>
                </c:pt>
                <c:pt idx="2">
                  <c:v>0.0</c:v>
                </c:pt>
                <c:pt idx="3">
                  <c:v>0.0</c:v>
                </c:pt>
                <c:pt idx="4">
                  <c:v>0.0</c:v>
                </c:pt>
                <c:pt idx="5">
                  <c:v>0.0</c:v>
                </c:pt>
                <c:pt idx="6">
                  <c:v>0.0</c:v>
                </c:pt>
                <c:pt idx="7">
                  <c:v>0.0</c:v>
                </c:pt>
                <c:pt idx="8">
                  <c:v>0.0</c:v>
                </c:pt>
                <c:pt idx="9">
                  <c:v>0.0</c:v>
                </c:pt>
              </c:numCache>
            </c:numRef>
          </c:xVal>
          <c:yVal>
            <c:numRef>
              <c:f>Sheet1!$B$37:$B$46</c:f>
              <c:numCache>
                <c:formatCode>General</c:formatCode>
                <c:ptCount val="10"/>
                <c:pt idx="0">
                  <c:v>0.0</c:v>
                </c:pt>
                <c:pt idx="1">
                  <c:v>0.0</c:v>
                </c:pt>
                <c:pt idx="2">
                  <c:v>0.0</c:v>
                </c:pt>
                <c:pt idx="3">
                  <c:v>0.0</c:v>
                </c:pt>
                <c:pt idx="4">
                  <c:v>0.0</c:v>
                </c:pt>
                <c:pt idx="5">
                  <c:v>0.0</c:v>
                </c:pt>
                <c:pt idx="6">
                  <c:v>0.0</c:v>
                </c:pt>
                <c:pt idx="7">
                  <c:v>0.0</c:v>
                </c:pt>
                <c:pt idx="8">
                  <c:v>0.0</c:v>
                </c:pt>
                <c:pt idx="9">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10</c:f>
              <c:numCache>
                <c:formatCode>General</c:formatCode>
                <c:ptCount val="7"/>
                <c:pt idx="0">
                  <c:v>0.0</c:v>
                </c:pt>
                <c:pt idx="1">
                  <c:v>0.0</c:v>
                </c:pt>
                <c:pt idx="2">
                  <c:v>0.0</c:v>
                </c:pt>
                <c:pt idx="3">
                  <c:v>0.0</c:v>
                </c:pt>
                <c:pt idx="4">
                  <c:v>0.0</c:v>
                </c:pt>
                <c:pt idx="5">
                  <c:v>0.0</c:v>
                </c:pt>
                <c:pt idx="6">
                  <c:v>0.0</c:v>
                </c:pt>
              </c:numCache>
            </c:numRef>
          </c:xVal>
          <c:yVal>
            <c:numRef>
              <c:f>Sheet1!$B$4:$B$10</c:f>
              <c:numCache>
                <c:formatCode>General</c:formatCode>
                <c:ptCount val="7"/>
                <c:pt idx="0">
                  <c:v>0.0</c:v>
                </c:pt>
                <c:pt idx="1">
                  <c:v>0.0</c:v>
                </c:pt>
                <c:pt idx="2">
                  <c:v>0.0</c:v>
                </c:pt>
                <c:pt idx="3">
                  <c:v>0.0</c:v>
                </c:pt>
                <c:pt idx="4">
                  <c:v>0.0</c:v>
                </c:pt>
                <c:pt idx="5">
                  <c:v>0.0</c:v>
                </c:pt>
                <c:pt idx="6">
                  <c:v>0.0</c:v>
                </c:pt>
              </c:numCache>
            </c:numRef>
          </c:yVal>
          <c:smooth val="0"/>
          <c:extLst>
            <c:ext xmlns:c16="http://schemas.microsoft.com/office/drawing/2014/chart" uri="{C3380CC4-5D6E-409C-BE32-E72D297353CC}">
              <c16:uniqueId val="{00000002-096C-4121-9522-6AB7243CCAAE}"/>
            </c:ext>
          </c:extLst>
        </c:ser>
        <c:ser>
          <c:idx val="2"/>
          <c:order val="2"/>
          <c:tx>
            <c:strRef>
              <c:f>Sheet1!$B$1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A$14</c:f>
              <c:numCache>
                <c:formatCode>General</c:formatCode>
                <c:ptCount val="2"/>
                <c:pt idx="0">
                  <c:v>0</c:v>
                </c:pt>
                <c:pt idx="1">
                  <c:v>0.0</c:v>
                </c:pt>
              </c:numCache>
            </c:numRef>
          </c:xVal>
          <c:yVal>
            <c:numRef>
              <c:f>Sheet1!$B$13:$B$14</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A$18</c:f>
              <c:numCache>
                <c:formatCode>General</c:formatCode>
                <c:ptCount val="2"/>
                <c:pt idx="0">
                  <c:v>0.0</c:v>
                </c:pt>
                <c:pt idx="1">
                  <c:v>0.0</c:v>
                </c:pt>
              </c:numCache>
            </c:numRef>
          </c:xVal>
          <c:yVal>
            <c:numRef>
              <c:f>Sheet1!$B$17:$B$18</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1:$A$22</c:f>
              <c:numCache>
                <c:formatCode>General</c:formatCode>
                <c:ptCount val="2"/>
                <c:pt idx="0">
                  <c:v>0</c:v>
                </c:pt>
                <c:pt idx="1">
                  <c:v>0.0</c:v>
                </c:pt>
              </c:numCache>
            </c:numRef>
          </c:xVal>
          <c:yVal>
            <c:numRef>
              <c:f>Sheet1!$B$21:$B$22</c:f>
              <c:numCache>
                <c:formatCode>General</c:formatCode>
                <c:ptCount val="2"/>
                <c:pt idx="0">
                  <c:v>0.0</c:v>
                </c:pt>
                <c:pt idx="1">
                  <c:v>0.0</c:v>
                </c:pt>
              </c:numCache>
            </c:numRef>
          </c:yVal>
          <c:smooth val="0"/>
          <c:extLst>
            <c:ext xmlns:c16="http://schemas.microsoft.com/office/drawing/2014/chart" uri="{C3380CC4-5D6E-409C-BE32-E72D297353CC}">
              <c16:uniqueId val="{0000000D-096C-4121-9522-6AB7243CCAAE}"/>
            </c:ext>
          </c:extLst>
        </c:ser>
        <c:ser>
          <c:idx val="5"/>
          <c:order val="5"/>
          <c:tx>
            <c:strRef>
              <c:f>Sheet1!$B$2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5:$A$26</c:f>
              <c:numCache>
                <c:formatCode>General</c:formatCode>
                <c:ptCount val="2"/>
                <c:pt idx="0">
                  <c:v>0.0</c:v>
                </c:pt>
                <c:pt idx="1">
                  <c:v>0.0</c:v>
                </c:pt>
              </c:numCache>
            </c:numRef>
          </c:xVal>
          <c:yVal>
            <c:numRef>
              <c:f>Sheet1!$B$25:$B$26</c:f>
              <c:numCache>
                <c:formatCode>General</c:formatCode>
                <c:ptCount val="2"/>
                <c:pt idx="0">
                  <c:v>0.0</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9:$A$30</c:f>
              <c:numCache>
                <c:formatCode>General</c:formatCode>
                <c:ptCount val="2"/>
                <c:pt idx="0">
                  <c:v>0</c:v>
                </c:pt>
                <c:pt idx="1">
                  <c:v>0.0</c:v>
                </c:pt>
              </c:numCache>
            </c:numRef>
          </c:xVal>
          <c:yVal>
            <c:numRef>
              <c:f>Sheet1!$B$29:$B$30</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3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3:$A$34</c:f>
              <c:numCache>
                <c:formatCode>General</c:formatCode>
                <c:ptCount val="2"/>
                <c:pt idx="0">
                  <c:v>0.0</c:v>
                </c:pt>
                <c:pt idx="1">
                  <c:v>0.0</c:v>
                </c:pt>
              </c:numCache>
            </c:numRef>
          </c:xVal>
          <c:yVal>
            <c:numRef>
              <c:f>Sheet1!$B$33:$B$34</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7:$A$46</c:f>
              <c:numCache>
                <c:formatCode>General</c:formatCode>
                <c:ptCount val="10"/>
                <c:pt idx="0">
                  <c:v>0.0</c:v>
                </c:pt>
                <c:pt idx="1">
                  <c:v>0.0</c:v>
                </c:pt>
                <c:pt idx="2">
                  <c:v>0.0</c:v>
                </c:pt>
                <c:pt idx="3">
                  <c:v>0.0</c:v>
                </c:pt>
                <c:pt idx="4">
                  <c:v>0.0</c:v>
                </c:pt>
                <c:pt idx="5">
                  <c:v>0.0</c:v>
                </c:pt>
                <c:pt idx="6">
                  <c:v>0.0</c:v>
                </c:pt>
                <c:pt idx="7">
                  <c:v>0.0</c:v>
                </c:pt>
                <c:pt idx="8">
                  <c:v>0.0</c:v>
                </c:pt>
                <c:pt idx="9">
                  <c:v>0.0</c:v>
                </c:pt>
              </c:numCache>
            </c:numRef>
          </c:xVal>
          <c:yVal>
            <c:numRef>
              <c:f>Sheet1!$B$37:$B$46</c:f>
              <c:numCache>
                <c:formatCode>General</c:formatCode>
                <c:ptCount val="10"/>
                <c:pt idx="0">
                  <c:v>0.0</c:v>
                </c:pt>
                <c:pt idx="1">
                  <c:v>0.0</c:v>
                </c:pt>
                <c:pt idx="2">
                  <c:v>0.0</c:v>
                </c:pt>
                <c:pt idx="3">
                  <c:v>0.0</c:v>
                </c:pt>
                <c:pt idx="4">
                  <c:v>0.0</c:v>
                </c:pt>
                <c:pt idx="5">
                  <c:v>0.0</c:v>
                </c:pt>
                <c:pt idx="6">
                  <c:v>0.0</c:v>
                </c:pt>
                <c:pt idx="7">
                  <c:v>0.0</c:v>
                </c:pt>
                <c:pt idx="8">
                  <c:v>0.0</c:v>
                </c:pt>
                <c:pt idx="9">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ve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354326722392351</c:v>
                </c:pt>
                <c:pt idx="1">
                  <c:v>1.2139280689748084</c:v>
                </c:pt>
                <c:pt idx="2">
                  <c:v>1.2138461547873327</c:v>
                </c:pt>
                <c:pt idx="3">
                  <c:v>0.960878519868561</c:v>
                </c:pt>
                <c:pt idx="4">
                  <c:v>1.1017638461493755</c:v>
                </c:pt>
                <c:pt idx="5">
                  <c:v>1.4078760325445898</c:v>
                </c:pt>
                <c:pt idx="6">
                  <c:v>1.1245485710078025</c:v>
                </c:pt>
                <c:pt idx="7">
                  <c:v>0.7874624199347999</c:v>
                </c:pt>
                <c:pt idx="8">
                  <c:v>1.295691016358969</c:v>
                </c:pt>
                <c:pt idx="9">
                  <c:v>1.091377727621227</c:v>
                </c:pt>
                <c:pt idx="10">
                  <c:v>1.0330073603861336</c:v>
                </c:pt>
                <c:pt idx="11">
                  <c:v>0.8964961557336332</c:v>
                </c:pt>
                <c:pt idx="12">
                  <c:v>1.4409365797775933</c:v>
                </c:pt>
                <c:pt idx="13">
                  <c:v>1.0476375859015612</c:v>
                </c:pt>
                <c:pt idx="14">
                  <c:v>0.0</c:v>
                </c:pt>
                <c:pt idx="15">
                  <c:v>0.7307795486173535</c:v>
                </c:pt>
                <c:pt idx="16">
                  <c:v>0.3977090638486649</c:v>
                </c:pt>
                <c:pt idx="17">
                  <c:v>1.178227375178359</c:v>
                </c:pt>
                <c:pt idx="18">
                  <c:v>0.0</c:v>
                </c:pt>
                <c:pt idx="19">
                  <c:v>0.6245355867579098</c:v>
                </c:pt>
                <c:pt idx="20">
                  <c:v>0.8637252522024399</c:v>
                </c:pt>
                <c:pt idx="21">
                  <c:v>1.0824098141798166</c:v>
                </c:pt>
                <c:pt idx="22">
                  <c:v>0.8416657303268639</c:v>
                </c:pt>
                <c:pt idx="23">
                  <c:v>0.9937441083198905</c:v>
                </c:pt>
                <c:pt idx="24">
                  <c:v>0.9821927131610091</c:v>
                </c:pt>
                <c:pt idx="25">
                  <c:v>0.6829339375731956</c:v>
                </c:pt>
                <c:pt idx="26">
                  <c:v>0.978965589359534</c:v>
                </c:pt>
                <c:pt idx="27">
                  <c:v>2.331883922171076</c:v>
                </c:pt>
                <c:pt idx="28">
                  <c:v>0.49361327514281944</c:v>
                </c:pt>
                <c:pt idx="29">
                  <c:v>1.0689113449469985</c:v>
                </c:pt>
                <c:pt idx="30">
                  <c:v>0.5548744587672944</c:v>
                </c:pt>
                <c:pt idx="31">
                  <c:v>0.6830057152375475</c:v>
                </c:pt>
                <c:pt idx="32">
                  <c:v>1.205662041347487</c:v>
                </c:pt>
                <c:pt idx="33">
                  <c:v>0.5583772902994998</c:v>
                </c:pt>
                <c:pt idx="34">
                  <c:v>0.5405858458231345</c:v>
                </c:pt>
                <c:pt idx="35">
                  <c:v>0.5876717763017041</c:v>
                </c:pt>
                <c:pt idx="36">
                  <c:v>0.9257283404237769</c:v>
                </c:pt>
                <c:pt idx="37">
                  <c:v>0.6020718432033275</c:v>
                </c:pt>
                <c:pt idx="38">
                  <c:v>1.0370971673293956</c:v>
                </c:pt>
                <c:pt idx="39">
                  <c:v>0.753391245937411</c:v>
                </c:pt>
                <c:pt idx="40">
                  <c:v>1.2494158836296547</c:v>
                </c:pt>
                <c:pt idx="41">
                  <c:v>0.7449761615774397</c:v>
                </c:pt>
                <c:pt idx="42">
                  <c:v>1.465789700776348</c:v>
                </c:pt>
                <c:pt idx="43">
                  <c:v>1.05118167266496</c:v>
                </c:pt>
                <c:pt idx="44">
                  <c:v>0.7149264956377344</c:v>
                </c:pt>
                <c:pt idx="45">
                  <c:v>0.736054558866911</c:v>
                </c:pt>
                <c:pt idx="46">
                  <c:v>0.6874516835891648</c:v>
                </c:pt>
                <c:pt idx="47">
                  <c:v>0.5628935892760796</c:v>
                </c:pt>
                <c:pt idx="48">
                  <c:v>0.8283181188675169</c:v>
                </c:pt>
                <c:pt idx="49">
                  <c:v>0.699047200053224</c:v>
                </c:pt>
                <c:pt idx="50">
                  <c:v>0.7699652216280705</c:v>
                </c:pt>
                <c:pt idx="51">
                  <c:v>0.6807484255766341</c:v>
                </c:pt>
                <c:pt idx="52">
                  <c:v>0.866692707307237</c:v>
                </c:pt>
                <c:pt idx="53">
                  <c:v>0.6653841459624622</c:v>
                </c:pt>
                <c:pt idx="54">
                  <c:v>0.678615365347346</c:v>
                </c:pt>
                <c:pt idx="55">
                  <c:v>0.7858752104524525</c:v>
                </c:pt>
                <c:pt idx="56">
                  <c:v>1.6630597441934136</c:v>
                </c:pt>
                <c:pt idx="57">
                  <c:v>0.6427016185699633</c:v>
                </c:pt>
                <c:pt idx="58">
                  <c:v>0.7334291984063468</c:v>
                </c:pt>
                <c:pt idx="59">
                  <c:v>0.6634164221981338</c:v>
                </c:pt>
                <c:pt idx="60">
                  <c:v>0.5771739105610265</c:v>
                </c:pt>
                <c:pt idx="61">
                  <c:v>0.5412662460462861</c:v>
                </c:pt>
                <c:pt idx="62">
                  <c:v>0.5716319330495948</c:v>
                </c:pt>
                <c:pt idx="63">
                  <c:v>0.4648851163257724</c:v>
                </c:pt>
                <c:pt idx="64">
                  <c:v>0.5047695237045823</c:v>
                </c:pt>
                <c:pt idx="65">
                  <c:v>0.46160119506374564</c:v>
                </c:pt>
                <c:pt idx="66">
                  <c:v>0.42860474642963137</c:v>
                </c:pt>
                <c:pt idx="67">
                  <c:v>0.5820918607009272</c:v>
                </c:pt>
                <c:pt idx="68">
                  <c:v>0.40210025885516915</c:v>
                </c:pt>
                <c:pt idx="69">
                  <c:v>0.34140886566064854</c:v>
                </c:pt>
                <c:pt idx="70">
                  <c:v>0.3599212853321361</c:v>
                </c:pt>
                <c:pt idx="71">
                  <c:v>0.28911647201337615</c:v>
                </c:pt>
                <c:pt idx="72">
                  <c:v>0.48028682476340856</c:v>
                </c:pt>
                <c:pt idx="73">
                  <c:v>0.32535558185197816</c:v>
                </c:pt>
                <c:pt idx="74">
                  <c:v>0.4044535588525164</c:v>
                </c:pt>
                <c:pt idx="75">
                  <c:v>0.6151950544237516</c:v>
                </c:pt>
                <c:pt idx="76">
                  <c:v>0.5858818148397041</c:v>
                </c:pt>
                <c:pt idx="77">
                  <c:v>0.6853186929800134</c:v>
                </c:pt>
                <c:pt idx="78">
                  <c:v>0.4425839792448145</c:v>
                </c:pt>
                <c:pt idx="79">
                  <c:v>0.6644279561897357</c:v>
                </c:pt>
                <c:pt idx="80">
                  <c:v>0.5909437888412907</c:v>
                </c:pt>
                <c:pt idx="81">
                  <c:v>0.5049044315448753</c:v>
                </c:pt>
                <c:pt idx="82">
                  <c:v>0.5828822432983052</c:v>
                </c:pt>
                <c:pt idx="83">
                  <c:v>0.5632173684715948</c:v>
                </c:pt>
                <c:pt idx="84">
                  <c:v>0.5331968578264198</c:v>
                </c:pt>
                <c:pt idx="85">
                  <c:v>0.47738395542392525</c:v>
                </c:pt>
                <c:pt idx="86">
                  <c:v>0.6678114329092059</c:v>
                </c:pt>
                <c:pt idx="87">
                  <c:v>0.7403176856500857</c:v>
                </c:pt>
                <c:pt idx="88">
                  <c:v>0.5605992952525707</c:v>
                </c:pt>
                <c:pt idx="89">
                  <c:v>0.5023520158871536</c:v>
                </c:pt>
                <c:pt idx="90">
                  <c:v>0.5424675639731874</c:v>
                </c:pt>
                <c:pt idx="91">
                  <c:v>0.5321009460866502</c:v>
                </c:pt>
                <c:pt idx="92">
                  <c:v>0.6070644610828161</c:v>
                </c:pt>
                <c:pt idx="93">
                  <c:v>0.6016996618506891</c:v>
                </c:pt>
                <c:pt idx="94">
                  <c:v>0.6819400382290702</c:v>
                </c:pt>
                <c:pt idx="95">
                  <c:v>0.6403855656009306</c:v>
                </c:pt>
                <c:pt idx="96">
                  <c:v>0.5275219180109367</c:v>
                </c:pt>
                <c:pt idx="97">
                  <c:v>0.5866189472841119</c:v>
                </c:pt>
                <c:pt idx="98">
                  <c:v>0.5989823347252456</c:v>
                </c:pt>
                <c:pt idx="99">
                  <c:v>0.6468964754576311</c:v>
                </c:pt>
                <c:pt idx="100">
                  <c:v>0.7917562344942517</c:v>
                </c:pt>
                <c:pt idx="101">
                  <c:v>0.6839619332442171</c:v>
                </c:pt>
                <c:pt idx="102">
                  <c:v>0.6993203316708484</c:v>
                </c:pt>
                <c:pt idx="103">
                  <c:v>0.6982485182448284</c:v>
                </c:pt>
                <c:pt idx="104">
                  <c:v>0.7825778947747967</c:v>
                </c:pt>
              </c:numCache>
            </c:numRef>
          </c:xVal>
          <c:yVal>
            <c:numRef>
              <c:f>Sheet1!$B$2:$B$106</c:f>
              <c:numCache>
                <c:formatCode>General</c:formatCode>
                <c:ptCount val="105"/>
                <c:pt idx="0">
                  <c:v>0.00031891666462232905</c:v>
                </c:pt>
                <c:pt idx="1">
                  <c:v>7.925395609330832e-05</c:v>
                </c:pt>
                <c:pt idx="2">
                  <c:v>7.552299675251114e-05</c:v>
                </c:pt>
                <c:pt idx="3">
                  <c:v>8.004482510205715e-05</c:v>
                </c:pt>
                <c:pt idx="4">
                  <c:v>6.23966555392631e-05</c:v>
                </c:pt>
                <c:pt idx="5">
                  <c:v>9.57548675390999e-05</c:v>
                </c:pt>
                <c:pt idx="6">
                  <c:v>0.00018340210912425492</c:v>
                </c:pt>
                <c:pt idx="7">
                  <c:v>0.00021210407239819005</c:v>
                </c:pt>
                <c:pt idx="8">
                  <c:v>0.00011031033975584644</c:v>
                </c:pt>
                <c:pt idx="9">
                  <c:v>0.0001392757660167131</c:v>
                </c:pt>
                <c:pt idx="10">
                  <c:v>0.00010751532093323298</c:v>
                </c:pt>
                <c:pt idx="11">
                  <c:v>0.00018946057866673884</c:v>
                </c:pt>
                <c:pt idx="12">
                  <c:v>0.00012403870007442322</c:v>
                </c:pt>
                <c:pt idx="13">
                  <c:v>0.00015577132769094968</c:v>
                </c:pt>
                <c:pt idx="14">
                  <c:v>0.0</c:v>
                </c:pt>
                <c:pt idx="15">
                  <c:v>0.00015527950310559007</c:v>
                </c:pt>
                <c:pt idx="16">
                  <c:v>0.00014243999715120005</c:v>
                </c:pt>
                <c:pt idx="17">
                  <c:v>7.810669374365383e-05</c:v>
                </c:pt>
                <c:pt idx="18">
                  <c:v>0.0</c:v>
                </c:pt>
                <c:pt idx="19">
                  <c:v>0.00015323322096230462</c:v>
                </c:pt>
                <c:pt idx="20">
                  <c:v>0.00012568077084206116</c:v>
                </c:pt>
                <c:pt idx="21">
                  <c:v>5.2578999947421e-05</c:v>
                </c:pt>
                <c:pt idx="22">
                  <c:v>0.00020874647740319382</c:v>
                </c:pt>
                <c:pt idx="23">
                  <c:v>0.0001632386549134835</c:v>
                </c:pt>
                <c:pt idx="24">
                  <c:v>0.00020258293238794632</c:v>
                </c:pt>
                <c:pt idx="25">
                  <c:v>0.0003478059242942438</c:v>
                </c:pt>
                <c:pt idx="26">
                  <c:v>0.00025717518773788703</c:v>
                </c:pt>
                <c:pt idx="27">
                  <c:v>5.060728744939271e-05</c:v>
                </c:pt>
                <c:pt idx="28">
                  <c:v>0.0002570561924836769</c:v>
                </c:pt>
                <c:pt idx="29">
                  <c:v>0.00017968644714972374</c:v>
                </c:pt>
                <c:pt idx="30">
                  <c:v>0.00023078698361412417</c:v>
                </c:pt>
                <c:pt idx="31">
                  <c:v>0.0002249212775528565</c:v>
                </c:pt>
                <c:pt idx="32">
                  <c:v>0.00011039355301650383</c:v>
                </c:pt>
                <c:pt idx="33">
                  <c:v>0.00039227651135422567</c:v>
                </c:pt>
                <c:pt idx="34">
                  <c:v>0.0004630165528417641</c:v>
                </c:pt>
                <c:pt idx="35">
                  <c:v>0.0004770504651242035</c:v>
                </c:pt>
                <c:pt idx="36">
                  <c:v>0.00016523463317911433</c:v>
                </c:pt>
                <c:pt idx="37">
                  <c:v>0.00019287333044023337</c:v>
                </c:pt>
                <c:pt idx="38">
                  <c:v>9.664637092877162e-05</c:v>
                </c:pt>
                <c:pt idx="39">
                  <c:v>0.00020469781485082646</c:v>
                </c:pt>
                <c:pt idx="40">
                  <c:v>8.289468230613006e-05</c:v>
                </c:pt>
                <c:pt idx="41">
                  <c:v>0.0001376399339328317</c:v>
                </c:pt>
                <c:pt idx="42">
                  <c:v>3.913894324853229e-05</c:v>
                </c:pt>
                <c:pt idx="43">
                  <c:v>0.00010425716768027802</c:v>
                </c:pt>
                <c:pt idx="44">
                  <c:v>0.00014063708599957808</c:v>
                </c:pt>
                <c:pt idx="45">
                  <c:v>0.0001060332944544587</c:v>
                </c:pt>
                <c:pt idx="46">
                  <c:v>0.00022583559168925022</c:v>
                </c:pt>
                <c:pt idx="47">
                  <c:v>0.000293581059827626</c:v>
                </c:pt>
                <c:pt idx="48">
                  <c:v>0.00015294027682190105</c:v>
                </c:pt>
                <c:pt idx="49">
                  <c:v>0.00016961550285696112</c:v>
                </c:pt>
                <c:pt idx="50">
                  <c:v>0.0002012477359629704</c:v>
                </c:pt>
                <c:pt idx="51">
                  <c:v>0.0002486139770777913</c:v>
                </c:pt>
                <c:pt idx="52">
                  <c:v>8.450228156160216e-05</c:v>
                </c:pt>
                <c:pt idx="53">
                  <c:v>0.0001316586354899018</c:v>
                </c:pt>
                <c:pt idx="54">
                  <c:v>0.0002624289254993439</c:v>
                </c:pt>
                <c:pt idx="55">
                  <c:v>0.00014956178397295924</c:v>
                </c:pt>
                <c:pt idx="56">
                  <c:v>6.046680372475511e-05</c:v>
                </c:pt>
                <c:pt idx="57">
                  <c:v>0.00010392849719393057</c:v>
                </c:pt>
                <c:pt idx="58">
                  <c:v>9.544716999140975e-05</c:v>
                </c:pt>
                <c:pt idx="59">
                  <c:v>0.0001570869790603057</c:v>
                </c:pt>
                <c:pt idx="60">
                  <c:v>0.0002410260824653525</c:v>
                </c:pt>
                <c:pt idx="61">
                  <c:v>0.00032864621235240263</c:v>
                </c:pt>
                <c:pt idx="62">
                  <c:v>0.00027110679348440006</c:v>
                </c:pt>
                <c:pt idx="63">
                  <c:v>0.00036864849366129393</c:v>
                </c:pt>
                <c:pt idx="64">
                  <c:v>0.0003807615230460922</c:v>
                </c:pt>
                <c:pt idx="65">
                  <c:v>0.00032711808963035657</c:v>
                </c:pt>
                <c:pt idx="66">
                  <c:v>0.0002484135407962783</c:v>
                </c:pt>
                <c:pt idx="67">
                  <c:v>0.0002141174791235458</c:v>
                </c:pt>
                <c:pt idx="68">
                  <c:v>0.0003691608689478915</c:v>
                </c:pt>
                <c:pt idx="69">
                  <c:v>0.00041263410608447746</c:v>
                </c:pt>
                <c:pt idx="70">
                  <c:v>0.0003591051100657162</c:v>
                </c:pt>
                <c:pt idx="71">
                  <c:v>0.0003860854793251226</c:v>
                </c:pt>
                <c:pt idx="72">
                  <c:v>0.00040169442009932807</c:v>
                </c:pt>
                <c:pt idx="73">
                  <c:v>0.0007383515330509462</c:v>
                </c:pt>
                <c:pt idx="74">
                  <c:v>0.0007898597058712905</c:v>
                </c:pt>
                <c:pt idx="75">
                  <c:v>0.0007884708046782601</c:v>
                </c:pt>
                <c:pt idx="76">
                  <c:v>0.0010745153001635132</c:v>
                </c:pt>
                <c:pt idx="77">
                  <c:v>0.0011077397293262053</c:v>
                </c:pt>
                <c:pt idx="78">
                  <c:v>0.0018812147272238647</c:v>
                </c:pt>
                <c:pt idx="79">
                  <c:v>0.0011912703707233393</c:v>
                </c:pt>
                <c:pt idx="80">
                  <c:v>0.0011436195558944058</c:v>
                </c:pt>
                <c:pt idx="81">
                  <c:v>0.0016303240269003464</c:v>
                </c:pt>
                <c:pt idx="82">
                  <c:v>0.0013089005235602095</c:v>
                </c:pt>
                <c:pt idx="83">
                  <c:v>0.001287395782246199</c:v>
                </c:pt>
                <c:pt idx="84">
                  <c:v>0.0012380068090374497</c:v>
                </c:pt>
                <c:pt idx="85">
                  <c:v>0.0011462256427050926</c:v>
                </c:pt>
                <c:pt idx="86">
                  <c:v>0.0010637427379101548</c:v>
                </c:pt>
                <c:pt idx="87">
                  <c:v>0.0009602827072290082</c:v>
                </c:pt>
                <c:pt idx="88">
                  <c:v>0.001459356910054969</c:v>
                </c:pt>
                <c:pt idx="89">
                  <c:v>0.0018212984786800943</c:v>
                </c:pt>
                <c:pt idx="90">
                  <c:v>0.0017051705170517053</c:v>
                </c:pt>
                <c:pt idx="91">
                  <c:v>0.0016994158258098779</c:v>
                </c:pt>
                <c:pt idx="92">
                  <c:v>0.0014476709529081156</c:v>
                </c:pt>
                <c:pt idx="93">
                  <c:v>0.0014341911162104573</c:v>
                </c:pt>
                <c:pt idx="94">
                  <c:v>0.0013409784518634976</c:v>
                </c:pt>
                <c:pt idx="95">
                  <c:v>0.0015918173812910655</c:v>
                </c:pt>
                <c:pt idx="96">
                  <c:v>0.0021358186495801174</c:v>
                </c:pt>
                <c:pt idx="97">
                  <c:v>0.0024340169746227274</c:v>
                </c:pt>
                <c:pt idx="98">
                  <c:v>0.002288203851504723</c:v>
                </c:pt>
                <c:pt idx="99">
                  <c:v>0.0021538071709109336</c:v>
                </c:pt>
                <c:pt idx="100">
                  <c:v>0.0016596553909986745</c:v>
                </c:pt>
                <c:pt idx="101">
                  <c:v>0.002235498931708475</c:v>
                </c:pt>
                <c:pt idx="102">
                  <c:v>0.0018664144933306789</c:v>
                </c:pt>
                <c:pt idx="103">
                  <c:v>0.001825415399017084</c:v>
                </c:pt>
                <c:pt idx="104">
                  <c:v>0.001356668023334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718938076491056</c:v>
                </c:pt>
                <c:pt idx="1">
                  <c:v>0.6612642460649361</c:v>
                </c:pt>
                <c:pt idx="2">
                  <c:v>0.7648028119147305</c:v>
                </c:pt>
                <c:pt idx="3">
                  <c:v>0.6726884884052126</c:v>
                </c:pt>
                <c:pt idx="4">
                  <c:v>0.7573826445672042</c:v>
                </c:pt>
                <c:pt idx="5">
                  <c:v>0.8235296812947596</c:v>
                </c:pt>
                <c:pt idx="6">
                  <c:v>0.7827845698488042</c:v>
                </c:pt>
                <c:pt idx="7">
                  <c:v>0.7323505806636011</c:v>
                </c:pt>
                <c:pt idx="8">
                  <c:v>0.7101908288896149</c:v>
                </c:pt>
                <c:pt idx="9">
                  <c:v>0.6989284384920412</c:v>
                </c:pt>
                <c:pt idx="10">
                  <c:v>0.721086369348953</c:v>
                </c:pt>
                <c:pt idx="11">
                  <c:v>0.7291036609971637</c:v>
                </c:pt>
                <c:pt idx="12">
                  <c:v>0.6696651077161577</c:v>
                </c:pt>
                <c:pt idx="13">
                  <c:v>0.5815979400620894</c:v>
                </c:pt>
                <c:pt idx="14">
                  <c:v>0.5867555960642734</c:v>
                </c:pt>
                <c:pt idx="15">
                  <c:v>0.5994301305576156</c:v>
                </c:pt>
                <c:pt idx="16">
                  <c:v>0.6050601259624225</c:v>
                </c:pt>
                <c:pt idx="17">
                  <c:v>0.46294145268706133</c:v>
                </c:pt>
                <c:pt idx="18">
                  <c:v>0.5951455360045427</c:v>
                </c:pt>
                <c:pt idx="19">
                  <c:v>0.7013892465521328</c:v>
                </c:pt>
                <c:pt idx="20">
                  <c:v>0.6309129565761962</c:v>
                </c:pt>
                <c:pt idx="21">
                  <c:v>0.49515642818881894</c:v>
                </c:pt>
                <c:pt idx="22">
                  <c:v>0.5547066490566577</c:v>
                </c:pt>
                <c:pt idx="23">
                  <c:v>0.42413749486509045</c:v>
                </c:pt>
                <c:pt idx="24">
                  <c:v>0.5434056843913441</c:v>
                </c:pt>
                <c:pt idx="25">
                  <c:v>0.5019971532448385</c:v>
                </c:pt>
                <c:pt idx="26">
                  <c:v>0.5152332479281841</c:v>
                </c:pt>
                <c:pt idx="27">
                  <c:v>0.4790986180093562</c:v>
                </c:pt>
                <c:pt idx="28">
                  <c:v>0.5061954867846511</c:v>
                </c:pt>
                <c:pt idx="29">
                  <c:v>0.4781669436295672</c:v>
                </c:pt>
                <c:pt idx="30">
                  <c:v>0.45433566705084494</c:v>
                </c:pt>
                <c:pt idx="31">
                  <c:v>0.5014668045697296</c:v>
                </c:pt>
                <c:pt idx="32">
                  <c:v>0.5478687605621625</c:v>
                </c:pt>
                <c:pt idx="33">
                  <c:v>0.5735765212768106</c:v>
                </c:pt>
                <c:pt idx="34">
                  <c:v>0.6365441167855845</c:v>
                </c:pt>
                <c:pt idx="35">
                  <c:v>0.5609177372852707</c:v>
                </c:pt>
                <c:pt idx="36">
                  <c:v>0.50350663844043</c:v>
                </c:pt>
                <c:pt idx="37">
                  <c:v>0.512509536014409</c:v>
                </c:pt>
                <c:pt idx="38">
                  <c:v>0.4544445107700062</c:v>
                </c:pt>
                <c:pt idx="39">
                  <c:v>0.44554847249849994</c:v>
                </c:pt>
                <c:pt idx="40">
                  <c:v>0.42720577506219837</c:v>
                </c:pt>
                <c:pt idx="41">
                  <c:v>0.4763191665412451</c:v>
                </c:pt>
                <c:pt idx="42">
                  <c:v>0.44602026046132925</c:v>
                </c:pt>
                <c:pt idx="43">
                  <c:v>0.49985407692896844</c:v>
                </c:pt>
                <c:pt idx="44">
                  <c:v>0.6034270706537154</c:v>
                </c:pt>
                <c:pt idx="45">
                  <c:v>0.6566373604755394</c:v>
                </c:pt>
                <c:pt idx="46">
                  <c:v>0.6476621232758639</c:v>
                </c:pt>
                <c:pt idx="47">
                  <c:v>0.5954714162817111</c:v>
                </c:pt>
                <c:pt idx="48">
                  <c:v>0.5712672497299053</c:v>
                </c:pt>
                <c:pt idx="49">
                  <c:v>0.6436552557937756</c:v>
                </c:pt>
                <c:pt idx="50">
                  <c:v>0.7478186799878787</c:v>
                </c:pt>
                <c:pt idx="51">
                  <c:v>0.723015997117279</c:v>
                </c:pt>
              </c:numCache>
            </c:numRef>
          </c:xVal>
          <c:yVal>
            <c:numRef>
              <c:f>Sheet1!$B$109:$B$160</c:f>
              <c:numCache>
                <c:formatCode>General</c:formatCode>
                <c:ptCount val="52"/>
                <c:pt idx="0">
                  <c:v>0.0014574738766334823</c:v>
                </c:pt>
                <c:pt idx="1">
                  <c:v>0.001754845468831849</c:v>
                </c:pt>
                <c:pt idx="2">
                  <c:v>0.0015945971297251665</c:v>
                </c:pt>
                <c:pt idx="3">
                  <c:v>0.0016878032771513631</c:v>
                </c:pt>
                <c:pt idx="4">
                  <c:v>0.0016790772375529274</c:v>
                </c:pt>
                <c:pt idx="5">
                  <c:v>0.001467064404127341</c:v>
                </c:pt>
                <c:pt idx="6">
                  <c:v>0.0015850773012336037</c:v>
                </c:pt>
                <c:pt idx="7">
                  <c:v>0.0018228675592431957</c:v>
                </c:pt>
                <c:pt idx="8">
                  <c:v>0.0021541568495456074</c:v>
                </c:pt>
                <c:pt idx="9">
                  <c:v>0.0022634957055595174</c:v>
                </c:pt>
                <c:pt idx="10">
                  <c:v>0.0021662363868364047</c:v>
                </c:pt>
                <c:pt idx="11">
                  <c:v>0.0022191338653277143</c:v>
                </c:pt>
                <c:pt idx="12">
                  <c:v>0.0022670596236681025</c:v>
                </c:pt>
                <c:pt idx="13">
                  <c:v>0.003259726603575184</c:v>
                </c:pt>
                <c:pt idx="14">
                  <c:v>0.003245906390378206</c:v>
                </c:pt>
                <c:pt idx="15">
                  <c:v>0.0030689110015809542</c:v>
                </c:pt>
                <c:pt idx="16">
                  <c:v>0.0030204962243797194</c:v>
                </c:pt>
                <c:pt idx="17">
                  <c:v>0.003840072283713576</c:v>
                </c:pt>
                <c:pt idx="18">
                  <c:v>0.0020977745348412986</c:v>
                </c:pt>
                <c:pt idx="19">
                  <c:v>0.001841620626151013</c:v>
                </c:pt>
                <c:pt idx="20">
                  <c:v>0.0021836089946106673</c:v>
                </c:pt>
                <c:pt idx="21">
                  <c:v>0.003158196956646569</c:v>
                </c:pt>
                <c:pt idx="22">
                  <c:v>0.002605789384240639</c:v>
                </c:pt>
                <c:pt idx="23">
                  <c:v>0.00262574396078889</c:v>
                </c:pt>
                <c:pt idx="24">
                  <c:v>0.0023803083581282122</c:v>
                </c:pt>
                <c:pt idx="25">
                  <c:v>0.0025542059257577477</c:v>
                </c:pt>
                <c:pt idx="26">
                  <c:v>0.00275690577869074</c:v>
                </c:pt>
                <c:pt idx="27">
                  <c:v>0.0027923382158428454</c:v>
                </c:pt>
                <c:pt idx="28">
                  <c:v>0.002306293520202244</c:v>
                </c:pt>
                <c:pt idx="29">
                  <c:v>0.0026136121186259866</c:v>
                </c:pt>
                <c:pt idx="30">
                  <c:v>0.0025564076914527064</c:v>
                </c:pt>
                <c:pt idx="31">
                  <c:v>0.002603378337470485</c:v>
                </c:pt>
                <c:pt idx="32">
                  <c:v>0.0022248119504184767</c:v>
                </c:pt>
                <c:pt idx="33">
                  <c:v>0.0021675661328850746</c:v>
                </c:pt>
                <c:pt idx="34">
                  <c:v>0.0019902546153318236</c:v>
                </c:pt>
                <c:pt idx="35">
                  <c:v>0.0024293831837272502</c:v>
                </c:pt>
                <c:pt idx="36">
                  <c:v>0.003050165487701992</c:v>
                </c:pt>
                <c:pt idx="37">
                  <c:v>0.0030033498902622157</c:v>
                </c:pt>
                <c:pt idx="38">
                  <c:v>0.003501491375956426</c:v>
                </c:pt>
                <c:pt idx="39">
                  <c:v>0.003268438254938184</c:v>
                </c:pt>
                <c:pt idx="40">
                  <c:v>0.0030971201405260483</c:v>
                </c:pt>
                <c:pt idx="41">
                  <c:v>0.0025173611111111113</c:v>
                </c:pt>
                <c:pt idx="42">
                  <c:v>0.0028767858013555025</c:v>
                </c:pt>
                <c:pt idx="43">
                  <c:v>0.0021081969556206673</c:v>
                </c:pt>
                <c:pt idx="44">
                  <c:v>0.0015509774084045418</c:v>
                </c:pt>
                <c:pt idx="45">
                  <c:v>0.0012992732878220655</c:v>
                </c:pt>
                <c:pt idx="46">
                  <c:v>0.0013457884737175427</c:v>
                </c:pt>
                <c:pt idx="47">
                  <c:v>0.0013377263606411177</c:v>
                </c:pt>
                <c:pt idx="48">
                  <c:v>0.0014954823969259528</c:v>
                </c:pt>
                <c:pt idx="49">
                  <c:v>0.0013136165740879747</c:v>
                </c:pt>
                <c:pt idx="50">
                  <c:v>0.0011035611546473564</c:v>
                </c:pt>
                <c:pt idx="51">
                  <c:v>0.001310531517208782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092319259141127</c:v>
                </c:pt>
              </c:numCache>
            </c:numRef>
          </c:xVal>
          <c:yVal>
            <c:numRef>
              <c:f>Sheet1!$B$163:$B$164</c:f>
              <c:numCache>
                <c:formatCode>General</c:formatCode>
                <c:ptCount val="2"/>
                <c:pt idx="0">
                  <c:v>0.0026640183997899175</c:v>
                </c:pt>
                <c:pt idx="1">
                  <c:v>0.002664018399789917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092319259141127</c:v>
                </c:pt>
                <c:pt idx="1">
                  <c:v>0.5092319259141127</c:v>
                </c:pt>
              </c:numCache>
            </c:numRef>
          </c:xVal>
          <c:yVal>
            <c:numRef>
              <c:f>Sheet1!$B$167:$B$168</c:f>
              <c:numCache>
                <c:formatCode>General</c:formatCode>
                <c:ptCount val="2"/>
                <c:pt idx="0">
                  <c:v>0.002664018399789917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092319259141127</c:v>
                </c:pt>
              </c:numCache>
            </c:numRef>
          </c:xVal>
          <c:yVal>
            <c:numRef>
              <c:f>Sheet1!$B$171:$B$172</c:f>
              <c:numCache>
                <c:formatCode>General</c:formatCode>
                <c:ptCount val="2"/>
                <c:pt idx="0">
                  <c:v>0.0026640183997899175</c:v>
                </c:pt>
                <c:pt idx="1">
                  <c:v>0.002664018399789917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092319259141127</c:v>
                </c:pt>
                <c:pt idx="1">
                  <c:v>0.5092319259141127</c:v>
                </c:pt>
              </c:numCache>
            </c:numRef>
          </c:xVal>
          <c:yVal>
            <c:numRef>
              <c:f>Sheet1!$B$175:$B$176</c:f>
              <c:numCache>
                <c:formatCode>General</c:formatCode>
                <c:ptCount val="2"/>
                <c:pt idx="0">
                  <c:v>0.002664018399789917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834793079114113</c:v>
                </c:pt>
              </c:numCache>
            </c:numRef>
          </c:xVal>
          <c:yVal>
            <c:numRef>
              <c:f>Sheet1!$B$179:$B$180</c:f>
              <c:numCache>
                <c:formatCode>General</c:formatCode>
                <c:ptCount val="2"/>
                <c:pt idx="0">
                  <c:v>0.0018942199566928347</c:v>
                </c:pt>
                <c:pt idx="1">
                  <c:v>0.001894219956692834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834793079114113</c:v>
                </c:pt>
                <c:pt idx="1">
                  <c:v>0.6834793079114113</c:v>
                </c:pt>
              </c:numCache>
            </c:numRef>
          </c:xVal>
          <c:yVal>
            <c:numRef>
              <c:f>Sheet1!$B$183:$B$184</c:f>
              <c:numCache>
                <c:formatCode>General</c:formatCode>
                <c:ptCount val="2"/>
                <c:pt idx="0">
                  <c:v>0.00189421995669283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718938076491056</c:v>
                </c:pt>
                <c:pt idx="1">
                  <c:v>0.6612642460649361</c:v>
                </c:pt>
                <c:pt idx="2">
                  <c:v>0.7648028119147305</c:v>
                </c:pt>
                <c:pt idx="3">
                  <c:v>0.6726884884052126</c:v>
                </c:pt>
                <c:pt idx="4">
                  <c:v>0.7573826445672042</c:v>
                </c:pt>
                <c:pt idx="5">
                  <c:v>0.8235296812947596</c:v>
                </c:pt>
                <c:pt idx="6">
                  <c:v>0.7827845698488042</c:v>
                </c:pt>
                <c:pt idx="7">
                  <c:v>0.7323505806636011</c:v>
                </c:pt>
                <c:pt idx="8">
                  <c:v>0.7101908288896149</c:v>
                </c:pt>
                <c:pt idx="9">
                  <c:v>0.6989284384920412</c:v>
                </c:pt>
                <c:pt idx="10">
                  <c:v>0.721086369348953</c:v>
                </c:pt>
                <c:pt idx="11">
                  <c:v>0.7291036609971637</c:v>
                </c:pt>
                <c:pt idx="12">
                  <c:v>0.6696651077161577</c:v>
                </c:pt>
                <c:pt idx="13">
                  <c:v>0.5815979400620894</c:v>
                </c:pt>
                <c:pt idx="14">
                  <c:v>0.5867555960642734</c:v>
                </c:pt>
                <c:pt idx="15">
                  <c:v>0.5994301305576156</c:v>
                </c:pt>
                <c:pt idx="16">
                  <c:v>0.6050601259624225</c:v>
                </c:pt>
                <c:pt idx="17">
                  <c:v>0.46294145268706133</c:v>
                </c:pt>
                <c:pt idx="18">
                  <c:v>0.5951455360045427</c:v>
                </c:pt>
                <c:pt idx="19">
                  <c:v>0.7013892465521328</c:v>
                </c:pt>
                <c:pt idx="20">
                  <c:v>0.6309129565761962</c:v>
                </c:pt>
                <c:pt idx="21">
                  <c:v>0.49515642818881894</c:v>
                </c:pt>
                <c:pt idx="22">
                  <c:v>0.5547066490566577</c:v>
                </c:pt>
                <c:pt idx="23">
                  <c:v>0.42413749486509045</c:v>
                </c:pt>
                <c:pt idx="24">
                  <c:v>0.5434056843913441</c:v>
                </c:pt>
                <c:pt idx="25">
                  <c:v>0.5019971532448385</c:v>
                </c:pt>
                <c:pt idx="26">
                  <c:v>0.5152332479281841</c:v>
                </c:pt>
                <c:pt idx="27">
                  <c:v>0.4790986180093562</c:v>
                </c:pt>
                <c:pt idx="28">
                  <c:v>0.5061954867846511</c:v>
                </c:pt>
                <c:pt idx="29">
                  <c:v>0.4781669436295672</c:v>
                </c:pt>
                <c:pt idx="30">
                  <c:v>0.45433566705084494</c:v>
                </c:pt>
                <c:pt idx="31">
                  <c:v>0.5014668045697296</c:v>
                </c:pt>
                <c:pt idx="32">
                  <c:v>0.5478687605621625</c:v>
                </c:pt>
                <c:pt idx="33">
                  <c:v>0.5735765212768106</c:v>
                </c:pt>
                <c:pt idx="34">
                  <c:v>0.6365441167855845</c:v>
                </c:pt>
                <c:pt idx="35">
                  <c:v>0.5609177372852707</c:v>
                </c:pt>
                <c:pt idx="36">
                  <c:v>0.50350663844043</c:v>
                </c:pt>
                <c:pt idx="37">
                  <c:v>0.512509536014409</c:v>
                </c:pt>
                <c:pt idx="38">
                  <c:v>0.4544445107700062</c:v>
                </c:pt>
                <c:pt idx="39">
                  <c:v>0.44554847249849994</c:v>
                </c:pt>
                <c:pt idx="40">
                  <c:v>0.42720577506219837</c:v>
                </c:pt>
                <c:pt idx="41">
                  <c:v>0.4763191665412451</c:v>
                </c:pt>
                <c:pt idx="42">
                  <c:v>0.44602026046132925</c:v>
                </c:pt>
                <c:pt idx="43">
                  <c:v>0.49985407692896844</c:v>
                </c:pt>
                <c:pt idx="44">
                  <c:v>0.6034270706537154</c:v>
                </c:pt>
                <c:pt idx="45">
                  <c:v>0.6566373604755394</c:v>
                </c:pt>
                <c:pt idx="46">
                  <c:v>0.6476621232758639</c:v>
                </c:pt>
                <c:pt idx="47">
                  <c:v>0.5954714162817111</c:v>
                </c:pt>
                <c:pt idx="48">
                  <c:v>0.5712672497299053</c:v>
                </c:pt>
                <c:pt idx="49">
                  <c:v>0.6436552557937756</c:v>
                </c:pt>
                <c:pt idx="50">
                  <c:v>0.7478186799878787</c:v>
                </c:pt>
                <c:pt idx="51">
                  <c:v>0.723015997117279</c:v>
                </c:pt>
                <c:pt idx="52">
                  <c:v>0.5092319259141127</c:v>
                </c:pt>
                <c:pt idx="53">
                  <c:v>0.5092319259141127</c:v>
                </c:pt>
                <c:pt idx="54">
                  <c:v>0.6834793079114113</c:v>
                </c:pt>
              </c:numCache>
            </c:numRef>
          </c:xVal>
          <c:yVal>
            <c:numRef>
              <c:f>Sheet1!$B$187:$B$241</c:f>
              <c:numCache>
                <c:formatCode>General</c:formatCode>
                <c:ptCount val="55"/>
                <c:pt idx="0">
                  <c:v>0.0015036181383749</c:v>
                </c:pt>
                <c:pt idx="1">
                  <c:v>0.0019923627226081765</c:v>
                </c:pt>
                <c:pt idx="2">
                  <c:v>0.0015349450794959704</c:v>
                </c:pt>
                <c:pt idx="3">
                  <c:v>0.0019418921567591874</c:v>
                </c:pt>
                <c:pt idx="4">
                  <c:v>0.0015677262507604785</c:v>
                </c:pt>
                <c:pt idx="5">
                  <c:v>0.0012754986987324824</c:v>
                </c:pt>
                <c:pt idx="6">
                  <c:v>0.0014555044066828023</c:v>
                </c:pt>
                <c:pt idx="7">
                  <c:v>0.0016783141034996322</c:v>
                </c:pt>
                <c:pt idx="8">
                  <c:v>0.0017762125179234247</c:v>
                </c:pt>
                <c:pt idx="9">
                  <c:v>0.00182596804649566</c:v>
                </c:pt>
                <c:pt idx="10">
                  <c:v>0.001728077676606671</c:v>
                </c:pt>
                <c:pt idx="11">
                  <c:v>0.0016926585009616473</c:v>
                </c:pt>
                <c:pt idx="12">
                  <c:v>0.0019552489930034205</c:v>
                </c:pt>
                <c:pt idx="13">
                  <c:v>0.0023443163509802682</c:v>
                </c:pt>
                <c:pt idx="14">
                  <c:v>0.0023215306108732917</c:v>
                </c:pt>
                <c:pt idx="15">
                  <c:v>0.0022655364443720906</c:v>
                </c:pt>
                <c:pt idx="16">
                  <c:v>0.0022406639805933734</c:v>
                </c:pt>
                <c:pt idx="17">
                  <c:v>0.002868522673036122</c:v>
                </c:pt>
                <c:pt idx="18">
                  <c:v>0.0022844651317271117</c:v>
                </c:pt>
                <c:pt idx="19">
                  <c:v>0.0018150965705991179</c:v>
                </c:pt>
                <c:pt idx="20">
                  <c:v>0.0021264501053086127</c:v>
                </c:pt>
                <c:pt idx="21">
                  <c:v>0.002726201808863551</c:v>
                </c:pt>
                <c:pt idx="22">
                  <c:v>0.002463117986399806</c:v>
                </c:pt>
                <c:pt idx="23">
                  <c:v>0.00303995265938634</c:v>
                </c:pt>
                <c:pt idx="24">
                  <c:v>0.0025130439302225283</c:v>
                </c:pt>
                <c:pt idx="25">
                  <c:v>0.0026959805255511813</c:v>
                </c:pt>
                <c:pt idx="26">
                  <c:v>0.002637505471503695</c:v>
                </c:pt>
                <c:pt idx="27">
                  <c:v>0.002797142772991727</c:v>
                </c:pt>
                <c:pt idx="28">
                  <c:v>0.0026774329262386127</c:v>
                </c:pt>
                <c:pt idx="29">
                  <c:v>0.002801258768760582</c:v>
                </c:pt>
                <c:pt idx="30">
                  <c:v>0.0029065417256523007</c:v>
                </c:pt>
                <c:pt idx="31">
                  <c:v>0.0026983235253697025</c:v>
                </c:pt>
                <c:pt idx="32">
                  <c:v>0.002493326738214599</c:v>
                </c:pt>
                <c:pt idx="33">
                  <c:v>0.0023797537596894165</c:v>
                </c:pt>
                <c:pt idx="34">
                  <c:v>0.002101572495600338</c:v>
                </c:pt>
                <c:pt idx="35">
                  <c:v>0.0024356783428681797</c:v>
                </c:pt>
                <c:pt idx="36">
                  <c:v>0.0026893118494418183</c:v>
                </c:pt>
                <c:pt idx="37">
                  <c:v>0.0026495384166569345</c:v>
                </c:pt>
                <c:pt idx="38">
                  <c:v>0.002906060870648393</c:v>
                </c:pt>
                <c:pt idx="39">
                  <c:v>0.002945362215280611</c:v>
                </c:pt>
                <c:pt idx="40">
                  <c:v>0.003026397463941533</c:v>
                </c:pt>
                <c:pt idx="41">
                  <c:v>0.0028094219670220222</c:v>
                </c:pt>
                <c:pt idx="42">
                  <c:v>0.0029432779277860444</c:v>
                </c:pt>
                <c:pt idx="43">
                  <c:v>0.0027054483109060314</c:v>
                </c:pt>
                <c:pt idx="44">
                  <c:v>0.0022478785706763036</c:v>
                </c:pt>
                <c:pt idx="45">
                  <c:v>0.0020128035997236853</c:v>
                </c:pt>
                <c:pt idx="46">
                  <c:v>0.0020524548331800614</c:v>
                </c:pt>
                <c:pt idx="47">
                  <c:v>0.0022830254422056694</c:v>
                </c:pt>
                <c:pt idx="48">
                  <c:v>0.00238995577030857</c:v>
                </c:pt>
                <c:pt idx="49">
                  <c:v>0.0020701565645579005</c:v>
                </c:pt>
                <c:pt idx="50">
                  <c:v>0.001609978392276812</c:v>
                </c:pt>
                <c:pt idx="51">
                  <c:v>0.0017195528744846094</c:v>
                </c:pt>
                <c:pt idx="52">
                  <c:v>0.0026640183997899175</c:v>
                </c:pt>
                <c:pt idx="53">
                  <c:v>0.0026640183997899175</c:v>
                </c:pt>
                <c:pt idx="54">
                  <c:v>0.00189421995669283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0808674045629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10</c:f>
              <c:numCache>
                <c:formatCode>General</c:formatCode>
                <c:ptCount val="7"/>
                <c:pt idx="0">
                  <c:v>0.0</c:v>
                </c:pt>
                <c:pt idx="1">
                  <c:v>0.0</c:v>
                </c:pt>
                <c:pt idx="2">
                  <c:v>0.0</c:v>
                </c:pt>
                <c:pt idx="3">
                  <c:v>0.0</c:v>
                </c:pt>
                <c:pt idx="4">
                  <c:v>0.0</c:v>
                </c:pt>
                <c:pt idx="5">
                  <c:v>0.0</c:v>
                </c:pt>
                <c:pt idx="6">
                  <c:v>0.0</c:v>
                </c:pt>
              </c:numCache>
            </c:numRef>
          </c:xVal>
          <c:yVal>
            <c:numRef>
              <c:f>Sheet1!$B$4:$B$10</c:f>
              <c:numCache>
                <c:formatCode>General</c:formatCode>
                <c:ptCount val="7"/>
                <c:pt idx="0">
                  <c:v>0.0</c:v>
                </c:pt>
                <c:pt idx="1">
                  <c:v>0.0</c:v>
                </c:pt>
                <c:pt idx="2">
                  <c:v>0.0</c:v>
                </c:pt>
                <c:pt idx="3">
                  <c:v>0.0</c:v>
                </c:pt>
                <c:pt idx="4">
                  <c:v>0.0</c:v>
                </c:pt>
                <c:pt idx="5">
                  <c:v>0.0</c:v>
                </c:pt>
                <c:pt idx="6">
                  <c:v>0.0</c:v>
                </c:pt>
              </c:numCache>
            </c:numRef>
          </c:yVal>
          <c:smooth val="0"/>
          <c:extLst>
            <c:ext xmlns:c16="http://schemas.microsoft.com/office/drawing/2014/chart" uri="{C3380CC4-5D6E-409C-BE32-E72D297353CC}">
              <c16:uniqueId val="{00000002-F32D-48B7-BC20-E66FC6253BAD}"/>
            </c:ext>
          </c:extLst>
        </c:ser>
        <c:ser>
          <c:idx val="2"/>
          <c:order val="2"/>
          <c:tx>
            <c:strRef>
              <c:f>Sheet1!$B$12</c:f>
              <c:strCache>
                <c:ptCount val="1"/>
                <c:pt idx="0">
                  <c:v>Custom Linep3yQ</c:v>
                </c:pt>
              </c:strCache>
            </c:strRef>
          </c:tx>
          <c:spPr>
            <a:ln w="19050" cap="rnd">
              <a:solidFill>
                <a:srgbClr val="C00000"/>
              </a:solidFill>
              <a:prstDash val="sysDot"/>
              <a:round/>
            </a:ln>
            <a:effectLst/>
          </c:spPr>
          <c:marker>
            <c:symbol val="none"/>
          </c:marker>
          <c:xVal>
            <c:numRef>
              <c:f>Sheet1!$A$13:$A$14</c:f>
              <c:numCache>
                <c:formatCode>General</c:formatCode>
                <c:ptCount val="2"/>
                <c:pt idx="0">
                  <c:v>0</c:v>
                </c:pt>
                <c:pt idx="1">
                  <c:v>0.0</c:v>
                </c:pt>
              </c:numCache>
            </c:numRef>
          </c:xVal>
          <c:yVal>
            <c:numRef>
              <c:f>Sheet1!$B$13:$B$14</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A$18</c:f>
              <c:numCache>
                <c:formatCode>General</c:formatCode>
                <c:ptCount val="2"/>
                <c:pt idx="0">
                  <c:v>0.0</c:v>
                </c:pt>
                <c:pt idx="1">
                  <c:v>0.0</c:v>
                </c:pt>
              </c:numCache>
            </c:numRef>
          </c:xVal>
          <c:yVal>
            <c:numRef>
              <c:f>Sheet1!$B$17:$B$18</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1:$A$22</c:f>
              <c:numCache>
                <c:formatCode>General</c:formatCode>
                <c:ptCount val="2"/>
                <c:pt idx="0">
                  <c:v>0</c:v>
                </c:pt>
                <c:pt idx="1">
                  <c:v>0.0</c:v>
                </c:pt>
              </c:numCache>
            </c:numRef>
          </c:xVal>
          <c:yVal>
            <c:numRef>
              <c:f>Sheet1!$B$21:$B$22</c:f>
              <c:numCache>
                <c:formatCode>General</c:formatCode>
                <c:ptCount val="2"/>
                <c:pt idx="0">
                  <c:v>0.0</c:v>
                </c:pt>
                <c:pt idx="1">
                  <c:v>0.0</c:v>
                </c:pt>
              </c:numCache>
            </c:numRef>
          </c:yVal>
          <c:smooth val="0"/>
          <c:extLst>
            <c:ext xmlns:c16="http://schemas.microsoft.com/office/drawing/2014/chart" uri="{C3380CC4-5D6E-409C-BE32-E72D297353CC}">
              <c16:uniqueId val="{0000000A-F32D-48B7-BC20-E66FC6253BAD}"/>
            </c:ext>
          </c:extLst>
        </c:ser>
        <c:ser>
          <c:idx val="5"/>
          <c:order val="5"/>
          <c:tx>
            <c:strRef>
              <c:f>Sheet1!$B$2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5:$A$26</c:f>
              <c:numCache>
                <c:formatCode>General</c:formatCode>
                <c:ptCount val="2"/>
                <c:pt idx="0">
                  <c:v>0.0</c:v>
                </c:pt>
                <c:pt idx="1">
                  <c:v>0.0</c:v>
                </c:pt>
              </c:numCache>
            </c:numRef>
          </c:xVal>
          <c:yVal>
            <c:numRef>
              <c:f>Sheet1!$B$25:$B$26</c:f>
              <c:numCache>
                <c:formatCode>General</c:formatCode>
                <c:ptCount val="2"/>
                <c:pt idx="0">
                  <c:v>0.0</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9:$A$30</c:f>
              <c:numCache>
                <c:formatCode>General</c:formatCode>
                <c:ptCount val="2"/>
                <c:pt idx="0">
                  <c:v>0</c:v>
                </c:pt>
                <c:pt idx="1">
                  <c:v>0.0</c:v>
                </c:pt>
              </c:numCache>
            </c:numRef>
          </c:xVal>
          <c:yVal>
            <c:numRef>
              <c:f>Sheet1!$B$29:$B$30</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3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3:$A$34</c:f>
              <c:numCache>
                <c:formatCode>General</c:formatCode>
                <c:ptCount val="2"/>
                <c:pt idx="0">
                  <c:v>0.0</c:v>
                </c:pt>
                <c:pt idx="1">
                  <c:v>0.0</c:v>
                </c:pt>
              </c:numCache>
            </c:numRef>
          </c:xVal>
          <c:yVal>
            <c:numRef>
              <c:f>Sheet1!$B$33:$B$34</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7:$A$46</c:f>
              <c:numCache>
                <c:formatCode>General</c:formatCode>
                <c:ptCount val="10"/>
                <c:pt idx="0">
                  <c:v>0.0</c:v>
                </c:pt>
                <c:pt idx="1">
                  <c:v>0.0</c:v>
                </c:pt>
                <c:pt idx="2">
                  <c:v>0.0</c:v>
                </c:pt>
                <c:pt idx="3">
                  <c:v>0.0</c:v>
                </c:pt>
                <c:pt idx="4">
                  <c:v>0.0</c:v>
                </c:pt>
                <c:pt idx="5">
                  <c:v>0.0</c:v>
                </c:pt>
                <c:pt idx="6">
                  <c:v>0.0</c:v>
                </c:pt>
                <c:pt idx="7">
                  <c:v>0.0</c:v>
                </c:pt>
                <c:pt idx="8">
                  <c:v>0.0</c:v>
                </c:pt>
                <c:pt idx="9">
                  <c:v>0.0</c:v>
                </c:pt>
              </c:numCache>
            </c:numRef>
          </c:xVal>
          <c:yVal>
            <c:numRef>
              <c:f>Sheet1!$B$37:$B$46</c:f>
              <c:numCache>
                <c:formatCode>General</c:formatCode>
                <c:ptCount val="10"/>
                <c:pt idx="0">
                  <c:v>0.0</c:v>
                </c:pt>
                <c:pt idx="1">
                  <c:v>0.0</c:v>
                </c:pt>
                <c:pt idx="2">
                  <c:v>0.0</c:v>
                </c:pt>
                <c:pt idx="3">
                  <c:v>0.0</c:v>
                </c:pt>
                <c:pt idx="4">
                  <c:v>0.0</c:v>
                </c:pt>
                <c:pt idx="5">
                  <c:v>0.0</c:v>
                </c:pt>
                <c:pt idx="6">
                  <c:v>0.0</c:v>
                </c:pt>
                <c:pt idx="7">
                  <c:v>0.0</c:v>
                </c:pt>
                <c:pt idx="8">
                  <c:v>0.0</c:v>
                </c:pt>
                <c:pt idx="9">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357720988352071</c:v>
                </c:pt>
                <c:pt idx="1">
                  <c:v>0.8114851017096685</c:v>
                </c:pt>
                <c:pt idx="2">
                  <c:v>0.8017559466527402</c:v>
                </c:pt>
                <c:pt idx="3">
                  <c:v>0.8342986175409839</c:v>
                </c:pt>
                <c:pt idx="4">
                  <c:v>0.7140278640105612</c:v>
                </c:pt>
                <c:pt idx="5">
                  <c:v>0.666320436688418</c:v>
                </c:pt>
                <c:pt idx="6">
                  <c:v>0.6804289027373005</c:v>
                </c:pt>
                <c:pt idx="7">
                  <c:v>0.6799938441860999</c:v>
                </c:pt>
                <c:pt idx="8">
                  <c:v>0.6904779076899152</c:v>
                </c:pt>
                <c:pt idx="9">
                  <c:v>0.6837468434792747</c:v>
                </c:pt>
                <c:pt idx="10">
                  <c:v>0.6997278065172867</c:v>
                </c:pt>
                <c:pt idx="11">
                  <c:v>0.6852779700308071</c:v>
                </c:pt>
                <c:pt idx="12">
                  <c:v>0.7177836359147967</c:v>
                </c:pt>
                <c:pt idx="13">
                  <c:v>0.7307666264719385</c:v>
                </c:pt>
                <c:pt idx="14">
                  <c:v>0.7635946198665909</c:v>
                </c:pt>
                <c:pt idx="15">
                  <c:v>0.7828380267901213</c:v>
                </c:pt>
                <c:pt idx="16">
                  <c:v>0.7493081853444878</c:v>
                </c:pt>
                <c:pt idx="17">
                  <c:v>0.7257511061644997</c:v>
                </c:pt>
                <c:pt idx="18">
                  <c:v>0.7649824532725581</c:v>
                </c:pt>
                <c:pt idx="19">
                  <c:v>0.7710646543588857</c:v>
                </c:pt>
                <c:pt idx="20">
                  <c:v>0.7627933668434845</c:v>
                </c:pt>
                <c:pt idx="21">
                  <c:v>0.744911404829798</c:v>
                </c:pt>
                <c:pt idx="22">
                  <c:v>0.7523853831043772</c:v>
                </c:pt>
                <c:pt idx="23">
                  <c:v>0.7493455185268654</c:v>
                </c:pt>
                <c:pt idx="24">
                  <c:v>0.7811636832519516</c:v>
                </c:pt>
                <c:pt idx="25">
                  <c:v>0.8122596800003928</c:v>
                </c:pt>
                <c:pt idx="26">
                  <c:v>0.8150094535186307</c:v>
                </c:pt>
                <c:pt idx="27">
                  <c:v>0.7997237370115657</c:v>
                </c:pt>
                <c:pt idx="28">
                  <c:v>0.768139751247308</c:v>
                </c:pt>
                <c:pt idx="29">
                  <c:v>0.7765573299176268</c:v>
                </c:pt>
                <c:pt idx="30">
                  <c:v>0.777310163516748</c:v>
                </c:pt>
                <c:pt idx="31">
                  <c:v>0.7805859068518851</c:v>
                </c:pt>
                <c:pt idx="32">
                  <c:v>0.7707476775380274</c:v>
                </c:pt>
                <c:pt idx="33">
                  <c:v>0.7757199786508788</c:v>
                </c:pt>
                <c:pt idx="34">
                  <c:v>0.7646722564460602</c:v>
                </c:pt>
                <c:pt idx="35">
                  <c:v>0.7540185841835962</c:v>
                </c:pt>
                <c:pt idx="36">
                  <c:v>0.7640877345108162</c:v>
                </c:pt>
                <c:pt idx="37">
                  <c:v>0.7697087689068812</c:v>
                </c:pt>
                <c:pt idx="38">
                  <c:v>0.7711420949183607</c:v>
                </c:pt>
                <c:pt idx="39">
                  <c:v>0.8107704560635484</c:v>
                </c:pt>
                <c:pt idx="40">
                  <c:v>0.812117631136052</c:v>
                </c:pt>
                <c:pt idx="41">
                  <c:v>0.8298769830464369</c:v>
                </c:pt>
                <c:pt idx="42">
                  <c:v>0.8385619579619228</c:v>
                </c:pt>
                <c:pt idx="43">
                  <c:v>0.8426207118413882</c:v>
                </c:pt>
                <c:pt idx="44">
                  <c:v>0.8874478292707292</c:v>
                </c:pt>
                <c:pt idx="45">
                  <c:v>0.8728180582192543</c:v>
                </c:pt>
                <c:pt idx="46">
                  <c:v>0.8554276600267023</c:v>
                </c:pt>
                <c:pt idx="47">
                  <c:v>0.8666944428070841</c:v>
                </c:pt>
                <c:pt idx="48">
                  <c:v>0.8170765685981862</c:v>
                </c:pt>
                <c:pt idx="49">
                  <c:v>0.7586789321795134</c:v>
                </c:pt>
                <c:pt idx="50">
                  <c:v>0.7612948025485113</c:v>
                </c:pt>
                <c:pt idx="51">
                  <c:v>0.7466501582519381</c:v>
                </c:pt>
                <c:pt idx="52">
                  <c:v>0.7230144463525018</c:v>
                </c:pt>
                <c:pt idx="53">
                  <c:v>0.8336141282190986</c:v>
                </c:pt>
                <c:pt idx="54">
                  <c:v>0.838330995009418</c:v>
                </c:pt>
                <c:pt idx="55">
                  <c:v>0.8109373847053005</c:v>
                </c:pt>
                <c:pt idx="56">
                  <c:v>0.8092654476668831</c:v>
                </c:pt>
                <c:pt idx="57">
                  <c:v>0.8209106172767552</c:v>
                </c:pt>
                <c:pt idx="58">
                  <c:v>0.8173237661569469</c:v>
                </c:pt>
                <c:pt idx="59">
                  <c:v>0.8381028975376053</c:v>
                </c:pt>
                <c:pt idx="60">
                  <c:v>0.8543714362370999</c:v>
                </c:pt>
                <c:pt idx="61">
                  <c:v>0.7950745482037673</c:v>
                </c:pt>
                <c:pt idx="62">
                  <c:v>0.6948734031881774</c:v>
                </c:pt>
                <c:pt idx="63">
                  <c:v>0.6914505404166833</c:v>
                </c:pt>
                <c:pt idx="64">
                  <c:v>0.6920164235437611</c:v>
                </c:pt>
                <c:pt idx="65">
                  <c:v>0.6970066489169766</c:v>
                </c:pt>
                <c:pt idx="66">
                  <c:v>0.7834424942044755</c:v>
                </c:pt>
                <c:pt idx="67">
                  <c:v>0.804870005336216</c:v>
                </c:pt>
                <c:pt idx="68">
                  <c:v>0.8361614792319334</c:v>
                </c:pt>
                <c:pt idx="69">
                  <c:v>0.859940470070069</c:v>
                </c:pt>
                <c:pt idx="70">
                  <c:v>0.8437155308796634</c:v>
                </c:pt>
                <c:pt idx="71">
                  <c:v>0.8154393419638915</c:v>
                </c:pt>
                <c:pt idx="72">
                  <c:v>0.834771982243139</c:v>
                </c:pt>
                <c:pt idx="73">
                  <c:v>0.8199672227506055</c:v>
                </c:pt>
                <c:pt idx="74">
                  <c:v>0.8402778500910048</c:v>
                </c:pt>
                <c:pt idx="75">
                  <c:v>0.8289898924058786</c:v>
                </c:pt>
                <c:pt idx="76">
                  <c:v>0.7934783035408189</c:v>
                </c:pt>
                <c:pt idx="77">
                  <c:v>0.7836573696288988</c:v>
                </c:pt>
                <c:pt idx="78">
                  <c:v>0.8111245758714313</c:v>
                </c:pt>
                <c:pt idx="79">
                  <c:v>0.8523944960096512</c:v>
                </c:pt>
                <c:pt idx="80">
                  <c:v>0.8787464359423521</c:v>
                </c:pt>
                <c:pt idx="81">
                  <c:v>0.8673005369296711</c:v>
                </c:pt>
                <c:pt idx="82">
                  <c:v>0.8803899845754887</c:v>
                </c:pt>
                <c:pt idx="83">
                  <c:v>0.9121737121459803</c:v>
                </c:pt>
                <c:pt idx="84">
                  <c:v>0.9327169625969881</c:v>
                </c:pt>
                <c:pt idx="85">
                  <c:v>0.9174563389173832</c:v>
                </c:pt>
                <c:pt idx="86">
                  <c:v>0.9218880208086326</c:v>
                </c:pt>
                <c:pt idx="87">
                  <c:v>0.9136058527252908</c:v>
                </c:pt>
                <c:pt idx="88">
                  <c:v>0.8877120598600294</c:v>
                </c:pt>
                <c:pt idx="89">
                  <c:v>0.9006158927800157</c:v>
                </c:pt>
                <c:pt idx="90">
                  <c:v>0.9054627241892397</c:v>
                </c:pt>
                <c:pt idx="91">
                  <c:v>0.888553768833445</c:v>
                </c:pt>
                <c:pt idx="92">
                  <c:v>0.8836883085755911</c:v>
                </c:pt>
                <c:pt idx="93">
                  <c:v>0.8883388116057416</c:v>
                </c:pt>
                <c:pt idx="94">
                  <c:v>1.052710054100088</c:v>
                </c:pt>
                <c:pt idx="95">
                  <c:v>1.0424700729402365</c:v>
                </c:pt>
                <c:pt idx="96">
                  <c:v>0.9015197183525054</c:v>
                </c:pt>
                <c:pt idx="97">
                  <c:v>0.9376991961369645</c:v>
                </c:pt>
                <c:pt idx="98">
                  <c:v>0.8845594096596969</c:v>
                </c:pt>
                <c:pt idx="99">
                  <c:v>0.8648085385181535</c:v>
                </c:pt>
                <c:pt idx="100">
                  <c:v>0.7946039423521402</c:v>
                </c:pt>
                <c:pt idx="101">
                  <c:v>0.9047945091518682</c:v>
                </c:pt>
                <c:pt idx="102">
                  <c:v>0.8625215867805907</c:v>
                </c:pt>
                <c:pt idx="103">
                  <c:v>0.82549220855726</c:v>
                </c:pt>
                <c:pt idx="104">
                  <c:v>0.8148620207660296</c:v>
                </c:pt>
              </c:numCache>
            </c:numRef>
          </c:xVal>
          <c:yVal>
            <c:numRef>
              <c:f>Sheet1!$B$2:$B$106</c:f>
              <c:numCache>
                <c:formatCode>General</c:formatCode>
                <c:ptCount val="105"/>
                <c:pt idx="0">
                  <c:v>0.3211839530332681</c:v>
                </c:pt>
                <c:pt idx="1">
                  <c:v>0.3290645879732739</c:v>
                </c:pt>
                <c:pt idx="2">
                  <c:v>0.3272519954389966</c:v>
                </c:pt>
                <c:pt idx="3">
                  <c:v>0.3375250071448985</c:v>
                </c:pt>
                <c:pt idx="4">
                  <c:v>0.38388324873096447</c:v>
                </c:pt>
                <c:pt idx="5">
                  <c:v>0.3635025754231052</c:v>
                </c:pt>
                <c:pt idx="6">
                  <c:v>0.39022711631108054</c:v>
                </c:pt>
                <c:pt idx="7">
                  <c:v>0.38578274760383385</c:v>
                </c:pt>
                <c:pt idx="8">
                  <c:v>0.36801242236024845</c:v>
                </c:pt>
                <c:pt idx="9">
                  <c:v>0.36969278564031754</c:v>
                </c:pt>
                <c:pt idx="10">
                  <c:v>0.3552278820375335</c:v>
                </c:pt>
                <c:pt idx="11">
                  <c:v>0.35420619860847563</c:v>
                </c:pt>
                <c:pt idx="12">
                  <c:v>0.3315962698848053</c:v>
                </c:pt>
                <c:pt idx="13">
                  <c:v>0.3220499841822208</c:v>
                </c:pt>
                <c:pt idx="14">
                  <c:v>0.2848081192515065</c:v>
                </c:pt>
                <c:pt idx="15">
                  <c:v>0.27275985663082436</c:v>
                </c:pt>
                <c:pt idx="16">
                  <c:v>0.2991666666666667</c:v>
                </c:pt>
                <c:pt idx="17">
                  <c:v>0.3005159071367154</c:v>
                </c:pt>
                <c:pt idx="18">
                  <c:v>0.2838640043173233</c:v>
                </c:pt>
                <c:pt idx="19">
                  <c:v>0.28972559029993616</c:v>
                </c:pt>
                <c:pt idx="20">
                  <c:v>0.3336380255941499</c:v>
                </c:pt>
                <c:pt idx="21">
                  <c:v>0.31283710895361383</c:v>
                </c:pt>
                <c:pt idx="22">
                  <c:v>0.28695114409400124</c:v>
                </c:pt>
                <c:pt idx="23">
                  <c:v>0.3183279742765273</c:v>
                </c:pt>
                <c:pt idx="24">
                  <c:v>0.32073242764323684</c:v>
                </c:pt>
                <c:pt idx="25">
                  <c:v>0.3070054945054945</c:v>
                </c:pt>
                <c:pt idx="26">
                  <c:v>0.3047722342733189</c:v>
                </c:pt>
                <c:pt idx="27">
                  <c:v>0.3338879645036051</c:v>
                </c:pt>
                <c:pt idx="28">
                  <c:v>0.3575757575757576</c:v>
                </c:pt>
                <c:pt idx="29">
                  <c:v>0.3470343392299688</c:v>
                </c:pt>
                <c:pt idx="30">
                  <c:v>0.35074626865671643</c:v>
                </c:pt>
                <c:pt idx="31">
                  <c:v>0.32413350449293965</c:v>
                </c:pt>
                <c:pt idx="32">
                  <c:v>0.33804713804713804</c:v>
                </c:pt>
                <c:pt idx="33">
                  <c:v>0.33658816771970135</c:v>
                </c:pt>
                <c:pt idx="34">
                  <c:v>0.3556910569105691</c:v>
                </c:pt>
                <c:pt idx="35">
                  <c:v>0.40814917127071826</c:v>
                </c:pt>
                <c:pt idx="36">
                  <c:v>0.36666666666666664</c:v>
                </c:pt>
                <c:pt idx="37">
                  <c:v>0.3577512776831346</c:v>
                </c:pt>
                <c:pt idx="38">
                  <c:v>0.3481561822125813</c:v>
                </c:pt>
                <c:pt idx="39">
                  <c:v>0.35109532267613974</c:v>
                </c:pt>
                <c:pt idx="40">
                  <c:v>0.3428981348637016</c:v>
                </c:pt>
                <c:pt idx="41">
                  <c:v>0.33997844827586204</c:v>
                </c:pt>
                <c:pt idx="42">
                  <c:v>0.33835557468790356</c:v>
                </c:pt>
                <c:pt idx="43">
                  <c:v>0.32887899034892354</c:v>
                </c:pt>
                <c:pt idx="44">
                  <c:v>0.3158808215215505</c:v>
                </c:pt>
                <c:pt idx="45">
                  <c:v>0.3094381400498201</c:v>
                </c:pt>
                <c:pt idx="46">
                  <c:v>0.3142308746915273</c:v>
                </c:pt>
                <c:pt idx="47">
                  <c:v>0.3241020016451878</c:v>
                </c:pt>
                <c:pt idx="48">
                  <c:v>0.31876503608660783</c:v>
                </c:pt>
                <c:pt idx="49">
                  <c:v>0.33740478066719204</c:v>
                </c:pt>
                <c:pt idx="50">
                  <c:v>0.3289984029203742</c:v>
                </c:pt>
                <c:pt idx="51">
                  <c:v>0.34895287958115184</c:v>
                </c:pt>
                <c:pt idx="52">
                  <c:v>0.34059488898198576</c:v>
                </c:pt>
                <c:pt idx="53">
                  <c:v>0.33534560821008147</c:v>
                </c:pt>
                <c:pt idx="54">
                  <c:v>0.34808853118712274</c:v>
                </c:pt>
                <c:pt idx="55">
                  <c:v>0.3515456506110712</c:v>
                </c:pt>
                <c:pt idx="56">
                  <c:v>0.34055829228243023</c:v>
                </c:pt>
                <c:pt idx="57">
                  <c:v>0.3215845290081098</c:v>
                </c:pt>
                <c:pt idx="58">
                  <c:v>0.31510272071071627</c:v>
                </c:pt>
                <c:pt idx="59">
                  <c:v>0.2907285942208828</c:v>
                </c:pt>
                <c:pt idx="60">
                  <c:v>0.29194630872483224</c:v>
                </c:pt>
                <c:pt idx="61">
                  <c:v>0.3184</c:v>
                </c:pt>
                <c:pt idx="62">
                  <c:v>0.36620856911883587</c:v>
                </c:pt>
                <c:pt idx="63">
                  <c:v>0.3611436606515116</c:v>
                </c:pt>
                <c:pt idx="64">
                  <c:v>0.3704206241519674</c:v>
                </c:pt>
                <c:pt idx="65">
                  <c:v>0.3682058682058682</c:v>
                </c:pt>
                <c:pt idx="66">
                  <c:v>0.36459782911216254</c:v>
                </c:pt>
                <c:pt idx="67">
                  <c:v>0.3521528371827773</c:v>
                </c:pt>
                <c:pt idx="68">
                  <c:v>0.35290031260854465</c:v>
                </c:pt>
                <c:pt idx="69">
                  <c:v>0.3271889400921659</c:v>
                </c:pt>
                <c:pt idx="70">
                  <c:v>0.3154153709462461</c:v>
                </c:pt>
                <c:pt idx="71">
                  <c:v>0.3262921348314607</c:v>
                </c:pt>
                <c:pt idx="72">
                  <c:v>0.3367139959432049</c:v>
                </c:pt>
                <c:pt idx="73">
                  <c:v>0.34083469721767595</c:v>
                </c:pt>
                <c:pt idx="74">
                  <c:v>0.31403581840899625</c:v>
                </c:pt>
                <c:pt idx="75">
                  <c:v>0.3452868852459016</c:v>
                </c:pt>
                <c:pt idx="76">
                  <c:v>0.3379019504480759</c:v>
                </c:pt>
                <c:pt idx="77">
                  <c:v>0.3405036726128017</c:v>
                </c:pt>
                <c:pt idx="78">
                  <c:v>0.34304399524375745</c:v>
                </c:pt>
                <c:pt idx="79">
                  <c:v>0.35051546391752575</c:v>
                </c:pt>
                <c:pt idx="80">
                  <c:v>0.3508137432188065</c:v>
                </c:pt>
                <c:pt idx="81">
                  <c:v>0.35431472081218274</c:v>
                </c:pt>
                <c:pt idx="82">
                  <c:v>0.36081835089894604</c:v>
                </c:pt>
                <c:pt idx="83">
                  <c:v>0.32885375494071145</c:v>
                </c:pt>
                <c:pt idx="84">
                  <c:v>0.3309409888357257</c:v>
                </c:pt>
                <c:pt idx="85">
                  <c:v>0.337442218798151</c:v>
                </c:pt>
                <c:pt idx="86">
                  <c:v>0.33616569304301647</c:v>
                </c:pt>
                <c:pt idx="87">
                  <c:v>0.37271937445699393</c:v>
                </c:pt>
                <c:pt idx="88">
                  <c:v>0.38057324840764334</c:v>
                </c:pt>
                <c:pt idx="89">
                  <c:v>0.34296977660972405</c:v>
                </c:pt>
                <c:pt idx="90">
                  <c:v>0.35236768802228413</c:v>
                </c:pt>
                <c:pt idx="91">
                  <c:v>0.32897196261682243</c:v>
                </c:pt>
                <c:pt idx="92">
                  <c:v>0.3502235469448584</c:v>
                </c:pt>
                <c:pt idx="93">
                  <c:v>0.30575368521160246</c:v>
                </c:pt>
                <c:pt idx="94">
                  <c:v>0.30345572354211664</c:v>
                </c:pt>
                <c:pt idx="95">
                  <c:v>0.30474840538625086</c:v>
                </c:pt>
                <c:pt idx="96">
                  <c:v>0.30848920863309354</c:v>
                </c:pt>
                <c:pt idx="97">
                  <c:v>0.3025210084033613</c:v>
                </c:pt>
                <c:pt idx="98">
                  <c:v>0.3256959314775161</c:v>
                </c:pt>
                <c:pt idx="99">
                  <c:v>0.33232749949708307</c:v>
                </c:pt>
                <c:pt idx="100">
                  <c:v>0.33509900365746</c:v>
                </c:pt>
                <c:pt idx="101">
                  <c:v>0.29024943310657597</c:v>
                </c:pt>
                <c:pt idx="102">
                  <c:v>0.28691275167785235</c:v>
                </c:pt>
                <c:pt idx="103">
                  <c:v>0.31928448909580986</c:v>
                </c:pt>
                <c:pt idx="104">
                  <c:v>0.3392520850147968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104747175666485</c:v>
                </c:pt>
                <c:pt idx="1">
                  <c:v>0.7970434640299798</c:v>
                </c:pt>
                <c:pt idx="2">
                  <c:v>0.8399040999377736</c:v>
                </c:pt>
                <c:pt idx="3">
                  <c:v>0.8779109062391312</c:v>
                </c:pt>
                <c:pt idx="4">
                  <c:v>0.8795643708131008</c:v>
                </c:pt>
                <c:pt idx="5">
                  <c:v>0.8943456482569023</c:v>
                </c:pt>
                <c:pt idx="6">
                  <c:v>0.8911622299330938</c:v>
                </c:pt>
                <c:pt idx="7">
                  <c:v>0.8723592996574441</c:v>
                </c:pt>
                <c:pt idx="8">
                  <c:v>0.8390970528160475</c:v>
                </c:pt>
                <c:pt idx="9">
                  <c:v>0.7568265458998763</c:v>
                </c:pt>
                <c:pt idx="10">
                  <c:v>0.7798222561138447</c:v>
                </c:pt>
                <c:pt idx="11">
                  <c:v>0.872888615217522</c:v>
                </c:pt>
                <c:pt idx="12">
                  <c:v>0.8626202246353087</c:v>
                </c:pt>
                <c:pt idx="13">
                  <c:v>0.7787163853732562</c:v>
                </c:pt>
                <c:pt idx="14">
                  <c:v>0.8626570800980793</c:v>
                </c:pt>
                <c:pt idx="15">
                  <c:v>0.8107423273742224</c:v>
                </c:pt>
                <c:pt idx="16">
                  <c:v>0.9003543450073378</c:v>
                </c:pt>
                <c:pt idx="17">
                  <c:v>0.8996442227616969</c:v>
                </c:pt>
                <c:pt idx="18">
                  <c:v>0.9370098068726956</c:v>
                </c:pt>
                <c:pt idx="19">
                  <c:v>0.9237211175957495</c:v>
                </c:pt>
                <c:pt idx="20">
                  <c:v>0.8669130661318446</c:v>
                </c:pt>
                <c:pt idx="21">
                  <c:v>0.8718167635075679</c:v>
                </c:pt>
                <c:pt idx="22">
                  <c:v>0.8480740238121248</c:v>
                </c:pt>
                <c:pt idx="23">
                  <c:v>0.7284435990780103</c:v>
                </c:pt>
                <c:pt idx="24">
                  <c:v>0.6960067585919649</c:v>
                </c:pt>
                <c:pt idx="25">
                  <c:v>0.7540265402483041</c:v>
                </c:pt>
                <c:pt idx="26">
                  <c:v>0.8928138603882418</c:v>
                </c:pt>
                <c:pt idx="27">
                  <c:v>1.0092274083820367</c:v>
                </c:pt>
                <c:pt idx="28">
                  <c:v>1.0158361444727264</c:v>
                </c:pt>
                <c:pt idx="29">
                  <c:v>1.0157854655157035</c:v>
                </c:pt>
                <c:pt idx="30">
                  <c:v>0.9513916222212205</c:v>
                </c:pt>
                <c:pt idx="31">
                  <c:v>0.9552142384718585</c:v>
                </c:pt>
                <c:pt idx="32">
                  <c:v>0.9167841623840487</c:v>
                </c:pt>
                <c:pt idx="33">
                  <c:v>0.9198595107917927</c:v>
                </c:pt>
                <c:pt idx="34">
                  <c:v>0.8932013408958039</c:v>
                </c:pt>
                <c:pt idx="35">
                  <c:v>0.8776948141105653</c:v>
                </c:pt>
                <c:pt idx="36">
                  <c:v>0.8628697172909501</c:v>
                </c:pt>
                <c:pt idx="37">
                  <c:v>0.8665439214347044</c:v>
                </c:pt>
                <c:pt idx="38">
                  <c:v>0.9091004113309209</c:v>
                </c:pt>
                <c:pt idx="39">
                  <c:v>0.9383358676714807</c:v>
                </c:pt>
                <c:pt idx="40">
                  <c:v>0.9266407770851252</c:v>
                </c:pt>
                <c:pt idx="41">
                  <c:v>0.9158469781553166</c:v>
                </c:pt>
                <c:pt idx="42">
                  <c:v>0.8917116833501193</c:v>
                </c:pt>
                <c:pt idx="43">
                  <c:v>0.878316968902371</c:v>
                </c:pt>
                <c:pt idx="44">
                  <c:v>0.842618529976116</c:v>
                </c:pt>
                <c:pt idx="45">
                  <c:v>0.8509161230533546</c:v>
                </c:pt>
                <c:pt idx="46">
                  <c:v>0.8527478389451244</c:v>
                </c:pt>
                <c:pt idx="47">
                  <c:v>0.845865825709386</c:v>
                </c:pt>
                <c:pt idx="48">
                  <c:v>0.8164900776113058</c:v>
                </c:pt>
                <c:pt idx="49">
                  <c:v>0.8047025266914232</c:v>
                </c:pt>
                <c:pt idx="50">
                  <c:v>0.7585288344674759</c:v>
                </c:pt>
                <c:pt idx="51">
                  <c:v>0.787007896397908</c:v>
                </c:pt>
              </c:numCache>
            </c:numRef>
          </c:xVal>
          <c:yVal>
            <c:numRef>
              <c:f>Sheet1!$B$109:$B$160</c:f>
              <c:numCache>
                <c:formatCode>General</c:formatCode>
                <c:ptCount val="52"/>
                <c:pt idx="0">
                  <c:v>0.38597376387487387</c:v>
                </c:pt>
                <c:pt idx="1">
                  <c:v>0.36996735582154516</c:v>
                </c:pt>
                <c:pt idx="2">
                  <c:v>0.369290573372206</c:v>
                </c:pt>
                <c:pt idx="3">
                  <c:v>0.35340802987861814</c:v>
                </c:pt>
                <c:pt idx="4">
                  <c:v>0.3486310299869622</c:v>
                </c:pt>
                <c:pt idx="5">
                  <c:v>0.33554200901139675</c:v>
                </c:pt>
                <c:pt idx="6">
                  <c:v>0.31037677578752315</c:v>
                </c:pt>
                <c:pt idx="7">
                  <c:v>0.30968317715305665</c:v>
                </c:pt>
                <c:pt idx="8">
                  <c:v>0.339142091152815</c:v>
                </c:pt>
                <c:pt idx="9">
                  <c:v>0.3269947800149142</c:v>
                </c:pt>
                <c:pt idx="10">
                  <c:v>0.3497191011235955</c:v>
                </c:pt>
                <c:pt idx="11">
                  <c:v>0.32680722891566266</c:v>
                </c:pt>
                <c:pt idx="12">
                  <c:v>0.3425669436749769</c:v>
                </c:pt>
                <c:pt idx="13">
                  <c:v>0.35397973950795947</c:v>
                </c:pt>
                <c:pt idx="14">
                  <c:v>0.3388681802778719</c:v>
                </c:pt>
                <c:pt idx="15">
                  <c:v>0.35957004160887657</c:v>
                </c:pt>
                <c:pt idx="16">
                  <c:v>0.32384769539078156</c:v>
                </c:pt>
                <c:pt idx="17">
                  <c:v>0.2963734889537307</c:v>
                </c:pt>
                <c:pt idx="18">
                  <c:v>0.3133997785160576</c:v>
                </c:pt>
                <c:pt idx="19">
                  <c:v>0.32736359850062474</c:v>
                </c:pt>
                <c:pt idx="20">
                  <c:v>0.32446555819477435</c:v>
                </c:pt>
                <c:pt idx="21">
                  <c:v>0.32302631578947366</c:v>
                </c:pt>
                <c:pt idx="22">
                  <c:v>0.32714468629961585</c:v>
                </c:pt>
                <c:pt idx="23">
                  <c:v>0.37890625</c:v>
                </c:pt>
                <c:pt idx="24">
                  <c:v>0.39558665231431644</c:v>
                </c:pt>
                <c:pt idx="25">
                  <c:v>0.35807860262008734</c:v>
                </c:pt>
                <c:pt idx="26">
                  <c:v>0.3331550802139037</c:v>
                </c:pt>
                <c:pt idx="27">
                  <c:v>0.29762506316321374</c:v>
                </c:pt>
                <c:pt idx="28">
                  <c:v>0.307035175879397</c:v>
                </c:pt>
                <c:pt idx="29">
                  <c:v>0.29418813660874776</c:v>
                </c:pt>
                <c:pt idx="30">
                  <c:v>0.30984204131227217</c:v>
                </c:pt>
                <c:pt idx="31">
                  <c:v>0.31198808637379</c:v>
                </c:pt>
                <c:pt idx="32">
                  <c:v>0.32629278951201746</c:v>
                </c:pt>
                <c:pt idx="33">
                  <c:v>0.3407455853499019</c:v>
                </c:pt>
                <c:pt idx="34">
                  <c:v>0.3766835016835017</c:v>
                </c:pt>
                <c:pt idx="35">
                  <c:v>0.3720328010358222</c:v>
                </c:pt>
                <c:pt idx="36">
                  <c:v>0.3546875</c:v>
                </c:pt>
                <c:pt idx="37">
                  <c:v>0.3618421052631579</c:v>
                </c:pt>
                <c:pt idx="38">
                  <c:v>0.31414868105515587</c:v>
                </c:pt>
                <c:pt idx="39">
                  <c:v>0.33967391304347827</c:v>
                </c:pt>
                <c:pt idx="40">
                  <c:v>0.3293347873500545</c:v>
                </c:pt>
                <c:pt idx="41">
                  <c:v>0.35184224182667356</c:v>
                </c:pt>
                <c:pt idx="42">
                  <c:v>0.34169096209912536</c:v>
                </c:pt>
                <c:pt idx="43">
                  <c:v>0.3394642143142743</c:v>
                </c:pt>
                <c:pt idx="44">
                  <c:v>0.32450331125827814</c:v>
                </c:pt>
                <c:pt idx="45">
                  <c:v>0.32150831059290497</c:v>
                </c:pt>
                <c:pt idx="46">
                  <c:v>0.3331228291758762</c:v>
                </c:pt>
                <c:pt idx="47">
                  <c:v>0.34008594229588707</c:v>
                </c:pt>
                <c:pt idx="48">
                  <c:v>0.3455768235902742</c:v>
                </c:pt>
                <c:pt idx="49">
                  <c:v>0.37195876288659796</c:v>
                </c:pt>
                <c:pt idx="50">
                  <c:v>0.3952715182859254</c:v>
                </c:pt>
                <c:pt idx="51">
                  <c:v>0.380819566616605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421262450537679</c:v>
                </c:pt>
              </c:numCache>
            </c:numRef>
          </c:xVal>
          <c:yVal>
            <c:numRef>
              <c:f>Sheet1!$B$163:$B$164</c:f>
              <c:numCache>
                <c:formatCode>General</c:formatCode>
                <c:ptCount val="2"/>
                <c:pt idx="0">
                  <c:v>0.3734066678448509</c:v>
                </c:pt>
                <c:pt idx="1">
                  <c:v>0.373406667844850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421262450537679</c:v>
                </c:pt>
                <c:pt idx="1">
                  <c:v>0.7421262450537679</c:v>
                </c:pt>
              </c:numCache>
            </c:numRef>
          </c:xVal>
          <c:yVal>
            <c:numRef>
              <c:f>Sheet1!$B$167:$B$168</c:f>
              <c:numCache>
                <c:formatCode>General</c:formatCode>
                <c:ptCount val="2"/>
                <c:pt idx="0">
                  <c:v>0.373406667844850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421262450537679</c:v>
                </c:pt>
              </c:numCache>
            </c:numRef>
          </c:xVal>
          <c:yVal>
            <c:numRef>
              <c:f>Sheet1!$B$171:$B$172</c:f>
              <c:numCache>
                <c:formatCode>General</c:formatCode>
                <c:ptCount val="2"/>
                <c:pt idx="0">
                  <c:v>0.3734066678448509</c:v>
                </c:pt>
                <c:pt idx="1">
                  <c:v>0.373406667844850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421262450537679</c:v>
                </c:pt>
                <c:pt idx="1">
                  <c:v>0.7421262450537679</c:v>
                </c:pt>
              </c:numCache>
            </c:numRef>
          </c:xVal>
          <c:yVal>
            <c:numRef>
              <c:f>Sheet1!$B$175:$B$176</c:f>
              <c:numCache>
                <c:formatCode>General</c:formatCode>
                <c:ptCount val="2"/>
                <c:pt idx="0">
                  <c:v>0.373406667844850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405382039579209</c:v>
                </c:pt>
              </c:numCache>
            </c:numRef>
          </c:xVal>
          <c:yVal>
            <c:numRef>
              <c:f>Sheet1!$B$179:$B$180</c:f>
              <c:numCache>
                <c:formatCode>General</c:formatCode>
                <c:ptCount val="2"/>
                <c:pt idx="0">
                  <c:v>0.34729639871815043</c:v>
                </c:pt>
                <c:pt idx="1">
                  <c:v>0.3472963987181504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405382039579209</c:v>
                </c:pt>
                <c:pt idx="1">
                  <c:v>0.8405382039579209</c:v>
                </c:pt>
              </c:numCache>
            </c:numRef>
          </c:xVal>
          <c:yVal>
            <c:numRef>
              <c:f>Sheet1!$B$183:$B$184</c:f>
              <c:numCache>
                <c:formatCode>General</c:formatCode>
                <c:ptCount val="2"/>
                <c:pt idx="0">
                  <c:v>0.3472963987181504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104747175666485</c:v>
                </c:pt>
                <c:pt idx="1">
                  <c:v>0.7970434640299798</c:v>
                </c:pt>
                <c:pt idx="2">
                  <c:v>0.8399040999377736</c:v>
                </c:pt>
                <c:pt idx="3">
                  <c:v>0.8779109062391312</c:v>
                </c:pt>
                <c:pt idx="4">
                  <c:v>0.8795643708131008</c:v>
                </c:pt>
                <c:pt idx="5">
                  <c:v>0.8943456482569023</c:v>
                </c:pt>
                <c:pt idx="6">
                  <c:v>0.8911622299330938</c:v>
                </c:pt>
                <c:pt idx="7">
                  <c:v>0.8723592996574441</c:v>
                </c:pt>
                <c:pt idx="8">
                  <c:v>0.8390970528160475</c:v>
                </c:pt>
                <c:pt idx="9">
                  <c:v>0.7568265458998763</c:v>
                </c:pt>
                <c:pt idx="10">
                  <c:v>0.7798222561138447</c:v>
                </c:pt>
                <c:pt idx="11">
                  <c:v>0.872888615217522</c:v>
                </c:pt>
                <c:pt idx="12">
                  <c:v>0.8626202246353087</c:v>
                </c:pt>
                <c:pt idx="13">
                  <c:v>0.7787163853732562</c:v>
                </c:pt>
                <c:pt idx="14">
                  <c:v>0.8626570800980793</c:v>
                </c:pt>
                <c:pt idx="15">
                  <c:v>0.8107423273742224</c:v>
                </c:pt>
                <c:pt idx="16">
                  <c:v>0.9003543450073378</c:v>
                </c:pt>
                <c:pt idx="17">
                  <c:v>0.8996442227616969</c:v>
                </c:pt>
                <c:pt idx="18">
                  <c:v>0.9370098068726956</c:v>
                </c:pt>
                <c:pt idx="19">
                  <c:v>0.9237211175957495</c:v>
                </c:pt>
                <c:pt idx="20">
                  <c:v>0.8669130661318446</c:v>
                </c:pt>
                <c:pt idx="21">
                  <c:v>0.8718167635075679</c:v>
                </c:pt>
                <c:pt idx="22">
                  <c:v>0.8480740238121248</c:v>
                </c:pt>
                <c:pt idx="23">
                  <c:v>0.7284435990780103</c:v>
                </c:pt>
                <c:pt idx="24">
                  <c:v>0.6960067585919649</c:v>
                </c:pt>
                <c:pt idx="25">
                  <c:v>0.7540265402483041</c:v>
                </c:pt>
                <c:pt idx="26">
                  <c:v>0.8928138603882418</c:v>
                </c:pt>
                <c:pt idx="27">
                  <c:v>1.0092274083820367</c:v>
                </c:pt>
                <c:pt idx="28">
                  <c:v>1.0158361444727264</c:v>
                </c:pt>
                <c:pt idx="29">
                  <c:v>1.0157854655157035</c:v>
                </c:pt>
                <c:pt idx="30">
                  <c:v>0.9513916222212205</c:v>
                </c:pt>
                <c:pt idx="31">
                  <c:v>0.9552142384718585</c:v>
                </c:pt>
                <c:pt idx="32">
                  <c:v>0.9167841623840487</c:v>
                </c:pt>
                <c:pt idx="33">
                  <c:v>0.9198595107917927</c:v>
                </c:pt>
                <c:pt idx="34">
                  <c:v>0.8932013408958039</c:v>
                </c:pt>
                <c:pt idx="35">
                  <c:v>0.8776948141105653</c:v>
                </c:pt>
                <c:pt idx="36">
                  <c:v>0.8628697172909501</c:v>
                </c:pt>
                <c:pt idx="37">
                  <c:v>0.8665439214347044</c:v>
                </c:pt>
                <c:pt idx="38">
                  <c:v>0.9091004113309209</c:v>
                </c:pt>
                <c:pt idx="39">
                  <c:v>0.9383358676714807</c:v>
                </c:pt>
                <c:pt idx="40">
                  <c:v>0.9266407770851252</c:v>
                </c:pt>
                <c:pt idx="41">
                  <c:v>0.9158469781553166</c:v>
                </c:pt>
                <c:pt idx="42">
                  <c:v>0.8917116833501193</c:v>
                </c:pt>
                <c:pt idx="43">
                  <c:v>0.878316968902371</c:v>
                </c:pt>
                <c:pt idx="44">
                  <c:v>0.842618529976116</c:v>
                </c:pt>
                <c:pt idx="45">
                  <c:v>0.8509161230533546</c:v>
                </c:pt>
                <c:pt idx="46">
                  <c:v>0.8527478389451244</c:v>
                </c:pt>
                <c:pt idx="47">
                  <c:v>0.845865825709386</c:v>
                </c:pt>
                <c:pt idx="48">
                  <c:v>0.8164900776113058</c:v>
                </c:pt>
                <c:pt idx="49">
                  <c:v>0.8047025266914232</c:v>
                </c:pt>
                <c:pt idx="50">
                  <c:v>0.7585288344674759</c:v>
                </c:pt>
                <c:pt idx="51">
                  <c:v>0.787007896397908</c:v>
                </c:pt>
                <c:pt idx="52">
                  <c:v>0.7421262450537679</c:v>
                </c:pt>
                <c:pt idx="53">
                  <c:v>0.7421262450537679</c:v>
                </c:pt>
                <c:pt idx="54">
                  <c:v>0.8405382039579209</c:v>
                </c:pt>
              </c:numCache>
            </c:numRef>
          </c:xVal>
          <c:yVal>
            <c:numRef>
              <c:f>Sheet1!$B$187:$B$241</c:f>
              <c:numCache>
                <c:formatCode>General</c:formatCode>
                <c:ptCount val="55"/>
                <c:pt idx="0">
                  <c:v>0.3552727232350471</c:v>
                </c:pt>
                <c:pt idx="1">
                  <c:v>0.3588362499492437</c:v>
                </c:pt>
                <c:pt idx="2">
                  <c:v>0.3474646366722033</c:v>
                </c:pt>
                <c:pt idx="3">
                  <c:v>0.3373808221416814</c:v>
                </c:pt>
                <c:pt idx="4">
                  <c:v>0.3369421315038916</c:v>
                </c:pt>
                <c:pt idx="5">
                  <c:v>0.3330204218215351</c:v>
                </c:pt>
                <c:pt idx="6">
                  <c:v>0.33386503369699283</c:v>
                </c:pt>
                <c:pt idx="7">
                  <c:v>0.3388537522971983</c:v>
                </c:pt>
                <c:pt idx="8">
                  <c:v>0.34767875920142477</c:v>
                </c:pt>
                <c:pt idx="9">
                  <c:v>0.3695064425510004</c:v>
                </c:pt>
                <c:pt idx="10">
                  <c:v>0.36340531227036954</c:v>
                </c:pt>
                <c:pt idx="11">
                  <c:v>0.3387133164001743</c:v>
                </c:pt>
                <c:pt idx="12">
                  <c:v>0.34143768490767235</c:v>
                </c:pt>
                <c:pt idx="13">
                  <c:v>0.3636987174924344</c:v>
                </c:pt>
                <c:pt idx="14">
                  <c:v>0.3414279065630236</c:v>
                </c:pt>
                <c:pt idx="15">
                  <c:v>0.3552017220663425</c:v>
                </c:pt>
                <c:pt idx="16">
                  <c:v>0.3314262183222693</c:v>
                </c:pt>
                <c:pt idx="17">
                  <c:v>0.3316146251292571</c:v>
                </c:pt>
                <c:pt idx="18">
                  <c:v>0.3217009371173688</c:v>
                </c:pt>
                <c:pt idx="19">
                  <c:v>0.32522663924977013</c:v>
                </c:pt>
                <c:pt idx="20">
                  <c:v>0.3402987252929981</c:v>
                </c:pt>
                <c:pt idx="21">
                  <c:v>0.33899769582847206</c:v>
                </c:pt>
                <c:pt idx="22">
                  <c:v>0.34529702499696246</c:v>
                </c:pt>
                <c:pt idx="23">
                  <c:v>0.37703689300011217</c:v>
                </c:pt>
                <c:pt idx="24">
                  <c:v>0.3856429063763458</c:v>
                </c:pt>
                <c:pt idx="25">
                  <c:v>0.37024932890275</c:v>
                </c:pt>
                <c:pt idx="26">
                  <c:v>0.3334268296803065</c:v>
                </c:pt>
                <c:pt idx="27">
                  <c:v>0.30254045060647455</c:v>
                </c:pt>
                <c:pt idx="28">
                  <c:v>0.3007870470584027</c:v>
                </c:pt>
                <c:pt idx="29">
                  <c:v>0.3008004929975107</c:v>
                </c:pt>
                <c:pt idx="30">
                  <c:v>0.3178852111277437</c:v>
                </c:pt>
                <c:pt idx="31">
                  <c:v>0.31687100980319266</c:v>
                </c:pt>
                <c:pt idx="32">
                  <c:v>0.32706712458828247</c:v>
                </c:pt>
                <c:pt idx="33">
                  <c:v>0.32625118539269377</c:v>
                </c:pt>
                <c:pt idx="34">
                  <c:v>0.333324024894725</c:v>
                </c:pt>
                <c:pt idx="35">
                  <c:v>0.33743815484490003</c:v>
                </c:pt>
                <c:pt idx="36">
                  <c:v>0.34137149050958837</c:v>
                </c:pt>
                <c:pt idx="37">
                  <c:v>0.3403966652943592</c:v>
                </c:pt>
                <c:pt idx="38">
                  <c:v>0.3291057468262072</c:v>
                </c:pt>
                <c:pt idx="39">
                  <c:v>0.3213491119457109</c:v>
                </c:pt>
                <c:pt idx="40">
                  <c:v>0.3244520068181551</c:v>
                </c:pt>
                <c:pt idx="41">
                  <c:v>0.327315774576617</c:v>
                </c:pt>
                <c:pt idx="42">
                  <c:v>0.33371925490393894</c:v>
                </c:pt>
                <c:pt idx="43">
                  <c:v>0.33727308721253707</c:v>
                </c:pt>
                <c:pt idx="44">
                  <c:v>0.3467444549014518</c:v>
                </c:pt>
                <c:pt idx="45">
                  <c:v>0.3445429705415931</c:v>
                </c:pt>
                <c:pt idx="46">
                  <c:v>0.34405698697384046</c:v>
                </c:pt>
                <c:pt idx="47">
                  <c:v>0.3458828953260322</c:v>
                </c:pt>
                <c:pt idx="48">
                  <c:v>0.3536767518570871</c:v>
                </c:pt>
                <c:pt idx="49">
                  <c:v>0.3568041779371083</c:v>
                </c:pt>
                <c:pt idx="50">
                  <c:v>0.3690547981256047</c:v>
                </c:pt>
                <c:pt idx="51">
                  <c:v>0.3614988467985534</c:v>
                </c:pt>
                <c:pt idx="52">
                  <c:v>0.3734066678448509</c:v>
                </c:pt>
                <c:pt idx="53">
                  <c:v>0.3734066678448509</c:v>
                </c:pt>
                <c:pt idx="54">
                  <c:v>0.347296398718150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977900552486187"/>
          <c:min val="0.21820788530465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44.3465</c:v>
                </c:pt>
                <c:pt idx="1">
                  <c:v>983.2597</c:v>
                </c:pt>
                <c:pt idx="2">
                  <c:v>998.5087</c:v>
                </c:pt>
                <c:pt idx="3">
                  <c:v>1012.6181</c:v>
                </c:pt>
                <c:pt idx="4">
                  <c:v>958.2074</c:v>
                </c:pt>
                <c:pt idx="5">
                  <c:v>947.8816</c:v>
                </c:pt>
                <c:pt idx="6">
                  <c:v>969.8739</c:v>
                </c:pt>
                <c:pt idx="7">
                  <c:v>965.8944</c:v>
                </c:pt>
                <c:pt idx="8">
                  <c:v>980.3386</c:v>
                </c:pt>
                <c:pt idx="9">
                  <c:v>927.0812</c:v>
                </c:pt>
                <c:pt idx="10">
                  <c:v>921.3132</c:v>
                </c:pt>
                <c:pt idx="11">
                  <c:v>918.6402</c:v>
                </c:pt>
                <c:pt idx="12">
                  <c:v>942.9454</c:v>
                </c:pt>
                <c:pt idx="13">
                  <c:v>969.1503</c:v>
                </c:pt>
                <c:pt idx="14">
                  <c:v>1054.3419</c:v>
                </c:pt>
                <c:pt idx="15">
                  <c:v>1071.0894</c:v>
                </c:pt>
                <c:pt idx="16">
                  <c:v>1042.0557</c:v>
                </c:pt>
                <c:pt idx="17">
                  <c:v>1029.1044</c:v>
                </c:pt>
                <c:pt idx="18">
                  <c:v>1087.5894</c:v>
                </c:pt>
                <c:pt idx="19">
                  <c:v>1093.2423</c:v>
                </c:pt>
                <c:pt idx="20">
                  <c:v>1111.2164</c:v>
                </c:pt>
                <c:pt idx="21">
                  <c:v>1111.6517</c:v>
                </c:pt>
                <c:pt idx="22">
                  <c:v>1128.5151</c:v>
                </c:pt>
                <c:pt idx="23">
                  <c:v>1121.8747</c:v>
                </c:pt>
                <c:pt idx="24">
                  <c:v>1121.3757</c:v>
                </c:pt>
                <c:pt idx="25">
                  <c:v>1124.7069</c:v>
                </c:pt>
                <c:pt idx="26">
                  <c:v>1133.9502</c:v>
                </c:pt>
                <c:pt idx="27">
                  <c:v>1116.0</c:v>
                </c:pt>
                <c:pt idx="28">
                  <c:v>1118.2388</c:v>
                </c:pt>
                <c:pt idx="29">
                  <c:v>1146.3238</c:v>
                </c:pt>
                <c:pt idx="30">
                  <c:v>1152.9823</c:v>
                </c:pt>
                <c:pt idx="31">
                  <c:v>1155.6693</c:v>
                </c:pt>
                <c:pt idx="32">
                  <c:v>1150.5319</c:v>
                </c:pt>
                <c:pt idx="33">
                  <c:v>1137.285</c:v>
                </c:pt>
                <c:pt idx="34">
                  <c:v>1128.8686</c:v>
                </c:pt>
                <c:pt idx="35">
                  <c:v>1134.011</c:v>
                </c:pt>
                <c:pt idx="36">
                  <c:v>1142.6291</c:v>
                </c:pt>
                <c:pt idx="37">
                  <c:v>1153.573</c:v>
                </c:pt>
                <c:pt idx="38">
                  <c:v>1152.528</c:v>
                </c:pt>
                <c:pt idx="39">
                  <c:v>1205.3019</c:v>
                </c:pt>
                <c:pt idx="40">
                  <c:v>1219.2845</c:v>
                </c:pt>
                <c:pt idx="41">
                  <c:v>1237.3582</c:v>
                </c:pt>
                <c:pt idx="42">
                  <c:v>1244.3919</c:v>
                </c:pt>
                <c:pt idx="43">
                  <c:v>1250.4413</c:v>
                </c:pt>
                <c:pt idx="44">
                  <c:v>1259.6667</c:v>
                </c:pt>
                <c:pt idx="45">
                  <c:v>1247.6091</c:v>
                </c:pt>
                <c:pt idx="46">
                  <c:v>1188.4625</c:v>
                </c:pt>
                <c:pt idx="47">
                  <c:v>1183.6277</c:v>
                </c:pt>
                <c:pt idx="48">
                  <c:v>1134.5962</c:v>
                </c:pt>
                <c:pt idx="49">
                  <c:v>1036.0323</c:v>
                </c:pt>
                <c:pt idx="50">
                  <c:v>1063.233</c:v>
                </c:pt>
                <c:pt idx="51">
                  <c:v>1030.3646</c:v>
                </c:pt>
                <c:pt idx="52">
                  <c:v>1004.2829</c:v>
                </c:pt>
                <c:pt idx="53">
                  <c:v>1254.4518</c:v>
                </c:pt>
                <c:pt idx="54">
                  <c:v>1243.3401</c:v>
                </c:pt>
                <c:pt idx="55">
                  <c:v>1246.2669</c:v>
                </c:pt>
                <c:pt idx="56">
                  <c:v>1251.4561</c:v>
                </c:pt>
                <c:pt idx="57">
                  <c:v>1262.0184</c:v>
                </c:pt>
                <c:pt idx="58">
                  <c:v>1258.7824</c:v>
                </c:pt>
                <c:pt idx="59">
                  <c:v>1252.5043</c:v>
                </c:pt>
                <c:pt idx="60">
                  <c:v>1261.0249</c:v>
                </c:pt>
                <c:pt idx="61">
                  <c:v>1197.8132</c:v>
                </c:pt>
                <c:pt idx="62">
                  <c:v>1080.0147</c:v>
                </c:pt>
                <c:pt idx="63">
                  <c:v>1083.3329</c:v>
                </c:pt>
                <c:pt idx="64">
                  <c:v>1085.7173</c:v>
                </c:pt>
                <c:pt idx="65">
                  <c:v>1096.1979</c:v>
                </c:pt>
                <c:pt idx="66">
                  <c:v>1241.9718</c:v>
                </c:pt>
                <c:pt idx="67">
                  <c:v>1261.5555</c:v>
                </c:pt>
                <c:pt idx="68">
                  <c:v>1249.3041</c:v>
                </c:pt>
                <c:pt idx="69">
                  <c:v>1282.0972</c:v>
                </c:pt>
                <c:pt idx="70">
                  <c:v>1274.1268</c:v>
                </c:pt>
                <c:pt idx="71">
                  <c:v>1270.9449</c:v>
                </c:pt>
                <c:pt idx="72">
                  <c:v>1294.1253</c:v>
                </c:pt>
                <c:pt idx="73">
                  <c:v>1271.1309</c:v>
                </c:pt>
                <c:pt idx="74">
                  <c:v>1299.1777</c:v>
                </c:pt>
                <c:pt idx="75">
                  <c:v>1276.8991</c:v>
                </c:pt>
                <c:pt idx="76">
                  <c:v>1232.9392</c:v>
                </c:pt>
                <c:pt idx="77">
                  <c:v>1217.9106</c:v>
                </c:pt>
                <c:pt idx="78">
                  <c:v>1247.1802</c:v>
                </c:pt>
                <c:pt idx="79">
                  <c:v>1293.2941</c:v>
                </c:pt>
                <c:pt idx="80">
                  <c:v>1303.5206</c:v>
                </c:pt>
                <c:pt idx="81">
                  <c:v>1337.5946</c:v>
                </c:pt>
                <c:pt idx="82">
                  <c:v>1357.299</c:v>
                </c:pt>
                <c:pt idx="83">
                  <c:v>1367.6755</c:v>
                </c:pt>
                <c:pt idx="84">
                  <c:v>1367.041</c:v>
                </c:pt>
                <c:pt idx="85">
                  <c:v>1360.1804</c:v>
                </c:pt>
                <c:pt idx="86">
                  <c:v>1360.7093</c:v>
                </c:pt>
                <c:pt idx="87">
                  <c:v>1351.2448</c:v>
                </c:pt>
                <c:pt idx="88">
                  <c:v>1376.0153</c:v>
                </c:pt>
                <c:pt idx="89">
                  <c:v>1389.1494</c:v>
                </c:pt>
                <c:pt idx="90">
                  <c:v>1387.5711</c:v>
                </c:pt>
                <c:pt idx="91">
                  <c:v>1367.3523</c:v>
                </c:pt>
                <c:pt idx="92">
                  <c:v>1370.0738</c:v>
                </c:pt>
                <c:pt idx="93">
                  <c:v>1359.9005</c:v>
                </c:pt>
                <c:pt idx="94">
                  <c:v>1388.4075</c:v>
                </c:pt>
                <c:pt idx="95">
                  <c:v>1369.1558</c:v>
                </c:pt>
                <c:pt idx="96">
                  <c:v>1244.5532</c:v>
                </c:pt>
                <c:pt idx="97">
                  <c:v>1288.9495</c:v>
                </c:pt>
                <c:pt idx="98">
                  <c:v>1233.9533</c:v>
                </c:pt>
                <c:pt idx="99">
                  <c:v>1224.1332</c:v>
                </c:pt>
                <c:pt idx="100">
                  <c:v>1105.2917</c:v>
                </c:pt>
                <c:pt idx="101">
                  <c:v>1326.8797</c:v>
                </c:pt>
                <c:pt idx="102">
                  <c:v>1306.8112</c:v>
                </c:pt>
                <c:pt idx="103">
                  <c:v>1221.7936</c:v>
                </c:pt>
                <c:pt idx="104">
                  <c:v>1203.5345</c:v>
                </c:pt>
              </c:numCache>
            </c:numRef>
          </c:xVal>
          <c:yVal>
            <c:numRef>
              <c:f>Sheet1!$B$2:$B$106</c:f>
              <c:numCache>
                <c:formatCode>General</c:formatCode>
                <c:ptCount val="105"/>
                <c:pt idx="0">
                  <c:v>0.3211839530332681</c:v>
                </c:pt>
                <c:pt idx="1">
                  <c:v>0.3290645879732739</c:v>
                </c:pt>
                <c:pt idx="2">
                  <c:v>0.3272519954389966</c:v>
                </c:pt>
                <c:pt idx="3">
                  <c:v>0.3375250071448985</c:v>
                </c:pt>
                <c:pt idx="4">
                  <c:v>0.38388324873096447</c:v>
                </c:pt>
                <c:pt idx="5">
                  <c:v>0.3635025754231052</c:v>
                </c:pt>
                <c:pt idx="6">
                  <c:v>0.39022711631108054</c:v>
                </c:pt>
                <c:pt idx="7">
                  <c:v>0.38578274760383385</c:v>
                </c:pt>
                <c:pt idx="8">
                  <c:v>0.36801242236024845</c:v>
                </c:pt>
                <c:pt idx="9">
                  <c:v>0.36969278564031754</c:v>
                </c:pt>
                <c:pt idx="10">
                  <c:v>0.3552278820375335</c:v>
                </c:pt>
                <c:pt idx="11">
                  <c:v>0.35420619860847563</c:v>
                </c:pt>
                <c:pt idx="12">
                  <c:v>0.3315962698848053</c:v>
                </c:pt>
                <c:pt idx="13">
                  <c:v>0.3220499841822208</c:v>
                </c:pt>
                <c:pt idx="14">
                  <c:v>0.2848081192515065</c:v>
                </c:pt>
                <c:pt idx="15">
                  <c:v>0.27275985663082436</c:v>
                </c:pt>
                <c:pt idx="16">
                  <c:v>0.2991666666666667</c:v>
                </c:pt>
                <c:pt idx="17">
                  <c:v>0.3005159071367154</c:v>
                </c:pt>
                <c:pt idx="18">
                  <c:v>0.2838640043173233</c:v>
                </c:pt>
                <c:pt idx="19">
                  <c:v>0.28972559029993616</c:v>
                </c:pt>
                <c:pt idx="20">
                  <c:v>0.3336380255941499</c:v>
                </c:pt>
                <c:pt idx="21">
                  <c:v>0.31283710895361383</c:v>
                </c:pt>
                <c:pt idx="22">
                  <c:v>0.28695114409400124</c:v>
                </c:pt>
                <c:pt idx="23">
                  <c:v>0.3183279742765273</c:v>
                </c:pt>
                <c:pt idx="24">
                  <c:v>0.32073242764323684</c:v>
                </c:pt>
                <c:pt idx="25">
                  <c:v>0.3070054945054945</c:v>
                </c:pt>
                <c:pt idx="26">
                  <c:v>0.3047722342733189</c:v>
                </c:pt>
                <c:pt idx="27">
                  <c:v>0.3338879645036051</c:v>
                </c:pt>
                <c:pt idx="28">
                  <c:v>0.3575757575757576</c:v>
                </c:pt>
                <c:pt idx="29">
                  <c:v>0.3470343392299688</c:v>
                </c:pt>
                <c:pt idx="30">
                  <c:v>0.35074626865671643</c:v>
                </c:pt>
                <c:pt idx="31">
                  <c:v>0.32413350449293965</c:v>
                </c:pt>
                <c:pt idx="32">
                  <c:v>0.33804713804713804</c:v>
                </c:pt>
                <c:pt idx="33">
                  <c:v>0.33658816771970135</c:v>
                </c:pt>
                <c:pt idx="34">
                  <c:v>0.3556910569105691</c:v>
                </c:pt>
                <c:pt idx="35">
                  <c:v>0.40814917127071826</c:v>
                </c:pt>
                <c:pt idx="36">
                  <c:v>0.36666666666666664</c:v>
                </c:pt>
                <c:pt idx="37">
                  <c:v>0.3577512776831346</c:v>
                </c:pt>
                <c:pt idx="38">
                  <c:v>0.3481561822125813</c:v>
                </c:pt>
                <c:pt idx="39">
                  <c:v>0.35109532267613974</c:v>
                </c:pt>
                <c:pt idx="40">
                  <c:v>0.3428981348637016</c:v>
                </c:pt>
                <c:pt idx="41">
                  <c:v>0.33997844827586204</c:v>
                </c:pt>
                <c:pt idx="42">
                  <c:v>0.33835557468790356</c:v>
                </c:pt>
                <c:pt idx="43">
                  <c:v>0.32887899034892354</c:v>
                </c:pt>
                <c:pt idx="44">
                  <c:v>0.3158808215215505</c:v>
                </c:pt>
                <c:pt idx="45">
                  <c:v>0.3094381400498201</c:v>
                </c:pt>
                <c:pt idx="46">
                  <c:v>0.3142308746915273</c:v>
                </c:pt>
                <c:pt idx="47">
                  <c:v>0.3241020016451878</c:v>
                </c:pt>
                <c:pt idx="48">
                  <c:v>0.31876503608660783</c:v>
                </c:pt>
                <c:pt idx="49">
                  <c:v>0.33740478066719204</c:v>
                </c:pt>
                <c:pt idx="50">
                  <c:v>0.3289984029203742</c:v>
                </c:pt>
                <c:pt idx="51">
                  <c:v>0.34895287958115184</c:v>
                </c:pt>
                <c:pt idx="52">
                  <c:v>0.34059488898198576</c:v>
                </c:pt>
                <c:pt idx="53">
                  <c:v>0.33534560821008147</c:v>
                </c:pt>
                <c:pt idx="54">
                  <c:v>0.34808853118712274</c:v>
                </c:pt>
                <c:pt idx="55">
                  <c:v>0.3515456506110712</c:v>
                </c:pt>
                <c:pt idx="56">
                  <c:v>0.34055829228243023</c:v>
                </c:pt>
                <c:pt idx="57">
                  <c:v>0.3215845290081098</c:v>
                </c:pt>
                <c:pt idx="58">
                  <c:v>0.31510272071071627</c:v>
                </c:pt>
                <c:pt idx="59">
                  <c:v>0.2907285942208828</c:v>
                </c:pt>
                <c:pt idx="60">
                  <c:v>0.29194630872483224</c:v>
                </c:pt>
                <c:pt idx="61">
                  <c:v>0.3184</c:v>
                </c:pt>
                <c:pt idx="62">
                  <c:v>0.36620856911883587</c:v>
                </c:pt>
                <c:pt idx="63">
                  <c:v>0.3611436606515116</c:v>
                </c:pt>
                <c:pt idx="64">
                  <c:v>0.3704206241519674</c:v>
                </c:pt>
                <c:pt idx="65">
                  <c:v>0.3682058682058682</c:v>
                </c:pt>
                <c:pt idx="66">
                  <c:v>0.36459782911216254</c:v>
                </c:pt>
                <c:pt idx="67">
                  <c:v>0.3521528371827773</c:v>
                </c:pt>
                <c:pt idx="68">
                  <c:v>0.35290031260854465</c:v>
                </c:pt>
                <c:pt idx="69">
                  <c:v>0.3271889400921659</c:v>
                </c:pt>
                <c:pt idx="70">
                  <c:v>0.3154153709462461</c:v>
                </c:pt>
                <c:pt idx="71">
                  <c:v>0.3262921348314607</c:v>
                </c:pt>
                <c:pt idx="72">
                  <c:v>0.3367139959432049</c:v>
                </c:pt>
                <c:pt idx="73">
                  <c:v>0.34083469721767595</c:v>
                </c:pt>
                <c:pt idx="74">
                  <c:v>0.31403581840899625</c:v>
                </c:pt>
                <c:pt idx="75">
                  <c:v>0.3452868852459016</c:v>
                </c:pt>
                <c:pt idx="76">
                  <c:v>0.3379019504480759</c:v>
                </c:pt>
                <c:pt idx="77">
                  <c:v>0.3405036726128017</c:v>
                </c:pt>
                <c:pt idx="78">
                  <c:v>0.34304399524375745</c:v>
                </c:pt>
                <c:pt idx="79">
                  <c:v>0.35051546391752575</c:v>
                </c:pt>
                <c:pt idx="80">
                  <c:v>0.3508137432188065</c:v>
                </c:pt>
                <c:pt idx="81">
                  <c:v>0.35431472081218274</c:v>
                </c:pt>
                <c:pt idx="82">
                  <c:v>0.36081835089894604</c:v>
                </c:pt>
                <c:pt idx="83">
                  <c:v>0.32885375494071145</c:v>
                </c:pt>
                <c:pt idx="84">
                  <c:v>0.3309409888357257</c:v>
                </c:pt>
                <c:pt idx="85">
                  <c:v>0.337442218798151</c:v>
                </c:pt>
                <c:pt idx="86">
                  <c:v>0.33616569304301647</c:v>
                </c:pt>
                <c:pt idx="87">
                  <c:v>0.37271937445699393</c:v>
                </c:pt>
                <c:pt idx="88">
                  <c:v>0.38057324840764334</c:v>
                </c:pt>
                <c:pt idx="89">
                  <c:v>0.34296977660972405</c:v>
                </c:pt>
                <c:pt idx="90">
                  <c:v>0.35236768802228413</c:v>
                </c:pt>
                <c:pt idx="91">
                  <c:v>0.32897196261682243</c:v>
                </c:pt>
                <c:pt idx="92">
                  <c:v>0.3502235469448584</c:v>
                </c:pt>
                <c:pt idx="93">
                  <c:v>0.30575368521160246</c:v>
                </c:pt>
                <c:pt idx="94">
                  <c:v>0.30345572354211664</c:v>
                </c:pt>
                <c:pt idx="95">
                  <c:v>0.30474840538625086</c:v>
                </c:pt>
                <c:pt idx="96">
                  <c:v>0.30848920863309354</c:v>
                </c:pt>
                <c:pt idx="97">
                  <c:v>0.3025210084033613</c:v>
                </c:pt>
                <c:pt idx="98">
                  <c:v>0.3256959314775161</c:v>
                </c:pt>
                <c:pt idx="99">
                  <c:v>0.33232749949708307</c:v>
                </c:pt>
                <c:pt idx="100">
                  <c:v>0.33509900365746</c:v>
                </c:pt>
                <c:pt idx="101">
                  <c:v>0.29024943310657597</c:v>
                </c:pt>
                <c:pt idx="102">
                  <c:v>0.28691275167785235</c:v>
                </c:pt>
                <c:pt idx="103">
                  <c:v>0.31928448909580986</c:v>
                </c:pt>
                <c:pt idx="104">
                  <c:v>0.3392520850147968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96.5562</c:v>
                </c:pt>
                <c:pt idx="1">
                  <c:v>1292.5669</c:v>
                </c:pt>
                <c:pt idx="2">
                  <c:v>1331.1289</c:v>
                </c:pt>
                <c:pt idx="3">
                  <c:v>1374.3963</c:v>
                </c:pt>
                <c:pt idx="4">
                  <c:v>1358.2423</c:v>
                </c:pt>
                <c:pt idx="5">
                  <c:v>1367.0126</c:v>
                </c:pt>
                <c:pt idx="6">
                  <c:v>1361.2348</c:v>
                </c:pt>
                <c:pt idx="7">
                  <c:v>1353.5533</c:v>
                </c:pt>
                <c:pt idx="8">
                  <c:v>1355.1383</c:v>
                </c:pt>
                <c:pt idx="9">
                  <c:v>1168.7412</c:v>
                </c:pt>
                <c:pt idx="10">
                  <c:v>1200.1647</c:v>
                </c:pt>
                <c:pt idx="11">
                  <c:v>1356.6221</c:v>
                </c:pt>
                <c:pt idx="12">
                  <c:v>1323.2803</c:v>
                </c:pt>
                <c:pt idx="13">
                  <c:v>1213.0875</c:v>
                </c:pt>
                <c:pt idx="14">
                  <c:v>1350.99</c:v>
                </c:pt>
                <c:pt idx="15">
                  <c:v>1257.2825</c:v>
                </c:pt>
                <c:pt idx="16">
                  <c:v>1369.6708</c:v>
                </c:pt>
                <c:pt idx="17">
                  <c:v>1384.1702</c:v>
                </c:pt>
                <c:pt idx="18">
                  <c:v>1447.4682</c:v>
                </c:pt>
                <c:pt idx="19">
                  <c:v>1421.7061</c:v>
                </c:pt>
                <c:pt idx="20">
                  <c:v>1324.4143</c:v>
                </c:pt>
                <c:pt idx="21">
                  <c:v>1351.9756</c:v>
                </c:pt>
                <c:pt idx="22">
                  <c:v>1330.5988</c:v>
                </c:pt>
                <c:pt idx="23">
                  <c:v>1164.3535</c:v>
                </c:pt>
                <c:pt idx="24">
                  <c:v>1113.9252</c:v>
                </c:pt>
                <c:pt idx="25">
                  <c:v>1177.4466</c:v>
                </c:pt>
                <c:pt idx="26">
                  <c:v>1234.8571</c:v>
                </c:pt>
                <c:pt idx="27">
                  <c:v>1323.2139</c:v>
                </c:pt>
                <c:pt idx="28">
                  <c:v>1381.6939</c:v>
                </c:pt>
                <c:pt idx="29">
                  <c:v>1379.053</c:v>
                </c:pt>
                <c:pt idx="30">
                  <c:v>1382.3706</c:v>
                </c:pt>
                <c:pt idx="31">
                  <c:v>1379.5418</c:v>
                </c:pt>
                <c:pt idx="32">
                  <c:v>1375.0313</c:v>
                </c:pt>
                <c:pt idx="33">
                  <c:v>1379.7774</c:v>
                </c:pt>
                <c:pt idx="34">
                  <c:v>1400.4034</c:v>
                </c:pt>
                <c:pt idx="35">
                  <c:v>1390.6682</c:v>
                </c:pt>
                <c:pt idx="36">
                  <c:v>1380.6145</c:v>
                </c:pt>
                <c:pt idx="37">
                  <c:v>1384.1709</c:v>
                </c:pt>
                <c:pt idx="38">
                  <c:v>1374.201</c:v>
                </c:pt>
                <c:pt idx="39">
                  <c:v>1436.072</c:v>
                </c:pt>
                <c:pt idx="40">
                  <c:v>1435.356</c:v>
                </c:pt>
                <c:pt idx="41">
                  <c:v>1435.9867</c:v>
                </c:pt>
                <c:pt idx="42">
                  <c:v>1421.9181</c:v>
                </c:pt>
                <c:pt idx="43">
                  <c:v>1399.1837</c:v>
                </c:pt>
                <c:pt idx="44">
                  <c:v>1347.8949</c:v>
                </c:pt>
                <c:pt idx="45">
                  <c:v>1349.7423</c:v>
                </c:pt>
                <c:pt idx="46">
                  <c:v>1355.9175</c:v>
                </c:pt>
                <c:pt idx="47">
                  <c:v>1342.6715</c:v>
                </c:pt>
                <c:pt idx="48">
                  <c:v>1266.0696</c:v>
                </c:pt>
                <c:pt idx="49">
                  <c:v>1221.3099</c:v>
                </c:pt>
                <c:pt idx="50">
                  <c:v>1167.8916</c:v>
                </c:pt>
                <c:pt idx="51">
                  <c:v>1211.2992</c:v>
                </c:pt>
              </c:numCache>
            </c:numRef>
          </c:xVal>
          <c:yVal>
            <c:numRef>
              <c:f>Sheet1!$B$109:$B$160</c:f>
              <c:numCache>
                <c:formatCode>General</c:formatCode>
                <c:ptCount val="52"/>
                <c:pt idx="0">
                  <c:v>0.38597376387487387</c:v>
                </c:pt>
                <c:pt idx="1">
                  <c:v>0.36996735582154516</c:v>
                </c:pt>
                <c:pt idx="2">
                  <c:v>0.369290573372206</c:v>
                </c:pt>
                <c:pt idx="3">
                  <c:v>0.35340802987861814</c:v>
                </c:pt>
                <c:pt idx="4">
                  <c:v>0.3486310299869622</c:v>
                </c:pt>
                <c:pt idx="5">
                  <c:v>0.33554200901139675</c:v>
                </c:pt>
                <c:pt idx="6">
                  <c:v>0.31037677578752315</c:v>
                </c:pt>
                <c:pt idx="7">
                  <c:v>0.30968317715305665</c:v>
                </c:pt>
                <c:pt idx="8">
                  <c:v>0.339142091152815</c:v>
                </c:pt>
                <c:pt idx="9">
                  <c:v>0.3269947800149142</c:v>
                </c:pt>
                <c:pt idx="10">
                  <c:v>0.3497191011235955</c:v>
                </c:pt>
                <c:pt idx="11">
                  <c:v>0.32680722891566266</c:v>
                </c:pt>
                <c:pt idx="12">
                  <c:v>0.3425669436749769</c:v>
                </c:pt>
                <c:pt idx="13">
                  <c:v>0.35397973950795947</c:v>
                </c:pt>
                <c:pt idx="14">
                  <c:v>0.3388681802778719</c:v>
                </c:pt>
                <c:pt idx="15">
                  <c:v>0.35957004160887657</c:v>
                </c:pt>
                <c:pt idx="16">
                  <c:v>0.32384769539078156</c:v>
                </c:pt>
                <c:pt idx="17">
                  <c:v>0.2963734889537307</c:v>
                </c:pt>
                <c:pt idx="18">
                  <c:v>0.3133997785160576</c:v>
                </c:pt>
                <c:pt idx="19">
                  <c:v>0.32736359850062474</c:v>
                </c:pt>
                <c:pt idx="20">
                  <c:v>0.32446555819477435</c:v>
                </c:pt>
                <c:pt idx="21">
                  <c:v>0.32302631578947366</c:v>
                </c:pt>
                <c:pt idx="22">
                  <c:v>0.32714468629961585</c:v>
                </c:pt>
                <c:pt idx="23">
                  <c:v>0.37890625</c:v>
                </c:pt>
                <c:pt idx="24">
                  <c:v>0.39558665231431644</c:v>
                </c:pt>
                <c:pt idx="25">
                  <c:v>0.35807860262008734</c:v>
                </c:pt>
                <c:pt idx="26">
                  <c:v>0.3331550802139037</c:v>
                </c:pt>
                <c:pt idx="27">
                  <c:v>0.29762506316321374</c:v>
                </c:pt>
                <c:pt idx="28">
                  <c:v>0.307035175879397</c:v>
                </c:pt>
                <c:pt idx="29">
                  <c:v>0.29418813660874776</c:v>
                </c:pt>
                <c:pt idx="30">
                  <c:v>0.30984204131227217</c:v>
                </c:pt>
                <c:pt idx="31">
                  <c:v>0.31198808637379</c:v>
                </c:pt>
                <c:pt idx="32">
                  <c:v>0.32629278951201746</c:v>
                </c:pt>
                <c:pt idx="33">
                  <c:v>0.3407455853499019</c:v>
                </c:pt>
                <c:pt idx="34">
                  <c:v>0.3766835016835017</c:v>
                </c:pt>
                <c:pt idx="35">
                  <c:v>0.3720328010358222</c:v>
                </c:pt>
                <c:pt idx="36">
                  <c:v>0.3546875</c:v>
                </c:pt>
                <c:pt idx="37">
                  <c:v>0.3618421052631579</c:v>
                </c:pt>
                <c:pt idx="38">
                  <c:v>0.31414868105515587</c:v>
                </c:pt>
                <c:pt idx="39">
                  <c:v>0.33967391304347827</c:v>
                </c:pt>
                <c:pt idx="40">
                  <c:v>0.3293347873500545</c:v>
                </c:pt>
                <c:pt idx="41">
                  <c:v>0.35184224182667356</c:v>
                </c:pt>
                <c:pt idx="42">
                  <c:v>0.34169096209912536</c:v>
                </c:pt>
                <c:pt idx="43">
                  <c:v>0.3394642143142743</c:v>
                </c:pt>
                <c:pt idx="44">
                  <c:v>0.32450331125827814</c:v>
                </c:pt>
                <c:pt idx="45">
                  <c:v>0.32150831059290497</c:v>
                </c:pt>
                <c:pt idx="46">
                  <c:v>0.3331228291758762</c:v>
                </c:pt>
                <c:pt idx="47">
                  <c:v>0.34008594229588707</c:v>
                </c:pt>
                <c:pt idx="48">
                  <c:v>0.3455768235902742</c:v>
                </c:pt>
                <c:pt idx="49">
                  <c:v>0.37195876288659796</c:v>
                </c:pt>
                <c:pt idx="50">
                  <c:v>0.3952715182859254</c:v>
                </c:pt>
                <c:pt idx="51">
                  <c:v>0.380819566616605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24.768082592046</c:v>
                </c:pt>
              </c:numCache>
            </c:numRef>
          </c:xVal>
          <c:yVal>
            <c:numRef>
              <c:f>Sheet1!$B$163:$B$164</c:f>
              <c:numCache>
                <c:formatCode>General</c:formatCode>
                <c:ptCount val="2"/>
                <c:pt idx="0">
                  <c:v>0.3734066678448509</c:v>
                </c:pt>
                <c:pt idx="1">
                  <c:v>0.373406667844850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24.768082592046</c:v>
                </c:pt>
                <c:pt idx="1">
                  <c:v>1124.768082592046</c:v>
                </c:pt>
              </c:numCache>
            </c:numRef>
          </c:xVal>
          <c:yVal>
            <c:numRef>
              <c:f>Sheet1!$B$167:$B$168</c:f>
              <c:numCache>
                <c:formatCode>General</c:formatCode>
                <c:ptCount val="2"/>
                <c:pt idx="0">
                  <c:v>0.373406667844850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4.768082592046</c:v>
                </c:pt>
              </c:numCache>
            </c:numRef>
          </c:xVal>
          <c:yVal>
            <c:numRef>
              <c:f>Sheet1!$B$171:$B$172</c:f>
              <c:numCache>
                <c:formatCode>General</c:formatCode>
                <c:ptCount val="2"/>
                <c:pt idx="0">
                  <c:v>0.3734066678448509</c:v>
                </c:pt>
                <c:pt idx="1">
                  <c:v>0.373406667844850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4.768082592046</c:v>
                </c:pt>
                <c:pt idx="1">
                  <c:v>1124.768082592046</c:v>
                </c:pt>
              </c:numCache>
            </c:numRef>
          </c:xVal>
          <c:yVal>
            <c:numRef>
              <c:f>Sheet1!$B$175:$B$176</c:f>
              <c:numCache>
                <c:formatCode>General</c:formatCode>
                <c:ptCount val="2"/>
                <c:pt idx="0">
                  <c:v>0.373406667844850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88.0561275057278</c:v>
                </c:pt>
              </c:numCache>
            </c:numRef>
          </c:xVal>
          <c:yVal>
            <c:numRef>
              <c:f>Sheet1!$B$179:$B$180</c:f>
              <c:numCache>
                <c:formatCode>General</c:formatCode>
                <c:ptCount val="2"/>
                <c:pt idx="0">
                  <c:v>0.34729639871815043</c:v>
                </c:pt>
                <c:pt idx="1">
                  <c:v>0.3472963987181504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88.0561275057278</c:v>
                </c:pt>
                <c:pt idx="1">
                  <c:v>1288.0561275057278</c:v>
                </c:pt>
              </c:numCache>
            </c:numRef>
          </c:xVal>
          <c:yVal>
            <c:numRef>
              <c:f>Sheet1!$B$183:$B$184</c:f>
              <c:numCache>
                <c:formatCode>General</c:formatCode>
                <c:ptCount val="2"/>
                <c:pt idx="0">
                  <c:v>0.3472963987181504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96.5562</c:v>
                </c:pt>
                <c:pt idx="1">
                  <c:v>1292.5669</c:v>
                </c:pt>
                <c:pt idx="2">
                  <c:v>1331.1289</c:v>
                </c:pt>
                <c:pt idx="3">
                  <c:v>1374.3963</c:v>
                </c:pt>
                <c:pt idx="4">
                  <c:v>1358.2423</c:v>
                </c:pt>
                <c:pt idx="5">
                  <c:v>1367.0126</c:v>
                </c:pt>
                <c:pt idx="6">
                  <c:v>1361.2348</c:v>
                </c:pt>
                <c:pt idx="7">
                  <c:v>1353.5533</c:v>
                </c:pt>
                <c:pt idx="8">
                  <c:v>1355.1383</c:v>
                </c:pt>
                <c:pt idx="9">
                  <c:v>1168.7412</c:v>
                </c:pt>
                <c:pt idx="10">
                  <c:v>1200.1647</c:v>
                </c:pt>
                <c:pt idx="11">
                  <c:v>1356.6221</c:v>
                </c:pt>
                <c:pt idx="12">
                  <c:v>1323.2803</c:v>
                </c:pt>
                <c:pt idx="13">
                  <c:v>1213.0875</c:v>
                </c:pt>
                <c:pt idx="14">
                  <c:v>1350.99</c:v>
                </c:pt>
                <c:pt idx="15">
                  <c:v>1257.2825</c:v>
                </c:pt>
                <c:pt idx="16">
                  <c:v>1369.6708</c:v>
                </c:pt>
                <c:pt idx="17">
                  <c:v>1384.1702</c:v>
                </c:pt>
                <c:pt idx="18">
                  <c:v>1447.4682</c:v>
                </c:pt>
                <c:pt idx="19">
                  <c:v>1421.7061</c:v>
                </c:pt>
                <c:pt idx="20">
                  <c:v>1324.4143</c:v>
                </c:pt>
                <c:pt idx="21">
                  <c:v>1351.9756</c:v>
                </c:pt>
                <c:pt idx="22">
                  <c:v>1330.5988</c:v>
                </c:pt>
                <c:pt idx="23">
                  <c:v>1164.3535</c:v>
                </c:pt>
                <c:pt idx="24">
                  <c:v>1113.9252</c:v>
                </c:pt>
                <c:pt idx="25">
                  <c:v>1177.4466</c:v>
                </c:pt>
                <c:pt idx="26">
                  <c:v>1234.8571</c:v>
                </c:pt>
                <c:pt idx="27">
                  <c:v>1323.2139</c:v>
                </c:pt>
                <c:pt idx="28">
                  <c:v>1381.6939</c:v>
                </c:pt>
                <c:pt idx="29">
                  <c:v>1379.053</c:v>
                </c:pt>
                <c:pt idx="30">
                  <c:v>1382.3706</c:v>
                </c:pt>
                <c:pt idx="31">
                  <c:v>1379.5418</c:v>
                </c:pt>
                <c:pt idx="32">
                  <c:v>1375.0313</c:v>
                </c:pt>
                <c:pt idx="33">
                  <c:v>1379.7774</c:v>
                </c:pt>
                <c:pt idx="34">
                  <c:v>1400.4034</c:v>
                </c:pt>
                <c:pt idx="35">
                  <c:v>1390.6682</c:v>
                </c:pt>
                <c:pt idx="36">
                  <c:v>1380.6145</c:v>
                </c:pt>
                <c:pt idx="37">
                  <c:v>1384.1709</c:v>
                </c:pt>
                <c:pt idx="38">
                  <c:v>1374.201</c:v>
                </c:pt>
                <c:pt idx="39">
                  <c:v>1436.072</c:v>
                </c:pt>
                <c:pt idx="40">
                  <c:v>1435.356</c:v>
                </c:pt>
                <c:pt idx="41">
                  <c:v>1435.9867</c:v>
                </c:pt>
                <c:pt idx="42">
                  <c:v>1421.9181</c:v>
                </c:pt>
                <c:pt idx="43">
                  <c:v>1399.1837</c:v>
                </c:pt>
                <c:pt idx="44">
                  <c:v>1347.8949</c:v>
                </c:pt>
                <c:pt idx="45">
                  <c:v>1349.7423</c:v>
                </c:pt>
                <c:pt idx="46">
                  <c:v>1355.9175</c:v>
                </c:pt>
                <c:pt idx="47">
                  <c:v>1342.6715</c:v>
                </c:pt>
                <c:pt idx="48">
                  <c:v>1266.0696</c:v>
                </c:pt>
                <c:pt idx="49">
                  <c:v>1221.3099</c:v>
                </c:pt>
                <c:pt idx="50">
                  <c:v>1167.8916</c:v>
                </c:pt>
                <c:pt idx="51">
                  <c:v>1211.2992</c:v>
                </c:pt>
                <c:pt idx="52">
                  <c:v>1124.768082592046</c:v>
                </c:pt>
                <c:pt idx="53">
                  <c:v>1124.768082592046</c:v>
                </c:pt>
                <c:pt idx="54">
                  <c:v>1288.0561275057278</c:v>
                </c:pt>
              </c:numCache>
            </c:numRef>
          </c:xVal>
          <c:yVal>
            <c:numRef>
              <c:f>Sheet1!$B$187:$B$241</c:f>
              <c:numCache>
                <c:formatCode>General</c:formatCode>
                <c:ptCount val="55"/>
                <c:pt idx="0">
                  <c:v>0.34593721053913074</c:v>
                </c:pt>
                <c:pt idx="1">
                  <c:v>0.3465751120871725</c:v>
                </c:pt>
                <c:pt idx="2">
                  <c:v>0.3404089276699601</c:v>
                </c:pt>
                <c:pt idx="3">
                  <c:v>0.3334903350748329</c:v>
                </c:pt>
                <c:pt idx="4">
                  <c:v>0.33607341020256615</c:v>
                </c:pt>
                <c:pt idx="5">
                  <c:v>0.334671011800142</c:v>
                </c:pt>
                <c:pt idx="6">
                  <c:v>0.3355949000923927</c:v>
                </c:pt>
                <c:pt idx="7">
                  <c:v>0.33682319596918375</c:v>
                </c:pt>
                <c:pt idx="8">
                  <c:v>0.3365697495114979</c:v>
                </c:pt>
                <c:pt idx="9">
                  <c:v>0.36637522882879425</c:v>
                </c:pt>
                <c:pt idx="10">
                  <c:v>0.36135051288993536</c:v>
                </c:pt>
                <c:pt idx="11">
                  <c:v>0.33633248525035325</c:v>
                </c:pt>
                <c:pt idx="12">
                  <c:v>0.3416639433594195</c:v>
                </c:pt>
                <c:pt idx="13">
                  <c:v>0.35928411674899996</c:v>
                </c:pt>
                <c:pt idx="14">
                  <c:v>0.33723307565687216</c:v>
                </c:pt>
                <c:pt idx="15">
                  <c:v>0.35221719801245355</c:v>
                </c:pt>
                <c:pt idx="16">
                  <c:v>0.334245957305618</c:v>
                </c:pt>
                <c:pt idx="17">
                  <c:v>0.33192745789327094</c:v>
                </c:pt>
                <c:pt idx="18">
                  <c:v>0.32180590970488054</c:v>
                </c:pt>
                <c:pt idx="19">
                  <c:v>0.32592535007557366</c:v>
                </c:pt>
                <c:pt idx="20">
                  <c:v>0.3414826132124064</c:v>
                </c:pt>
                <c:pt idx="21">
                  <c:v>0.33707547513403613</c:v>
                </c:pt>
                <c:pt idx="22">
                  <c:v>0.34049369231804794</c:v>
                </c:pt>
                <c:pt idx="23">
                  <c:v>0.36707683578298234</c:v>
                </c:pt>
                <c:pt idx="24">
                  <c:v>0.3751404786865276</c:v>
                </c:pt>
                <c:pt idx="25">
                  <c:v>0.36498320813936935</c:v>
                </c:pt>
                <c:pt idx="26">
                  <c:v>0.3558030896163578</c:v>
                </c:pt>
                <c:pt idx="27">
                  <c:v>0.34167456092711057</c:v>
                </c:pt>
                <c:pt idx="28">
                  <c:v>0.332323426008834</c:v>
                </c:pt>
                <c:pt idx="29">
                  <c:v>0.3327457141792457</c:v>
                </c:pt>
                <c:pt idx="30">
                  <c:v>0.3322152195621993</c:v>
                </c:pt>
                <c:pt idx="31">
                  <c:v>0.33266755353033917</c:v>
                </c:pt>
                <c:pt idx="32">
                  <c:v>0.33338879658863063</c:v>
                </c:pt>
                <c:pt idx="33">
                  <c:v>0.33262988035341123</c:v>
                </c:pt>
                <c:pt idx="34">
                  <c:v>0.32933171843780984</c:v>
                </c:pt>
                <c:pt idx="35">
                  <c:v>0.3308884073683229</c:v>
                </c:pt>
                <c:pt idx="36">
                  <c:v>0.33249602544506496</c:v>
                </c:pt>
                <c:pt idx="37">
                  <c:v>0.3319273459610814</c:v>
                </c:pt>
                <c:pt idx="38">
                  <c:v>0.33352156415570733</c:v>
                </c:pt>
                <c:pt idx="39">
                  <c:v>0.3236281977307982</c:v>
                </c:pt>
                <c:pt idx="40">
                  <c:v>0.32374268837035847</c:v>
                </c:pt>
                <c:pt idx="41">
                  <c:v>0.3236418374676061</c:v>
                </c:pt>
                <c:pt idx="42">
                  <c:v>0.3258914506124636</c:v>
                </c:pt>
                <c:pt idx="43">
                  <c:v>0.329526752282882</c:v>
                </c:pt>
                <c:pt idx="44">
                  <c:v>0.33772799182796587</c:v>
                </c:pt>
                <c:pt idx="45">
                  <c:v>0.3374325867895249</c:v>
                </c:pt>
                <c:pt idx="46">
                  <c:v>0.33644515299425576</c:v>
                </c:pt>
                <c:pt idx="47">
                  <c:v>0.3385632298261212</c:v>
                </c:pt>
                <c:pt idx="48">
                  <c:v>0.3508121132374811</c:v>
                </c:pt>
                <c:pt idx="49">
                  <c:v>0.35796932927034</c:v>
                </c:pt>
                <c:pt idx="50">
                  <c:v>0.366511082526239</c:v>
                </c:pt>
                <c:pt idx="51">
                  <c:v>0.35957007151258336</c:v>
                </c:pt>
                <c:pt idx="52">
                  <c:v>0.3734066678448509</c:v>
                </c:pt>
                <c:pt idx="53">
                  <c:v>0.3734066678448509</c:v>
                </c:pt>
                <c:pt idx="54">
                  <c:v>0.3472963987181504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37.0"/>
          <c:min val="73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977900552486187"/>
          <c:min val="0.21820788530465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024436457049903</c:v>
                </c:pt>
                <c:pt idx="1">
                  <c:v>0.1582283065258149</c:v>
                </c:pt>
                <c:pt idx="2">
                  <c:v>0.1563546762731646</c:v>
                </c:pt>
                <c:pt idx="3">
                  <c:v>0.1490140357793581</c:v>
                </c:pt>
                <c:pt idx="4">
                  <c:v>0.1501425787229051</c:v>
                </c:pt>
                <c:pt idx="5">
                  <c:v>0.12314395917397758</c:v>
                </c:pt>
                <c:pt idx="6">
                  <c:v>0.13048878601746847</c:v>
                </c:pt>
                <c:pt idx="7">
                  <c:v>0.12664447672294063</c:v>
                </c:pt>
                <c:pt idx="8">
                  <c:v>0.11798388629588498</c:v>
                </c:pt>
                <c:pt idx="9">
                  <c:v>0.12063304655718066</c:v>
                </c:pt>
                <c:pt idx="10">
                  <c:v>0.12122754732000761</c:v>
                </c:pt>
                <c:pt idx="11">
                  <c:v>0.11788496524682328</c:v>
                </c:pt>
                <c:pt idx="12">
                  <c:v>0.11697187798494038</c:v>
                </c:pt>
                <c:pt idx="13">
                  <c:v>0.12783010070500095</c:v>
                </c:pt>
                <c:pt idx="14">
                  <c:v>0.1416329048670523</c:v>
                </c:pt>
                <c:pt idx="15">
                  <c:v>0.1524155962356917</c:v>
                </c:pt>
                <c:pt idx="16">
                  <c:v>0.1417930057140207</c:v>
                </c:pt>
                <c:pt idx="17">
                  <c:v>0.14670091564586588</c:v>
                </c:pt>
                <c:pt idx="18">
                  <c:v>0.14070591198417878</c:v>
                </c:pt>
                <c:pt idx="19">
                  <c:v>0.13360551450211458</c:v>
                </c:pt>
                <c:pt idx="20">
                  <c:v>0.12643641802994943</c:v>
                </c:pt>
                <c:pt idx="21">
                  <c:v>0.12860484474122444</c:v>
                </c:pt>
                <c:pt idx="22">
                  <c:v>0.13557815964908204</c:v>
                </c:pt>
                <c:pt idx="23">
                  <c:v>0.1468907044617549</c:v>
                </c:pt>
                <c:pt idx="24">
                  <c:v>0.1445320108930572</c:v>
                </c:pt>
                <c:pt idx="25">
                  <c:v>0.14427806110255778</c:v>
                </c:pt>
                <c:pt idx="26">
                  <c:v>0.14610774863132323</c:v>
                </c:pt>
                <c:pt idx="27">
                  <c:v>0.1267520561347149</c:v>
                </c:pt>
                <c:pt idx="28">
                  <c:v>0.12720483913099154</c:v>
                </c:pt>
                <c:pt idx="29">
                  <c:v>0.13900506525493259</c:v>
                </c:pt>
                <c:pt idx="30">
                  <c:v>0.13186325166023585</c:v>
                </c:pt>
                <c:pt idx="31">
                  <c:v>0.13397435840958186</c:v>
                </c:pt>
                <c:pt idx="32">
                  <c:v>0.14125232521215345</c:v>
                </c:pt>
                <c:pt idx="33">
                  <c:v>0.12591729406554475</c:v>
                </c:pt>
                <c:pt idx="34">
                  <c:v>0.11272436669816094</c:v>
                </c:pt>
                <c:pt idx="35">
                  <c:v>0.11304114196124139</c:v>
                </c:pt>
                <c:pt idx="36">
                  <c:v>0.1308992729742135</c:v>
                </c:pt>
                <c:pt idx="37">
                  <c:v>0.12600044273764607</c:v>
                </c:pt>
                <c:pt idx="38">
                  <c:v>0.12880765887267573</c:v>
                </c:pt>
                <c:pt idx="39">
                  <c:v>0.13156273723456785</c:v>
                </c:pt>
                <c:pt idx="40">
                  <c:v>0.1410626701988508</c:v>
                </c:pt>
                <c:pt idx="41">
                  <c:v>0.13519893774231517</c:v>
                </c:pt>
                <c:pt idx="42">
                  <c:v>0.14163095111231724</c:v>
                </c:pt>
                <c:pt idx="43">
                  <c:v>0.12504461142175397</c:v>
                </c:pt>
                <c:pt idx="44">
                  <c:v>0.13431023967094755</c:v>
                </c:pt>
                <c:pt idx="45">
                  <c:v>0.12288001510006688</c:v>
                </c:pt>
                <c:pt idx="46">
                  <c:v>0.12178048252947755</c:v>
                </c:pt>
                <c:pt idx="47">
                  <c:v>0.1218021810106817</c:v>
                </c:pt>
                <c:pt idx="48">
                  <c:v>0.11313924247568916</c:v>
                </c:pt>
                <c:pt idx="49">
                  <c:v>0.10736138411618569</c:v>
                </c:pt>
                <c:pt idx="50">
                  <c:v>0.11805370655148865</c:v>
                </c:pt>
                <c:pt idx="51">
                  <c:v>0.11977275083044346</c:v>
                </c:pt>
                <c:pt idx="52">
                  <c:v>0.10272018796999596</c:v>
                </c:pt>
                <c:pt idx="53">
                  <c:v>0.12964924743238893</c:v>
                </c:pt>
                <c:pt idx="54">
                  <c:v>0.12501923417153243</c:v>
                </c:pt>
                <c:pt idx="55">
                  <c:v>0.13573558776350222</c:v>
                </c:pt>
                <c:pt idx="56">
                  <c:v>0.12676454407767943</c:v>
                </c:pt>
                <c:pt idx="57">
                  <c:v>0.144537250182258</c:v>
                </c:pt>
                <c:pt idx="58">
                  <c:v>0.15879225974548453</c:v>
                </c:pt>
                <c:pt idx="59">
                  <c:v>0.15326344038667336</c:v>
                </c:pt>
                <c:pt idx="60">
                  <c:v>0.14941067302657782</c:v>
                </c:pt>
                <c:pt idx="61">
                  <c:v>0.1368318741597464</c:v>
                </c:pt>
                <c:pt idx="62">
                  <c:v>0.11463838842188415</c:v>
                </c:pt>
                <c:pt idx="63">
                  <c:v>0.12244875791528397</c:v>
                </c:pt>
                <c:pt idx="64">
                  <c:v>0.1258837636811337</c:v>
                </c:pt>
                <c:pt idx="65">
                  <c:v>0.12341746381624842</c:v>
                </c:pt>
                <c:pt idx="66">
                  <c:v>0.1273229586344764</c:v>
                </c:pt>
                <c:pt idx="67">
                  <c:v>0.1250248106098671</c:v>
                </c:pt>
                <c:pt idx="68">
                  <c:v>0.1221070245156048</c:v>
                </c:pt>
                <c:pt idx="69">
                  <c:v>0.13083407091146615</c:v>
                </c:pt>
                <c:pt idx="70">
                  <c:v>0.1329868434930372</c:v>
                </c:pt>
                <c:pt idx="71">
                  <c:v>0.12671624201757753</c:v>
                </c:pt>
                <c:pt idx="72">
                  <c:v>0.12184123293347543</c:v>
                </c:pt>
                <c:pt idx="73">
                  <c:v>0.13745407779114774</c:v>
                </c:pt>
                <c:pt idx="74">
                  <c:v>0.13731771017392772</c:v>
                </c:pt>
                <c:pt idx="75">
                  <c:v>0.1308156773535846</c:v>
                </c:pt>
                <c:pt idx="76">
                  <c:v>0.12485922263898253</c:v>
                </c:pt>
                <c:pt idx="77">
                  <c:v>0.12839352226741133</c:v>
                </c:pt>
                <c:pt idx="78">
                  <c:v>0.12244989047472786</c:v>
                </c:pt>
                <c:pt idx="79">
                  <c:v>0.11962738060775908</c:v>
                </c:pt>
                <c:pt idx="80">
                  <c:v>0.1201455800388541</c:v>
                </c:pt>
                <c:pt idx="81">
                  <c:v>0.1291906569627376</c:v>
                </c:pt>
                <c:pt idx="82">
                  <c:v>0.12378444822592397</c:v>
                </c:pt>
                <c:pt idx="83">
                  <c:v>0.13100290849482635</c:v>
                </c:pt>
                <c:pt idx="84">
                  <c:v>0.128733682765271</c:v>
                </c:pt>
                <c:pt idx="85">
                  <c:v>0.11723377837388993</c:v>
                </c:pt>
                <c:pt idx="86">
                  <c:v>0.12307384018147545</c:v>
                </c:pt>
                <c:pt idx="87">
                  <c:v>0.11437163091196112</c:v>
                </c:pt>
                <c:pt idx="88">
                  <c:v>0.14018898405989508</c:v>
                </c:pt>
                <c:pt idx="89">
                  <c:v>0.14117329054050945</c:v>
                </c:pt>
                <c:pt idx="90">
                  <c:v>0.13291026643134277</c:v>
                </c:pt>
                <c:pt idx="91">
                  <c:v>0.13331523430258047</c:v>
                </c:pt>
                <c:pt idx="92">
                  <c:v>0.13122911534080742</c:v>
                </c:pt>
                <c:pt idx="93">
                  <c:v>0.12607526545026593</c:v>
                </c:pt>
                <c:pt idx="94">
                  <c:v>0.12566277160036704</c:v>
                </c:pt>
                <c:pt idx="95">
                  <c:v>0.1345944224657572</c:v>
                </c:pt>
                <c:pt idx="96">
                  <c:v>0.12286445263758072</c:v>
                </c:pt>
                <c:pt idx="97">
                  <c:v>0.14046674820741223</c:v>
                </c:pt>
                <c:pt idx="98">
                  <c:v>0.13366222489778243</c:v>
                </c:pt>
                <c:pt idx="99">
                  <c:v>0.12739126091137282</c:v>
                </c:pt>
                <c:pt idx="100">
                  <c:v>0.12204667842937676</c:v>
                </c:pt>
                <c:pt idx="101">
                  <c:v>0.14476751633009985</c:v>
                </c:pt>
                <c:pt idx="102">
                  <c:v>0.14834734381464706</c:v>
                </c:pt>
                <c:pt idx="103">
                  <c:v>0.12736072013868527</c:v>
                </c:pt>
                <c:pt idx="104">
                  <c:v>0.12914440384515447</c:v>
                </c:pt>
              </c:numCache>
            </c:numRef>
          </c:xVal>
          <c:yVal>
            <c:numRef>
              <c:f>Sheet1!$B$2:$B$106</c:f>
              <c:numCache>
                <c:formatCode>General</c:formatCode>
                <c:ptCount val="105"/>
                <c:pt idx="0">
                  <c:v>0.3211839530332681</c:v>
                </c:pt>
                <c:pt idx="1">
                  <c:v>0.3290645879732739</c:v>
                </c:pt>
                <c:pt idx="2">
                  <c:v>0.3272519954389966</c:v>
                </c:pt>
                <c:pt idx="3">
                  <c:v>0.3375250071448985</c:v>
                </c:pt>
                <c:pt idx="4">
                  <c:v>0.38388324873096447</c:v>
                </c:pt>
                <c:pt idx="5">
                  <c:v>0.3635025754231052</c:v>
                </c:pt>
                <c:pt idx="6">
                  <c:v>0.39022711631108054</c:v>
                </c:pt>
                <c:pt idx="7">
                  <c:v>0.38578274760383385</c:v>
                </c:pt>
                <c:pt idx="8">
                  <c:v>0.36801242236024845</c:v>
                </c:pt>
                <c:pt idx="9">
                  <c:v>0.36969278564031754</c:v>
                </c:pt>
                <c:pt idx="10">
                  <c:v>0.3552278820375335</c:v>
                </c:pt>
                <c:pt idx="11">
                  <c:v>0.35420619860847563</c:v>
                </c:pt>
                <c:pt idx="12">
                  <c:v>0.3315962698848053</c:v>
                </c:pt>
                <c:pt idx="13">
                  <c:v>0.3220499841822208</c:v>
                </c:pt>
                <c:pt idx="14">
                  <c:v>0.2848081192515065</c:v>
                </c:pt>
                <c:pt idx="15">
                  <c:v>0.27275985663082436</c:v>
                </c:pt>
                <c:pt idx="16">
                  <c:v>0.2991666666666667</c:v>
                </c:pt>
                <c:pt idx="17">
                  <c:v>0.3005159071367154</c:v>
                </c:pt>
                <c:pt idx="18">
                  <c:v>0.2838640043173233</c:v>
                </c:pt>
                <c:pt idx="19">
                  <c:v>0.28972559029993616</c:v>
                </c:pt>
                <c:pt idx="20">
                  <c:v>0.3336380255941499</c:v>
                </c:pt>
                <c:pt idx="21">
                  <c:v>0.31283710895361383</c:v>
                </c:pt>
                <c:pt idx="22">
                  <c:v>0.28695114409400124</c:v>
                </c:pt>
                <c:pt idx="23">
                  <c:v>0.3183279742765273</c:v>
                </c:pt>
                <c:pt idx="24">
                  <c:v>0.32073242764323684</c:v>
                </c:pt>
                <c:pt idx="25">
                  <c:v>0.3070054945054945</c:v>
                </c:pt>
                <c:pt idx="26">
                  <c:v>0.3047722342733189</c:v>
                </c:pt>
                <c:pt idx="27">
                  <c:v>0.3338879645036051</c:v>
                </c:pt>
                <c:pt idx="28">
                  <c:v>0.3575757575757576</c:v>
                </c:pt>
                <c:pt idx="29">
                  <c:v>0.3470343392299688</c:v>
                </c:pt>
                <c:pt idx="30">
                  <c:v>0.35074626865671643</c:v>
                </c:pt>
                <c:pt idx="31">
                  <c:v>0.32413350449293965</c:v>
                </c:pt>
                <c:pt idx="32">
                  <c:v>0.33804713804713804</c:v>
                </c:pt>
                <c:pt idx="33">
                  <c:v>0.33658816771970135</c:v>
                </c:pt>
                <c:pt idx="34">
                  <c:v>0.3556910569105691</c:v>
                </c:pt>
                <c:pt idx="35">
                  <c:v>0.40814917127071826</c:v>
                </c:pt>
                <c:pt idx="36">
                  <c:v>0.36666666666666664</c:v>
                </c:pt>
                <c:pt idx="37">
                  <c:v>0.3577512776831346</c:v>
                </c:pt>
                <c:pt idx="38">
                  <c:v>0.3481561822125813</c:v>
                </c:pt>
                <c:pt idx="39">
                  <c:v>0.35109532267613974</c:v>
                </c:pt>
                <c:pt idx="40">
                  <c:v>0.3428981348637016</c:v>
                </c:pt>
                <c:pt idx="41">
                  <c:v>0.33997844827586204</c:v>
                </c:pt>
                <c:pt idx="42">
                  <c:v>0.33835557468790356</c:v>
                </c:pt>
                <c:pt idx="43">
                  <c:v>0.32887899034892354</c:v>
                </c:pt>
                <c:pt idx="44">
                  <c:v>0.3158808215215505</c:v>
                </c:pt>
                <c:pt idx="45">
                  <c:v>0.3094381400498201</c:v>
                </c:pt>
                <c:pt idx="46">
                  <c:v>0.3142308746915273</c:v>
                </c:pt>
                <c:pt idx="47">
                  <c:v>0.3241020016451878</c:v>
                </c:pt>
                <c:pt idx="48">
                  <c:v>0.31876503608660783</c:v>
                </c:pt>
                <c:pt idx="49">
                  <c:v>0.33740478066719204</c:v>
                </c:pt>
                <c:pt idx="50">
                  <c:v>0.3289984029203742</c:v>
                </c:pt>
                <c:pt idx="51">
                  <c:v>0.34895287958115184</c:v>
                </c:pt>
                <c:pt idx="52">
                  <c:v>0.34059488898198576</c:v>
                </c:pt>
                <c:pt idx="53">
                  <c:v>0.33534560821008147</c:v>
                </c:pt>
                <c:pt idx="54">
                  <c:v>0.34808853118712274</c:v>
                </c:pt>
                <c:pt idx="55">
                  <c:v>0.3515456506110712</c:v>
                </c:pt>
                <c:pt idx="56">
                  <c:v>0.34055829228243023</c:v>
                </c:pt>
                <c:pt idx="57">
                  <c:v>0.3215845290081098</c:v>
                </c:pt>
                <c:pt idx="58">
                  <c:v>0.31510272071071627</c:v>
                </c:pt>
                <c:pt idx="59">
                  <c:v>0.2907285942208828</c:v>
                </c:pt>
                <c:pt idx="60">
                  <c:v>0.29194630872483224</c:v>
                </c:pt>
                <c:pt idx="61">
                  <c:v>0.3184</c:v>
                </c:pt>
                <c:pt idx="62">
                  <c:v>0.36620856911883587</c:v>
                </c:pt>
                <c:pt idx="63">
                  <c:v>0.3611436606515116</c:v>
                </c:pt>
                <c:pt idx="64">
                  <c:v>0.3704206241519674</c:v>
                </c:pt>
                <c:pt idx="65">
                  <c:v>0.3682058682058682</c:v>
                </c:pt>
                <c:pt idx="66">
                  <c:v>0.36459782911216254</c:v>
                </c:pt>
                <c:pt idx="67">
                  <c:v>0.3521528371827773</c:v>
                </c:pt>
                <c:pt idx="68">
                  <c:v>0.35290031260854465</c:v>
                </c:pt>
                <c:pt idx="69">
                  <c:v>0.3271889400921659</c:v>
                </c:pt>
                <c:pt idx="70">
                  <c:v>0.3154153709462461</c:v>
                </c:pt>
                <c:pt idx="71">
                  <c:v>0.3262921348314607</c:v>
                </c:pt>
                <c:pt idx="72">
                  <c:v>0.3367139959432049</c:v>
                </c:pt>
                <c:pt idx="73">
                  <c:v>0.34083469721767595</c:v>
                </c:pt>
                <c:pt idx="74">
                  <c:v>0.31403581840899625</c:v>
                </c:pt>
                <c:pt idx="75">
                  <c:v>0.3452868852459016</c:v>
                </c:pt>
                <c:pt idx="76">
                  <c:v>0.3379019504480759</c:v>
                </c:pt>
                <c:pt idx="77">
                  <c:v>0.3405036726128017</c:v>
                </c:pt>
                <c:pt idx="78">
                  <c:v>0.34304399524375745</c:v>
                </c:pt>
                <c:pt idx="79">
                  <c:v>0.35051546391752575</c:v>
                </c:pt>
                <c:pt idx="80">
                  <c:v>0.3508137432188065</c:v>
                </c:pt>
                <c:pt idx="81">
                  <c:v>0.35431472081218274</c:v>
                </c:pt>
                <c:pt idx="82">
                  <c:v>0.36081835089894604</c:v>
                </c:pt>
                <c:pt idx="83">
                  <c:v>0.32885375494071145</c:v>
                </c:pt>
                <c:pt idx="84">
                  <c:v>0.3309409888357257</c:v>
                </c:pt>
                <c:pt idx="85">
                  <c:v>0.337442218798151</c:v>
                </c:pt>
                <c:pt idx="86">
                  <c:v>0.33616569304301647</c:v>
                </c:pt>
                <c:pt idx="87">
                  <c:v>0.37271937445699393</c:v>
                </c:pt>
                <c:pt idx="88">
                  <c:v>0.38057324840764334</c:v>
                </c:pt>
                <c:pt idx="89">
                  <c:v>0.34296977660972405</c:v>
                </c:pt>
                <c:pt idx="90">
                  <c:v>0.35236768802228413</c:v>
                </c:pt>
                <c:pt idx="91">
                  <c:v>0.32897196261682243</c:v>
                </c:pt>
                <c:pt idx="92">
                  <c:v>0.3502235469448584</c:v>
                </c:pt>
                <c:pt idx="93">
                  <c:v>0.30575368521160246</c:v>
                </c:pt>
                <c:pt idx="94">
                  <c:v>0.30345572354211664</c:v>
                </c:pt>
                <c:pt idx="95">
                  <c:v>0.30474840538625086</c:v>
                </c:pt>
                <c:pt idx="96">
                  <c:v>0.30848920863309354</c:v>
                </c:pt>
                <c:pt idx="97">
                  <c:v>0.3025210084033613</c:v>
                </c:pt>
                <c:pt idx="98">
                  <c:v>0.3256959314775161</c:v>
                </c:pt>
                <c:pt idx="99">
                  <c:v>0.33232749949708307</c:v>
                </c:pt>
                <c:pt idx="100">
                  <c:v>0.33509900365746</c:v>
                </c:pt>
                <c:pt idx="101">
                  <c:v>0.29024943310657597</c:v>
                </c:pt>
                <c:pt idx="102">
                  <c:v>0.28691275167785235</c:v>
                </c:pt>
                <c:pt idx="103">
                  <c:v>0.31928448909580986</c:v>
                </c:pt>
                <c:pt idx="104">
                  <c:v>0.3392520850147968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494562695795271</c:v>
                </c:pt>
                <c:pt idx="1">
                  <c:v>0.11894460325653929</c:v>
                </c:pt>
                <c:pt idx="2">
                  <c:v>0.13430891085112928</c:v>
                </c:pt>
                <c:pt idx="3">
                  <c:v>0.1512472850467006</c:v>
                </c:pt>
                <c:pt idx="4">
                  <c:v>0.1486576078973323</c:v>
                </c:pt>
                <c:pt idx="5">
                  <c:v>0.16343010494184293</c:v>
                </c:pt>
                <c:pt idx="6">
                  <c:v>0.16180908680053416</c:v>
                </c:pt>
                <c:pt idx="7">
                  <c:v>0.15630048243272543</c:v>
                </c:pt>
                <c:pt idx="8">
                  <c:v>0.17355327499515957</c:v>
                </c:pt>
                <c:pt idx="9">
                  <c:v>0.132890609175594</c:v>
                </c:pt>
                <c:pt idx="10">
                  <c:v>0.14324070758550958</c:v>
                </c:pt>
                <c:pt idx="11">
                  <c:v>0.16651745680506763</c:v>
                </c:pt>
                <c:pt idx="12">
                  <c:v>0.1785168229754261</c:v>
                </c:pt>
                <c:pt idx="13">
                  <c:v>0.13609189087366408</c:v>
                </c:pt>
                <c:pt idx="14">
                  <c:v>0.13756539903404955</c:v>
                </c:pt>
                <c:pt idx="15">
                  <c:v>0.12366273848488936</c:v>
                </c:pt>
                <c:pt idx="16">
                  <c:v>0.12336058621350086</c:v>
                </c:pt>
                <c:pt idx="17">
                  <c:v>0.12967952120188242</c:v>
                </c:pt>
                <c:pt idx="18">
                  <c:v>0.15098740421320753</c:v>
                </c:pt>
                <c:pt idx="19">
                  <c:v>0.1568718681000246</c:v>
                </c:pt>
                <c:pt idx="20">
                  <c:v>0.14355511842990548</c:v>
                </c:pt>
                <c:pt idx="21">
                  <c:v>0.12705570943639205</c:v>
                </c:pt>
                <c:pt idx="22">
                  <c:v>0.13527186859142462</c:v>
                </c:pt>
                <c:pt idx="23">
                  <c:v>0.11732648927007211</c:v>
                </c:pt>
                <c:pt idx="24">
                  <c:v>0.11033129075666664</c:v>
                </c:pt>
                <c:pt idx="25">
                  <c:v>0.12903948622968425</c:v>
                </c:pt>
                <c:pt idx="26">
                  <c:v>0.11748463144597533</c:v>
                </c:pt>
                <c:pt idx="27">
                  <c:v>0.1494239739213638</c:v>
                </c:pt>
                <c:pt idx="28">
                  <c:v>0.14418645965975957</c:v>
                </c:pt>
                <c:pt idx="29">
                  <c:v>0.14456544903033597</c:v>
                </c:pt>
                <c:pt idx="30">
                  <c:v>0.15216051726165916</c:v>
                </c:pt>
                <c:pt idx="31">
                  <c:v>0.1339924688898486</c:v>
                </c:pt>
                <c:pt idx="32">
                  <c:v>0.1299988624649394</c:v>
                </c:pt>
                <c:pt idx="33">
                  <c:v>0.14506672584661748</c:v>
                </c:pt>
                <c:pt idx="34">
                  <c:v>0.12310212631859668</c:v>
                </c:pt>
                <c:pt idx="35">
                  <c:v>0.1341207239880135</c:v>
                </c:pt>
                <c:pt idx="36">
                  <c:v>0.12789163862493308</c:v>
                </c:pt>
                <c:pt idx="37">
                  <c:v>0.1343942233620112</c:v>
                </c:pt>
                <c:pt idx="38">
                  <c:v>0.122951936233461</c:v>
                </c:pt>
                <c:pt idx="39">
                  <c:v>0.14596043099303785</c:v>
                </c:pt>
                <c:pt idx="40">
                  <c:v>0.14221321759698485</c:v>
                </c:pt>
                <c:pt idx="41">
                  <c:v>0.13572469800951364</c:v>
                </c:pt>
                <c:pt idx="42">
                  <c:v>0.14177458723820022</c:v>
                </c:pt>
                <c:pt idx="43">
                  <c:v>0.15188689973689132</c:v>
                </c:pt>
                <c:pt idx="44">
                  <c:v>0.16270428902030631</c:v>
                </c:pt>
                <c:pt idx="45">
                  <c:v>0.16915084961958166</c:v>
                </c:pt>
                <c:pt idx="46">
                  <c:v>0.1666634012091256</c:v>
                </c:pt>
                <c:pt idx="47">
                  <c:v>0.15408414448990485</c:v>
                </c:pt>
                <c:pt idx="48">
                  <c:v>0.14917435473266738</c:v>
                </c:pt>
                <c:pt idx="49">
                  <c:v>0.15321991237517957</c:v>
                </c:pt>
                <c:pt idx="50">
                  <c:v>0.1671210955518409</c:v>
                </c:pt>
                <c:pt idx="51">
                  <c:v>0.1572179254096563</c:v>
                </c:pt>
              </c:numCache>
            </c:numRef>
          </c:xVal>
          <c:yVal>
            <c:numRef>
              <c:f>Sheet1!$B$109:$B$160</c:f>
              <c:numCache>
                <c:formatCode>General</c:formatCode>
                <c:ptCount val="52"/>
                <c:pt idx="0">
                  <c:v>0.38597376387487387</c:v>
                </c:pt>
                <c:pt idx="1">
                  <c:v>0.36996735582154516</c:v>
                </c:pt>
                <c:pt idx="2">
                  <c:v>0.369290573372206</c:v>
                </c:pt>
                <c:pt idx="3">
                  <c:v>0.35340802987861814</c:v>
                </c:pt>
                <c:pt idx="4">
                  <c:v>0.3486310299869622</c:v>
                </c:pt>
                <c:pt idx="5">
                  <c:v>0.33554200901139675</c:v>
                </c:pt>
                <c:pt idx="6">
                  <c:v>0.31037677578752315</c:v>
                </c:pt>
                <c:pt idx="7">
                  <c:v>0.30968317715305665</c:v>
                </c:pt>
                <c:pt idx="8">
                  <c:v>0.339142091152815</c:v>
                </c:pt>
                <c:pt idx="9">
                  <c:v>0.3269947800149142</c:v>
                </c:pt>
                <c:pt idx="10">
                  <c:v>0.3497191011235955</c:v>
                </c:pt>
                <c:pt idx="11">
                  <c:v>0.32680722891566266</c:v>
                </c:pt>
                <c:pt idx="12">
                  <c:v>0.3425669436749769</c:v>
                </c:pt>
                <c:pt idx="13">
                  <c:v>0.35397973950795947</c:v>
                </c:pt>
                <c:pt idx="14">
                  <c:v>0.3388681802778719</c:v>
                </c:pt>
                <c:pt idx="15">
                  <c:v>0.35957004160887657</c:v>
                </c:pt>
                <c:pt idx="16">
                  <c:v>0.32384769539078156</c:v>
                </c:pt>
                <c:pt idx="17">
                  <c:v>0.2963734889537307</c:v>
                </c:pt>
                <c:pt idx="18">
                  <c:v>0.3133997785160576</c:v>
                </c:pt>
                <c:pt idx="19">
                  <c:v>0.32736359850062474</c:v>
                </c:pt>
                <c:pt idx="20">
                  <c:v>0.32446555819477435</c:v>
                </c:pt>
                <c:pt idx="21">
                  <c:v>0.32302631578947366</c:v>
                </c:pt>
                <c:pt idx="22">
                  <c:v>0.32714468629961585</c:v>
                </c:pt>
                <c:pt idx="23">
                  <c:v>0.37890625</c:v>
                </c:pt>
                <c:pt idx="24">
                  <c:v>0.39558665231431644</c:v>
                </c:pt>
                <c:pt idx="25">
                  <c:v>0.35807860262008734</c:v>
                </c:pt>
                <c:pt idx="26">
                  <c:v>0.3331550802139037</c:v>
                </c:pt>
                <c:pt idx="27">
                  <c:v>0.29762506316321374</c:v>
                </c:pt>
                <c:pt idx="28">
                  <c:v>0.307035175879397</c:v>
                </c:pt>
                <c:pt idx="29">
                  <c:v>0.29418813660874776</c:v>
                </c:pt>
                <c:pt idx="30">
                  <c:v>0.30984204131227217</c:v>
                </c:pt>
                <c:pt idx="31">
                  <c:v>0.31198808637379</c:v>
                </c:pt>
                <c:pt idx="32">
                  <c:v>0.32629278951201746</c:v>
                </c:pt>
                <c:pt idx="33">
                  <c:v>0.3407455853499019</c:v>
                </c:pt>
                <c:pt idx="34">
                  <c:v>0.3766835016835017</c:v>
                </c:pt>
                <c:pt idx="35">
                  <c:v>0.3720328010358222</c:v>
                </c:pt>
                <c:pt idx="36">
                  <c:v>0.3546875</c:v>
                </c:pt>
                <c:pt idx="37">
                  <c:v>0.3618421052631579</c:v>
                </c:pt>
                <c:pt idx="38">
                  <c:v>0.31414868105515587</c:v>
                </c:pt>
                <c:pt idx="39">
                  <c:v>0.33967391304347827</c:v>
                </c:pt>
                <c:pt idx="40">
                  <c:v>0.3293347873500545</c:v>
                </c:pt>
                <c:pt idx="41">
                  <c:v>0.35184224182667356</c:v>
                </c:pt>
                <c:pt idx="42">
                  <c:v>0.34169096209912536</c:v>
                </c:pt>
                <c:pt idx="43">
                  <c:v>0.3394642143142743</c:v>
                </c:pt>
                <c:pt idx="44">
                  <c:v>0.32450331125827814</c:v>
                </c:pt>
                <c:pt idx="45">
                  <c:v>0.32150831059290497</c:v>
                </c:pt>
                <c:pt idx="46">
                  <c:v>0.3331228291758762</c:v>
                </c:pt>
                <c:pt idx="47">
                  <c:v>0.34008594229588707</c:v>
                </c:pt>
                <c:pt idx="48">
                  <c:v>0.3455768235902742</c:v>
                </c:pt>
                <c:pt idx="49">
                  <c:v>0.37195876288659796</c:v>
                </c:pt>
                <c:pt idx="50">
                  <c:v>0.3952715182859254</c:v>
                </c:pt>
                <c:pt idx="51">
                  <c:v>0.380819566616605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6172849269708396</c:v>
                </c:pt>
              </c:numCache>
            </c:numRef>
          </c:xVal>
          <c:yVal>
            <c:numRef>
              <c:f>Sheet1!$B$163:$B$164</c:f>
              <c:numCache>
                <c:formatCode>General</c:formatCode>
                <c:ptCount val="2"/>
                <c:pt idx="0">
                  <c:v>0.3734066678448509</c:v>
                </c:pt>
                <c:pt idx="1">
                  <c:v>0.373406667844850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6172849269708396</c:v>
                </c:pt>
                <c:pt idx="1">
                  <c:v>0.06172849269708396</c:v>
                </c:pt>
              </c:numCache>
            </c:numRef>
          </c:xVal>
          <c:yVal>
            <c:numRef>
              <c:f>Sheet1!$B$167:$B$168</c:f>
              <c:numCache>
                <c:formatCode>General</c:formatCode>
                <c:ptCount val="2"/>
                <c:pt idx="0">
                  <c:v>0.373406667844850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6172849269708396</c:v>
                </c:pt>
              </c:numCache>
            </c:numRef>
          </c:xVal>
          <c:yVal>
            <c:numRef>
              <c:f>Sheet1!$B$171:$B$172</c:f>
              <c:numCache>
                <c:formatCode>General</c:formatCode>
                <c:ptCount val="2"/>
                <c:pt idx="0">
                  <c:v>0.3734066678448509</c:v>
                </c:pt>
                <c:pt idx="1">
                  <c:v>0.373406667844850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6172849269708396</c:v>
                </c:pt>
                <c:pt idx="1">
                  <c:v>0.06172849269708396</c:v>
                </c:pt>
              </c:numCache>
            </c:numRef>
          </c:xVal>
          <c:yVal>
            <c:numRef>
              <c:f>Sheet1!$B$175:$B$176</c:f>
              <c:numCache>
                <c:formatCode>General</c:formatCode>
                <c:ptCount val="2"/>
                <c:pt idx="0">
                  <c:v>0.373406667844850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259104475544192</c:v>
                </c:pt>
              </c:numCache>
            </c:numRef>
          </c:xVal>
          <c:yVal>
            <c:numRef>
              <c:f>Sheet1!$B$179:$B$180</c:f>
              <c:numCache>
                <c:formatCode>General</c:formatCode>
                <c:ptCount val="2"/>
                <c:pt idx="0">
                  <c:v>0.34729639871815043</c:v>
                </c:pt>
                <c:pt idx="1">
                  <c:v>0.3472963987181504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259104475544192</c:v>
                </c:pt>
                <c:pt idx="1">
                  <c:v>0.1259104475544192</c:v>
                </c:pt>
              </c:numCache>
            </c:numRef>
          </c:xVal>
          <c:yVal>
            <c:numRef>
              <c:f>Sheet1!$B$183:$B$184</c:f>
              <c:numCache>
                <c:formatCode>General</c:formatCode>
                <c:ptCount val="2"/>
                <c:pt idx="0">
                  <c:v>0.3472963987181504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494562695795271</c:v>
                </c:pt>
                <c:pt idx="1">
                  <c:v>0.11894460325653929</c:v>
                </c:pt>
                <c:pt idx="2">
                  <c:v>0.13430891085112928</c:v>
                </c:pt>
                <c:pt idx="3">
                  <c:v>0.1512472850467006</c:v>
                </c:pt>
                <c:pt idx="4">
                  <c:v>0.1486576078973323</c:v>
                </c:pt>
                <c:pt idx="5">
                  <c:v>0.16343010494184293</c:v>
                </c:pt>
                <c:pt idx="6">
                  <c:v>0.16180908680053416</c:v>
                </c:pt>
                <c:pt idx="7">
                  <c:v>0.15630048243272543</c:v>
                </c:pt>
                <c:pt idx="8">
                  <c:v>0.17355327499515957</c:v>
                </c:pt>
                <c:pt idx="9">
                  <c:v>0.132890609175594</c:v>
                </c:pt>
                <c:pt idx="10">
                  <c:v>0.14324070758550958</c:v>
                </c:pt>
                <c:pt idx="11">
                  <c:v>0.16651745680506763</c:v>
                </c:pt>
                <c:pt idx="12">
                  <c:v>0.1785168229754261</c:v>
                </c:pt>
                <c:pt idx="13">
                  <c:v>0.13609189087366408</c:v>
                </c:pt>
                <c:pt idx="14">
                  <c:v>0.13756539903404955</c:v>
                </c:pt>
                <c:pt idx="15">
                  <c:v>0.12366273848488936</c:v>
                </c:pt>
                <c:pt idx="16">
                  <c:v>0.12336058621350086</c:v>
                </c:pt>
                <c:pt idx="17">
                  <c:v>0.12967952120188242</c:v>
                </c:pt>
                <c:pt idx="18">
                  <c:v>0.15098740421320753</c:v>
                </c:pt>
                <c:pt idx="19">
                  <c:v>0.1568718681000246</c:v>
                </c:pt>
                <c:pt idx="20">
                  <c:v>0.14355511842990548</c:v>
                </c:pt>
                <c:pt idx="21">
                  <c:v>0.12705570943639205</c:v>
                </c:pt>
                <c:pt idx="22">
                  <c:v>0.13527186859142462</c:v>
                </c:pt>
                <c:pt idx="23">
                  <c:v>0.11732648927007211</c:v>
                </c:pt>
                <c:pt idx="24">
                  <c:v>0.11033129075666664</c:v>
                </c:pt>
                <c:pt idx="25">
                  <c:v>0.12903948622968425</c:v>
                </c:pt>
                <c:pt idx="26">
                  <c:v>0.11748463144597533</c:v>
                </c:pt>
                <c:pt idx="27">
                  <c:v>0.1494239739213638</c:v>
                </c:pt>
                <c:pt idx="28">
                  <c:v>0.14418645965975957</c:v>
                </c:pt>
                <c:pt idx="29">
                  <c:v>0.14456544903033597</c:v>
                </c:pt>
                <c:pt idx="30">
                  <c:v>0.15216051726165916</c:v>
                </c:pt>
                <c:pt idx="31">
                  <c:v>0.1339924688898486</c:v>
                </c:pt>
                <c:pt idx="32">
                  <c:v>0.1299988624649394</c:v>
                </c:pt>
                <c:pt idx="33">
                  <c:v>0.14506672584661748</c:v>
                </c:pt>
                <c:pt idx="34">
                  <c:v>0.12310212631859668</c:v>
                </c:pt>
                <c:pt idx="35">
                  <c:v>0.1341207239880135</c:v>
                </c:pt>
                <c:pt idx="36">
                  <c:v>0.12789163862493308</c:v>
                </c:pt>
                <c:pt idx="37">
                  <c:v>0.1343942233620112</c:v>
                </c:pt>
                <c:pt idx="38">
                  <c:v>0.122951936233461</c:v>
                </c:pt>
                <c:pt idx="39">
                  <c:v>0.14596043099303785</c:v>
                </c:pt>
                <c:pt idx="40">
                  <c:v>0.14221321759698485</c:v>
                </c:pt>
                <c:pt idx="41">
                  <c:v>0.13572469800951364</c:v>
                </c:pt>
                <c:pt idx="42">
                  <c:v>0.14177458723820022</c:v>
                </c:pt>
                <c:pt idx="43">
                  <c:v>0.15188689973689132</c:v>
                </c:pt>
                <c:pt idx="44">
                  <c:v>0.16270428902030631</c:v>
                </c:pt>
                <c:pt idx="45">
                  <c:v>0.16915084961958166</c:v>
                </c:pt>
                <c:pt idx="46">
                  <c:v>0.1666634012091256</c:v>
                </c:pt>
                <c:pt idx="47">
                  <c:v>0.15408414448990485</c:v>
                </c:pt>
                <c:pt idx="48">
                  <c:v>0.14917435473266738</c:v>
                </c:pt>
                <c:pt idx="49">
                  <c:v>0.15321991237517957</c:v>
                </c:pt>
                <c:pt idx="50">
                  <c:v>0.1671210955518409</c:v>
                </c:pt>
                <c:pt idx="51">
                  <c:v>0.1572179254096563</c:v>
                </c:pt>
                <c:pt idx="52">
                  <c:v>0.06172849269708396</c:v>
                </c:pt>
                <c:pt idx="53">
                  <c:v>0.06172849269708396</c:v>
                </c:pt>
                <c:pt idx="54">
                  <c:v>0.1259104475544192</c:v>
                </c:pt>
              </c:numCache>
            </c:numRef>
          </c:xVal>
          <c:yVal>
            <c:numRef>
              <c:f>Sheet1!$B$187:$B$241</c:f>
              <c:numCache>
                <c:formatCode>General</c:formatCode>
                <c:ptCount val="55"/>
                <c:pt idx="0">
                  <c:v>0.3517570670997245</c:v>
                </c:pt>
                <c:pt idx="1">
                  <c:v>0.3501302181260607</c:v>
                </c:pt>
                <c:pt idx="2">
                  <c:v>0.3438797664666827</c:v>
                </c:pt>
                <c:pt idx="3">
                  <c:v>0.33698895876538726</c:v>
                </c:pt>
                <c:pt idx="4">
                  <c:v>0.33804248179178265</c:v>
                </c:pt>
                <c:pt idx="5">
                  <c:v>0.33203278834503536</c:v>
                </c:pt>
                <c:pt idx="6">
                  <c:v>0.33269224504159306</c:v>
                </c:pt>
                <c:pt idx="7">
                  <c:v>0.33493323540836695</c:v>
                </c:pt>
                <c:pt idx="8">
                  <c:v>0.32791451717216463</c:v>
                </c:pt>
                <c:pt idx="9">
                  <c:v>0.3444567547889205</c:v>
                </c:pt>
                <c:pt idx="10">
                  <c:v>0.34024616544848313</c:v>
                </c:pt>
                <c:pt idx="11">
                  <c:v>0.3307768031040622</c:v>
                </c:pt>
                <c:pt idx="12">
                  <c:v>0.32589526465989505</c:v>
                </c:pt>
                <c:pt idx="13">
                  <c:v>0.34315442102746396</c:v>
                </c:pt>
                <c:pt idx="14">
                  <c:v>0.3425549738041194</c:v>
                </c:pt>
                <c:pt idx="15">
                  <c:v>0.34821080353574135</c:v>
                </c:pt>
                <c:pt idx="16">
                  <c:v>0.34833372402235996</c:v>
                </c:pt>
                <c:pt idx="17">
                  <c:v>0.3457630779037195</c:v>
                </c:pt>
                <c:pt idx="18">
                  <c:v>0.3370946825395923</c:v>
                </c:pt>
                <c:pt idx="19">
                  <c:v>0.3347007863721622</c:v>
                </c:pt>
                <c:pt idx="20">
                  <c:v>0.34011825797383893</c:v>
                </c:pt>
                <c:pt idx="21">
                  <c:v>0.34683048745032863</c:v>
                </c:pt>
                <c:pt idx="22">
                  <c:v>0.3434880195058331</c:v>
                </c:pt>
                <c:pt idx="23">
                  <c:v>0.35078849336492257</c:v>
                </c:pt>
                <c:pt idx="24">
                  <c:v>0.35363425454788594</c:v>
                </c:pt>
                <c:pt idx="25">
                  <c:v>0.3460234546001249</c:v>
                </c:pt>
                <c:pt idx="26">
                  <c:v>0.35072415854086975</c:v>
                </c:pt>
                <c:pt idx="27">
                  <c:v>0.3377307115569635</c:v>
                </c:pt>
                <c:pt idx="28">
                  <c:v>0.33986141803403164</c:v>
                </c:pt>
                <c:pt idx="29">
                  <c:v>0.33970723895855937</c:v>
                </c:pt>
                <c:pt idx="30">
                  <c:v>0.3366174409616565</c:v>
                </c:pt>
                <c:pt idx="31">
                  <c:v>0.34400850023290075</c:v>
                </c:pt>
                <c:pt idx="32">
                  <c:v>0.345633164654112</c:v>
                </c:pt>
                <c:pt idx="33">
                  <c:v>0.3395033113497917</c:v>
                </c:pt>
                <c:pt idx="34">
                  <c:v>0.3484388697355033</c:v>
                </c:pt>
                <c:pt idx="35">
                  <c:v>0.34395632396096576</c:v>
                </c:pt>
                <c:pt idx="36">
                  <c:v>0.3464904177822703</c:v>
                </c:pt>
                <c:pt idx="37">
                  <c:v>0.34384505994171083</c:v>
                </c:pt>
                <c:pt idx="38">
                  <c:v>0.34849996951895135</c:v>
                </c:pt>
                <c:pt idx="39">
                  <c:v>0.33913973747696685</c:v>
                </c:pt>
                <c:pt idx="40">
                  <c:v>0.3406641651835334</c:v>
                </c:pt>
                <c:pt idx="41">
                  <c:v>0.3433038010911545</c:v>
                </c:pt>
                <c:pt idx="42">
                  <c:v>0.3408426071886182</c:v>
                </c:pt>
                <c:pt idx="43">
                  <c:v>0.33672875304657746</c:v>
                </c:pt>
                <c:pt idx="44">
                  <c:v>0.3323280621348395</c:v>
                </c:pt>
                <c:pt idx="45">
                  <c:v>0.3297054958299831</c:v>
                </c:pt>
                <c:pt idx="46">
                  <c:v>0.3307174305331276</c:v>
                </c:pt>
                <c:pt idx="47">
                  <c:v>0.33583487793844247</c:v>
                </c:pt>
                <c:pt idx="48">
                  <c:v>0.3378322607262049</c:v>
                </c:pt>
                <c:pt idx="49">
                  <c:v>0.3361864616998529</c:v>
                </c:pt>
                <c:pt idx="50">
                  <c:v>0.3305312329875304</c:v>
                </c:pt>
                <c:pt idx="51">
                  <c:v>0.3345600045977861</c:v>
                </c:pt>
                <c:pt idx="52">
                  <c:v>0.3734066678448509</c:v>
                </c:pt>
                <c:pt idx="53">
                  <c:v>0.3734066678448509</c:v>
                </c:pt>
                <c:pt idx="54">
                  <c:v>0.347296398718150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977900552486187"/>
          <c:min val="0.21820788530465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44.3465</c:v>
                </c:pt>
                <c:pt idx="1">
                  <c:v>983.2597</c:v>
                </c:pt>
                <c:pt idx="2">
                  <c:v>998.5087</c:v>
                </c:pt>
                <c:pt idx="3">
                  <c:v>1012.6181</c:v>
                </c:pt>
                <c:pt idx="4">
                  <c:v>958.2074</c:v>
                </c:pt>
                <c:pt idx="5">
                  <c:v>947.8816</c:v>
                </c:pt>
                <c:pt idx="6">
                  <c:v>969.8739</c:v>
                </c:pt>
                <c:pt idx="7">
                  <c:v>965.8944</c:v>
                </c:pt>
                <c:pt idx="8">
                  <c:v>980.3386</c:v>
                </c:pt>
                <c:pt idx="9">
                  <c:v>927.0812</c:v>
                </c:pt>
                <c:pt idx="10">
                  <c:v>921.3132</c:v>
                </c:pt>
                <c:pt idx="11">
                  <c:v>918.6402</c:v>
                </c:pt>
                <c:pt idx="12">
                  <c:v>942.9454</c:v>
                </c:pt>
                <c:pt idx="13">
                  <c:v>969.1503</c:v>
                </c:pt>
                <c:pt idx="14">
                  <c:v>1054.3419</c:v>
                </c:pt>
                <c:pt idx="15">
                  <c:v>1071.0894</c:v>
                </c:pt>
                <c:pt idx="16">
                  <c:v>1042.0557</c:v>
                </c:pt>
                <c:pt idx="17">
                  <c:v>1029.1044</c:v>
                </c:pt>
                <c:pt idx="18">
                  <c:v>1087.5894</c:v>
                </c:pt>
                <c:pt idx="19">
                  <c:v>1093.2423</c:v>
                </c:pt>
                <c:pt idx="20">
                  <c:v>1111.2164</c:v>
                </c:pt>
                <c:pt idx="21">
                  <c:v>1111.6517</c:v>
                </c:pt>
                <c:pt idx="22">
                  <c:v>1128.5151</c:v>
                </c:pt>
                <c:pt idx="23">
                  <c:v>1121.8747</c:v>
                </c:pt>
                <c:pt idx="24">
                  <c:v>1121.3757</c:v>
                </c:pt>
                <c:pt idx="25">
                  <c:v>1124.7069</c:v>
                </c:pt>
                <c:pt idx="26">
                  <c:v>1133.9502</c:v>
                </c:pt>
                <c:pt idx="27">
                  <c:v>1116.0</c:v>
                </c:pt>
                <c:pt idx="28">
                  <c:v>1118.2388</c:v>
                </c:pt>
                <c:pt idx="29">
                  <c:v>1146.3238</c:v>
                </c:pt>
                <c:pt idx="30">
                  <c:v>1152.9823</c:v>
                </c:pt>
                <c:pt idx="31">
                  <c:v>1155.6693</c:v>
                </c:pt>
                <c:pt idx="32">
                  <c:v>1150.5319</c:v>
                </c:pt>
                <c:pt idx="33">
                  <c:v>1137.285</c:v>
                </c:pt>
                <c:pt idx="34">
                  <c:v>1128.8686</c:v>
                </c:pt>
                <c:pt idx="35">
                  <c:v>1134.011</c:v>
                </c:pt>
                <c:pt idx="36">
                  <c:v>1142.6291</c:v>
                </c:pt>
                <c:pt idx="37">
                  <c:v>1153.573</c:v>
                </c:pt>
                <c:pt idx="38">
                  <c:v>1152.528</c:v>
                </c:pt>
                <c:pt idx="39">
                  <c:v>1205.3019</c:v>
                </c:pt>
                <c:pt idx="40">
                  <c:v>1219.2845</c:v>
                </c:pt>
                <c:pt idx="41">
                  <c:v>1237.3582</c:v>
                </c:pt>
                <c:pt idx="42">
                  <c:v>1244.3919</c:v>
                </c:pt>
                <c:pt idx="43">
                  <c:v>1250.4413</c:v>
                </c:pt>
                <c:pt idx="44">
                  <c:v>1259.6667</c:v>
                </c:pt>
                <c:pt idx="45">
                  <c:v>1247.6091</c:v>
                </c:pt>
                <c:pt idx="46">
                  <c:v>1188.4625</c:v>
                </c:pt>
                <c:pt idx="47">
                  <c:v>1183.6277</c:v>
                </c:pt>
                <c:pt idx="48">
                  <c:v>1134.5962</c:v>
                </c:pt>
                <c:pt idx="49">
                  <c:v>1036.0323</c:v>
                </c:pt>
                <c:pt idx="50">
                  <c:v>1063.233</c:v>
                </c:pt>
                <c:pt idx="51">
                  <c:v>1030.3646</c:v>
                </c:pt>
                <c:pt idx="52">
                  <c:v>1004.2829</c:v>
                </c:pt>
                <c:pt idx="53">
                  <c:v>1254.4518</c:v>
                </c:pt>
                <c:pt idx="54">
                  <c:v>1243.3401</c:v>
                </c:pt>
                <c:pt idx="55">
                  <c:v>1246.2669</c:v>
                </c:pt>
                <c:pt idx="56">
                  <c:v>1251.4561</c:v>
                </c:pt>
                <c:pt idx="57">
                  <c:v>1262.0184</c:v>
                </c:pt>
                <c:pt idx="58">
                  <c:v>1258.7824</c:v>
                </c:pt>
                <c:pt idx="59">
                  <c:v>1252.5043</c:v>
                </c:pt>
                <c:pt idx="60">
                  <c:v>1261.0249</c:v>
                </c:pt>
                <c:pt idx="61">
                  <c:v>1197.8132</c:v>
                </c:pt>
                <c:pt idx="62">
                  <c:v>1080.0147</c:v>
                </c:pt>
                <c:pt idx="63">
                  <c:v>1083.3329</c:v>
                </c:pt>
                <c:pt idx="64">
                  <c:v>1085.7173</c:v>
                </c:pt>
                <c:pt idx="65">
                  <c:v>1096.1979</c:v>
                </c:pt>
                <c:pt idx="66">
                  <c:v>1241.9718</c:v>
                </c:pt>
                <c:pt idx="67">
                  <c:v>1261.5555</c:v>
                </c:pt>
                <c:pt idx="68">
                  <c:v>1249.3041</c:v>
                </c:pt>
                <c:pt idx="69">
                  <c:v>1282.0972</c:v>
                </c:pt>
                <c:pt idx="70">
                  <c:v>1274.1268</c:v>
                </c:pt>
                <c:pt idx="71">
                  <c:v>1270.9449</c:v>
                </c:pt>
                <c:pt idx="72">
                  <c:v>1294.1253</c:v>
                </c:pt>
                <c:pt idx="73">
                  <c:v>1271.1309</c:v>
                </c:pt>
                <c:pt idx="74">
                  <c:v>1299.1777</c:v>
                </c:pt>
                <c:pt idx="75">
                  <c:v>1276.8991</c:v>
                </c:pt>
                <c:pt idx="76">
                  <c:v>1232.9392</c:v>
                </c:pt>
                <c:pt idx="77">
                  <c:v>1217.9106</c:v>
                </c:pt>
                <c:pt idx="78">
                  <c:v>1247.1802</c:v>
                </c:pt>
                <c:pt idx="79">
                  <c:v>1293.2941</c:v>
                </c:pt>
                <c:pt idx="80">
                  <c:v>1303.5206</c:v>
                </c:pt>
                <c:pt idx="81">
                  <c:v>1337.5946</c:v>
                </c:pt>
                <c:pt idx="82">
                  <c:v>1357.299</c:v>
                </c:pt>
                <c:pt idx="83">
                  <c:v>1367.6755</c:v>
                </c:pt>
                <c:pt idx="84">
                  <c:v>1367.041</c:v>
                </c:pt>
                <c:pt idx="85">
                  <c:v>1360.1804</c:v>
                </c:pt>
                <c:pt idx="86">
                  <c:v>1360.7093</c:v>
                </c:pt>
                <c:pt idx="87">
                  <c:v>1351.2448</c:v>
                </c:pt>
                <c:pt idx="88">
                  <c:v>1376.0153</c:v>
                </c:pt>
                <c:pt idx="89">
                  <c:v>1389.1494</c:v>
                </c:pt>
                <c:pt idx="90">
                  <c:v>1387.5711</c:v>
                </c:pt>
                <c:pt idx="91">
                  <c:v>1367.3523</c:v>
                </c:pt>
                <c:pt idx="92">
                  <c:v>1370.0738</c:v>
                </c:pt>
                <c:pt idx="93">
                  <c:v>1359.9005</c:v>
                </c:pt>
                <c:pt idx="94">
                  <c:v>1388.4075</c:v>
                </c:pt>
                <c:pt idx="95">
                  <c:v>1369.1558</c:v>
                </c:pt>
                <c:pt idx="96">
                  <c:v>1244.5532</c:v>
                </c:pt>
                <c:pt idx="97">
                  <c:v>1288.9495</c:v>
                </c:pt>
                <c:pt idx="98">
                  <c:v>1233.9533</c:v>
                </c:pt>
                <c:pt idx="99">
                  <c:v>1224.1332</c:v>
                </c:pt>
                <c:pt idx="100">
                  <c:v>1105.2917</c:v>
                </c:pt>
                <c:pt idx="101">
                  <c:v>1326.8797</c:v>
                </c:pt>
                <c:pt idx="102">
                  <c:v>1306.8112</c:v>
                </c:pt>
                <c:pt idx="103">
                  <c:v>1221.7936</c:v>
                </c:pt>
                <c:pt idx="104">
                  <c:v>1203.5345</c:v>
                </c:pt>
              </c:numCache>
            </c:numRef>
          </c:xVal>
          <c:yVal>
            <c:numRef>
              <c:f>Sheet1!$B$2:$B$106</c:f>
              <c:numCache>
                <c:formatCode>General</c:formatCode>
                <c:ptCount val="105"/>
                <c:pt idx="0">
                  <c:v>0.3211839530332681</c:v>
                </c:pt>
                <c:pt idx="1">
                  <c:v>0.3290645879732739</c:v>
                </c:pt>
                <c:pt idx="2">
                  <c:v>0.3272519954389966</c:v>
                </c:pt>
                <c:pt idx="3">
                  <c:v>0.3375250071448985</c:v>
                </c:pt>
                <c:pt idx="4">
                  <c:v>0.38388324873096447</c:v>
                </c:pt>
                <c:pt idx="5">
                  <c:v>0.3635025754231052</c:v>
                </c:pt>
                <c:pt idx="6">
                  <c:v>0.39022711631108054</c:v>
                </c:pt>
                <c:pt idx="7">
                  <c:v>0.38578274760383385</c:v>
                </c:pt>
                <c:pt idx="8">
                  <c:v>0.36801242236024845</c:v>
                </c:pt>
                <c:pt idx="9">
                  <c:v>0.36969278564031754</c:v>
                </c:pt>
                <c:pt idx="10">
                  <c:v>0.3552278820375335</c:v>
                </c:pt>
                <c:pt idx="11">
                  <c:v>0.35420619860847563</c:v>
                </c:pt>
                <c:pt idx="12">
                  <c:v>0.3315962698848053</c:v>
                </c:pt>
                <c:pt idx="13">
                  <c:v>0.3220499841822208</c:v>
                </c:pt>
                <c:pt idx="14">
                  <c:v>0.2848081192515065</c:v>
                </c:pt>
                <c:pt idx="15">
                  <c:v>0.27275985663082436</c:v>
                </c:pt>
                <c:pt idx="16">
                  <c:v>0.2991666666666667</c:v>
                </c:pt>
                <c:pt idx="17">
                  <c:v>0.3005159071367154</c:v>
                </c:pt>
                <c:pt idx="18">
                  <c:v>0.2838640043173233</c:v>
                </c:pt>
                <c:pt idx="19">
                  <c:v>0.28972559029993616</c:v>
                </c:pt>
                <c:pt idx="20">
                  <c:v>0.3336380255941499</c:v>
                </c:pt>
                <c:pt idx="21">
                  <c:v>0.31283710895361383</c:v>
                </c:pt>
                <c:pt idx="22">
                  <c:v>0.28695114409400124</c:v>
                </c:pt>
                <c:pt idx="23">
                  <c:v>0.3183279742765273</c:v>
                </c:pt>
                <c:pt idx="24">
                  <c:v>0.32073242764323684</c:v>
                </c:pt>
                <c:pt idx="25">
                  <c:v>0.3070054945054945</c:v>
                </c:pt>
                <c:pt idx="26">
                  <c:v>0.3047722342733189</c:v>
                </c:pt>
                <c:pt idx="27">
                  <c:v>0.3338879645036051</c:v>
                </c:pt>
                <c:pt idx="28">
                  <c:v>0.3575757575757576</c:v>
                </c:pt>
                <c:pt idx="29">
                  <c:v>0.3470343392299688</c:v>
                </c:pt>
                <c:pt idx="30">
                  <c:v>0.35074626865671643</c:v>
                </c:pt>
                <c:pt idx="31">
                  <c:v>0.32413350449293965</c:v>
                </c:pt>
                <c:pt idx="32">
                  <c:v>0.33804713804713804</c:v>
                </c:pt>
                <c:pt idx="33">
                  <c:v>0.33658816771970135</c:v>
                </c:pt>
                <c:pt idx="34">
                  <c:v>0.3556910569105691</c:v>
                </c:pt>
                <c:pt idx="35">
                  <c:v>0.40814917127071826</c:v>
                </c:pt>
                <c:pt idx="36">
                  <c:v>0.36666666666666664</c:v>
                </c:pt>
                <c:pt idx="37">
                  <c:v>0.3577512776831346</c:v>
                </c:pt>
                <c:pt idx="38">
                  <c:v>0.3481561822125813</c:v>
                </c:pt>
                <c:pt idx="39">
                  <c:v>0.35109532267613974</c:v>
                </c:pt>
                <c:pt idx="40">
                  <c:v>0.3428981348637016</c:v>
                </c:pt>
                <c:pt idx="41">
                  <c:v>0.33997844827586204</c:v>
                </c:pt>
                <c:pt idx="42">
                  <c:v>0.33835557468790356</c:v>
                </c:pt>
                <c:pt idx="43">
                  <c:v>0.32887899034892354</c:v>
                </c:pt>
                <c:pt idx="44">
                  <c:v>0.3158808215215505</c:v>
                </c:pt>
                <c:pt idx="45">
                  <c:v>0.3094381400498201</c:v>
                </c:pt>
                <c:pt idx="46">
                  <c:v>0.3142308746915273</c:v>
                </c:pt>
                <c:pt idx="47">
                  <c:v>0.3241020016451878</c:v>
                </c:pt>
                <c:pt idx="48">
                  <c:v>0.31876503608660783</c:v>
                </c:pt>
                <c:pt idx="49">
                  <c:v>0.33740478066719204</c:v>
                </c:pt>
                <c:pt idx="50">
                  <c:v>0.3289984029203742</c:v>
                </c:pt>
                <c:pt idx="51">
                  <c:v>0.34895287958115184</c:v>
                </c:pt>
                <c:pt idx="52">
                  <c:v>0.34059488898198576</c:v>
                </c:pt>
                <c:pt idx="53">
                  <c:v>0.33534560821008147</c:v>
                </c:pt>
                <c:pt idx="54">
                  <c:v>0.34808853118712274</c:v>
                </c:pt>
                <c:pt idx="55">
                  <c:v>0.3515456506110712</c:v>
                </c:pt>
                <c:pt idx="56">
                  <c:v>0.34055829228243023</c:v>
                </c:pt>
                <c:pt idx="57">
                  <c:v>0.3215845290081098</c:v>
                </c:pt>
                <c:pt idx="58">
                  <c:v>0.31510272071071627</c:v>
                </c:pt>
                <c:pt idx="59">
                  <c:v>0.2907285942208828</c:v>
                </c:pt>
                <c:pt idx="60">
                  <c:v>0.29194630872483224</c:v>
                </c:pt>
                <c:pt idx="61">
                  <c:v>0.3184</c:v>
                </c:pt>
                <c:pt idx="62">
                  <c:v>0.36620856911883587</c:v>
                </c:pt>
                <c:pt idx="63">
                  <c:v>0.3611436606515116</c:v>
                </c:pt>
                <c:pt idx="64">
                  <c:v>0.3704206241519674</c:v>
                </c:pt>
                <c:pt idx="65">
                  <c:v>0.3682058682058682</c:v>
                </c:pt>
                <c:pt idx="66">
                  <c:v>0.36459782911216254</c:v>
                </c:pt>
                <c:pt idx="67">
                  <c:v>0.3521528371827773</c:v>
                </c:pt>
                <c:pt idx="68">
                  <c:v>0.35290031260854465</c:v>
                </c:pt>
                <c:pt idx="69">
                  <c:v>0.3271889400921659</c:v>
                </c:pt>
                <c:pt idx="70">
                  <c:v>0.3154153709462461</c:v>
                </c:pt>
                <c:pt idx="71">
                  <c:v>0.3262921348314607</c:v>
                </c:pt>
                <c:pt idx="72">
                  <c:v>0.3367139959432049</c:v>
                </c:pt>
                <c:pt idx="73">
                  <c:v>0.34083469721767595</c:v>
                </c:pt>
                <c:pt idx="74">
                  <c:v>0.31403581840899625</c:v>
                </c:pt>
                <c:pt idx="75">
                  <c:v>0.3452868852459016</c:v>
                </c:pt>
                <c:pt idx="76">
                  <c:v>0.3379019504480759</c:v>
                </c:pt>
                <c:pt idx="77">
                  <c:v>0.3405036726128017</c:v>
                </c:pt>
                <c:pt idx="78">
                  <c:v>0.34304399524375745</c:v>
                </c:pt>
                <c:pt idx="79">
                  <c:v>0.35051546391752575</c:v>
                </c:pt>
                <c:pt idx="80">
                  <c:v>0.3508137432188065</c:v>
                </c:pt>
                <c:pt idx="81">
                  <c:v>0.35431472081218274</c:v>
                </c:pt>
                <c:pt idx="82">
                  <c:v>0.36081835089894604</c:v>
                </c:pt>
                <c:pt idx="83">
                  <c:v>0.32885375494071145</c:v>
                </c:pt>
                <c:pt idx="84">
                  <c:v>0.3309409888357257</c:v>
                </c:pt>
                <c:pt idx="85">
                  <c:v>0.337442218798151</c:v>
                </c:pt>
                <c:pt idx="86">
                  <c:v>0.33616569304301647</c:v>
                </c:pt>
                <c:pt idx="87">
                  <c:v>0.37271937445699393</c:v>
                </c:pt>
                <c:pt idx="88">
                  <c:v>0.38057324840764334</c:v>
                </c:pt>
                <c:pt idx="89">
                  <c:v>0.34296977660972405</c:v>
                </c:pt>
                <c:pt idx="90">
                  <c:v>0.35236768802228413</c:v>
                </c:pt>
                <c:pt idx="91">
                  <c:v>0.32897196261682243</c:v>
                </c:pt>
                <c:pt idx="92">
                  <c:v>0.3502235469448584</c:v>
                </c:pt>
                <c:pt idx="93">
                  <c:v>0.30575368521160246</c:v>
                </c:pt>
                <c:pt idx="94">
                  <c:v>0.30345572354211664</c:v>
                </c:pt>
                <c:pt idx="95">
                  <c:v>0.30474840538625086</c:v>
                </c:pt>
                <c:pt idx="96">
                  <c:v>0.30848920863309354</c:v>
                </c:pt>
                <c:pt idx="97">
                  <c:v>0.3025210084033613</c:v>
                </c:pt>
                <c:pt idx="98">
                  <c:v>0.3256959314775161</c:v>
                </c:pt>
                <c:pt idx="99">
                  <c:v>0.33232749949708307</c:v>
                </c:pt>
                <c:pt idx="100">
                  <c:v>0.33509900365746</c:v>
                </c:pt>
                <c:pt idx="101">
                  <c:v>0.29024943310657597</c:v>
                </c:pt>
                <c:pt idx="102">
                  <c:v>0.28691275167785235</c:v>
                </c:pt>
                <c:pt idx="103">
                  <c:v>0.31928448909580986</c:v>
                </c:pt>
                <c:pt idx="104">
                  <c:v>0.3392520850147968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96.5562</c:v>
                </c:pt>
                <c:pt idx="1">
                  <c:v>1292.5669</c:v>
                </c:pt>
                <c:pt idx="2">
                  <c:v>1331.1289</c:v>
                </c:pt>
                <c:pt idx="3">
                  <c:v>1374.3963</c:v>
                </c:pt>
                <c:pt idx="4">
                  <c:v>1358.2423</c:v>
                </c:pt>
                <c:pt idx="5">
                  <c:v>1367.0126</c:v>
                </c:pt>
                <c:pt idx="6">
                  <c:v>1361.2348</c:v>
                </c:pt>
                <c:pt idx="7">
                  <c:v>1353.5533</c:v>
                </c:pt>
                <c:pt idx="8">
                  <c:v>1355.1383</c:v>
                </c:pt>
                <c:pt idx="9">
                  <c:v>1168.7412</c:v>
                </c:pt>
                <c:pt idx="10">
                  <c:v>1200.1647</c:v>
                </c:pt>
                <c:pt idx="11">
                  <c:v>1356.6221</c:v>
                </c:pt>
                <c:pt idx="12">
                  <c:v>1323.2803</c:v>
                </c:pt>
                <c:pt idx="13">
                  <c:v>1213.0875</c:v>
                </c:pt>
                <c:pt idx="14">
                  <c:v>1350.99</c:v>
                </c:pt>
                <c:pt idx="15">
                  <c:v>1257.2825</c:v>
                </c:pt>
                <c:pt idx="16">
                  <c:v>1369.6708</c:v>
                </c:pt>
                <c:pt idx="17">
                  <c:v>1384.1702</c:v>
                </c:pt>
                <c:pt idx="18">
                  <c:v>1447.4682</c:v>
                </c:pt>
                <c:pt idx="19">
                  <c:v>1421.7061</c:v>
                </c:pt>
                <c:pt idx="20">
                  <c:v>1324.4143</c:v>
                </c:pt>
                <c:pt idx="21">
                  <c:v>1351.9756</c:v>
                </c:pt>
                <c:pt idx="22">
                  <c:v>1330.5988</c:v>
                </c:pt>
                <c:pt idx="23">
                  <c:v>1164.3535</c:v>
                </c:pt>
                <c:pt idx="24">
                  <c:v>1113.9252</c:v>
                </c:pt>
                <c:pt idx="25">
                  <c:v>1177.4466</c:v>
                </c:pt>
                <c:pt idx="26">
                  <c:v>1234.8571</c:v>
                </c:pt>
                <c:pt idx="27">
                  <c:v>1323.2139</c:v>
                </c:pt>
                <c:pt idx="28">
                  <c:v>1381.6939</c:v>
                </c:pt>
                <c:pt idx="29">
                  <c:v>1379.053</c:v>
                </c:pt>
                <c:pt idx="30">
                  <c:v>1382.3706</c:v>
                </c:pt>
                <c:pt idx="31">
                  <c:v>1379.5418</c:v>
                </c:pt>
                <c:pt idx="32">
                  <c:v>1375.0313</c:v>
                </c:pt>
                <c:pt idx="33">
                  <c:v>1379.7774</c:v>
                </c:pt>
                <c:pt idx="34">
                  <c:v>1400.4034</c:v>
                </c:pt>
                <c:pt idx="35">
                  <c:v>1390.6682</c:v>
                </c:pt>
                <c:pt idx="36">
                  <c:v>1380.6145</c:v>
                </c:pt>
                <c:pt idx="37">
                  <c:v>1384.1709</c:v>
                </c:pt>
                <c:pt idx="38">
                  <c:v>1374.201</c:v>
                </c:pt>
                <c:pt idx="39">
                  <c:v>1436.072</c:v>
                </c:pt>
                <c:pt idx="40">
                  <c:v>1435.356</c:v>
                </c:pt>
                <c:pt idx="41">
                  <c:v>1435.9867</c:v>
                </c:pt>
                <c:pt idx="42">
                  <c:v>1421.9181</c:v>
                </c:pt>
                <c:pt idx="43">
                  <c:v>1399.1837</c:v>
                </c:pt>
                <c:pt idx="44">
                  <c:v>1347.8949</c:v>
                </c:pt>
                <c:pt idx="45">
                  <c:v>1349.7423</c:v>
                </c:pt>
                <c:pt idx="46">
                  <c:v>1355.9175</c:v>
                </c:pt>
                <c:pt idx="47">
                  <c:v>1342.6715</c:v>
                </c:pt>
                <c:pt idx="48">
                  <c:v>1266.0696</c:v>
                </c:pt>
                <c:pt idx="49">
                  <c:v>1221.3099</c:v>
                </c:pt>
                <c:pt idx="50">
                  <c:v>1167.8916</c:v>
                </c:pt>
                <c:pt idx="51">
                  <c:v>1211.2992</c:v>
                </c:pt>
              </c:numCache>
            </c:numRef>
          </c:xVal>
          <c:yVal>
            <c:numRef>
              <c:f>Sheet1!$B$109:$B$160</c:f>
              <c:numCache>
                <c:formatCode>General</c:formatCode>
                <c:ptCount val="52"/>
                <c:pt idx="0">
                  <c:v>0.38597376387487387</c:v>
                </c:pt>
                <c:pt idx="1">
                  <c:v>0.36996735582154516</c:v>
                </c:pt>
                <c:pt idx="2">
                  <c:v>0.369290573372206</c:v>
                </c:pt>
                <c:pt idx="3">
                  <c:v>0.35340802987861814</c:v>
                </c:pt>
                <c:pt idx="4">
                  <c:v>0.3486310299869622</c:v>
                </c:pt>
                <c:pt idx="5">
                  <c:v>0.33554200901139675</c:v>
                </c:pt>
                <c:pt idx="6">
                  <c:v>0.31037677578752315</c:v>
                </c:pt>
                <c:pt idx="7">
                  <c:v>0.30968317715305665</c:v>
                </c:pt>
                <c:pt idx="8">
                  <c:v>0.339142091152815</c:v>
                </c:pt>
                <c:pt idx="9">
                  <c:v>0.3269947800149142</c:v>
                </c:pt>
                <c:pt idx="10">
                  <c:v>0.3497191011235955</c:v>
                </c:pt>
                <c:pt idx="11">
                  <c:v>0.32680722891566266</c:v>
                </c:pt>
                <c:pt idx="12">
                  <c:v>0.3425669436749769</c:v>
                </c:pt>
                <c:pt idx="13">
                  <c:v>0.35397973950795947</c:v>
                </c:pt>
                <c:pt idx="14">
                  <c:v>0.3388681802778719</c:v>
                </c:pt>
                <c:pt idx="15">
                  <c:v>0.35957004160887657</c:v>
                </c:pt>
                <c:pt idx="16">
                  <c:v>0.32384769539078156</c:v>
                </c:pt>
                <c:pt idx="17">
                  <c:v>0.2963734889537307</c:v>
                </c:pt>
                <c:pt idx="18">
                  <c:v>0.3133997785160576</c:v>
                </c:pt>
                <c:pt idx="19">
                  <c:v>0.32736359850062474</c:v>
                </c:pt>
                <c:pt idx="20">
                  <c:v>0.32446555819477435</c:v>
                </c:pt>
                <c:pt idx="21">
                  <c:v>0.32302631578947366</c:v>
                </c:pt>
                <c:pt idx="22">
                  <c:v>0.32714468629961585</c:v>
                </c:pt>
                <c:pt idx="23">
                  <c:v>0.37890625</c:v>
                </c:pt>
                <c:pt idx="24">
                  <c:v>0.39558665231431644</c:v>
                </c:pt>
                <c:pt idx="25">
                  <c:v>0.35807860262008734</c:v>
                </c:pt>
                <c:pt idx="26">
                  <c:v>0.3331550802139037</c:v>
                </c:pt>
                <c:pt idx="27">
                  <c:v>0.29762506316321374</c:v>
                </c:pt>
                <c:pt idx="28">
                  <c:v>0.307035175879397</c:v>
                </c:pt>
                <c:pt idx="29">
                  <c:v>0.29418813660874776</c:v>
                </c:pt>
                <c:pt idx="30">
                  <c:v>0.30984204131227217</c:v>
                </c:pt>
                <c:pt idx="31">
                  <c:v>0.31198808637379</c:v>
                </c:pt>
                <c:pt idx="32">
                  <c:v>0.32629278951201746</c:v>
                </c:pt>
                <c:pt idx="33">
                  <c:v>0.3407455853499019</c:v>
                </c:pt>
                <c:pt idx="34">
                  <c:v>0.3766835016835017</c:v>
                </c:pt>
                <c:pt idx="35">
                  <c:v>0.3720328010358222</c:v>
                </c:pt>
                <c:pt idx="36">
                  <c:v>0.3546875</c:v>
                </c:pt>
                <c:pt idx="37">
                  <c:v>0.3618421052631579</c:v>
                </c:pt>
                <c:pt idx="38">
                  <c:v>0.31414868105515587</c:v>
                </c:pt>
                <c:pt idx="39">
                  <c:v>0.33967391304347827</c:v>
                </c:pt>
                <c:pt idx="40">
                  <c:v>0.3293347873500545</c:v>
                </c:pt>
                <c:pt idx="41">
                  <c:v>0.35184224182667356</c:v>
                </c:pt>
                <c:pt idx="42">
                  <c:v>0.34169096209912536</c:v>
                </c:pt>
                <c:pt idx="43">
                  <c:v>0.3394642143142743</c:v>
                </c:pt>
                <c:pt idx="44">
                  <c:v>0.32450331125827814</c:v>
                </c:pt>
                <c:pt idx="45">
                  <c:v>0.32150831059290497</c:v>
                </c:pt>
                <c:pt idx="46">
                  <c:v>0.3331228291758762</c:v>
                </c:pt>
                <c:pt idx="47">
                  <c:v>0.34008594229588707</c:v>
                </c:pt>
                <c:pt idx="48">
                  <c:v>0.3455768235902742</c:v>
                </c:pt>
                <c:pt idx="49">
                  <c:v>0.37195876288659796</c:v>
                </c:pt>
                <c:pt idx="50">
                  <c:v>0.3952715182859254</c:v>
                </c:pt>
                <c:pt idx="51">
                  <c:v>0.380819566616605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24.768082592046</c:v>
                </c:pt>
              </c:numCache>
            </c:numRef>
          </c:xVal>
          <c:yVal>
            <c:numRef>
              <c:f>Sheet1!$B$163:$B$164</c:f>
              <c:numCache>
                <c:formatCode>General</c:formatCode>
                <c:ptCount val="2"/>
                <c:pt idx="0">
                  <c:v>0.3734066678448509</c:v>
                </c:pt>
                <c:pt idx="1">
                  <c:v>0.373406667844850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24.768082592046</c:v>
                </c:pt>
                <c:pt idx="1">
                  <c:v>1124.768082592046</c:v>
                </c:pt>
              </c:numCache>
            </c:numRef>
          </c:xVal>
          <c:yVal>
            <c:numRef>
              <c:f>Sheet1!$B$167:$B$168</c:f>
              <c:numCache>
                <c:formatCode>General</c:formatCode>
                <c:ptCount val="2"/>
                <c:pt idx="0">
                  <c:v>0.373406667844850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4.768082592046</c:v>
                </c:pt>
              </c:numCache>
            </c:numRef>
          </c:xVal>
          <c:yVal>
            <c:numRef>
              <c:f>Sheet1!$B$171:$B$172</c:f>
              <c:numCache>
                <c:formatCode>General</c:formatCode>
                <c:ptCount val="2"/>
                <c:pt idx="0">
                  <c:v>0.3734066678448509</c:v>
                </c:pt>
                <c:pt idx="1">
                  <c:v>0.373406667844850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4.768082592046</c:v>
                </c:pt>
                <c:pt idx="1">
                  <c:v>1124.768082592046</c:v>
                </c:pt>
              </c:numCache>
            </c:numRef>
          </c:xVal>
          <c:yVal>
            <c:numRef>
              <c:f>Sheet1!$B$175:$B$176</c:f>
              <c:numCache>
                <c:formatCode>General</c:formatCode>
                <c:ptCount val="2"/>
                <c:pt idx="0">
                  <c:v>0.373406667844850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88.0561275057278</c:v>
                </c:pt>
              </c:numCache>
            </c:numRef>
          </c:xVal>
          <c:yVal>
            <c:numRef>
              <c:f>Sheet1!$B$179:$B$180</c:f>
              <c:numCache>
                <c:formatCode>General</c:formatCode>
                <c:ptCount val="2"/>
                <c:pt idx="0">
                  <c:v>0.34729639871815043</c:v>
                </c:pt>
                <c:pt idx="1">
                  <c:v>0.3472963987181504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88.0561275057278</c:v>
                </c:pt>
                <c:pt idx="1">
                  <c:v>1288.0561275057278</c:v>
                </c:pt>
              </c:numCache>
            </c:numRef>
          </c:xVal>
          <c:yVal>
            <c:numRef>
              <c:f>Sheet1!$B$183:$B$184</c:f>
              <c:numCache>
                <c:formatCode>General</c:formatCode>
                <c:ptCount val="2"/>
                <c:pt idx="0">
                  <c:v>0.3472963987181504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96.5562</c:v>
                </c:pt>
                <c:pt idx="1">
                  <c:v>1292.5669</c:v>
                </c:pt>
                <c:pt idx="2">
                  <c:v>1331.1289</c:v>
                </c:pt>
                <c:pt idx="3">
                  <c:v>1374.3963</c:v>
                </c:pt>
                <c:pt idx="4">
                  <c:v>1358.2423</c:v>
                </c:pt>
                <c:pt idx="5">
                  <c:v>1367.0126</c:v>
                </c:pt>
                <c:pt idx="6">
                  <c:v>1361.2348</c:v>
                </c:pt>
                <c:pt idx="7">
                  <c:v>1353.5533</c:v>
                </c:pt>
                <c:pt idx="8">
                  <c:v>1355.1383</c:v>
                </c:pt>
                <c:pt idx="9">
                  <c:v>1168.7412</c:v>
                </c:pt>
                <c:pt idx="10">
                  <c:v>1200.1647</c:v>
                </c:pt>
                <c:pt idx="11">
                  <c:v>1356.6221</c:v>
                </c:pt>
                <c:pt idx="12">
                  <c:v>1323.2803</c:v>
                </c:pt>
                <c:pt idx="13">
                  <c:v>1213.0875</c:v>
                </c:pt>
                <c:pt idx="14">
                  <c:v>1350.99</c:v>
                </c:pt>
                <c:pt idx="15">
                  <c:v>1257.2825</c:v>
                </c:pt>
                <c:pt idx="16">
                  <c:v>1369.6708</c:v>
                </c:pt>
                <c:pt idx="17">
                  <c:v>1384.1702</c:v>
                </c:pt>
                <c:pt idx="18">
                  <c:v>1447.4682</c:v>
                </c:pt>
                <c:pt idx="19">
                  <c:v>1421.7061</c:v>
                </c:pt>
                <c:pt idx="20">
                  <c:v>1324.4143</c:v>
                </c:pt>
                <c:pt idx="21">
                  <c:v>1351.9756</c:v>
                </c:pt>
                <c:pt idx="22">
                  <c:v>1330.5988</c:v>
                </c:pt>
                <c:pt idx="23">
                  <c:v>1164.3535</c:v>
                </c:pt>
                <c:pt idx="24">
                  <c:v>1113.9252</c:v>
                </c:pt>
                <c:pt idx="25">
                  <c:v>1177.4466</c:v>
                </c:pt>
                <c:pt idx="26">
                  <c:v>1234.8571</c:v>
                </c:pt>
                <c:pt idx="27">
                  <c:v>1323.2139</c:v>
                </c:pt>
                <c:pt idx="28">
                  <c:v>1381.6939</c:v>
                </c:pt>
                <c:pt idx="29">
                  <c:v>1379.053</c:v>
                </c:pt>
                <c:pt idx="30">
                  <c:v>1382.3706</c:v>
                </c:pt>
                <c:pt idx="31">
                  <c:v>1379.5418</c:v>
                </c:pt>
                <c:pt idx="32">
                  <c:v>1375.0313</c:v>
                </c:pt>
                <c:pt idx="33">
                  <c:v>1379.7774</c:v>
                </c:pt>
                <c:pt idx="34">
                  <c:v>1400.4034</c:v>
                </c:pt>
                <c:pt idx="35">
                  <c:v>1390.6682</c:v>
                </c:pt>
                <c:pt idx="36">
                  <c:v>1380.6145</c:v>
                </c:pt>
                <c:pt idx="37">
                  <c:v>1384.1709</c:v>
                </c:pt>
                <c:pt idx="38">
                  <c:v>1374.201</c:v>
                </c:pt>
                <c:pt idx="39">
                  <c:v>1436.072</c:v>
                </c:pt>
                <c:pt idx="40">
                  <c:v>1435.356</c:v>
                </c:pt>
                <c:pt idx="41">
                  <c:v>1435.9867</c:v>
                </c:pt>
                <c:pt idx="42">
                  <c:v>1421.9181</c:v>
                </c:pt>
                <c:pt idx="43">
                  <c:v>1399.1837</c:v>
                </c:pt>
                <c:pt idx="44">
                  <c:v>1347.8949</c:v>
                </c:pt>
                <c:pt idx="45">
                  <c:v>1349.7423</c:v>
                </c:pt>
                <c:pt idx="46">
                  <c:v>1355.9175</c:v>
                </c:pt>
                <c:pt idx="47">
                  <c:v>1342.6715</c:v>
                </c:pt>
                <c:pt idx="48">
                  <c:v>1266.0696</c:v>
                </c:pt>
                <c:pt idx="49">
                  <c:v>1221.3099</c:v>
                </c:pt>
                <c:pt idx="50">
                  <c:v>1167.8916</c:v>
                </c:pt>
                <c:pt idx="51">
                  <c:v>1211.2992</c:v>
                </c:pt>
                <c:pt idx="52">
                  <c:v>1124.768082592046</c:v>
                </c:pt>
                <c:pt idx="53">
                  <c:v>1124.768082592046</c:v>
                </c:pt>
                <c:pt idx="54">
                  <c:v>1288.0561275057278</c:v>
                </c:pt>
              </c:numCache>
            </c:numRef>
          </c:xVal>
          <c:yVal>
            <c:numRef>
              <c:f>Sheet1!$B$187:$B$241</c:f>
              <c:numCache>
                <c:formatCode>General</c:formatCode>
                <c:ptCount val="55"/>
                <c:pt idx="0">
                  <c:v>0.34593721053913074</c:v>
                </c:pt>
                <c:pt idx="1">
                  <c:v>0.3465751120871725</c:v>
                </c:pt>
                <c:pt idx="2">
                  <c:v>0.3404089276699601</c:v>
                </c:pt>
                <c:pt idx="3">
                  <c:v>0.3334903350748329</c:v>
                </c:pt>
                <c:pt idx="4">
                  <c:v>0.33607341020256615</c:v>
                </c:pt>
                <c:pt idx="5">
                  <c:v>0.334671011800142</c:v>
                </c:pt>
                <c:pt idx="6">
                  <c:v>0.3355949000923927</c:v>
                </c:pt>
                <c:pt idx="7">
                  <c:v>0.33682319596918375</c:v>
                </c:pt>
                <c:pt idx="8">
                  <c:v>0.3365697495114979</c:v>
                </c:pt>
                <c:pt idx="9">
                  <c:v>0.36637522882879425</c:v>
                </c:pt>
                <c:pt idx="10">
                  <c:v>0.36135051288993536</c:v>
                </c:pt>
                <c:pt idx="11">
                  <c:v>0.33633248525035325</c:v>
                </c:pt>
                <c:pt idx="12">
                  <c:v>0.3416639433594195</c:v>
                </c:pt>
                <c:pt idx="13">
                  <c:v>0.35928411674899996</c:v>
                </c:pt>
                <c:pt idx="14">
                  <c:v>0.33723307565687216</c:v>
                </c:pt>
                <c:pt idx="15">
                  <c:v>0.35221719801245355</c:v>
                </c:pt>
                <c:pt idx="16">
                  <c:v>0.334245957305618</c:v>
                </c:pt>
                <c:pt idx="17">
                  <c:v>0.33192745789327094</c:v>
                </c:pt>
                <c:pt idx="18">
                  <c:v>0.32180590970488054</c:v>
                </c:pt>
                <c:pt idx="19">
                  <c:v>0.32592535007557366</c:v>
                </c:pt>
                <c:pt idx="20">
                  <c:v>0.3414826132124064</c:v>
                </c:pt>
                <c:pt idx="21">
                  <c:v>0.33707547513403613</c:v>
                </c:pt>
                <c:pt idx="22">
                  <c:v>0.34049369231804794</c:v>
                </c:pt>
                <c:pt idx="23">
                  <c:v>0.36707683578298234</c:v>
                </c:pt>
                <c:pt idx="24">
                  <c:v>0.3751404786865276</c:v>
                </c:pt>
                <c:pt idx="25">
                  <c:v>0.36498320813936935</c:v>
                </c:pt>
                <c:pt idx="26">
                  <c:v>0.3558030896163578</c:v>
                </c:pt>
                <c:pt idx="27">
                  <c:v>0.34167456092711057</c:v>
                </c:pt>
                <c:pt idx="28">
                  <c:v>0.332323426008834</c:v>
                </c:pt>
                <c:pt idx="29">
                  <c:v>0.3327457141792457</c:v>
                </c:pt>
                <c:pt idx="30">
                  <c:v>0.3322152195621993</c:v>
                </c:pt>
                <c:pt idx="31">
                  <c:v>0.33266755353033917</c:v>
                </c:pt>
                <c:pt idx="32">
                  <c:v>0.33338879658863063</c:v>
                </c:pt>
                <c:pt idx="33">
                  <c:v>0.33262988035341123</c:v>
                </c:pt>
                <c:pt idx="34">
                  <c:v>0.32933171843780984</c:v>
                </c:pt>
                <c:pt idx="35">
                  <c:v>0.3308884073683229</c:v>
                </c:pt>
                <c:pt idx="36">
                  <c:v>0.33249602544506496</c:v>
                </c:pt>
                <c:pt idx="37">
                  <c:v>0.3319273459610814</c:v>
                </c:pt>
                <c:pt idx="38">
                  <c:v>0.33352156415570733</c:v>
                </c:pt>
                <c:pt idx="39">
                  <c:v>0.3236281977307982</c:v>
                </c:pt>
                <c:pt idx="40">
                  <c:v>0.32374268837035847</c:v>
                </c:pt>
                <c:pt idx="41">
                  <c:v>0.3236418374676061</c:v>
                </c:pt>
                <c:pt idx="42">
                  <c:v>0.3258914506124636</c:v>
                </c:pt>
                <c:pt idx="43">
                  <c:v>0.329526752282882</c:v>
                </c:pt>
                <c:pt idx="44">
                  <c:v>0.33772799182796587</c:v>
                </c:pt>
                <c:pt idx="45">
                  <c:v>0.3374325867895249</c:v>
                </c:pt>
                <c:pt idx="46">
                  <c:v>0.33644515299425576</c:v>
                </c:pt>
                <c:pt idx="47">
                  <c:v>0.3385632298261212</c:v>
                </c:pt>
                <c:pt idx="48">
                  <c:v>0.3508121132374811</c:v>
                </c:pt>
                <c:pt idx="49">
                  <c:v>0.35796932927034</c:v>
                </c:pt>
                <c:pt idx="50">
                  <c:v>0.366511082526239</c:v>
                </c:pt>
                <c:pt idx="51">
                  <c:v>0.35957007151258336</c:v>
                </c:pt>
                <c:pt idx="52">
                  <c:v>0.3734066678448509</c:v>
                </c:pt>
                <c:pt idx="53">
                  <c:v>0.3734066678448509</c:v>
                </c:pt>
                <c:pt idx="54">
                  <c:v>0.3472963987181504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37.0"/>
          <c:min val="73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977900552486187"/>
          <c:min val="0.21820788530465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247597455089293</c:v>
                </c:pt>
                <c:pt idx="1">
                  <c:v>0.17604536523900965</c:v>
                </c:pt>
                <c:pt idx="2">
                  <c:v>0.16861004728132387</c:v>
                </c:pt>
                <c:pt idx="3">
                  <c:v>0.18177938552341744</c:v>
                </c:pt>
                <c:pt idx="4">
                  <c:v>0.16861641306387365</c:v>
                </c:pt>
                <c:pt idx="5">
                  <c:v>0.16491398443974428</c:v>
                </c:pt>
                <c:pt idx="6">
                  <c:v>0.17916872452690769</c:v>
                </c:pt>
                <c:pt idx="7">
                  <c:v>0.1642712472629095</c:v>
                </c:pt>
                <c:pt idx="8">
                  <c:v>0.1643079578737889</c:v>
                </c:pt>
                <c:pt idx="9">
                  <c:v>0.15732573077086248</c:v>
                </c:pt>
                <c:pt idx="10">
                  <c:v>0.1603105564059045</c:v>
                </c:pt>
                <c:pt idx="11">
                  <c:v>0.16145764742247556</c:v>
                </c:pt>
                <c:pt idx="12">
                  <c:v>0.15915858264164262</c:v>
                </c:pt>
                <c:pt idx="13">
                  <c:v>0.1661637891127304</c:v>
                </c:pt>
                <c:pt idx="14">
                  <c:v>0.1812874494457575</c:v>
                </c:pt>
                <c:pt idx="15">
                  <c:v>0.1933665220799367</c:v>
                </c:pt>
                <c:pt idx="16">
                  <c:v>0.1762495190395882</c:v>
                </c:pt>
                <c:pt idx="17">
                  <c:v>0.1925359027128157</c:v>
                </c:pt>
                <c:pt idx="18">
                  <c:v>0.1908181770507114</c:v>
                </c:pt>
                <c:pt idx="19">
                  <c:v>0.1840621076814604</c:v>
                </c:pt>
                <c:pt idx="20">
                  <c:v>0.19409494749941908</c:v>
                </c:pt>
                <c:pt idx="21">
                  <c:v>0.19911556035795713</c:v>
                </c:pt>
                <c:pt idx="22">
                  <c:v>0.19730024151079648</c:v>
                </c:pt>
                <c:pt idx="23">
                  <c:v>0.21308161443494777</c:v>
                </c:pt>
                <c:pt idx="24">
                  <c:v>0.17223398120148387</c:v>
                </c:pt>
                <c:pt idx="25">
                  <c:v>0.1851597975058649</c:v>
                </c:pt>
                <c:pt idx="26">
                  <c:v>0.19465973400381623</c:v>
                </c:pt>
                <c:pt idx="27">
                  <c:v>0.1871734339311154</c:v>
                </c:pt>
                <c:pt idx="28">
                  <c:v>0.1724735343208034</c:v>
                </c:pt>
                <c:pt idx="29">
                  <c:v>0.1862210856666951</c:v>
                </c:pt>
                <c:pt idx="30">
                  <c:v>0.19062648562394657</c:v>
                </c:pt>
                <c:pt idx="31">
                  <c:v>0.2033452761313759</c:v>
                </c:pt>
                <c:pt idx="32">
                  <c:v>0.17628350136365029</c:v>
                </c:pt>
                <c:pt idx="33">
                  <c:v>0.16778614583633622</c:v>
                </c:pt>
                <c:pt idx="34">
                  <c:v>0.19782287149400726</c:v>
                </c:pt>
                <c:pt idx="35">
                  <c:v>0.18295418221540297</c:v>
                </c:pt>
                <c:pt idx="36">
                  <c:v>0.1828401599255396</c:v>
                </c:pt>
                <c:pt idx="37">
                  <c:v>0.2133122023075425</c:v>
                </c:pt>
                <c:pt idx="38">
                  <c:v>0.18467578497960413</c:v>
                </c:pt>
                <c:pt idx="39">
                  <c:v>0.1926775608526748</c:v>
                </c:pt>
                <c:pt idx="40">
                  <c:v>0.2037355478636829</c:v>
                </c:pt>
                <c:pt idx="41">
                  <c:v>0.2103913366850856</c:v>
                </c:pt>
                <c:pt idx="42">
                  <c:v>0.21136168152866244</c:v>
                </c:pt>
                <c:pt idx="43">
                  <c:v>0.20959653931739625</c:v>
                </c:pt>
                <c:pt idx="44">
                  <c:v>0.20005124890419138</c:v>
                </c:pt>
                <c:pt idx="45">
                  <c:v>0.1992184294545397</c:v>
                </c:pt>
                <c:pt idx="46">
                  <c:v>0.18515626217146777</c:v>
                </c:pt>
                <c:pt idx="47">
                  <c:v>0.1950213159109581</c:v>
                </c:pt>
                <c:pt idx="48">
                  <c:v>0.18943087069037481</c:v>
                </c:pt>
                <c:pt idx="49">
                  <c:v>0.17422437465951843</c:v>
                </c:pt>
                <c:pt idx="50">
                  <c:v>0.1691053535642714</c:v>
                </c:pt>
                <c:pt idx="51">
                  <c:v>0.1715038666096166</c:v>
                </c:pt>
                <c:pt idx="52">
                  <c:v>0.1645651790472761</c:v>
                </c:pt>
                <c:pt idx="53">
                  <c:v>0.21078822129644728</c:v>
                </c:pt>
                <c:pt idx="54">
                  <c:v>0.19794500767364404</c:v>
                </c:pt>
                <c:pt idx="55">
                  <c:v>0.19861647828730197</c:v>
                </c:pt>
                <c:pt idx="56">
                  <c:v>0.20821164628566677</c:v>
                </c:pt>
                <c:pt idx="57">
                  <c:v>0.20620217357777268</c:v>
                </c:pt>
                <c:pt idx="58">
                  <c:v>0.20950545602242907</c:v>
                </c:pt>
                <c:pt idx="59">
                  <c:v>0.20565882475703404</c:v>
                </c:pt>
                <c:pt idx="60">
                  <c:v>0.2056069020075169</c:v>
                </c:pt>
                <c:pt idx="61">
                  <c:v>0.19533809523809526</c:v>
                </c:pt>
                <c:pt idx="62">
                  <c:v>0.17954930048295278</c:v>
                </c:pt>
                <c:pt idx="63">
                  <c:v>0.17774518677190043</c:v>
                </c:pt>
                <c:pt idx="64">
                  <c:v>0.17833507307317994</c:v>
                </c:pt>
                <c:pt idx="65">
                  <c:v>0.18093986506039558</c:v>
                </c:pt>
                <c:pt idx="66">
                  <c:v>0.205999635097031</c:v>
                </c:pt>
                <c:pt idx="67">
                  <c:v>0.20422670624513495</c:v>
                </c:pt>
                <c:pt idx="68">
                  <c:v>0.20763865414959662</c:v>
                </c:pt>
                <c:pt idx="69">
                  <c:v>0.20470549359789794</c:v>
                </c:pt>
                <c:pt idx="70">
                  <c:v>0.20765405109684862</c:v>
                </c:pt>
                <c:pt idx="71">
                  <c:v>0.19880258094791178</c:v>
                </c:pt>
                <c:pt idx="72">
                  <c:v>0.20960617614284233</c:v>
                </c:pt>
                <c:pt idx="73">
                  <c:v>0.22461317854113658</c:v>
                </c:pt>
                <c:pt idx="74">
                  <c:v>0.2167151392735608</c:v>
                </c:pt>
                <c:pt idx="75">
                  <c:v>0.2073595056756362</c:v>
                </c:pt>
                <c:pt idx="76">
                  <c:v>0.2075829952016163</c:v>
                </c:pt>
                <c:pt idx="77">
                  <c:v>0.20264398262924074</c:v>
                </c:pt>
                <c:pt idx="78">
                  <c:v>0.2102816051256112</c:v>
                </c:pt>
                <c:pt idx="79">
                  <c:v>0.2158988519697701</c:v>
                </c:pt>
                <c:pt idx="80">
                  <c:v>0.22607752159821362</c:v>
                </c:pt>
                <c:pt idx="81">
                  <c:v>0.20886643794637552</c:v>
                </c:pt>
                <c:pt idx="82">
                  <c:v>0.22568989025606917</c:v>
                </c:pt>
                <c:pt idx="83">
                  <c:v>0.22135327819767914</c:v>
                </c:pt>
                <c:pt idx="84">
                  <c:v>0.21058289816226874</c:v>
                </c:pt>
                <c:pt idx="85">
                  <c:v>0.2196452070002624</c:v>
                </c:pt>
                <c:pt idx="86">
                  <c:v>0.23641308601685487</c:v>
                </c:pt>
                <c:pt idx="87">
                  <c:v>0.20025646560775925</c:v>
                </c:pt>
                <c:pt idx="88">
                  <c:v>0.207958787500099</c:v>
                </c:pt>
                <c:pt idx="89">
                  <c:v>0.23765717603514058</c:v>
                </c:pt>
                <c:pt idx="90">
                  <c:v>0.20335181358540336</c:v>
                </c:pt>
                <c:pt idx="91">
                  <c:v>0.2190977124801587</c:v>
                </c:pt>
                <c:pt idx="92">
                  <c:v>0.22578671720500987</c:v>
                </c:pt>
                <c:pt idx="93">
                  <c:v>0.22390107445309768</c:v>
                </c:pt>
                <c:pt idx="94">
                  <c:v>0.21682009838369642</c:v>
                </c:pt>
                <c:pt idx="95">
                  <c:v>0.23550171965494548</c:v>
                </c:pt>
                <c:pt idx="96">
                  <c:v>0.20100022610549437</c:v>
                </c:pt>
                <c:pt idx="97">
                  <c:v>0.2138229636413397</c:v>
                </c:pt>
                <c:pt idx="98">
                  <c:v>0.1953175823421791</c:v>
                </c:pt>
                <c:pt idx="99">
                  <c:v>0.20280326785880695</c:v>
                </c:pt>
                <c:pt idx="100">
                  <c:v>0.1731786539011852</c:v>
                </c:pt>
                <c:pt idx="101">
                  <c:v>0.21780028945935523</c:v>
                </c:pt>
                <c:pt idx="102">
                  <c:v>0.22301108979182654</c:v>
                </c:pt>
                <c:pt idx="103">
                  <c:v>0.19791740169278743</c:v>
                </c:pt>
                <c:pt idx="104">
                  <c:v>0.19067835043350395</c:v>
                </c:pt>
              </c:numCache>
            </c:numRef>
          </c:xVal>
          <c:yVal>
            <c:numRef>
              <c:f>Sheet1!$B$2:$B$106</c:f>
              <c:numCache>
                <c:formatCode>General</c:formatCode>
                <c:ptCount val="105"/>
                <c:pt idx="0">
                  <c:v>0.3211839530332681</c:v>
                </c:pt>
                <c:pt idx="1">
                  <c:v>0.3290645879732739</c:v>
                </c:pt>
                <c:pt idx="2">
                  <c:v>0.3272519954389966</c:v>
                </c:pt>
                <c:pt idx="3">
                  <c:v>0.3375250071448985</c:v>
                </c:pt>
                <c:pt idx="4">
                  <c:v>0.38388324873096447</c:v>
                </c:pt>
                <c:pt idx="5">
                  <c:v>0.3635025754231052</c:v>
                </c:pt>
                <c:pt idx="6">
                  <c:v>0.39022711631108054</c:v>
                </c:pt>
                <c:pt idx="7">
                  <c:v>0.38578274760383385</c:v>
                </c:pt>
                <c:pt idx="8">
                  <c:v>0.36801242236024845</c:v>
                </c:pt>
                <c:pt idx="9">
                  <c:v>0.36969278564031754</c:v>
                </c:pt>
                <c:pt idx="10">
                  <c:v>0.3552278820375335</c:v>
                </c:pt>
                <c:pt idx="11">
                  <c:v>0.35420619860847563</c:v>
                </c:pt>
                <c:pt idx="12">
                  <c:v>0.3315962698848053</c:v>
                </c:pt>
                <c:pt idx="13">
                  <c:v>0.3220499841822208</c:v>
                </c:pt>
                <c:pt idx="14">
                  <c:v>0.2848081192515065</c:v>
                </c:pt>
                <c:pt idx="15">
                  <c:v>0.27275985663082436</c:v>
                </c:pt>
                <c:pt idx="16">
                  <c:v>0.2991666666666667</c:v>
                </c:pt>
                <c:pt idx="17">
                  <c:v>0.3005159071367154</c:v>
                </c:pt>
                <c:pt idx="18">
                  <c:v>0.2838640043173233</c:v>
                </c:pt>
                <c:pt idx="19">
                  <c:v>0.28972559029993616</c:v>
                </c:pt>
                <c:pt idx="20">
                  <c:v>0.3336380255941499</c:v>
                </c:pt>
                <c:pt idx="21">
                  <c:v>0.31283710895361383</c:v>
                </c:pt>
                <c:pt idx="22">
                  <c:v>0.28695114409400124</c:v>
                </c:pt>
                <c:pt idx="23">
                  <c:v>0.3183279742765273</c:v>
                </c:pt>
                <c:pt idx="24">
                  <c:v>0.32073242764323684</c:v>
                </c:pt>
                <c:pt idx="25">
                  <c:v>0.3070054945054945</c:v>
                </c:pt>
                <c:pt idx="26">
                  <c:v>0.3047722342733189</c:v>
                </c:pt>
                <c:pt idx="27">
                  <c:v>0.3338879645036051</c:v>
                </c:pt>
                <c:pt idx="28">
                  <c:v>0.3575757575757576</c:v>
                </c:pt>
                <c:pt idx="29">
                  <c:v>0.3470343392299688</c:v>
                </c:pt>
                <c:pt idx="30">
                  <c:v>0.35074626865671643</c:v>
                </c:pt>
                <c:pt idx="31">
                  <c:v>0.32413350449293965</c:v>
                </c:pt>
                <c:pt idx="32">
                  <c:v>0.33804713804713804</c:v>
                </c:pt>
                <c:pt idx="33">
                  <c:v>0.33658816771970135</c:v>
                </c:pt>
                <c:pt idx="34">
                  <c:v>0.3556910569105691</c:v>
                </c:pt>
                <c:pt idx="35">
                  <c:v>0.40814917127071826</c:v>
                </c:pt>
                <c:pt idx="36">
                  <c:v>0.36666666666666664</c:v>
                </c:pt>
                <c:pt idx="37">
                  <c:v>0.3577512776831346</c:v>
                </c:pt>
                <c:pt idx="38">
                  <c:v>0.3481561822125813</c:v>
                </c:pt>
                <c:pt idx="39">
                  <c:v>0.35109532267613974</c:v>
                </c:pt>
                <c:pt idx="40">
                  <c:v>0.3428981348637016</c:v>
                </c:pt>
                <c:pt idx="41">
                  <c:v>0.33997844827586204</c:v>
                </c:pt>
                <c:pt idx="42">
                  <c:v>0.33835557468790356</c:v>
                </c:pt>
                <c:pt idx="43">
                  <c:v>0.32887899034892354</c:v>
                </c:pt>
                <c:pt idx="44">
                  <c:v>0.3158808215215505</c:v>
                </c:pt>
                <c:pt idx="45">
                  <c:v>0.3094381400498201</c:v>
                </c:pt>
                <c:pt idx="46">
                  <c:v>0.3142308746915273</c:v>
                </c:pt>
                <c:pt idx="47">
                  <c:v>0.3241020016451878</c:v>
                </c:pt>
                <c:pt idx="48">
                  <c:v>0.31876503608660783</c:v>
                </c:pt>
                <c:pt idx="49">
                  <c:v>0.33740478066719204</c:v>
                </c:pt>
                <c:pt idx="50">
                  <c:v>0.3289984029203742</c:v>
                </c:pt>
                <c:pt idx="51">
                  <c:v>0.34895287958115184</c:v>
                </c:pt>
                <c:pt idx="52">
                  <c:v>0.34059488898198576</c:v>
                </c:pt>
                <c:pt idx="53">
                  <c:v>0.33534560821008147</c:v>
                </c:pt>
                <c:pt idx="54">
                  <c:v>0.34808853118712274</c:v>
                </c:pt>
                <c:pt idx="55">
                  <c:v>0.3515456506110712</c:v>
                </c:pt>
                <c:pt idx="56">
                  <c:v>0.34055829228243023</c:v>
                </c:pt>
                <c:pt idx="57">
                  <c:v>0.3215845290081098</c:v>
                </c:pt>
                <c:pt idx="58">
                  <c:v>0.31510272071071627</c:v>
                </c:pt>
                <c:pt idx="59">
                  <c:v>0.2907285942208828</c:v>
                </c:pt>
                <c:pt idx="60">
                  <c:v>0.29194630872483224</c:v>
                </c:pt>
                <c:pt idx="61">
                  <c:v>0.3184</c:v>
                </c:pt>
                <c:pt idx="62">
                  <c:v>0.36620856911883587</c:v>
                </c:pt>
                <c:pt idx="63">
                  <c:v>0.3611436606515116</c:v>
                </c:pt>
                <c:pt idx="64">
                  <c:v>0.3704206241519674</c:v>
                </c:pt>
                <c:pt idx="65">
                  <c:v>0.3682058682058682</c:v>
                </c:pt>
                <c:pt idx="66">
                  <c:v>0.36459782911216254</c:v>
                </c:pt>
                <c:pt idx="67">
                  <c:v>0.3521528371827773</c:v>
                </c:pt>
                <c:pt idx="68">
                  <c:v>0.35290031260854465</c:v>
                </c:pt>
                <c:pt idx="69">
                  <c:v>0.3271889400921659</c:v>
                </c:pt>
                <c:pt idx="70">
                  <c:v>0.3154153709462461</c:v>
                </c:pt>
                <c:pt idx="71">
                  <c:v>0.3262921348314607</c:v>
                </c:pt>
                <c:pt idx="72">
                  <c:v>0.3367139959432049</c:v>
                </c:pt>
                <c:pt idx="73">
                  <c:v>0.34083469721767595</c:v>
                </c:pt>
                <c:pt idx="74">
                  <c:v>0.31403581840899625</c:v>
                </c:pt>
                <c:pt idx="75">
                  <c:v>0.3452868852459016</c:v>
                </c:pt>
                <c:pt idx="76">
                  <c:v>0.3379019504480759</c:v>
                </c:pt>
                <c:pt idx="77">
                  <c:v>0.3405036726128017</c:v>
                </c:pt>
                <c:pt idx="78">
                  <c:v>0.34304399524375745</c:v>
                </c:pt>
                <c:pt idx="79">
                  <c:v>0.35051546391752575</c:v>
                </c:pt>
                <c:pt idx="80">
                  <c:v>0.3508137432188065</c:v>
                </c:pt>
                <c:pt idx="81">
                  <c:v>0.35431472081218274</c:v>
                </c:pt>
                <c:pt idx="82">
                  <c:v>0.36081835089894604</c:v>
                </c:pt>
                <c:pt idx="83">
                  <c:v>0.32885375494071145</c:v>
                </c:pt>
                <c:pt idx="84">
                  <c:v>0.3309409888357257</c:v>
                </c:pt>
                <c:pt idx="85">
                  <c:v>0.337442218798151</c:v>
                </c:pt>
                <c:pt idx="86">
                  <c:v>0.33616569304301647</c:v>
                </c:pt>
                <c:pt idx="87">
                  <c:v>0.37271937445699393</c:v>
                </c:pt>
                <c:pt idx="88">
                  <c:v>0.38057324840764334</c:v>
                </c:pt>
                <c:pt idx="89">
                  <c:v>0.34296977660972405</c:v>
                </c:pt>
                <c:pt idx="90">
                  <c:v>0.35236768802228413</c:v>
                </c:pt>
                <c:pt idx="91">
                  <c:v>0.32897196261682243</c:v>
                </c:pt>
                <c:pt idx="92">
                  <c:v>0.3502235469448584</c:v>
                </c:pt>
                <c:pt idx="93">
                  <c:v>0.30575368521160246</c:v>
                </c:pt>
                <c:pt idx="94">
                  <c:v>0.30345572354211664</c:v>
                </c:pt>
                <c:pt idx="95">
                  <c:v>0.30474840538625086</c:v>
                </c:pt>
                <c:pt idx="96">
                  <c:v>0.30848920863309354</c:v>
                </c:pt>
                <c:pt idx="97">
                  <c:v>0.3025210084033613</c:v>
                </c:pt>
                <c:pt idx="98">
                  <c:v>0.3256959314775161</c:v>
                </c:pt>
                <c:pt idx="99">
                  <c:v>0.33232749949708307</c:v>
                </c:pt>
                <c:pt idx="100">
                  <c:v>0.33509900365746</c:v>
                </c:pt>
                <c:pt idx="101">
                  <c:v>0.29024943310657597</c:v>
                </c:pt>
                <c:pt idx="102">
                  <c:v>0.28691275167785235</c:v>
                </c:pt>
                <c:pt idx="103">
                  <c:v>0.31928448909580986</c:v>
                </c:pt>
                <c:pt idx="104">
                  <c:v>0.3392520850147968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0427858830943751</c:v>
                </c:pt>
                <c:pt idx="1">
                  <c:v>0.2031014891258963</c:v>
                </c:pt>
                <c:pt idx="2">
                  <c:v>0.21801532337164753</c:v>
                </c:pt>
                <c:pt idx="3">
                  <c:v>0.21449712633318582</c:v>
                </c:pt>
                <c:pt idx="4">
                  <c:v>0.20995030506458498</c:v>
                </c:pt>
                <c:pt idx="5">
                  <c:v>0.21317404716133692</c:v>
                </c:pt>
                <c:pt idx="6">
                  <c:v>0.19697104136673918</c:v>
                </c:pt>
                <c:pt idx="7">
                  <c:v>0.18939175640021685</c:v>
                </c:pt>
                <c:pt idx="8">
                  <c:v>0.19093744168108123</c:v>
                </c:pt>
                <c:pt idx="9">
                  <c:v>0.1629619654436045</c:v>
                </c:pt>
                <c:pt idx="10">
                  <c:v>0.17532137256393707</c:v>
                </c:pt>
                <c:pt idx="11">
                  <c:v>0.18074563541241478</c:v>
                </c:pt>
                <c:pt idx="12">
                  <c:v>0.1794625130957507</c:v>
                </c:pt>
                <c:pt idx="13">
                  <c:v>0.1618658598420154</c:v>
                </c:pt>
                <c:pt idx="14">
                  <c:v>0.17391780997983056</c:v>
                </c:pt>
                <c:pt idx="15">
                  <c:v>0.16791345219824913</c:v>
                </c:pt>
                <c:pt idx="16">
                  <c:v>0.1890293954083937</c:v>
                </c:pt>
                <c:pt idx="17">
                  <c:v>0.18899838842703082</c:v>
                </c:pt>
                <c:pt idx="18">
                  <c:v>0.20361925527874294</c:v>
                </c:pt>
                <c:pt idx="19">
                  <c:v>0.1926620063087762</c:v>
                </c:pt>
                <c:pt idx="20">
                  <c:v>0.20232693938833698</c:v>
                </c:pt>
                <c:pt idx="21">
                  <c:v>0.18086339751067543</c:v>
                </c:pt>
                <c:pt idx="22">
                  <c:v>0.17284341693375735</c:v>
                </c:pt>
                <c:pt idx="23">
                  <c:v>0.15823398762067215</c:v>
                </c:pt>
                <c:pt idx="24">
                  <c:v>0.15755567608604062</c:v>
                </c:pt>
                <c:pt idx="25">
                  <c:v>0.14599044084392476</c:v>
                </c:pt>
                <c:pt idx="26">
                  <c:v>0.14247392194756123</c:v>
                </c:pt>
                <c:pt idx="27">
                  <c:v>0.15743296304891335</c:v>
                </c:pt>
                <c:pt idx="28">
                  <c:v>0.15979990516284234</c:v>
                </c:pt>
                <c:pt idx="29">
                  <c:v>0.1696537350257884</c:v>
                </c:pt>
                <c:pt idx="30">
                  <c:v>0.17700309788898191</c:v>
                </c:pt>
                <c:pt idx="31">
                  <c:v>0.16155540526693307</c:v>
                </c:pt>
                <c:pt idx="32">
                  <c:v>0.15471874162674198</c:v>
                </c:pt>
                <c:pt idx="33">
                  <c:v>0.16686980901281528</c:v>
                </c:pt>
                <c:pt idx="34">
                  <c:v>0.17030840047429388</c:v>
                </c:pt>
                <c:pt idx="35">
                  <c:v>0.17390323628605572</c:v>
                </c:pt>
                <c:pt idx="36">
                  <c:v>0.16463762013822975</c:v>
                </c:pt>
                <c:pt idx="37">
                  <c:v>0.176063967946068</c:v>
                </c:pt>
                <c:pt idx="38">
                  <c:v>0.1739547365345277</c:v>
                </c:pt>
                <c:pt idx="39">
                  <c:v>0.20079738291911253</c:v>
                </c:pt>
                <c:pt idx="40">
                  <c:v>0.20855262554721862</c:v>
                </c:pt>
                <c:pt idx="41">
                  <c:v>0.19540075964789982</c:v>
                </c:pt>
                <c:pt idx="42">
                  <c:v>0.16109449827542485</c:v>
                </c:pt>
                <c:pt idx="43">
                  <c:v>0.16947421562453707</c:v>
                </c:pt>
                <c:pt idx="44">
                  <c:v>0.1814980004039588</c:v>
                </c:pt>
                <c:pt idx="45">
                  <c:v>0.17747090545298128</c:v>
                </c:pt>
                <c:pt idx="46">
                  <c:v>0.18075871929934298</c:v>
                </c:pt>
                <c:pt idx="47">
                  <c:v>0.18072133882049438</c:v>
                </c:pt>
                <c:pt idx="48">
                  <c:v>0.18029933341617724</c:v>
                </c:pt>
                <c:pt idx="49">
                  <c:v>0.16448987480971458</c:v>
                </c:pt>
                <c:pt idx="50">
                  <c:v>0.16105599656234887</c:v>
                </c:pt>
                <c:pt idx="51">
                  <c:v>0.16804743910336495</c:v>
                </c:pt>
              </c:numCache>
            </c:numRef>
          </c:xVal>
          <c:yVal>
            <c:numRef>
              <c:f>Sheet1!$B$109:$B$160</c:f>
              <c:numCache>
                <c:formatCode>General</c:formatCode>
                <c:ptCount val="52"/>
                <c:pt idx="0">
                  <c:v>0.38597376387487387</c:v>
                </c:pt>
                <c:pt idx="1">
                  <c:v>0.36996735582154516</c:v>
                </c:pt>
                <c:pt idx="2">
                  <c:v>0.369290573372206</c:v>
                </c:pt>
                <c:pt idx="3">
                  <c:v>0.35340802987861814</c:v>
                </c:pt>
                <c:pt idx="4">
                  <c:v>0.3486310299869622</c:v>
                </c:pt>
                <c:pt idx="5">
                  <c:v>0.33554200901139675</c:v>
                </c:pt>
                <c:pt idx="6">
                  <c:v>0.31037677578752315</c:v>
                </c:pt>
                <c:pt idx="7">
                  <c:v>0.30968317715305665</c:v>
                </c:pt>
                <c:pt idx="8">
                  <c:v>0.339142091152815</c:v>
                </c:pt>
                <c:pt idx="9">
                  <c:v>0.3269947800149142</c:v>
                </c:pt>
                <c:pt idx="10">
                  <c:v>0.3497191011235955</c:v>
                </c:pt>
                <c:pt idx="11">
                  <c:v>0.32680722891566266</c:v>
                </c:pt>
                <c:pt idx="12">
                  <c:v>0.3425669436749769</c:v>
                </c:pt>
                <c:pt idx="13">
                  <c:v>0.35397973950795947</c:v>
                </c:pt>
                <c:pt idx="14">
                  <c:v>0.3388681802778719</c:v>
                </c:pt>
                <c:pt idx="15">
                  <c:v>0.35957004160887657</c:v>
                </c:pt>
                <c:pt idx="16">
                  <c:v>0.32384769539078156</c:v>
                </c:pt>
                <c:pt idx="17">
                  <c:v>0.2963734889537307</c:v>
                </c:pt>
                <c:pt idx="18">
                  <c:v>0.3133997785160576</c:v>
                </c:pt>
                <c:pt idx="19">
                  <c:v>0.32736359850062474</c:v>
                </c:pt>
                <c:pt idx="20">
                  <c:v>0.32446555819477435</c:v>
                </c:pt>
                <c:pt idx="21">
                  <c:v>0.32302631578947366</c:v>
                </c:pt>
                <c:pt idx="22">
                  <c:v>0.32714468629961585</c:v>
                </c:pt>
                <c:pt idx="23">
                  <c:v>0.37890625</c:v>
                </c:pt>
                <c:pt idx="24">
                  <c:v>0.39558665231431644</c:v>
                </c:pt>
                <c:pt idx="25">
                  <c:v>0.35807860262008734</c:v>
                </c:pt>
                <c:pt idx="26">
                  <c:v>0.3331550802139037</c:v>
                </c:pt>
                <c:pt idx="27">
                  <c:v>0.29762506316321374</c:v>
                </c:pt>
                <c:pt idx="28">
                  <c:v>0.307035175879397</c:v>
                </c:pt>
                <c:pt idx="29">
                  <c:v>0.29418813660874776</c:v>
                </c:pt>
                <c:pt idx="30">
                  <c:v>0.30984204131227217</c:v>
                </c:pt>
                <c:pt idx="31">
                  <c:v>0.31198808637379</c:v>
                </c:pt>
                <c:pt idx="32">
                  <c:v>0.32629278951201746</c:v>
                </c:pt>
                <c:pt idx="33">
                  <c:v>0.3407455853499019</c:v>
                </c:pt>
                <c:pt idx="34">
                  <c:v>0.3766835016835017</c:v>
                </c:pt>
                <c:pt idx="35">
                  <c:v>0.3720328010358222</c:v>
                </c:pt>
                <c:pt idx="36">
                  <c:v>0.3546875</c:v>
                </c:pt>
                <c:pt idx="37">
                  <c:v>0.3618421052631579</c:v>
                </c:pt>
                <c:pt idx="38">
                  <c:v>0.31414868105515587</c:v>
                </c:pt>
                <c:pt idx="39">
                  <c:v>0.33967391304347827</c:v>
                </c:pt>
                <c:pt idx="40">
                  <c:v>0.3293347873500545</c:v>
                </c:pt>
                <c:pt idx="41">
                  <c:v>0.35184224182667356</c:v>
                </c:pt>
                <c:pt idx="42">
                  <c:v>0.34169096209912536</c:v>
                </c:pt>
                <c:pt idx="43">
                  <c:v>0.3394642143142743</c:v>
                </c:pt>
                <c:pt idx="44">
                  <c:v>0.32450331125827814</c:v>
                </c:pt>
                <c:pt idx="45">
                  <c:v>0.32150831059290497</c:v>
                </c:pt>
                <c:pt idx="46">
                  <c:v>0.3331228291758762</c:v>
                </c:pt>
                <c:pt idx="47">
                  <c:v>0.34008594229588707</c:v>
                </c:pt>
                <c:pt idx="48">
                  <c:v>0.3455768235902742</c:v>
                </c:pt>
                <c:pt idx="49">
                  <c:v>0.37195876288659796</c:v>
                </c:pt>
                <c:pt idx="50">
                  <c:v>0.3952715182859254</c:v>
                </c:pt>
                <c:pt idx="51">
                  <c:v>0.380819566616605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0669462293129315</c:v>
                </c:pt>
              </c:numCache>
            </c:numRef>
          </c:xVal>
          <c:yVal>
            <c:numRef>
              <c:f>Sheet1!$B$163:$B$164</c:f>
              <c:numCache>
                <c:formatCode>General</c:formatCode>
                <c:ptCount val="2"/>
                <c:pt idx="0">
                  <c:v>0.3734066678448509</c:v>
                </c:pt>
                <c:pt idx="1">
                  <c:v>0.373406667844850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0669462293129315</c:v>
                </c:pt>
                <c:pt idx="1">
                  <c:v>-0.20669462293129315</c:v>
                </c:pt>
              </c:numCache>
            </c:numRef>
          </c:xVal>
          <c:yVal>
            <c:numRef>
              <c:f>Sheet1!$B$167:$B$168</c:f>
              <c:numCache>
                <c:formatCode>General</c:formatCode>
                <c:ptCount val="2"/>
                <c:pt idx="0">
                  <c:v>0.373406667844850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0669462293129315</c:v>
                </c:pt>
              </c:numCache>
            </c:numRef>
          </c:xVal>
          <c:yVal>
            <c:numRef>
              <c:f>Sheet1!$B$171:$B$172</c:f>
              <c:numCache>
                <c:formatCode>General</c:formatCode>
                <c:ptCount val="2"/>
                <c:pt idx="0">
                  <c:v>0.3734066678448509</c:v>
                </c:pt>
                <c:pt idx="1">
                  <c:v>0.373406667844850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0669462293129315</c:v>
                </c:pt>
                <c:pt idx="1">
                  <c:v>-0.20669462293129315</c:v>
                </c:pt>
              </c:numCache>
            </c:numRef>
          </c:xVal>
          <c:yVal>
            <c:numRef>
              <c:f>Sheet1!$B$175:$B$176</c:f>
              <c:numCache>
                <c:formatCode>General</c:formatCode>
                <c:ptCount val="2"/>
                <c:pt idx="0">
                  <c:v>0.373406667844850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9902438133207084</c:v>
                </c:pt>
              </c:numCache>
            </c:numRef>
          </c:xVal>
          <c:yVal>
            <c:numRef>
              <c:f>Sheet1!$B$179:$B$180</c:f>
              <c:numCache>
                <c:formatCode>General</c:formatCode>
                <c:ptCount val="2"/>
                <c:pt idx="0">
                  <c:v>0.34729639871815043</c:v>
                </c:pt>
                <c:pt idx="1">
                  <c:v>0.3472963987181504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9902438133207084</c:v>
                </c:pt>
                <c:pt idx="1">
                  <c:v>0.09902438133207084</c:v>
                </c:pt>
              </c:numCache>
            </c:numRef>
          </c:xVal>
          <c:yVal>
            <c:numRef>
              <c:f>Sheet1!$B$183:$B$184</c:f>
              <c:numCache>
                <c:formatCode>General</c:formatCode>
                <c:ptCount val="2"/>
                <c:pt idx="0">
                  <c:v>0.3472963987181504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0427858830943751</c:v>
                </c:pt>
                <c:pt idx="1">
                  <c:v>0.2031014891258963</c:v>
                </c:pt>
                <c:pt idx="2">
                  <c:v>0.21801532337164753</c:v>
                </c:pt>
                <c:pt idx="3">
                  <c:v>0.21449712633318582</c:v>
                </c:pt>
                <c:pt idx="4">
                  <c:v>0.20995030506458498</c:v>
                </c:pt>
                <c:pt idx="5">
                  <c:v>0.21317404716133692</c:v>
                </c:pt>
                <c:pt idx="6">
                  <c:v>0.19697104136673918</c:v>
                </c:pt>
                <c:pt idx="7">
                  <c:v>0.18939175640021685</c:v>
                </c:pt>
                <c:pt idx="8">
                  <c:v>0.19093744168108123</c:v>
                </c:pt>
                <c:pt idx="9">
                  <c:v>0.1629619654436045</c:v>
                </c:pt>
                <c:pt idx="10">
                  <c:v>0.17532137256393707</c:v>
                </c:pt>
                <c:pt idx="11">
                  <c:v>0.18074563541241478</c:v>
                </c:pt>
                <c:pt idx="12">
                  <c:v>0.1794625130957507</c:v>
                </c:pt>
                <c:pt idx="13">
                  <c:v>0.1618658598420154</c:v>
                </c:pt>
                <c:pt idx="14">
                  <c:v>0.17391780997983056</c:v>
                </c:pt>
                <c:pt idx="15">
                  <c:v>0.16791345219824913</c:v>
                </c:pt>
                <c:pt idx="16">
                  <c:v>0.1890293954083937</c:v>
                </c:pt>
                <c:pt idx="17">
                  <c:v>0.18899838842703082</c:v>
                </c:pt>
                <c:pt idx="18">
                  <c:v>0.20361925527874294</c:v>
                </c:pt>
                <c:pt idx="19">
                  <c:v>0.1926620063087762</c:v>
                </c:pt>
                <c:pt idx="20">
                  <c:v>0.20232693938833698</c:v>
                </c:pt>
                <c:pt idx="21">
                  <c:v>0.18086339751067543</c:v>
                </c:pt>
                <c:pt idx="22">
                  <c:v>0.17284341693375735</c:v>
                </c:pt>
                <c:pt idx="23">
                  <c:v>0.15823398762067215</c:v>
                </c:pt>
                <c:pt idx="24">
                  <c:v>0.15755567608604062</c:v>
                </c:pt>
                <c:pt idx="25">
                  <c:v>0.14599044084392476</c:v>
                </c:pt>
                <c:pt idx="26">
                  <c:v>0.14247392194756123</c:v>
                </c:pt>
                <c:pt idx="27">
                  <c:v>0.15743296304891335</c:v>
                </c:pt>
                <c:pt idx="28">
                  <c:v>0.15979990516284234</c:v>
                </c:pt>
                <c:pt idx="29">
                  <c:v>0.1696537350257884</c:v>
                </c:pt>
                <c:pt idx="30">
                  <c:v>0.17700309788898191</c:v>
                </c:pt>
                <c:pt idx="31">
                  <c:v>0.16155540526693307</c:v>
                </c:pt>
                <c:pt idx="32">
                  <c:v>0.15471874162674198</c:v>
                </c:pt>
                <c:pt idx="33">
                  <c:v>0.16686980901281528</c:v>
                </c:pt>
                <c:pt idx="34">
                  <c:v>0.17030840047429388</c:v>
                </c:pt>
                <c:pt idx="35">
                  <c:v>0.17390323628605572</c:v>
                </c:pt>
                <c:pt idx="36">
                  <c:v>0.16463762013822975</c:v>
                </c:pt>
                <c:pt idx="37">
                  <c:v>0.176063967946068</c:v>
                </c:pt>
                <c:pt idx="38">
                  <c:v>0.1739547365345277</c:v>
                </c:pt>
                <c:pt idx="39">
                  <c:v>0.20079738291911253</c:v>
                </c:pt>
                <c:pt idx="40">
                  <c:v>0.20855262554721862</c:v>
                </c:pt>
                <c:pt idx="41">
                  <c:v>0.19540075964789982</c:v>
                </c:pt>
                <c:pt idx="42">
                  <c:v>0.16109449827542485</c:v>
                </c:pt>
                <c:pt idx="43">
                  <c:v>0.16947421562453707</c:v>
                </c:pt>
                <c:pt idx="44">
                  <c:v>0.1814980004039588</c:v>
                </c:pt>
                <c:pt idx="45">
                  <c:v>0.17747090545298128</c:v>
                </c:pt>
                <c:pt idx="46">
                  <c:v>0.18075871929934298</c:v>
                </c:pt>
                <c:pt idx="47">
                  <c:v>0.18072133882049438</c:v>
                </c:pt>
                <c:pt idx="48">
                  <c:v>0.18029933341617724</c:v>
                </c:pt>
                <c:pt idx="49">
                  <c:v>0.16448987480971458</c:v>
                </c:pt>
                <c:pt idx="50">
                  <c:v>0.16105599656234887</c:v>
                </c:pt>
                <c:pt idx="51">
                  <c:v>0.16804743910336495</c:v>
                </c:pt>
                <c:pt idx="52">
                  <c:v>-0.20669462293129315</c:v>
                </c:pt>
                <c:pt idx="53">
                  <c:v>-0.20669462293129315</c:v>
                </c:pt>
                <c:pt idx="54">
                  <c:v>0.09902438133207084</c:v>
                </c:pt>
              </c:numCache>
            </c:numRef>
          </c:xVal>
          <c:yVal>
            <c:numRef>
              <c:f>Sheet1!$B$187:$B$241</c:f>
              <c:numCache>
                <c:formatCode>General</c:formatCode>
                <c:ptCount val="55"/>
                <c:pt idx="0">
                  <c:v>0.33830704695207897</c:v>
                </c:pt>
                <c:pt idx="1">
                  <c:v>0.338407578407574</c:v>
                </c:pt>
                <c:pt idx="2">
                  <c:v>0.33713384592631773</c:v>
                </c:pt>
                <c:pt idx="3">
                  <c:v>0.3374343214290963</c:v>
                </c:pt>
                <c:pt idx="4">
                  <c:v>0.33782264772003207</c:v>
                </c:pt>
                <c:pt idx="5">
                  <c:v>0.33754732046668035</c:v>
                </c:pt>
                <c:pt idx="6">
                  <c:v>0.3389311560675381</c:v>
                </c:pt>
                <c:pt idx="7">
                  <c:v>0.3395784732689685</c:v>
                </c:pt>
                <c:pt idx="8">
                  <c:v>0.3394464623108477</c:v>
                </c:pt>
                <c:pt idx="9">
                  <c:v>0.3418357387487589</c:v>
                </c:pt>
                <c:pt idx="10">
                  <c:v>0.34078016993668614</c:v>
                </c:pt>
                <c:pt idx="11">
                  <c:v>0.3403169047787711</c:v>
                </c:pt>
                <c:pt idx="12">
                  <c:v>0.3404264912570186</c:v>
                </c:pt>
                <c:pt idx="13">
                  <c:v>0.3419293528579561</c:v>
                </c:pt>
                <c:pt idx="14">
                  <c:v>0.3409000427489619</c:v>
                </c:pt>
                <c:pt idx="15">
                  <c:v>0.34141285155516565</c:v>
                </c:pt>
                <c:pt idx="16">
                  <c:v>0.3396094211095855</c:v>
                </c:pt>
                <c:pt idx="17">
                  <c:v>0.33961206929506593</c:v>
                </c:pt>
                <c:pt idx="18">
                  <c:v>0.33836335801758516</c:v>
                </c:pt>
                <c:pt idx="19">
                  <c:v>0.3392991739645965</c:v>
                </c:pt>
                <c:pt idx="20">
                  <c:v>0.3384737296831495</c:v>
                </c:pt>
                <c:pt idx="21">
                  <c:v>0.34030684717673904</c:v>
                </c:pt>
                <c:pt idx="22">
                  <c:v>0.3409918024733808</c:v>
                </c:pt>
                <c:pt idx="23">
                  <c:v>0.3422395369152461</c:v>
                </c:pt>
                <c:pt idx="24">
                  <c:v>0.3422974688608366</c:v>
                </c:pt>
                <c:pt idx="25">
                  <c:v>0.3432852105467447</c:v>
                </c:pt>
                <c:pt idx="26">
                  <c:v>0.34358554272594444</c:v>
                </c:pt>
                <c:pt idx="27">
                  <c:v>0.34230794930326924</c:v>
                </c:pt>
                <c:pt idx="28">
                  <c:v>0.3421057979985085</c:v>
                </c:pt>
                <c:pt idx="29">
                  <c:v>0.3412642207787011</c:v>
                </c:pt>
                <c:pt idx="30">
                  <c:v>0.34063654032838</c:v>
                </c:pt>
                <c:pt idx="31">
                  <c:v>0.3419558675737375</c:v>
                </c:pt>
                <c:pt idx="32">
                  <c:v>0.34253976038080797</c:v>
                </c:pt>
                <c:pt idx="33">
                  <c:v>0.3415019850537834</c:v>
                </c:pt>
                <c:pt idx="34">
                  <c:v>0.3412083083532056</c:v>
                </c:pt>
                <c:pt idx="35">
                  <c:v>0.34090128743137066</c:v>
                </c:pt>
                <c:pt idx="36">
                  <c:v>0.3416926276093467</c:v>
                </c:pt>
                <c:pt idx="37">
                  <c:v>0.3407167477581193</c:v>
                </c:pt>
                <c:pt idx="38">
                  <c:v>0.3408968889957846</c:v>
                </c:pt>
                <c:pt idx="39">
                  <c:v>0.33860436314230313</c:v>
                </c:pt>
                <c:pt idx="40">
                  <c:v>0.33794201808249696</c:v>
                </c:pt>
                <c:pt idx="41">
                  <c:v>0.33906526771160295</c:v>
                </c:pt>
                <c:pt idx="42">
                  <c:v>0.3419952318442697</c:v>
                </c:pt>
                <c:pt idx="43">
                  <c:v>0.341279552831386</c:v>
                </c:pt>
                <c:pt idx="44">
                  <c:v>0.3402526482159249</c:v>
                </c:pt>
                <c:pt idx="45">
                  <c:v>0.3405965867068347</c:v>
                </c:pt>
                <c:pt idx="46">
                  <c:v>0.34031578733496104</c:v>
                </c:pt>
                <c:pt idx="47">
                  <c:v>0.3403189798560317</c:v>
                </c:pt>
                <c:pt idx="48">
                  <c:v>0.3403550216935557</c:v>
                </c:pt>
                <c:pt idx="49">
                  <c:v>0.3417052459622654</c:v>
                </c:pt>
                <c:pt idx="50">
                  <c:v>0.3419985201255876</c:v>
                </c:pt>
                <c:pt idx="51">
                  <c:v>0.34140140825558907</c:v>
                </c:pt>
                <c:pt idx="52">
                  <c:v>0.3734066678448509</c:v>
                </c:pt>
                <c:pt idx="53">
                  <c:v>0.3734066678448509</c:v>
                </c:pt>
                <c:pt idx="54">
                  <c:v>0.347296398718150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977900552486187"/>
          <c:min val="0.21820788530465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44.3465</c:v>
                </c:pt>
                <c:pt idx="1">
                  <c:v>983.2597</c:v>
                </c:pt>
                <c:pt idx="2">
                  <c:v>998.5087</c:v>
                </c:pt>
                <c:pt idx="3">
                  <c:v>1012.6181</c:v>
                </c:pt>
                <c:pt idx="4">
                  <c:v>958.2074</c:v>
                </c:pt>
                <c:pt idx="5">
                  <c:v>947.8816</c:v>
                </c:pt>
                <c:pt idx="6">
                  <c:v>969.8739</c:v>
                </c:pt>
                <c:pt idx="7">
                  <c:v>965.8944</c:v>
                </c:pt>
                <c:pt idx="8">
                  <c:v>980.3386</c:v>
                </c:pt>
                <c:pt idx="9">
                  <c:v>927.0812</c:v>
                </c:pt>
                <c:pt idx="10">
                  <c:v>921.3132</c:v>
                </c:pt>
                <c:pt idx="11">
                  <c:v>918.6402</c:v>
                </c:pt>
                <c:pt idx="12">
                  <c:v>942.9454</c:v>
                </c:pt>
                <c:pt idx="13">
                  <c:v>969.1503</c:v>
                </c:pt>
                <c:pt idx="14">
                  <c:v>1054.3419</c:v>
                </c:pt>
                <c:pt idx="15">
                  <c:v>1071.0894</c:v>
                </c:pt>
                <c:pt idx="16">
                  <c:v>1042.0557</c:v>
                </c:pt>
                <c:pt idx="17">
                  <c:v>1029.1044</c:v>
                </c:pt>
                <c:pt idx="18">
                  <c:v>1087.5894</c:v>
                </c:pt>
                <c:pt idx="19">
                  <c:v>1093.2423</c:v>
                </c:pt>
                <c:pt idx="20">
                  <c:v>1111.2164</c:v>
                </c:pt>
                <c:pt idx="21">
                  <c:v>1111.6517</c:v>
                </c:pt>
                <c:pt idx="22">
                  <c:v>1128.5151</c:v>
                </c:pt>
                <c:pt idx="23">
                  <c:v>1121.8747</c:v>
                </c:pt>
                <c:pt idx="24">
                  <c:v>1121.3757</c:v>
                </c:pt>
                <c:pt idx="25">
                  <c:v>1124.7069</c:v>
                </c:pt>
                <c:pt idx="26">
                  <c:v>1133.9502</c:v>
                </c:pt>
                <c:pt idx="27">
                  <c:v>1116.0</c:v>
                </c:pt>
                <c:pt idx="28">
                  <c:v>1118.2388</c:v>
                </c:pt>
                <c:pt idx="29">
                  <c:v>1146.3238</c:v>
                </c:pt>
                <c:pt idx="30">
                  <c:v>1152.9823</c:v>
                </c:pt>
                <c:pt idx="31">
                  <c:v>1155.6693</c:v>
                </c:pt>
                <c:pt idx="32">
                  <c:v>1150.5319</c:v>
                </c:pt>
                <c:pt idx="33">
                  <c:v>1137.285</c:v>
                </c:pt>
                <c:pt idx="34">
                  <c:v>1128.8686</c:v>
                </c:pt>
                <c:pt idx="35">
                  <c:v>1134.011</c:v>
                </c:pt>
                <c:pt idx="36">
                  <c:v>1142.6291</c:v>
                </c:pt>
                <c:pt idx="37">
                  <c:v>1153.573</c:v>
                </c:pt>
                <c:pt idx="38">
                  <c:v>1152.528</c:v>
                </c:pt>
                <c:pt idx="39">
                  <c:v>1205.3019</c:v>
                </c:pt>
                <c:pt idx="40">
                  <c:v>1219.2845</c:v>
                </c:pt>
                <c:pt idx="41">
                  <c:v>1237.3582</c:v>
                </c:pt>
                <c:pt idx="42">
                  <c:v>1244.3919</c:v>
                </c:pt>
                <c:pt idx="43">
                  <c:v>1250.4413</c:v>
                </c:pt>
                <c:pt idx="44">
                  <c:v>1259.6667</c:v>
                </c:pt>
                <c:pt idx="45">
                  <c:v>1247.6091</c:v>
                </c:pt>
                <c:pt idx="46">
                  <c:v>1188.4625</c:v>
                </c:pt>
                <c:pt idx="47">
                  <c:v>1183.6277</c:v>
                </c:pt>
                <c:pt idx="48">
                  <c:v>1134.5962</c:v>
                </c:pt>
                <c:pt idx="49">
                  <c:v>1036.0323</c:v>
                </c:pt>
                <c:pt idx="50">
                  <c:v>1063.233</c:v>
                </c:pt>
                <c:pt idx="51">
                  <c:v>1030.3646</c:v>
                </c:pt>
                <c:pt idx="52">
                  <c:v>1004.2829</c:v>
                </c:pt>
                <c:pt idx="53">
                  <c:v>1254.4518</c:v>
                </c:pt>
                <c:pt idx="54">
                  <c:v>1243.3401</c:v>
                </c:pt>
                <c:pt idx="55">
                  <c:v>1246.2669</c:v>
                </c:pt>
                <c:pt idx="56">
                  <c:v>1251.4561</c:v>
                </c:pt>
                <c:pt idx="57">
                  <c:v>1262.0184</c:v>
                </c:pt>
                <c:pt idx="58">
                  <c:v>1258.7824</c:v>
                </c:pt>
                <c:pt idx="59">
                  <c:v>1252.5043</c:v>
                </c:pt>
                <c:pt idx="60">
                  <c:v>1261.0249</c:v>
                </c:pt>
                <c:pt idx="61">
                  <c:v>1197.8132</c:v>
                </c:pt>
                <c:pt idx="62">
                  <c:v>1080.0147</c:v>
                </c:pt>
                <c:pt idx="63">
                  <c:v>1083.3329</c:v>
                </c:pt>
                <c:pt idx="64">
                  <c:v>1085.7173</c:v>
                </c:pt>
                <c:pt idx="65">
                  <c:v>1096.1979</c:v>
                </c:pt>
                <c:pt idx="66">
                  <c:v>1241.9718</c:v>
                </c:pt>
                <c:pt idx="67">
                  <c:v>1261.5555</c:v>
                </c:pt>
                <c:pt idx="68">
                  <c:v>1249.3041</c:v>
                </c:pt>
                <c:pt idx="69">
                  <c:v>1282.0972</c:v>
                </c:pt>
                <c:pt idx="70">
                  <c:v>1274.1268</c:v>
                </c:pt>
                <c:pt idx="71">
                  <c:v>1270.9449</c:v>
                </c:pt>
                <c:pt idx="72">
                  <c:v>1294.1253</c:v>
                </c:pt>
                <c:pt idx="73">
                  <c:v>1271.1309</c:v>
                </c:pt>
                <c:pt idx="74">
                  <c:v>1299.1777</c:v>
                </c:pt>
                <c:pt idx="75">
                  <c:v>1276.8991</c:v>
                </c:pt>
                <c:pt idx="76">
                  <c:v>1232.9392</c:v>
                </c:pt>
                <c:pt idx="77">
                  <c:v>1217.9106</c:v>
                </c:pt>
                <c:pt idx="78">
                  <c:v>1247.1802</c:v>
                </c:pt>
                <c:pt idx="79">
                  <c:v>1293.2941</c:v>
                </c:pt>
                <c:pt idx="80">
                  <c:v>1303.5206</c:v>
                </c:pt>
                <c:pt idx="81">
                  <c:v>1337.5946</c:v>
                </c:pt>
                <c:pt idx="82">
                  <c:v>1357.299</c:v>
                </c:pt>
                <c:pt idx="83">
                  <c:v>1367.6755</c:v>
                </c:pt>
                <c:pt idx="84">
                  <c:v>1367.041</c:v>
                </c:pt>
                <c:pt idx="85">
                  <c:v>1360.1804</c:v>
                </c:pt>
                <c:pt idx="86">
                  <c:v>1360.7093</c:v>
                </c:pt>
                <c:pt idx="87">
                  <c:v>1351.2448</c:v>
                </c:pt>
                <c:pt idx="88">
                  <c:v>1376.0153</c:v>
                </c:pt>
                <c:pt idx="89">
                  <c:v>1389.1494</c:v>
                </c:pt>
                <c:pt idx="90">
                  <c:v>1387.5711</c:v>
                </c:pt>
                <c:pt idx="91">
                  <c:v>1367.3523</c:v>
                </c:pt>
                <c:pt idx="92">
                  <c:v>1370.0738</c:v>
                </c:pt>
                <c:pt idx="93">
                  <c:v>1359.9005</c:v>
                </c:pt>
                <c:pt idx="94">
                  <c:v>1388.4075</c:v>
                </c:pt>
                <c:pt idx="95">
                  <c:v>1369.1558</c:v>
                </c:pt>
                <c:pt idx="96">
                  <c:v>1244.5532</c:v>
                </c:pt>
                <c:pt idx="97">
                  <c:v>1288.9495</c:v>
                </c:pt>
                <c:pt idx="98">
                  <c:v>1233.9533</c:v>
                </c:pt>
                <c:pt idx="99">
                  <c:v>1224.1332</c:v>
                </c:pt>
                <c:pt idx="100">
                  <c:v>1105.2917</c:v>
                </c:pt>
                <c:pt idx="101">
                  <c:v>1326.8797</c:v>
                </c:pt>
                <c:pt idx="102">
                  <c:v>1306.8112</c:v>
                </c:pt>
                <c:pt idx="103">
                  <c:v>1221.7936</c:v>
                </c:pt>
                <c:pt idx="104">
                  <c:v>1203.5345</c:v>
                </c:pt>
              </c:numCache>
            </c:numRef>
          </c:xVal>
          <c:yVal>
            <c:numRef>
              <c:f>Sheet1!$B$2:$B$106</c:f>
              <c:numCache>
                <c:formatCode>General</c:formatCode>
                <c:ptCount val="105"/>
                <c:pt idx="0">
                  <c:v>0.3211839530332681</c:v>
                </c:pt>
                <c:pt idx="1">
                  <c:v>0.3290645879732739</c:v>
                </c:pt>
                <c:pt idx="2">
                  <c:v>0.3272519954389966</c:v>
                </c:pt>
                <c:pt idx="3">
                  <c:v>0.3375250071448985</c:v>
                </c:pt>
                <c:pt idx="4">
                  <c:v>0.38388324873096447</c:v>
                </c:pt>
                <c:pt idx="5">
                  <c:v>0.3635025754231052</c:v>
                </c:pt>
                <c:pt idx="6">
                  <c:v>0.39022711631108054</c:v>
                </c:pt>
                <c:pt idx="7">
                  <c:v>0.38578274760383385</c:v>
                </c:pt>
                <c:pt idx="8">
                  <c:v>0.36801242236024845</c:v>
                </c:pt>
                <c:pt idx="9">
                  <c:v>0.36969278564031754</c:v>
                </c:pt>
                <c:pt idx="10">
                  <c:v>0.3552278820375335</c:v>
                </c:pt>
                <c:pt idx="11">
                  <c:v>0.35420619860847563</c:v>
                </c:pt>
                <c:pt idx="12">
                  <c:v>0.3315962698848053</c:v>
                </c:pt>
                <c:pt idx="13">
                  <c:v>0.3220499841822208</c:v>
                </c:pt>
                <c:pt idx="14">
                  <c:v>0.2848081192515065</c:v>
                </c:pt>
                <c:pt idx="15">
                  <c:v>0.27275985663082436</c:v>
                </c:pt>
                <c:pt idx="16">
                  <c:v>0.2991666666666667</c:v>
                </c:pt>
                <c:pt idx="17">
                  <c:v>0.3005159071367154</c:v>
                </c:pt>
                <c:pt idx="18">
                  <c:v>0.2838640043173233</c:v>
                </c:pt>
                <c:pt idx="19">
                  <c:v>0.28972559029993616</c:v>
                </c:pt>
                <c:pt idx="20">
                  <c:v>0.3336380255941499</c:v>
                </c:pt>
                <c:pt idx="21">
                  <c:v>0.31283710895361383</c:v>
                </c:pt>
                <c:pt idx="22">
                  <c:v>0.28695114409400124</c:v>
                </c:pt>
                <c:pt idx="23">
                  <c:v>0.3183279742765273</c:v>
                </c:pt>
                <c:pt idx="24">
                  <c:v>0.32073242764323684</c:v>
                </c:pt>
                <c:pt idx="25">
                  <c:v>0.3070054945054945</c:v>
                </c:pt>
                <c:pt idx="26">
                  <c:v>0.3047722342733189</c:v>
                </c:pt>
                <c:pt idx="27">
                  <c:v>0.3338879645036051</c:v>
                </c:pt>
                <c:pt idx="28">
                  <c:v>0.3575757575757576</c:v>
                </c:pt>
                <c:pt idx="29">
                  <c:v>0.3470343392299688</c:v>
                </c:pt>
                <c:pt idx="30">
                  <c:v>0.35074626865671643</c:v>
                </c:pt>
                <c:pt idx="31">
                  <c:v>0.32413350449293965</c:v>
                </c:pt>
                <c:pt idx="32">
                  <c:v>0.33804713804713804</c:v>
                </c:pt>
                <c:pt idx="33">
                  <c:v>0.33658816771970135</c:v>
                </c:pt>
                <c:pt idx="34">
                  <c:v>0.3556910569105691</c:v>
                </c:pt>
                <c:pt idx="35">
                  <c:v>0.40814917127071826</c:v>
                </c:pt>
                <c:pt idx="36">
                  <c:v>0.36666666666666664</c:v>
                </c:pt>
                <c:pt idx="37">
                  <c:v>0.3577512776831346</c:v>
                </c:pt>
                <c:pt idx="38">
                  <c:v>0.3481561822125813</c:v>
                </c:pt>
                <c:pt idx="39">
                  <c:v>0.35109532267613974</c:v>
                </c:pt>
                <c:pt idx="40">
                  <c:v>0.3428981348637016</c:v>
                </c:pt>
                <c:pt idx="41">
                  <c:v>0.33997844827586204</c:v>
                </c:pt>
                <c:pt idx="42">
                  <c:v>0.33835557468790356</c:v>
                </c:pt>
                <c:pt idx="43">
                  <c:v>0.32887899034892354</c:v>
                </c:pt>
                <c:pt idx="44">
                  <c:v>0.3158808215215505</c:v>
                </c:pt>
                <c:pt idx="45">
                  <c:v>0.3094381400498201</c:v>
                </c:pt>
                <c:pt idx="46">
                  <c:v>0.3142308746915273</c:v>
                </c:pt>
                <c:pt idx="47">
                  <c:v>0.3241020016451878</c:v>
                </c:pt>
                <c:pt idx="48">
                  <c:v>0.31876503608660783</c:v>
                </c:pt>
                <c:pt idx="49">
                  <c:v>0.33740478066719204</c:v>
                </c:pt>
                <c:pt idx="50">
                  <c:v>0.3289984029203742</c:v>
                </c:pt>
                <c:pt idx="51">
                  <c:v>0.34895287958115184</c:v>
                </c:pt>
                <c:pt idx="52">
                  <c:v>0.34059488898198576</c:v>
                </c:pt>
                <c:pt idx="53">
                  <c:v>0.33534560821008147</c:v>
                </c:pt>
                <c:pt idx="54">
                  <c:v>0.34808853118712274</c:v>
                </c:pt>
                <c:pt idx="55">
                  <c:v>0.3515456506110712</c:v>
                </c:pt>
                <c:pt idx="56">
                  <c:v>0.34055829228243023</c:v>
                </c:pt>
                <c:pt idx="57">
                  <c:v>0.3215845290081098</c:v>
                </c:pt>
                <c:pt idx="58">
                  <c:v>0.31510272071071627</c:v>
                </c:pt>
                <c:pt idx="59">
                  <c:v>0.2907285942208828</c:v>
                </c:pt>
                <c:pt idx="60">
                  <c:v>0.29194630872483224</c:v>
                </c:pt>
                <c:pt idx="61">
                  <c:v>0.3184</c:v>
                </c:pt>
                <c:pt idx="62">
                  <c:v>0.36620856911883587</c:v>
                </c:pt>
                <c:pt idx="63">
                  <c:v>0.3611436606515116</c:v>
                </c:pt>
                <c:pt idx="64">
                  <c:v>0.3704206241519674</c:v>
                </c:pt>
                <c:pt idx="65">
                  <c:v>0.3682058682058682</c:v>
                </c:pt>
                <c:pt idx="66">
                  <c:v>0.36459782911216254</c:v>
                </c:pt>
                <c:pt idx="67">
                  <c:v>0.3521528371827773</c:v>
                </c:pt>
                <c:pt idx="68">
                  <c:v>0.35290031260854465</c:v>
                </c:pt>
                <c:pt idx="69">
                  <c:v>0.3271889400921659</c:v>
                </c:pt>
                <c:pt idx="70">
                  <c:v>0.3154153709462461</c:v>
                </c:pt>
                <c:pt idx="71">
                  <c:v>0.3262921348314607</c:v>
                </c:pt>
                <c:pt idx="72">
                  <c:v>0.3367139959432049</c:v>
                </c:pt>
                <c:pt idx="73">
                  <c:v>0.34083469721767595</c:v>
                </c:pt>
                <c:pt idx="74">
                  <c:v>0.31403581840899625</c:v>
                </c:pt>
                <c:pt idx="75">
                  <c:v>0.3452868852459016</c:v>
                </c:pt>
                <c:pt idx="76">
                  <c:v>0.3379019504480759</c:v>
                </c:pt>
                <c:pt idx="77">
                  <c:v>0.3405036726128017</c:v>
                </c:pt>
                <c:pt idx="78">
                  <c:v>0.34304399524375745</c:v>
                </c:pt>
                <c:pt idx="79">
                  <c:v>0.35051546391752575</c:v>
                </c:pt>
                <c:pt idx="80">
                  <c:v>0.3508137432188065</c:v>
                </c:pt>
                <c:pt idx="81">
                  <c:v>0.35431472081218274</c:v>
                </c:pt>
                <c:pt idx="82">
                  <c:v>0.36081835089894604</c:v>
                </c:pt>
                <c:pt idx="83">
                  <c:v>0.32885375494071145</c:v>
                </c:pt>
                <c:pt idx="84">
                  <c:v>0.3309409888357257</c:v>
                </c:pt>
                <c:pt idx="85">
                  <c:v>0.337442218798151</c:v>
                </c:pt>
                <c:pt idx="86">
                  <c:v>0.33616569304301647</c:v>
                </c:pt>
                <c:pt idx="87">
                  <c:v>0.37271937445699393</c:v>
                </c:pt>
                <c:pt idx="88">
                  <c:v>0.38057324840764334</c:v>
                </c:pt>
                <c:pt idx="89">
                  <c:v>0.34296977660972405</c:v>
                </c:pt>
                <c:pt idx="90">
                  <c:v>0.35236768802228413</c:v>
                </c:pt>
                <c:pt idx="91">
                  <c:v>0.32897196261682243</c:v>
                </c:pt>
                <c:pt idx="92">
                  <c:v>0.3502235469448584</c:v>
                </c:pt>
                <c:pt idx="93">
                  <c:v>0.30575368521160246</c:v>
                </c:pt>
                <c:pt idx="94">
                  <c:v>0.30345572354211664</c:v>
                </c:pt>
                <c:pt idx="95">
                  <c:v>0.30474840538625086</c:v>
                </c:pt>
                <c:pt idx="96">
                  <c:v>0.30848920863309354</c:v>
                </c:pt>
                <c:pt idx="97">
                  <c:v>0.3025210084033613</c:v>
                </c:pt>
                <c:pt idx="98">
                  <c:v>0.3256959314775161</c:v>
                </c:pt>
                <c:pt idx="99">
                  <c:v>0.33232749949708307</c:v>
                </c:pt>
                <c:pt idx="100">
                  <c:v>0.33509900365746</c:v>
                </c:pt>
                <c:pt idx="101">
                  <c:v>0.29024943310657597</c:v>
                </c:pt>
                <c:pt idx="102">
                  <c:v>0.28691275167785235</c:v>
                </c:pt>
                <c:pt idx="103">
                  <c:v>0.31928448909580986</c:v>
                </c:pt>
                <c:pt idx="104">
                  <c:v>0.3392520850147968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96.5562</c:v>
                </c:pt>
                <c:pt idx="1">
                  <c:v>1292.5669</c:v>
                </c:pt>
                <c:pt idx="2">
                  <c:v>1331.1289</c:v>
                </c:pt>
                <c:pt idx="3">
                  <c:v>1374.3963</c:v>
                </c:pt>
                <c:pt idx="4">
                  <c:v>1358.2423</c:v>
                </c:pt>
                <c:pt idx="5">
                  <c:v>1367.0126</c:v>
                </c:pt>
                <c:pt idx="6">
                  <c:v>1361.2348</c:v>
                </c:pt>
                <c:pt idx="7">
                  <c:v>1353.5533</c:v>
                </c:pt>
                <c:pt idx="8">
                  <c:v>1355.1383</c:v>
                </c:pt>
                <c:pt idx="9">
                  <c:v>1168.7412</c:v>
                </c:pt>
                <c:pt idx="10">
                  <c:v>1200.1647</c:v>
                </c:pt>
                <c:pt idx="11">
                  <c:v>1356.6221</c:v>
                </c:pt>
                <c:pt idx="12">
                  <c:v>1323.2803</c:v>
                </c:pt>
                <c:pt idx="13">
                  <c:v>1213.0875</c:v>
                </c:pt>
                <c:pt idx="14">
                  <c:v>1350.99</c:v>
                </c:pt>
                <c:pt idx="15">
                  <c:v>1257.2825</c:v>
                </c:pt>
                <c:pt idx="16">
                  <c:v>1369.6708</c:v>
                </c:pt>
                <c:pt idx="17">
                  <c:v>1384.1702</c:v>
                </c:pt>
                <c:pt idx="18">
                  <c:v>1447.4682</c:v>
                </c:pt>
                <c:pt idx="19">
                  <c:v>1421.7061</c:v>
                </c:pt>
                <c:pt idx="20">
                  <c:v>1324.4143</c:v>
                </c:pt>
                <c:pt idx="21">
                  <c:v>1351.9756</c:v>
                </c:pt>
                <c:pt idx="22">
                  <c:v>1330.5988</c:v>
                </c:pt>
                <c:pt idx="23">
                  <c:v>1164.3535</c:v>
                </c:pt>
                <c:pt idx="24">
                  <c:v>1113.9252</c:v>
                </c:pt>
                <c:pt idx="25">
                  <c:v>1177.4466</c:v>
                </c:pt>
                <c:pt idx="26">
                  <c:v>1234.8571</c:v>
                </c:pt>
                <c:pt idx="27">
                  <c:v>1323.2139</c:v>
                </c:pt>
                <c:pt idx="28">
                  <c:v>1381.6939</c:v>
                </c:pt>
                <c:pt idx="29">
                  <c:v>1379.053</c:v>
                </c:pt>
                <c:pt idx="30">
                  <c:v>1382.3706</c:v>
                </c:pt>
                <c:pt idx="31">
                  <c:v>1379.5418</c:v>
                </c:pt>
                <c:pt idx="32">
                  <c:v>1375.0313</c:v>
                </c:pt>
                <c:pt idx="33">
                  <c:v>1379.7774</c:v>
                </c:pt>
                <c:pt idx="34">
                  <c:v>1400.4034</c:v>
                </c:pt>
                <c:pt idx="35">
                  <c:v>1390.6682</c:v>
                </c:pt>
                <c:pt idx="36">
                  <c:v>1380.6145</c:v>
                </c:pt>
                <c:pt idx="37">
                  <c:v>1384.1709</c:v>
                </c:pt>
                <c:pt idx="38">
                  <c:v>1374.201</c:v>
                </c:pt>
                <c:pt idx="39">
                  <c:v>1436.072</c:v>
                </c:pt>
                <c:pt idx="40">
                  <c:v>1435.356</c:v>
                </c:pt>
                <c:pt idx="41">
                  <c:v>1435.9867</c:v>
                </c:pt>
                <c:pt idx="42">
                  <c:v>1421.9181</c:v>
                </c:pt>
                <c:pt idx="43">
                  <c:v>1399.1837</c:v>
                </c:pt>
                <c:pt idx="44">
                  <c:v>1347.8949</c:v>
                </c:pt>
                <c:pt idx="45">
                  <c:v>1349.7423</c:v>
                </c:pt>
                <c:pt idx="46">
                  <c:v>1355.9175</c:v>
                </c:pt>
                <c:pt idx="47">
                  <c:v>1342.6715</c:v>
                </c:pt>
                <c:pt idx="48">
                  <c:v>1266.0696</c:v>
                </c:pt>
                <c:pt idx="49">
                  <c:v>1221.3099</c:v>
                </c:pt>
                <c:pt idx="50">
                  <c:v>1167.8916</c:v>
                </c:pt>
                <c:pt idx="51">
                  <c:v>1211.2992</c:v>
                </c:pt>
              </c:numCache>
            </c:numRef>
          </c:xVal>
          <c:yVal>
            <c:numRef>
              <c:f>Sheet1!$B$109:$B$160</c:f>
              <c:numCache>
                <c:formatCode>General</c:formatCode>
                <c:ptCount val="52"/>
                <c:pt idx="0">
                  <c:v>0.38597376387487387</c:v>
                </c:pt>
                <c:pt idx="1">
                  <c:v>0.36996735582154516</c:v>
                </c:pt>
                <c:pt idx="2">
                  <c:v>0.369290573372206</c:v>
                </c:pt>
                <c:pt idx="3">
                  <c:v>0.35340802987861814</c:v>
                </c:pt>
                <c:pt idx="4">
                  <c:v>0.3486310299869622</c:v>
                </c:pt>
                <c:pt idx="5">
                  <c:v>0.33554200901139675</c:v>
                </c:pt>
                <c:pt idx="6">
                  <c:v>0.31037677578752315</c:v>
                </c:pt>
                <c:pt idx="7">
                  <c:v>0.30968317715305665</c:v>
                </c:pt>
                <c:pt idx="8">
                  <c:v>0.339142091152815</c:v>
                </c:pt>
                <c:pt idx="9">
                  <c:v>0.3269947800149142</c:v>
                </c:pt>
                <c:pt idx="10">
                  <c:v>0.3497191011235955</c:v>
                </c:pt>
                <c:pt idx="11">
                  <c:v>0.32680722891566266</c:v>
                </c:pt>
                <c:pt idx="12">
                  <c:v>0.3425669436749769</c:v>
                </c:pt>
                <c:pt idx="13">
                  <c:v>0.35397973950795947</c:v>
                </c:pt>
                <c:pt idx="14">
                  <c:v>0.3388681802778719</c:v>
                </c:pt>
                <c:pt idx="15">
                  <c:v>0.35957004160887657</c:v>
                </c:pt>
                <c:pt idx="16">
                  <c:v>0.32384769539078156</c:v>
                </c:pt>
                <c:pt idx="17">
                  <c:v>0.2963734889537307</c:v>
                </c:pt>
                <c:pt idx="18">
                  <c:v>0.3133997785160576</c:v>
                </c:pt>
                <c:pt idx="19">
                  <c:v>0.32736359850062474</c:v>
                </c:pt>
                <c:pt idx="20">
                  <c:v>0.32446555819477435</c:v>
                </c:pt>
                <c:pt idx="21">
                  <c:v>0.32302631578947366</c:v>
                </c:pt>
                <c:pt idx="22">
                  <c:v>0.32714468629961585</c:v>
                </c:pt>
                <c:pt idx="23">
                  <c:v>0.37890625</c:v>
                </c:pt>
                <c:pt idx="24">
                  <c:v>0.39558665231431644</c:v>
                </c:pt>
                <c:pt idx="25">
                  <c:v>0.35807860262008734</c:v>
                </c:pt>
                <c:pt idx="26">
                  <c:v>0.3331550802139037</c:v>
                </c:pt>
                <c:pt idx="27">
                  <c:v>0.29762506316321374</c:v>
                </c:pt>
                <c:pt idx="28">
                  <c:v>0.307035175879397</c:v>
                </c:pt>
                <c:pt idx="29">
                  <c:v>0.29418813660874776</c:v>
                </c:pt>
                <c:pt idx="30">
                  <c:v>0.30984204131227217</c:v>
                </c:pt>
                <c:pt idx="31">
                  <c:v>0.31198808637379</c:v>
                </c:pt>
                <c:pt idx="32">
                  <c:v>0.32629278951201746</c:v>
                </c:pt>
                <c:pt idx="33">
                  <c:v>0.3407455853499019</c:v>
                </c:pt>
                <c:pt idx="34">
                  <c:v>0.3766835016835017</c:v>
                </c:pt>
                <c:pt idx="35">
                  <c:v>0.3720328010358222</c:v>
                </c:pt>
                <c:pt idx="36">
                  <c:v>0.3546875</c:v>
                </c:pt>
                <c:pt idx="37">
                  <c:v>0.3618421052631579</c:v>
                </c:pt>
                <c:pt idx="38">
                  <c:v>0.31414868105515587</c:v>
                </c:pt>
                <c:pt idx="39">
                  <c:v>0.33967391304347827</c:v>
                </c:pt>
                <c:pt idx="40">
                  <c:v>0.3293347873500545</c:v>
                </c:pt>
                <c:pt idx="41">
                  <c:v>0.35184224182667356</c:v>
                </c:pt>
                <c:pt idx="42">
                  <c:v>0.34169096209912536</c:v>
                </c:pt>
                <c:pt idx="43">
                  <c:v>0.3394642143142743</c:v>
                </c:pt>
                <c:pt idx="44">
                  <c:v>0.32450331125827814</c:v>
                </c:pt>
                <c:pt idx="45">
                  <c:v>0.32150831059290497</c:v>
                </c:pt>
                <c:pt idx="46">
                  <c:v>0.3331228291758762</c:v>
                </c:pt>
                <c:pt idx="47">
                  <c:v>0.34008594229588707</c:v>
                </c:pt>
                <c:pt idx="48">
                  <c:v>0.3455768235902742</c:v>
                </c:pt>
                <c:pt idx="49">
                  <c:v>0.37195876288659796</c:v>
                </c:pt>
                <c:pt idx="50">
                  <c:v>0.3952715182859254</c:v>
                </c:pt>
                <c:pt idx="51">
                  <c:v>0.380819566616605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24.768082592046</c:v>
                </c:pt>
              </c:numCache>
            </c:numRef>
          </c:xVal>
          <c:yVal>
            <c:numRef>
              <c:f>Sheet1!$B$163:$B$164</c:f>
              <c:numCache>
                <c:formatCode>General</c:formatCode>
                <c:ptCount val="2"/>
                <c:pt idx="0">
                  <c:v>0.3734066678448509</c:v>
                </c:pt>
                <c:pt idx="1">
                  <c:v>0.373406667844850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24.768082592046</c:v>
                </c:pt>
                <c:pt idx="1">
                  <c:v>1124.768082592046</c:v>
                </c:pt>
              </c:numCache>
            </c:numRef>
          </c:xVal>
          <c:yVal>
            <c:numRef>
              <c:f>Sheet1!$B$167:$B$168</c:f>
              <c:numCache>
                <c:formatCode>General</c:formatCode>
                <c:ptCount val="2"/>
                <c:pt idx="0">
                  <c:v>0.373406667844850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4.768082592046</c:v>
                </c:pt>
              </c:numCache>
            </c:numRef>
          </c:xVal>
          <c:yVal>
            <c:numRef>
              <c:f>Sheet1!$B$171:$B$172</c:f>
              <c:numCache>
                <c:formatCode>General</c:formatCode>
                <c:ptCount val="2"/>
                <c:pt idx="0">
                  <c:v>0.3734066678448509</c:v>
                </c:pt>
                <c:pt idx="1">
                  <c:v>0.373406667844850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4.768082592046</c:v>
                </c:pt>
                <c:pt idx="1">
                  <c:v>1124.768082592046</c:v>
                </c:pt>
              </c:numCache>
            </c:numRef>
          </c:xVal>
          <c:yVal>
            <c:numRef>
              <c:f>Sheet1!$B$175:$B$176</c:f>
              <c:numCache>
                <c:formatCode>General</c:formatCode>
                <c:ptCount val="2"/>
                <c:pt idx="0">
                  <c:v>0.373406667844850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88.0561275057278</c:v>
                </c:pt>
              </c:numCache>
            </c:numRef>
          </c:xVal>
          <c:yVal>
            <c:numRef>
              <c:f>Sheet1!$B$179:$B$180</c:f>
              <c:numCache>
                <c:formatCode>General</c:formatCode>
                <c:ptCount val="2"/>
                <c:pt idx="0">
                  <c:v>0.34729639871815043</c:v>
                </c:pt>
                <c:pt idx="1">
                  <c:v>0.3472963987181504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88.0561275057278</c:v>
                </c:pt>
                <c:pt idx="1">
                  <c:v>1288.0561275057278</c:v>
                </c:pt>
              </c:numCache>
            </c:numRef>
          </c:xVal>
          <c:yVal>
            <c:numRef>
              <c:f>Sheet1!$B$183:$B$184</c:f>
              <c:numCache>
                <c:formatCode>General</c:formatCode>
                <c:ptCount val="2"/>
                <c:pt idx="0">
                  <c:v>0.3472963987181504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96.5562</c:v>
                </c:pt>
                <c:pt idx="1">
                  <c:v>1292.5669</c:v>
                </c:pt>
                <c:pt idx="2">
                  <c:v>1331.1289</c:v>
                </c:pt>
                <c:pt idx="3">
                  <c:v>1374.3963</c:v>
                </c:pt>
                <c:pt idx="4">
                  <c:v>1358.2423</c:v>
                </c:pt>
                <c:pt idx="5">
                  <c:v>1367.0126</c:v>
                </c:pt>
                <c:pt idx="6">
                  <c:v>1361.2348</c:v>
                </c:pt>
                <c:pt idx="7">
                  <c:v>1353.5533</c:v>
                </c:pt>
                <c:pt idx="8">
                  <c:v>1355.1383</c:v>
                </c:pt>
                <c:pt idx="9">
                  <c:v>1168.7412</c:v>
                </c:pt>
                <c:pt idx="10">
                  <c:v>1200.1647</c:v>
                </c:pt>
                <c:pt idx="11">
                  <c:v>1356.6221</c:v>
                </c:pt>
                <c:pt idx="12">
                  <c:v>1323.2803</c:v>
                </c:pt>
                <c:pt idx="13">
                  <c:v>1213.0875</c:v>
                </c:pt>
                <c:pt idx="14">
                  <c:v>1350.99</c:v>
                </c:pt>
                <c:pt idx="15">
                  <c:v>1257.2825</c:v>
                </c:pt>
                <c:pt idx="16">
                  <c:v>1369.6708</c:v>
                </c:pt>
                <c:pt idx="17">
                  <c:v>1384.1702</c:v>
                </c:pt>
                <c:pt idx="18">
                  <c:v>1447.4682</c:v>
                </c:pt>
                <c:pt idx="19">
                  <c:v>1421.7061</c:v>
                </c:pt>
                <c:pt idx="20">
                  <c:v>1324.4143</c:v>
                </c:pt>
                <c:pt idx="21">
                  <c:v>1351.9756</c:v>
                </c:pt>
                <c:pt idx="22">
                  <c:v>1330.5988</c:v>
                </c:pt>
                <c:pt idx="23">
                  <c:v>1164.3535</c:v>
                </c:pt>
                <c:pt idx="24">
                  <c:v>1113.9252</c:v>
                </c:pt>
                <c:pt idx="25">
                  <c:v>1177.4466</c:v>
                </c:pt>
                <c:pt idx="26">
                  <c:v>1234.8571</c:v>
                </c:pt>
                <c:pt idx="27">
                  <c:v>1323.2139</c:v>
                </c:pt>
                <c:pt idx="28">
                  <c:v>1381.6939</c:v>
                </c:pt>
                <c:pt idx="29">
                  <c:v>1379.053</c:v>
                </c:pt>
                <c:pt idx="30">
                  <c:v>1382.3706</c:v>
                </c:pt>
                <c:pt idx="31">
                  <c:v>1379.5418</c:v>
                </c:pt>
                <c:pt idx="32">
                  <c:v>1375.0313</c:v>
                </c:pt>
                <c:pt idx="33">
                  <c:v>1379.7774</c:v>
                </c:pt>
                <c:pt idx="34">
                  <c:v>1400.4034</c:v>
                </c:pt>
                <c:pt idx="35">
                  <c:v>1390.6682</c:v>
                </c:pt>
                <c:pt idx="36">
                  <c:v>1380.6145</c:v>
                </c:pt>
                <c:pt idx="37">
                  <c:v>1384.1709</c:v>
                </c:pt>
                <c:pt idx="38">
                  <c:v>1374.201</c:v>
                </c:pt>
                <c:pt idx="39">
                  <c:v>1436.072</c:v>
                </c:pt>
                <c:pt idx="40">
                  <c:v>1435.356</c:v>
                </c:pt>
                <c:pt idx="41">
                  <c:v>1435.9867</c:v>
                </c:pt>
                <c:pt idx="42">
                  <c:v>1421.9181</c:v>
                </c:pt>
                <c:pt idx="43">
                  <c:v>1399.1837</c:v>
                </c:pt>
                <c:pt idx="44">
                  <c:v>1347.8949</c:v>
                </c:pt>
                <c:pt idx="45">
                  <c:v>1349.7423</c:v>
                </c:pt>
                <c:pt idx="46">
                  <c:v>1355.9175</c:v>
                </c:pt>
                <c:pt idx="47">
                  <c:v>1342.6715</c:v>
                </c:pt>
                <c:pt idx="48">
                  <c:v>1266.0696</c:v>
                </c:pt>
                <c:pt idx="49">
                  <c:v>1221.3099</c:v>
                </c:pt>
                <c:pt idx="50">
                  <c:v>1167.8916</c:v>
                </c:pt>
                <c:pt idx="51">
                  <c:v>1211.2992</c:v>
                </c:pt>
                <c:pt idx="52">
                  <c:v>1124.768082592046</c:v>
                </c:pt>
                <c:pt idx="53">
                  <c:v>1124.768082592046</c:v>
                </c:pt>
                <c:pt idx="54">
                  <c:v>1288.0561275057278</c:v>
                </c:pt>
              </c:numCache>
            </c:numRef>
          </c:xVal>
          <c:yVal>
            <c:numRef>
              <c:f>Sheet1!$B$187:$B$241</c:f>
              <c:numCache>
                <c:formatCode>General</c:formatCode>
                <c:ptCount val="55"/>
                <c:pt idx="0">
                  <c:v>0.34593721053913074</c:v>
                </c:pt>
                <c:pt idx="1">
                  <c:v>0.3465751120871725</c:v>
                </c:pt>
                <c:pt idx="2">
                  <c:v>0.3404089276699601</c:v>
                </c:pt>
                <c:pt idx="3">
                  <c:v>0.3334903350748329</c:v>
                </c:pt>
                <c:pt idx="4">
                  <c:v>0.33607341020256615</c:v>
                </c:pt>
                <c:pt idx="5">
                  <c:v>0.334671011800142</c:v>
                </c:pt>
                <c:pt idx="6">
                  <c:v>0.3355949000923927</c:v>
                </c:pt>
                <c:pt idx="7">
                  <c:v>0.33682319596918375</c:v>
                </c:pt>
                <c:pt idx="8">
                  <c:v>0.3365697495114979</c:v>
                </c:pt>
                <c:pt idx="9">
                  <c:v>0.36637522882879425</c:v>
                </c:pt>
                <c:pt idx="10">
                  <c:v>0.36135051288993536</c:v>
                </c:pt>
                <c:pt idx="11">
                  <c:v>0.33633248525035325</c:v>
                </c:pt>
                <c:pt idx="12">
                  <c:v>0.3416639433594195</c:v>
                </c:pt>
                <c:pt idx="13">
                  <c:v>0.35928411674899996</c:v>
                </c:pt>
                <c:pt idx="14">
                  <c:v>0.33723307565687216</c:v>
                </c:pt>
                <c:pt idx="15">
                  <c:v>0.35221719801245355</c:v>
                </c:pt>
                <c:pt idx="16">
                  <c:v>0.334245957305618</c:v>
                </c:pt>
                <c:pt idx="17">
                  <c:v>0.33192745789327094</c:v>
                </c:pt>
                <c:pt idx="18">
                  <c:v>0.32180590970488054</c:v>
                </c:pt>
                <c:pt idx="19">
                  <c:v>0.32592535007557366</c:v>
                </c:pt>
                <c:pt idx="20">
                  <c:v>0.3414826132124064</c:v>
                </c:pt>
                <c:pt idx="21">
                  <c:v>0.33707547513403613</c:v>
                </c:pt>
                <c:pt idx="22">
                  <c:v>0.34049369231804794</c:v>
                </c:pt>
                <c:pt idx="23">
                  <c:v>0.36707683578298234</c:v>
                </c:pt>
                <c:pt idx="24">
                  <c:v>0.3751404786865276</c:v>
                </c:pt>
                <c:pt idx="25">
                  <c:v>0.36498320813936935</c:v>
                </c:pt>
                <c:pt idx="26">
                  <c:v>0.3558030896163578</c:v>
                </c:pt>
                <c:pt idx="27">
                  <c:v>0.34167456092711057</c:v>
                </c:pt>
                <c:pt idx="28">
                  <c:v>0.332323426008834</c:v>
                </c:pt>
                <c:pt idx="29">
                  <c:v>0.3327457141792457</c:v>
                </c:pt>
                <c:pt idx="30">
                  <c:v>0.3322152195621993</c:v>
                </c:pt>
                <c:pt idx="31">
                  <c:v>0.33266755353033917</c:v>
                </c:pt>
                <c:pt idx="32">
                  <c:v>0.33338879658863063</c:v>
                </c:pt>
                <c:pt idx="33">
                  <c:v>0.33262988035341123</c:v>
                </c:pt>
                <c:pt idx="34">
                  <c:v>0.32933171843780984</c:v>
                </c:pt>
                <c:pt idx="35">
                  <c:v>0.3308884073683229</c:v>
                </c:pt>
                <c:pt idx="36">
                  <c:v>0.33249602544506496</c:v>
                </c:pt>
                <c:pt idx="37">
                  <c:v>0.3319273459610814</c:v>
                </c:pt>
                <c:pt idx="38">
                  <c:v>0.33352156415570733</c:v>
                </c:pt>
                <c:pt idx="39">
                  <c:v>0.3236281977307982</c:v>
                </c:pt>
                <c:pt idx="40">
                  <c:v>0.32374268837035847</c:v>
                </c:pt>
                <c:pt idx="41">
                  <c:v>0.3236418374676061</c:v>
                </c:pt>
                <c:pt idx="42">
                  <c:v>0.3258914506124636</c:v>
                </c:pt>
                <c:pt idx="43">
                  <c:v>0.329526752282882</c:v>
                </c:pt>
                <c:pt idx="44">
                  <c:v>0.33772799182796587</c:v>
                </c:pt>
                <c:pt idx="45">
                  <c:v>0.3374325867895249</c:v>
                </c:pt>
                <c:pt idx="46">
                  <c:v>0.33644515299425576</c:v>
                </c:pt>
                <c:pt idx="47">
                  <c:v>0.3385632298261212</c:v>
                </c:pt>
                <c:pt idx="48">
                  <c:v>0.3508121132374811</c:v>
                </c:pt>
                <c:pt idx="49">
                  <c:v>0.35796932927034</c:v>
                </c:pt>
                <c:pt idx="50">
                  <c:v>0.366511082526239</c:v>
                </c:pt>
                <c:pt idx="51">
                  <c:v>0.35957007151258336</c:v>
                </c:pt>
                <c:pt idx="52">
                  <c:v>0.3734066678448509</c:v>
                </c:pt>
                <c:pt idx="53">
                  <c:v>0.3734066678448509</c:v>
                </c:pt>
                <c:pt idx="54">
                  <c:v>0.3472963987181504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37.0"/>
          <c:min val="73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977900552486187"/>
          <c:min val="0.21820788530465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974452812177546</c:v>
                </c:pt>
                <c:pt idx="1">
                  <c:v>1.0032298975479734</c:v>
                </c:pt>
                <c:pt idx="2">
                  <c:v>0.9678318403619457</c:v>
                </c:pt>
                <c:pt idx="3">
                  <c:v>0.9991695062467466</c:v>
                </c:pt>
                <c:pt idx="4">
                  <c:v>0.902990577766438</c:v>
                </c:pt>
                <c:pt idx="5">
                  <c:v>0.8358917001250982</c:v>
                </c:pt>
                <c:pt idx="6">
                  <c:v>0.8499533564975834</c:v>
                </c:pt>
                <c:pt idx="7">
                  <c:v>0.8394765220890512</c:v>
                </c:pt>
                <c:pt idx="8">
                  <c:v>0.8096564776997729</c:v>
                </c:pt>
                <c:pt idx="9">
                  <c:v>0.8368014896852878</c:v>
                </c:pt>
                <c:pt idx="10">
                  <c:v>0.8053307360813844</c:v>
                </c:pt>
                <c:pt idx="11">
                  <c:v>0.7322255132758032</c:v>
                </c:pt>
                <c:pt idx="12">
                  <c:v>0.7633234408444669</c:v>
                </c:pt>
                <c:pt idx="13">
                  <c:v>0.7683207732347749</c:v>
                </c:pt>
                <c:pt idx="14">
                  <c:v>0.8390562510696092</c:v>
                </c:pt>
                <c:pt idx="15">
                  <c:v>0.8364306208688369</c:v>
                </c:pt>
                <c:pt idx="16">
                  <c:v>0.8553144538856383</c:v>
                </c:pt>
                <c:pt idx="17">
                  <c:v>0.8664089818138453</c:v>
                </c:pt>
                <c:pt idx="18">
                  <c:v>0.8653656445676537</c:v>
                </c:pt>
                <c:pt idx="19">
                  <c:v>0.9084504767410138</c:v>
                </c:pt>
                <c:pt idx="20">
                  <c:v>0.8937232821185187</c:v>
                </c:pt>
                <c:pt idx="21">
                  <c:v>0.8586876445477045</c:v>
                </c:pt>
                <c:pt idx="22">
                  <c:v>0.8548611679198366</c:v>
                </c:pt>
                <c:pt idx="23">
                  <c:v>0.8631656477680034</c:v>
                </c:pt>
                <c:pt idx="24">
                  <c:v>0.907715429849612</c:v>
                </c:pt>
                <c:pt idx="25">
                  <c:v>0.9373915350739913</c:v>
                </c:pt>
                <c:pt idx="26">
                  <c:v>0.9168147859270003</c:v>
                </c:pt>
                <c:pt idx="27">
                  <c:v>0.9322527938198267</c:v>
                </c:pt>
                <c:pt idx="28">
                  <c:v>0.9051894825519765</c:v>
                </c:pt>
                <c:pt idx="29">
                  <c:v>0.9171411631737779</c:v>
                </c:pt>
                <c:pt idx="30">
                  <c:v>0.9115782968973994</c:v>
                </c:pt>
                <c:pt idx="31">
                  <c:v>0.8690972574952287</c:v>
                </c:pt>
                <c:pt idx="32">
                  <c:v>0.9065399392985204</c:v>
                </c:pt>
                <c:pt idx="33">
                  <c:v>0.9128116212884161</c:v>
                </c:pt>
                <c:pt idx="34">
                  <c:v>0.9067129443193512</c:v>
                </c:pt>
                <c:pt idx="35">
                  <c:v>0.9038269263541766</c:v>
                </c:pt>
                <c:pt idx="36">
                  <c:v>0.9354122240625871</c:v>
                </c:pt>
                <c:pt idx="37">
                  <c:v>0.9428583286359714</c:v>
                </c:pt>
                <c:pt idx="38">
                  <c:v>0.9603214376710187</c:v>
                </c:pt>
                <c:pt idx="39">
                  <c:v>0.9832546869965485</c:v>
                </c:pt>
                <c:pt idx="40">
                  <c:v>1.0173347656305158</c:v>
                </c:pt>
                <c:pt idx="41">
                  <c:v>0.9999535886316293</c:v>
                </c:pt>
                <c:pt idx="42">
                  <c:v>1.0227202981429278</c:v>
                </c:pt>
                <c:pt idx="43">
                  <c:v>1.0202675798439977</c:v>
                </c:pt>
                <c:pt idx="44">
                  <c:v>1.0637489289686213</c:v>
                </c:pt>
                <c:pt idx="45">
                  <c:v>1.0511241263313071</c:v>
                </c:pt>
                <c:pt idx="46">
                  <c:v>1.0543693434995558</c:v>
                </c:pt>
                <c:pt idx="47">
                  <c:v>1.0858811413064768</c:v>
                </c:pt>
                <c:pt idx="48">
                  <c:v>1.0073556581445617</c:v>
                </c:pt>
                <c:pt idx="49">
                  <c:v>0.9811382626545129</c:v>
                </c:pt>
                <c:pt idx="50">
                  <c:v>0.981666840181886</c:v>
                </c:pt>
                <c:pt idx="51">
                  <c:v>0.9810213617833435</c:v>
                </c:pt>
                <c:pt idx="52">
                  <c:v>0.9349956973320579</c:v>
                </c:pt>
                <c:pt idx="53">
                  <c:v>1.0228058875022252</c:v>
                </c:pt>
                <c:pt idx="54">
                  <c:v>1.015939507263638</c:v>
                </c:pt>
                <c:pt idx="55">
                  <c:v>0.9900601409687755</c:v>
                </c:pt>
                <c:pt idx="56">
                  <c:v>0.9758327336109267</c:v>
                </c:pt>
                <c:pt idx="57">
                  <c:v>0.9958261661899557</c:v>
                </c:pt>
                <c:pt idx="58">
                  <c:v>1.0001794657193854</c:v>
                </c:pt>
                <c:pt idx="59">
                  <c:v>1.0277435530368764</c:v>
                </c:pt>
                <c:pt idx="60">
                  <c:v>1.0263347172838435</c:v>
                </c:pt>
                <c:pt idx="61">
                  <c:v>0.9912795660525893</c:v>
                </c:pt>
                <c:pt idx="62">
                  <c:v>0.8907675808138028</c:v>
                </c:pt>
                <c:pt idx="63">
                  <c:v>0.8853543057812522</c:v>
                </c:pt>
                <c:pt idx="64">
                  <c:v>0.8560118869152149</c:v>
                </c:pt>
                <c:pt idx="65">
                  <c:v>0.8513421600240552</c:v>
                </c:pt>
                <c:pt idx="66">
                  <c:v>0.9509411300878396</c:v>
                </c:pt>
                <c:pt idx="67">
                  <c:v>0.9632305110084018</c:v>
                </c:pt>
                <c:pt idx="68">
                  <c:v>0.9836323584127187</c:v>
                </c:pt>
                <c:pt idx="69">
                  <c:v>1.0166061903373493</c:v>
                </c:pt>
                <c:pt idx="70">
                  <c:v>1.0419398784707012</c:v>
                </c:pt>
                <c:pt idx="71">
                  <c:v>1.0157708058006365</c:v>
                </c:pt>
                <c:pt idx="72">
                  <c:v>1.0044158000456693</c:v>
                </c:pt>
                <c:pt idx="73">
                  <c:v>0.997520612536943</c:v>
                </c:pt>
                <c:pt idx="74">
                  <c:v>0.9193538028237882</c:v>
                </c:pt>
                <c:pt idx="75">
                  <c:v>0.9171086131389894</c:v>
                </c:pt>
                <c:pt idx="76">
                  <c:v>0.8798913222207856</c:v>
                </c:pt>
                <c:pt idx="77">
                  <c:v>0.8757290704047508</c:v>
                </c:pt>
                <c:pt idx="78">
                  <c:v>0.9180271201648237</c:v>
                </c:pt>
                <c:pt idx="79">
                  <c:v>0.9347934678852499</c:v>
                </c:pt>
                <c:pt idx="80">
                  <c:v>0.9607175877628656</c:v>
                </c:pt>
                <c:pt idx="81">
                  <c:v>0.9374198249519016</c:v>
                </c:pt>
                <c:pt idx="82">
                  <c:v>0.9340020315210074</c:v>
                </c:pt>
                <c:pt idx="83">
                  <c:v>0.9462685577686353</c:v>
                </c:pt>
                <c:pt idx="84">
                  <c:v>0.9925813358357872</c:v>
                </c:pt>
                <c:pt idx="85">
                  <c:v>0.978122917447975</c:v>
                </c:pt>
                <c:pt idx="86">
                  <c:v>0.9620103701700295</c:v>
                </c:pt>
                <c:pt idx="87">
                  <c:v>0.9699198214389789</c:v>
                </c:pt>
                <c:pt idx="88">
                  <c:v>0.9233978168977466</c:v>
                </c:pt>
                <c:pt idx="89">
                  <c:v>0.9576745681106825</c:v>
                </c:pt>
                <c:pt idx="90">
                  <c:v>0.9305703268021114</c:v>
                </c:pt>
                <c:pt idx="91">
                  <c:v>0.9265756962253993</c:v>
                </c:pt>
                <c:pt idx="92">
                  <c:v>0.9234872925693749</c:v>
                </c:pt>
                <c:pt idx="93">
                  <c:v>0.9371777004895497</c:v>
                </c:pt>
                <c:pt idx="94">
                  <c:v>1.1249343386644879</c:v>
                </c:pt>
                <c:pt idx="95">
                  <c:v>1.1074043042947468</c:v>
                </c:pt>
                <c:pt idx="96">
                  <c:v>0.9883126894504899</c:v>
                </c:pt>
                <c:pt idx="97">
                  <c:v>1.014505589095317</c:v>
                </c:pt>
                <c:pt idx="98">
                  <c:v>0.9747624359136111</c:v>
                </c:pt>
                <c:pt idx="99">
                  <c:v>0.9547469643507345</c:v>
                </c:pt>
                <c:pt idx="100">
                  <c:v>0.9309060335859818</c:v>
                </c:pt>
                <c:pt idx="101">
                  <c:v>0.9819163798610351</c:v>
                </c:pt>
                <c:pt idx="102">
                  <c:v>0.9687227061085847</c:v>
                </c:pt>
                <c:pt idx="103">
                  <c:v>0.9247638757636503</c:v>
                </c:pt>
                <c:pt idx="104">
                  <c:v>0.9256723603814407</c:v>
                </c:pt>
              </c:numCache>
            </c:numRef>
          </c:xVal>
          <c:yVal>
            <c:numRef>
              <c:f>Sheet1!$B$2:$B$106</c:f>
              <c:numCache>
                <c:formatCode>General</c:formatCode>
                <c:ptCount val="105"/>
                <c:pt idx="0">
                  <c:v>0.23850293542074363</c:v>
                </c:pt>
                <c:pt idx="1">
                  <c:v>0.23524498886414255</c:v>
                </c:pt>
                <c:pt idx="2">
                  <c:v>0.24230330672748004</c:v>
                </c:pt>
                <c:pt idx="3">
                  <c:v>0.24149757073449557</c:v>
                </c:pt>
                <c:pt idx="4">
                  <c:v>0.22874365482233502</c:v>
                </c:pt>
                <c:pt idx="5">
                  <c:v>0.24724061810154527</c:v>
                </c:pt>
                <c:pt idx="6">
                  <c:v>0.25017205781142465</c:v>
                </c:pt>
                <c:pt idx="7">
                  <c:v>0.24281150159744408</c:v>
                </c:pt>
                <c:pt idx="8">
                  <c:v>0.2791149068322981</c:v>
                </c:pt>
                <c:pt idx="9">
                  <c:v>0.26337590610976874</c:v>
                </c:pt>
                <c:pt idx="10">
                  <c:v>0.27446380697050937</c:v>
                </c:pt>
                <c:pt idx="11">
                  <c:v>0.286527514231499</c:v>
                </c:pt>
                <c:pt idx="12">
                  <c:v>0.27262753702687875</c:v>
                </c:pt>
                <c:pt idx="13">
                  <c:v>0.2881999367288833</c:v>
                </c:pt>
                <c:pt idx="14">
                  <c:v>0.28322232794164287</c:v>
                </c:pt>
                <c:pt idx="15">
                  <c:v>0.2906810035842294</c:v>
                </c:pt>
                <c:pt idx="16">
                  <c:v>0.24166666666666667</c:v>
                </c:pt>
                <c:pt idx="17">
                  <c:v>0.26096302665520205</c:v>
                </c:pt>
                <c:pt idx="18">
                  <c:v>0.2504047490555855</c:v>
                </c:pt>
                <c:pt idx="19">
                  <c:v>0.23420548819400128</c:v>
                </c:pt>
                <c:pt idx="20">
                  <c:v>0.23537477148080438</c:v>
                </c:pt>
                <c:pt idx="21">
                  <c:v>0.21790722761596548</c:v>
                </c:pt>
                <c:pt idx="22">
                  <c:v>0.2077922077922078</c:v>
                </c:pt>
                <c:pt idx="23">
                  <c:v>0.1864951768488746</c:v>
                </c:pt>
                <c:pt idx="24">
                  <c:v>0.19137625516834023</c:v>
                </c:pt>
                <c:pt idx="25">
                  <c:v>0.19986263736263737</c:v>
                </c:pt>
                <c:pt idx="26">
                  <c:v>0.1876355748373102</c:v>
                </c:pt>
                <c:pt idx="27">
                  <c:v>0.19079312257348863</c:v>
                </c:pt>
                <c:pt idx="28">
                  <c:v>0.17355371900826447</c:v>
                </c:pt>
                <c:pt idx="29">
                  <c:v>0.17481789802289283</c:v>
                </c:pt>
                <c:pt idx="30">
                  <c:v>0.18407960199004975</c:v>
                </c:pt>
                <c:pt idx="31">
                  <c:v>0.1803594351732991</c:v>
                </c:pt>
                <c:pt idx="32">
                  <c:v>0.1744107744107744</c:v>
                </c:pt>
                <c:pt idx="33">
                  <c:v>0.17518667432510052</c:v>
                </c:pt>
                <c:pt idx="34">
                  <c:v>0.18597560975609756</c:v>
                </c:pt>
                <c:pt idx="35">
                  <c:v>0.1944060773480663</c:v>
                </c:pt>
                <c:pt idx="36">
                  <c:v>0.18355555555555556</c:v>
                </c:pt>
                <c:pt idx="37">
                  <c:v>0.16751845542305507</c:v>
                </c:pt>
                <c:pt idx="38">
                  <c:v>0.16052060737527116</c:v>
                </c:pt>
                <c:pt idx="39">
                  <c:v>0.1728833629366489</c:v>
                </c:pt>
                <c:pt idx="40">
                  <c:v>0.17647058823529413</c:v>
                </c:pt>
                <c:pt idx="41">
                  <c:v>0.17564655172413793</c:v>
                </c:pt>
                <c:pt idx="42">
                  <c:v>0.18037021093413688</c:v>
                </c:pt>
                <c:pt idx="43">
                  <c:v>0.19227913882702302</c:v>
                </c:pt>
                <c:pt idx="44">
                  <c:v>0.16314723748915244</c:v>
                </c:pt>
                <c:pt idx="45">
                  <c:v>0.1768613340714088</c:v>
                </c:pt>
                <c:pt idx="46">
                  <c:v>0.18289004661365507</c:v>
                </c:pt>
                <c:pt idx="47">
                  <c:v>0.1727447216890595</c:v>
                </c:pt>
                <c:pt idx="48">
                  <c:v>0.18564554931836408</c:v>
                </c:pt>
                <c:pt idx="49">
                  <c:v>0.2052797478329393</c:v>
                </c:pt>
                <c:pt idx="50">
                  <c:v>0.19347478895733516</c:v>
                </c:pt>
                <c:pt idx="51">
                  <c:v>0.18324607329842932</c:v>
                </c:pt>
                <c:pt idx="52">
                  <c:v>0.19669040636782573</c:v>
                </c:pt>
                <c:pt idx="53">
                  <c:v>0.19770600664050708</c:v>
                </c:pt>
                <c:pt idx="54">
                  <c:v>0.18242790073775988</c:v>
                </c:pt>
                <c:pt idx="55">
                  <c:v>0.18799424874191228</c:v>
                </c:pt>
                <c:pt idx="56">
                  <c:v>0.21083743842364533</c:v>
                </c:pt>
                <c:pt idx="57">
                  <c:v>0.198378041172801</c:v>
                </c:pt>
                <c:pt idx="58">
                  <c:v>0.19822320932815102</c:v>
                </c:pt>
                <c:pt idx="59">
                  <c:v>0.18152809785499024</c:v>
                </c:pt>
                <c:pt idx="60">
                  <c:v>0.18325876211782252</c:v>
                </c:pt>
                <c:pt idx="61">
                  <c:v>0.19786666666666666</c:v>
                </c:pt>
                <c:pt idx="62">
                  <c:v>0.22150363783346808</c:v>
                </c:pt>
                <c:pt idx="63">
                  <c:v>0.22826341692055307</c:v>
                </c:pt>
                <c:pt idx="64">
                  <c:v>0.22885572139303484</c:v>
                </c:pt>
                <c:pt idx="65">
                  <c:v>0.23352573352573353</c:v>
                </c:pt>
                <c:pt idx="66">
                  <c:v>0.2179237406067353</c:v>
                </c:pt>
                <c:pt idx="67">
                  <c:v>0.22954091816367264</c:v>
                </c:pt>
                <c:pt idx="68">
                  <c:v>0.21292115317818688</c:v>
                </c:pt>
                <c:pt idx="69">
                  <c:v>0.21935483870967742</c:v>
                </c:pt>
                <c:pt idx="70">
                  <c:v>0.2132385606397157</c:v>
                </c:pt>
                <c:pt idx="71">
                  <c:v>0.19280898876404495</c:v>
                </c:pt>
                <c:pt idx="72">
                  <c:v>0.2</c:v>
                </c:pt>
                <c:pt idx="73">
                  <c:v>0.2078559738134206</c:v>
                </c:pt>
                <c:pt idx="74">
                  <c:v>0.22282382340691378</c:v>
                </c:pt>
                <c:pt idx="75">
                  <c:v>0.20850409836065573</c:v>
                </c:pt>
                <c:pt idx="76">
                  <c:v>0.21454928835002635</c:v>
                </c:pt>
                <c:pt idx="77">
                  <c:v>0.2030430220356768</c:v>
                </c:pt>
                <c:pt idx="78">
                  <c:v>0.20214030915576695</c:v>
                </c:pt>
                <c:pt idx="79">
                  <c:v>0.20679199514857488</c:v>
                </c:pt>
                <c:pt idx="80">
                  <c:v>0.18264014466546113</c:v>
                </c:pt>
                <c:pt idx="81">
                  <c:v>0.19238578680203045</c:v>
                </c:pt>
                <c:pt idx="82">
                  <c:v>0.19714817110973343</c:v>
                </c:pt>
                <c:pt idx="83">
                  <c:v>0.19367588932806323</c:v>
                </c:pt>
                <c:pt idx="84">
                  <c:v>0.189792663476874</c:v>
                </c:pt>
                <c:pt idx="85">
                  <c:v>0.18952234206471494</c:v>
                </c:pt>
                <c:pt idx="86">
                  <c:v>0.1895910780669145</c:v>
                </c:pt>
                <c:pt idx="87">
                  <c:v>0.22675933970460468</c:v>
                </c:pt>
                <c:pt idx="88">
                  <c:v>0.20382165605095542</c:v>
                </c:pt>
                <c:pt idx="89">
                  <c:v>0.18988173455978974</c:v>
                </c:pt>
                <c:pt idx="90">
                  <c:v>0.1775766016713092</c:v>
                </c:pt>
                <c:pt idx="91">
                  <c:v>0.20373831775700935</c:v>
                </c:pt>
                <c:pt idx="92">
                  <c:v>0.1972180824639841</c:v>
                </c:pt>
                <c:pt idx="93">
                  <c:v>0.17023300047551118</c:v>
                </c:pt>
                <c:pt idx="94">
                  <c:v>0.16198704103671707</c:v>
                </c:pt>
                <c:pt idx="95">
                  <c:v>0.17115520907158044</c:v>
                </c:pt>
                <c:pt idx="96">
                  <c:v>0.15884892086330935</c:v>
                </c:pt>
                <c:pt idx="97">
                  <c:v>0.1532976827094474</c:v>
                </c:pt>
                <c:pt idx="98">
                  <c:v>0.17494646680942183</c:v>
                </c:pt>
                <c:pt idx="99">
                  <c:v>0.1748139207402937</c:v>
                </c:pt>
                <c:pt idx="100">
                  <c:v>0.20506999621642075</c:v>
                </c:pt>
                <c:pt idx="101">
                  <c:v>0.18140589569160998</c:v>
                </c:pt>
                <c:pt idx="102">
                  <c:v>0.1584372003835091</c:v>
                </c:pt>
                <c:pt idx="103">
                  <c:v>0.17103651065915218</c:v>
                </c:pt>
                <c:pt idx="104">
                  <c:v>0.172988969599139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11701216146957</c:v>
                </c:pt>
                <c:pt idx="1">
                  <c:v>0.9114940298213869</c:v>
                </c:pt>
                <c:pt idx="2">
                  <c:v>0.9417012197053339</c:v>
                </c:pt>
                <c:pt idx="3">
                  <c:v>0.9670486777485331</c:v>
                </c:pt>
                <c:pt idx="4">
                  <c:v>0.9761218856153806</c:v>
                </c:pt>
                <c:pt idx="5">
                  <c:v>0.9910761875371237</c:v>
                </c:pt>
                <c:pt idx="6">
                  <c:v>0.9734183551419833</c:v>
                </c:pt>
                <c:pt idx="7">
                  <c:v>0.9408563040735932</c:v>
                </c:pt>
                <c:pt idx="8">
                  <c:v>0.9190404755826316</c:v>
                </c:pt>
                <c:pt idx="9">
                  <c:v>0.8649784726150734</c:v>
                </c:pt>
                <c:pt idx="10">
                  <c:v>0.8941633376074724</c:v>
                </c:pt>
                <c:pt idx="11">
                  <c:v>0.9431870467653106</c:v>
                </c:pt>
                <c:pt idx="12">
                  <c:v>0.9543874210067872</c:v>
                </c:pt>
                <c:pt idx="13">
                  <c:v>0.8836080148722175</c:v>
                </c:pt>
                <c:pt idx="14">
                  <c:v>0.9021271582550062</c:v>
                </c:pt>
                <c:pt idx="15">
                  <c:v>0.8857123069857648</c:v>
                </c:pt>
                <c:pt idx="16">
                  <c:v>0.9044177596495006</c:v>
                </c:pt>
                <c:pt idx="17">
                  <c:v>0.8264499405976348</c:v>
                </c:pt>
                <c:pt idx="18">
                  <c:v>0.8434983814458791</c:v>
                </c:pt>
                <c:pt idx="19">
                  <c:v>0.8820463158031522</c:v>
                </c:pt>
                <c:pt idx="20">
                  <c:v>0.8981728518539852</c:v>
                </c:pt>
                <c:pt idx="21">
                  <c:v>0.90413028066429</c:v>
                </c:pt>
                <c:pt idx="22">
                  <c:v>0.8975621132244216</c:v>
                </c:pt>
                <c:pt idx="23">
                  <c:v>0.7829785136216697</c:v>
                </c:pt>
                <c:pt idx="24">
                  <c:v>0.7927038972809988</c:v>
                </c:pt>
                <c:pt idx="25">
                  <c:v>0.8061114205268334</c:v>
                </c:pt>
                <c:pt idx="26">
                  <c:v>0.908383516242778</c:v>
                </c:pt>
                <c:pt idx="27">
                  <c:v>1.0436114066821105</c:v>
                </c:pt>
                <c:pt idx="28">
                  <c:v>1.0941439511678934</c:v>
                </c:pt>
                <c:pt idx="29">
                  <c:v>1.1084127006458278</c:v>
                </c:pt>
                <c:pt idx="30">
                  <c:v>1.0200428974978295</c:v>
                </c:pt>
                <c:pt idx="31">
                  <c:v>1.0026497304016333</c:v>
                </c:pt>
                <c:pt idx="32">
                  <c:v>1.0051416752659064</c:v>
                </c:pt>
                <c:pt idx="33">
                  <c:v>1.0093624805173325</c:v>
                </c:pt>
                <c:pt idx="34">
                  <c:v>0.9702066030150638</c:v>
                </c:pt>
                <c:pt idx="35">
                  <c:v>0.9567212782840891</c:v>
                </c:pt>
                <c:pt idx="36">
                  <c:v>0.8034071433562417</c:v>
                </c:pt>
                <c:pt idx="37">
                  <c:v>0.857850566548961</c:v>
                </c:pt>
                <c:pt idx="38">
                  <c:v>0.8977932268430125</c:v>
                </c:pt>
                <c:pt idx="39">
                  <c:v>0.9642574032033546</c:v>
                </c:pt>
                <c:pt idx="40">
                  <c:v>0.9758545672963637</c:v>
                </c:pt>
                <c:pt idx="41">
                  <c:v>0.9777074020382249</c:v>
                </c:pt>
                <c:pt idx="42">
                  <c:v>0.9837081413826968</c:v>
                </c:pt>
                <c:pt idx="43">
                  <c:v>0.9441653324153334</c:v>
                </c:pt>
                <c:pt idx="44">
                  <c:v>0.9000239552372138</c:v>
                </c:pt>
                <c:pt idx="45">
                  <c:v>0.8623377237430436</c:v>
                </c:pt>
                <c:pt idx="46">
                  <c:v>0.8359403890477372</c:v>
                </c:pt>
                <c:pt idx="47">
                  <c:v>0.8726108602607177</c:v>
                </c:pt>
                <c:pt idx="48">
                  <c:v>0.843665836334597</c:v>
                </c:pt>
                <c:pt idx="49">
                  <c:v>0.8332263084793202</c:v>
                </c:pt>
                <c:pt idx="50">
                  <c:v>0.7969928035041569</c:v>
                </c:pt>
                <c:pt idx="51">
                  <c:v>0.8316512785394506</c:v>
                </c:pt>
              </c:numCache>
            </c:numRef>
          </c:xVal>
          <c:yVal>
            <c:numRef>
              <c:f>Sheet1!$B$109:$B$160</c:f>
              <c:numCache>
                <c:formatCode>General</c:formatCode>
                <c:ptCount val="52"/>
                <c:pt idx="0">
                  <c:v>0.16624621594349143</c:v>
                </c:pt>
                <c:pt idx="1">
                  <c:v>0.15533188248095756</c:v>
                </c:pt>
                <c:pt idx="2">
                  <c:v>0.15379008746355685</c:v>
                </c:pt>
                <c:pt idx="3">
                  <c:v>0.15476190476190477</c:v>
                </c:pt>
                <c:pt idx="4">
                  <c:v>0.14289439374185137</c:v>
                </c:pt>
                <c:pt idx="5">
                  <c:v>0.1441823482639809</c:v>
                </c:pt>
                <c:pt idx="6">
                  <c:v>0.16676961087090797</c:v>
                </c:pt>
                <c:pt idx="7">
                  <c:v>0.18206157965194109</c:v>
                </c:pt>
                <c:pt idx="8">
                  <c:v>0.19571045576407506</c:v>
                </c:pt>
                <c:pt idx="9">
                  <c:v>0.24496644295302014</c:v>
                </c:pt>
                <c:pt idx="10">
                  <c:v>0.21067415730337077</c:v>
                </c:pt>
                <c:pt idx="11">
                  <c:v>0.21506024096385543</c:v>
                </c:pt>
                <c:pt idx="12">
                  <c:v>0.2016004924592182</c:v>
                </c:pt>
                <c:pt idx="13">
                  <c:v>0.21881331403762663</c:v>
                </c:pt>
                <c:pt idx="14">
                  <c:v>0.20840393087089124</c:v>
                </c:pt>
                <c:pt idx="15">
                  <c:v>0.21081830790568654</c:v>
                </c:pt>
                <c:pt idx="16">
                  <c:v>0.20080160320641283</c:v>
                </c:pt>
                <c:pt idx="17">
                  <c:v>0.21092121717382242</c:v>
                </c:pt>
                <c:pt idx="18">
                  <c:v>0.19435215946843853</c:v>
                </c:pt>
                <c:pt idx="19">
                  <c:v>0.19491878384006664</c:v>
                </c:pt>
                <c:pt idx="20">
                  <c:v>0.1833729216152019</c:v>
                </c:pt>
                <c:pt idx="21">
                  <c:v>0.18355263157894736</c:v>
                </c:pt>
                <c:pt idx="22">
                  <c:v>0.18373879641485275</c:v>
                </c:pt>
                <c:pt idx="23">
                  <c:v>0.20814732142857142</c:v>
                </c:pt>
                <c:pt idx="24">
                  <c:v>0.2131324004305705</c:v>
                </c:pt>
                <c:pt idx="25">
                  <c:v>0.2450873362445415</c:v>
                </c:pt>
                <c:pt idx="26">
                  <c:v>0.24171122994652405</c:v>
                </c:pt>
                <c:pt idx="27">
                  <c:v>0.17281455280444669</c:v>
                </c:pt>
                <c:pt idx="28">
                  <c:v>0.15226130653266332</c:v>
                </c:pt>
                <c:pt idx="29">
                  <c:v>0.14499700419412823</c:v>
                </c:pt>
                <c:pt idx="30">
                  <c:v>0.16099635479951396</c:v>
                </c:pt>
                <c:pt idx="31">
                  <c:v>0.13626209977661952</c:v>
                </c:pt>
                <c:pt idx="32">
                  <c:v>0.12235979606700656</c:v>
                </c:pt>
                <c:pt idx="33">
                  <c:v>0.14911706998037932</c:v>
                </c:pt>
                <c:pt idx="34">
                  <c:v>0.18265993265993266</c:v>
                </c:pt>
                <c:pt idx="35">
                  <c:v>0.1976694000863185</c:v>
                </c:pt>
                <c:pt idx="36">
                  <c:v>0.18671875</c:v>
                </c:pt>
                <c:pt idx="37">
                  <c:v>0.17105263157894737</c:v>
                </c:pt>
                <c:pt idx="38">
                  <c:v>0.16866506794564348</c:v>
                </c:pt>
                <c:pt idx="39">
                  <c:v>0.1673913043478261</c:v>
                </c:pt>
                <c:pt idx="40">
                  <c:v>0.15866957470010906</c:v>
                </c:pt>
                <c:pt idx="41">
                  <c:v>0.15308770108977685</c:v>
                </c:pt>
                <c:pt idx="42">
                  <c:v>0.15451895043731778</c:v>
                </c:pt>
                <c:pt idx="43">
                  <c:v>0.15113954418232706</c:v>
                </c:pt>
                <c:pt idx="44">
                  <c:v>0.14966887417218544</c:v>
                </c:pt>
                <c:pt idx="45">
                  <c:v>0.1783676507070206</c:v>
                </c:pt>
                <c:pt idx="46">
                  <c:v>0.17208714872118724</c:v>
                </c:pt>
                <c:pt idx="47">
                  <c:v>0.17464702271332105</c:v>
                </c:pt>
                <c:pt idx="48">
                  <c:v>0.1546818416968443</c:v>
                </c:pt>
                <c:pt idx="49">
                  <c:v>0.18185567010309278</c:v>
                </c:pt>
                <c:pt idx="50">
                  <c:v>0.20453146164265484</c:v>
                </c:pt>
                <c:pt idx="51">
                  <c:v>0.1812915683329757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533977474170929</c:v>
                </c:pt>
              </c:numCache>
            </c:numRef>
          </c:xVal>
          <c:yVal>
            <c:numRef>
              <c:f>Sheet1!$B$163:$B$164</c:f>
              <c:numCache>
                <c:formatCode>General</c:formatCode>
                <c:ptCount val="2"/>
                <c:pt idx="0">
                  <c:v>0.2615092278662798</c:v>
                </c:pt>
                <c:pt idx="1">
                  <c:v>0.261509227866279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533977474170929</c:v>
                </c:pt>
                <c:pt idx="1">
                  <c:v>0.5533977474170929</c:v>
                </c:pt>
              </c:numCache>
            </c:numRef>
          </c:xVal>
          <c:yVal>
            <c:numRef>
              <c:f>Sheet1!$B$167:$B$168</c:f>
              <c:numCache>
                <c:formatCode>General</c:formatCode>
                <c:ptCount val="2"/>
                <c:pt idx="0">
                  <c:v>0.26150922786627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010811440547161</c:v>
                </c:pt>
              </c:numCache>
            </c:numRef>
          </c:xVal>
          <c:yVal>
            <c:numRef>
              <c:f>Sheet1!$B$171:$B$172</c:f>
              <c:numCache>
                <c:formatCode>General</c:formatCode>
                <c:ptCount val="2"/>
                <c:pt idx="0">
                  <c:v>0.20601970795204297</c:v>
                </c:pt>
                <c:pt idx="1">
                  <c:v>0.2060197079520429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010811440547161</c:v>
                </c:pt>
                <c:pt idx="1">
                  <c:v>0.8010811440547161</c:v>
                </c:pt>
              </c:numCache>
            </c:numRef>
          </c:xVal>
          <c:yVal>
            <c:numRef>
              <c:f>Sheet1!$B$175:$B$176</c:f>
              <c:numCache>
                <c:formatCode>General</c:formatCode>
                <c:ptCount val="2"/>
                <c:pt idx="0">
                  <c:v>0.2060197079520429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714940590706679</c:v>
                </c:pt>
              </c:numCache>
            </c:numRef>
          </c:xVal>
          <c:yVal>
            <c:numRef>
              <c:f>Sheet1!$B$179:$B$180</c:f>
              <c:numCache>
                <c:formatCode>General</c:formatCode>
                <c:ptCount val="2"/>
                <c:pt idx="0">
                  <c:v>0.1678414086805107</c:v>
                </c:pt>
                <c:pt idx="1">
                  <c:v>0.167841408680510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714940590706679</c:v>
                </c:pt>
                <c:pt idx="1">
                  <c:v>0.9714940590706679</c:v>
                </c:pt>
              </c:numCache>
            </c:numRef>
          </c:xVal>
          <c:yVal>
            <c:numRef>
              <c:f>Sheet1!$B$183:$B$184</c:f>
              <c:numCache>
                <c:formatCode>General</c:formatCode>
                <c:ptCount val="2"/>
                <c:pt idx="0">
                  <c:v>0.16784140868051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11701216146957</c:v>
                </c:pt>
                <c:pt idx="1">
                  <c:v>0.9114940298213869</c:v>
                </c:pt>
                <c:pt idx="2">
                  <c:v>0.9417012197053339</c:v>
                </c:pt>
                <c:pt idx="3">
                  <c:v>0.9670486777485331</c:v>
                </c:pt>
                <c:pt idx="4">
                  <c:v>0.9761218856153806</c:v>
                </c:pt>
                <c:pt idx="5">
                  <c:v>0.9910761875371237</c:v>
                </c:pt>
                <c:pt idx="6">
                  <c:v>0.9734183551419833</c:v>
                </c:pt>
                <c:pt idx="7">
                  <c:v>0.9408563040735932</c:v>
                </c:pt>
                <c:pt idx="8">
                  <c:v>0.9190404755826316</c:v>
                </c:pt>
                <c:pt idx="9">
                  <c:v>0.8649784726150734</c:v>
                </c:pt>
                <c:pt idx="10">
                  <c:v>0.8941633376074724</c:v>
                </c:pt>
                <c:pt idx="11">
                  <c:v>0.9431870467653106</c:v>
                </c:pt>
                <c:pt idx="12">
                  <c:v>0.9543874210067872</c:v>
                </c:pt>
                <c:pt idx="13">
                  <c:v>0.8836080148722175</c:v>
                </c:pt>
                <c:pt idx="14">
                  <c:v>0.9021271582550062</c:v>
                </c:pt>
                <c:pt idx="15">
                  <c:v>0.8857123069857648</c:v>
                </c:pt>
                <c:pt idx="16">
                  <c:v>0.9044177596495006</c:v>
                </c:pt>
                <c:pt idx="17">
                  <c:v>0.8264499405976348</c:v>
                </c:pt>
                <c:pt idx="18">
                  <c:v>0.8434983814458791</c:v>
                </c:pt>
                <c:pt idx="19">
                  <c:v>0.8820463158031522</c:v>
                </c:pt>
                <c:pt idx="20">
                  <c:v>0.8981728518539852</c:v>
                </c:pt>
                <c:pt idx="21">
                  <c:v>0.90413028066429</c:v>
                </c:pt>
                <c:pt idx="22">
                  <c:v>0.8975621132244216</c:v>
                </c:pt>
                <c:pt idx="23">
                  <c:v>0.7829785136216697</c:v>
                </c:pt>
                <c:pt idx="24">
                  <c:v>0.7927038972809988</c:v>
                </c:pt>
                <c:pt idx="25">
                  <c:v>0.8061114205268334</c:v>
                </c:pt>
                <c:pt idx="26">
                  <c:v>0.908383516242778</c:v>
                </c:pt>
                <c:pt idx="27">
                  <c:v>1.0436114066821105</c:v>
                </c:pt>
                <c:pt idx="28">
                  <c:v>1.0941439511678934</c:v>
                </c:pt>
                <c:pt idx="29">
                  <c:v>1.1084127006458278</c:v>
                </c:pt>
                <c:pt idx="30">
                  <c:v>1.0200428974978295</c:v>
                </c:pt>
                <c:pt idx="31">
                  <c:v>1.0026497304016333</c:v>
                </c:pt>
                <c:pt idx="32">
                  <c:v>1.0051416752659064</c:v>
                </c:pt>
                <c:pt idx="33">
                  <c:v>1.0093624805173325</c:v>
                </c:pt>
                <c:pt idx="34">
                  <c:v>0.9702066030150638</c:v>
                </c:pt>
                <c:pt idx="35">
                  <c:v>0.9567212782840891</c:v>
                </c:pt>
                <c:pt idx="36">
                  <c:v>0.8034071433562417</c:v>
                </c:pt>
                <c:pt idx="37">
                  <c:v>0.857850566548961</c:v>
                </c:pt>
                <c:pt idx="38">
                  <c:v>0.8977932268430125</c:v>
                </c:pt>
                <c:pt idx="39">
                  <c:v>0.9642574032033546</c:v>
                </c:pt>
                <c:pt idx="40">
                  <c:v>0.9758545672963637</c:v>
                </c:pt>
                <c:pt idx="41">
                  <c:v>0.9777074020382249</c:v>
                </c:pt>
                <c:pt idx="42">
                  <c:v>0.9837081413826968</c:v>
                </c:pt>
                <c:pt idx="43">
                  <c:v>0.9441653324153334</c:v>
                </c:pt>
                <c:pt idx="44">
                  <c:v>0.9000239552372138</c:v>
                </c:pt>
                <c:pt idx="45">
                  <c:v>0.8623377237430436</c:v>
                </c:pt>
                <c:pt idx="46">
                  <c:v>0.8359403890477372</c:v>
                </c:pt>
                <c:pt idx="47">
                  <c:v>0.8726108602607177</c:v>
                </c:pt>
                <c:pt idx="48">
                  <c:v>0.843665836334597</c:v>
                </c:pt>
                <c:pt idx="49">
                  <c:v>0.8332263084793202</c:v>
                </c:pt>
                <c:pt idx="50">
                  <c:v>0.7969928035041569</c:v>
                </c:pt>
                <c:pt idx="51">
                  <c:v>0.8316512785394506</c:v>
                </c:pt>
                <c:pt idx="52">
                  <c:v>0.8010811440547161</c:v>
                </c:pt>
                <c:pt idx="53">
                  <c:v>0.5533977474170929</c:v>
                </c:pt>
                <c:pt idx="54">
                  <c:v>0.9714940590706679</c:v>
                </c:pt>
              </c:numCache>
            </c:numRef>
          </c:xVal>
          <c:yVal>
            <c:numRef>
              <c:f>Sheet1!$B$187:$B$241</c:f>
              <c:numCache>
                <c:formatCode>General</c:formatCode>
                <c:ptCount val="55"/>
                <c:pt idx="0">
                  <c:v>0.1812370427568568</c:v>
                </c:pt>
                <c:pt idx="1">
                  <c:v>0.1812834595530359</c:v>
                </c:pt>
                <c:pt idx="2">
                  <c:v>0.17451601979981426</c:v>
                </c:pt>
                <c:pt idx="3">
                  <c:v>0.16883732555967831</c:v>
                </c:pt>
                <c:pt idx="4">
                  <c:v>0.16680461785521294</c:v>
                </c:pt>
                <c:pt idx="5">
                  <c:v>0.16345434470184478</c:v>
                </c:pt>
                <c:pt idx="6">
                  <c:v>0.16741030079593025</c:v>
                </c:pt>
                <c:pt idx="7">
                  <c:v>0.17470530968928522</c:v>
                </c:pt>
                <c:pt idx="8">
                  <c:v>0.17959279858005614</c:v>
                </c:pt>
                <c:pt idx="9">
                  <c:v>0.19170452924507467</c:v>
                </c:pt>
                <c:pt idx="10">
                  <c:v>0.18516612510020825</c:v>
                </c:pt>
                <c:pt idx="11">
                  <c:v>0.1741831439132876</c:v>
                </c:pt>
                <c:pt idx="12">
                  <c:v>0.17167387846410362</c:v>
                </c:pt>
                <c:pt idx="13">
                  <c:v>0.18753087703380697</c:v>
                </c:pt>
                <c:pt idx="14">
                  <c:v>0.18338195793190473</c:v>
                </c:pt>
                <c:pt idx="15">
                  <c:v>0.18705944390294238</c:v>
                </c:pt>
                <c:pt idx="16">
                  <c:v>0.18286878517417915</c:v>
                </c:pt>
                <c:pt idx="17">
                  <c:v>0.20033623316092458</c:v>
                </c:pt>
                <c:pt idx="18">
                  <c:v>0.19651680153652945</c:v>
                </c:pt>
                <c:pt idx="19">
                  <c:v>0.1878807508354802</c:v>
                </c:pt>
                <c:pt idx="20">
                  <c:v>0.1842678572968407</c:v>
                </c:pt>
                <c:pt idx="21">
                  <c:v>0.1829331902618488</c:v>
                </c:pt>
                <c:pt idx="22">
                  <c:v>0.18440468355894638</c:v>
                </c:pt>
                <c:pt idx="23">
                  <c:v>0.21007531396177584</c:v>
                </c:pt>
                <c:pt idx="24">
                  <c:v>0.2078964966588644</c:v>
                </c:pt>
                <c:pt idx="25">
                  <c:v>0.20489275463073475</c:v>
                </c:pt>
                <c:pt idx="26">
                  <c:v>0.18198032057604685</c:v>
                </c:pt>
                <c:pt idx="27">
                  <c:v>0.1516846656336527</c:v>
                </c:pt>
                <c:pt idx="28">
                  <c:v>0.140363653924243</c:v>
                </c:pt>
                <c:pt idx="29">
                  <c:v>0.13716696787642726</c:v>
                </c:pt>
                <c:pt idx="30">
                  <c:v>0.1569648147170547</c:v>
                </c:pt>
                <c:pt idx="31">
                  <c:v>0.160861476766502</c:v>
                </c:pt>
                <c:pt idx="32">
                  <c:v>0.1603031962113723</c:v>
                </c:pt>
                <c:pt idx="33">
                  <c:v>0.15935759202379815</c:v>
                </c:pt>
                <c:pt idx="34">
                  <c:v>0.16812984270316209</c:v>
                </c:pt>
                <c:pt idx="35">
                  <c:v>0.17115101491481488</c:v>
                </c:pt>
                <c:pt idx="36">
                  <c:v>0.20549860485706503</c:v>
                </c:pt>
                <c:pt idx="37">
                  <c:v>0.19330142306586248</c:v>
                </c:pt>
                <c:pt idx="38">
                  <c:v>0.18435290623387998</c:v>
                </c:pt>
                <c:pt idx="39">
                  <c:v>0.16946266616209016</c:v>
                </c:pt>
                <c:pt idx="40">
                  <c:v>0.16686450626674112</c:v>
                </c:pt>
                <c:pt idx="41">
                  <c:v>0.16644940815478845</c:v>
                </c:pt>
                <c:pt idx="42">
                  <c:v>0.16510503808446686</c:v>
                </c:pt>
                <c:pt idx="43">
                  <c:v>0.1739639745955389</c:v>
                </c:pt>
                <c:pt idx="44">
                  <c:v>0.1838531470682126</c:v>
                </c:pt>
                <c:pt idx="45">
                  <c:v>0.19229614696799127</c:v>
                </c:pt>
                <c:pt idx="46">
                  <c:v>0.19821004934959113</c:v>
                </c:pt>
                <c:pt idx="47">
                  <c:v>0.18999461436177797</c:v>
                </c:pt>
                <c:pt idx="48">
                  <c:v>0.19647928593593453</c:v>
                </c:pt>
                <c:pt idx="49">
                  <c:v>0.19881809587105562</c:v>
                </c:pt>
                <c:pt idx="50">
                  <c:v>0.2069356355332863</c:v>
                </c:pt>
                <c:pt idx="51">
                  <c:v>0.19917095624199835</c:v>
                </c:pt>
                <c:pt idx="52">
                  <c:v>0.20601970795204297</c:v>
                </c:pt>
                <c:pt idx="53">
                  <c:v>0.2615092278662798</c:v>
                </c:pt>
                <c:pt idx="54">
                  <c:v>0.16784140868051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881720430107527"/>
          <c:min val="0.0978878368536052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101.0431</c:v>
                </c:pt>
                <c:pt idx="1">
                  <c:v>1215.5929</c:v>
                </c:pt>
                <c:pt idx="2">
                  <c:v>1205.34</c:v>
                </c:pt>
                <c:pt idx="3">
                  <c:v>1212.7278</c:v>
                </c:pt>
                <c:pt idx="4">
                  <c:v>1211.7906</c:v>
                </c:pt>
                <c:pt idx="5">
                  <c:v>1189.1071</c:v>
                </c:pt>
                <c:pt idx="6">
                  <c:v>1211.5117</c:v>
                </c:pt>
                <c:pt idx="7">
                  <c:v>1192.4309</c:v>
                </c:pt>
                <c:pt idx="8">
                  <c:v>1149.548</c:v>
                </c:pt>
                <c:pt idx="9">
                  <c:v>1134.6055</c:v>
                </c:pt>
                <c:pt idx="10">
                  <c:v>1060.3578</c:v>
                </c:pt>
                <c:pt idx="11">
                  <c:v>981.5751</c:v>
                </c:pt>
                <c:pt idx="12">
                  <c:v>1002.7706</c:v>
                </c:pt>
                <c:pt idx="13">
                  <c:v>1018.955</c:v>
                </c:pt>
                <c:pt idx="14">
                  <c:v>1158.5364</c:v>
                </c:pt>
                <c:pt idx="15">
                  <c:v>1144.4155</c:v>
                </c:pt>
                <c:pt idx="16">
                  <c:v>1189.4776</c:v>
                </c:pt>
                <c:pt idx="17">
                  <c:v>1228.5552</c:v>
                </c:pt>
                <c:pt idx="18">
                  <c:v>1230.306</c:v>
                </c:pt>
                <c:pt idx="19">
                  <c:v>1288.0327</c:v>
                </c:pt>
                <c:pt idx="20">
                  <c:v>1301.9515</c:v>
                </c:pt>
                <c:pt idx="21">
                  <c:v>1281.4431</c:v>
                </c:pt>
                <c:pt idx="22">
                  <c:v>1282.2202</c:v>
                </c:pt>
                <c:pt idx="23">
                  <c:v>1292.2793</c:v>
                </c:pt>
                <c:pt idx="24">
                  <c:v>1303.0432</c:v>
                </c:pt>
                <c:pt idx="25">
                  <c:v>1297.9725</c:v>
                </c:pt>
                <c:pt idx="26">
                  <c:v>1275.5954</c:v>
                </c:pt>
                <c:pt idx="27">
                  <c:v>1300.9419</c:v>
                </c:pt>
                <c:pt idx="28">
                  <c:v>1317.7524</c:v>
                </c:pt>
                <c:pt idx="29">
                  <c:v>1353.8482</c:v>
                </c:pt>
                <c:pt idx="30">
                  <c:v>1352.1419</c:v>
                </c:pt>
                <c:pt idx="31">
                  <c:v>1286.7117</c:v>
                </c:pt>
                <c:pt idx="32">
                  <c:v>1353.2355</c:v>
                </c:pt>
                <c:pt idx="33">
                  <c:v>1338.2754</c:v>
                </c:pt>
                <c:pt idx="34">
                  <c:v>1338.5601</c:v>
                </c:pt>
                <c:pt idx="35">
                  <c:v>1359.3162</c:v>
                </c:pt>
                <c:pt idx="36">
                  <c:v>1398.8305</c:v>
                </c:pt>
                <c:pt idx="37">
                  <c:v>1413.0746</c:v>
                </c:pt>
                <c:pt idx="38">
                  <c:v>1435.2703</c:v>
                </c:pt>
                <c:pt idx="39">
                  <c:v>1461.7192</c:v>
                </c:pt>
                <c:pt idx="40">
                  <c:v>1527.3902</c:v>
                </c:pt>
                <c:pt idx="41">
                  <c:v>1490.9448</c:v>
                </c:pt>
                <c:pt idx="42">
                  <c:v>1517.6754</c:v>
                </c:pt>
                <c:pt idx="43">
                  <c:v>1514.0676</c:v>
                </c:pt>
                <c:pt idx="44">
                  <c:v>1509.9131</c:v>
                </c:pt>
                <c:pt idx="45">
                  <c:v>1502.4804</c:v>
                </c:pt>
                <c:pt idx="46">
                  <c:v>1464.8561</c:v>
                </c:pt>
                <c:pt idx="47">
                  <c:v>1482.9667</c:v>
                </c:pt>
                <c:pt idx="48">
                  <c:v>1398.8186</c:v>
                </c:pt>
                <c:pt idx="49">
                  <c:v>1339.817</c:v>
                </c:pt>
                <c:pt idx="50">
                  <c:v>1371.0071</c:v>
                </c:pt>
                <c:pt idx="51">
                  <c:v>1353.7929</c:v>
                </c:pt>
                <c:pt idx="52">
                  <c:v>1298.7295</c:v>
                </c:pt>
                <c:pt idx="53">
                  <c:v>1539.1542</c:v>
                </c:pt>
                <c:pt idx="54">
                  <c:v>1506.7537</c:v>
                </c:pt>
                <c:pt idx="55">
                  <c:v>1521.5468</c:v>
                </c:pt>
                <c:pt idx="56">
                  <c:v>1509.0374</c:v>
                </c:pt>
                <c:pt idx="57">
                  <c:v>1530.923</c:v>
                </c:pt>
                <c:pt idx="58">
                  <c:v>1540.4034</c:v>
                </c:pt>
                <c:pt idx="59">
                  <c:v>1535.9131</c:v>
                </c:pt>
                <c:pt idx="60">
                  <c:v>1514.8372</c:v>
                </c:pt>
                <c:pt idx="61">
                  <c:v>1493.4043</c:v>
                </c:pt>
                <c:pt idx="62">
                  <c:v>1384.4854</c:v>
                </c:pt>
                <c:pt idx="63">
                  <c:v>1387.1324</c:v>
                </c:pt>
                <c:pt idx="64">
                  <c:v>1343.0128</c:v>
                </c:pt>
                <c:pt idx="65">
                  <c:v>1338.9248</c:v>
                </c:pt>
                <c:pt idx="66">
                  <c:v>1507.5032</c:v>
                </c:pt>
                <c:pt idx="67">
                  <c:v>1509.7702</c:v>
                </c:pt>
                <c:pt idx="68">
                  <c:v>1469.6395</c:v>
                </c:pt>
                <c:pt idx="69">
                  <c:v>1515.6723</c:v>
                </c:pt>
                <c:pt idx="70">
                  <c:v>1573.4729</c:v>
                </c:pt>
                <c:pt idx="71">
                  <c:v>1583.1818</c:v>
                </c:pt>
                <c:pt idx="72">
                  <c:v>1557.1197</c:v>
                </c:pt>
                <c:pt idx="73">
                  <c:v>1546.378</c:v>
                </c:pt>
                <c:pt idx="74">
                  <c:v>1421.4393</c:v>
                </c:pt>
                <c:pt idx="75">
                  <c:v>1412.629</c:v>
                </c:pt>
                <c:pt idx="76">
                  <c:v>1367.2113</c:v>
                </c:pt>
                <c:pt idx="77">
                  <c:v>1361.0026</c:v>
                </c:pt>
                <c:pt idx="78">
                  <c:v>1411.5529</c:v>
                </c:pt>
                <c:pt idx="79">
                  <c:v>1418.3138</c:v>
                </c:pt>
                <c:pt idx="80">
                  <c:v>1425.1155</c:v>
                </c:pt>
                <c:pt idx="81">
                  <c:v>1445.7361</c:v>
                </c:pt>
                <c:pt idx="82">
                  <c:v>1439.9528</c:v>
                </c:pt>
                <c:pt idx="83">
                  <c:v>1418.7959</c:v>
                </c:pt>
                <c:pt idx="84">
                  <c:v>1454.7815</c:v>
                </c:pt>
                <c:pt idx="85">
                  <c:v>1450.122</c:v>
                </c:pt>
                <c:pt idx="86">
                  <c:v>1419.93</c:v>
                </c:pt>
                <c:pt idx="87">
                  <c:v>1434.5345</c:v>
                </c:pt>
                <c:pt idx="88">
                  <c:v>1431.3307</c:v>
                </c:pt>
                <c:pt idx="89">
                  <c:v>1477.1592</c:v>
                </c:pt>
                <c:pt idx="90">
                  <c:v>1426.0471</c:v>
                </c:pt>
                <c:pt idx="91">
                  <c:v>1425.8624</c:v>
                </c:pt>
                <c:pt idx="92">
                  <c:v>1431.7783</c:v>
                </c:pt>
                <c:pt idx="93">
                  <c:v>1434.6648</c:v>
                </c:pt>
                <c:pt idx="94">
                  <c:v>1483.6633</c:v>
                </c:pt>
                <c:pt idx="95">
                  <c:v>1454.4389</c:v>
                </c:pt>
                <c:pt idx="96">
                  <c:v>1364.3714</c:v>
                </c:pt>
                <c:pt idx="97">
                  <c:v>1394.5266</c:v>
                </c:pt>
                <c:pt idx="98">
                  <c:v>1359.7858</c:v>
                </c:pt>
                <c:pt idx="99">
                  <c:v>1351.4407</c:v>
                </c:pt>
                <c:pt idx="100">
                  <c:v>1294.8875</c:v>
                </c:pt>
                <c:pt idx="101">
                  <c:v>1439.9788</c:v>
                </c:pt>
                <c:pt idx="102">
                  <c:v>1467.7171</c:v>
                </c:pt>
                <c:pt idx="103">
                  <c:v>1368.7235</c:v>
                </c:pt>
                <c:pt idx="104">
                  <c:v>1367.1991</c:v>
                </c:pt>
              </c:numCache>
            </c:numRef>
          </c:xVal>
          <c:yVal>
            <c:numRef>
              <c:f>Sheet1!$B$2:$B$106</c:f>
              <c:numCache>
                <c:formatCode>General</c:formatCode>
                <c:ptCount val="105"/>
                <c:pt idx="0">
                  <c:v>0.23850293542074363</c:v>
                </c:pt>
                <c:pt idx="1">
                  <c:v>0.23524498886414255</c:v>
                </c:pt>
                <c:pt idx="2">
                  <c:v>0.24230330672748004</c:v>
                </c:pt>
                <c:pt idx="3">
                  <c:v>0.24149757073449557</c:v>
                </c:pt>
                <c:pt idx="4">
                  <c:v>0.22874365482233502</c:v>
                </c:pt>
                <c:pt idx="5">
                  <c:v>0.24724061810154527</c:v>
                </c:pt>
                <c:pt idx="6">
                  <c:v>0.25017205781142465</c:v>
                </c:pt>
                <c:pt idx="7">
                  <c:v>0.24281150159744408</c:v>
                </c:pt>
                <c:pt idx="8">
                  <c:v>0.2791149068322981</c:v>
                </c:pt>
                <c:pt idx="9">
                  <c:v>0.26337590610976874</c:v>
                </c:pt>
                <c:pt idx="10">
                  <c:v>0.27446380697050937</c:v>
                </c:pt>
                <c:pt idx="11">
                  <c:v>0.286527514231499</c:v>
                </c:pt>
                <c:pt idx="12">
                  <c:v>0.27262753702687875</c:v>
                </c:pt>
                <c:pt idx="13">
                  <c:v>0.2881999367288833</c:v>
                </c:pt>
                <c:pt idx="14">
                  <c:v>0.28322232794164287</c:v>
                </c:pt>
                <c:pt idx="15">
                  <c:v>0.2906810035842294</c:v>
                </c:pt>
                <c:pt idx="16">
                  <c:v>0.24166666666666667</c:v>
                </c:pt>
                <c:pt idx="17">
                  <c:v>0.26096302665520205</c:v>
                </c:pt>
                <c:pt idx="18">
                  <c:v>0.2504047490555855</c:v>
                </c:pt>
                <c:pt idx="19">
                  <c:v>0.23420548819400128</c:v>
                </c:pt>
                <c:pt idx="20">
                  <c:v>0.23537477148080438</c:v>
                </c:pt>
                <c:pt idx="21">
                  <c:v>0.21790722761596548</c:v>
                </c:pt>
                <c:pt idx="22">
                  <c:v>0.2077922077922078</c:v>
                </c:pt>
                <c:pt idx="23">
                  <c:v>0.1864951768488746</c:v>
                </c:pt>
                <c:pt idx="24">
                  <c:v>0.19137625516834023</c:v>
                </c:pt>
                <c:pt idx="25">
                  <c:v>0.19986263736263737</c:v>
                </c:pt>
                <c:pt idx="26">
                  <c:v>0.1876355748373102</c:v>
                </c:pt>
                <c:pt idx="27">
                  <c:v>0.19079312257348863</c:v>
                </c:pt>
                <c:pt idx="28">
                  <c:v>0.17355371900826447</c:v>
                </c:pt>
                <c:pt idx="29">
                  <c:v>0.17481789802289283</c:v>
                </c:pt>
                <c:pt idx="30">
                  <c:v>0.18407960199004975</c:v>
                </c:pt>
                <c:pt idx="31">
                  <c:v>0.1803594351732991</c:v>
                </c:pt>
                <c:pt idx="32">
                  <c:v>0.1744107744107744</c:v>
                </c:pt>
                <c:pt idx="33">
                  <c:v>0.17518667432510052</c:v>
                </c:pt>
                <c:pt idx="34">
                  <c:v>0.18597560975609756</c:v>
                </c:pt>
                <c:pt idx="35">
                  <c:v>0.1944060773480663</c:v>
                </c:pt>
                <c:pt idx="36">
                  <c:v>0.18355555555555556</c:v>
                </c:pt>
                <c:pt idx="37">
                  <c:v>0.16751845542305507</c:v>
                </c:pt>
                <c:pt idx="38">
                  <c:v>0.16052060737527116</c:v>
                </c:pt>
                <c:pt idx="39">
                  <c:v>0.1728833629366489</c:v>
                </c:pt>
                <c:pt idx="40">
                  <c:v>0.17647058823529413</c:v>
                </c:pt>
                <c:pt idx="41">
                  <c:v>0.17564655172413793</c:v>
                </c:pt>
                <c:pt idx="42">
                  <c:v>0.18037021093413688</c:v>
                </c:pt>
                <c:pt idx="43">
                  <c:v>0.19227913882702302</c:v>
                </c:pt>
                <c:pt idx="44">
                  <c:v>0.16314723748915244</c:v>
                </c:pt>
                <c:pt idx="45">
                  <c:v>0.1768613340714088</c:v>
                </c:pt>
                <c:pt idx="46">
                  <c:v>0.18289004661365507</c:v>
                </c:pt>
                <c:pt idx="47">
                  <c:v>0.1727447216890595</c:v>
                </c:pt>
                <c:pt idx="48">
                  <c:v>0.18564554931836408</c:v>
                </c:pt>
                <c:pt idx="49">
                  <c:v>0.2052797478329393</c:v>
                </c:pt>
                <c:pt idx="50">
                  <c:v>0.19347478895733516</c:v>
                </c:pt>
                <c:pt idx="51">
                  <c:v>0.18324607329842932</c:v>
                </c:pt>
                <c:pt idx="52">
                  <c:v>0.19669040636782573</c:v>
                </c:pt>
                <c:pt idx="53">
                  <c:v>0.19770600664050708</c:v>
                </c:pt>
                <c:pt idx="54">
                  <c:v>0.18242790073775988</c:v>
                </c:pt>
                <c:pt idx="55">
                  <c:v>0.18799424874191228</c:v>
                </c:pt>
                <c:pt idx="56">
                  <c:v>0.21083743842364533</c:v>
                </c:pt>
                <c:pt idx="57">
                  <c:v>0.198378041172801</c:v>
                </c:pt>
                <c:pt idx="58">
                  <c:v>0.19822320932815102</c:v>
                </c:pt>
                <c:pt idx="59">
                  <c:v>0.18152809785499024</c:v>
                </c:pt>
                <c:pt idx="60">
                  <c:v>0.18325876211782252</c:v>
                </c:pt>
                <c:pt idx="61">
                  <c:v>0.19786666666666666</c:v>
                </c:pt>
                <c:pt idx="62">
                  <c:v>0.22150363783346808</c:v>
                </c:pt>
                <c:pt idx="63">
                  <c:v>0.22826341692055307</c:v>
                </c:pt>
                <c:pt idx="64">
                  <c:v>0.22885572139303484</c:v>
                </c:pt>
                <c:pt idx="65">
                  <c:v>0.23352573352573353</c:v>
                </c:pt>
                <c:pt idx="66">
                  <c:v>0.2179237406067353</c:v>
                </c:pt>
                <c:pt idx="67">
                  <c:v>0.22954091816367264</c:v>
                </c:pt>
                <c:pt idx="68">
                  <c:v>0.21292115317818688</c:v>
                </c:pt>
                <c:pt idx="69">
                  <c:v>0.21935483870967742</c:v>
                </c:pt>
                <c:pt idx="70">
                  <c:v>0.2132385606397157</c:v>
                </c:pt>
                <c:pt idx="71">
                  <c:v>0.19280898876404495</c:v>
                </c:pt>
                <c:pt idx="72">
                  <c:v>0.2</c:v>
                </c:pt>
                <c:pt idx="73">
                  <c:v>0.2078559738134206</c:v>
                </c:pt>
                <c:pt idx="74">
                  <c:v>0.22282382340691378</c:v>
                </c:pt>
                <c:pt idx="75">
                  <c:v>0.20850409836065573</c:v>
                </c:pt>
                <c:pt idx="76">
                  <c:v>0.21454928835002635</c:v>
                </c:pt>
                <c:pt idx="77">
                  <c:v>0.2030430220356768</c:v>
                </c:pt>
                <c:pt idx="78">
                  <c:v>0.20214030915576695</c:v>
                </c:pt>
                <c:pt idx="79">
                  <c:v>0.20679199514857488</c:v>
                </c:pt>
                <c:pt idx="80">
                  <c:v>0.18264014466546113</c:v>
                </c:pt>
                <c:pt idx="81">
                  <c:v>0.19238578680203045</c:v>
                </c:pt>
                <c:pt idx="82">
                  <c:v>0.19714817110973343</c:v>
                </c:pt>
                <c:pt idx="83">
                  <c:v>0.19367588932806323</c:v>
                </c:pt>
                <c:pt idx="84">
                  <c:v>0.189792663476874</c:v>
                </c:pt>
                <c:pt idx="85">
                  <c:v>0.18952234206471494</c:v>
                </c:pt>
                <c:pt idx="86">
                  <c:v>0.1895910780669145</c:v>
                </c:pt>
                <c:pt idx="87">
                  <c:v>0.22675933970460468</c:v>
                </c:pt>
                <c:pt idx="88">
                  <c:v>0.20382165605095542</c:v>
                </c:pt>
                <c:pt idx="89">
                  <c:v>0.18988173455978974</c:v>
                </c:pt>
                <c:pt idx="90">
                  <c:v>0.1775766016713092</c:v>
                </c:pt>
                <c:pt idx="91">
                  <c:v>0.20373831775700935</c:v>
                </c:pt>
                <c:pt idx="92">
                  <c:v>0.1972180824639841</c:v>
                </c:pt>
                <c:pt idx="93">
                  <c:v>0.17023300047551118</c:v>
                </c:pt>
                <c:pt idx="94">
                  <c:v>0.16198704103671707</c:v>
                </c:pt>
                <c:pt idx="95">
                  <c:v>0.17115520907158044</c:v>
                </c:pt>
                <c:pt idx="96">
                  <c:v>0.15884892086330935</c:v>
                </c:pt>
                <c:pt idx="97">
                  <c:v>0.1532976827094474</c:v>
                </c:pt>
                <c:pt idx="98">
                  <c:v>0.17494646680942183</c:v>
                </c:pt>
                <c:pt idx="99">
                  <c:v>0.1748139207402937</c:v>
                </c:pt>
                <c:pt idx="100">
                  <c:v>0.20506999621642075</c:v>
                </c:pt>
                <c:pt idx="101">
                  <c:v>0.18140589569160998</c:v>
                </c:pt>
                <c:pt idx="102">
                  <c:v>0.1584372003835091</c:v>
                </c:pt>
                <c:pt idx="103">
                  <c:v>0.17103651065915218</c:v>
                </c:pt>
                <c:pt idx="104">
                  <c:v>0.172988969599139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58.4932</c:v>
                </c:pt>
                <c:pt idx="1">
                  <c:v>1478.1716</c:v>
                </c:pt>
                <c:pt idx="2">
                  <c:v>1492.4629</c:v>
                </c:pt>
                <c:pt idx="3">
                  <c:v>1513.9442</c:v>
                </c:pt>
                <c:pt idx="4">
                  <c:v>1507.3485</c:v>
                </c:pt>
                <c:pt idx="5">
                  <c:v>1514.8658</c:v>
                </c:pt>
                <c:pt idx="6">
                  <c:v>1486.8796</c:v>
                </c:pt>
                <c:pt idx="7">
                  <c:v>1459.8333</c:v>
                </c:pt>
                <c:pt idx="8">
                  <c:v>1484.2466</c:v>
                </c:pt>
                <c:pt idx="9">
                  <c:v>1335.7565</c:v>
                </c:pt>
                <c:pt idx="10">
                  <c:v>1376.1383</c:v>
                </c:pt>
                <c:pt idx="11">
                  <c:v>1465.8782</c:v>
                </c:pt>
                <c:pt idx="12">
                  <c:v>1464.0534</c:v>
                </c:pt>
                <c:pt idx="13">
                  <c:v>1376.4881</c:v>
                </c:pt>
                <c:pt idx="14">
                  <c:v>1412.8033</c:v>
                </c:pt>
                <c:pt idx="15">
                  <c:v>1373.5444</c:v>
                </c:pt>
                <c:pt idx="16">
                  <c:v>1375.8523</c:v>
                </c:pt>
                <c:pt idx="17">
                  <c:v>1271.5553</c:v>
                </c:pt>
                <c:pt idx="18">
                  <c:v>1303.0142</c:v>
                </c:pt>
                <c:pt idx="19">
                  <c:v>1357.5641</c:v>
                </c:pt>
                <c:pt idx="20">
                  <c:v>1372.171</c:v>
                </c:pt>
                <c:pt idx="21">
                  <c:v>1402.086</c:v>
                </c:pt>
                <c:pt idx="22">
                  <c:v>1408.2439</c:v>
                </c:pt>
                <c:pt idx="23">
                  <c:v>1251.5228</c:v>
                </c:pt>
                <c:pt idx="24">
                  <c:v>1268.6843</c:v>
                </c:pt>
                <c:pt idx="25">
                  <c:v>1258.7795</c:v>
                </c:pt>
                <c:pt idx="26">
                  <c:v>1256.3916</c:v>
                </c:pt>
                <c:pt idx="27">
                  <c:v>1368.2953</c:v>
                </c:pt>
                <c:pt idx="28">
                  <c:v>1488.2046</c:v>
                </c:pt>
                <c:pt idx="29">
                  <c:v>1504.8058</c:v>
                </c:pt>
                <c:pt idx="30">
                  <c:v>1482.1208</c:v>
                </c:pt>
                <c:pt idx="31">
                  <c:v>1448.0492</c:v>
                </c:pt>
                <c:pt idx="32">
                  <c:v>1507.5536</c:v>
                </c:pt>
                <c:pt idx="33">
                  <c:v>1514.0307</c:v>
                </c:pt>
                <c:pt idx="34">
                  <c:v>1521.1359</c:v>
                </c:pt>
                <c:pt idx="35">
                  <c:v>1515.8821</c:v>
                </c:pt>
                <c:pt idx="36">
                  <c:v>1285.4728</c:v>
                </c:pt>
                <c:pt idx="37">
                  <c:v>1370.2846</c:v>
                </c:pt>
                <c:pt idx="38">
                  <c:v>1357.109</c:v>
                </c:pt>
                <c:pt idx="39">
                  <c:v>1475.7435</c:v>
                </c:pt>
                <c:pt idx="40">
                  <c:v>1511.5876</c:v>
                </c:pt>
                <c:pt idx="41">
                  <c:v>1532.9797</c:v>
                </c:pt>
                <c:pt idx="42">
                  <c:v>1568.6151</c:v>
                </c:pt>
                <c:pt idx="43">
                  <c:v>1504.082</c:v>
                </c:pt>
                <c:pt idx="44">
                  <c:v>1439.7235</c:v>
                </c:pt>
                <c:pt idx="45">
                  <c:v>1367.8595</c:v>
                </c:pt>
                <c:pt idx="46">
                  <c:v>1329.1927</c:v>
                </c:pt>
                <c:pt idx="47">
                  <c:v>1385.1248</c:v>
                </c:pt>
                <c:pt idx="48">
                  <c:v>1308.209</c:v>
                </c:pt>
                <c:pt idx="49">
                  <c:v>1264.6009</c:v>
                </c:pt>
                <c:pt idx="50">
                  <c:v>1227.1138</c:v>
                </c:pt>
                <c:pt idx="51">
                  <c:v>1280.0107</c:v>
                </c:pt>
              </c:numCache>
            </c:numRef>
          </c:xVal>
          <c:yVal>
            <c:numRef>
              <c:f>Sheet1!$B$109:$B$160</c:f>
              <c:numCache>
                <c:formatCode>General</c:formatCode>
                <c:ptCount val="52"/>
                <c:pt idx="0">
                  <c:v>0.16624621594349143</c:v>
                </c:pt>
                <c:pt idx="1">
                  <c:v>0.15533188248095756</c:v>
                </c:pt>
                <c:pt idx="2">
                  <c:v>0.15379008746355685</c:v>
                </c:pt>
                <c:pt idx="3">
                  <c:v>0.15476190476190477</c:v>
                </c:pt>
                <c:pt idx="4">
                  <c:v>0.14289439374185137</c:v>
                </c:pt>
                <c:pt idx="5">
                  <c:v>0.1441823482639809</c:v>
                </c:pt>
                <c:pt idx="6">
                  <c:v>0.16676961087090797</c:v>
                </c:pt>
                <c:pt idx="7">
                  <c:v>0.18206157965194109</c:v>
                </c:pt>
                <c:pt idx="8">
                  <c:v>0.19571045576407506</c:v>
                </c:pt>
                <c:pt idx="9">
                  <c:v>0.24496644295302014</c:v>
                </c:pt>
                <c:pt idx="10">
                  <c:v>0.21067415730337077</c:v>
                </c:pt>
                <c:pt idx="11">
                  <c:v>0.21506024096385543</c:v>
                </c:pt>
                <c:pt idx="12">
                  <c:v>0.2016004924592182</c:v>
                </c:pt>
                <c:pt idx="13">
                  <c:v>0.21881331403762663</c:v>
                </c:pt>
                <c:pt idx="14">
                  <c:v>0.20840393087089124</c:v>
                </c:pt>
                <c:pt idx="15">
                  <c:v>0.21081830790568654</c:v>
                </c:pt>
                <c:pt idx="16">
                  <c:v>0.20080160320641283</c:v>
                </c:pt>
                <c:pt idx="17">
                  <c:v>0.21092121717382242</c:v>
                </c:pt>
                <c:pt idx="18">
                  <c:v>0.19435215946843853</c:v>
                </c:pt>
                <c:pt idx="19">
                  <c:v>0.19491878384006664</c:v>
                </c:pt>
                <c:pt idx="20">
                  <c:v>0.1833729216152019</c:v>
                </c:pt>
                <c:pt idx="21">
                  <c:v>0.18355263157894736</c:v>
                </c:pt>
                <c:pt idx="22">
                  <c:v>0.18373879641485275</c:v>
                </c:pt>
                <c:pt idx="23">
                  <c:v>0.20814732142857142</c:v>
                </c:pt>
                <c:pt idx="24">
                  <c:v>0.2131324004305705</c:v>
                </c:pt>
                <c:pt idx="25">
                  <c:v>0.2450873362445415</c:v>
                </c:pt>
                <c:pt idx="26">
                  <c:v>0.24171122994652405</c:v>
                </c:pt>
                <c:pt idx="27">
                  <c:v>0.17281455280444669</c:v>
                </c:pt>
                <c:pt idx="28">
                  <c:v>0.15226130653266332</c:v>
                </c:pt>
                <c:pt idx="29">
                  <c:v>0.14499700419412823</c:v>
                </c:pt>
                <c:pt idx="30">
                  <c:v>0.16099635479951396</c:v>
                </c:pt>
                <c:pt idx="31">
                  <c:v>0.13626209977661952</c:v>
                </c:pt>
                <c:pt idx="32">
                  <c:v>0.12235979606700656</c:v>
                </c:pt>
                <c:pt idx="33">
                  <c:v>0.14911706998037932</c:v>
                </c:pt>
                <c:pt idx="34">
                  <c:v>0.18265993265993266</c:v>
                </c:pt>
                <c:pt idx="35">
                  <c:v>0.1976694000863185</c:v>
                </c:pt>
                <c:pt idx="36">
                  <c:v>0.18671875</c:v>
                </c:pt>
                <c:pt idx="37">
                  <c:v>0.17105263157894737</c:v>
                </c:pt>
                <c:pt idx="38">
                  <c:v>0.16866506794564348</c:v>
                </c:pt>
                <c:pt idx="39">
                  <c:v>0.1673913043478261</c:v>
                </c:pt>
                <c:pt idx="40">
                  <c:v>0.15866957470010906</c:v>
                </c:pt>
                <c:pt idx="41">
                  <c:v>0.15308770108977685</c:v>
                </c:pt>
                <c:pt idx="42">
                  <c:v>0.15451895043731778</c:v>
                </c:pt>
                <c:pt idx="43">
                  <c:v>0.15113954418232706</c:v>
                </c:pt>
                <c:pt idx="44">
                  <c:v>0.14966887417218544</c:v>
                </c:pt>
                <c:pt idx="45">
                  <c:v>0.1783676507070206</c:v>
                </c:pt>
                <c:pt idx="46">
                  <c:v>0.17208714872118724</c:v>
                </c:pt>
                <c:pt idx="47">
                  <c:v>0.17464702271332105</c:v>
                </c:pt>
                <c:pt idx="48">
                  <c:v>0.1546818416968443</c:v>
                </c:pt>
                <c:pt idx="49">
                  <c:v>0.18185567010309278</c:v>
                </c:pt>
                <c:pt idx="50">
                  <c:v>0.20453146164265484</c:v>
                </c:pt>
                <c:pt idx="51">
                  <c:v>0.1812915683329757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85.639103076628</c:v>
                </c:pt>
              </c:numCache>
            </c:numRef>
          </c:xVal>
          <c:yVal>
            <c:numRef>
              <c:f>Sheet1!$B$163:$B$164</c:f>
              <c:numCache>
                <c:formatCode>General</c:formatCode>
                <c:ptCount val="2"/>
                <c:pt idx="0">
                  <c:v>0.2615092278662798</c:v>
                </c:pt>
                <c:pt idx="1">
                  <c:v>0.261509227866279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85.639103076628</c:v>
                </c:pt>
                <c:pt idx="1">
                  <c:v>985.639103076628</c:v>
                </c:pt>
              </c:numCache>
            </c:numRef>
          </c:xVal>
          <c:yVal>
            <c:numRef>
              <c:f>Sheet1!$B$167:$B$168</c:f>
              <c:numCache>
                <c:formatCode>General</c:formatCode>
                <c:ptCount val="2"/>
                <c:pt idx="0">
                  <c:v>0.26150922786627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74.0244997324503</c:v>
                </c:pt>
              </c:numCache>
            </c:numRef>
          </c:xVal>
          <c:yVal>
            <c:numRef>
              <c:f>Sheet1!$B$171:$B$172</c:f>
              <c:numCache>
                <c:formatCode>General</c:formatCode>
                <c:ptCount val="2"/>
                <c:pt idx="0">
                  <c:v>0.20601970795204297</c:v>
                </c:pt>
                <c:pt idx="1">
                  <c:v>0.2060197079520429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74.0244997324503</c:v>
                </c:pt>
                <c:pt idx="1">
                  <c:v>1274.0244997324503</c:v>
                </c:pt>
              </c:numCache>
            </c:numRef>
          </c:xVal>
          <c:yVal>
            <c:numRef>
              <c:f>Sheet1!$B$175:$B$176</c:f>
              <c:numCache>
                <c:formatCode>General</c:formatCode>
                <c:ptCount val="2"/>
                <c:pt idx="0">
                  <c:v>0.2060197079520429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72.441498042805</c:v>
                </c:pt>
              </c:numCache>
            </c:numRef>
          </c:xVal>
          <c:yVal>
            <c:numRef>
              <c:f>Sheet1!$B$179:$B$180</c:f>
              <c:numCache>
                <c:formatCode>General</c:formatCode>
                <c:ptCount val="2"/>
                <c:pt idx="0">
                  <c:v>0.1678414086805107</c:v>
                </c:pt>
                <c:pt idx="1">
                  <c:v>0.167841408680510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72.441498042805</c:v>
                </c:pt>
                <c:pt idx="1">
                  <c:v>1472.441498042805</c:v>
                </c:pt>
              </c:numCache>
            </c:numRef>
          </c:xVal>
          <c:yVal>
            <c:numRef>
              <c:f>Sheet1!$B$183:$B$184</c:f>
              <c:numCache>
                <c:formatCode>General</c:formatCode>
                <c:ptCount val="2"/>
                <c:pt idx="0">
                  <c:v>0.16784140868051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58.4932</c:v>
                </c:pt>
                <c:pt idx="1">
                  <c:v>1478.1716</c:v>
                </c:pt>
                <c:pt idx="2">
                  <c:v>1492.4629</c:v>
                </c:pt>
                <c:pt idx="3">
                  <c:v>1513.9442</c:v>
                </c:pt>
                <c:pt idx="4">
                  <c:v>1507.3485</c:v>
                </c:pt>
                <c:pt idx="5">
                  <c:v>1514.8658</c:v>
                </c:pt>
                <c:pt idx="6">
                  <c:v>1486.8796</c:v>
                </c:pt>
                <c:pt idx="7">
                  <c:v>1459.8333</c:v>
                </c:pt>
                <c:pt idx="8">
                  <c:v>1484.2466</c:v>
                </c:pt>
                <c:pt idx="9">
                  <c:v>1335.7565</c:v>
                </c:pt>
                <c:pt idx="10">
                  <c:v>1376.1383</c:v>
                </c:pt>
                <c:pt idx="11">
                  <c:v>1465.8782</c:v>
                </c:pt>
                <c:pt idx="12">
                  <c:v>1464.0534</c:v>
                </c:pt>
                <c:pt idx="13">
                  <c:v>1376.4881</c:v>
                </c:pt>
                <c:pt idx="14">
                  <c:v>1412.8033</c:v>
                </c:pt>
                <c:pt idx="15">
                  <c:v>1373.5444</c:v>
                </c:pt>
                <c:pt idx="16">
                  <c:v>1375.8523</c:v>
                </c:pt>
                <c:pt idx="17">
                  <c:v>1271.5553</c:v>
                </c:pt>
                <c:pt idx="18">
                  <c:v>1303.0142</c:v>
                </c:pt>
                <c:pt idx="19">
                  <c:v>1357.5641</c:v>
                </c:pt>
                <c:pt idx="20">
                  <c:v>1372.171</c:v>
                </c:pt>
                <c:pt idx="21">
                  <c:v>1402.086</c:v>
                </c:pt>
                <c:pt idx="22">
                  <c:v>1408.2439</c:v>
                </c:pt>
                <c:pt idx="23">
                  <c:v>1251.5228</c:v>
                </c:pt>
                <c:pt idx="24">
                  <c:v>1268.6843</c:v>
                </c:pt>
                <c:pt idx="25">
                  <c:v>1258.7795</c:v>
                </c:pt>
                <c:pt idx="26">
                  <c:v>1256.3916</c:v>
                </c:pt>
                <c:pt idx="27">
                  <c:v>1368.2953</c:v>
                </c:pt>
                <c:pt idx="28">
                  <c:v>1488.2046</c:v>
                </c:pt>
                <c:pt idx="29">
                  <c:v>1504.8058</c:v>
                </c:pt>
                <c:pt idx="30">
                  <c:v>1482.1208</c:v>
                </c:pt>
                <c:pt idx="31">
                  <c:v>1448.0492</c:v>
                </c:pt>
                <c:pt idx="32">
                  <c:v>1507.5536</c:v>
                </c:pt>
                <c:pt idx="33">
                  <c:v>1514.0307</c:v>
                </c:pt>
                <c:pt idx="34">
                  <c:v>1521.1359</c:v>
                </c:pt>
                <c:pt idx="35">
                  <c:v>1515.8821</c:v>
                </c:pt>
                <c:pt idx="36">
                  <c:v>1285.4728</c:v>
                </c:pt>
                <c:pt idx="37">
                  <c:v>1370.2846</c:v>
                </c:pt>
                <c:pt idx="38">
                  <c:v>1357.109</c:v>
                </c:pt>
                <c:pt idx="39">
                  <c:v>1475.7435</c:v>
                </c:pt>
                <c:pt idx="40">
                  <c:v>1511.5876</c:v>
                </c:pt>
                <c:pt idx="41">
                  <c:v>1532.9797</c:v>
                </c:pt>
                <c:pt idx="42">
                  <c:v>1568.6151</c:v>
                </c:pt>
                <c:pt idx="43">
                  <c:v>1504.082</c:v>
                </c:pt>
                <c:pt idx="44">
                  <c:v>1439.7235</c:v>
                </c:pt>
                <c:pt idx="45">
                  <c:v>1367.8595</c:v>
                </c:pt>
                <c:pt idx="46">
                  <c:v>1329.1927</c:v>
                </c:pt>
                <c:pt idx="47">
                  <c:v>1385.1248</c:v>
                </c:pt>
                <c:pt idx="48">
                  <c:v>1308.209</c:v>
                </c:pt>
                <c:pt idx="49">
                  <c:v>1264.6009</c:v>
                </c:pt>
                <c:pt idx="50">
                  <c:v>1227.1138</c:v>
                </c:pt>
                <c:pt idx="51">
                  <c:v>1280.0107</c:v>
                </c:pt>
                <c:pt idx="52">
                  <c:v>1274.0244997324503</c:v>
                </c:pt>
                <c:pt idx="53">
                  <c:v>985.639103076628</c:v>
                </c:pt>
                <c:pt idx="54">
                  <c:v>1472.441498042805</c:v>
                </c:pt>
              </c:numCache>
            </c:numRef>
          </c:xVal>
          <c:yVal>
            <c:numRef>
              <c:f>Sheet1!$B$187:$B$241</c:f>
              <c:numCache>
                <c:formatCode>General</c:formatCode>
                <c:ptCount val="55"/>
                <c:pt idx="0">
                  <c:v>0.17052526289432057</c:v>
                </c:pt>
                <c:pt idx="1">
                  <c:v>0.16673885421571638</c:v>
                </c:pt>
                <c:pt idx="2">
                  <c:v>0.1639890014660753</c:v>
                </c:pt>
                <c:pt idx="3">
                  <c:v>0.1598556887603828</c:v>
                </c:pt>
                <c:pt idx="4">
                  <c:v>0.16112479680379427</c:v>
                </c:pt>
                <c:pt idx="5">
                  <c:v>0.15967835959550136</c:v>
                </c:pt>
                <c:pt idx="6">
                  <c:v>0.1650633091117808</c:v>
                </c:pt>
                <c:pt idx="7">
                  <c:v>0.17026740827858972</c:v>
                </c:pt>
                <c:pt idx="8">
                  <c:v>0.16556993638080497</c:v>
                </c:pt>
                <c:pt idx="9">
                  <c:v>0.19414157855327852</c:v>
                </c:pt>
                <c:pt idx="10">
                  <c:v>0.18637153637618797</c:v>
                </c:pt>
                <c:pt idx="11">
                  <c:v>0.1691042821188768</c:v>
                </c:pt>
                <c:pt idx="12">
                  <c:v>0.16945540002260456</c:v>
                </c:pt>
                <c:pt idx="13">
                  <c:v>0.1863042297986321</c:v>
                </c:pt>
                <c:pt idx="14">
                  <c:v>0.1793166602581589</c:v>
                </c:pt>
                <c:pt idx="15">
                  <c:v>0.1868706402398878</c:v>
                </c:pt>
                <c:pt idx="16">
                  <c:v>0.18642656691129655</c:v>
                </c:pt>
                <c:pt idx="17">
                  <c:v>0.20649481768129724</c:v>
                </c:pt>
                <c:pt idx="18">
                  <c:v>0.20044167047525702</c:v>
                </c:pt>
                <c:pt idx="19">
                  <c:v>0.18994548100980296</c:v>
                </c:pt>
                <c:pt idx="20">
                  <c:v>0.18713490225708407</c:v>
                </c:pt>
                <c:pt idx="21">
                  <c:v>0.18137882373340108</c:v>
                </c:pt>
                <c:pt idx="22">
                  <c:v>0.18019395473988653</c:v>
                </c:pt>
                <c:pt idx="23">
                  <c:v>0.21034936031962853</c:v>
                </c:pt>
                <c:pt idx="24">
                  <c:v>0.20704723959142574</c:v>
                </c:pt>
                <c:pt idx="25">
                  <c:v>0.20895306631920027</c:v>
                </c:pt>
                <c:pt idx="26">
                  <c:v>0.2094125328044653</c:v>
                </c:pt>
                <c:pt idx="27">
                  <c:v>0.1878806429735888</c:v>
                </c:pt>
                <c:pt idx="28">
                  <c:v>0.16480835995437215</c:v>
                </c:pt>
                <c:pt idx="29">
                  <c:v>0.16161404904722299</c:v>
                </c:pt>
                <c:pt idx="30">
                  <c:v>0.16597897103651765</c:v>
                </c:pt>
                <c:pt idx="31">
                  <c:v>0.17253483949807602</c:v>
                </c:pt>
                <c:pt idx="32">
                  <c:v>0.16108533259837204</c:v>
                </c:pt>
                <c:pt idx="33">
                  <c:v>0.15983904490972928</c:v>
                </c:pt>
                <c:pt idx="34">
                  <c:v>0.15847190169975195</c:v>
                </c:pt>
                <c:pt idx="35">
                  <c:v>0.15948280878140747</c:v>
                </c:pt>
                <c:pt idx="36">
                  <c:v>0.2038168894562142</c:v>
                </c:pt>
                <c:pt idx="37">
                  <c:v>0.18749787289145065</c:v>
                </c:pt>
                <c:pt idx="38">
                  <c:v>0.1900330488298307</c:v>
                </c:pt>
                <c:pt idx="39">
                  <c:v>0.16720605576220987</c:v>
                </c:pt>
                <c:pt idx="40">
                  <c:v>0.16030913267309915</c:v>
                </c:pt>
                <c:pt idx="41">
                  <c:v>0.1561929833370978</c:v>
                </c:pt>
                <c:pt idx="42">
                  <c:v>0.1493362171454597</c:v>
                </c:pt>
                <c:pt idx="43">
                  <c:v>0.16175331863222853</c:v>
                </c:pt>
                <c:pt idx="44">
                  <c:v>0.17413682455455698</c:v>
                </c:pt>
                <c:pt idx="45">
                  <c:v>0.18796449719456892</c:v>
                </c:pt>
                <c:pt idx="46">
                  <c:v>0.1954045485754664</c:v>
                </c:pt>
                <c:pt idx="47">
                  <c:v>0.184642403845582</c:v>
                </c:pt>
                <c:pt idx="48">
                  <c:v>0.19944211584664834</c:v>
                </c:pt>
                <c:pt idx="49">
                  <c:v>0.20783294479094463</c:v>
                </c:pt>
                <c:pt idx="50">
                  <c:v>0.21504600483524206</c:v>
                </c:pt>
                <c:pt idx="51">
                  <c:v>0.20486787646955898</c:v>
                </c:pt>
                <c:pt idx="52">
                  <c:v>0.20601970795204297</c:v>
                </c:pt>
                <c:pt idx="53">
                  <c:v>0.2615092278662798</c:v>
                </c:pt>
                <c:pt idx="54">
                  <c:v>0.1678414086805107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00.0"/>
          <c:min val="78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881720430107527"/>
          <c:min val="0.0978878368536052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7517460055629203</c:v>
                </c:pt>
                <c:pt idx="1">
                  <c:v>0.19561587441426134</c:v>
                </c:pt>
                <c:pt idx="2">
                  <c:v>0.18874201646825534</c:v>
                </c:pt>
                <c:pt idx="3">
                  <c:v>0.1784616172472349</c:v>
                </c:pt>
                <c:pt idx="4">
                  <c:v>0.18987681117488386</c:v>
                </c:pt>
                <c:pt idx="5">
                  <c:v>0.1544827499298297</c:v>
                </c:pt>
                <c:pt idx="6">
                  <c:v>0.16299922183591026</c:v>
                </c:pt>
                <c:pt idx="7">
                  <c:v>0.15634709897765756</c:v>
                </c:pt>
                <c:pt idx="8">
                  <c:v>0.13834826102293837</c:v>
                </c:pt>
                <c:pt idx="9">
                  <c:v>0.14763638622542796</c:v>
                </c:pt>
                <c:pt idx="10">
                  <c:v>0.13952321032157053</c:v>
                </c:pt>
                <c:pt idx="11">
                  <c:v>0.12596111791172113</c:v>
                </c:pt>
                <c:pt idx="12">
                  <c:v>0.12439316239316238</c:v>
                </c:pt>
                <c:pt idx="13">
                  <c:v>0.13439929829652247</c:v>
                </c:pt>
                <c:pt idx="14">
                  <c:v>0.1556296640835551</c:v>
                </c:pt>
                <c:pt idx="15">
                  <c:v>0.16284987114415214</c:v>
                </c:pt>
                <c:pt idx="16">
                  <c:v>0.16185277248951246</c:v>
                </c:pt>
                <c:pt idx="17">
                  <c:v>0.17513303097478727</c:v>
                </c:pt>
                <c:pt idx="18">
                  <c:v>0.15916974526379815</c:v>
                </c:pt>
                <c:pt idx="19">
                  <c:v>0.15741091574946176</c:v>
                </c:pt>
                <c:pt idx="20">
                  <c:v>0.1481386380805032</c:v>
                </c:pt>
                <c:pt idx="21">
                  <c:v>0.14824768488206636</c:v>
                </c:pt>
                <c:pt idx="22">
                  <c:v>0.15404406638500265</c:v>
                </c:pt>
                <c:pt idx="23">
                  <c:v>0.16920233314677963</c:v>
                </c:pt>
                <c:pt idx="24">
                  <c:v>0.16794679426041076</c:v>
                </c:pt>
                <c:pt idx="25">
                  <c:v>0.16650467394166402</c:v>
                </c:pt>
                <c:pt idx="26">
                  <c:v>0.16435851597228185</c:v>
                </c:pt>
                <c:pt idx="27">
                  <c:v>0.14775722288243967</c:v>
                </c:pt>
                <c:pt idx="28">
                  <c:v>0.14990043455519342</c:v>
                </c:pt>
                <c:pt idx="29">
                  <c:v>0.16416980733216305</c:v>
                </c:pt>
                <c:pt idx="30">
                  <c:v>0.15464055921764758</c:v>
                </c:pt>
                <c:pt idx="31">
                  <c:v>0.149165833569865</c:v>
                </c:pt>
                <c:pt idx="32">
                  <c:v>0.16613851465972485</c:v>
                </c:pt>
                <c:pt idx="33">
                  <c:v>0.1481704384410983</c:v>
                </c:pt>
                <c:pt idx="34">
                  <c:v>0.133663332968892</c:v>
                </c:pt>
                <c:pt idx="35">
                  <c:v>0.13550014553158232</c:v>
                </c:pt>
                <c:pt idx="36">
                  <c:v>0.16024963434254874</c:v>
                </c:pt>
                <c:pt idx="37">
                  <c:v>0.15434482709054573</c:v>
                </c:pt>
                <c:pt idx="38">
                  <c:v>0.16040721543639974</c:v>
                </c:pt>
                <c:pt idx="39">
                  <c:v>0.1595515439080638</c:v>
                </c:pt>
                <c:pt idx="40">
                  <c:v>0.17670834005316785</c:v>
                </c:pt>
                <c:pt idx="41">
                  <c:v>0.16290687142367388</c:v>
                </c:pt>
                <c:pt idx="42">
                  <c:v>0.1727348196189372</c:v>
                </c:pt>
                <c:pt idx="43">
                  <c:v>0.15140734291827027</c:v>
                </c:pt>
                <c:pt idx="44">
                  <c:v>0.16099241993402175</c:v>
                </c:pt>
                <c:pt idx="45">
                  <c:v>0.14798290124651586</c:v>
                </c:pt>
                <c:pt idx="46">
                  <c:v>0.15010223940111583</c:v>
                </c:pt>
                <c:pt idx="47">
                  <c:v>0.15260590676123353</c:v>
                </c:pt>
                <c:pt idx="48">
                  <c:v>0.1394868736250871</c:v>
                </c:pt>
                <c:pt idx="49">
                  <c:v>0.13884181755954478</c:v>
                </c:pt>
                <c:pt idx="50">
                  <c:v>0.15222671781576333</c:v>
                </c:pt>
                <c:pt idx="51">
                  <c:v>0.15736905138989</c:v>
                </c:pt>
                <c:pt idx="52">
                  <c:v>0.13283681158185492</c:v>
                </c:pt>
                <c:pt idx="53">
                  <c:v>0.15907361583155338</c:v>
                </c:pt>
                <c:pt idx="54">
                  <c:v>0.15150576552555728</c:v>
                </c:pt>
                <c:pt idx="55">
                  <c:v>0.16571735092031728</c:v>
                </c:pt>
                <c:pt idx="56">
                  <c:v>0.152855891634686</c:v>
                </c:pt>
                <c:pt idx="57">
                  <c:v>0.1753345281342752</c:v>
                </c:pt>
                <c:pt idx="58">
                  <c:v>0.19431804639596764</c:v>
                </c:pt>
                <c:pt idx="59">
                  <c:v>0.18794292829251016</c:v>
                </c:pt>
                <c:pt idx="60">
                  <c:v>0.17948324856844358</c:v>
                </c:pt>
                <c:pt idx="61">
                  <c:v>0.17059864530397909</c:v>
                </c:pt>
                <c:pt idx="62">
                  <c:v>0.14695649517513756</c:v>
                </c:pt>
                <c:pt idx="63">
                  <c:v>0.15678711450935057</c:v>
                </c:pt>
                <c:pt idx="64">
                  <c:v>0.1557159547295946</c:v>
                </c:pt>
                <c:pt idx="65">
                  <c:v>0.15074531985207934</c:v>
                </c:pt>
                <c:pt idx="66">
                  <c:v>0.1545443846429853</c:v>
                </c:pt>
                <c:pt idx="67">
                  <c:v>0.149623804358525</c:v>
                </c:pt>
                <c:pt idx="68">
                  <c:v>0.14364261388048047</c:v>
                </c:pt>
                <c:pt idx="69">
                  <c:v>0.1546696905482244</c:v>
                </c:pt>
                <c:pt idx="70">
                  <c:v>0.16423105949332148</c:v>
                </c:pt>
                <c:pt idx="71">
                  <c:v>0.15784700668504514</c:v>
                </c:pt>
                <c:pt idx="72">
                  <c:v>0.1466020207417345</c:v>
                </c:pt>
                <c:pt idx="73">
                  <c:v>0.16721799612181518</c:v>
                </c:pt>
                <c:pt idx="74">
                  <c:v>0.15024025568421526</c:v>
                </c:pt>
                <c:pt idx="75">
                  <c:v>0.14472092547039686</c:v>
                </c:pt>
                <c:pt idx="76">
                  <c:v>0.1384569004710311</c:v>
                </c:pt>
                <c:pt idx="77">
                  <c:v>0.14347844384399375</c:v>
                </c:pt>
                <c:pt idx="78">
                  <c:v>0.13858823127907616</c:v>
                </c:pt>
                <c:pt idx="79">
                  <c:v>0.13119147823672672</c:v>
                </c:pt>
                <c:pt idx="80">
                  <c:v>0.13135299002552134</c:v>
                </c:pt>
                <c:pt idx="81">
                  <c:v>0.1396354295641939</c:v>
                </c:pt>
                <c:pt idx="82">
                  <c:v>0.13132240045809673</c:v>
                </c:pt>
                <c:pt idx="83">
                  <c:v>0.13589948014754583</c:v>
                </c:pt>
                <c:pt idx="84">
                  <c:v>0.13699616918130847</c:v>
                </c:pt>
                <c:pt idx="85">
                  <c:v>0.1249858336167041</c:v>
                </c:pt>
                <c:pt idx="86">
                  <c:v>0.12843025169952352</c:v>
                </c:pt>
                <c:pt idx="87">
                  <c:v>0.12142141110513409</c:v>
                </c:pt>
                <c:pt idx="88">
                  <c:v>0.14582453893262556</c:v>
                </c:pt>
                <c:pt idx="89">
                  <c:v>0.15011734872878793</c:v>
                </c:pt>
                <c:pt idx="90">
                  <c:v>0.13659573913339915</c:v>
                </c:pt>
                <c:pt idx="91">
                  <c:v>0.13901989994768701</c:v>
                </c:pt>
                <c:pt idx="92">
                  <c:v>0.13713932758451783</c:v>
                </c:pt>
                <c:pt idx="93">
                  <c:v>0.1330066026831762</c:v>
                </c:pt>
                <c:pt idx="94">
                  <c:v>0.13428423744451598</c:v>
                </c:pt>
                <c:pt idx="95">
                  <c:v>0.14297815030052183</c:v>
                </c:pt>
                <c:pt idx="96">
                  <c:v>0.13469311336419343</c:v>
                </c:pt>
                <c:pt idx="97">
                  <c:v>0.1519722974334826</c:v>
                </c:pt>
                <c:pt idx="98">
                  <c:v>0.1472924424387949</c:v>
                </c:pt>
                <c:pt idx="99">
                  <c:v>0.14063970719848815</c:v>
                </c:pt>
                <c:pt idx="100">
                  <c:v>0.14298190994713847</c:v>
                </c:pt>
                <c:pt idx="101">
                  <c:v>0.15710704930069969</c:v>
                </c:pt>
                <c:pt idx="102">
                  <c:v>0.16661315211894168</c:v>
                </c:pt>
                <c:pt idx="103">
                  <c:v>0.14267680779367464</c:v>
                </c:pt>
                <c:pt idx="104">
                  <c:v>0.14670631602761014</c:v>
                </c:pt>
              </c:numCache>
            </c:numRef>
          </c:xVal>
          <c:yVal>
            <c:numRef>
              <c:f>Sheet1!$B$2:$B$106</c:f>
              <c:numCache>
                <c:formatCode>General</c:formatCode>
                <c:ptCount val="105"/>
                <c:pt idx="0">
                  <c:v>0.23850293542074363</c:v>
                </c:pt>
                <c:pt idx="1">
                  <c:v>0.23524498886414255</c:v>
                </c:pt>
                <c:pt idx="2">
                  <c:v>0.24230330672748004</c:v>
                </c:pt>
                <c:pt idx="3">
                  <c:v>0.24149757073449557</c:v>
                </c:pt>
                <c:pt idx="4">
                  <c:v>0.22874365482233502</c:v>
                </c:pt>
                <c:pt idx="5">
                  <c:v>0.24724061810154527</c:v>
                </c:pt>
                <c:pt idx="6">
                  <c:v>0.25017205781142465</c:v>
                </c:pt>
                <c:pt idx="7">
                  <c:v>0.24281150159744408</c:v>
                </c:pt>
                <c:pt idx="8">
                  <c:v>0.2791149068322981</c:v>
                </c:pt>
                <c:pt idx="9">
                  <c:v>0.26337590610976874</c:v>
                </c:pt>
                <c:pt idx="10">
                  <c:v>0.27446380697050937</c:v>
                </c:pt>
                <c:pt idx="11">
                  <c:v>0.286527514231499</c:v>
                </c:pt>
                <c:pt idx="12">
                  <c:v>0.27262753702687875</c:v>
                </c:pt>
                <c:pt idx="13">
                  <c:v>0.2881999367288833</c:v>
                </c:pt>
                <c:pt idx="14">
                  <c:v>0.28322232794164287</c:v>
                </c:pt>
                <c:pt idx="15">
                  <c:v>0.2906810035842294</c:v>
                </c:pt>
                <c:pt idx="16">
                  <c:v>0.24166666666666667</c:v>
                </c:pt>
                <c:pt idx="17">
                  <c:v>0.26096302665520205</c:v>
                </c:pt>
                <c:pt idx="18">
                  <c:v>0.2504047490555855</c:v>
                </c:pt>
                <c:pt idx="19">
                  <c:v>0.23420548819400128</c:v>
                </c:pt>
                <c:pt idx="20">
                  <c:v>0.23537477148080438</c:v>
                </c:pt>
                <c:pt idx="21">
                  <c:v>0.21790722761596548</c:v>
                </c:pt>
                <c:pt idx="22">
                  <c:v>0.2077922077922078</c:v>
                </c:pt>
                <c:pt idx="23">
                  <c:v>0.1864951768488746</c:v>
                </c:pt>
                <c:pt idx="24">
                  <c:v>0.19137625516834023</c:v>
                </c:pt>
                <c:pt idx="25">
                  <c:v>0.19986263736263737</c:v>
                </c:pt>
                <c:pt idx="26">
                  <c:v>0.1876355748373102</c:v>
                </c:pt>
                <c:pt idx="27">
                  <c:v>0.19079312257348863</c:v>
                </c:pt>
                <c:pt idx="28">
                  <c:v>0.17355371900826447</c:v>
                </c:pt>
                <c:pt idx="29">
                  <c:v>0.17481789802289283</c:v>
                </c:pt>
                <c:pt idx="30">
                  <c:v>0.18407960199004975</c:v>
                </c:pt>
                <c:pt idx="31">
                  <c:v>0.1803594351732991</c:v>
                </c:pt>
                <c:pt idx="32">
                  <c:v>0.1744107744107744</c:v>
                </c:pt>
                <c:pt idx="33">
                  <c:v>0.17518667432510052</c:v>
                </c:pt>
                <c:pt idx="34">
                  <c:v>0.18597560975609756</c:v>
                </c:pt>
                <c:pt idx="35">
                  <c:v>0.1944060773480663</c:v>
                </c:pt>
                <c:pt idx="36">
                  <c:v>0.18355555555555556</c:v>
                </c:pt>
                <c:pt idx="37">
                  <c:v>0.16751845542305507</c:v>
                </c:pt>
                <c:pt idx="38">
                  <c:v>0.16052060737527116</c:v>
                </c:pt>
                <c:pt idx="39">
                  <c:v>0.1728833629366489</c:v>
                </c:pt>
                <c:pt idx="40">
                  <c:v>0.17647058823529413</c:v>
                </c:pt>
                <c:pt idx="41">
                  <c:v>0.17564655172413793</c:v>
                </c:pt>
                <c:pt idx="42">
                  <c:v>0.18037021093413688</c:v>
                </c:pt>
                <c:pt idx="43">
                  <c:v>0.19227913882702302</c:v>
                </c:pt>
                <c:pt idx="44">
                  <c:v>0.16314723748915244</c:v>
                </c:pt>
                <c:pt idx="45">
                  <c:v>0.1768613340714088</c:v>
                </c:pt>
                <c:pt idx="46">
                  <c:v>0.18289004661365507</c:v>
                </c:pt>
                <c:pt idx="47">
                  <c:v>0.1727447216890595</c:v>
                </c:pt>
                <c:pt idx="48">
                  <c:v>0.18564554931836408</c:v>
                </c:pt>
                <c:pt idx="49">
                  <c:v>0.2052797478329393</c:v>
                </c:pt>
                <c:pt idx="50">
                  <c:v>0.19347478895733516</c:v>
                </c:pt>
                <c:pt idx="51">
                  <c:v>0.18324607329842932</c:v>
                </c:pt>
                <c:pt idx="52">
                  <c:v>0.19669040636782573</c:v>
                </c:pt>
                <c:pt idx="53">
                  <c:v>0.19770600664050708</c:v>
                </c:pt>
                <c:pt idx="54">
                  <c:v>0.18242790073775988</c:v>
                </c:pt>
                <c:pt idx="55">
                  <c:v>0.18799424874191228</c:v>
                </c:pt>
                <c:pt idx="56">
                  <c:v>0.21083743842364533</c:v>
                </c:pt>
                <c:pt idx="57">
                  <c:v>0.198378041172801</c:v>
                </c:pt>
                <c:pt idx="58">
                  <c:v>0.19822320932815102</c:v>
                </c:pt>
                <c:pt idx="59">
                  <c:v>0.18152809785499024</c:v>
                </c:pt>
                <c:pt idx="60">
                  <c:v>0.18325876211782252</c:v>
                </c:pt>
                <c:pt idx="61">
                  <c:v>0.19786666666666666</c:v>
                </c:pt>
                <c:pt idx="62">
                  <c:v>0.22150363783346808</c:v>
                </c:pt>
                <c:pt idx="63">
                  <c:v>0.22826341692055307</c:v>
                </c:pt>
                <c:pt idx="64">
                  <c:v>0.22885572139303484</c:v>
                </c:pt>
                <c:pt idx="65">
                  <c:v>0.23352573352573353</c:v>
                </c:pt>
                <c:pt idx="66">
                  <c:v>0.2179237406067353</c:v>
                </c:pt>
                <c:pt idx="67">
                  <c:v>0.22954091816367264</c:v>
                </c:pt>
                <c:pt idx="68">
                  <c:v>0.21292115317818688</c:v>
                </c:pt>
                <c:pt idx="69">
                  <c:v>0.21935483870967742</c:v>
                </c:pt>
                <c:pt idx="70">
                  <c:v>0.2132385606397157</c:v>
                </c:pt>
                <c:pt idx="71">
                  <c:v>0.19280898876404495</c:v>
                </c:pt>
                <c:pt idx="72">
                  <c:v>0.2</c:v>
                </c:pt>
                <c:pt idx="73">
                  <c:v>0.2078559738134206</c:v>
                </c:pt>
                <c:pt idx="74">
                  <c:v>0.22282382340691378</c:v>
                </c:pt>
                <c:pt idx="75">
                  <c:v>0.20850409836065573</c:v>
                </c:pt>
                <c:pt idx="76">
                  <c:v>0.21454928835002635</c:v>
                </c:pt>
                <c:pt idx="77">
                  <c:v>0.2030430220356768</c:v>
                </c:pt>
                <c:pt idx="78">
                  <c:v>0.20214030915576695</c:v>
                </c:pt>
                <c:pt idx="79">
                  <c:v>0.20679199514857488</c:v>
                </c:pt>
                <c:pt idx="80">
                  <c:v>0.18264014466546113</c:v>
                </c:pt>
                <c:pt idx="81">
                  <c:v>0.19238578680203045</c:v>
                </c:pt>
                <c:pt idx="82">
                  <c:v>0.19714817110973343</c:v>
                </c:pt>
                <c:pt idx="83">
                  <c:v>0.19367588932806323</c:v>
                </c:pt>
                <c:pt idx="84">
                  <c:v>0.189792663476874</c:v>
                </c:pt>
                <c:pt idx="85">
                  <c:v>0.18952234206471494</c:v>
                </c:pt>
                <c:pt idx="86">
                  <c:v>0.1895910780669145</c:v>
                </c:pt>
                <c:pt idx="87">
                  <c:v>0.22675933970460468</c:v>
                </c:pt>
                <c:pt idx="88">
                  <c:v>0.20382165605095542</c:v>
                </c:pt>
                <c:pt idx="89">
                  <c:v>0.18988173455978974</c:v>
                </c:pt>
                <c:pt idx="90">
                  <c:v>0.1775766016713092</c:v>
                </c:pt>
                <c:pt idx="91">
                  <c:v>0.20373831775700935</c:v>
                </c:pt>
                <c:pt idx="92">
                  <c:v>0.1972180824639841</c:v>
                </c:pt>
                <c:pt idx="93">
                  <c:v>0.17023300047551118</c:v>
                </c:pt>
                <c:pt idx="94">
                  <c:v>0.16198704103671707</c:v>
                </c:pt>
                <c:pt idx="95">
                  <c:v>0.17115520907158044</c:v>
                </c:pt>
                <c:pt idx="96">
                  <c:v>0.15884892086330935</c:v>
                </c:pt>
                <c:pt idx="97">
                  <c:v>0.1532976827094474</c:v>
                </c:pt>
                <c:pt idx="98">
                  <c:v>0.17494646680942183</c:v>
                </c:pt>
                <c:pt idx="99">
                  <c:v>0.1748139207402937</c:v>
                </c:pt>
                <c:pt idx="100">
                  <c:v>0.20506999621642075</c:v>
                </c:pt>
                <c:pt idx="101">
                  <c:v>0.18140589569160998</c:v>
                </c:pt>
                <c:pt idx="102">
                  <c:v>0.1584372003835091</c:v>
                </c:pt>
                <c:pt idx="103">
                  <c:v>0.17103651065915218</c:v>
                </c:pt>
                <c:pt idx="104">
                  <c:v>0.172988969599139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2930208138136295</c:v>
                </c:pt>
                <c:pt idx="1">
                  <c:v>0.13602432068087453</c:v>
                </c:pt>
                <c:pt idx="2">
                  <c:v>0.15058726963610955</c:v>
                </c:pt>
                <c:pt idx="3">
                  <c:v>0.16660402095247134</c:v>
                </c:pt>
                <c:pt idx="4">
                  <c:v>0.16497706063022186</c:v>
                </c:pt>
                <c:pt idx="5">
                  <c:v>0.18110636044379463</c:v>
                </c:pt>
                <c:pt idx="6">
                  <c:v>0.17674440166997163</c:v>
                </c:pt>
                <c:pt idx="7">
                  <c:v>0.16857308024837855</c:v>
                </c:pt>
                <c:pt idx="8">
                  <c:v>0.19008824289774012</c:v>
                </c:pt>
                <c:pt idx="9">
                  <c:v>0.1518809253881521</c:v>
                </c:pt>
                <c:pt idx="10">
                  <c:v>0.16424331079519358</c:v>
                </c:pt>
                <c:pt idx="11">
                  <c:v>0.179928006369637</c:v>
                </c:pt>
                <c:pt idx="12">
                  <c:v>0.19750778548911424</c:v>
                </c:pt>
                <c:pt idx="13">
                  <c:v>0.15442321208824358</c:v>
                </c:pt>
                <c:pt idx="14">
                  <c:v>0.1438595768444785</c:v>
                </c:pt>
                <c:pt idx="15">
                  <c:v>0.1350979290132363</c:v>
                </c:pt>
                <c:pt idx="16">
                  <c:v>0.12391732836181764</c:v>
                </c:pt>
                <c:pt idx="17">
                  <c:v>0.11912890660824511</c:v>
                </c:pt>
                <c:pt idx="18">
                  <c:v>0.13591920824992856</c:v>
                </c:pt>
                <c:pt idx="19">
                  <c:v>0.14979440295890167</c:v>
                </c:pt>
                <c:pt idx="20">
                  <c:v>0.14873153394000793</c:v>
                </c:pt>
                <c:pt idx="21">
                  <c:v>0.13176497521170735</c:v>
                </c:pt>
                <c:pt idx="22">
                  <c:v>0.1431654558725555</c:v>
                </c:pt>
                <c:pt idx="23">
                  <c:v>0.12611013439256258</c:v>
                </c:pt>
                <c:pt idx="24">
                  <c:v>0.12565976277555987</c:v>
                </c:pt>
                <c:pt idx="25">
                  <c:v>0.1379529737963988</c:v>
                </c:pt>
                <c:pt idx="26">
                  <c:v>0.11953342947764503</c:v>
                </c:pt>
                <c:pt idx="27">
                  <c:v>0.154514792524417</c:v>
                </c:pt>
                <c:pt idx="28">
                  <c:v>0.15530136778006232</c:v>
                </c:pt>
                <c:pt idx="29">
                  <c:v>0.157748053323878</c:v>
                </c:pt>
                <c:pt idx="30">
                  <c:v>0.1631402371927355</c:v>
                </c:pt>
                <c:pt idx="31">
                  <c:v>0.14064647217066573</c:v>
                </c:pt>
                <c:pt idx="32">
                  <c:v>0.1425278487150978</c:v>
                </c:pt>
                <c:pt idx="33">
                  <c:v>0.15918181909651682</c:v>
                </c:pt>
                <c:pt idx="34">
                  <c:v>0.13371508788792735</c:v>
                </c:pt>
                <c:pt idx="35">
                  <c:v>0.14619677413524682</c:v>
                </c:pt>
                <c:pt idx="36">
                  <c:v>0.11907829651201034</c:v>
                </c:pt>
                <c:pt idx="37">
                  <c:v>0.13304595162484933</c:v>
                </c:pt>
                <c:pt idx="38">
                  <c:v>0.12142268796912242</c:v>
                </c:pt>
                <c:pt idx="39">
                  <c:v>0.14999258901724577</c:v>
                </c:pt>
                <c:pt idx="40">
                  <c:v>0.14976614601235103</c:v>
                </c:pt>
                <c:pt idx="41">
                  <c:v>0.14489215452846105</c:v>
                </c:pt>
                <c:pt idx="42">
                  <c:v>0.15640124303791345</c:v>
                </c:pt>
                <c:pt idx="43">
                  <c:v>0.16327402322515835</c:v>
                </c:pt>
                <c:pt idx="44">
                  <c:v>0.17378891221661794</c:v>
                </c:pt>
                <c:pt idx="45">
                  <c:v>0.17142131248699563</c:v>
                </c:pt>
                <c:pt idx="46">
                  <c:v>0.16337850661588255</c:v>
                </c:pt>
                <c:pt idx="47">
                  <c:v>0.15895605873793447</c:v>
                </c:pt>
                <c:pt idx="48">
                  <c:v>0.15413941968946104</c:v>
                </c:pt>
                <c:pt idx="49">
                  <c:v>0.15865100175440583</c:v>
                </c:pt>
                <c:pt idx="50">
                  <c:v>0.17559557978050586</c:v>
                </c:pt>
                <c:pt idx="51">
                  <c:v>0.16613618398836716</c:v>
                </c:pt>
              </c:numCache>
            </c:numRef>
          </c:xVal>
          <c:yVal>
            <c:numRef>
              <c:f>Sheet1!$B$109:$B$160</c:f>
              <c:numCache>
                <c:formatCode>General</c:formatCode>
                <c:ptCount val="52"/>
                <c:pt idx="0">
                  <c:v>0.16624621594349143</c:v>
                </c:pt>
                <c:pt idx="1">
                  <c:v>0.15533188248095756</c:v>
                </c:pt>
                <c:pt idx="2">
                  <c:v>0.15379008746355685</c:v>
                </c:pt>
                <c:pt idx="3">
                  <c:v>0.15476190476190477</c:v>
                </c:pt>
                <c:pt idx="4">
                  <c:v>0.14289439374185137</c:v>
                </c:pt>
                <c:pt idx="5">
                  <c:v>0.1441823482639809</c:v>
                </c:pt>
                <c:pt idx="6">
                  <c:v>0.16676961087090797</c:v>
                </c:pt>
                <c:pt idx="7">
                  <c:v>0.18206157965194109</c:v>
                </c:pt>
                <c:pt idx="8">
                  <c:v>0.19571045576407506</c:v>
                </c:pt>
                <c:pt idx="9">
                  <c:v>0.24496644295302014</c:v>
                </c:pt>
                <c:pt idx="10">
                  <c:v>0.21067415730337077</c:v>
                </c:pt>
                <c:pt idx="11">
                  <c:v>0.21506024096385543</c:v>
                </c:pt>
                <c:pt idx="12">
                  <c:v>0.2016004924592182</c:v>
                </c:pt>
                <c:pt idx="13">
                  <c:v>0.21881331403762663</c:v>
                </c:pt>
                <c:pt idx="14">
                  <c:v>0.20840393087089124</c:v>
                </c:pt>
                <c:pt idx="15">
                  <c:v>0.21081830790568654</c:v>
                </c:pt>
                <c:pt idx="16">
                  <c:v>0.20080160320641283</c:v>
                </c:pt>
                <c:pt idx="17">
                  <c:v>0.21092121717382242</c:v>
                </c:pt>
                <c:pt idx="18">
                  <c:v>0.19435215946843853</c:v>
                </c:pt>
                <c:pt idx="19">
                  <c:v>0.19491878384006664</c:v>
                </c:pt>
                <c:pt idx="20">
                  <c:v>0.1833729216152019</c:v>
                </c:pt>
                <c:pt idx="21">
                  <c:v>0.18355263157894736</c:v>
                </c:pt>
                <c:pt idx="22">
                  <c:v>0.18373879641485275</c:v>
                </c:pt>
                <c:pt idx="23">
                  <c:v>0.20814732142857142</c:v>
                </c:pt>
                <c:pt idx="24">
                  <c:v>0.2131324004305705</c:v>
                </c:pt>
                <c:pt idx="25">
                  <c:v>0.2450873362445415</c:v>
                </c:pt>
                <c:pt idx="26">
                  <c:v>0.24171122994652405</c:v>
                </c:pt>
                <c:pt idx="27">
                  <c:v>0.17281455280444669</c:v>
                </c:pt>
                <c:pt idx="28">
                  <c:v>0.15226130653266332</c:v>
                </c:pt>
                <c:pt idx="29">
                  <c:v>0.14499700419412823</c:v>
                </c:pt>
                <c:pt idx="30">
                  <c:v>0.16099635479951396</c:v>
                </c:pt>
                <c:pt idx="31">
                  <c:v>0.13626209977661952</c:v>
                </c:pt>
                <c:pt idx="32">
                  <c:v>0.12235979606700656</c:v>
                </c:pt>
                <c:pt idx="33">
                  <c:v>0.14911706998037932</c:v>
                </c:pt>
                <c:pt idx="34">
                  <c:v>0.18265993265993266</c:v>
                </c:pt>
                <c:pt idx="35">
                  <c:v>0.1976694000863185</c:v>
                </c:pt>
                <c:pt idx="36">
                  <c:v>0.18671875</c:v>
                </c:pt>
                <c:pt idx="37">
                  <c:v>0.17105263157894737</c:v>
                </c:pt>
                <c:pt idx="38">
                  <c:v>0.16866506794564348</c:v>
                </c:pt>
                <c:pt idx="39">
                  <c:v>0.1673913043478261</c:v>
                </c:pt>
                <c:pt idx="40">
                  <c:v>0.15866957470010906</c:v>
                </c:pt>
                <c:pt idx="41">
                  <c:v>0.15308770108977685</c:v>
                </c:pt>
                <c:pt idx="42">
                  <c:v>0.15451895043731778</c:v>
                </c:pt>
                <c:pt idx="43">
                  <c:v>0.15113954418232706</c:v>
                </c:pt>
                <c:pt idx="44">
                  <c:v>0.14966887417218544</c:v>
                </c:pt>
                <c:pt idx="45">
                  <c:v>0.1783676507070206</c:v>
                </c:pt>
                <c:pt idx="46">
                  <c:v>0.17208714872118724</c:v>
                </c:pt>
                <c:pt idx="47">
                  <c:v>0.17464702271332105</c:v>
                </c:pt>
                <c:pt idx="48">
                  <c:v>0.1546818416968443</c:v>
                </c:pt>
                <c:pt idx="49">
                  <c:v>0.18185567010309278</c:v>
                </c:pt>
                <c:pt idx="50">
                  <c:v>0.20453146164265484</c:v>
                </c:pt>
                <c:pt idx="51">
                  <c:v>0.1812915683329757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0974640643235715</c:v>
                </c:pt>
              </c:numCache>
            </c:numRef>
          </c:xVal>
          <c:yVal>
            <c:numRef>
              <c:f>Sheet1!$B$163:$B$164</c:f>
              <c:numCache>
                <c:formatCode>General</c:formatCode>
                <c:ptCount val="2"/>
                <c:pt idx="0">
                  <c:v>0.2615092278662798</c:v>
                </c:pt>
                <c:pt idx="1">
                  <c:v>0.261509227866279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0974640643235715</c:v>
                </c:pt>
                <c:pt idx="1">
                  <c:v>-0.10974640643235715</c:v>
                </c:pt>
              </c:numCache>
            </c:numRef>
          </c:xVal>
          <c:yVal>
            <c:numRef>
              <c:f>Sheet1!$B$167:$B$168</c:f>
              <c:numCache>
                <c:formatCode>General</c:formatCode>
                <c:ptCount val="2"/>
                <c:pt idx="0">
                  <c:v>0.26150922786627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6791279557607821</c:v>
                </c:pt>
              </c:numCache>
            </c:numRef>
          </c:xVal>
          <c:yVal>
            <c:numRef>
              <c:f>Sheet1!$B$171:$B$172</c:f>
              <c:numCache>
                <c:formatCode>General</c:formatCode>
                <c:ptCount val="2"/>
                <c:pt idx="0">
                  <c:v>0.20601970795204297</c:v>
                </c:pt>
                <c:pt idx="1">
                  <c:v>0.2060197079520429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6791279557607821</c:v>
                </c:pt>
                <c:pt idx="1">
                  <c:v>0.06791279557607821</c:v>
                </c:pt>
              </c:numCache>
            </c:numRef>
          </c:xVal>
          <c:yVal>
            <c:numRef>
              <c:f>Sheet1!$B$175:$B$176</c:f>
              <c:numCache>
                <c:formatCode>General</c:formatCode>
                <c:ptCount val="2"/>
                <c:pt idx="0">
                  <c:v>0.2060197079520429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9014715970650972</c:v>
                </c:pt>
              </c:numCache>
            </c:numRef>
          </c:xVal>
          <c:yVal>
            <c:numRef>
              <c:f>Sheet1!$B$179:$B$180</c:f>
              <c:numCache>
                <c:formatCode>General</c:formatCode>
                <c:ptCount val="2"/>
                <c:pt idx="0">
                  <c:v>0.1678414086805107</c:v>
                </c:pt>
                <c:pt idx="1">
                  <c:v>0.167841408680510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9014715970650972</c:v>
                </c:pt>
                <c:pt idx="1">
                  <c:v>0.19014715970650972</c:v>
                </c:pt>
              </c:numCache>
            </c:numRef>
          </c:xVal>
          <c:yVal>
            <c:numRef>
              <c:f>Sheet1!$B$183:$B$184</c:f>
              <c:numCache>
                <c:formatCode>General</c:formatCode>
                <c:ptCount val="2"/>
                <c:pt idx="0">
                  <c:v>0.16784140868051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2930208138136295</c:v>
                </c:pt>
                <c:pt idx="1">
                  <c:v>0.13602432068087453</c:v>
                </c:pt>
                <c:pt idx="2">
                  <c:v>0.15058726963610955</c:v>
                </c:pt>
                <c:pt idx="3">
                  <c:v>0.16660402095247134</c:v>
                </c:pt>
                <c:pt idx="4">
                  <c:v>0.16497706063022186</c:v>
                </c:pt>
                <c:pt idx="5">
                  <c:v>0.18110636044379463</c:v>
                </c:pt>
                <c:pt idx="6">
                  <c:v>0.17674440166997163</c:v>
                </c:pt>
                <c:pt idx="7">
                  <c:v>0.16857308024837855</c:v>
                </c:pt>
                <c:pt idx="8">
                  <c:v>0.19008824289774012</c:v>
                </c:pt>
                <c:pt idx="9">
                  <c:v>0.1518809253881521</c:v>
                </c:pt>
                <c:pt idx="10">
                  <c:v>0.16424331079519358</c:v>
                </c:pt>
                <c:pt idx="11">
                  <c:v>0.179928006369637</c:v>
                </c:pt>
                <c:pt idx="12">
                  <c:v>0.19750778548911424</c:v>
                </c:pt>
                <c:pt idx="13">
                  <c:v>0.15442321208824358</c:v>
                </c:pt>
                <c:pt idx="14">
                  <c:v>0.1438595768444785</c:v>
                </c:pt>
                <c:pt idx="15">
                  <c:v>0.1350979290132363</c:v>
                </c:pt>
                <c:pt idx="16">
                  <c:v>0.12391732836181764</c:v>
                </c:pt>
                <c:pt idx="17">
                  <c:v>0.11912890660824511</c:v>
                </c:pt>
                <c:pt idx="18">
                  <c:v>0.13591920824992856</c:v>
                </c:pt>
                <c:pt idx="19">
                  <c:v>0.14979440295890167</c:v>
                </c:pt>
                <c:pt idx="20">
                  <c:v>0.14873153394000793</c:v>
                </c:pt>
                <c:pt idx="21">
                  <c:v>0.13176497521170735</c:v>
                </c:pt>
                <c:pt idx="22">
                  <c:v>0.1431654558725555</c:v>
                </c:pt>
                <c:pt idx="23">
                  <c:v>0.12611013439256258</c:v>
                </c:pt>
                <c:pt idx="24">
                  <c:v>0.12565976277555987</c:v>
                </c:pt>
                <c:pt idx="25">
                  <c:v>0.1379529737963988</c:v>
                </c:pt>
                <c:pt idx="26">
                  <c:v>0.11953342947764503</c:v>
                </c:pt>
                <c:pt idx="27">
                  <c:v>0.154514792524417</c:v>
                </c:pt>
                <c:pt idx="28">
                  <c:v>0.15530136778006232</c:v>
                </c:pt>
                <c:pt idx="29">
                  <c:v>0.157748053323878</c:v>
                </c:pt>
                <c:pt idx="30">
                  <c:v>0.1631402371927355</c:v>
                </c:pt>
                <c:pt idx="31">
                  <c:v>0.14064647217066573</c:v>
                </c:pt>
                <c:pt idx="32">
                  <c:v>0.1425278487150978</c:v>
                </c:pt>
                <c:pt idx="33">
                  <c:v>0.15918181909651682</c:v>
                </c:pt>
                <c:pt idx="34">
                  <c:v>0.13371508788792735</c:v>
                </c:pt>
                <c:pt idx="35">
                  <c:v>0.14619677413524682</c:v>
                </c:pt>
                <c:pt idx="36">
                  <c:v>0.11907829651201034</c:v>
                </c:pt>
                <c:pt idx="37">
                  <c:v>0.13304595162484933</c:v>
                </c:pt>
                <c:pt idx="38">
                  <c:v>0.12142268796912242</c:v>
                </c:pt>
                <c:pt idx="39">
                  <c:v>0.14999258901724577</c:v>
                </c:pt>
                <c:pt idx="40">
                  <c:v>0.14976614601235103</c:v>
                </c:pt>
                <c:pt idx="41">
                  <c:v>0.14489215452846105</c:v>
                </c:pt>
                <c:pt idx="42">
                  <c:v>0.15640124303791345</c:v>
                </c:pt>
                <c:pt idx="43">
                  <c:v>0.16327402322515835</c:v>
                </c:pt>
                <c:pt idx="44">
                  <c:v>0.17378891221661794</c:v>
                </c:pt>
                <c:pt idx="45">
                  <c:v>0.17142131248699563</c:v>
                </c:pt>
                <c:pt idx="46">
                  <c:v>0.16337850661588255</c:v>
                </c:pt>
                <c:pt idx="47">
                  <c:v>0.15895605873793447</c:v>
                </c:pt>
                <c:pt idx="48">
                  <c:v>0.15413941968946104</c:v>
                </c:pt>
                <c:pt idx="49">
                  <c:v>0.15865100175440583</c:v>
                </c:pt>
                <c:pt idx="50">
                  <c:v>0.17559557978050586</c:v>
                </c:pt>
                <c:pt idx="51">
                  <c:v>0.16613618398836716</c:v>
                </c:pt>
                <c:pt idx="52">
                  <c:v>0.06791279557607821</c:v>
                </c:pt>
                <c:pt idx="53">
                  <c:v>-0.10974640643235715</c:v>
                </c:pt>
                <c:pt idx="54">
                  <c:v>0.19014715970650972</c:v>
                </c:pt>
              </c:numCache>
            </c:numRef>
          </c:xVal>
          <c:yVal>
            <c:numRef>
              <c:f>Sheet1!$B$187:$B$241</c:f>
              <c:numCache>
                <c:formatCode>General</c:formatCode>
                <c:ptCount val="55"/>
                <c:pt idx="0">
                  <c:v>0.18684557028451376</c:v>
                </c:pt>
                <c:pt idx="1">
                  <c:v>0.18474596707082375</c:v>
                </c:pt>
                <c:pt idx="2">
                  <c:v>0.1801974211079574</c:v>
                </c:pt>
                <c:pt idx="3">
                  <c:v>0.1751947990592079</c:v>
                </c:pt>
                <c:pt idx="4">
                  <c:v>0.17570295876149483</c:v>
                </c:pt>
                <c:pt idx="5">
                  <c:v>0.17066518366687602</c:v>
                </c:pt>
                <c:pt idx="6">
                  <c:v>0.17202758423779405</c:v>
                </c:pt>
                <c:pt idx="7">
                  <c:v>0.17457978923265602</c:v>
                </c:pt>
                <c:pt idx="8">
                  <c:v>0.16785981057242816</c:v>
                </c:pt>
                <c:pt idx="9">
                  <c:v>0.17979336471344692</c:v>
                </c:pt>
                <c:pt idx="10">
                  <c:v>0.17593213589176773</c:v>
                </c:pt>
                <c:pt idx="11">
                  <c:v>0.17103322709567004</c:v>
                </c:pt>
                <c:pt idx="12">
                  <c:v>0.16554241382785068</c:v>
                </c:pt>
                <c:pt idx="13">
                  <c:v>0.1789993148309887</c:v>
                </c:pt>
                <c:pt idx="14">
                  <c:v>0.1822987276483321</c:v>
                </c:pt>
                <c:pt idx="15">
                  <c:v>0.18503531334902754</c:v>
                </c:pt>
                <c:pt idx="16">
                  <c:v>0.18852742721358584</c:v>
                </c:pt>
                <c:pt idx="17">
                  <c:v>0.19002302789876743</c:v>
                </c:pt>
                <c:pt idx="18">
                  <c:v>0.1847787975589959</c:v>
                </c:pt>
                <c:pt idx="19">
                  <c:v>0.1804450626079579</c:v>
                </c:pt>
                <c:pt idx="20">
                  <c:v>0.18077703579551802</c:v>
                </c:pt>
                <c:pt idx="21">
                  <c:v>0.18607631772286454</c:v>
                </c:pt>
                <c:pt idx="22">
                  <c:v>0.18251552722335543</c:v>
                </c:pt>
                <c:pt idx="23">
                  <c:v>0.1878425330311539</c:v>
                </c:pt>
                <c:pt idx="24">
                  <c:v>0.18798320069445507</c:v>
                </c:pt>
                <c:pt idx="25">
                  <c:v>0.1841435775843706</c:v>
                </c:pt>
                <c:pt idx="26">
                  <c:v>0.1898966804900007</c:v>
                </c:pt>
                <c:pt idx="27">
                  <c:v>0.17897071088377203</c:v>
                </c:pt>
                <c:pt idx="28">
                  <c:v>0.17872503442671972</c:v>
                </c:pt>
                <c:pt idx="29">
                  <c:v>0.17796084431062886</c:v>
                </c:pt>
                <c:pt idx="30">
                  <c:v>0.17627666645330634</c:v>
                </c:pt>
                <c:pt idx="31">
                  <c:v>0.18330229872018458</c:v>
                </c:pt>
                <c:pt idx="32">
                  <c:v>0.18271467545019215</c:v>
                </c:pt>
                <c:pt idx="33">
                  <c:v>0.1775130263901734</c:v>
                </c:pt>
                <c:pt idx="34">
                  <c:v>0.18546722562429158</c:v>
                </c:pt>
                <c:pt idx="35">
                  <c:v>0.1815687347510127</c:v>
                </c:pt>
                <c:pt idx="36">
                  <c:v>0.19003883529805288</c:v>
                </c:pt>
                <c:pt idx="37">
                  <c:v>0.18567622155343935</c:v>
                </c:pt>
                <c:pt idx="38">
                  <c:v>0.1893065953973017</c:v>
                </c:pt>
                <c:pt idx="39">
                  <c:v>0.1803831617938887</c:v>
                </c:pt>
                <c:pt idx="40">
                  <c:v>0.18045388829433165</c:v>
                </c:pt>
                <c:pt idx="41">
                  <c:v>0.18197621556164817</c:v>
                </c:pt>
                <c:pt idx="42">
                  <c:v>0.1783815028261398</c:v>
                </c:pt>
                <c:pt idx="43">
                  <c:v>0.17623488014206296</c:v>
                </c:pt>
                <c:pt idx="44">
                  <c:v>0.17295069257681722</c:v>
                </c:pt>
                <c:pt idx="45">
                  <c:v>0.17369018127687103</c:v>
                </c:pt>
                <c:pt idx="46">
                  <c:v>0.17620224612634774</c:v>
                </c:pt>
                <c:pt idx="47">
                  <c:v>0.17758353967500062</c:v>
                </c:pt>
                <c:pt idx="48">
                  <c:v>0.1790879536618836</c:v>
                </c:pt>
                <c:pt idx="49">
                  <c:v>0.1776788202198366</c:v>
                </c:pt>
                <c:pt idx="50">
                  <c:v>0.1723864036763188</c:v>
                </c:pt>
                <c:pt idx="51">
                  <c:v>0.17534092179443805</c:v>
                </c:pt>
                <c:pt idx="52">
                  <c:v>0.20601970795204297</c:v>
                </c:pt>
                <c:pt idx="53">
                  <c:v>0.2615092278662798</c:v>
                </c:pt>
                <c:pt idx="54">
                  <c:v>0.16784140868051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881720430107527"/>
          <c:min val="0.0978878368536052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56.3077</c:v>
                </c:pt>
                <c:pt idx="1">
                  <c:v>6230.0</c:v>
                </c:pt>
                <c:pt idx="2">
                  <c:v>6349.3333</c:v>
                </c:pt>
                <c:pt idx="3">
                  <c:v>5043.3333</c:v>
                </c:pt>
                <c:pt idx="4">
                  <c:v>5971.5</c:v>
                </c:pt>
                <c:pt idx="5">
                  <c:v>7694.0</c:v>
                </c:pt>
                <c:pt idx="6">
                  <c:v>5895.0</c:v>
                </c:pt>
                <c:pt idx="7">
                  <c:v>4277.0</c:v>
                </c:pt>
                <c:pt idx="8">
                  <c:v>7050.6667</c:v>
                </c:pt>
                <c:pt idx="9">
                  <c:v>5817.6</c:v>
                </c:pt>
                <c:pt idx="10">
                  <c:v>5290.25</c:v>
                </c:pt>
                <c:pt idx="11">
                  <c:v>4469.2857</c:v>
                </c:pt>
                <c:pt idx="12">
                  <c:v>7055.8</c:v>
                </c:pt>
                <c:pt idx="13">
                  <c:v>5252.6667</c:v>
                </c:pt>
                <c:pt idx="14">
                  <c:v>0.0</c:v>
                </c:pt>
                <c:pt idx="15">
                  <c:v>3753.0</c:v>
                </c:pt>
                <c:pt idx="16">
                  <c:v>2170.25</c:v>
                </c:pt>
                <c:pt idx="17">
                  <c:v>6580.0</c:v>
                </c:pt>
                <c:pt idx="18">
                  <c:v>0.0</c:v>
                </c:pt>
                <c:pt idx="19">
                  <c:v>3807.0</c:v>
                </c:pt>
                <c:pt idx="20">
                  <c:v>5072.3333</c:v>
                </c:pt>
                <c:pt idx="21">
                  <c:v>6718.0</c:v>
                </c:pt>
                <c:pt idx="22">
                  <c:v>5462.25</c:v>
                </c:pt>
                <c:pt idx="23">
                  <c:v>6538.6667</c:v>
                </c:pt>
                <c:pt idx="24">
                  <c:v>6316.5</c:v>
                </c:pt>
                <c:pt idx="25">
                  <c:v>4606.0</c:v>
                </c:pt>
                <c:pt idx="26">
                  <c:v>6402.0</c:v>
                </c:pt>
                <c:pt idx="27">
                  <c:v>15524.0</c:v>
                </c:pt>
                <c:pt idx="28">
                  <c:v>3345.4</c:v>
                </c:pt>
                <c:pt idx="29">
                  <c:v>7017.0</c:v>
                </c:pt>
                <c:pt idx="30">
                  <c:v>3873.25</c:v>
                </c:pt>
                <c:pt idx="31">
                  <c:v>5011.5</c:v>
                </c:pt>
                <c:pt idx="32">
                  <c:v>8655.5</c:v>
                </c:pt>
                <c:pt idx="33">
                  <c:v>3845.7778</c:v>
                </c:pt>
                <c:pt idx="34">
                  <c:v>3505.4167</c:v>
                </c:pt>
                <c:pt idx="35">
                  <c:v>3707.5</c:v>
                </c:pt>
                <c:pt idx="36">
                  <c:v>6482.5</c:v>
                </c:pt>
                <c:pt idx="37">
                  <c:v>4574.0</c:v>
                </c:pt>
                <c:pt idx="38">
                  <c:v>7663.0</c:v>
                </c:pt>
                <c:pt idx="39">
                  <c:v>5600.75</c:v>
                </c:pt>
                <c:pt idx="40">
                  <c:v>8541.5</c:v>
                </c:pt>
                <c:pt idx="41">
                  <c:v>5335.6667</c:v>
                </c:pt>
                <c:pt idx="42">
                  <c:v>10645.0</c:v>
                </c:pt>
                <c:pt idx="43">
                  <c:v>7240.0</c:v>
                </c:pt>
                <c:pt idx="44">
                  <c:v>4505.0</c:v>
                </c:pt>
                <c:pt idx="45">
                  <c:v>4392.2</c:v>
                </c:pt>
                <c:pt idx="46">
                  <c:v>4084.1818</c:v>
                </c:pt>
                <c:pt idx="47">
                  <c:v>3419.4286</c:v>
                </c:pt>
                <c:pt idx="48">
                  <c:v>4401.9</c:v>
                </c:pt>
                <c:pt idx="49">
                  <c:v>3402.25</c:v>
                </c:pt>
                <c:pt idx="50">
                  <c:v>4337.6</c:v>
                </c:pt>
                <c:pt idx="51">
                  <c:v>4108.2</c:v>
                </c:pt>
                <c:pt idx="52">
                  <c:v>4801.75</c:v>
                </c:pt>
                <c:pt idx="53">
                  <c:v>3999.4</c:v>
                </c:pt>
                <c:pt idx="54">
                  <c:v>4201.4444</c:v>
                </c:pt>
                <c:pt idx="55">
                  <c:v>4984.2</c:v>
                </c:pt>
                <c:pt idx="56">
                  <c:v>10395.0</c:v>
                </c:pt>
                <c:pt idx="57">
                  <c:v>4042.75</c:v>
                </c:pt>
                <c:pt idx="58">
                  <c:v>4289.0</c:v>
                </c:pt>
                <c:pt idx="59">
                  <c:v>3433.0</c:v>
                </c:pt>
                <c:pt idx="60">
                  <c:v>3007.3571</c:v>
                </c:pt>
                <c:pt idx="61">
                  <c:v>2989.9286</c:v>
                </c:pt>
                <c:pt idx="62">
                  <c:v>3040.0833</c:v>
                </c:pt>
                <c:pt idx="63">
                  <c:v>2470.9444</c:v>
                </c:pt>
                <c:pt idx="64">
                  <c:v>2609.3158</c:v>
                </c:pt>
                <c:pt idx="65">
                  <c:v>2489.9333</c:v>
                </c:pt>
                <c:pt idx="66">
                  <c:v>2358.7273</c:v>
                </c:pt>
                <c:pt idx="67">
                  <c:v>3155.3333</c:v>
                </c:pt>
                <c:pt idx="68">
                  <c:v>2346.9231</c:v>
                </c:pt>
                <c:pt idx="69">
                  <c:v>2135.0</c:v>
                </c:pt>
                <c:pt idx="70">
                  <c:v>2302.5</c:v>
                </c:pt>
                <c:pt idx="71">
                  <c:v>1857.8</c:v>
                </c:pt>
                <c:pt idx="72">
                  <c:v>2952.3636</c:v>
                </c:pt>
                <c:pt idx="73">
                  <c:v>2025.9474</c:v>
                </c:pt>
                <c:pt idx="74">
                  <c:v>2531.4762</c:v>
                </c:pt>
                <c:pt idx="75">
                  <c:v>3962.4444</c:v>
                </c:pt>
                <c:pt idx="76">
                  <c:v>3882.0</c:v>
                </c:pt>
                <c:pt idx="77">
                  <c:v>4467.6957</c:v>
                </c:pt>
                <c:pt idx="78">
                  <c:v>3018.5429</c:v>
                </c:pt>
                <c:pt idx="79">
                  <c:v>4773.4</c:v>
                </c:pt>
                <c:pt idx="80">
                  <c:v>4299.5</c:v>
                </c:pt>
                <c:pt idx="81">
                  <c:v>3470.475</c:v>
                </c:pt>
                <c:pt idx="82">
                  <c:v>4188.0</c:v>
                </c:pt>
                <c:pt idx="83">
                  <c:v>4291.4286</c:v>
                </c:pt>
                <c:pt idx="84">
                  <c:v>4199.35</c:v>
                </c:pt>
                <c:pt idx="85">
                  <c:v>3644.0476</c:v>
                </c:pt>
                <c:pt idx="86">
                  <c:v>4846.4231</c:v>
                </c:pt>
                <c:pt idx="87">
                  <c:v>4906.68</c:v>
                </c:pt>
                <c:pt idx="88">
                  <c:v>4199.0333</c:v>
                </c:pt>
                <c:pt idx="89">
                  <c:v>3929.7353</c:v>
                </c:pt>
                <c:pt idx="90">
                  <c:v>4177.2903</c:v>
                </c:pt>
                <c:pt idx="91">
                  <c:v>3942.625</c:v>
                </c:pt>
                <c:pt idx="92">
                  <c:v>4270.3235</c:v>
                </c:pt>
                <c:pt idx="93">
                  <c:v>4332.2286</c:v>
                </c:pt>
                <c:pt idx="94">
                  <c:v>5011.5517</c:v>
                </c:pt>
                <c:pt idx="95">
                  <c:v>4381.1064</c:v>
                </c:pt>
                <c:pt idx="96">
                  <c:v>3358.3295</c:v>
                </c:pt>
                <c:pt idx="97">
                  <c:v>3539.0348</c:v>
                </c:pt>
                <c:pt idx="98">
                  <c:v>3390.072</c:v>
                </c:pt>
                <c:pt idx="99">
                  <c:v>3491.0956</c:v>
                </c:pt>
                <c:pt idx="100">
                  <c:v>3928.0486</c:v>
                </c:pt>
                <c:pt idx="101">
                  <c:v>3765.3274</c:v>
                </c:pt>
                <c:pt idx="102">
                  <c:v>3902.8667</c:v>
                </c:pt>
                <c:pt idx="103">
                  <c:v>3989.4744</c:v>
                </c:pt>
                <c:pt idx="104">
                  <c:v>4479.7</c:v>
                </c:pt>
              </c:numCache>
            </c:numRef>
          </c:xVal>
          <c:yVal>
            <c:numRef>
              <c:f>Sheet1!$B$2:$B$106</c:f>
              <c:numCache>
                <c:formatCode>General</c:formatCode>
                <c:ptCount val="105"/>
                <c:pt idx="0">
                  <c:v>0.00031891666462232905</c:v>
                </c:pt>
                <c:pt idx="1">
                  <c:v>7.925395609330832e-05</c:v>
                </c:pt>
                <c:pt idx="2">
                  <c:v>7.552299675251114e-05</c:v>
                </c:pt>
                <c:pt idx="3">
                  <c:v>8.004482510205715e-05</c:v>
                </c:pt>
                <c:pt idx="4">
                  <c:v>6.23966555392631e-05</c:v>
                </c:pt>
                <c:pt idx="5">
                  <c:v>9.57548675390999e-05</c:v>
                </c:pt>
                <c:pt idx="6">
                  <c:v>0.00018340210912425492</c:v>
                </c:pt>
                <c:pt idx="7">
                  <c:v>0.00021210407239819005</c:v>
                </c:pt>
                <c:pt idx="8">
                  <c:v>0.00011031033975584644</c:v>
                </c:pt>
                <c:pt idx="9">
                  <c:v>0.0001392757660167131</c:v>
                </c:pt>
                <c:pt idx="10">
                  <c:v>0.00010751532093323298</c:v>
                </c:pt>
                <c:pt idx="11">
                  <c:v>0.00018946057866673884</c:v>
                </c:pt>
                <c:pt idx="12">
                  <c:v>0.00012403870007442322</c:v>
                </c:pt>
                <c:pt idx="13">
                  <c:v>0.00015577132769094968</c:v>
                </c:pt>
                <c:pt idx="14">
                  <c:v>0.0</c:v>
                </c:pt>
                <c:pt idx="15">
                  <c:v>0.00015527950310559007</c:v>
                </c:pt>
                <c:pt idx="16">
                  <c:v>0.00014243999715120005</c:v>
                </c:pt>
                <c:pt idx="17">
                  <c:v>7.810669374365383e-05</c:v>
                </c:pt>
                <c:pt idx="18">
                  <c:v>0.0</c:v>
                </c:pt>
                <c:pt idx="19">
                  <c:v>0.00015323322096230462</c:v>
                </c:pt>
                <c:pt idx="20">
                  <c:v>0.00012568077084206116</c:v>
                </c:pt>
                <c:pt idx="21">
                  <c:v>5.2578999947421e-05</c:v>
                </c:pt>
                <c:pt idx="22">
                  <c:v>0.00020874647740319382</c:v>
                </c:pt>
                <c:pt idx="23">
                  <c:v>0.0001632386549134835</c:v>
                </c:pt>
                <c:pt idx="24">
                  <c:v>0.00020258293238794632</c:v>
                </c:pt>
                <c:pt idx="25">
                  <c:v>0.0003478059242942438</c:v>
                </c:pt>
                <c:pt idx="26">
                  <c:v>0.00025717518773788703</c:v>
                </c:pt>
                <c:pt idx="27">
                  <c:v>5.060728744939271e-05</c:v>
                </c:pt>
                <c:pt idx="28">
                  <c:v>0.0002570561924836769</c:v>
                </c:pt>
                <c:pt idx="29">
                  <c:v>0.00017968644714972374</c:v>
                </c:pt>
                <c:pt idx="30">
                  <c:v>0.00023078698361412417</c:v>
                </c:pt>
                <c:pt idx="31">
                  <c:v>0.0002249212775528565</c:v>
                </c:pt>
                <c:pt idx="32">
                  <c:v>0.00011039355301650383</c:v>
                </c:pt>
                <c:pt idx="33">
                  <c:v>0.00039227651135422567</c:v>
                </c:pt>
                <c:pt idx="34">
                  <c:v>0.0004630165528417641</c:v>
                </c:pt>
                <c:pt idx="35">
                  <c:v>0.0004770504651242035</c:v>
                </c:pt>
                <c:pt idx="36">
                  <c:v>0.00016523463317911433</c:v>
                </c:pt>
                <c:pt idx="37">
                  <c:v>0.00019287333044023337</c:v>
                </c:pt>
                <c:pt idx="38">
                  <c:v>9.664637092877162e-05</c:v>
                </c:pt>
                <c:pt idx="39">
                  <c:v>0.00020469781485082646</c:v>
                </c:pt>
                <c:pt idx="40">
                  <c:v>8.289468230613006e-05</c:v>
                </c:pt>
                <c:pt idx="41">
                  <c:v>0.0001376399339328317</c:v>
                </c:pt>
                <c:pt idx="42">
                  <c:v>3.913894324853229e-05</c:v>
                </c:pt>
                <c:pt idx="43">
                  <c:v>0.00010425716768027802</c:v>
                </c:pt>
                <c:pt idx="44">
                  <c:v>0.00014063708599957808</c:v>
                </c:pt>
                <c:pt idx="45">
                  <c:v>0.0001060332944544587</c:v>
                </c:pt>
                <c:pt idx="46">
                  <c:v>0.00022583559168925022</c:v>
                </c:pt>
                <c:pt idx="47">
                  <c:v>0.000293581059827626</c:v>
                </c:pt>
                <c:pt idx="48">
                  <c:v>0.00015294027682190105</c:v>
                </c:pt>
                <c:pt idx="49">
                  <c:v>0.00016961550285696112</c:v>
                </c:pt>
                <c:pt idx="50">
                  <c:v>0.0002012477359629704</c:v>
                </c:pt>
                <c:pt idx="51">
                  <c:v>0.0002486139770777913</c:v>
                </c:pt>
                <c:pt idx="52">
                  <c:v>8.450228156160216e-05</c:v>
                </c:pt>
                <c:pt idx="53">
                  <c:v>0.0001316586354899018</c:v>
                </c:pt>
                <c:pt idx="54">
                  <c:v>0.0002624289254993439</c:v>
                </c:pt>
                <c:pt idx="55">
                  <c:v>0.00014956178397295924</c:v>
                </c:pt>
                <c:pt idx="56">
                  <c:v>6.046680372475511e-05</c:v>
                </c:pt>
                <c:pt idx="57">
                  <c:v>0.00010392849719393057</c:v>
                </c:pt>
                <c:pt idx="58">
                  <c:v>9.544716999140975e-05</c:v>
                </c:pt>
                <c:pt idx="59">
                  <c:v>0.0001570869790603057</c:v>
                </c:pt>
                <c:pt idx="60">
                  <c:v>0.0002410260824653525</c:v>
                </c:pt>
                <c:pt idx="61">
                  <c:v>0.00032864621235240263</c:v>
                </c:pt>
                <c:pt idx="62">
                  <c:v>0.00027110679348440006</c:v>
                </c:pt>
                <c:pt idx="63">
                  <c:v>0.00036864849366129393</c:v>
                </c:pt>
                <c:pt idx="64">
                  <c:v>0.0003807615230460922</c:v>
                </c:pt>
                <c:pt idx="65">
                  <c:v>0.00032711808963035657</c:v>
                </c:pt>
                <c:pt idx="66">
                  <c:v>0.0002484135407962783</c:v>
                </c:pt>
                <c:pt idx="67">
                  <c:v>0.0002141174791235458</c:v>
                </c:pt>
                <c:pt idx="68">
                  <c:v>0.0003691608689478915</c:v>
                </c:pt>
                <c:pt idx="69">
                  <c:v>0.00041263410608447746</c:v>
                </c:pt>
                <c:pt idx="70">
                  <c:v>0.0003591051100657162</c:v>
                </c:pt>
                <c:pt idx="71">
                  <c:v>0.0003860854793251226</c:v>
                </c:pt>
                <c:pt idx="72">
                  <c:v>0.00040169442009932807</c:v>
                </c:pt>
                <c:pt idx="73">
                  <c:v>0.0007383515330509462</c:v>
                </c:pt>
                <c:pt idx="74">
                  <c:v>0.0007898597058712905</c:v>
                </c:pt>
                <c:pt idx="75">
                  <c:v>0.0007884708046782601</c:v>
                </c:pt>
                <c:pt idx="76">
                  <c:v>0.0010745153001635132</c:v>
                </c:pt>
                <c:pt idx="77">
                  <c:v>0.0011077397293262053</c:v>
                </c:pt>
                <c:pt idx="78">
                  <c:v>0.0018812147272238647</c:v>
                </c:pt>
                <c:pt idx="79">
                  <c:v>0.0011912703707233393</c:v>
                </c:pt>
                <c:pt idx="80">
                  <c:v>0.0011436195558944058</c:v>
                </c:pt>
                <c:pt idx="81">
                  <c:v>0.0016303240269003464</c:v>
                </c:pt>
                <c:pt idx="82">
                  <c:v>0.0013089005235602095</c:v>
                </c:pt>
                <c:pt idx="83">
                  <c:v>0.001287395782246199</c:v>
                </c:pt>
                <c:pt idx="84">
                  <c:v>0.0012380068090374497</c:v>
                </c:pt>
                <c:pt idx="85">
                  <c:v>0.0011462256427050926</c:v>
                </c:pt>
                <c:pt idx="86">
                  <c:v>0.0010637427379101548</c:v>
                </c:pt>
                <c:pt idx="87">
                  <c:v>0.0009602827072290082</c:v>
                </c:pt>
                <c:pt idx="88">
                  <c:v>0.001459356910054969</c:v>
                </c:pt>
                <c:pt idx="89">
                  <c:v>0.0018212984786800943</c:v>
                </c:pt>
                <c:pt idx="90">
                  <c:v>0.0017051705170517053</c:v>
                </c:pt>
                <c:pt idx="91">
                  <c:v>0.0016994158258098779</c:v>
                </c:pt>
                <c:pt idx="92">
                  <c:v>0.0014476709529081156</c:v>
                </c:pt>
                <c:pt idx="93">
                  <c:v>0.0014341911162104573</c:v>
                </c:pt>
                <c:pt idx="94">
                  <c:v>0.0013409784518634976</c:v>
                </c:pt>
                <c:pt idx="95">
                  <c:v>0.0015918173812910655</c:v>
                </c:pt>
                <c:pt idx="96">
                  <c:v>0.0021358186495801174</c:v>
                </c:pt>
                <c:pt idx="97">
                  <c:v>0.0024340169746227274</c:v>
                </c:pt>
                <c:pt idx="98">
                  <c:v>0.002288203851504723</c:v>
                </c:pt>
                <c:pt idx="99">
                  <c:v>0.0021538071709109336</c:v>
                </c:pt>
                <c:pt idx="100">
                  <c:v>0.0016596553909986745</c:v>
                </c:pt>
                <c:pt idx="101">
                  <c:v>0.002235498931708475</c:v>
                </c:pt>
                <c:pt idx="102">
                  <c:v>0.0018664144933306789</c:v>
                </c:pt>
                <c:pt idx="103">
                  <c:v>0.001825415399017084</c:v>
                </c:pt>
                <c:pt idx="104">
                  <c:v>0.001356668023334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109:$B$160</c:f>
              <c:numCache>
                <c:formatCode>General</c:formatCode>
                <c:ptCount val="52"/>
                <c:pt idx="0">
                  <c:v>0.0014574738766334823</c:v>
                </c:pt>
                <c:pt idx="1">
                  <c:v>0.001754845468831849</c:v>
                </c:pt>
                <c:pt idx="2">
                  <c:v>0.0015945971297251665</c:v>
                </c:pt>
                <c:pt idx="3">
                  <c:v>0.0016878032771513631</c:v>
                </c:pt>
                <c:pt idx="4">
                  <c:v>0.0016790772375529274</c:v>
                </c:pt>
                <c:pt idx="5">
                  <c:v>0.001467064404127341</c:v>
                </c:pt>
                <c:pt idx="6">
                  <c:v>0.0015850773012336037</c:v>
                </c:pt>
                <c:pt idx="7">
                  <c:v>0.0018228675592431957</c:v>
                </c:pt>
                <c:pt idx="8">
                  <c:v>0.0021541568495456074</c:v>
                </c:pt>
                <c:pt idx="9">
                  <c:v>0.0022634957055595174</c:v>
                </c:pt>
                <c:pt idx="10">
                  <c:v>0.0021662363868364047</c:v>
                </c:pt>
                <c:pt idx="11">
                  <c:v>0.0022191338653277143</c:v>
                </c:pt>
                <c:pt idx="12">
                  <c:v>0.0022670596236681025</c:v>
                </c:pt>
                <c:pt idx="13">
                  <c:v>0.003259726603575184</c:v>
                </c:pt>
                <c:pt idx="14">
                  <c:v>0.003245906390378206</c:v>
                </c:pt>
                <c:pt idx="15">
                  <c:v>0.0030689110015809542</c:v>
                </c:pt>
                <c:pt idx="16">
                  <c:v>0.0030204962243797194</c:v>
                </c:pt>
                <c:pt idx="17">
                  <c:v>0.003840072283713576</c:v>
                </c:pt>
                <c:pt idx="18">
                  <c:v>0.0020977745348412986</c:v>
                </c:pt>
                <c:pt idx="19">
                  <c:v>0.001841620626151013</c:v>
                </c:pt>
                <c:pt idx="20">
                  <c:v>0.0021836089946106673</c:v>
                </c:pt>
                <c:pt idx="21">
                  <c:v>0.003158196956646569</c:v>
                </c:pt>
                <c:pt idx="22">
                  <c:v>0.002605789384240639</c:v>
                </c:pt>
                <c:pt idx="23">
                  <c:v>0.00262574396078889</c:v>
                </c:pt>
                <c:pt idx="24">
                  <c:v>0.0023803083581282122</c:v>
                </c:pt>
                <c:pt idx="25">
                  <c:v>0.0025542059257577477</c:v>
                </c:pt>
                <c:pt idx="26">
                  <c:v>0.00275690577869074</c:v>
                </c:pt>
                <c:pt idx="27">
                  <c:v>0.0027923382158428454</c:v>
                </c:pt>
                <c:pt idx="28">
                  <c:v>0.002306293520202244</c:v>
                </c:pt>
                <c:pt idx="29">
                  <c:v>0.0026136121186259866</c:v>
                </c:pt>
                <c:pt idx="30">
                  <c:v>0.0025564076914527064</c:v>
                </c:pt>
                <c:pt idx="31">
                  <c:v>0.002603378337470485</c:v>
                </c:pt>
                <c:pt idx="32">
                  <c:v>0.0022248119504184767</c:v>
                </c:pt>
                <c:pt idx="33">
                  <c:v>0.0021675661328850746</c:v>
                </c:pt>
                <c:pt idx="34">
                  <c:v>0.0019902546153318236</c:v>
                </c:pt>
                <c:pt idx="35">
                  <c:v>0.0024293831837272502</c:v>
                </c:pt>
                <c:pt idx="36">
                  <c:v>0.003050165487701992</c:v>
                </c:pt>
                <c:pt idx="37">
                  <c:v>0.0030033498902622157</c:v>
                </c:pt>
                <c:pt idx="38">
                  <c:v>0.003501491375956426</c:v>
                </c:pt>
                <c:pt idx="39">
                  <c:v>0.003268438254938184</c:v>
                </c:pt>
                <c:pt idx="40">
                  <c:v>0.0030971201405260483</c:v>
                </c:pt>
                <c:pt idx="41">
                  <c:v>0.0025173611111111113</c:v>
                </c:pt>
                <c:pt idx="42">
                  <c:v>0.0028767858013555025</c:v>
                </c:pt>
                <c:pt idx="43">
                  <c:v>0.0021081969556206673</c:v>
                </c:pt>
                <c:pt idx="44">
                  <c:v>0.0015509774084045418</c:v>
                </c:pt>
                <c:pt idx="45">
                  <c:v>0.0012992732878220655</c:v>
                </c:pt>
                <c:pt idx="46">
                  <c:v>0.0013457884737175427</c:v>
                </c:pt>
                <c:pt idx="47">
                  <c:v>0.0013377263606411177</c:v>
                </c:pt>
                <c:pt idx="48">
                  <c:v>0.0014954823969259528</c:v>
                </c:pt>
                <c:pt idx="49">
                  <c:v>0.0013136165740879747</c:v>
                </c:pt>
                <c:pt idx="50">
                  <c:v>0.0011035611546473564</c:v>
                </c:pt>
                <c:pt idx="51">
                  <c:v>0.001310531517208782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616.0995188250113</c:v>
                </c:pt>
              </c:numCache>
            </c:numRef>
          </c:xVal>
          <c:yVal>
            <c:numRef>
              <c:f>Sheet1!$B$163:$B$164</c:f>
              <c:numCache>
                <c:formatCode>General</c:formatCode>
                <c:ptCount val="2"/>
                <c:pt idx="0">
                  <c:v>0.0026640183997899175</c:v>
                </c:pt>
                <c:pt idx="1">
                  <c:v>0.002664018399789917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616.0995188250113</c:v>
                </c:pt>
                <c:pt idx="1">
                  <c:v>3616.0995188250113</c:v>
                </c:pt>
              </c:numCache>
            </c:numRef>
          </c:xVal>
          <c:yVal>
            <c:numRef>
              <c:f>Sheet1!$B$167:$B$168</c:f>
              <c:numCache>
                <c:formatCode>General</c:formatCode>
                <c:ptCount val="2"/>
                <c:pt idx="0">
                  <c:v>0.002664018399789917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616.0995188250113</c:v>
                </c:pt>
              </c:numCache>
            </c:numRef>
          </c:xVal>
          <c:yVal>
            <c:numRef>
              <c:f>Sheet1!$B$171:$B$172</c:f>
              <c:numCache>
                <c:formatCode>General</c:formatCode>
                <c:ptCount val="2"/>
                <c:pt idx="0">
                  <c:v>0.0026640183997899175</c:v>
                </c:pt>
                <c:pt idx="1">
                  <c:v>0.002664018399789917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616.0995188250113</c:v>
                </c:pt>
                <c:pt idx="1">
                  <c:v>3616.0995188250113</c:v>
                </c:pt>
              </c:numCache>
            </c:numRef>
          </c:xVal>
          <c:yVal>
            <c:numRef>
              <c:f>Sheet1!$B$175:$B$176</c:f>
              <c:numCache>
                <c:formatCode>General</c:formatCode>
                <c:ptCount val="2"/>
                <c:pt idx="0">
                  <c:v>0.002664018399789917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327.939731955908</c:v>
                </c:pt>
              </c:numCache>
            </c:numRef>
          </c:xVal>
          <c:yVal>
            <c:numRef>
              <c:f>Sheet1!$B$179:$B$180</c:f>
              <c:numCache>
                <c:formatCode>General</c:formatCode>
                <c:ptCount val="2"/>
                <c:pt idx="0">
                  <c:v>0.0018942199566928347</c:v>
                </c:pt>
                <c:pt idx="1">
                  <c:v>0.001894219956692834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327.939731955908</c:v>
                </c:pt>
                <c:pt idx="1">
                  <c:v>4327.939731955908</c:v>
                </c:pt>
              </c:numCache>
            </c:numRef>
          </c:xVal>
          <c:yVal>
            <c:numRef>
              <c:f>Sheet1!$B$183:$B$184</c:f>
              <c:numCache>
                <c:formatCode>General</c:formatCode>
                <c:ptCount val="2"/>
                <c:pt idx="0">
                  <c:v>0.00189421995669283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616.0995188250113</c:v>
                </c:pt>
                <c:pt idx="53">
                  <c:v>3616.0995188250113</c:v>
                </c:pt>
                <c:pt idx="54">
                  <c:v>4327.939731955908</c:v>
                </c:pt>
              </c:numCache>
            </c:numRef>
          </c:xVal>
          <c:yVal>
            <c:numRef>
              <c:f>Sheet1!$B$187:$B$241</c:f>
              <c:numCache>
                <c:formatCode>General</c:formatCode>
                <c:ptCount val="55"/>
                <c:pt idx="0">
                  <c:v>0.001891002117063354</c:v>
                </c:pt>
                <c:pt idx="1">
                  <c:v>0.0025376967438809255</c:v>
                </c:pt>
                <c:pt idx="2">
                  <c:v>0.0018600105583750151</c:v>
                </c:pt>
                <c:pt idx="3">
                  <c:v>0.0024694553391978163</c:v>
                </c:pt>
                <c:pt idx="4">
                  <c:v>0.0017502631618983855</c:v>
                </c:pt>
                <c:pt idx="5">
                  <c:v>0.001443310666584127</c:v>
                </c:pt>
                <c:pt idx="6">
                  <c:v>0.0016663041785715347</c:v>
                </c:pt>
                <c:pt idx="7">
                  <c:v>0.0017021280637841765</c:v>
                </c:pt>
                <c:pt idx="8">
                  <c:v>0.001995081681706811</c:v>
                </c:pt>
                <c:pt idx="9">
                  <c:v>0.0021429555234577496</c:v>
                </c:pt>
                <c:pt idx="10">
                  <c:v>0.0020943212417419707</c:v>
                </c:pt>
                <c:pt idx="11">
                  <c:v>0.002155792955467903</c:v>
                </c:pt>
                <c:pt idx="12">
                  <c:v>0.002507416219027148</c:v>
                </c:pt>
                <c:pt idx="13">
                  <c:v>0.0028536972663997396</c:v>
                </c:pt>
                <c:pt idx="14">
                  <c:v>0.002804594837844446</c:v>
                </c:pt>
                <c:pt idx="15">
                  <c:v>0.002532968341845596</c:v>
                </c:pt>
                <c:pt idx="16">
                  <c:v>0.002334408655964365</c:v>
                </c:pt>
                <c:pt idx="17">
                  <c:v>0.0033051643876469993</c:v>
                </c:pt>
                <c:pt idx="18">
                  <c:v>0.0019582876543603528</c:v>
                </c:pt>
                <c:pt idx="19">
                  <c:v>0.0015953141279609713</c:v>
                </c:pt>
                <c:pt idx="20">
                  <c:v>0.0017749224641330878</c:v>
                </c:pt>
                <c:pt idx="21">
                  <c:v>0.0026736622017848595</c:v>
                </c:pt>
                <c:pt idx="22">
                  <c:v>0.002288355940742672</c:v>
                </c:pt>
                <c:pt idx="23">
                  <c:v>0.003098496536927169</c:v>
                </c:pt>
                <c:pt idx="24">
                  <c:v>0.0020874094521599086</c:v>
                </c:pt>
                <c:pt idx="25">
                  <c:v>0.0023882677116243136</c:v>
                </c:pt>
                <c:pt idx="26">
                  <c:v>0.0023643181455198347</c:v>
                </c:pt>
                <c:pt idx="27">
                  <c:v>0.002631702337899529</c:v>
                </c:pt>
                <c:pt idx="28">
                  <c:v>0.002529967508708684</c:v>
                </c:pt>
                <c:pt idx="29">
                  <c:v>0.002541528324077472</c:v>
                </c:pt>
                <c:pt idx="30">
                  <c:v>0.0026327413665052247</c:v>
                </c:pt>
                <c:pt idx="31">
                  <c:v>0.002279366742801387</c:v>
                </c:pt>
                <c:pt idx="32">
                  <c:v>0.0017533126589479291</c:v>
                </c:pt>
                <c:pt idx="33">
                  <c:v>0.0018763885603841788</c:v>
                </c:pt>
                <c:pt idx="34">
                  <c:v>0.0017566652781021534</c:v>
                </c:pt>
                <c:pt idx="35">
                  <c:v>0.0020849246727809457</c:v>
                </c:pt>
                <c:pt idx="36">
                  <c:v>0.002103099022018379</c:v>
                </c:pt>
                <c:pt idx="37">
                  <c:v>0.0020498585387589896</c:v>
                </c:pt>
                <c:pt idx="38">
                  <c:v>0.002605469028446269</c:v>
                </c:pt>
                <c:pt idx="39">
                  <c:v>0.0029703717004843895</c:v>
                </c:pt>
                <c:pt idx="40">
                  <c:v>0.0030908351068065264</c:v>
                </c:pt>
                <c:pt idx="41">
                  <c:v>0.0027554128167564932</c:v>
                </c:pt>
                <c:pt idx="42">
                  <c:v>0.002937963589370364</c:v>
                </c:pt>
                <c:pt idx="43">
                  <c:v>0.002675141801012912</c:v>
                </c:pt>
                <c:pt idx="44">
                  <c:v>0.0021103164209717662</c:v>
                </c:pt>
                <c:pt idx="45">
                  <c:v>0.0020062376133225058</c:v>
                </c:pt>
                <c:pt idx="46">
                  <c:v>0.0017526583996781055</c:v>
                </c:pt>
                <c:pt idx="47">
                  <c:v>0.00219168551086837</c:v>
                </c:pt>
                <c:pt idx="48">
                  <c:v>0.0025131477465148546</c:v>
                </c:pt>
                <c:pt idx="49">
                  <c:v>0.002439484100544318</c:v>
                </c:pt>
                <c:pt idx="50">
                  <c:v>0.0022139149698743683</c:v>
                </c:pt>
                <c:pt idx="51">
                  <c:v>0.0018442676744967077</c:v>
                </c:pt>
                <c:pt idx="52">
                  <c:v>0.002664018399789918</c:v>
                </c:pt>
                <c:pt idx="53">
                  <c:v>0.002664018399789918</c:v>
                </c:pt>
                <c:pt idx="54">
                  <c:v>0.001894219956692835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0808674045629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101.0431</c:v>
                </c:pt>
                <c:pt idx="1">
                  <c:v>1215.5929</c:v>
                </c:pt>
                <c:pt idx="2">
                  <c:v>1205.34</c:v>
                </c:pt>
                <c:pt idx="3">
                  <c:v>1212.7278</c:v>
                </c:pt>
                <c:pt idx="4">
                  <c:v>1211.7906</c:v>
                </c:pt>
                <c:pt idx="5">
                  <c:v>1189.1071</c:v>
                </c:pt>
                <c:pt idx="6">
                  <c:v>1211.5117</c:v>
                </c:pt>
                <c:pt idx="7">
                  <c:v>1192.4309</c:v>
                </c:pt>
                <c:pt idx="8">
                  <c:v>1149.548</c:v>
                </c:pt>
                <c:pt idx="9">
                  <c:v>1134.6055</c:v>
                </c:pt>
                <c:pt idx="10">
                  <c:v>1060.3578</c:v>
                </c:pt>
                <c:pt idx="11">
                  <c:v>981.5751</c:v>
                </c:pt>
                <c:pt idx="12">
                  <c:v>1002.7706</c:v>
                </c:pt>
                <c:pt idx="13">
                  <c:v>1018.955</c:v>
                </c:pt>
                <c:pt idx="14">
                  <c:v>1158.5364</c:v>
                </c:pt>
                <c:pt idx="15">
                  <c:v>1144.4155</c:v>
                </c:pt>
                <c:pt idx="16">
                  <c:v>1189.4776</c:v>
                </c:pt>
                <c:pt idx="17">
                  <c:v>1228.5552</c:v>
                </c:pt>
                <c:pt idx="18">
                  <c:v>1230.306</c:v>
                </c:pt>
                <c:pt idx="19">
                  <c:v>1288.0327</c:v>
                </c:pt>
                <c:pt idx="20">
                  <c:v>1301.9515</c:v>
                </c:pt>
                <c:pt idx="21">
                  <c:v>1281.4431</c:v>
                </c:pt>
                <c:pt idx="22">
                  <c:v>1282.2202</c:v>
                </c:pt>
                <c:pt idx="23">
                  <c:v>1292.2793</c:v>
                </c:pt>
                <c:pt idx="24">
                  <c:v>1303.0432</c:v>
                </c:pt>
                <c:pt idx="25">
                  <c:v>1297.9725</c:v>
                </c:pt>
                <c:pt idx="26">
                  <c:v>1275.5954</c:v>
                </c:pt>
                <c:pt idx="27">
                  <c:v>1300.9419</c:v>
                </c:pt>
                <c:pt idx="28">
                  <c:v>1317.7524</c:v>
                </c:pt>
                <c:pt idx="29">
                  <c:v>1353.8482</c:v>
                </c:pt>
                <c:pt idx="30">
                  <c:v>1352.1419</c:v>
                </c:pt>
                <c:pt idx="31">
                  <c:v>1286.7117</c:v>
                </c:pt>
                <c:pt idx="32">
                  <c:v>1353.2355</c:v>
                </c:pt>
                <c:pt idx="33">
                  <c:v>1338.2754</c:v>
                </c:pt>
                <c:pt idx="34">
                  <c:v>1338.5601</c:v>
                </c:pt>
                <c:pt idx="35">
                  <c:v>1359.3162</c:v>
                </c:pt>
                <c:pt idx="36">
                  <c:v>1398.8305</c:v>
                </c:pt>
                <c:pt idx="37">
                  <c:v>1413.0746</c:v>
                </c:pt>
                <c:pt idx="38">
                  <c:v>1435.2703</c:v>
                </c:pt>
                <c:pt idx="39">
                  <c:v>1461.7192</c:v>
                </c:pt>
                <c:pt idx="40">
                  <c:v>1527.3902</c:v>
                </c:pt>
                <c:pt idx="41">
                  <c:v>1490.9448</c:v>
                </c:pt>
                <c:pt idx="42">
                  <c:v>1517.6754</c:v>
                </c:pt>
                <c:pt idx="43">
                  <c:v>1514.0676</c:v>
                </c:pt>
                <c:pt idx="44">
                  <c:v>1509.9131</c:v>
                </c:pt>
                <c:pt idx="45">
                  <c:v>1502.4804</c:v>
                </c:pt>
                <c:pt idx="46">
                  <c:v>1464.8561</c:v>
                </c:pt>
                <c:pt idx="47">
                  <c:v>1482.9667</c:v>
                </c:pt>
                <c:pt idx="48">
                  <c:v>1398.8186</c:v>
                </c:pt>
                <c:pt idx="49">
                  <c:v>1339.817</c:v>
                </c:pt>
                <c:pt idx="50">
                  <c:v>1371.0071</c:v>
                </c:pt>
                <c:pt idx="51">
                  <c:v>1353.7929</c:v>
                </c:pt>
                <c:pt idx="52">
                  <c:v>1298.7295</c:v>
                </c:pt>
                <c:pt idx="53">
                  <c:v>1539.1542</c:v>
                </c:pt>
                <c:pt idx="54">
                  <c:v>1506.7537</c:v>
                </c:pt>
                <c:pt idx="55">
                  <c:v>1521.5468</c:v>
                </c:pt>
                <c:pt idx="56">
                  <c:v>1509.0374</c:v>
                </c:pt>
                <c:pt idx="57">
                  <c:v>1530.923</c:v>
                </c:pt>
                <c:pt idx="58">
                  <c:v>1540.4034</c:v>
                </c:pt>
                <c:pt idx="59">
                  <c:v>1535.9131</c:v>
                </c:pt>
                <c:pt idx="60">
                  <c:v>1514.8372</c:v>
                </c:pt>
                <c:pt idx="61">
                  <c:v>1493.4043</c:v>
                </c:pt>
                <c:pt idx="62">
                  <c:v>1384.4854</c:v>
                </c:pt>
                <c:pt idx="63">
                  <c:v>1387.1324</c:v>
                </c:pt>
                <c:pt idx="64">
                  <c:v>1343.0128</c:v>
                </c:pt>
                <c:pt idx="65">
                  <c:v>1338.9248</c:v>
                </c:pt>
                <c:pt idx="66">
                  <c:v>1507.5032</c:v>
                </c:pt>
                <c:pt idx="67">
                  <c:v>1509.7702</c:v>
                </c:pt>
                <c:pt idx="68">
                  <c:v>1469.6395</c:v>
                </c:pt>
                <c:pt idx="69">
                  <c:v>1515.6723</c:v>
                </c:pt>
                <c:pt idx="70">
                  <c:v>1573.4729</c:v>
                </c:pt>
                <c:pt idx="71">
                  <c:v>1583.1818</c:v>
                </c:pt>
                <c:pt idx="72">
                  <c:v>1557.1197</c:v>
                </c:pt>
                <c:pt idx="73">
                  <c:v>1546.378</c:v>
                </c:pt>
                <c:pt idx="74">
                  <c:v>1421.4393</c:v>
                </c:pt>
                <c:pt idx="75">
                  <c:v>1412.629</c:v>
                </c:pt>
                <c:pt idx="76">
                  <c:v>1367.2113</c:v>
                </c:pt>
                <c:pt idx="77">
                  <c:v>1361.0026</c:v>
                </c:pt>
                <c:pt idx="78">
                  <c:v>1411.5529</c:v>
                </c:pt>
                <c:pt idx="79">
                  <c:v>1418.3138</c:v>
                </c:pt>
                <c:pt idx="80">
                  <c:v>1425.1155</c:v>
                </c:pt>
                <c:pt idx="81">
                  <c:v>1445.7361</c:v>
                </c:pt>
                <c:pt idx="82">
                  <c:v>1439.9528</c:v>
                </c:pt>
                <c:pt idx="83">
                  <c:v>1418.7959</c:v>
                </c:pt>
                <c:pt idx="84">
                  <c:v>1454.7815</c:v>
                </c:pt>
                <c:pt idx="85">
                  <c:v>1450.122</c:v>
                </c:pt>
                <c:pt idx="86">
                  <c:v>1419.93</c:v>
                </c:pt>
                <c:pt idx="87">
                  <c:v>1434.5345</c:v>
                </c:pt>
                <c:pt idx="88">
                  <c:v>1431.3307</c:v>
                </c:pt>
                <c:pt idx="89">
                  <c:v>1477.1592</c:v>
                </c:pt>
                <c:pt idx="90">
                  <c:v>1426.0471</c:v>
                </c:pt>
                <c:pt idx="91">
                  <c:v>1425.8624</c:v>
                </c:pt>
                <c:pt idx="92">
                  <c:v>1431.7783</c:v>
                </c:pt>
                <c:pt idx="93">
                  <c:v>1434.6648</c:v>
                </c:pt>
                <c:pt idx="94">
                  <c:v>1483.6633</c:v>
                </c:pt>
                <c:pt idx="95">
                  <c:v>1454.4389</c:v>
                </c:pt>
                <c:pt idx="96">
                  <c:v>1364.3714</c:v>
                </c:pt>
                <c:pt idx="97">
                  <c:v>1394.5266</c:v>
                </c:pt>
                <c:pt idx="98">
                  <c:v>1359.7858</c:v>
                </c:pt>
                <c:pt idx="99">
                  <c:v>1351.4407</c:v>
                </c:pt>
                <c:pt idx="100">
                  <c:v>1294.8875</c:v>
                </c:pt>
                <c:pt idx="101">
                  <c:v>1439.9788</c:v>
                </c:pt>
                <c:pt idx="102">
                  <c:v>1467.7171</c:v>
                </c:pt>
                <c:pt idx="103">
                  <c:v>1368.7235</c:v>
                </c:pt>
                <c:pt idx="104">
                  <c:v>1367.1991</c:v>
                </c:pt>
              </c:numCache>
            </c:numRef>
          </c:xVal>
          <c:yVal>
            <c:numRef>
              <c:f>Sheet1!$B$2:$B$106</c:f>
              <c:numCache>
                <c:formatCode>General</c:formatCode>
                <c:ptCount val="105"/>
                <c:pt idx="0">
                  <c:v>0.23850293542074363</c:v>
                </c:pt>
                <c:pt idx="1">
                  <c:v>0.23524498886414255</c:v>
                </c:pt>
                <c:pt idx="2">
                  <c:v>0.24230330672748004</c:v>
                </c:pt>
                <c:pt idx="3">
                  <c:v>0.24149757073449557</c:v>
                </c:pt>
                <c:pt idx="4">
                  <c:v>0.22874365482233502</c:v>
                </c:pt>
                <c:pt idx="5">
                  <c:v>0.24724061810154527</c:v>
                </c:pt>
                <c:pt idx="6">
                  <c:v>0.25017205781142465</c:v>
                </c:pt>
                <c:pt idx="7">
                  <c:v>0.24281150159744408</c:v>
                </c:pt>
                <c:pt idx="8">
                  <c:v>0.2791149068322981</c:v>
                </c:pt>
                <c:pt idx="9">
                  <c:v>0.26337590610976874</c:v>
                </c:pt>
                <c:pt idx="10">
                  <c:v>0.27446380697050937</c:v>
                </c:pt>
                <c:pt idx="11">
                  <c:v>0.286527514231499</c:v>
                </c:pt>
                <c:pt idx="12">
                  <c:v>0.27262753702687875</c:v>
                </c:pt>
                <c:pt idx="13">
                  <c:v>0.2881999367288833</c:v>
                </c:pt>
                <c:pt idx="14">
                  <c:v>0.28322232794164287</c:v>
                </c:pt>
                <c:pt idx="15">
                  <c:v>0.2906810035842294</c:v>
                </c:pt>
                <c:pt idx="16">
                  <c:v>0.24166666666666667</c:v>
                </c:pt>
                <c:pt idx="17">
                  <c:v>0.26096302665520205</c:v>
                </c:pt>
                <c:pt idx="18">
                  <c:v>0.2504047490555855</c:v>
                </c:pt>
                <c:pt idx="19">
                  <c:v>0.23420548819400128</c:v>
                </c:pt>
                <c:pt idx="20">
                  <c:v>0.23537477148080438</c:v>
                </c:pt>
                <c:pt idx="21">
                  <c:v>0.21790722761596548</c:v>
                </c:pt>
                <c:pt idx="22">
                  <c:v>0.2077922077922078</c:v>
                </c:pt>
                <c:pt idx="23">
                  <c:v>0.1864951768488746</c:v>
                </c:pt>
                <c:pt idx="24">
                  <c:v>0.19137625516834023</c:v>
                </c:pt>
                <c:pt idx="25">
                  <c:v>0.19986263736263737</c:v>
                </c:pt>
                <c:pt idx="26">
                  <c:v>0.1876355748373102</c:v>
                </c:pt>
                <c:pt idx="27">
                  <c:v>0.19079312257348863</c:v>
                </c:pt>
                <c:pt idx="28">
                  <c:v>0.17355371900826447</c:v>
                </c:pt>
                <c:pt idx="29">
                  <c:v>0.17481789802289283</c:v>
                </c:pt>
                <c:pt idx="30">
                  <c:v>0.18407960199004975</c:v>
                </c:pt>
                <c:pt idx="31">
                  <c:v>0.1803594351732991</c:v>
                </c:pt>
                <c:pt idx="32">
                  <c:v>0.1744107744107744</c:v>
                </c:pt>
                <c:pt idx="33">
                  <c:v>0.17518667432510052</c:v>
                </c:pt>
                <c:pt idx="34">
                  <c:v>0.18597560975609756</c:v>
                </c:pt>
                <c:pt idx="35">
                  <c:v>0.1944060773480663</c:v>
                </c:pt>
                <c:pt idx="36">
                  <c:v>0.18355555555555556</c:v>
                </c:pt>
                <c:pt idx="37">
                  <c:v>0.16751845542305507</c:v>
                </c:pt>
                <c:pt idx="38">
                  <c:v>0.16052060737527116</c:v>
                </c:pt>
                <c:pt idx="39">
                  <c:v>0.1728833629366489</c:v>
                </c:pt>
                <c:pt idx="40">
                  <c:v>0.17647058823529413</c:v>
                </c:pt>
                <c:pt idx="41">
                  <c:v>0.17564655172413793</c:v>
                </c:pt>
                <c:pt idx="42">
                  <c:v>0.18037021093413688</c:v>
                </c:pt>
                <c:pt idx="43">
                  <c:v>0.19227913882702302</c:v>
                </c:pt>
                <c:pt idx="44">
                  <c:v>0.16314723748915244</c:v>
                </c:pt>
                <c:pt idx="45">
                  <c:v>0.1768613340714088</c:v>
                </c:pt>
                <c:pt idx="46">
                  <c:v>0.18289004661365507</c:v>
                </c:pt>
                <c:pt idx="47">
                  <c:v>0.1727447216890595</c:v>
                </c:pt>
                <c:pt idx="48">
                  <c:v>0.18564554931836408</c:v>
                </c:pt>
                <c:pt idx="49">
                  <c:v>0.2052797478329393</c:v>
                </c:pt>
                <c:pt idx="50">
                  <c:v>0.19347478895733516</c:v>
                </c:pt>
                <c:pt idx="51">
                  <c:v>0.18324607329842932</c:v>
                </c:pt>
                <c:pt idx="52">
                  <c:v>0.19669040636782573</c:v>
                </c:pt>
                <c:pt idx="53">
                  <c:v>0.19770600664050708</c:v>
                </c:pt>
                <c:pt idx="54">
                  <c:v>0.18242790073775988</c:v>
                </c:pt>
                <c:pt idx="55">
                  <c:v>0.18799424874191228</c:v>
                </c:pt>
                <c:pt idx="56">
                  <c:v>0.21083743842364533</c:v>
                </c:pt>
                <c:pt idx="57">
                  <c:v>0.198378041172801</c:v>
                </c:pt>
                <c:pt idx="58">
                  <c:v>0.19822320932815102</c:v>
                </c:pt>
                <c:pt idx="59">
                  <c:v>0.18152809785499024</c:v>
                </c:pt>
                <c:pt idx="60">
                  <c:v>0.18325876211782252</c:v>
                </c:pt>
                <c:pt idx="61">
                  <c:v>0.19786666666666666</c:v>
                </c:pt>
                <c:pt idx="62">
                  <c:v>0.22150363783346808</c:v>
                </c:pt>
                <c:pt idx="63">
                  <c:v>0.22826341692055307</c:v>
                </c:pt>
                <c:pt idx="64">
                  <c:v>0.22885572139303484</c:v>
                </c:pt>
                <c:pt idx="65">
                  <c:v>0.23352573352573353</c:v>
                </c:pt>
                <c:pt idx="66">
                  <c:v>0.2179237406067353</c:v>
                </c:pt>
                <c:pt idx="67">
                  <c:v>0.22954091816367264</c:v>
                </c:pt>
                <c:pt idx="68">
                  <c:v>0.21292115317818688</c:v>
                </c:pt>
                <c:pt idx="69">
                  <c:v>0.21935483870967742</c:v>
                </c:pt>
                <c:pt idx="70">
                  <c:v>0.2132385606397157</c:v>
                </c:pt>
                <c:pt idx="71">
                  <c:v>0.19280898876404495</c:v>
                </c:pt>
                <c:pt idx="72">
                  <c:v>0.2</c:v>
                </c:pt>
                <c:pt idx="73">
                  <c:v>0.2078559738134206</c:v>
                </c:pt>
                <c:pt idx="74">
                  <c:v>0.22282382340691378</c:v>
                </c:pt>
                <c:pt idx="75">
                  <c:v>0.20850409836065573</c:v>
                </c:pt>
                <c:pt idx="76">
                  <c:v>0.21454928835002635</c:v>
                </c:pt>
                <c:pt idx="77">
                  <c:v>0.2030430220356768</c:v>
                </c:pt>
                <c:pt idx="78">
                  <c:v>0.20214030915576695</c:v>
                </c:pt>
                <c:pt idx="79">
                  <c:v>0.20679199514857488</c:v>
                </c:pt>
                <c:pt idx="80">
                  <c:v>0.18264014466546113</c:v>
                </c:pt>
                <c:pt idx="81">
                  <c:v>0.19238578680203045</c:v>
                </c:pt>
                <c:pt idx="82">
                  <c:v>0.19714817110973343</c:v>
                </c:pt>
                <c:pt idx="83">
                  <c:v>0.19367588932806323</c:v>
                </c:pt>
                <c:pt idx="84">
                  <c:v>0.189792663476874</c:v>
                </c:pt>
                <c:pt idx="85">
                  <c:v>0.18952234206471494</c:v>
                </c:pt>
                <c:pt idx="86">
                  <c:v>0.1895910780669145</c:v>
                </c:pt>
                <c:pt idx="87">
                  <c:v>0.22675933970460468</c:v>
                </c:pt>
                <c:pt idx="88">
                  <c:v>0.20382165605095542</c:v>
                </c:pt>
                <c:pt idx="89">
                  <c:v>0.18988173455978974</c:v>
                </c:pt>
                <c:pt idx="90">
                  <c:v>0.1775766016713092</c:v>
                </c:pt>
                <c:pt idx="91">
                  <c:v>0.20373831775700935</c:v>
                </c:pt>
                <c:pt idx="92">
                  <c:v>0.1972180824639841</c:v>
                </c:pt>
                <c:pt idx="93">
                  <c:v>0.17023300047551118</c:v>
                </c:pt>
                <c:pt idx="94">
                  <c:v>0.16198704103671707</c:v>
                </c:pt>
                <c:pt idx="95">
                  <c:v>0.17115520907158044</c:v>
                </c:pt>
                <c:pt idx="96">
                  <c:v>0.15884892086330935</c:v>
                </c:pt>
                <c:pt idx="97">
                  <c:v>0.1532976827094474</c:v>
                </c:pt>
                <c:pt idx="98">
                  <c:v>0.17494646680942183</c:v>
                </c:pt>
                <c:pt idx="99">
                  <c:v>0.1748139207402937</c:v>
                </c:pt>
                <c:pt idx="100">
                  <c:v>0.20506999621642075</c:v>
                </c:pt>
                <c:pt idx="101">
                  <c:v>0.18140589569160998</c:v>
                </c:pt>
                <c:pt idx="102">
                  <c:v>0.1584372003835091</c:v>
                </c:pt>
                <c:pt idx="103">
                  <c:v>0.17103651065915218</c:v>
                </c:pt>
                <c:pt idx="104">
                  <c:v>0.172988969599139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58.4932</c:v>
                </c:pt>
                <c:pt idx="1">
                  <c:v>1478.1716</c:v>
                </c:pt>
                <c:pt idx="2">
                  <c:v>1492.4629</c:v>
                </c:pt>
                <c:pt idx="3">
                  <c:v>1513.9442</c:v>
                </c:pt>
                <c:pt idx="4">
                  <c:v>1507.3485</c:v>
                </c:pt>
                <c:pt idx="5">
                  <c:v>1514.8658</c:v>
                </c:pt>
                <c:pt idx="6">
                  <c:v>1486.8796</c:v>
                </c:pt>
                <c:pt idx="7">
                  <c:v>1459.8333</c:v>
                </c:pt>
                <c:pt idx="8">
                  <c:v>1484.2466</c:v>
                </c:pt>
                <c:pt idx="9">
                  <c:v>1335.7565</c:v>
                </c:pt>
                <c:pt idx="10">
                  <c:v>1376.1383</c:v>
                </c:pt>
                <c:pt idx="11">
                  <c:v>1465.8782</c:v>
                </c:pt>
                <c:pt idx="12">
                  <c:v>1464.0534</c:v>
                </c:pt>
                <c:pt idx="13">
                  <c:v>1376.4881</c:v>
                </c:pt>
                <c:pt idx="14">
                  <c:v>1412.8033</c:v>
                </c:pt>
                <c:pt idx="15">
                  <c:v>1373.5444</c:v>
                </c:pt>
                <c:pt idx="16">
                  <c:v>1375.8523</c:v>
                </c:pt>
                <c:pt idx="17">
                  <c:v>1271.5553</c:v>
                </c:pt>
                <c:pt idx="18">
                  <c:v>1303.0142</c:v>
                </c:pt>
                <c:pt idx="19">
                  <c:v>1357.5641</c:v>
                </c:pt>
                <c:pt idx="20">
                  <c:v>1372.171</c:v>
                </c:pt>
                <c:pt idx="21">
                  <c:v>1402.086</c:v>
                </c:pt>
                <c:pt idx="22">
                  <c:v>1408.2439</c:v>
                </c:pt>
                <c:pt idx="23">
                  <c:v>1251.5228</c:v>
                </c:pt>
                <c:pt idx="24">
                  <c:v>1268.6843</c:v>
                </c:pt>
                <c:pt idx="25">
                  <c:v>1258.7795</c:v>
                </c:pt>
                <c:pt idx="26">
                  <c:v>1256.3916</c:v>
                </c:pt>
                <c:pt idx="27">
                  <c:v>1368.2953</c:v>
                </c:pt>
                <c:pt idx="28">
                  <c:v>1488.2046</c:v>
                </c:pt>
                <c:pt idx="29">
                  <c:v>1504.8058</c:v>
                </c:pt>
                <c:pt idx="30">
                  <c:v>1482.1208</c:v>
                </c:pt>
                <c:pt idx="31">
                  <c:v>1448.0492</c:v>
                </c:pt>
                <c:pt idx="32">
                  <c:v>1507.5536</c:v>
                </c:pt>
                <c:pt idx="33">
                  <c:v>1514.0307</c:v>
                </c:pt>
                <c:pt idx="34">
                  <c:v>1521.1359</c:v>
                </c:pt>
                <c:pt idx="35">
                  <c:v>1515.8821</c:v>
                </c:pt>
                <c:pt idx="36">
                  <c:v>1285.4728</c:v>
                </c:pt>
                <c:pt idx="37">
                  <c:v>1370.2846</c:v>
                </c:pt>
                <c:pt idx="38">
                  <c:v>1357.109</c:v>
                </c:pt>
                <c:pt idx="39">
                  <c:v>1475.7435</c:v>
                </c:pt>
                <c:pt idx="40">
                  <c:v>1511.5876</c:v>
                </c:pt>
                <c:pt idx="41">
                  <c:v>1532.9797</c:v>
                </c:pt>
                <c:pt idx="42">
                  <c:v>1568.6151</c:v>
                </c:pt>
                <c:pt idx="43">
                  <c:v>1504.082</c:v>
                </c:pt>
                <c:pt idx="44">
                  <c:v>1439.7235</c:v>
                </c:pt>
                <c:pt idx="45">
                  <c:v>1367.8595</c:v>
                </c:pt>
                <c:pt idx="46">
                  <c:v>1329.1927</c:v>
                </c:pt>
                <c:pt idx="47">
                  <c:v>1385.1248</c:v>
                </c:pt>
                <c:pt idx="48">
                  <c:v>1308.209</c:v>
                </c:pt>
                <c:pt idx="49">
                  <c:v>1264.6009</c:v>
                </c:pt>
                <c:pt idx="50">
                  <c:v>1227.1138</c:v>
                </c:pt>
                <c:pt idx="51">
                  <c:v>1280.0107</c:v>
                </c:pt>
              </c:numCache>
            </c:numRef>
          </c:xVal>
          <c:yVal>
            <c:numRef>
              <c:f>Sheet1!$B$109:$B$160</c:f>
              <c:numCache>
                <c:formatCode>General</c:formatCode>
                <c:ptCount val="52"/>
                <c:pt idx="0">
                  <c:v>0.16624621594349143</c:v>
                </c:pt>
                <c:pt idx="1">
                  <c:v>0.15533188248095756</c:v>
                </c:pt>
                <c:pt idx="2">
                  <c:v>0.15379008746355685</c:v>
                </c:pt>
                <c:pt idx="3">
                  <c:v>0.15476190476190477</c:v>
                </c:pt>
                <c:pt idx="4">
                  <c:v>0.14289439374185137</c:v>
                </c:pt>
                <c:pt idx="5">
                  <c:v>0.1441823482639809</c:v>
                </c:pt>
                <c:pt idx="6">
                  <c:v>0.16676961087090797</c:v>
                </c:pt>
                <c:pt idx="7">
                  <c:v>0.18206157965194109</c:v>
                </c:pt>
                <c:pt idx="8">
                  <c:v>0.19571045576407506</c:v>
                </c:pt>
                <c:pt idx="9">
                  <c:v>0.24496644295302014</c:v>
                </c:pt>
                <c:pt idx="10">
                  <c:v>0.21067415730337077</c:v>
                </c:pt>
                <c:pt idx="11">
                  <c:v>0.21506024096385543</c:v>
                </c:pt>
                <c:pt idx="12">
                  <c:v>0.2016004924592182</c:v>
                </c:pt>
                <c:pt idx="13">
                  <c:v>0.21881331403762663</c:v>
                </c:pt>
                <c:pt idx="14">
                  <c:v>0.20840393087089124</c:v>
                </c:pt>
                <c:pt idx="15">
                  <c:v>0.21081830790568654</c:v>
                </c:pt>
                <c:pt idx="16">
                  <c:v>0.20080160320641283</c:v>
                </c:pt>
                <c:pt idx="17">
                  <c:v>0.21092121717382242</c:v>
                </c:pt>
                <c:pt idx="18">
                  <c:v>0.19435215946843853</c:v>
                </c:pt>
                <c:pt idx="19">
                  <c:v>0.19491878384006664</c:v>
                </c:pt>
                <c:pt idx="20">
                  <c:v>0.1833729216152019</c:v>
                </c:pt>
                <c:pt idx="21">
                  <c:v>0.18355263157894736</c:v>
                </c:pt>
                <c:pt idx="22">
                  <c:v>0.18373879641485275</c:v>
                </c:pt>
                <c:pt idx="23">
                  <c:v>0.20814732142857142</c:v>
                </c:pt>
                <c:pt idx="24">
                  <c:v>0.2131324004305705</c:v>
                </c:pt>
                <c:pt idx="25">
                  <c:v>0.2450873362445415</c:v>
                </c:pt>
                <c:pt idx="26">
                  <c:v>0.24171122994652405</c:v>
                </c:pt>
                <c:pt idx="27">
                  <c:v>0.17281455280444669</c:v>
                </c:pt>
                <c:pt idx="28">
                  <c:v>0.15226130653266332</c:v>
                </c:pt>
                <c:pt idx="29">
                  <c:v>0.14499700419412823</c:v>
                </c:pt>
                <c:pt idx="30">
                  <c:v>0.16099635479951396</c:v>
                </c:pt>
                <c:pt idx="31">
                  <c:v>0.13626209977661952</c:v>
                </c:pt>
                <c:pt idx="32">
                  <c:v>0.12235979606700656</c:v>
                </c:pt>
                <c:pt idx="33">
                  <c:v>0.14911706998037932</c:v>
                </c:pt>
                <c:pt idx="34">
                  <c:v>0.18265993265993266</c:v>
                </c:pt>
                <c:pt idx="35">
                  <c:v>0.1976694000863185</c:v>
                </c:pt>
                <c:pt idx="36">
                  <c:v>0.18671875</c:v>
                </c:pt>
                <c:pt idx="37">
                  <c:v>0.17105263157894737</c:v>
                </c:pt>
                <c:pt idx="38">
                  <c:v>0.16866506794564348</c:v>
                </c:pt>
                <c:pt idx="39">
                  <c:v>0.1673913043478261</c:v>
                </c:pt>
                <c:pt idx="40">
                  <c:v>0.15866957470010906</c:v>
                </c:pt>
                <c:pt idx="41">
                  <c:v>0.15308770108977685</c:v>
                </c:pt>
                <c:pt idx="42">
                  <c:v>0.15451895043731778</c:v>
                </c:pt>
                <c:pt idx="43">
                  <c:v>0.15113954418232706</c:v>
                </c:pt>
                <c:pt idx="44">
                  <c:v>0.14966887417218544</c:v>
                </c:pt>
                <c:pt idx="45">
                  <c:v>0.1783676507070206</c:v>
                </c:pt>
                <c:pt idx="46">
                  <c:v>0.17208714872118724</c:v>
                </c:pt>
                <c:pt idx="47">
                  <c:v>0.17464702271332105</c:v>
                </c:pt>
                <c:pt idx="48">
                  <c:v>0.1546818416968443</c:v>
                </c:pt>
                <c:pt idx="49">
                  <c:v>0.18185567010309278</c:v>
                </c:pt>
                <c:pt idx="50">
                  <c:v>0.20453146164265484</c:v>
                </c:pt>
                <c:pt idx="51">
                  <c:v>0.1812915683329757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85.639103076628</c:v>
                </c:pt>
              </c:numCache>
            </c:numRef>
          </c:xVal>
          <c:yVal>
            <c:numRef>
              <c:f>Sheet1!$B$163:$B$164</c:f>
              <c:numCache>
                <c:formatCode>General</c:formatCode>
                <c:ptCount val="2"/>
                <c:pt idx="0">
                  <c:v>0.2615092278662798</c:v>
                </c:pt>
                <c:pt idx="1">
                  <c:v>0.261509227866279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85.639103076628</c:v>
                </c:pt>
                <c:pt idx="1">
                  <c:v>985.639103076628</c:v>
                </c:pt>
              </c:numCache>
            </c:numRef>
          </c:xVal>
          <c:yVal>
            <c:numRef>
              <c:f>Sheet1!$B$167:$B$168</c:f>
              <c:numCache>
                <c:formatCode>General</c:formatCode>
                <c:ptCount val="2"/>
                <c:pt idx="0">
                  <c:v>0.26150922786627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74.0244997324503</c:v>
                </c:pt>
              </c:numCache>
            </c:numRef>
          </c:xVal>
          <c:yVal>
            <c:numRef>
              <c:f>Sheet1!$B$171:$B$172</c:f>
              <c:numCache>
                <c:formatCode>General</c:formatCode>
                <c:ptCount val="2"/>
                <c:pt idx="0">
                  <c:v>0.20601970795204297</c:v>
                </c:pt>
                <c:pt idx="1">
                  <c:v>0.2060197079520429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74.0244997324503</c:v>
                </c:pt>
                <c:pt idx="1">
                  <c:v>1274.0244997324503</c:v>
                </c:pt>
              </c:numCache>
            </c:numRef>
          </c:xVal>
          <c:yVal>
            <c:numRef>
              <c:f>Sheet1!$B$175:$B$176</c:f>
              <c:numCache>
                <c:formatCode>General</c:formatCode>
                <c:ptCount val="2"/>
                <c:pt idx="0">
                  <c:v>0.2060197079520429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72.441498042805</c:v>
                </c:pt>
              </c:numCache>
            </c:numRef>
          </c:xVal>
          <c:yVal>
            <c:numRef>
              <c:f>Sheet1!$B$179:$B$180</c:f>
              <c:numCache>
                <c:formatCode>General</c:formatCode>
                <c:ptCount val="2"/>
                <c:pt idx="0">
                  <c:v>0.1678414086805107</c:v>
                </c:pt>
                <c:pt idx="1">
                  <c:v>0.167841408680510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72.441498042805</c:v>
                </c:pt>
                <c:pt idx="1">
                  <c:v>1472.441498042805</c:v>
                </c:pt>
              </c:numCache>
            </c:numRef>
          </c:xVal>
          <c:yVal>
            <c:numRef>
              <c:f>Sheet1!$B$183:$B$184</c:f>
              <c:numCache>
                <c:formatCode>General</c:formatCode>
                <c:ptCount val="2"/>
                <c:pt idx="0">
                  <c:v>0.16784140868051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58.4932</c:v>
                </c:pt>
                <c:pt idx="1">
                  <c:v>1478.1716</c:v>
                </c:pt>
                <c:pt idx="2">
                  <c:v>1492.4629</c:v>
                </c:pt>
                <c:pt idx="3">
                  <c:v>1513.9442</c:v>
                </c:pt>
                <c:pt idx="4">
                  <c:v>1507.3485</c:v>
                </c:pt>
                <c:pt idx="5">
                  <c:v>1514.8658</c:v>
                </c:pt>
                <c:pt idx="6">
                  <c:v>1486.8796</c:v>
                </c:pt>
                <c:pt idx="7">
                  <c:v>1459.8333</c:v>
                </c:pt>
                <c:pt idx="8">
                  <c:v>1484.2466</c:v>
                </c:pt>
                <c:pt idx="9">
                  <c:v>1335.7565</c:v>
                </c:pt>
                <c:pt idx="10">
                  <c:v>1376.1383</c:v>
                </c:pt>
                <c:pt idx="11">
                  <c:v>1465.8782</c:v>
                </c:pt>
                <c:pt idx="12">
                  <c:v>1464.0534</c:v>
                </c:pt>
                <c:pt idx="13">
                  <c:v>1376.4881</c:v>
                </c:pt>
                <c:pt idx="14">
                  <c:v>1412.8033</c:v>
                </c:pt>
                <c:pt idx="15">
                  <c:v>1373.5444</c:v>
                </c:pt>
                <c:pt idx="16">
                  <c:v>1375.8523</c:v>
                </c:pt>
                <c:pt idx="17">
                  <c:v>1271.5553</c:v>
                </c:pt>
                <c:pt idx="18">
                  <c:v>1303.0142</c:v>
                </c:pt>
                <c:pt idx="19">
                  <c:v>1357.5641</c:v>
                </c:pt>
                <c:pt idx="20">
                  <c:v>1372.171</c:v>
                </c:pt>
                <c:pt idx="21">
                  <c:v>1402.086</c:v>
                </c:pt>
                <c:pt idx="22">
                  <c:v>1408.2439</c:v>
                </c:pt>
                <c:pt idx="23">
                  <c:v>1251.5228</c:v>
                </c:pt>
                <c:pt idx="24">
                  <c:v>1268.6843</c:v>
                </c:pt>
                <c:pt idx="25">
                  <c:v>1258.7795</c:v>
                </c:pt>
                <c:pt idx="26">
                  <c:v>1256.3916</c:v>
                </c:pt>
                <c:pt idx="27">
                  <c:v>1368.2953</c:v>
                </c:pt>
                <c:pt idx="28">
                  <c:v>1488.2046</c:v>
                </c:pt>
                <c:pt idx="29">
                  <c:v>1504.8058</c:v>
                </c:pt>
                <c:pt idx="30">
                  <c:v>1482.1208</c:v>
                </c:pt>
                <c:pt idx="31">
                  <c:v>1448.0492</c:v>
                </c:pt>
                <c:pt idx="32">
                  <c:v>1507.5536</c:v>
                </c:pt>
                <c:pt idx="33">
                  <c:v>1514.0307</c:v>
                </c:pt>
                <c:pt idx="34">
                  <c:v>1521.1359</c:v>
                </c:pt>
                <c:pt idx="35">
                  <c:v>1515.8821</c:v>
                </c:pt>
                <c:pt idx="36">
                  <c:v>1285.4728</c:v>
                </c:pt>
                <c:pt idx="37">
                  <c:v>1370.2846</c:v>
                </c:pt>
                <c:pt idx="38">
                  <c:v>1357.109</c:v>
                </c:pt>
                <c:pt idx="39">
                  <c:v>1475.7435</c:v>
                </c:pt>
                <c:pt idx="40">
                  <c:v>1511.5876</c:v>
                </c:pt>
                <c:pt idx="41">
                  <c:v>1532.9797</c:v>
                </c:pt>
                <c:pt idx="42">
                  <c:v>1568.6151</c:v>
                </c:pt>
                <c:pt idx="43">
                  <c:v>1504.082</c:v>
                </c:pt>
                <c:pt idx="44">
                  <c:v>1439.7235</c:v>
                </c:pt>
                <c:pt idx="45">
                  <c:v>1367.8595</c:v>
                </c:pt>
                <c:pt idx="46">
                  <c:v>1329.1927</c:v>
                </c:pt>
                <c:pt idx="47">
                  <c:v>1385.1248</c:v>
                </c:pt>
                <c:pt idx="48">
                  <c:v>1308.209</c:v>
                </c:pt>
                <c:pt idx="49">
                  <c:v>1264.6009</c:v>
                </c:pt>
                <c:pt idx="50">
                  <c:v>1227.1138</c:v>
                </c:pt>
                <c:pt idx="51">
                  <c:v>1280.0107</c:v>
                </c:pt>
                <c:pt idx="52">
                  <c:v>1274.0244997324503</c:v>
                </c:pt>
                <c:pt idx="53">
                  <c:v>985.639103076628</c:v>
                </c:pt>
                <c:pt idx="54">
                  <c:v>1472.441498042805</c:v>
                </c:pt>
              </c:numCache>
            </c:numRef>
          </c:xVal>
          <c:yVal>
            <c:numRef>
              <c:f>Sheet1!$B$187:$B$241</c:f>
              <c:numCache>
                <c:formatCode>General</c:formatCode>
                <c:ptCount val="55"/>
                <c:pt idx="0">
                  <c:v>0.17052526289432057</c:v>
                </c:pt>
                <c:pt idx="1">
                  <c:v>0.16673885421571638</c:v>
                </c:pt>
                <c:pt idx="2">
                  <c:v>0.1639890014660753</c:v>
                </c:pt>
                <c:pt idx="3">
                  <c:v>0.1598556887603828</c:v>
                </c:pt>
                <c:pt idx="4">
                  <c:v>0.16112479680379427</c:v>
                </c:pt>
                <c:pt idx="5">
                  <c:v>0.15967835959550136</c:v>
                </c:pt>
                <c:pt idx="6">
                  <c:v>0.1650633091117808</c:v>
                </c:pt>
                <c:pt idx="7">
                  <c:v>0.17026740827858972</c:v>
                </c:pt>
                <c:pt idx="8">
                  <c:v>0.16556993638080497</c:v>
                </c:pt>
                <c:pt idx="9">
                  <c:v>0.19414157855327852</c:v>
                </c:pt>
                <c:pt idx="10">
                  <c:v>0.18637153637618797</c:v>
                </c:pt>
                <c:pt idx="11">
                  <c:v>0.1691042821188768</c:v>
                </c:pt>
                <c:pt idx="12">
                  <c:v>0.16945540002260456</c:v>
                </c:pt>
                <c:pt idx="13">
                  <c:v>0.1863042297986321</c:v>
                </c:pt>
                <c:pt idx="14">
                  <c:v>0.1793166602581589</c:v>
                </c:pt>
                <c:pt idx="15">
                  <c:v>0.1868706402398878</c:v>
                </c:pt>
                <c:pt idx="16">
                  <c:v>0.18642656691129655</c:v>
                </c:pt>
                <c:pt idx="17">
                  <c:v>0.20649481768129724</c:v>
                </c:pt>
                <c:pt idx="18">
                  <c:v>0.20044167047525702</c:v>
                </c:pt>
                <c:pt idx="19">
                  <c:v>0.18994548100980296</c:v>
                </c:pt>
                <c:pt idx="20">
                  <c:v>0.18713490225708407</c:v>
                </c:pt>
                <c:pt idx="21">
                  <c:v>0.18137882373340108</c:v>
                </c:pt>
                <c:pt idx="22">
                  <c:v>0.18019395473988653</c:v>
                </c:pt>
                <c:pt idx="23">
                  <c:v>0.21034936031962853</c:v>
                </c:pt>
                <c:pt idx="24">
                  <c:v>0.20704723959142574</c:v>
                </c:pt>
                <c:pt idx="25">
                  <c:v>0.20895306631920027</c:v>
                </c:pt>
                <c:pt idx="26">
                  <c:v>0.2094125328044653</c:v>
                </c:pt>
                <c:pt idx="27">
                  <c:v>0.1878806429735888</c:v>
                </c:pt>
                <c:pt idx="28">
                  <c:v>0.16480835995437215</c:v>
                </c:pt>
                <c:pt idx="29">
                  <c:v>0.16161404904722299</c:v>
                </c:pt>
                <c:pt idx="30">
                  <c:v>0.16597897103651765</c:v>
                </c:pt>
                <c:pt idx="31">
                  <c:v>0.17253483949807602</c:v>
                </c:pt>
                <c:pt idx="32">
                  <c:v>0.16108533259837204</c:v>
                </c:pt>
                <c:pt idx="33">
                  <c:v>0.15983904490972928</c:v>
                </c:pt>
                <c:pt idx="34">
                  <c:v>0.15847190169975195</c:v>
                </c:pt>
                <c:pt idx="35">
                  <c:v>0.15948280878140747</c:v>
                </c:pt>
                <c:pt idx="36">
                  <c:v>0.2038168894562142</c:v>
                </c:pt>
                <c:pt idx="37">
                  <c:v>0.18749787289145065</c:v>
                </c:pt>
                <c:pt idx="38">
                  <c:v>0.1900330488298307</c:v>
                </c:pt>
                <c:pt idx="39">
                  <c:v>0.16720605576220987</c:v>
                </c:pt>
                <c:pt idx="40">
                  <c:v>0.16030913267309915</c:v>
                </c:pt>
                <c:pt idx="41">
                  <c:v>0.1561929833370978</c:v>
                </c:pt>
                <c:pt idx="42">
                  <c:v>0.1493362171454597</c:v>
                </c:pt>
                <c:pt idx="43">
                  <c:v>0.16175331863222853</c:v>
                </c:pt>
                <c:pt idx="44">
                  <c:v>0.17413682455455698</c:v>
                </c:pt>
                <c:pt idx="45">
                  <c:v>0.18796449719456892</c:v>
                </c:pt>
                <c:pt idx="46">
                  <c:v>0.1954045485754664</c:v>
                </c:pt>
                <c:pt idx="47">
                  <c:v>0.184642403845582</c:v>
                </c:pt>
                <c:pt idx="48">
                  <c:v>0.19944211584664834</c:v>
                </c:pt>
                <c:pt idx="49">
                  <c:v>0.20783294479094463</c:v>
                </c:pt>
                <c:pt idx="50">
                  <c:v>0.21504600483524206</c:v>
                </c:pt>
                <c:pt idx="51">
                  <c:v>0.20486787646955898</c:v>
                </c:pt>
                <c:pt idx="52">
                  <c:v>0.20601970795204297</c:v>
                </c:pt>
                <c:pt idx="53">
                  <c:v>0.2615092278662798</c:v>
                </c:pt>
                <c:pt idx="54">
                  <c:v>0.1678414086805107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00.0"/>
          <c:min val="78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881720430107527"/>
          <c:min val="0.0978878368536052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777765043816399</c:v>
                </c:pt>
                <c:pt idx="1">
                  <c:v>0.217642903560928</c:v>
                </c:pt>
                <c:pt idx="2">
                  <c:v>0.20353596757852074</c:v>
                </c:pt>
                <c:pt idx="3">
                  <c:v>0.21770192957361303</c:v>
                </c:pt>
                <c:pt idx="4">
                  <c:v>0.21323962260834065</c:v>
                </c:pt>
                <c:pt idx="5">
                  <c:v>0.2068827897773197</c:v>
                </c:pt>
                <c:pt idx="6">
                  <c:v>0.22380745170936717</c:v>
                </c:pt>
                <c:pt idx="7">
                  <c:v>0.20279868194476924</c:v>
                </c:pt>
                <c:pt idx="8">
                  <c:v>0.19266800711294882</c:v>
                </c:pt>
                <c:pt idx="9">
                  <c:v>0.19254261592635016</c:v>
                </c:pt>
                <c:pt idx="10">
                  <c:v>0.1845046276416541</c:v>
                </c:pt>
                <c:pt idx="11">
                  <c:v>0.17251891046623172</c:v>
                </c:pt>
                <c:pt idx="12">
                  <c:v>0.16925640382858811</c:v>
                </c:pt>
                <c:pt idx="13">
                  <c:v>0.1747029575653665</c:v>
                </c:pt>
                <c:pt idx="14">
                  <c:v>0.1992030375024173</c:v>
                </c:pt>
                <c:pt idx="15">
                  <c:v>0.20660427136088902</c:v>
                </c:pt>
                <c:pt idx="16">
                  <c:v>0.20118392414950917</c:v>
                </c:pt>
                <c:pt idx="17">
                  <c:v>0.2298513002806361</c:v>
                </c:pt>
                <c:pt idx="18">
                  <c:v>0.21585788546169404</c:v>
                </c:pt>
                <c:pt idx="19">
                  <c:v>0.21685770256478568</c:v>
                </c:pt>
                <c:pt idx="20">
                  <c:v>0.22741043782227285</c:v>
                </c:pt>
                <c:pt idx="21">
                  <c:v>0.22952806254273503</c:v>
                </c:pt>
                <c:pt idx="22">
                  <c:v>0.2241727692700095</c:v>
                </c:pt>
                <c:pt idx="23">
                  <c:v>0.24544716049382714</c:v>
                </c:pt>
                <c:pt idx="24">
                  <c:v>0.20013659829932232</c:v>
                </c:pt>
                <c:pt idx="25">
                  <c:v>0.2136844054821583</c:v>
                </c:pt>
                <c:pt idx="26">
                  <c:v>0.2189752788618861</c:v>
                </c:pt>
                <c:pt idx="27">
                  <c:v>0.21819154369880803</c:v>
                </c:pt>
                <c:pt idx="28">
                  <c:v>0.20324586643543494</c:v>
                </c:pt>
                <c:pt idx="29">
                  <c:v>0.21993356644248419</c:v>
                </c:pt>
                <c:pt idx="30">
                  <c:v>0.22355421974984857</c:v>
                </c:pt>
                <c:pt idx="31">
                  <c:v>0.22640278316467533</c:v>
                </c:pt>
                <c:pt idx="32">
                  <c:v>0.20734157141543835</c:v>
                </c:pt>
                <c:pt idx="33">
                  <c:v>0.197438699563945</c:v>
                </c:pt>
                <c:pt idx="34">
                  <c:v>0.23456919844285287</c:v>
                </c:pt>
                <c:pt idx="35">
                  <c:v>0.2193035021204813</c:v>
                </c:pt>
                <c:pt idx="36">
                  <c:v>0.22383675711455492</c:v>
                </c:pt>
                <c:pt idx="37">
                  <c:v>0.2612977721833379</c:v>
                </c:pt>
                <c:pt idx="38">
                  <c:v>0.229981110489647</c:v>
                </c:pt>
                <c:pt idx="39">
                  <c:v>0.2336680047609011</c:v>
                </c:pt>
                <c:pt idx="40">
                  <c:v>0.2552182687458261</c:v>
                </c:pt>
                <c:pt idx="41">
                  <c:v>0.2535093470877533</c:v>
                </c:pt>
                <c:pt idx="42">
                  <c:v>0.25777926114649685</c:v>
                </c:pt>
                <c:pt idx="43">
                  <c:v>0.2537850671219799</c:v>
                </c:pt>
                <c:pt idx="44">
                  <c:v>0.23979359094893848</c:v>
                </c:pt>
                <c:pt idx="45">
                  <c:v>0.23991632120527864</c:v>
                </c:pt>
                <c:pt idx="46">
                  <c:v>0.2282169442410457</c:v>
                </c:pt>
                <c:pt idx="47">
                  <c:v>0.2443421333297041</c:v>
                </c:pt>
                <c:pt idx="48">
                  <c:v>0.23354513732364973</c:v>
                </c:pt>
                <c:pt idx="49">
                  <c:v>0.22531032959415648</c:v>
                </c:pt>
                <c:pt idx="50">
                  <c:v>0.21805628717752967</c:v>
                </c:pt>
                <c:pt idx="51">
                  <c:v>0.22533840636474312</c:v>
                </c:pt>
                <c:pt idx="52">
                  <c:v>0.21281419080368624</c:v>
                </c:pt>
                <c:pt idx="53">
                  <c:v>0.2586273750166856</c:v>
                </c:pt>
                <c:pt idx="54">
                  <c:v>0.2398815679706555</c:v>
                </c:pt>
                <c:pt idx="55">
                  <c:v>0.24248759793372815</c:v>
                </c:pt>
                <c:pt idx="56">
                  <c:v>0.2510668663172781</c:v>
                </c:pt>
                <c:pt idx="57">
                  <c:v>0.2501387065198134</c:v>
                </c:pt>
                <c:pt idx="58">
                  <c:v>0.25637704878579504</c:v>
                </c:pt>
                <c:pt idx="59">
                  <c:v>0.2521940108907673</c:v>
                </c:pt>
                <c:pt idx="60">
                  <c:v>0.24699035184613824</c:v>
                </c:pt>
                <c:pt idx="61">
                  <c:v>0.24354277560339202</c:v>
                </c:pt>
                <c:pt idx="62">
                  <c:v>0.23016666819336912</c:v>
                </c:pt>
                <c:pt idx="63">
                  <c:v>0.22759034412723406</c:v>
                </c:pt>
                <c:pt idx="64">
                  <c:v>0.22059728239221757</c:v>
                </c:pt>
                <c:pt idx="65">
                  <c:v>0.22100468595863682</c:v>
                </c:pt>
                <c:pt idx="66">
                  <c:v>0.25004199701443025</c:v>
                </c:pt>
                <c:pt idx="67">
                  <c:v>0.2444089024486506</c:v>
                </c:pt>
                <c:pt idx="68">
                  <c:v>0.24425915825065014</c:v>
                </c:pt>
                <c:pt idx="69">
                  <c:v>0.24199916067530702</c:v>
                </c:pt>
                <c:pt idx="70">
                  <c:v>0.2564407419858891</c:v>
                </c:pt>
                <c:pt idx="71">
                  <c:v>0.24764301579852965</c:v>
                </c:pt>
                <c:pt idx="72">
                  <c:v>0.25220270874365086</c:v>
                </c:pt>
                <c:pt idx="73">
                  <c:v>0.2732502827254736</c:v>
                </c:pt>
                <c:pt idx="74">
                  <c:v>0.2371095315663229</c:v>
                </c:pt>
                <c:pt idx="75">
                  <c:v>0.22940109452897903</c:v>
                </c:pt>
                <c:pt idx="76">
                  <c:v>0.23018962875662932</c:v>
                </c:pt>
                <c:pt idx="77">
                  <c:v>0.22645257150463385</c:v>
                </c:pt>
                <c:pt idx="78">
                  <c:v>0.23799576799865113</c:v>
                </c:pt>
                <c:pt idx="79">
                  <c:v>0.2367692863926945</c:v>
                </c:pt>
                <c:pt idx="80">
                  <c:v>0.24716646613118273</c:v>
                </c:pt>
                <c:pt idx="81">
                  <c:v>0.22575281734651514</c:v>
                </c:pt>
                <c:pt idx="82">
                  <c:v>0.23943345527103427</c:v>
                </c:pt>
                <c:pt idx="83">
                  <c:v>0.22962692799456197</c:v>
                </c:pt>
                <c:pt idx="84">
                  <c:v>0.22409869525702053</c:v>
                </c:pt>
                <c:pt idx="85">
                  <c:v>0.2341691931935165</c:v>
                </c:pt>
                <c:pt idx="86">
                  <c:v>0.2467022406827915</c:v>
                </c:pt>
                <c:pt idx="87">
                  <c:v>0.21260012157855787</c:v>
                </c:pt>
                <c:pt idx="88">
                  <c:v>0.216318668029104</c:v>
                </c:pt>
                <c:pt idx="89">
                  <c:v>0.25271398744175927</c:v>
                </c:pt>
                <c:pt idx="90">
                  <c:v>0.20899056202828462</c:v>
                </c:pt>
                <c:pt idx="91">
                  <c:v>0.22847307906782255</c:v>
                </c:pt>
                <c:pt idx="92">
                  <c:v>0.23595555372445615</c:v>
                </c:pt>
                <c:pt idx="93">
                  <c:v>0.23621065673557623</c:v>
                </c:pt>
                <c:pt idx="94">
                  <c:v>0.2316956820488795</c:v>
                </c:pt>
                <c:pt idx="95">
                  <c:v>0.2501708440215842</c:v>
                </c:pt>
                <c:pt idx="96">
                  <c:v>0.220351335637456</c:v>
                </c:pt>
                <c:pt idx="97">
                  <c:v>0.23133707758812977</c:v>
                </c:pt>
                <c:pt idx="98">
                  <c:v>0.21523511056636094</c:v>
                </c:pt>
                <c:pt idx="99">
                  <c:v>0.22389441792559306</c:v>
                </c:pt>
                <c:pt idx="100">
                  <c:v>0.20288478978306898</c:v>
                </c:pt>
                <c:pt idx="101">
                  <c:v>0.23636490893284073</c:v>
                </c:pt>
                <c:pt idx="102">
                  <c:v>0.250470144407317</c:v>
                </c:pt>
                <c:pt idx="103">
                  <c:v>0.22171846272222898</c:v>
                </c:pt>
                <c:pt idx="104">
                  <c:v>0.21660805660508378</c:v>
                </c:pt>
              </c:numCache>
            </c:numRef>
          </c:xVal>
          <c:yVal>
            <c:numRef>
              <c:f>Sheet1!$B$2:$B$106</c:f>
              <c:numCache>
                <c:formatCode>General</c:formatCode>
                <c:ptCount val="105"/>
                <c:pt idx="0">
                  <c:v>0.23850293542074363</c:v>
                </c:pt>
                <c:pt idx="1">
                  <c:v>0.23524498886414255</c:v>
                </c:pt>
                <c:pt idx="2">
                  <c:v>0.24230330672748004</c:v>
                </c:pt>
                <c:pt idx="3">
                  <c:v>0.24149757073449557</c:v>
                </c:pt>
                <c:pt idx="4">
                  <c:v>0.22874365482233502</c:v>
                </c:pt>
                <c:pt idx="5">
                  <c:v>0.24724061810154527</c:v>
                </c:pt>
                <c:pt idx="6">
                  <c:v>0.25017205781142465</c:v>
                </c:pt>
                <c:pt idx="7">
                  <c:v>0.24281150159744408</c:v>
                </c:pt>
                <c:pt idx="8">
                  <c:v>0.2791149068322981</c:v>
                </c:pt>
                <c:pt idx="9">
                  <c:v>0.26337590610976874</c:v>
                </c:pt>
                <c:pt idx="10">
                  <c:v>0.27446380697050937</c:v>
                </c:pt>
                <c:pt idx="11">
                  <c:v>0.286527514231499</c:v>
                </c:pt>
                <c:pt idx="12">
                  <c:v>0.27262753702687875</c:v>
                </c:pt>
                <c:pt idx="13">
                  <c:v>0.2881999367288833</c:v>
                </c:pt>
                <c:pt idx="14">
                  <c:v>0.28322232794164287</c:v>
                </c:pt>
                <c:pt idx="15">
                  <c:v>0.2906810035842294</c:v>
                </c:pt>
                <c:pt idx="16">
                  <c:v>0.24166666666666667</c:v>
                </c:pt>
                <c:pt idx="17">
                  <c:v>0.26096302665520205</c:v>
                </c:pt>
                <c:pt idx="18">
                  <c:v>0.2504047490555855</c:v>
                </c:pt>
                <c:pt idx="19">
                  <c:v>0.23420548819400128</c:v>
                </c:pt>
                <c:pt idx="20">
                  <c:v>0.23537477148080438</c:v>
                </c:pt>
                <c:pt idx="21">
                  <c:v>0.21790722761596548</c:v>
                </c:pt>
                <c:pt idx="22">
                  <c:v>0.2077922077922078</c:v>
                </c:pt>
                <c:pt idx="23">
                  <c:v>0.1864951768488746</c:v>
                </c:pt>
                <c:pt idx="24">
                  <c:v>0.19137625516834023</c:v>
                </c:pt>
                <c:pt idx="25">
                  <c:v>0.19986263736263737</c:v>
                </c:pt>
                <c:pt idx="26">
                  <c:v>0.1876355748373102</c:v>
                </c:pt>
                <c:pt idx="27">
                  <c:v>0.19079312257348863</c:v>
                </c:pt>
                <c:pt idx="28">
                  <c:v>0.17355371900826447</c:v>
                </c:pt>
                <c:pt idx="29">
                  <c:v>0.17481789802289283</c:v>
                </c:pt>
                <c:pt idx="30">
                  <c:v>0.18407960199004975</c:v>
                </c:pt>
                <c:pt idx="31">
                  <c:v>0.1803594351732991</c:v>
                </c:pt>
                <c:pt idx="32">
                  <c:v>0.1744107744107744</c:v>
                </c:pt>
                <c:pt idx="33">
                  <c:v>0.17518667432510052</c:v>
                </c:pt>
                <c:pt idx="34">
                  <c:v>0.18597560975609756</c:v>
                </c:pt>
                <c:pt idx="35">
                  <c:v>0.1944060773480663</c:v>
                </c:pt>
                <c:pt idx="36">
                  <c:v>0.18355555555555556</c:v>
                </c:pt>
                <c:pt idx="37">
                  <c:v>0.16751845542305507</c:v>
                </c:pt>
                <c:pt idx="38">
                  <c:v>0.16052060737527116</c:v>
                </c:pt>
                <c:pt idx="39">
                  <c:v>0.1728833629366489</c:v>
                </c:pt>
                <c:pt idx="40">
                  <c:v>0.17647058823529413</c:v>
                </c:pt>
                <c:pt idx="41">
                  <c:v>0.17564655172413793</c:v>
                </c:pt>
                <c:pt idx="42">
                  <c:v>0.18037021093413688</c:v>
                </c:pt>
                <c:pt idx="43">
                  <c:v>0.19227913882702302</c:v>
                </c:pt>
                <c:pt idx="44">
                  <c:v>0.16314723748915244</c:v>
                </c:pt>
                <c:pt idx="45">
                  <c:v>0.1768613340714088</c:v>
                </c:pt>
                <c:pt idx="46">
                  <c:v>0.18289004661365507</c:v>
                </c:pt>
                <c:pt idx="47">
                  <c:v>0.1727447216890595</c:v>
                </c:pt>
                <c:pt idx="48">
                  <c:v>0.18564554931836408</c:v>
                </c:pt>
                <c:pt idx="49">
                  <c:v>0.2052797478329393</c:v>
                </c:pt>
                <c:pt idx="50">
                  <c:v>0.19347478895733516</c:v>
                </c:pt>
                <c:pt idx="51">
                  <c:v>0.18324607329842932</c:v>
                </c:pt>
                <c:pt idx="52">
                  <c:v>0.19669040636782573</c:v>
                </c:pt>
                <c:pt idx="53">
                  <c:v>0.19770600664050708</c:v>
                </c:pt>
                <c:pt idx="54">
                  <c:v>0.18242790073775988</c:v>
                </c:pt>
                <c:pt idx="55">
                  <c:v>0.18799424874191228</c:v>
                </c:pt>
                <c:pt idx="56">
                  <c:v>0.21083743842364533</c:v>
                </c:pt>
                <c:pt idx="57">
                  <c:v>0.198378041172801</c:v>
                </c:pt>
                <c:pt idx="58">
                  <c:v>0.19822320932815102</c:v>
                </c:pt>
                <c:pt idx="59">
                  <c:v>0.18152809785499024</c:v>
                </c:pt>
                <c:pt idx="60">
                  <c:v>0.18325876211782252</c:v>
                </c:pt>
                <c:pt idx="61">
                  <c:v>0.19786666666666666</c:v>
                </c:pt>
                <c:pt idx="62">
                  <c:v>0.22150363783346808</c:v>
                </c:pt>
                <c:pt idx="63">
                  <c:v>0.22826341692055307</c:v>
                </c:pt>
                <c:pt idx="64">
                  <c:v>0.22885572139303484</c:v>
                </c:pt>
                <c:pt idx="65">
                  <c:v>0.23352573352573353</c:v>
                </c:pt>
                <c:pt idx="66">
                  <c:v>0.2179237406067353</c:v>
                </c:pt>
                <c:pt idx="67">
                  <c:v>0.22954091816367264</c:v>
                </c:pt>
                <c:pt idx="68">
                  <c:v>0.21292115317818688</c:v>
                </c:pt>
                <c:pt idx="69">
                  <c:v>0.21935483870967742</c:v>
                </c:pt>
                <c:pt idx="70">
                  <c:v>0.2132385606397157</c:v>
                </c:pt>
                <c:pt idx="71">
                  <c:v>0.19280898876404495</c:v>
                </c:pt>
                <c:pt idx="72">
                  <c:v>0.2</c:v>
                </c:pt>
                <c:pt idx="73">
                  <c:v>0.2078559738134206</c:v>
                </c:pt>
                <c:pt idx="74">
                  <c:v>0.22282382340691378</c:v>
                </c:pt>
                <c:pt idx="75">
                  <c:v>0.20850409836065573</c:v>
                </c:pt>
                <c:pt idx="76">
                  <c:v>0.21454928835002635</c:v>
                </c:pt>
                <c:pt idx="77">
                  <c:v>0.2030430220356768</c:v>
                </c:pt>
                <c:pt idx="78">
                  <c:v>0.20214030915576695</c:v>
                </c:pt>
                <c:pt idx="79">
                  <c:v>0.20679199514857488</c:v>
                </c:pt>
                <c:pt idx="80">
                  <c:v>0.18264014466546113</c:v>
                </c:pt>
                <c:pt idx="81">
                  <c:v>0.19238578680203045</c:v>
                </c:pt>
                <c:pt idx="82">
                  <c:v>0.19714817110973343</c:v>
                </c:pt>
                <c:pt idx="83">
                  <c:v>0.19367588932806323</c:v>
                </c:pt>
                <c:pt idx="84">
                  <c:v>0.189792663476874</c:v>
                </c:pt>
                <c:pt idx="85">
                  <c:v>0.18952234206471494</c:v>
                </c:pt>
                <c:pt idx="86">
                  <c:v>0.1895910780669145</c:v>
                </c:pt>
                <c:pt idx="87">
                  <c:v>0.22675933970460468</c:v>
                </c:pt>
                <c:pt idx="88">
                  <c:v>0.20382165605095542</c:v>
                </c:pt>
                <c:pt idx="89">
                  <c:v>0.18988173455978974</c:v>
                </c:pt>
                <c:pt idx="90">
                  <c:v>0.1775766016713092</c:v>
                </c:pt>
                <c:pt idx="91">
                  <c:v>0.20373831775700935</c:v>
                </c:pt>
                <c:pt idx="92">
                  <c:v>0.1972180824639841</c:v>
                </c:pt>
                <c:pt idx="93">
                  <c:v>0.17023300047551118</c:v>
                </c:pt>
                <c:pt idx="94">
                  <c:v>0.16198704103671707</c:v>
                </c:pt>
                <c:pt idx="95">
                  <c:v>0.17115520907158044</c:v>
                </c:pt>
                <c:pt idx="96">
                  <c:v>0.15884892086330935</c:v>
                </c:pt>
                <c:pt idx="97">
                  <c:v>0.1532976827094474</c:v>
                </c:pt>
                <c:pt idx="98">
                  <c:v>0.17494646680942183</c:v>
                </c:pt>
                <c:pt idx="99">
                  <c:v>0.1748139207402937</c:v>
                </c:pt>
                <c:pt idx="100">
                  <c:v>0.20506999621642075</c:v>
                </c:pt>
                <c:pt idx="101">
                  <c:v>0.18140589569160998</c:v>
                </c:pt>
                <c:pt idx="102">
                  <c:v>0.1584372003835091</c:v>
                </c:pt>
                <c:pt idx="103">
                  <c:v>0.17103651065915218</c:v>
                </c:pt>
                <c:pt idx="104">
                  <c:v>0.172988969599139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979253190483692</c:v>
                </c:pt>
                <c:pt idx="1">
                  <c:v>0.23226562055984004</c:v>
                </c:pt>
                <c:pt idx="2">
                  <c:v>0.2444389733884426</c:v>
                </c:pt>
                <c:pt idx="3">
                  <c:v>0.23627586914254198</c:v>
                </c:pt>
                <c:pt idx="4">
                  <c:v>0.23299839609887324</c:v>
                </c:pt>
                <c:pt idx="5">
                  <c:v>0.23623050255154665</c:v>
                </c:pt>
                <c:pt idx="6">
                  <c:v>0.21515187769146119</c:v>
                </c:pt>
                <c:pt idx="7">
                  <c:v>0.2042626564750163</c:v>
                </c:pt>
                <c:pt idx="8">
                  <c:v>0.20912865397416858</c:v>
                </c:pt>
                <c:pt idx="9">
                  <c:v>0.18624953462243832</c:v>
                </c:pt>
                <c:pt idx="10">
                  <c:v>0.2010277885975175</c:v>
                </c:pt>
                <c:pt idx="11">
                  <c:v>0.19530205699598055</c:v>
                </c:pt>
                <c:pt idx="12">
                  <c:v>0.19855407994086993</c:v>
                </c:pt>
                <c:pt idx="13">
                  <c:v>0.18366888610162255</c:v>
                </c:pt>
                <c:pt idx="14">
                  <c:v>0.18187525878672495</c:v>
                </c:pt>
                <c:pt idx="15">
                  <c:v>0.1834405409695695</c:v>
                </c:pt>
                <c:pt idx="16">
                  <c:v>0.18988250931555808</c:v>
                </c:pt>
                <c:pt idx="17">
                  <c:v>0.1736216416852853</c:v>
                </c:pt>
                <c:pt idx="18">
                  <c:v>0.18329852152995627</c:v>
                </c:pt>
                <c:pt idx="19">
                  <c:v>0.18396982554887265</c:v>
                </c:pt>
                <c:pt idx="20">
                  <c:v>0.20962259222618917</c:v>
                </c:pt>
                <c:pt idx="21">
                  <c:v>0.1875670223354274</c:v>
                </c:pt>
                <c:pt idx="22">
                  <c:v>0.18292943564365194</c:v>
                </c:pt>
                <c:pt idx="23">
                  <c:v>0.1700801717366667</c:v>
                </c:pt>
                <c:pt idx="24">
                  <c:v>0.17944509436203182</c:v>
                </c:pt>
                <c:pt idx="25">
                  <c:v>0.15607482677371118</c:v>
                </c:pt>
                <c:pt idx="26">
                  <c:v>0.14495850471602872</c:v>
                </c:pt>
                <c:pt idx="27">
                  <c:v>0.16279664489989246</c:v>
                </c:pt>
                <c:pt idx="28">
                  <c:v>0.17211840766099187</c:v>
                </c:pt>
                <c:pt idx="29">
                  <c:v>0.18512408475850423</c:v>
                </c:pt>
                <c:pt idx="30">
                  <c:v>0.18977542856141194</c:v>
                </c:pt>
                <c:pt idx="31">
                  <c:v>0.16957817106553658</c:v>
                </c:pt>
                <c:pt idx="32">
                  <c:v>0.1696301720018044</c:v>
                </c:pt>
                <c:pt idx="33">
                  <c:v>0.18310635740847692</c:v>
                </c:pt>
                <c:pt idx="34">
                  <c:v>0.18499114043355325</c:v>
                </c:pt>
                <c:pt idx="35">
                  <c:v>0.18956125049677727</c:v>
                </c:pt>
                <c:pt idx="36">
                  <c:v>0.15329201782570484</c:v>
                </c:pt>
                <c:pt idx="37">
                  <c:v>0.17429765637421693</c:v>
                </c:pt>
                <c:pt idx="38">
                  <c:v>0.17179112702118274</c:v>
                </c:pt>
                <c:pt idx="39">
                  <c:v>0.20634441216031743</c:v>
                </c:pt>
                <c:pt idx="40">
                  <c:v>0.2196288326551872</c:v>
                </c:pt>
                <c:pt idx="41">
                  <c:v>0.20859900576015752</c:v>
                </c:pt>
                <c:pt idx="42">
                  <c:v>0.17771435817699724</c:v>
                </c:pt>
                <c:pt idx="43">
                  <c:v>0.18217987901444607</c:v>
                </c:pt>
                <c:pt idx="44">
                  <c:v>0.19386299064162124</c:v>
                </c:pt>
                <c:pt idx="45">
                  <c:v>0.17985304602031238</c:v>
                </c:pt>
                <c:pt idx="46">
                  <c:v>0.17719600945782896</c:v>
                </c:pt>
                <c:pt idx="47">
                  <c:v>0.18643548201437918</c:v>
                </c:pt>
                <c:pt idx="48">
                  <c:v>0.18630035084093624</c:v>
                </c:pt>
                <c:pt idx="49">
                  <c:v>0.1703204434232887</c:v>
                </c:pt>
                <c:pt idx="50">
                  <c:v>0.1692229278422851</c:v>
                </c:pt>
                <c:pt idx="51">
                  <c:v>0.17758000678932634</c:v>
                </c:pt>
              </c:numCache>
            </c:numRef>
          </c:xVal>
          <c:yVal>
            <c:numRef>
              <c:f>Sheet1!$B$109:$B$160</c:f>
              <c:numCache>
                <c:formatCode>General</c:formatCode>
                <c:ptCount val="52"/>
                <c:pt idx="0">
                  <c:v>0.16624621594349143</c:v>
                </c:pt>
                <c:pt idx="1">
                  <c:v>0.15533188248095756</c:v>
                </c:pt>
                <c:pt idx="2">
                  <c:v>0.15379008746355685</c:v>
                </c:pt>
                <c:pt idx="3">
                  <c:v>0.15476190476190477</c:v>
                </c:pt>
                <c:pt idx="4">
                  <c:v>0.14289439374185137</c:v>
                </c:pt>
                <c:pt idx="5">
                  <c:v>0.1441823482639809</c:v>
                </c:pt>
                <c:pt idx="6">
                  <c:v>0.16676961087090797</c:v>
                </c:pt>
                <c:pt idx="7">
                  <c:v>0.18206157965194109</c:v>
                </c:pt>
                <c:pt idx="8">
                  <c:v>0.19571045576407506</c:v>
                </c:pt>
                <c:pt idx="9">
                  <c:v>0.24496644295302014</c:v>
                </c:pt>
                <c:pt idx="10">
                  <c:v>0.21067415730337077</c:v>
                </c:pt>
                <c:pt idx="11">
                  <c:v>0.21506024096385543</c:v>
                </c:pt>
                <c:pt idx="12">
                  <c:v>0.2016004924592182</c:v>
                </c:pt>
                <c:pt idx="13">
                  <c:v>0.21881331403762663</c:v>
                </c:pt>
                <c:pt idx="14">
                  <c:v>0.20840393087089124</c:v>
                </c:pt>
                <c:pt idx="15">
                  <c:v>0.21081830790568654</c:v>
                </c:pt>
                <c:pt idx="16">
                  <c:v>0.20080160320641283</c:v>
                </c:pt>
                <c:pt idx="17">
                  <c:v>0.21092121717382242</c:v>
                </c:pt>
                <c:pt idx="18">
                  <c:v>0.19435215946843853</c:v>
                </c:pt>
                <c:pt idx="19">
                  <c:v>0.19491878384006664</c:v>
                </c:pt>
                <c:pt idx="20">
                  <c:v>0.1833729216152019</c:v>
                </c:pt>
                <c:pt idx="21">
                  <c:v>0.18355263157894736</c:v>
                </c:pt>
                <c:pt idx="22">
                  <c:v>0.18373879641485275</c:v>
                </c:pt>
                <c:pt idx="23">
                  <c:v>0.20814732142857142</c:v>
                </c:pt>
                <c:pt idx="24">
                  <c:v>0.2131324004305705</c:v>
                </c:pt>
                <c:pt idx="25">
                  <c:v>0.2450873362445415</c:v>
                </c:pt>
                <c:pt idx="26">
                  <c:v>0.24171122994652405</c:v>
                </c:pt>
                <c:pt idx="27">
                  <c:v>0.17281455280444669</c:v>
                </c:pt>
                <c:pt idx="28">
                  <c:v>0.15226130653266332</c:v>
                </c:pt>
                <c:pt idx="29">
                  <c:v>0.14499700419412823</c:v>
                </c:pt>
                <c:pt idx="30">
                  <c:v>0.16099635479951396</c:v>
                </c:pt>
                <c:pt idx="31">
                  <c:v>0.13626209977661952</c:v>
                </c:pt>
                <c:pt idx="32">
                  <c:v>0.12235979606700656</c:v>
                </c:pt>
                <c:pt idx="33">
                  <c:v>0.14911706998037932</c:v>
                </c:pt>
                <c:pt idx="34">
                  <c:v>0.18265993265993266</c:v>
                </c:pt>
                <c:pt idx="35">
                  <c:v>0.1976694000863185</c:v>
                </c:pt>
                <c:pt idx="36">
                  <c:v>0.18671875</c:v>
                </c:pt>
                <c:pt idx="37">
                  <c:v>0.17105263157894737</c:v>
                </c:pt>
                <c:pt idx="38">
                  <c:v>0.16866506794564348</c:v>
                </c:pt>
                <c:pt idx="39">
                  <c:v>0.1673913043478261</c:v>
                </c:pt>
                <c:pt idx="40">
                  <c:v>0.15866957470010906</c:v>
                </c:pt>
                <c:pt idx="41">
                  <c:v>0.15308770108977685</c:v>
                </c:pt>
                <c:pt idx="42">
                  <c:v>0.15451895043731778</c:v>
                </c:pt>
                <c:pt idx="43">
                  <c:v>0.15113954418232706</c:v>
                </c:pt>
                <c:pt idx="44">
                  <c:v>0.14966887417218544</c:v>
                </c:pt>
                <c:pt idx="45">
                  <c:v>0.1783676507070206</c:v>
                </c:pt>
                <c:pt idx="46">
                  <c:v>0.17208714872118724</c:v>
                </c:pt>
                <c:pt idx="47">
                  <c:v>0.17464702271332105</c:v>
                </c:pt>
                <c:pt idx="48">
                  <c:v>0.1546818416968443</c:v>
                </c:pt>
                <c:pt idx="49">
                  <c:v>0.18185567010309278</c:v>
                </c:pt>
                <c:pt idx="50">
                  <c:v>0.20453146164265484</c:v>
                </c:pt>
                <c:pt idx="51">
                  <c:v>0.1812915683329757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20495784485516456</c:v>
                </c:pt>
              </c:numCache>
            </c:numRef>
          </c:xVal>
          <c:yVal>
            <c:numRef>
              <c:f>Sheet1!$B$163:$B$164</c:f>
              <c:numCache>
                <c:formatCode>General</c:formatCode>
                <c:ptCount val="2"/>
                <c:pt idx="0">
                  <c:v>0.2615092278662798</c:v>
                </c:pt>
                <c:pt idx="1">
                  <c:v>0.261509227866279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20495784485516456</c:v>
                </c:pt>
                <c:pt idx="1">
                  <c:v>0.020495784485516456</c:v>
                </c:pt>
              </c:numCache>
            </c:numRef>
          </c:xVal>
          <c:yVal>
            <c:numRef>
              <c:f>Sheet1!$B$167:$B$168</c:f>
              <c:numCache>
                <c:formatCode>General</c:formatCode>
                <c:ptCount val="2"/>
                <c:pt idx="0">
                  <c:v>0.26150922786627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3578583051448842</c:v>
                </c:pt>
              </c:numCache>
            </c:numRef>
          </c:xVal>
          <c:yVal>
            <c:numRef>
              <c:f>Sheet1!$B$171:$B$172</c:f>
              <c:numCache>
                <c:formatCode>General</c:formatCode>
                <c:ptCount val="2"/>
                <c:pt idx="0">
                  <c:v>0.20601970795204297</c:v>
                </c:pt>
                <c:pt idx="1">
                  <c:v>0.2060197079520429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3578583051448842</c:v>
                </c:pt>
                <c:pt idx="1">
                  <c:v>0.13578583051448842</c:v>
                </c:pt>
              </c:numCache>
            </c:numRef>
          </c:xVal>
          <c:yVal>
            <c:numRef>
              <c:f>Sheet1!$B$175:$B$176</c:f>
              <c:numCache>
                <c:formatCode>General</c:formatCode>
                <c:ptCount val="2"/>
                <c:pt idx="0">
                  <c:v>0.2060197079520429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1510851860272184</c:v>
                </c:pt>
              </c:numCache>
            </c:numRef>
          </c:xVal>
          <c:yVal>
            <c:numRef>
              <c:f>Sheet1!$B$179:$B$180</c:f>
              <c:numCache>
                <c:formatCode>General</c:formatCode>
                <c:ptCount val="2"/>
                <c:pt idx="0">
                  <c:v>0.1678414086805107</c:v>
                </c:pt>
                <c:pt idx="1">
                  <c:v>0.167841408680510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1510851860272184</c:v>
                </c:pt>
                <c:pt idx="1">
                  <c:v>0.21510851860272184</c:v>
                </c:pt>
              </c:numCache>
            </c:numRef>
          </c:xVal>
          <c:yVal>
            <c:numRef>
              <c:f>Sheet1!$B$183:$B$184</c:f>
              <c:numCache>
                <c:formatCode>General</c:formatCode>
                <c:ptCount val="2"/>
                <c:pt idx="0">
                  <c:v>0.16784140868051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979253190483692</c:v>
                </c:pt>
                <c:pt idx="1">
                  <c:v>0.23226562055984004</c:v>
                </c:pt>
                <c:pt idx="2">
                  <c:v>0.2444389733884426</c:v>
                </c:pt>
                <c:pt idx="3">
                  <c:v>0.23627586914254198</c:v>
                </c:pt>
                <c:pt idx="4">
                  <c:v>0.23299839609887324</c:v>
                </c:pt>
                <c:pt idx="5">
                  <c:v>0.23623050255154665</c:v>
                </c:pt>
                <c:pt idx="6">
                  <c:v>0.21515187769146119</c:v>
                </c:pt>
                <c:pt idx="7">
                  <c:v>0.2042626564750163</c:v>
                </c:pt>
                <c:pt idx="8">
                  <c:v>0.20912865397416858</c:v>
                </c:pt>
                <c:pt idx="9">
                  <c:v>0.18624953462243832</c:v>
                </c:pt>
                <c:pt idx="10">
                  <c:v>0.2010277885975175</c:v>
                </c:pt>
                <c:pt idx="11">
                  <c:v>0.19530205699598055</c:v>
                </c:pt>
                <c:pt idx="12">
                  <c:v>0.19855407994086993</c:v>
                </c:pt>
                <c:pt idx="13">
                  <c:v>0.18366888610162255</c:v>
                </c:pt>
                <c:pt idx="14">
                  <c:v>0.18187525878672495</c:v>
                </c:pt>
                <c:pt idx="15">
                  <c:v>0.1834405409695695</c:v>
                </c:pt>
                <c:pt idx="16">
                  <c:v>0.18988250931555808</c:v>
                </c:pt>
                <c:pt idx="17">
                  <c:v>0.1736216416852853</c:v>
                </c:pt>
                <c:pt idx="18">
                  <c:v>0.18329852152995627</c:v>
                </c:pt>
                <c:pt idx="19">
                  <c:v>0.18396982554887265</c:v>
                </c:pt>
                <c:pt idx="20">
                  <c:v>0.20962259222618917</c:v>
                </c:pt>
                <c:pt idx="21">
                  <c:v>0.1875670223354274</c:v>
                </c:pt>
                <c:pt idx="22">
                  <c:v>0.18292943564365194</c:v>
                </c:pt>
                <c:pt idx="23">
                  <c:v>0.1700801717366667</c:v>
                </c:pt>
                <c:pt idx="24">
                  <c:v>0.17944509436203182</c:v>
                </c:pt>
                <c:pt idx="25">
                  <c:v>0.15607482677371118</c:v>
                </c:pt>
                <c:pt idx="26">
                  <c:v>0.14495850471602872</c:v>
                </c:pt>
                <c:pt idx="27">
                  <c:v>0.16279664489989246</c:v>
                </c:pt>
                <c:pt idx="28">
                  <c:v>0.17211840766099187</c:v>
                </c:pt>
                <c:pt idx="29">
                  <c:v>0.18512408475850423</c:v>
                </c:pt>
                <c:pt idx="30">
                  <c:v>0.18977542856141194</c:v>
                </c:pt>
                <c:pt idx="31">
                  <c:v>0.16957817106553658</c:v>
                </c:pt>
                <c:pt idx="32">
                  <c:v>0.1696301720018044</c:v>
                </c:pt>
                <c:pt idx="33">
                  <c:v>0.18310635740847692</c:v>
                </c:pt>
                <c:pt idx="34">
                  <c:v>0.18499114043355325</c:v>
                </c:pt>
                <c:pt idx="35">
                  <c:v>0.18956125049677727</c:v>
                </c:pt>
                <c:pt idx="36">
                  <c:v>0.15329201782570484</c:v>
                </c:pt>
                <c:pt idx="37">
                  <c:v>0.17429765637421693</c:v>
                </c:pt>
                <c:pt idx="38">
                  <c:v>0.17179112702118274</c:v>
                </c:pt>
                <c:pt idx="39">
                  <c:v>0.20634441216031743</c:v>
                </c:pt>
                <c:pt idx="40">
                  <c:v>0.2196288326551872</c:v>
                </c:pt>
                <c:pt idx="41">
                  <c:v>0.20859900576015752</c:v>
                </c:pt>
                <c:pt idx="42">
                  <c:v>0.17771435817699724</c:v>
                </c:pt>
                <c:pt idx="43">
                  <c:v>0.18217987901444607</c:v>
                </c:pt>
                <c:pt idx="44">
                  <c:v>0.19386299064162124</c:v>
                </c:pt>
                <c:pt idx="45">
                  <c:v>0.17985304602031238</c:v>
                </c:pt>
                <c:pt idx="46">
                  <c:v>0.17719600945782896</c:v>
                </c:pt>
                <c:pt idx="47">
                  <c:v>0.18643548201437918</c:v>
                </c:pt>
                <c:pt idx="48">
                  <c:v>0.18630035084093624</c:v>
                </c:pt>
                <c:pt idx="49">
                  <c:v>0.1703204434232887</c:v>
                </c:pt>
                <c:pt idx="50">
                  <c:v>0.1692229278422851</c:v>
                </c:pt>
                <c:pt idx="51">
                  <c:v>0.17758000678932634</c:v>
                </c:pt>
                <c:pt idx="52">
                  <c:v>0.13578583051448842</c:v>
                </c:pt>
                <c:pt idx="53">
                  <c:v>0.020495784485516456</c:v>
                </c:pt>
                <c:pt idx="54">
                  <c:v>0.21510851860272184</c:v>
                </c:pt>
              </c:numCache>
            </c:numRef>
          </c:xVal>
          <c:yVal>
            <c:numRef>
              <c:f>Sheet1!$B$187:$B$241</c:f>
              <c:numCache>
                <c:formatCode>General</c:formatCode>
                <c:ptCount val="55"/>
                <c:pt idx="0">
                  <c:v>0.16077393948769006</c:v>
                </c:pt>
                <c:pt idx="1">
                  <c:v>0.15958363289229688</c:v>
                </c:pt>
                <c:pt idx="2">
                  <c:v>0.15372455374823946</c:v>
                </c:pt>
                <c:pt idx="3">
                  <c:v>0.15765348561371084</c:v>
                </c:pt>
                <c:pt idx="4">
                  <c:v>0.15923094535103569</c:v>
                </c:pt>
                <c:pt idx="5">
                  <c:v>0.157675320719526</c:v>
                </c:pt>
                <c:pt idx="6">
                  <c:v>0.16782053979285788</c:v>
                </c:pt>
                <c:pt idx="7">
                  <c:v>0.17306156170544007</c:v>
                </c:pt>
                <c:pt idx="8">
                  <c:v>0.17071953935024053</c:v>
                </c:pt>
                <c:pt idx="9">
                  <c:v>0.1817313429934536</c:v>
                </c:pt>
                <c:pt idx="10">
                  <c:v>0.17461851542079626</c:v>
                </c:pt>
                <c:pt idx="11">
                  <c:v>0.17737433093714378</c:v>
                </c:pt>
                <c:pt idx="12">
                  <c:v>0.17580912042524366</c:v>
                </c:pt>
                <c:pt idx="13">
                  <c:v>0.18297341854481097</c:v>
                </c:pt>
                <c:pt idx="14">
                  <c:v>0.18383669791746138</c:v>
                </c:pt>
                <c:pt idx="15">
                  <c:v>0.1830833218902324</c:v>
                </c:pt>
                <c:pt idx="16">
                  <c:v>0.17998277901481552</c:v>
                </c:pt>
                <c:pt idx="17">
                  <c:v>0.18780919395063783</c:v>
                </c:pt>
                <c:pt idx="18">
                  <c:v>0.18315167636482987</c:v>
                </c:pt>
                <c:pt idx="19">
                  <c:v>0.18282857529054625</c:v>
                </c:pt>
                <c:pt idx="20">
                  <c:v>0.17048180506687477</c:v>
                </c:pt>
                <c:pt idx="21">
                  <c:v>0.1810972313489123</c:v>
                </c:pt>
                <c:pt idx="22">
                  <c:v>0.1833293187489174</c:v>
                </c:pt>
                <c:pt idx="23">
                  <c:v>0.18951371636179343</c:v>
                </c:pt>
                <c:pt idx="24">
                  <c:v>0.18500634492415086</c:v>
                </c:pt>
                <c:pt idx="25">
                  <c:v>0.19625454000612075</c:v>
                </c:pt>
                <c:pt idx="26">
                  <c:v>0.2016048663824137</c:v>
                </c:pt>
                <c:pt idx="27">
                  <c:v>0.1930193044101623</c:v>
                </c:pt>
                <c:pt idx="28">
                  <c:v>0.1885327059727063</c:v>
                </c:pt>
                <c:pt idx="29">
                  <c:v>0.1822730261203868</c:v>
                </c:pt>
                <c:pt idx="30">
                  <c:v>0.18003431737258604</c:v>
                </c:pt>
                <c:pt idx="31">
                  <c:v>0.18975533111690104</c:v>
                </c:pt>
                <c:pt idx="32">
                  <c:v>0.18973030287649365</c:v>
                </c:pt>
                <c:pt idx="33">
                  <c:v>0.18324416565781665</c:v>
                </c:pt>
                <c:pt idx="34">
                  <c:v>0.18233701270917693</c:v>
                </c:pt>
                <c:pt idx="35">
                  <c:v>0.18013740205675516</c:v>
                </c:pt>
                <c:pt idx="36">
                  <c:v>0.197593916108886</c:v>
                </c:pt>
                <c:pt idx="37">
                  <c:v>0.1874838256136839</c:v>
                </c:pt>
                <c:pt idx="38">
                  <c:v>0.18869022733908403</c:v>
                </c:pt>
                <c:pt idx="39">
                  <c:v>0.17205960509656626</c:v>
                </c:pt>
                <c:pt idx="40">
                  <c:v>0.16566576502980168</c:v>
                </c:pt>
                <c:pt idx="41">
                  <c:v>0.1709744609686387</c:v>
                </c:pt>
                <c:pt idx="42">
                  <c:v>0.18583935456647188</c:v>
                </c:pt>
                <c:pt idx="43">
                  <c:v>0.1836900830901227</c:v>
                </c:pt>
                <c:pt idx="44">
                  <c:v>0.17806695882548776</c:v>
                </c:pt>
                <c:pt idx="45">
                  <c:v>0.18480999630216735</c:v>
                </c:pt>
                <c:pt idx="46">
                  <c:v>0.1860888376967638</c:v>
                </c:pt>
                <c:pt idx="47">
                  <c:v>0.1816418458350822</c:v>
                </c:pt>
                <c:pt idx="48">
                  <c:v>0.18170688496203258</c:v>
                </c:pt>
                <c:pt idx="49">
                  <c:v>0.189398072722131</c:v>
                </c:pt>
                <c:pt idx="50">
                  <c:v>0.18992631097674129</c:v>
                </c:pt>
                <c:pt idx="51">
                  <c:v>0.1859040183796843</c:v>
                </c:pt>
                <c:pt idx="52">
                  <c:v>0.20601970795204297</c:v>
                </c:pt>
                <c:pt idx="53">
                  <c:v>0.2615092278662798</c:v>
                </c:pt>
                <c:pt idx="54">
                  <c:v>0.16784140868051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881720430107527"/>
          <c:min val="0.0978878368536052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101.0431</c:v>
                </c:pt>
                <c:pt idx="1">
                  <c:v>1215.5929</c:v>
                </c:pt>
                <c:pt idx="2">
                  <c:v>1205.34</c:v>
                </c:pt>
                <c:pt idx="3">
                  <c:v>1212.7278</c:v>
                </c:pt>
                <c:pt idx="4">
                  <c:v>1211.7906</c:v>
                </c:pt>
                <c:pt idx="5">
                  <c:v>1189.1071</c:v>
                </c:pt>
                <c:pt idx="6">
                  <c:v>1211.5117</c:v>
                </c:pt>
                <c:pt idx="7">
                  <c:v>1192.4309</c:v>
                </c:pt>
                <c:pt idx="8">
                  <c:v>1149.548</c:v>
                </c:pt>
                <c:pt idx="9">
                  <c:v>1134.6055</c:v>
                </c:pt>
                <c:pt idx="10">
                  <c:v>1060.3578</c:v>
                </c:pt>
                <c:pt idx="11">
                  <c:v>981.5751</c:v>
                </c:pt>
                <c:pt idx="12">
                  <c:v>1002.7706</c:v>
                </c:pt>
                <c:pt idx="13">
                  <c:v>1018.955</c:v>
                </c:pt>
                <c:pt idx="14">
                  <c:v>1158.5364</c:v>
                </c:pt>
                <c:pt idx="15">
                  <c:v>1144.4155</c:v>
                </c:pt>
                <c:pt idx="16">
                  <c:v>1189.4776</c:v>
                </c:pt>
                <c:pt idx="17">
                  <c:v>1228.5552</c:v>
                </c:pt>
                <c:pt idx="18">
                  <c:v>1230.306</c:v>
                </c:pt>
                <c:pt idx="19">
                  <c:v>1288.0327</c:v>
                </c:pt>
                <c:pt idx="20">
                  <c:v>1301.9515</c:v>
                </c:pt>
                <c:pt idx="21">
                  <c:v>1281.4431</c:v>
                </c:pt>
                <c:pt idx="22">
                  <c:v>1282.2202</c:v>
                </c:pt>
                <c:pt idx="23">
                  <c:v>1292.2793</c:v>
                </c:pt>
                <c:pt idx="24">
                  <c:v>1303.0432</c:v>
                </c:pt>
                <c:pt idx="25">
                  <c:v>1297.9725</c:v>
                </c:pt>
                <c:pt idx="26">
                  <c:v>1275.5954</c:v>
                </c:pt>
                <c:pt idx="27">
                  <c:v>1300.9419</c:v>
                </c:pt>
                <c:pt idx="28">
                  <c:v>1317.7524</c:v>
                </c:pt>
                <c:pt idx="29">
                  <c:v>1353.8482</c:v>
                </c:pt>
                <c:pt idx="30">
                  <c:v>1352.1419</c:v>
                </c:pt>
                <c:pt idx="31">
                  <c:v>1286.7117</c:v>
                </c:pt>
                <c:pt idx="32">
                  <c:v>1353.2355</c:v>
                </c:pt>
                <c:pt idx="33">
                  <c:v>1338.2754</c:v>
                </c:pt>
                <c:pt idx="34">
                  <c:v>1338.5601</c:v>
                </c:pt>
                <c:pt idx="35">
                  <c:v>1359.3162</c:v>
                </c:pt>
                <c:pt idx="36">
                  <c:v>1398.8305</c:v>
                </c:pt>
                <c:pt idx="37">
                  <c:v>1413.0746</c:v>
                </c:pt>
                <c:pt idx="38">
                  <c:v>1435.2703</c:v>
                </c:pt>
                <c:pt idx="39">
                  <c:v>1461.7192</c:v>
                </c:pt>
                <c:pt idx="40">
                  <c:v>1527.3902</c:v>
                </c:pt>
                <c:pt idx="41">
                  <c:v>1490.9448</c:v>
                </c:pt>
                <c:pt idx="42">
                  <c:v>1517.6754</c:v>
                </c:pt>
                <c:pt idx="43">
                  <c:v>1514.0676</c:v>
                </c:pt>
                <c:pt idx="44">
                  <c:v>1509.9131</c:v>
                </c:pt>
                <c:pt idx="45">
                  <c:v>1502.4804</c:v>
                </c:pt>
                <c:pt idx="46">
                  <c:v>1464.8561</c:v>
                </c:pt>
                <c:pt idx="47">
                  <c:v>1482.9667</c:v>
                </c:pt>
                <c:pt idx="48">
                  <c:v>1398.8186</c:v>
                </c:pt>
                <c:pt idx="49">
                  <c:v>1339.817</c:v>
                </c:pt>
                <c:pt idx="50">
                  <c:v>1371.0071</c:v>
                </c:pt>
                <c:pt idx="51">
                  <c:v>1353.7929</c:v>
                </c:pt>
                <c:pt idx="52">
                  <c:v>1298.7295</c:v>
                </c:pt>
                <c:pt idx="53">
                  <c:v>1539.1542</c:v>
                </c:pt>
                <c:pt idx="54">
                  <c:v>1506.7537</c:v>
                </c:pt>
                <c:pt idx="55">
                  <c:v>1521.5468</c:v>
                </c:pt>
                <c:pt idx="56">
                  <c:v>1509.0374</c:v>
                </c:pt>
                <c:pt idx="57">
                  <c:v>1530.923</c:v>
                </c:pt>
                <c:pt idx="58">
                  <c:v>1540.4034</c:v>
                </c:pt>
                <c:pt idx="59">
                  <c:v>1535.9131</c:v>
                </c:pt>
                <c:pt idx="60">
                  <c:v>1514.8372</c:v>
                </c:pt>
                <c:pt idx="61">
                  <c:v>1493.4043</c:v>
                </c:pt>
                <c:pt idx="62">
                  <c:v>1384.4854</c:v>
                </c:pt>
                <c:pt idx="63">
                  <c:v>1387.1324</c:v>
                </c:pt>
                <c:pt idx="64">
                  <c:v>1343.0128</c:v>
                </c:pt>
                <c:pt idx="65">
                  <c:v>1338.9248</c:v>
                </c:pt>
                <c:pt idx="66">
                  <c:v>1507.5032</c:v>
                </c:pt>
                <c:pt idx="67">
                  <c:v>1509.7702</c:v>
                </c:pt>
                <c:pt idx="68">
                  <c:v>1469.6395</c:v>
                </c:pt>
                <c:pt idx="69">
                  <c:v>1515.6723</c:v>
                </c:pt>
                <c:pt idx="70">
                  <c:v>1573.4729</c:v>
                </c:pt>
                <c:pt idx="71">
                  <c:v>1583.1818</c:v>
                </c:pt>
                <c:pt idx="72">
                  <c:v>1557.1197</c:v>
                </c:pt>
                <c:pt idx="73">
                  <c:v>1546.378</c:v>
                </c:pt>
                <c:pt idx="74">
                  <c:v>1421.4393</c:v>
                </c:pt>
                <c:pt idx="75">
                  <c:v>1412.629</c:v>
                </c:pt>
                <c:pt idx="76">
                  <c:v>1367.2113</c:v>
                </c:pt>
                <c:pt idx="77">
                  <c:v>1361.0026</c:v>
                </c:pt>
                <c:pt idx="78">
                  <c:v>1411.5529</c:v>
                </c:pt>
                <c:pt idx="79">
                  <c:v>1418.3138</c:v>
                </c:pt>
                <c:pt idx="80">
                  <c:v>1425.1155</c:v>
                </c:pt>
                <c:pt idx="81">
                  <c:v>1445.7361</c:v>
                </c:pt>
                <c:pt idx="82">
                  <c:v>1439.9528</c:v>
                </c:pt>
                <c:pt idx="83">
                  <c:v>1418.7959</c:v>
                </c:pt>
                <c:pt idx="84">
                  <c:v>1454.7815</c:v>
                </c:pt>
                <c:pt idx="85">
                  <c:v>1450.122</c:v>
                </c:pt>
                <c:pt idx="86">
                  <c:v>1419.93</c:v>
                </c:pt>
                <c:pt idx="87">
                  <c:v>1434.5345</c:v>
                </c:pt>
                <c:pt idx="88">
                  <c:v>1431.3307</c:v>
                </c:pt>
                <c:pt idx="89">
                  <c:v>1477.1592</c:v>
                </c:pt>
                <c:pt idx="90">
                  <c:v>1426.0471</c:v>
                </c:pt>
                <c:pt idx="91">
                  <c:v>1425.8624</c:v>
                </c:pt>
                <c:pt idx="92">
                  <c:v>1431.7783</c:v>
                </c:pt>
                <c:pt idx="93">
                  <c:v>1434.6648</c:v>
                </c:pt>
                <c:pt idx="94">
                  <c:v>1483.6633</c:v>
                </c:pt>
                <c:pt idx="95">
                  <c:v>1454.4389</c:v>
                </c:pt>
                <c:pt idx="96">
                  <c:v>1364.3714</c:v>
                </c:pt>
                <c:pt idx="97">
                  <c:v>1394.5266</c:v>
                </c:pt>
                <c:pt idx="98">
                  <c:v>1359.7858</c:v>
                </c:pt>
                <c:pt idx="99">
                  <c:v>1351.4407</c:v>
                </c:pt>
                <c:pt idx="100">
                  <c:v>1294.8875</c:v>
                </c:pt>
                <c:pt idx="101">
                  <c:v>1439.9788</c:v>
                </c:pt>
                <c:pt idx="102">
                  <c:v>1467.7171</c:v>
                </c:pt>
                <c:pt idx="103">
                  <c:v>1368.7235</c:v>
                </c:pt>
                <c:pt idx="104">
                  <c:v>1367.1991</c:v>
                </c:pt>
              </c:numCache>
            </c:numRef>
          </c:xVal>
          <c:yVal>
            <c:numRef>
              <c:f>Sheet1!$B$2:$B$106</c:f>
              <c:numCache>
                <c:formatCode>General</c:formatCode>
                <c:ptCount val="105"/>
                <c:pt idx="0">
                  <c:v>0.23850293542074363</c:v>
                </c:pt>
                <c:pt idx="1">
                  <c:v>0.23524498886414255</c:v>
                </c:pt>
                <c:pt idx="2">
                  <c:v>0.24230330672748004</c:v>
                </c:pt>
                <c:pt idx="3">
                  <c:v>0.24149757073449557</c:v>
                </c:pt>
                <c:pt idx="4">
                  <c:v>0.22874365482233502</c:v>
                </c:pt>
                <c:pt idx="5">
                  <c:v>0.24724061810154527</c:v>
                </c:pt>
                <c:pt idx="6">
                  <c:v>0.25017205781142465</c:v>
                </c:pt>
                <c:pt idx="7">
                  <c:v>0.24281150159744408</c:v>
                </c:pt>
                <c:pt idx="8">
                  <c:v>0.2791149068322981</c:v>
                </c:pt>
                <c:pt idx="9">
                  <c:v>0.26337590610976874</c:v>
                </c:pt>
                <c:pt idx="10">
                  <c:v>0.27446380697050937</c:v>
                </c:pt>
                <c:pt idx="11">
                  <c:v>0.286527514231499</c:v>
                </c:pt>
                <c:pt idx="12">
                  <c:v>0.27262753702687875</c:v>
                </c:pt>
                <c:pt idx="13">
                  <c:v>0.2881999367288833</c:v>
                </c:pt>
                <c:pt idx="14">
                  <c:v>0.28322232794164287</c:v>
                </c:pt>
                <c:pt idx="15">
                  <c:v>0.2906810035842294</c:v>
                </c:pt>
                <c:pt idx="16">
                  <c:v>0.24166666666666667</c:v>
                </c:pt>
                <c:pt idx="17">
                  <c:v>0.26096302665520205</c:v>
                </c:pt>
                <c:pt idx="18">
                  <c:v>0.2504047490555855</c:v>
                </c:pt>
                <c:pt idx="19">
                  <c:v>0.23420548819400128</c:v>
                </c:pt>
                <c:pt idx="20">
                  <c:v>0.23537477148080438</c:v>
                </c:pt>
                <c:pt idx="21">
                  <c:v>0.21790722761596548</c:v>
                </c:pt>
                <c:pt idx="22">
                  <c:v>0.2077922077922078</c:v>
                </c:pt>
                <c:pt idx="23">
                  <c:v>0.1864951768488746</c:v>
                </c:pt>
                <c:pt idx="24">
                  <c:v>0.19137625516834023</c:v>
                </c:pt>
                <c:pt idx="25">
                  <c:v>0.19986263736263737</c:v>
                </c:pt>
                <c:pt idx="26">
                  <c:v>0.1876355748373102</c:v>
                </c:pt>
                <c:pt idx="27">
                  <c:v>0.19079312257348863</c:v>
                </c:pt>
                <c:pt idx="28">
                  <c:v>0.17355371900826447</c:v>
                </c:pt>
                <c:pt idx="29">
                  <c:v>0.17481789802289283</c:v>
                </c:pt>
                <c:pt idx="30">
                  <c:v>0.18407960199004975</c:v>
                </c:pt>
                <c:pt idx="31">
                  <c:v>0.1803594351732991</c:v>
                </c:pt>
                <c:pt idx="32">
                  <c:v>0.1744107744107744</c:v>
                </c:pt>
                <c:pt idx="33">
                  <c:v>0.17518667432510052</c:v>
                </c:pt>
                <c:pt idx="34">
                  <c:v>0.18597560975609756</c:v>
                </c:pt>
                <c:pt idx="35">
                  <c:v>0.1944060773480663</c:v>
                </c:pt>
                <c:pt idx="36">
                  <c:v>0.18355555555555556</c:v>
                </c:pt>
                <c:pt idx="37">
                  <c:v>0.16751845542305507</c:v>
                </c:pt>
                <c:pt idx="38">
                  <c:v>0.16052060737527116</c:v>
                </c:pt>
                <c:pt idx="39">
                  <c:v>0.1728833629366489</c:v>
                </c:pt>
                <c:pt idx="40">
                  <c:v>0.17647058823529413</c:v>
                </c:pt>
                <c:pt idx="41">
                  <c:v>0.17564655172413793</c:v>
                </c:pt>
                <c:pt idx="42">
                  <c:v>0.18037021093413688</c:v>
                </c:pt>
                <c:pt idx="43">
                  <c:v>0.19227913882702302</c:v>
                </c:pt>
                <c:pt idx="44">
                  <c:v>0.16314723748915244</c:v>
                </c:pt>
                <c:pt idx="45">
                  <c:v>0.1768613340714088</c:v>
                </c:pt>
                <c:pt idx="46">
                  <c:v>0.18289004661365507</c:v>
                </c:pt>
                <c:pt idx="47">
                  <c:v>0.1727447216890595</c:v>
                </c:pt>
                <c:pt idx="48">
                  <c:v>0.18564554931836408</c:v>
                </c:pt>
                <c:pt idx="49">
                  <c:v>0.2052797478329393</c:v>
                </c:pt>
                <c:pt idx="50">
                  <c:v>0.19347478895733516</c:v>
                </c:pt>
                <c:pt idx="51">
                  <c:v>0.18324607329842932</c:v>
                </c:pt>
                <c:pt idx="52">
                  <c:v>0.19669040636782573</c:v>
                </c:pt>
                <c:pt idx="53">
                  <c:v>0.19770600664050708</c:v>
                </c:pt>
                <c:pt idx="54">
                  <c:v>0.18242790073775988</c:v>
                </c:pt>
                <c:pt idx="55">
                  <c:v>0.18799424874191228</c:v>
                </c:pt>
                <c:pt idx="56">
                  <c:v>0.21083743842364533</c:v>
                </c:pt>
                <c:pt idx="57">
                  <c:v>0.198378041172801</c:v>
                </c:pt>
                <c:pt idx="58">
                  <c:v>0.19822320932815102</c:v>
                </c:pt>
                <c:pt idx="59">
                  <c:v>0.18152809785499024</c:v>
                </c:pt>
                <c:pt idx="60">
                  <c:v>0.18325876211782252</c:v>
                </c:pt>
                <c:pt idx="61">
                  <c:v>0.19786666666666666</c:v>
                </c:pt>
                <c:pt idx="62">
                  <c:v>0.22150363783346808</c:v>
                </c:pt>
                <c:pt idx="63">
                  <c:v>0.22826341692055307</c:v>
                </c:pt>
                <c:pt idx="64">
                  <c:v>0.22885572139303484</c:v>
                </c:pt>
                <c:pt idx="65">
                  <c:v>0.23352573352573353</c:v>
                </c:pt>
                <c:pt idx="66">
                  <c:v>0.2179237406067353</c:v>
                </c:pt>
                <c:pt idx="67">
                  <c:v>0.22954091816367264</c:v>
                </c:pt>
                <c:pt idx="68">
                  <c:v>0.21292115317818688</c:v>
                </c:pt>
                <c:pt idx="69">
                  <c:v>0.21935483870967742</c:v>
                </c:pt>
                <c:pt idx="70">
                  <c:v>0.2132385606397157</c:v>
                </c:pt>
                <c:pt idx="71">
                  <c:v>0.19280898876404495</c:v>
                </c:pt>
                <c:pt idx="72">
                  <c:v>0.2</c:v>
                </c:pt>
                <c:pt idx="73">
                  <c:v>0.2078559738134206</c:v>
                </c:pt>
                <c:pt idx="74">
                  <c:v>0.22282382340691378</c:v>
                </c:pt>
                <c:pt idx="75">
                  <c:v>0.20850409836065573</c:v>
                </c:pt>
                <c:pt idx="76">
                  <c:v>0.21454928835002635</c:v>
                </c:pt>
                <c:pt idx="77">
                  <c:v>0.2030430220356768</c:v>
                </c:pt>
                <c:pt idx="78">
                  <c:v>0.20214030915576695</c:v>
                </c:pt>
                <c:pt idx="79">
                  <c:v>0.20679199514857488</c:v>
                </c:pt>
                <c:pt idx="80">
                  <c:v>0.18264014466546113</c:v>
                </c:pt>
                <c:pt idx="81">
                  <c:v>0.19238578680203045</c:v>
                </c:pt>
                <c:pt idx="82">
                  <c:v>0.19714817110973343</c:v>
                </c:pt>
                <c:pt idx="83">
                  <c:v>0.19367588932806323</c:v>
                </c:pt>
                <c:pt idx="84">
                  <c:v>0.189792663476874</c:v>
                </c:pt>
                <c:pt idx="85">
                  <c:v>0.18952234206471494</c:v>
                </c:pt>
                <c:pt idx="86">
                  <c:v>0.1895910780669145</c:v>
                </c:pt>
                <c:pt idx="87">
                  <c:v>0.22675933970460468</c:v>
                </c:pt>
                <c:pt idx="88">
                  <c:v>0.20382165605095542</c:v>
                </c:pt>
                <c:pt idx="89">
                  <c:v>0.18988173455978974</c:v>
                </c:pt>
                <c:pt idx="90">
                  <c:v>0.1775766016713092</c:v>
                </c:pt>
                <c:pt idx="91">
                  <c:v>0.20373831775700935</c:v>
                </c:pt>
                <c:pt idx="92">
                  <c:v>0.1972180824639841</c:v>
                </c:pt>
                <c:pt idx="93">
                  <c:v>0.17023300047551118</c:v>
                </c:pt>
                <c:pt idx="94">
                  <c:v>0.16198704103671707</c:v>
                </c:pt>
                <c:pt idx="95">
                  <c:v>0.17115520907158044</c:v>
                </c:pt>
                <c:pt idx="96">
                  <c:v>0.15884892086330935</c:v>
                </c:pt>
                <c:pt idx="97">
                  <c:v>0.1532976827094474</c:v>
                </c:pt>
                <c:pt idx="98">
                  <c:v>0.17494646680942183</c:v>
                </c:pt>
                <c:pt idx="99">
                  <c:v>0.1748139207402937</c:v>
                </c:pt>
                <c:pt idx="100">
                  <c:v>0.20506999621642075</c:v>
                </c:pt>
                <c:pt idx="101">
                  <c:v>0.18140589569160998</c:v>
                </c:pt>
                <c:pt idx="102">
                  <c:v>0.1584372003835091</c:v>
                </c:pt>
                <c:pt idx="103">
                  <c:v>0.17103651065915218</c:v>
                </c:pt>
                <c:pt idx="104">
                  <c:v>0.172988969599139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58.4932</c:v>
                </c:pt>
                <c:pt idx="1">
                  <c:v>1478.1716</c:v>
                </c:pt>
                <c:pt idx="2">
                  <c:v>1492.4629</c:v>
                </c:pt>
                <c:pt idx="3">
                  <c:v>1513.9442</c:v>
                </c:pt>
                <c:pt idx="4">
                  <c:v>1507.3485</c:v>
                </c:pt>
                <c:pt idx="5">
                  <c:v>1514.8658</c:v>
                </c:pt>
                <c:pt idx="6">
                  <c:v>1486.8796</c:v>
                </c:pt>
                <c:pt idx="7">
                  <c:v>1459.8333</c:v>
                </c:pt>
                <c:pt idx="8">
                  <c:v>1484.2466</c:v>
                </c:pt>
                <c:pt idx="9">
                  <c:v>1335.7565</c:v>
                </c:pt>
                <c:pt idx="10">
                  <c:v>1376.1383</c:v>
                </c:pt>
                <c:pt idx="11">
                  <c:v>1465.8782</c:v>
                </c:pt>
                <c:pt idx="12">
                  <c:v>1464.0534</c:v>
                </c:pt>
                <c:pt idx="13">
                  <c:v>1376.4881</c:v>
                </c:pt>
                <c:pt idx="14">
                  <c:v>1412.8033</c:v>
                </c:pt>
                <c:pt idx="15">
                  <c:v>1373.5444</c:v>
                </c:pt>
                <c:pt idx="16">
                  <c:v>1375.8523</c:v>
                </c:pt>
                <c:pt idx="17">
                  <c:v>1271.5553</c:v>
                </c:pt>
                <c:pt idx="18">
                  <c:v>1303.0142</c:v>
                </c:pt>
                <c:pt idx="19">
                  <c:v>1357.5641</c:v>
                </c:pt>
                <c:pt idx="20">
                  <c:v>1372.171</c:v>
                </c:pt>
                <c:pt idx="21">
                  <c:v>1402.086</c:v>
                </c:pt>
                <c:pt idx="22">
                  <c:v>1408.2439</c:v>
                </c:pt>
                <c:pt idx="23">
                  <c:v>1251.5228</c:v>
                </c:pt>
                <c:pt idx="24">
                  <c:v>1268.6843</c:v>
                </c:pt>
                <c:pt idx="25">
                  <c:v>1258.7795</c:v>
                </c:pt>
                <c:pt idx="26">
                  <c:v>1256.3916</c:v>
                </c:pt>
                <c:pt idx="27">
                  <c:v>1368.2953</c:v>
                </c:pt>
                <c:pt idx="28">
                  <c:v>1488.2046</c:v>
                </c:pt>
                <c:pt idx="29">
                  <c:v>1504.8058</c:v>
                </c:pt>
                <c:pt idx="30">
                  <c:v>1482.1208</c:v>
                </c:pt>
                <c:pt idx="31">
                  <c:v>1448.0492</c:v>
                </c:pt>
                <c:pt idx="32">
                  <c:v>1507.5536</c:v>
                </c:pt>
                <c:pt idx="33">
                  <c:v>1514.0307</c:v>
                </c:pt>
                <c:pt idx="34">
                  <c:v>1521.1359</c:v>
                </c:pt>
                <c:pt idx="35">
                  <c:v>1515.8821</c:v>
                </c:pt>
                <c:pt idx="36">
                  <c:v>1285.4728</c:v>
                </c:pt>
                <c:pt idx="37">
                  <c:v>1370.2846</c:v>
                </c:pt>
                <c:pt idx="38">
                  <c:v>1357.109</c:v>
                </c:pt>
                <c:pt idx="39">
                  <c:v>1475.7435</c:v>
                </c:pt>
                <c:pt idx="40">
                  <c:v>1511.5876</c:v>
                </c:pt>
                <c:pt idx="41">
                  <c:v>1532.9797</c:v>
                </c:pt>
                <c:pt idx="42">
                  <c:v>1568.6151</c:v>
                </c:pt>
                <c:pt idx="43">
                  <c:v>1504.082</c:v>
                </c:pt>
                <c:pt idx="44">
                  <c:v>1439.7235</c:v>
                </c:pt>
                <c:pt idx="45">
                  <c:v>1367.8595</c:v>
                </c:pt>
                <c:pt idx="46">
                  <c:v>1329.1927</c:v>
                </c:pt>
                <c:pt idx="47">
                  <c:v>1385.1248</c:v>
                </c:pt>
                <c:pt idx="48">
                  <c:v>1308.209</c:v>
                </c:pt>
                <c:pt idx="49">
                  <c:v>1264.6009</c:v>
                </c:pt>
                <c:pt idx="50">
                  <c:v>1227.1138</c:v>
                </c:pt>
                <c:pt idx="51">
                  <c:v>1280.0107</c:v>
                </c:pt>
              </c:numCache>
            </c:numRef>
          </c:xVal>
          <c:yVal>
            <c:numRef>
              <c:f>Sheet1!$B$109:$B$160</c:f>
              <c:numCache>
                <c:formatCode>General</c:formatCode>
                <c:ptCount val="52"/>
                <c:pt idx="0">
                  <c:v>0.16624621594349143</c:v>
                </c:pt>
                <c:pt idx="1">
                  <c:v>0.15533188248095756</c:v>
                </c:pt>
                <c:pt idx="2">
                  <c:v>0.15379008746355685</c:v>
                </c:pt>
                <c:pt idx="3">
                  <c:v>0.15476190476190477</c:v>
                </c:pt>
                <c:pt idx="4">
                  <c:v>0.14289439374185137</c:v>
                </c:pt>
                <c:pt idx="5">
                  <c:v>0.1441823482639809</c:v>
                </c:pt>
                <c:pt idx="6">
                  <c:v>0.16676961087090797</c:v>
                </c:pt>
                <c:pt idx="7">
                  <c:v>0.18206157965194109</c:v>
                </c:pt>
                <c:pt idx="8">
                  <c:v>0.19571045576407506</c:v>
                </c:pt>
                <c:pt idx="9">
                  <c:v>0.24496644295302014</c:v>
                </c:pt>
                <c:pt idx="10">
                  <c:v>0.21067415730337077</c:v>
                </c:pt>
                <c:pt idx="11">
                  <c:v>0.21506024096385543</c:v>
                </c:pt>
                <c:pt idx="12">
                  <c:v>0.2016004924592182</c:v>
                </c:pt>
                <c:pt idx="13">
                  <c:v>0.21881331403762663</c:v>
                </c:pt>
                <c:pt idx="14">
                  <c:v>0.20840393087089124</c:v>
                </c:pt>
                <c:pt idx="15">
                  <c:v>0.21081830790568654</c:v>
                </c:pt>
                <c:pt idx="16">
                  <c:v>0.20080160320641283</c:v>
                </c:pt>
                <c:pt idx="17">
                  <c:v>0.21092121717382242</c:v>
                </c:pt>
                <c:pt idx="18">
                  <c:v>0.19435215946843853</c:v>
                </c:pt>
                <c:pt idx="19">
                  <c:v>0.19491878384006664</c:v>
                </c:pt>
                <c:pt idx="20">
                  <c:v>0.1833729216152019</c:v>
                </c:pt>
                <c:pt idx="21">
                  <c:v>0.18355263157894736</c:v>
                </c:pt>
                <c:pt idx="22">
                  <c:v>0.18373879641485275</c:v>
                </c:pt>
                <c:pt idx="23">
                  <c:v>0.20814732142857142</c:v>
                </c:pt>
                <c:pt idx="24">
                  <c:v>0.2131324004305705</c:v>
                </c:pt>
                <c:pt idx="25">
                  <c:v>0.2450873362445415</c:v>
                </c:pt>
                <c:pt idx="26">
                  <c:v>0.24171122994652405</c:v>
                </c:pt>
                <c:pt idx="27">
                  <c:v>0.17281455280444669</c:v>
                </c:pt>
                <c:pt idx="28">
                  <c:v>0.15226130653266332</c:v>
                </c:pt>
                <c:pt idx="29">
                  <c:v>0.14499700419412823</c:v>
                </c:pt>
                <c:pt idx="30">
                  <c:v>0.16099635479951396</c:v>
                </c:pt>
                <c:pt idx="31">
                  <c:v>0.13626209977661952</c:v>
                </c:pt>
                <c:pt idx="32">
                  <c:v>0.12235979606700656</c:v>
                </c:pt>
                <c:pt idx="33">
                  <c:v>0.14911706998037932</c:v>
                </c:pt>
                <c:pt idx="34">
                  <c:v>0.18265993265993266</c:v>
                </c:pt>
                <c:pt idx="35">
                  <c:v>0.1976694000863185</c:v>
                </c:pt>
                <c:pt idx="36">
                  <c:v>0.18671875</c:v>
                </c:pt>
                <c:pt idx="37">
                  <c:v>0.17105263157894737</c:v>
                </c:pt>
                <c:pt idx="38">
                  <c:v>0.16866506794564348</c:v>
                </c:pt>
                <c:pt idx="39">
                  <c:v>0.1673913043478261</c:v>
                </c:pt>
                <c:pt idx="40">
                  <c:v>0.15866957470010906</c:v>
                </c:pt>
                <c:pt idx="41">
                  <c:v>0.15308770108977685</c:v>
                </c:pt>
                <c:pt idx="42">
                  <c:v>0.15451895043731778</c:v>
                </c:pt>
                <c:pt idx="43">
                  <c:v>0.15113954418232706</c:v>
                </c:pt>
                <c:pt idx="44">
                  <c:v>0.14966887417218544</c:v>
                </c:pt>
                <c:pt idx="45">
                  <c:v>0.1783676507070206</c:v>
                </c:pt>
                <c:pt idx="46">
                  <c:v>0.17208714872118724</c:v>
                </c:pt>
                <c:pt idx="47">
                  <c:v>0.17464702271332105</c:v>
                </c:pt>
                <c:pt idx="48">
                  <c:v>0.1546818416968443</c:v>
                </c:pt>
                <c:pt idx="49">
                  <c:v>0.18185567010309278</c:v>
                </c:pt>
                <c:pt idx="50">
                  <c:v>0.20453146164265484</c:v>
                </c:pt>
                <c:pt idx="51">
                  <c:v>0.1812915683329757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85.639103076628</c:v>
                </c:pt>
              </c:numCache>
            </c:numRef>
          </c:xVal>
          <c:yVal>
            <c:numRef>
              <c:f>Sheet1!$B$163:$B$164</c:f>
              <c:numCache>
                <c:formatCode>General</c:formatCode>
                <c:ptCount val="2"/>
                <c:pt idx="0">
                  <c:v>0.2615092278662798</c:v>
                </c:pt>
                <c:pt idx="1">
                  <c:v>0.261509227866279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85.639103076628</c:v>
                </c:pt>
                <c:pt idx="1">
                  <c:v>985.639103076628</c:v>
                </c:pt>
              </c:numCache>
            </c:numRef>
          </c:xVal>
          <c:yVal>
            <c:numRef>
              <c:f>Sheet1!$B$167:$B$168</c:f>
              <c:numCache>
                <c:formatCode>General</c:formatCode>
                <c:ptCount val="2"/>
                <c:pt idx="0">
                  <c:v>0.26150922786627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74.0244997324503</c:v>
                </c:pt>
              </c:numCache>
            </c:numRef>
          </c:xVal>
          <c:yVal>
            <c:numRef>
              <c:f>Sheet1!$B$171:$B$172</c:f>
              <c:numCache>
                <c:formatCode>General</c:formatCode>
                <c:ptCount val="2"/>
                <c:pt idx="0">
                  <c:v>0.20601970795204297</c:v>
                </c:pt>
                <c:pt idx="1">
                  <c:v>0.2060197079520429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74.0244997324503</c:v>
                </c:pt>
                <c:pt idx="1">
                  <c:v>1274.0244997324503</c:v>
                </c:pt>
              </c:numCache>
            </c:numRef>
          </c:xVal>
          <c:yVal>
            <c:numRef>
              <c:f>Sheet1!$B$175:$B$176</c:f>
              <c:numCache>
                <c:formatCode>General</c:formatCode>
                <c:ptCount val="2"/>
                <c:pt idx="0">
                  <c:v>0.2060197079520429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72.441498042805</c:v>
                </c:pt>
              </c:numCache>
            </c:numRef>
          </c:xVal>
          <c:yVal>
            <c:numRef>
              <c:f>Sheet1!$B$179:$B$180</c:f>
              <c:numCache>
                <c:formatCode>General</c:formatCode>
                <c:ptCount val="2"/>
                <c:pt idx="0">
                  <c:v>0.1678414086805107</c:v>
                </c:pt>
                <c:pt idx="1">
                  <c:v>0.167841408680510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72.441498042805</c:v>
                </c:pt>
                <c:pt idx="1">
                  <c:v>1472.441498042805</c:v>
                </c:pt>
              </c:numCache>
            </c:numRef>
          </c:xVal>
          <c:yVal>
            <c:numRef>
              <c:f>Sheet1!$B$183:$B$184</c:f>
              <c:numCache>
                <c:formatCode>General</c:formatCode>
                <c:ptCount val="2"/>
                <c:pt idx="0">
                  <c:v>0.16784140868051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58.4932</c:v>
                </c:pt>
                <c:pt idx="1">
                  <c:v>1478.1716</c:v>
                </c:pt>
                <c:pt idx="2">
                  <c:v>1492.4629</c:v>
                </c:pt>
                <c:pt idx="3">
                  <c:v>1513.9442</c:v>
                </c:pt>
                <c:pt idx="4">
                  <c:v>1507.3485</c:v>
                </c:pt>
                <c:pt idx="5">
                  <c:v>1514.8658</c:v>
                </c:pt>
                <c:pt idx="6">
                  <c:v>1486.8796</c:v>
                </c:pt>
                <c:pt idx="7">
                  <c:v>1459.8333</c:v>
                </c:pt>
                <c:pt idx="8">
                  <c:v>1484.2466</c:v>
                </c:pt>
                <c:pt idx="9">
                  <c:v>1335.7565</c:v>
                </c:pt>
                <c:pt idx="10">
                  <c:v>1376.1383</c:v>
                </c:pt>
                <c:pt idx="11">
                  <c:v>1465.8782</c:v>
                </c:pt>
                <c:pt idx="12">
                  <c:v>1464.0534</c:v>
                </c:pt>
                <c:pt idx="13">
                  <c:v>1376.4881</c:v>
                </c:pt>
                <c:pt idx="14">
                  <c:v>1412.8033</c:v>
                </c:pt>
                <c:pt idx="15">
                  <c:v>1373.5444</c:v>
                </c:pt>
                <c:pt idx="16">
                  <c:v>1375.8523</c:v>
                </c:pt>
                <c:pt idx="17">
                  <c:v>1271.5553</c:v>
                </c:pt>
                <c:pt idx="18">
                  <c:v>1303.0142</c:v>
                </c:pt>
                <c:pt idx="19">
                  <c:v>1357.5641</c:v>
                </c:pt>
                <c:pt idx="20">
                  <c:v>1372.171</c:v>
                </c:pt>
                <c:pt idx="21">
                  <c:v>1402.086</c:v>
                </c:pt>
                <c:pt idx="22">
                  <c:v>1408.2439</c:v>
                </c:pt>
                <c:pt idx="23">
                  <c:v>1251.5228</c:v>
                </c:pt>
                <c:pt idx="24">
                  <c:v>1268.6843</c:v>
                </c:pt>
                <c:pt idx="25">
                  <c:v>1258.7795</c:v>
                </c:pt>
                <c:pt idx="26">
                  <c:v>1256.3916</c:v>
                </c:pt>
                <c:pt idx="27">
                  <c:v>1368.2953</c:v>
                </c:pt>
                <c:pt idx="28">
                  <c:v>1488.2046</c:v>
                </c:pt>
                <c:pt idx="29">
                  <c:v>1504.8058</c:v>
                </c:pt>
                <c:pt idx="30">
                  <c:v>1482.1208</c:v>
                </c:pt>
                <c:pt idx="31">
                  <c:v>1448.0492</c:v>
                </c:pt>
                <c:pt idx="32">
                  <c:v>1507.5536</c:v>
                </c:pt>
                <c:pt idx="33">
                  <c:v>1514.0307</c:v>
                </c:pt>
                <c:pt idx="34">
                  <c:v>1521.1359</c:v>
                </c:pt>
                <c:pt idx="35">
                  <c:v>1515.8821</c:v>
                </c:pt>
                <c:pt idx="36">
                  <c:v>1285.4728</c:v>
                </c:pt>
                <c:pt idx="37">
                  <c:v>1370.2846</c:v>
                </c:pt>
                <c:pt idx="38">
                  <c:v>1357.109</c:v>
                </c:pt>
                <c:pt idx="39">
                  <c:v>1475.7435</c:v>
                </c:pt>
                <c:pt idx="40">
                  <c:v>1511.5876</c:v>
                </c:pt>
                <c:pt idx="41">
                  <c:v>1532.9797</c:v>
                </c:pt>
                <c:pt idx="42">
                  <c:v>1568.6151</c:v>
                </c:pt>
                <c:pt idx="43">
                  <c:v>1504.082</c:v>
                </c:pt>
                <c:pt idx="44">
                  <c:v>1439.7235</c:v>
                </c:pt>
                <c:pt idx="45">
                  <c:v>1367.8595</c:v>
                </c:pt>
                <c:pt idx="46">
                  <c:v>1329.1927</c:v>
                </c:pt>
                <c:pt idx="47">
                  <c:v>1385.1248</c:v>
                </c:pt>
                <c:pt idx="48">
                  <c:v>1308.209</c:v>
                </c:pt>
                <c:pt idx="49">
                  <c:v>1264.6009</c:v>
                </c:pt>
                <c:pt idx="50">
                  <c:v>1227.1138</c:v>
                </c:pt>
                <c:pt idx="51">
                  <c:v>1280.0107</c:v>
                </c:pt>
                <c:pt idx="52">
                  <c:v>1274.0244997324503</c:v>
                </c:pt>
                <c:pt idx="53">
                  <c:v>985.639103076628</c:v>
                </c:pt>
                <c:pt idx="54">
                  <c:v>1472.441498042805</c:v>
                </c:pt>
              </c:numCache>
            </c:numRef>
          </c:xVal>
          <c:yVal>
            <c:numRef>
              <c:f>Sheet1!$B$187:$B$241</c:f>
              <c:numCache>
                <c:formatCode>General</c:formatCode>
                <c:ptCount val="55"/>
                <c:pt idx="0">
                  <c:v>0.17052526289432057</c:v>
                </c:pt>
                <c:pt idx="1">
                  <c:v>0.16673885421571638</c:v>
                </c:pt>
                <c:pt idx="2">
                  <c:v>0.1639890014660753</c:v>
                </c:pt>
                <c:pt idx="3">
                  <c:v>0.1598556887603828</c:v>
                </c:pt>
                <c:pt idx="4">
                  <c:v>0.16112479680379427</c:v>
                </c:pt>
                <c:pt idx="5">
                  <c:v>0.15967835959550136</c:v>
                </c:pt>
                <c:pt idx="6">
                  <c:v>0.1650633091117808</c:v>
                </c:pt>
                <c:pt idx="7">
                  <c:v>0.17026740827858972</c:v>
                </c:pt>
                <c:pt idx="8">
                  <c:v>0.16556993638080497</c:v>
                </c:pt>
                <c:pt idx="9">
                  <c:v>0.19414157855327852</c:v>
                </c:pt>
                <c:pt idx="10">
                  <c:v>0.18637153637618797</c:v>
                </c:pt>
                <c:pt idx="11">
                  <c:v>0.1691042821188768</c:v>
                </c:pt>
                <c:pt idx="12">
                  <c:v>0.16945540002260456</c:v>
                </c:pt>
                <c:pt idx="13">
                  <c:v>0.1863042297986321</c:v>
                </c:pt>
                <c:pt idx="14">
                  <c:v>0.1793166602581589</c:v>
                </c:pt>
                <c:pt idx="15">
                  <c:v>0.1868706402398878</c:v>
                </c:pt>
                <c:pt idx="16">
                  <c:v>0.18642656691129655</c:v>
                </c:pt>
                <c:pt idx="17">
                  <c:v>0.20649481768129724</c:v>
                </c:pt>
                <c:pt idx="18">
                  <c:v>0.20044167047525702</c:v>
                </c:pt>
                <c:pt idx="19">
                  <c:v>0.18994548100980296</c:v>
                </c:pt>
                <c:pt idx="20">
                  <c:v>0.18713490225708407</c:v>
                </c:pt>
                <c:pt idx="21">
                  <c:v>0.18137882373340108</c:v>
                </c:pt>
                <c:pt idx="22">
                  <c:v>0.18019395473988653</c:v>
                </c:pt>
                <c:pt idx="23">
                  <c:v>0.21034936031962853</c:v>
                </c:pt>
                <c:pt idx="24">
                  <c:v>0.20704723959142574</c:v>
                </c:pt>
                <c:pt idx="25">
                  <c:v>0.20895306631920027</c:v>
                </c:pt>
                <c:pt idx="26">
                  <c:v>0.2094125328044653</c:v>
                </c:pt>
                <c:pt idx="27">
                  <c:v>0.1878806429735888</c:v>
                </c:pt>
                <c:pt idx="28">
                  <c:v>0.16480835995437215</c:v>
                </c:pt>
                <c:pt idx="29">
                  <c:v>0.16161404904722299</c:v>
                </c:pt>
                <c:pt idx="30">
                  <c:v>0.16597897103651765</c:v>
                </c:pt>
                <c:pt idx="31">
                  <c:v>0.17253483949807602</c:v>
                </c:pt>
                <c:pt idx="32">
                  <c:v>0.16108533259837204</c:v>
                </c:pt>
                <c:pt idx="33">
                  <c:v>0.15983904490972928</c:v>
                </c:pt>
                <c:pt idx="34">
                  <c:v>0.15847190169975195</c:v>
                </c:pt>
                <c:pt idx="35">
                  <c:v>0.15948280878140747</c:v>
                </c:pt>
                <c:pt idx="36">
                  <c:v>0.2038168894562142</c:v>
                </c:pt>
                <c:pt idx="37">
                  <c:v>0.18749787289145065</c:v>
                </c:pt>
                <c:pt idx="38">
                  <c:v>0.1900330488298307</c:v>
                </c:pt>
                <c:pt idx="39">
                  <c:v>0.16720605576220987</c:v>
                </c:pt>
                <c:pt idx="40">
                  <c:v>0.16030913267309915</c:v>
                </c:pt>
                <c:pt idx="41">
                  <c:v>0.1561929833370978</c:v>
                </c:pt>
                <c:pt idx="42">
                  <c:v>0.1493362171454597</c:v>
                </c:pt>
                <c:pt idx="43">
                  <c:v>0.16175331863222853</c:v>
                </c:pt>
                <c:pt idx="44">
                  <c:v>0.17413682455455698</c:v>
                </c:pt>
                <c:pt idx="45">
                  <c:v>0.18796449719456892</c:v>
                </c:pt>
                <c:pt idx="46">
                  <c:v>0.1954045485754664</c:v>
                </c:pt>
                <c:pt idx="47">
                  <c:v>0.184642403845582</c:v>
                </c:pt>
                <c:pt idx="48">
                  <c:v>0.19944211584664834</c:v>
                </c:pt>
                <c:pt idx="49">
                  <c:v>0.20783294479094463</c:v>
                </c:pt>
                <c:pt idx="50">
                  <c:v>0.21504600483524206</c:v>
                </c:pt>
                <c:pt idx="51">
                  <c:v>0.20486787646955898</c:v>
                </c:pt>
                <c:pt idx="52">
                  <c:v>0.20601970795204297</c:v>
                </c:pt>
                <c:pt idx="53">
                  <c:v>0.2615092278662798</c:v>
                </c:pt>
                <c:pt idx="54">
                  <c:v>0.1678414086805107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00.0"/>
          <c:min val="78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881720430107527"/>
          <c:min val="0.0978878368536052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169344684452935</c:v>
                </c:pt>
                <c:pt idx="1">
                  <c:v>5.141624520613664</c:v>
                </c:pt>
                <c:pt idx="2">
                  <c:v>5.098486408769279</c:v>
                </c:pt>
                <c:pt idx="3">
                  <c:v>6.233646564598326</c:v>
                </c:pt>
                <c:pt idx="4">
                  <c:v>4.450158080464701</c:v>
                </c:pt>
                <c:pt idx="5">
                  <c:v>3.2452733843717936</c:v>
                </c:pt>
                <c:pt idx="6">
                  <c:v>4.135838493163361</c:v>
                </c:pt>
                <c:pt idx="7">
                  <c:v>2.580879889961307</c:v>
                </c:pt>
                <c:pt idx="8">
                  <c:v>3.724475580033543</c:v>
                </c:pt>
                <c:pt idx="9">
                  <c:v>3.575527901102432</c:v>
                </c:pt>
                <c:pt idx="10">
                  <c:v>5.357439736207991</c:v>
                </c:pt>
                <c:pt idx="11">
                  <c:v>3.334059361005138</c:v>
                </c:pt>
                <c:pt idx="12">
                  <c:v>4.476194503377243</c:v>
                </c:pt>
                <c:pt idx="13">
                  <c:v>3.961035669754965</c:v>
                </c:pt>
                <c:pt idx="14">
                  <c:v>4.288938283539668</c:v>
                </c:pt>
                <c:pt idx="15">
                  <c:v>2.743139538257668</c:v>
                </c:pt>
                <c:pt idx="16">
                  <c:v>1.5605558217702518</c:v>
                </c:pt>
                <c:pt idx="17">
                  <c:v>3.0938261489734766</c:v>
                </c:pt>
                <c:pt idx="18">
                  <c:v>2.685080095367951</c:v>
                </c:pt>
                <c:pt idx="19">
                  <c:v>2.6114235407381727</c:v>
                </c:pt>
                <c:pt idx="20">
                  <c:v>2.25118161068409</c:v>
                </c:pt>
                <c:pt idx="21">
                  <c:v>2.913362565631162</c:v>
                </c:pt>
                <c:pt idx="22">
                  <c:v>4.3676627573891915</c:v>
                </c:pt>
                <c:pt idx="23">
                  <c:v>3.5202586938038802</c:v>
                </c:pt>
                <c:pt idx="24">
                  <c:v>2.851336013453659</c:v>
                </c:pt>
                <c:pt idx="25">
                  <c:v>4.601483842338912</c:v>
                </c:pt>
                <c:pt idx="26">
                  <c:v>5.563311140044167</c:v>
                </c:pt>
                <c:pt idx="27">
                  <c:v>2.2981570231447823</c:v>
                </c:pt>
                <c:pt idx="28">
                  <c:v>4.753715244649433</c:v>
                </c:pt>
                <c:pt idx="29">
                  <c:v>2.6112426798236577</c:v>
                </c:pt>
                <c:pt idx="30">
                  <c:v>3.384970313036975</c:v>
                </c:pt>
                <c:pt idx="31">
                  <c:v>3.866024789987967</c:v>
                </c:pt>
                <c:pt idx="32">
                  <c:v>2.361021824872408</c:v>
                </c:pt>
                <c:pt idx="33">
                  <c:v>2.3746096686280636</c:v>
                </c:pt>
                <c:pt idx="34">
                  <c:v>2.4652597286237636</c:v>
                </c:pt>
                <c:pt idx="35">
                  <c:v>4.335248229573026</c:v>
                </c:pt>
                <c:pt idx="36">
                  <c:v>3.0522843056872238</c:v>
                </c:pt>
                <c:pt idx="37">
                  <c:v>5.127217623658078</c:v>
                </c:pt>
                <c:pt idx="38">
                  <c:v>3.7676247954242292</c:v>
                </c:pt>
                <c:pt idx="39">
                  <c:v>3.7929943589977224</c:v>
                </c:pt>
                <c:pt idx="40">
                  <c:v>3.57854902770866</c:v>
                </c:pt>
                <c:pt idx="41">
                  <c:v>7.173376845754675</c:v>
                </c:pt>
                <c:pt idx="42">
                  <c:v>3.6593895096512394</c:v>
                </c:pt>
                <c:pt idx="43">
                  <c:v>2.7205157971580345</c:v>
                </c:pt>
                <c:pt idx="44">
                  <c:v>3.073030328597232</c:v>
                </c:pt>
                <c:pt idx="45">
                  <c:v>2.939895331506492</c:v>
                </c:pt>
                <c:pt idx="46">
                  <c:v>2.696542419694797</c:v>
                </c:pt>
                <c:pt idx="47">
                  <c:v>3.170017092699901</c:v>
                </c:pt>
                <c:pt idx="48">
                  <c:v>2.344887472602182</c:v>
                </c:pt>
                <c:pt idx="49">
                  <c:v>2.5882885532797455</c:v>
                </c:pt>
                <c:pt idx="50">
                  <c:v>2.9593840678193817</c:v>
                </c:pt>
                <c:pt idx="51">
                  <c:v>3.0055321661955077</c:v>
                </c:pt>
                <c:pt idx="52">
                  <c:v>2.312014120351127</c:v>
                </c:pt>
                <c:pt idx="53">
                  <c:v>2.3083194706056234</c:v>
                </c:pt>
                <c:pt idx="54">
                  <c:v>2.7344730614971433</c:v>
                </c:pt>
                <c:pt idx="55">
                  <c:v>9.830511302339696</c:v>
                </c:pt>
                <c:pt idx="56">
                  <c:v>4.0345672485116495</c:v>
                </c:pt>
                <c:pt idx="57">
                  <c:v>6.8046336438488515</c:v>
                </c:pt>
                <c:pt idx="58">
                  <c:v>3.1493155650329814</c:v>
                </c:pt>
                <c:pt idx="59">
                  <c:v>2.6594411260948747</c:v>
                </c:pt>
                <c:pt idx="60">
                  <c:v>2.6444665996699728</c:v>
                </c:pt>
                <c:pt idx="61">
                  <c:v>2.505531406531374</c:v>
                </c:pt>
                <c:pt idx="62">
                  <c:v>2.2490235863447614</c:v>
                </c:pt>
                <c:pt idx="63">
                  <c:v>1.8611547930089927</c:v>
                </c:pt>
                <c:pt idx="64">
                  <c:v>1.9568616786320128</c:v>
                </c:pt>
                <c:pt idx="65">
                  <c:v>4.187286117550583</c:v>
                </c:pt>
                <c:pt idx="66">
                  <c:v>6.455902720092117</c:v>
                </c:pt>
                <c:pt idx="67">
                  <c:v>3.7946865647170367</c:v>
                </c:pt>
                <c:pt idx="68">
                  <c:v>11.372183239865986</c:v>
                </c:pt>
                <c:pt idx="69">
                  <c:v>3.6775387467185334</c:v>
                </c:pt>
                <c:pt idx="70">
                  <c:v>3.63506977135862</c:v>
                </c:pt>
                <c:pt idx="71">
                  <c:v>3.916880996206471</c:v>
                </c:pt>
                <c:pt idx="72">
                  <c:v>3.8263886828582407</c:v>
                </c:pt>
                <c:pt idx="73">
                  <c:v>3.7523085165100674</c:v>
                </c:pt>
                <c:pt idx="74">
                  <c:v>3.6486505962335047</c:v>
                </c:pt>
                <c:pt idx="75">
                  <c:v>5.486511337663058</c:v>
                </c:pt>
                <c:pt idx="76">
                  <c:v>5.640134921006764</c:v>
                </c:pt>
                <c:pt idx="77">
                  <c:v>2.7825925673288854</c:v>
                </c:pt>
                <c:pt idx="78">
                  <c:v>14.387994567043437</c:v>
                </c:pt>
                <c:pt idx="79">
                  <c:v>12.117848258582036</c:v>
                </c:pt>
                <c:pt idx="80">
                  <c:v>12.204102371452157</c:v>
                </c:pt>
                <c:pt idx="81">
                  <c:v>8.624406130886985</c:v>
                </c:pt>
                <c:pt idx="82">
                  <c:v>10.208434328541468</c:v>
                </c:pt>
                <c:pt idx="83">
                  <c:v>12.347258836647383</c:v>
                </c:pt>
                <c:pt idx="84">
                  <c:v>4.438804706503601</c:v>
                </c:pt>
                <c:pt idx="85">
                  <c:v>7.701113882828622</c:v>
                </c:pt>
                <c:pt idx="86">
                  <c:v>3.8813246374906094</c:v>
                </c:pt>
                <c:pt idx="87">
                  <c:v>7.056969985026875</c:v>
                </c:pt>
              </c:numCache>
            </c:numRef>
          </c:xVal>
          <c:yVal>
            <c:numRef>
              <c:f>Sheet1!$B$2:$B$89</c:f>
              <c:numCache>
                <c:formatCode>General</c:formatCode>
                <c:ptCount val="88"/>
                <c:pt idx="0">
                  <c:v>0.003424657534246575</c:v>
                </c:pt>
                <c:pt idx="1">
                  <c:v>0.0008351893095768374</c:v>
                </c:pt>
                <c:pt idx="2">
                  <c:v>0.0008551881413911061</c:v>
                </c:pt>
                <c:pt idx="3">
                  <c:v>0.0005715918833952558</c:v>
                </c:pt>
                <c:pt idx="4">
                  <c:v>0.0006345177664974619</c:v>
                </c:pt>
                <c:pt idx="5">
                  <c:v>0.001839587932303164</c:v>
                </c:pt>
                <c:pt idx="6">
                  <c:v>0.0020646937370956643</c:v>
                </c:pt>
                <c:pt idx="7">
                  <c:v>0.0027955271565495207</c:v>
                </c:pt>
                <c:pt idx="8">
                  <c:v>0.0015527950310559005</c:v>
                </c:pt>
                <c:pt idx="9">
                  <c:v>0.0020711080428028996</c:v>
                </c:pt>
                <c:pt idx="10">
                  <c:v>0.0010053619302949062</c:v>
                </c:pt>
                <c:pt idx="11">
                  <c:v>0.002213788741302973</c:v>
                </c:pt>
                <c:pt idx="12">
                  <c:v>0.0016456390565002743</c:v>
                </c:pt>
                <c:pt idx="13">
                  <c:v>0.0018981335020563112</c:v>
                </c:pt>
                <c:pt idx="14">
                  <c:v>0.0006343165239454488</c:v>
                </c:pt>
                <c:pt idx="15">
                  <c:v>0.0017921146953405018</c:v>
                </c:pt>
                <c:pt idx="16">
                  <c:v>0.0016666666666666668</c:v>
                </c:pt>
                <c:pt idx="17">
                  <c:v>0.0012897678417884782</c:v>
                </c:pt>
                <c:pt idx="18">
                  <c:v>0.0019144862795149968</c:v>
                </c:pt>
                <c:pt idx="19">
                  <c:v>0.0018281535648994515</c:v>
                </c:pt>
                <c:pt idx="20">
                  <c:v>0.0010787486515641855</c:v>
                </c:pt>
                <c:pt idx="21">
                  <c:v>0.0030921459492888066</c:v>
                </c:pt>
                <c:pt idx="22">
                  <c:v>0.0019292604501607716</c:v>
                </c:pt>
                <c:pt idx="23">
                  <c:v>0.0029533372711163615</c:v>
                </c:pt>
                <c:pt idx="24">
                  <c:v>0.004807692307692308</c:v>
                </c:pt>
                <c:pt idx="25">
                  <c:v>0.0027114967462039045</c:v>
                </c:pt>
                <c:pt idx="26">
                  <c:v>0.0011092623405435386</c:v>
                </c:pt>
                <c:pt idx="27">
                  <c:v>0.0027548209366391185</c:v>
                </c:pt>
                <c:pt idx="28">
                  <c:v>0.002081165452653486</c:v>
                </c:pt>
                <c:pt idx="29">
                  <c:v>0.0024875621890547263</c:v>
                </c:pt>
                <c:pt idx="30">
                  <c:v>0.0025673940949935813</c:v>
                </c:pt>
                <c:pt idx="31">
                  <c:v>0.00202020202020202</c:v>
                </c:pt>
                <c:pt idx="32">
                  <c:v>0.005743825387708214</c:v>
                </c:pt>
                <c:pt idx="33">
                  <c:v>0.006097560975609756</c:v>
                </c:pt>
                <c:pt idx="34">
                  <c:v>0.004834254143646409</c:v>
                </c:pt>
                <c:pt idx="35">
                  <c:v>0.0017777777777777779</c:v>
                </c:pt>
                <c:pt idx="36">
                  <c:v>0.002271436683702442</c:v>
                </c:pt>
                <c:pt idx="37">
                  <c:v>0.0010845986984815619</c:v>
                </c:pt>
                <c:pt idx="38">
                  <c:v>0.002368265245707519</c:v>
                </c:pt>
                <c:pt idx="39">
                  <c:v>0.0014347202295552368</c:v>
                </c:pt>
                <c:pt idx="40">
                  <c:v>0.0016163793103448276</c:v>
                </c:pt>
                <c:pt idx="41">
                  <c:v>0.00043047783039173483</c:v>
                </c:pt>
                <c:pt idx="42">
                  <c:v>0.0014847809948032665</c:v>
                </c:pt>
                <c:pt idx="43">
                  <c:v>0.00202487706103558</c:v>
                </c:pt>
                <c:pt idx="44">
                  <c:v>0.0013838915029061722</c:v>
                </c:pt>
                <c:pt idx="45">
                  <c:v>0.003016177680285166</c:v>
                </c:pt>
                <c:pt idx="46">
                  <c:v>0.003564573622155196</c:v>
                </c:pt>
                <c:pt idx="47">
                  <c:v>0.002004811547714515</c:v>
                </c:pt>
                <c:pt idx="48">
                  <c:v>0.002232729183083793</c:v>
                </c:pt>
                <c:pt idx="49">
                  <c:v>0.0027378507871321013</c:v>
                </c:pt>
                <c:pt idx="50">
                  <c:v>0.002617801047120419</c:v>
                </c:pt>
                <c:pt idx="51">
                  <c:v>0.0008378718056137411</c:v>
                </c:pt>
                <c:pt idx="52">
                  <c:v>0.001509206157561123</c:v>
                </c:pt>
                <c:pt idx="53">
                  <c:v>0.00335345405767941</c:v>
                </c:pt>
                <c:pt idx="54">
                  <c:v>0.0017972681524083393</c:v>
                </c:pt>
                <c:pt idx="55">
                  <c:v>0.0003284072249589491</c:v>
                </c:pt>
                <c:pt idx="56">
                  <c:v>0.0006238303181534623</c:v>
                </c:pt>
                <c:pt idx="57">
                  <c:v>0.000277623542476402</c:v>
                </c:pt>
                <c:pt idx="58">
                  <c:v>0.0007090941322460556</c:v>
                </c:pt>
                <c:pt idx="59">
                  <c:v>0.0007457121551081282</c:v>
                </c:pt>
                <c:pt idx="60">
                  <c:v>0.0013333333333333333</c:v>
                </c:pt>
                <c:pt idx="61">
                  <c:v>0.0010778765831312314</c:v>
                </c:pt>
                <c:pt idx="62">
                  <c:v>0.0014061401453011485</c:v>
                </c:pt>
                <c:pt idx="63">
                  <c:v>0.0020352781546811396</c:v>
                </c:pt>
                <c:pt idx="64">
                  <c:v>0.0012025012025012026</c:v>
                </c:pt>
                <c:pt idx="65">
                  <c:v>0.00027831895352073476</c:v>
                </c:pt>
                <c:pt idx="66">
                  <c:v>0.00028514399771884804</c:v>
                </c:pt>
                <c:pt idx="67">
                  <c:v>0.000888494002665482</c:v>
                </c:pt>
                <c:pt idx="68">
                  <c:v>0.00040567951318458417</c:v>
                </c:pt>
                <c:pt idx="69">
                  <c:v>0.0020458265139116204</c:v>
                </c:pt>
                <c:pt idx="70">
                  <c:v>0.0029154518950437317</c:v>
                </c:pt>
                <c:pt idx="71">
                  <c:v>0.0025614754098360654</c:v>
                </c:pt>
                <c:pt idx="72">
                  <c:v>0.002635740643120717</c:v>
                </c:pt>
                <c:pt idx="73">
                  <c:v>0.0026232948583420775</c:v>
                </c:pt>
                <c:pt idx="74">
                  <c:v>0.004161712247324614</c:v>
                </c:pt>
                <c:pt idx="75">
                  <c:v>0.0030321406913280777</c:v>
                </c:pt>
                <c:pt idx="76">
                  <c:v>0.0024110910186859553</c:v>
                </c:pt>
                <c:pt idx="77">
                  <c:v>0.005583756345177665</c:v>
                </c:pt>
                <c:pt idx="78">
                  <c:v>0.0006199628022318661</c:v>
                </c:pt>
                <c:pt idx="79">
                  <c:v>0.0007905138339920949</c:v>
                </c:pt>
                <c:pt idx="80">
                  <c:v>0.0007974481658692185</c:v>
                </c:pt>
                <c:pt idx="81">
                  <c:v>0.00025464731347084286</c:v>
                </c:pt>
                <c:pt idx="82">
                  <c:v>0.0002011667672500503</c:v>
                </c:pt>
                <c:pt idx="83">
                  <c:v>0.0001261193088661874</c:v>
                </c:pt>
                <c:pt idx="84">
                  <c:v>0.00045351473922902497</c:v>
                </c:pt>
                <c:pt idx="85">
                  <c:v>0.00023969319271332693</c:v>
                </c:pt>
                <c:pt idx="86">
                  <c:v>0.0007351139426611125</c:v>
                </c:pt>
                <c:pt idx="87">
                  <c:v>0.0002690341673392521</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7.143904254819692</c:v>
                </c:pt>
                <c:pt idx="21">
                  <c:v>4.056088841135236</c:v>
                </c:pt>
                <c:pt idx="22">
                  <c:v>0.0</c:v>
                </c:pt>
                <c:pt idx="23">
                  <c:v>0.0</c:v>
                </c:pt>
                <c:pt idx="24">
                  <c:v>6.114330832668482</c:v>
                </c:pt>
                <c:pt idx="25">
                  <c:v>0.0</c:v>
                </c:pt>
                <c:pt idx="26">
                  <c:v>3.2131778367659036</c:v>
                </c:pt>
                <c:pt idx="27">
                  <c:v>4.715977677792293</c:v>
                </c:pt>
                <c:pt idx="28">
                  <c:v>5.554392023294667</c:v>
                </c:pt>
                <c:pt idx="29">
                  <c:v>0.0</c:v>
                </c:pt>
                <c:pt idx="30">
                  <c:v>0.0</c:v>
                </c:pt>
                <c:pt idx="31">
                  <c:v>8.66941663261136</c:v>
                </c:pt>
                <c:pt idx="32">
                  <c:v>7.580704257484979</c:v>
                </c:pt>
                <c:pt idx="33">
                  <c:v>7.329133956611553</c:v>
                </c:pt>
                <c:pt idx="34">
                  <c:v>0.0</c:v>
                </c:pt>
                <c:pt idx="35">
                  <c:v>0.0</c:v>
                </c:pt>
                <c:pt idx="36">
                  <c:v>7.557626741471924</c:v>
                </c:pt>
                <c:pt idx="37">
                  <c:v>0.0</c:v>
                </c:pt>
                <c:pt idx="38">
                  <c:v>4.383344233389044</c:v>
                </c:pt>
                <c:pt idx="39">
                  <c:v>3.3936376162278656</c:v>
                </c:pt>
                <c:pt idx="40">
                  <c:v>3.990208536255999</c:v>
                </c:pt>
                <c:pt idx="41">
                  <c:v>7.018018725588532</c:v>
                </c:pt>
                <c:pt idx="42">
                  <c:v>3.2151911955420056</c:v>
                </c:pt>
                <c:pt idx="43">
                  <c:v>2.9585563517500817</c:v>
                </c:pt>
                <c:pt idx="44">
                  <c:v>3.4996911409115152</c:v>
                </c:pt>
                <c:pt idx="45">
                  <c:v>5.317779019630347</c:v>
                </c:pt>
                <c:pt idx="46">
                  <c:v>4.0434662866100535</c:v>
                </c:pt>
                <c:pt idx="47">
                  <c:v>4.534072127397241</c:v>
                </c:pt>
                <c:pt idx="48">
                  <c:v>0.0</c:v>
                </c:pt>
                <c:pt idx="49">
                  <c:v>3.908411946619174</c:v>
                </c:pt>
                <c:pt idx="50">
                  <c:v>1.5006795725109903</c:v>
                </c:pt>
                <c:pt idx="51">
                  <c:v>1.282650339567486</c:v>
                </c:pt>
                <c:pt idx="52">
                  <c:v>2.2225934679255386</c:v>
                </c:pt>
                <c:pt idx="53">
                  <c:v>0.0</c:v>
                </c:pt>
                <c:pt idx="54">
                  <c:v>0.0</c:v>
                </c:pt>
                <c:pt idx="55">
                  <c:v>0.0</c:v>
                </c:pt>
                <c:pt idx="56">
                  <c:v>0.0</c:v>
                </c:pt>
                <c:pt idx="57">
                  <c:v>8.138859123947071</c:v>
                </c:pt>
                <c:pt idx="58">
                  <c:v>5.951147147231419</c:v>
                </c:pt>
                <c:pt idx="59">
                  <c:v>7.413799374637055</c:v>
                </c:pt>
                <c:pt idx="60">
                  <c:v>0.0</c:v>
                </c:pt>
                <c:pt idx="61">
                  <c:v>0.0</c:v>
                </c:pt>
                <c:pt idx="62">
                  <c:v>0.0</c:v>
                </c:pt>
                <c:pt idx="63">
                  <c:v>0.0</c:v>
                </c:pt>
                <c:pt idx="64">
                  <c:v>0.0</c:v>
                </c:pt>
                <c:pt idx="65">
                  <c:v>0.0</c:v>
                </c:pt>
                <c:pt idx="66">
                  <c:v>0.0</c:v>
                </c:pt>
                <c:pt idx="67">
                  <c:v>2.990881416325562</c:v>
                </c:pt>
                <c:pt idx="68">
                  <c:v>9.11690092939502</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0023342670401493932</c:v>
                </c:pt>
                <c:pt idx="21">
                  <c:v>0.0005215123859191656</c:v>
                </c:pt>
                <c:pt idx="22">
                  <c:v>0.0</c:v>
                </c:pt>
                <c:pt idx="23">
                  <c:v>0.0</c:v>
                </c:pt>
                <c:pt idx="24">
                  <c:v>0.0004462293618920125</c:v>
                </c:pt>
                <c:pt idx="25">
                  <c:v>0.0</c:v>
                </c:pt>
                <c:pt idx="26">
                  <c:v>0.0007457121551081282</c:v>
                </c:pt>
                <c:pt idx="27">
                  <c:v>0.00035112359550561797</c:v>
                </c:pt>
                <c:pt idx="28">
                  <c:v>0.0006024096385542169</c:v>
                </c:pt>
                <c:pt idx="29">
                  <c:v>0.0</c:v>
                </c:pt>
                <c:pt idx="30">
                  <c:v>0.0</c:v>
                </c:pt>
                <c:pt idx="31">
                  <c:v>0.00033886818027787193</c:v>
                </c:pt>
                <c:pt idx="32">
                  <c:v>0.00034674063800277393</c:v>
                </c:pt>
                <c:pt idx="33">
                  <c:v>0.0008016032064128256</c:v>
                </c:pt>
                <c:pt idx="34">
                  <c:v>0.0</c:v>
                </c:pt>
                <c:pt idx="35">
                  <c:v>0.0</c:v>
                </c:pt>
                <c:pt idx="36">
                  <c:v>0.00041649312786339027</c:v>
                </c:pt>
                <c:pt idx="37">
                  <c:v>0.0</c:v>
                </c:pt>
                <c:pt idx="38">
                  <c:v>0.0013157894736842105</c:v>
                </c:pt>
                <c:pt idx="39">
                  <c:v>0.0012804097311139564</c:v>
                </c:pt>
                <c:pt idx="40">
                  <c:v>0.0005580357142857143</c:v>
                </c:pt>
                <c:pt idx="41">
                  <c:v>0.0005382131324004305</c:v>
                </c:pt>
                <c:pt idx="42">
                  <c:v>0.0016375545851528383</c:v>
                </c:pt>
                <c:pt idx="43">
                  <c:v>0.00267379679144385</c:v>
                </c:pt>
                <c:pt idx="44">
                  <c:v>0.001010611419909045</c:v>
                </c:pt>
                <c:pt idx="45">
                  <c:v>0.0010050251256281408</c:v>
                </c:pt>
                <c:pt idx="46">
                  <c:v>0.0011983223487118035</c:v>
                </c:pt>
                <c:pt idx="47">
                  <c:v>0.0006075334143377885</c:v>
                </c:pt>
                <c:pt idx="48">
                  <c:v>0.0</c:v>
                </c:pt>
                <c:pt idx="49">
                  <c:v>0.0007283321194464676</c:v>
                </c:pt>
                <c:pt idx="50">
                  <c:v>0.002616088947024199</c:v>
                </c:pt>
                <c:pt idx="51">
                  <c:v>0.0021043771043771043</c:v>
                </c:pt>
                <c:pt idx="52">
                  <c:v>0.0021579628830384117</c:v>
                </c:pt>
                <c:pt idx="53">
                  <c:v>0.0</c:v>
                </c:pt>
                <c:pt idx="54">
                  <c:v>0.0</c:v>
                </c:pt>
                <c:pt idx="55">
                  <c:v>0.0</c:v>
                </c:pt>
                <c:pt idx="56">
                  <c:v>0.0</c:v>
                </c:pt>
                <c:pt idx="57">
                  <c:v>0.0005452562704471102</c:v>
                </c:pt>
                <c:pt idx="58">
                  <c:v>0.0005189413596263622</c:v>
                </c:pt>
                <c:pt idx="59">
                  <c:v>0.0005830903790087463</c:v>
                </c:pt>
                <c:pt idx="60">
                  <c:v>0.0</c:v>
                </c:pt>
                <c:pt idx="61">
                  <c:v>0.0</c:v>
                </c:pt>
                <c:pt idx="62">
                  <c:v>0.0</c:v>
                </c:pt>
                <c:pt idx="63">
                  <c:v>0.0</c:v>
                </c:pt>
                <c:pt idx="64">
                  <c:v>0.0</c:v>
                </c:pt>
                <c:pt idx="65">
                  <c:v>0.0</c:v>
                </c:pt>
                <c:pt idx="66">
                  <c:v>0.0</c:v>
                </c:pt>
                <c:pt idx="67">
                  <c:v>0.0004925501785494397</c:v>
                </c:pt>
                <c:pt idx="68">
                  <c:v>0.0002145462347135807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4.622924407445254</c:v>
                </c:pt>
              </c:numCache>
            </c:numRef>
          </c:xVal>
          <c:yVal>
            <c:numRef>
              <c:f>Sheet1!$B$163:$B$164</c:f>
              <c:numCache>
                <c:formatCode>General</c:formatCode>
                <c:ptCount val="2"/>
                <c:pt idx="0">
                  <c:v>0.003104286624758969</c:v>
                </c:pt>
                <c:pt idx="1">
                  <c:v>0.00310428662475896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4.622924407445254</c:v>
                </c:pt>
                <c:pt idx="1">
                  <c:v>34.622924407445254</c:v>
                </c:pt>
              </c:numCache>
            </c:numRef>
          </c:xVal>
          <c:yVal>
            <c:numRef>
              <c:f>Sheet1!$B$167:$B$168</c:f>
              <c:numCache>
                <c:formatCode>General</c:formatCode>
                <c:ptCount val="2"/>
                <c:pt idx="0">
                  <c:v>0.00310428662475896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2.193211476423022</c:v>
                </c:pt>
              </c:numCache>
            </c:numRef>
          </c:xVal>
          <c:yVal>
            <c:numRef>
              <c:f>Sheet1!$B$171:$B$172</c:f>
              <c:numCache>
                <c:formatCode>General</c:formatCode>
                <c:ptCount val="2"/>
                <c:pt idx="0">
                  <c:v>0.00122756157183318</c:v>
                </c:pt>
                <c:pt idx="1">
                  <c:v>0.0012275615718331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2.193211476423022</c:v>
                </c:pt>
                <c:pt idx="1">
                  <c:v>12.193211476423022</c:v>
                </c:pt>
              </c:numCache>
            </c:numRef>
          </c:xVal>
          <c:yVal>
            <c:numRef>
              <c:f>Sheet1!$B$175:$B$176</c:f>
              <c:numCache>
                <c:formatCode>General</c:formatCode>
                <c:ptCount val="2"/>
                <c:pt idx="0">
                  <c:v>0.001227561571833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135150437036505</c:v>
                </c:pt>
              </c:numCache>
            </c:numRef>
          </c:xVal>
          <c:yVal>
            <c:numRef>
              <c:f>Sheet1!$B$179:$B$180</c:f>
              <c:numCache>
                <c:formatCode>General</c:formatCode>
                <c:ptCount val="2"/>
                <c:pt idx="0">
                  <c:v>0.00018110649402655686</c:v>
                </c:pt>
                <c:pt idx="1">
                  <c:v>0.0001811064940265568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135150437036505</c:v>
                </c:pt>
                <c:pt idx="1">
                  <c:v>-0.3135150437036505</c:v>
                </c:pt>
              </c:numCache>
            </c:numRef>
          </c:xVal>
          <c:yVal>
            <c:numRef>
              <c:f>Sheet1!$B$183:$B$184</c:f>
              <c:numCache>
                <c:formatCode>General</c:formatCode>
                <c:ptCount val="2"/>
                <c:pt idx="0">
                  <c:v>0.000181106494026556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7.143904254819692</c:v>
                </c:pt>
                <c:pt idx="21">
                  <c:v>4.056088841135236</c:v>
                </c:pt>
                <c:pt idx="22">
                  <c:v>0.0</c:v>
                </c:pt>
                <c:pt idx="23">
                  <c:v>0.0</c:v>
                </c:pt>
                <c:pt idx="24">
                  <c:v>6.114330832668482</c:v>
                </c:pt>
                <c:pt idx="25">
                  <c:v>0.0</c:v>
                </c:pt>
                <c:pt idx="26">
                  <c:v>3.2131778367659036</c:v>
                </c:pt>
                <c:pt idx="27">
                  <c:v>4.715977677792293</c:v>
                </c:pt>
                <c:pt idx="28">
                  <c:v>5.554392023294667</c:v>
                </c:pt>
                <c:pt idx="29">
                  <c:v>0.0</c:v>
                </c:pt>
                <c:pt idx="30">
                  <c:v>0.0</c:v>
                </c:pt>
                <c:pt idx="31">
                  <c:v>8.66941663261136</c:v>
                </c:pt>
                <c:pt idx="32">
                  <c:v>7.580704257484979</c:v>
                </c:pt>
                <c:pt idx="33">
                  <c:v>7.329133956611553</c:v>
                </c:pt>
                <c:pt idx="34">
                  <c:v>0.0</c:v>
                </c:pt>
                <c:pt idx="35">
                  <c:v>0.0</c:v>
                </c:pt>
                <c:pt idx="36">
                  <c:v>7.557626741471924</c:v>
                </c:pt>
                <c:pt idx="37">
                  <c:v>0.0</c:v>
                </c:pt>
                <c:pt idx="38">
                  <c:v>4.383344233389044</c:v>
                </c:pt>
                <c:pt idx="39">
                  <c:v>3.3936376162278656</c:v>
                </c:pt>
                <c:pt idx="40">
                  <c:v>3.990208536255999</c:v>
                </c:pt>
                <c:pt idx="41">
                  <c:v>7.018018725588532</c:v>
                </c:pt>
                <c:pt idx="42">
                  <c:v>3.2151911955420056</c:v>
                </c:pt>
                <c:pt idx="43">
                  <c:v>2.9585563517500817</c:v>
                </c:pt>
                <c:pt idx="44">
                  <c:v>3.4996911409115152</c:v>
                </c:pt>
                <c:pt idx="45">
                  <c:v>5.317779019630347</c:v>
                </c:pt>
                <c:pt idx="46">
                  <c:v>4.0434662866100535</c:v>
                </c:pt>
                <c:pt idx="47">
                  <c:v>4.534072127397241</c:v>
                </c:pt>
                <c:pt idx="48">
                  <c:v>0.0</c:v>
                </c:pt>
                <c:pt idx="49">
                  <c:v>3.908411946619174</c:v>
                </c:pt>
                <c:pt idx="50">
                  <c:v>1.5006795725109903</c:v>
                </c:pt>
                <c:pt idx="51">
                  <c:v>1.282650339567486</c:v>
                </c:pt>
                <c:pt idx="52">
                  <c:v>2.2225934679255386</c:v>
                </c:pt>
                <c:pt idx="53">
                  <c:v>0.0</c:v>
                </c:pt>
                <c:pt idx="54">
                  <c:v>0.0</c:v>
                </c:pt>
                <c:pt idx="55">
                  <c:v>0.0</c:v>
                </c:pt>
                <c:pt idx="56">
                  <c:v>0.0</c:v>
                </c:pt>
                <c:pt idx="57">
                  <c:v>8.138859123947071</c:v>
                </c:pt>
                <c:pt idx="58">
                  <c:v>5.951147147231419</c:v>
                </c:pt>
                <c:pt idx="59">
                  <c:v>7.413799374637055</c:v>
                </c:pt>
                <c:pt idx="60">
                  <c:v>0.0</c:v>
                </c:pt>
                <c:pt idx="61">
                  <c:v>0.0</c:v>
                </c:pt>
                <c:pt idx="62">
                  <c:v>0.0</c:v>
                </c:pt>
                <c:pt idx="63">
                  <c:v>0.0</c:v>
                </c:pt>
                <c:pt idx="64">
                  <c:v>0.0</c:v>
                </c:pt>
                <c:pt idx="65">
                  <c:v>0.0</c:v>
                </c:pt>
                <c:pt idx="66">
                  <c:v>0.0</c:v>
                </c:pt>
                <c:pt idx="67">
                  <c:v>2.990881416325562</c:v>
                </c:pt>
                <c:pt idx="68">
                  <c:v>9.11690092939502</c:v>
                </c:pt>
                <c:pt idx="69">
                  <c:v>12.193211476423022</c:v>
                </c:pt>
                <c:pt idx="70">
                  <c:v>34.622924407445254</c:v>
                </c:pt>
                <c:pt idx="71">
                  <c:v>-0.3135150437036505</c:v>
                </c:pt>
              </c:numCache>
            </c:numRef>
          </c:xVal>
          <c:yVal>
            <c:numRef>
              <c:f>Sheet1!$B$187:$B$258</c:f>
              <c:numCache>
                <c:formatCode>General</c:formatCode>
                <c:ptCount val="72"/>
                <c:pt idx="0">
                  <c:v>0.00020733873064934403</c:v>
                </c:pt>
                <c:pt idx="1">
                  <c:v>0.00020733873064934403</c:v>
                </c:pt>
                <c:pt idx="2">
                  <c:v>0.00020733873064934403</c:v>
                </c:pt>
                <c:pt idx="3">
                  <c:v>0.00020733873064934403</c:v>
                </c:pt>
                <c:pt idx="4">
                  <c:v>0.00020733873064934403</c:v>
                </c:pt>
                <c:pt idx="5">
                  <c:v>0.00020733873064934403</c:v>
                </c:pt>
                <c:pt idx="6">
                  <c:v>0.00020733873064934403</c:v>
                </c:pt>
                <c:pt idx="7">
                  <c:v>0.00020733873064934403</c:v>
                </c:pt>
                <c:pt idx="8">
                  <c:v>0.00020733873064934403</c:v>
                </c:pt>
                <c:pt idx="9">
                  <c:v>0.00020733873064934403</c:v>
                </c:pt>
                <c:pt idx="10">
                  <c:v>0.00020733873064934403</c:v>
                </c:pt>
                <c:pt idx="11">
                  <c:v>0.00020733873064934403</c:v>
                </c:pt>
                <c:pt idx="12">
                  <c:v>0.00020733873064934403</c:v>
                </c:pt>
                <c:pt idx="13">
                  <c:v>0.00020733873064934403</c:v>
                </c:pt>
                <c:pt idx="14">
                  <c:v>0.00020733873064934403</c:v>
                </c:pt>
                <c:pt idx="15">
                  <c:v>0.00020733873064934403</c:v>
                </c:pt>
                <c:pt idx="16">
                  <c:v>0.00020733873064934403</c:v>
                </c:pt>
                <c:pt idx="17">
                  <c:v>0.00020733873064934403</c:v>
                </c:pt>
                <c:pt idx="18">
                  <c:v>0.00020733873064934403</c:v>
                </c:pt>
                <c:pt idx="19">
                  <c:v>0.00020733873064934403</c:v>
                </c:pt>
                <c:pt idx="20">
                  <c:v>0.0008050790642841992</c:v>
                </c:pt>
                <c:pt idx="21">
                  <c:v>0.0005467172848225874</c:v>
                </c:pt>
                <c:pt idx="22">
                  <c:v>0.00020733873064934403</c:v>
                </c:pt>
                <c:pt idx="23">
                  <c:v>0.00020733873064934403</c:v>
                </c:pt>
                <c:pt idx="24">
                  <c:v>0.0007189332343701088</c:v>
                </c:pt>
                <c:pt idx="25">
                  <c:v>0.00020733873064934403</c:v>
                </c:pt>
                <c:pt idx="26">
                  <c:v>0.0004761897571564244</c:v>
                </c:pt>
                <c:pt idx="27">
                  <c:v>0.0006019310949907727</c:v>
                </c:pt>
                <c:pt idx="28">
                  <c:v>0.0006720823810003423</c:v>
                </c:pt>
                <c:pt idx="29">
                  <c:v>0.00020733873064934403</c:v>
                </c:pt>
                <c:pt idx="30">
                  <c:v>0.00020733873064934403</c:v>
                </c:pt>
                <c:pt idx="31">
                  <c:v>0.0009327207914322218</c:v>
                </c:pt>
                <c:pt idx="32">
                  <c:v>0.0008416267236608917</c:v>
                </c:pt>
                <c:pt idx="33">
                  <c:v>0.0008205774892068812</c:v>
                </c:pt>
                <c:pt idx="34">
                  <c:v>0.00020733873064934403</c:v>
                </c:pt>
                <c:pt idx="35">
                  <c:v>0.00020733873064934403</c:v>
                </c:pt>
                <c:pt idx="36">
                  <c:v>0.0008396957960295756</c:v>
                </c:pt>
                <c:pt idx="37">
                  <c:v>0.00020733873064934403</c:v>
                </c:pt>
                <c:pt idx="38">
                  <c:v>0.0005740991953818764</c:v>
                </c:pt>
                <c:pt idx="39">
                  <c:v>0.000491289076091234</c:v>
                </c:pt>
                <c:pt idx="40">
                  <c:v>0.0005412049887427634</c:v>
                </c:pt>
                <c:pt idx="41">
                  <c:v>0.0007945460482248548</c:v>
                </c:pt>
                <c:pt idx="42">
                  <c:v>0.00047635821766536</c:v>
                </c:pt>
                <c:pt idx="43">
                  <c:v>0.0004548852259120032</c:v>
                </c:pt>
                <c:pt idx="44">
                  <c:v>0.0005001627209451371</c:v>
                </c:pt>
                <c:pt idx="45">
                  <c:v>0.000652284644257547</c:v>
                </c:pt>
                <c:pt idx="46">
                  <c:v>0.0005456611382556572</c:v>
                </c:pt>
                <c:pt idx="47">
                  <c:v>0.000586710806405604</c:v>
                </c:pt>
                <c:pt idx="48">
                  <c:v>0.00020733873064934403</c:v>
                </c:pt>
                <c:pt idx="49">
                  <c:v>0.0005343609551393282</c:v>
                </c:pt>
                <c:pt idx="50">
                  <c:v>0.00033290266268924386</c:v>
                </c:pt>
                <c:pt idx="51">
                  <c:v>0.0003146598557039911</c:v>
                </c:pt>
                <c:pt idx="52">
                  <c:v>0.0003933061951707442</c:v>
                </c:pt>
                <c:pt idx="53">
                  <c:v>0.00020733873064934403</c:v>
                </c:pt>
                <c:pt idx="54">
                  <c:v>0.00020733873064934403</c:v>
                </c:pt>
                <c:pt idx="55">
                  <c:v>0.00020733873064934403</c:v>
                </c:pt>
                <c:pt idx="56">
                  <c:v>0.00020733873064934403</c:v>
                </c:pt>
                <c:pt idx="57">
                  <c:v>0.0008883283120638832</c:v>
                </c:pt>
                <c:pt idx="58">
                  <c:v>0.0007052794300779938</c:v>
                </c:pt>
                <c:pt idx="59">
                  <c:v>0.0008276615616430081</c:v>
                </c:pt>
                <c:pt idx="60">
                  <c:v>0.00020733873064934403</c:v>
                </c:pt>
                <c:pt idx="61">
                  <c:v>0.00020733873064934403</c:v>
                </c:pt>
                <c:pt idx="62">
                  <c:v>0.00020733873064934403</c:v>
                </c:pt>
                <c:pt idx="63">
                  <c:v>0.00020733873064934403</c:v>
                </c:pt>
                <c:pt idx="64">
                  <c:v>0.00020733873064934403</c:v>
                </c:pt>
                <c:pt idx="65">
                  <c:v>0.00020733873064934403</c:v>
                </c:pt>
                <c:pt idx="66">
                  <c:v>0.00020733873064934403</c:v>
                </c:pt>
                <c:pt idx="67">
                  <c:v>0.00045758990870098094</c:v>
                </c:pt>
                <c:pt idx="68">
                  <c:v>0.000970162420451167</c:v>
                </c:pt>
                <c:pt idx="69">
                  <c:v>0.00122756157183318</c:v>
                </c:pt>
                <c:pt idx="70">
                  <c:v>0.003104286624758969</c:v>
                </c:pt>
                <c:pt idx="71">
                  <c:v>0.0001811064940265568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31707317073170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4387.0</c:v>
                </c:pt>
                <c:pt idx="18">
                  <c:v>3807.0</c:v>
                </c:pt>
                <c:pt idx="19">
                  <c:v>3804.25</c:v>
                </c:pt>
                <c:pt idx="20">
                  <c:v>3359.5</c:v>
                </c:pt>
                <c:pt idx="21">
                  <c:v>4369.8</c:v>
                </c:pt>
                <c:pt idx="22">
                  <c:v>6539.0</c:v>
                </c:pt>
                <c:pt idx="23">
                  <c:v>5053.4</c:v>
                </c:pt>
                <c:pt idx="24">
                  <c:v>3948.1429</c:v>
                </c:pt>
                <c:pt idx="25">
                  <c:v>6402.2</c:v>
                </c:pt>
                <c:pt idx="26">
                  <c:v>7763.5</c:v>
                </c:pt>
                <c:pt idx="27">
                  <c:v>3345.6</c:v>
                </c:pt>
                <c:pt idx="28">
                  <c:v>7017.25</c:v>
                </c:pt>
                <c:pt idx="29">
                  <c:v>3873.25</c:v>
                </c:pt>
                <c:pt idx="30">
                  <c:v>5011.5</c:v>
                </c:pt>
                <c:pt idx="31">
                  <c:v>5771.0</c:v>
                </c:pt>
                <c:pt idx="32">
                  <c:v>3461.5</c:v>
                </c:pt>
                <c:pt idx="33">
                  <c:v>3505.5833</c:v>
                </c:pt>
                <c:pt idx="34">
                  <c:v>3707.6429</c:v>
                </c:pt>
                <c:pt idx="35">
                  <c:v>6483.0</c:v>
                </c:pt>
                <c:pt idx="36">
                  <c:v>4574.5</c:v>
                </c:pt>
                <c:pt idx="37">
                  <c:v>7663.0</c:v>
                </c:pt>
                <c:pt idx="38">
                  <c:v>5601.0</c:v>
                </c:pt>
                <c:pt idx="39">
                  <c:v>5694.6667</c:v>
                </c:pt>
                <c:pt idx="40">
                  <c:v>5335.6667</c:v>
                </c:pt>
                <c:pt idx="41">
                  <c:v>10645.0</c:v>
                </c:pt>
                <c:pt idx="42">
                  <c:v>5430.5</c:v>
                </c:pt>
                <c:pt idx="43">
                  <c:v>3861.5714</c:v>
                </c:pt>
                <c:pt idx="44">
                  <c:v>4392.6</c:v>
                </c:pt>
                <c:pt idx="45">
                  <c:v>4084.4545</c:v>
                </c:pt>
                <c:pt idx="46">
                  <c:v>3682.6154</c:v>
                </c:pt>
                <c:pt idx="47">
                  <c:v>4401.9</c:v>
                </c:pt>
                <c:pt idx="48">
                  <c:v>3202.1176</c:v>
                </c:pt>
                <c:pt idx="49">
                  <c:v>3614.8333</c:v>
                </c:pt>
                <c:pt idx="50">
                  <c:v>4083.9</c:v>
                </c:pt>
                <c:pt idx="51">
                  <c:v>4174.75</c:v>
                </c:pt>
                <c:pt idx="52">
                  <c:v>3479.2</c:v>
                </c:pt>
                <c:pt idx="53">
                  <c:v>3423.5</c:v>
                </c:pt>
                <c:pt idx="54">
                  <c:v>4202.4</c:v>
                </c:pt>
                <c:pt idx="55">
                  <c:v>15202.0</c:v>
                </c:pt>
                <c:pt idx="56">
                  <c:v>6202.5</c:v>
                </c:pt>
                <c:pt idx="57">
                  <c:v>10480.0</c:v>
                </c:pt>
                <c:pt idx="58">
                  <c:v>4706.5</c:v>
                </c:pt>
                <c:pt idx="59">
                  <c:v>3925.25</c:v>
                </c:pt>
                <c:pt idx="60">
                  <c:v>3984.0</c:v>
                </c:pt>
                <c:pt idx="61">
                  <c:v>3894.25</c:v>
                </c:pt>
                <c:pt idx="62">
                  <c:v>3523.6667</c:v>
                </c:pt>
                <c:pt idx="63">
                  <c:v>2920.0</c:v>
                </c:pt>
                <c:pt idx="64">
                  <c:v>3077.6</c:v>
                </c:pt>
                <c:pt idx="65">
                  <c:v>6638.0</c:v>
                </c:pt>
                <c:pt idx="66">
                  <c:v>10119.0</c:v>
                </c:pt>
                <c:pt idx="67">
                  <c:v>5730.5</c:v>
                </c:pt>
                <c:pt idx="68">
                  <c:v>17630.0</c:v>
                </c:pt>
                <c:pt idx="69">
                  <c:v>5701.0</c:v>
                </c:pt>
                <c:pt idx="70">
                  <c:v>5620.2857</c:v>
                </c:pt>
                <c:pt idx="71">
                  <c:v>6033.2</c:v>
                </c:pt>
                <c:pt idx="72">
                  <c:v>5945.6</c:v>
                </c:pt>
                <c:pt idx="73">
                  <c:v>5831.6</c:v>
                </c:pt>
                <c:pt idx="74">
                  <c:v>5610.1429</c:v>
                </c:pt>
                <c:pt idx="75">
                  <c:v>8324.4</c:v>
                </c:pt>
                <c:pt idx="76">
                  <c:v>8366.5</c:v>
                </c:pt>
                <c:pt idx="77">
                  <c:v>4291.4545</c:v>
                </c:pt>
                <c:pt idx="78">
                  <c:v>22182.0</c:v>
                </c:pt>
                <c:pt idx="79">
                  <c:v>18169.0</c:v>
                </c:pt>
                <c:pt idx="80">
                  <c:v>17887.0</c:v>
                </c:pt>
                <c:pt idx="81">
                  <c:v>11855.0</c:v>
                </c:pt>
                <c:pt idx="82">
                  <c:v>14450.0</c:v>
                </c:pt>
                <c:pt idx="83">
                  <c:v>17175.0</c:v>
                </c:pt>
                <c:pt idx="84">
                  <c:v>6509.5</c:v>
                </c:pt>
                <c:pt idx="85">
                  <c:v>11668.0</c:v>
                </c:pt>
                <c:pt idx="86">
                  <c:v>5744.6667</c:v>
                </c:pt>
                <c:pt idx="87">
                  <c:v>10423.0</c:v>
                </c:pt>
              </c:numCache>
            </c:numRef>
          </c:xVal>
          <c:yVal>
            <c:numRef>
              <c:f>Sheet1!$B$2:$B$89</c:f>
              <c:numCache>
                <c:formatCode>General</c:formatCode>
                <c:ptCount val="88"/>
                <c:pt idx="0">
                  <c:v>0.003424657534246575</c:v>
                </c:pt>
                <c:pt idx="1">
                  <c:v>0.0008351893095768374</c:v>
                </c:pt>
                <c:pt idx="2">
                  <c:v>0.0008551881413911061</c:v>
                </c:pt>
                <c:pt idx="3">
                  <c:v>0.0005715918833952558</c:v>
                </c:pt>
                <c:pt idx="4">
                  <c:v>0.0006345177664974619</c:v>
                </c:pt>
                <c:pt idx="5">
                  <c:v>0.001839587932303164</c:v>
                </c:pt>
                <c:pt idx="6">
                  <c:v>0.0020646937370956643</c:v>
                </c:pt>
                <c:pt idx="7">
                  <c:v>0.0027955271565495207</c:v>
                </c:pt>
                <c:pt idx="8">
                  <c:v>0.0015527950310559005</c:v>
                </c:pt>
                <c:pt idx="9">
                  <c:v>0.0020711080428028996</c:v>
                </c:pt>
                <c:pt idx="10">
                  <c:v>0.0010053619302949062</c:v>
                </c:pt>
                <c:pt idx="11">
                  <c:v>0.002213788741302973</c:v>
                </c:pt>
                <c:pt idx="12">
                  <c:v>0.0016456390565002743</c:v>
                </c:pt>
                <c:pt idx="13">
                  <c:v>0.0018981335020563112</c:v>
                </c:pt>
                <c:pt idx="14">
                  <c:v>0.0006343165239454488</c:v>
                </c:pt>
                <c:pt idx="15">
                  <c:v>0.0017921146953405018</c:v>
                </c:pt>
                <c:pt idx="16">
                  <c:v>0.0016666666666666668</c:v>
                </c:pt>
                <c:pt idx="17">
                  <c:v>0.0012897678417884782</c:v>
                </c:pt>
                <c:pt idx="18">
                  <c:v>0.0019144862795149968</c:v>
                </c:pt>
                <c:pt idx="19">
                  <c:v>0.0018281535648994515</c:v>
                </c:pt>
                <c:pt idx="20">
                  <c:v>0.0010787486515641855</c:v>
                </c:pt>
                <c:pt idx="21">
                  <c:v>0.0030921459492888066</c:v>
                </c:pt>
                <c:pt idx="22">
                  <c:v>0.0019292604501607716</c:v>
                </c:pt>
                <c:pt idx="23">
                  <c:v>0.0029533372711163615</c:v>
                </c:pt>
                <c:pt idx="24">
                  <c:v>0.004807692307692308</c:v>
                </c:pt>
                <c:pt idx="25">
                  <c:v>0.0027114967462039045</c:v>
                </c:pt>
                <c:pt idx="26">
                  <c:v>0.0011092623405435386</c:v>
                </c:pt>
                <c:pt idx="27">
                  <c:v>0.0027548209366391185</c:v>
                </c:pt>
                <c:pt idx="28">
                  <c:v>0.002081165452653486</c:v>
                </c:pt>
                <c:pt idx="29">
                  <c:v>0.0024875621890547263</c:v>
                </c:pt>
                <c:pt idx="30">
                  <c:v>0.0025673940949935813</c:v>
                </c:pt>
                <c:pt idx="31">
                  <c:v>0.00202020202020202</c:v>
                </c:pt>
                <c:pt idx="32">
                  <c:v>0.005743825387708214</c:v>
                </c:pt>
                <c:pt idx="33">
                  <c:v>0.006097560975609756</c:v>
                </c:pt>
                <c:pt idx="34">
                  <c:v>0.004834254143646409</c:v>
                </c:pt>
                <c:pt idx="35">
                  <c:v>0.0017777777777777779</c:v>
                </c:pt>
                <c:pt idx="36">
                  <c:v>0.002271436683702442</c:v>
                </c:pt>
                <c:pt idx="37">
                  <c:v>0.0010845986984815619</c:v>
                </c:pt>
                <c:pt idx="38">
                  <c:v>0.002368265245707519</c:v>
                </c:pt>
                <c:pt idx="39">
                  <c:v>0.0014347202295552368</c:v>
                </c:pt>
                <c:pt idx="40">
                  <c:v>0.0016163793103448276</c:v>
                </c:pt>
                <c:pt idx="41">
                  <c:v>0.00043047783039173483</c:v>
                </c:pt>
                <c:pt idx="42">
                  <c:v>0.0014847809948032665</c:v>
                </c:pt>
                <c:pt idx="43">
                  <c:v>0.00202487706103558</c:v>
                </c:pt>
                <c:pt idx="44">
                  <c:v>0.0013838915029061722</c:v>
                </c:pt>
                <c:pt idx="45">
                  <c:v>0.003016177680285166</c:v>
                </c:pt>
                <c:pt idx="46">
                  <c:v>0.003564573622155196</c:v>
                </c:pt>
                <c:pt idx="47">
                  <c:v>0.002004811547714515</c:v>
                </c:pt>
                <c:pt idx="48">
                  <c:v>0.002232729183083793</c:v>
                </c:pt>
                <c:pt idx="49">
                  <c:v>0.0027378507871321013</c:v>
                </c:pt>
                <c:pt idx="50">
                  <c:v>0.002617801047120419</c:v>
                </c:pt>
                <c:pt idx="51">
                  <c:v>0.0008378718056137411</c:v>
                </c:pt>
                <c:pt idx="52">
                  <c:v>0.001509206157561123</c:v>
                </c:pt>
                <c:pt idx="53">
                  <c:v>0.00335345405767941</c:v>
                </c:pt>
                <c:pt idx="54">
                  <c:v>0.0017972681524083393</c:v>
                </c:pt>
                <c:pt idx="55">
                  <c:v>0.0003284072249589491</c:v>
                </c:pt>
                <c:pt idx="56">
                  <c:v>0.0006238303181534623</c:v>
                </c:pt>
                <c:pt idx="57">
                  <c:v>0.000277623542476402</c:v>
                </c:pt>
                <c:pt idx="58">
                  <c:v>0.0007090941322460556</c:v>
                </c:pt>
                <c:pt idx="59">
                  <c:v>0.0007457121551081282</c:v>
                </c:pt>
                <c:pt idx="60">
                  <c:v>0.0013333333333333333</c:v>
                </c:pt>
                <c:pt idx="61">
                  <c:v>0.0010778765831312314</c:v>
                </c:pt>
                <c:pt idx="62">
                  <c:v>0.0014061401453011485</c:v>
                </c:pt>
                <c:pt idx="63">
                  <c:v>0.0020352781546811396</c:v>
                </c:pt>
                <c:pt idx="64">
                  <c:v>0.0012025012025012026</c:v>
                </c:pt>
                <c:pt idx="65">
                  <c:v>0.00027831895352073476</c:v>
                </c:pt>
                <c:pt idx="66">
                  <c:v>0.00028514399771884804</c:v>
                </c:pt>
                <c:pt idx="67">
                  <c:v>0.000888494002665482</c:v>
                </c:pt>
                <c:pt idx="68">
                  <c:v>0.00040567951318458417</c:v>
                </c:pt>
                <c:pt idx="69">
                  <c:v>0.0020458265139116204</c:v>
                </c:pt>
                <c:pt idx="70">
                  <c:v>0.0029154518950437317</c:v>
                </c:pt>
                <c:pt idx="71">
                  <c:v>0.0025614754098360654</c:v>
                </c:pt>
                <c:pt idx="72">
                  <c:v>0.002635740643120717</c:v>
                </c:pt>
                <c:pt idx="73">
                  <c:v>0.0026232948583420775</c:v>
                </c:pt>
                <c:pt idx="74">
                  <c:v>0.004161712247324614</c:v>
                </c:pt>
                <c:pt idx="75">
                  <c:v>0.0030321406913280777</c:v>
                </c:pt>
                <c:pt idx="76">
                  <c:v>0.0024110910186859553</c:v>
                </c:pt>
                <c:pt idx="77">
                  <c:v>0.005583756345177665</c:v>
                </c:pt>
                <c:pt idx="78">
                  <c:v>0.0006199628022318661</c:v>
                </c:pt>
                <c:pt idx="79">
                  <c:v>0.0007905138339920949</c:v>
                </c:pt>
                <c:pt idx="80">
                  <c:v>0.0007974481658692185</c:v>
                </c:pt>
                <c:pt idx="81">
                  <c:v>0.00025464731347084286</c:v>
                </c:pt>
                <c:pt idx="82">
                  <c:v>0.0002011667672500503</c:v>
                </c:pt>
                <c:pt idx="83">
                  <c:v>0.0001261193088661874</c:v>
                </c:pt>
                <c:pt idx="84">
                  <c:v>0.00045351473922902497</c:v>
                </c:pt>
                <c:pt idx="85">
                  <c:v>0.00023969319271332693</c:v>
                </c:pt>
                <c:pt idx="86">
                  <c:v>0.0007351139426611125</c:v>
                </c:pt>
                <c:pt idx="87">
                  <c:v>0.0002690341673392521</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0023342670401493932</c:v>
                </c:pt>
                <c:pt idx="21">
                  <c:v>0.0005215123859191656</c:v>
                </c:pt>
                <c:pt idx="22">
                  <c:v>0.0</c:v>
                </c:pt>
                <c:pt idx="23">
                  <c:v>0.0</c:v>
                </c:pt>
                <c:pt idx="24">
                  <c:v>0.0004462293618920125</c:v>
                </c:pt>
                <c:pt idx="25">
                  <c:v>0.0</c:v>
                </c:pt>
                <c:pt idx="26">
                  <c:v>0.0007457121551081282</c:v>
                </c:pt>
                <c:pt idx="27">
                  <c:v>0.00035112359550561797</c:v>
                </c:pt>
                <c:pt idx="28">
                  <c:v>0.0006024096385542169</c:v>
                </c:pt>
                <c:pt idx="29">
                  <c:v>0.0</c:v>
                </c:pt>
                <c:pt idx="30">
                  <c:v>0.0</c:v>
                </c:pt>
                <c:pt idx="31">
                  <c:v>0.00033886818027787193</c:v>
                </c:pt>
                <c:pt idx="32">
                  <c:v>0.00034674063800277393</c:v>
                </c:pt>
                <c:pt idx="33">
                  <c:v>0.0008016032064128256</c:v>
                </c:pt>
                <c:pt idx="34">
                  <c:v>0.0</c:v>
                </c:pt>
                <c:pt idx="35">
                  <c:v>0.0</c:v>
                </c:pt>
                <c:pt idx="36">
                  <c:v>0.00041649312786339027</c:v>
                </c:pt>
                <c:pt idx="37">
                  <c:v>0.0</c:v>
                </c:pt>
                <c:pt idx="38">
                  <c:v>0.0013157894736842105</c:v>
                </c:pt>
                <c:pt idx="39">
                  <c:v>0.0012804097311139564</c:v>
                </c:pt>
                <c:pt idx="40">
                  <c:v>0.0005580357142857143</c:v>
                </c:pt>
                <c:pt idx="41">
                  <c:v>0.0005382131324004305</c:v>
                </c:pt>
                <c:pt idx="42">
                  <c:v>0.0016375545851528383</c:v>
                </c:pt>
                <c:pt idx="43">
                  <c:v>0.00267379679144385</c:v>
                </c:pt>
                <c:pt idx="44">
                  <c:v>0.001010611419909045</c:v>
                </c:pt>
                <c:pt idx="45">
                  <c:v>0.0010050251256281408</c:v>
                </c:pt>
                <c:pt idx="46">
                  <c:v>0.0011983223487118035</c:v>
                </c:pt>
                <c:pt idx="47">
                  <c:v>0.0006075334143377885</c:v>
                </c:pt>
                <c:pt idx="48">
                  <c:v>0.0</c:v>
                </c:pt>
                <c:pt idx="49">
                  <c:v>0.0007283321194464676</c:v>
                </c:pt>
                <c:pt idx="50">
                  <c:v>0.002616088947024199</c:v>
                </c:pt>
                <c:pt idx="51">
                  <c:v>0.0021043771043771043</c:v>
                </c:pt>
                <c:pt idx="52">
                  <c:v>0.0021579628830384117</c:v>
                </c:pt>
                <c:pt idx="53">
                  <c:v>0.0</c:v>
                </c:pt>
                <c:pt idx="54">
                  <c:v>0.0</c:v>
                </c:pt>
                <c:pt idx="55">
                  <c:v>0.0</c:v>
                </c:pt>
                <c:pt idx="56">
                  <c:v>0.0</c:v>
                </c:pt>
                <c:pt idx="57">
                  <c:v>0.0005452562704471102</c:v>
                </c:pt>
                <c:pt idx="58">
                  <c:v>0.0005189413596263622</c:v>
                </c:pt>
                <c:pt idx="59">
                  <c:v>0.0005830903790087463</c:v>
                </c:pt>
                <c:pt idx="60">
                  <c:v>0.0</c:v>
                </c:pt>
                <c:pt idx="61">
                  <c:v>0.0</c:v>
                </c:pt>
                <c:pt idx="62">
                  <c:v>0.0</c:v>
                </c:pt>
                <c:pt idx="63">
                  <c:v>0.0</c:v>
                </c:pt>
                <c:pt idx="64">
                  <c:v>0.0</c:v>
                </c:pt>
                <c:pt idx="65">
                  <c:v>0.0</c:v>
                </c:pt>
                <c:pt idx="66">
                  <c:v>0.0</c:v>
                </c:pt>
                <c:pt idx="67">
                  <c:v>0.0004925501785494397</c:v>
                </c:pt>
                <c:pt idx="68">
                  <c:v>0.0002145462347135807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5319.98983509006</c:v>
                </c:pt>
              </c:numCache>
            </c:numRef>
          </c:xVal>
          <c:yVal>
            <c:numRef>
              <c:f>Sheet1!$B$163:$B$164</c:f>
              <c:numCache>
                <c:formatCode>General</c:formatCode>
                <c:ptCount val="2"/>
                <c:pt idx="0">
                  <c:v>0.003104286624758969</c:v>
                </c:pt>
                <c:pt idx="1">
                  <c:v>0.00310428662475896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5319.98983509006</c:v>
                </c:pt>
                <c:pt idx="1">
                  <c:v>55319.98983509006</c:v>
                </c:pt>
              </c:numCache>
            </c:numRef>
          </c:xVal>
          <c:yVal>
            <c:numRef>
              <c:f>Sheet1!$B$167:$B$168</c:f>
              <c:numCache>
                <c:formatCode>General</c:formatCode>
                <c:ptCount val="2"/>
                <c:pt idx="0">
                  <c:v>0.00310428662475896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9383.190446123568</c:v>
                </c:pt>
              </c:numCache>
            </c:numRef>
          </c:xVal>
          <c:yVal>
            <c:numRef>
              <c:f>Sheet1!$B$171:$B$172</c:f>
              <c:numCache>
                <c:formatCode>General</c:formatCode>
                <c:ptCount val="2"/>
                <c:pt idx="0">
                  <c:v>0.00122756157183318</c:v>
                </c:pt>
                <c:pt idx="1">
                  <c:v>0.0012275615718331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9383.190446123568</c:v>
                </c:pt>
                <c:pt idx="1">
                  <c:v>19383.190446123568</c:v>
                </c:pt>
              </c:numCache>
            </c:numRef>
          </c:xVal>
          <c:yVal>
            <c:numRef>
              <c:f>Sheet1!$B$175:$B$176</c:f>
              <c:numCache>
                <c:formatCode>General</c:formatCode>
                <c:ptCount val="2"/>
                <c:pt idx="0">
                  <c:v>0.001227561571833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655.0384580381367</c:v>
                </c:pt>
              </c:numCache>
            </c:numRef>
          </c:xVal>
          <c:yVal>
            <c:numRef>
              <c:f>Sheet1!$B$179:$B$180</c:f>
              <c:numCache>
                <c:formatCode>General</c:formatCode>
                <c:ptCount val="2"/>
                <c:pt idx="0">
                  <c:v>0.00018110649402655686</c:v>
                </c:pt>
                <c:pt idx="1">
                  <c:v>0.0001811064940265568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655.0384580381367</c:v>
                </c:pt>
                <c:pt idx="1">
                  <c:v>-655.0384580381367</c:v>
                </c:pt>
              </c:numCache>
            </c:numRef>
          </c:xVal>
          <c:yVal>
            <c:numRef>
              <c:f>Sheet1!$B$183:$B$184</c:f>
              <c:numCache>
                <c:formatCode>General</c:formatCode>
                <c:ptCount val="2"/>
                <c:pt idx="0">
                  <c:v>0.000181106494026556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pt idx="69">
                  <c:v>19383.190446123568</c:v>
                </c:pt>
                <c:pt idx="70">
                  <c:v>55319.98983509006</c:v>
                </c:pt>
                <c:pt idx="71">
                  <c:v>-655.0384580381367</c:v>
                </c:pt>
              </c:numCache>
            </c:numRef>
          </c:xVal>
          <c:yVal>
            <c:numRef>
              <c:f>Sheet1!$B$187:$B$258</c:f>
              <c:numCache>
                <c:formatCode>General</c:formatCode>
                <c:ptCount val="72"/>
                <c:pt idx="0">
                  <c:v>0.00021531452328159073</c:v>
                </c:pt>
                <c:pt idx="1">
                  <c:v>0.00021531452328159073</c:v>
                </c:pt>
                <c:pt idx="2">
                  <c:v>0.00021531452328159073</c:v>
                </c:pt>
                <c:pt idx="3">
                  <c:v>0.00021531452328159073</c:v>
                </c:pt>
                <c:pt idx="4">
                  <c:v>0.00021531452328159073</c:v>
                </c:pt>
                <c:pt idx="5">
                  <c:v>0.00021531452328159073</c:v>
                </c:pt>
                <c:pt idx="6">
                  <c:v>0.00021531452328159073</c:v>
                </c:pt>
                <c:pt idx="7">
                  <c:v>0.00021531452328159073</c:v>
                </c:pt>
                <c:pt idx="8">
                  <c:v>0.00021531452328159073</c:v>
                </c:pt>
                <c:pt idx="9">
                  <c:v>0.00021531452328159073</c:v>
                </c:pt>
                <c:pt idx="10">
                  <c:v>0.00021531452328159073</c:v>
                </c:pt>
                <c:pt idx="11">
                  <c:v>0.00021531452328159073</c:v>
                </c:pt>
                <c:pt idx="12">
                  <c:v>0.00021531452328159073</c:v>
                </c:pt>
                <c:pt idx="13">
                  <c:v>0.00021531452328159073</c:v>
                </c:pt>
                <c:pt idx="14">
                  <c:v>0.00021531452328159073</c:v>
                </c:pt>
                <c:pt idx="15">
                  <c:v>0.00021531452328159073</c:v>
                </c:pt>
                <c:pt idx="16">
                  <c:v>0.00021531452328159073</c:v>
                </c:pt>
                <c:pt idx="17">
                  <c:v>0.00021531452328159073</c:v>
                </c:pt>
                <c:pt idx="18">
                  <c:v>0.00021531452328159073</c:v>
                </c:pt>
                <c:pt idx="19">
                  <c:v>0.00021531452328159073</c:v>
                </c:pt>
                <c:pt idx="20">
                  <c:v>0.0007993758016592713</c:v>
                </c:pt>
                <c:pt idx="21">
                  <c:v>0.0005424128617220953</c:v>
                </c:pt>
                <c:pt idx="22">
                  <c:v>0.00021531452328159073</c:v>
                </c:pt>
                <c:pt idx="23">
                  <c:v>0.00021531452328159073</c:v>
                </c:pt>
                <c:pt idx="24">
                  <c:v>0.0007107534850098682</c:v>
                </c:pt>
                <c:pt idx="25">
                  <c:v>0.00021531452328159073</c:v>
                </c:pt>
                <c:pt idx="26">
                  <c:v>0.0004744447149223321</c:v>
                </c:pt>
                <c:pt idx="27">
                  <c:v>0.0005943485682087372</c:v>
                </c:pt>
                <c:pt idx="28">
                  <c:v>0.0006661289890894705</c:v>
                </c:pt>
                <c:pt idx="29">
                  <c:v>0.00021531452328159073</c:v>
                </c:pt>
                <c:pt idx="30">
                  <c:v>0.00021531452328159073</c:v>
                </c:pt>
                <c:pt idx="31">
                  <c:v>0.0009243452794094314</c:v>
                </c:pt>
                <c:pt idx="32">
                  <c:v>0.0008292473191156406</c:v>
                </c:pt>
                <c:pt idx="33">
                  <c:v>0.0007975741104840183</c:v>
                </c:pt>
                <c:pt idx="34">
                  <c:v>0.00021531452328159073</c:v>
                </c:pt>
                <c:pt idx="35">
                  <c:v>0.00021531452328159073</c:v>
                </c:pt>
                <c:pt idx="36">
                  <c:v>0.0008227716754712529</c:v>
                </c:pt>
                <c:pt idx="37">
                  <c:v>0.00021531452328159073</c:v>
                </c:pt>
                <c:pt idx="38">
                  <c:v>0.0005702999077390554</c:v>
                </c:pt>
                <c:pt idx="39">
                  <c:v>0.000493375527995643</c:v>
                </c:pt>
                <c:pt idx="40">
                  <c:v>0.0005483923875066307</c:v>
                </c:pt>
                <c:pt idx="41">
                  <c:v>0.0008018825024248407</c:v>
                </c:pt>
                <c:pt idx="42">
                  <c:v>0.0004775084620432369</c:v>
                </c:pt>
                <c:pt idx="43">
                  <c:v>0.0004290107635463859</c:v>
                </c:pt>
                <c:pt idx="44">
                  <c:v>0.0004549394495902448</c:v>
                </c:pt>
                <c:pt idx="45">
                  <c:v>0.0005930429948933363</c:v>
                </c:pt>
                <c:pt idx="46">
                  <c:v>0.0005019923118772879</c:v>
                </c:pt>
                <c:pt idx="47">
                  <c:v>0.000559359203355997</c:v>
                </c:pt>
                <c:pt idx="48">
                  <c:v>0.00021531452328159073</c:v>
                </c:pt>
                <c:pt idx="49">
                  <c:v>0.0005214453542767591</c:v>
                </c:pt>
                <c:pt idx="50">
                  <c:v>0.0003328683446002745</c:v>
                </c:pt>
                <c:pt idx="51">
                  <c:v>0.00032033484077242724</c:v>
                </c:pt>
                <c:pt idx="52">
                  <c:v>0.00039922280278220233</c:v>
                </c:pt>
                <c:pt idx="53">
                  <c:v>0.00021531452328159073</c:v>
                </c:pt>
                <c:pt idx="54">
                  <c:v>0.00021531452328159073</c:v>
                </c:pt>
                <c:pt idx="55">
                  <c:v>0.00021531452328159073</c:v>
                </c:pt>
                <c:pt idx="56">
                  <c:v>0.00021531452328159073</c:v>
                </c:pt>
                <c:pt idx="57">
                  <c:v>0.0008736890347718822</c:v>
                </c:pt>
                <c:pt idx="58">
                  <c:v>0.0007026067075217676</c:v>
                </c:pt>
                <c:pt idx="59">
                  <c:v>0.0008326940326682985</c:v>
                </c:pt>
                <c:pt idx="60">
                  <c:v>0.00021531452328159073</c:v>
                </c:pt>
                <c:pt idx="61">
                  <c:v>0.00021531452328159073</c:v>
                </c:pt>
                <c:pt idx="62">
                  <c:v>0.00021531452328159073</c:v>
                </c:pt>
                <c:pt idx="63">
                  <c:v>0.00021531452328159073</c:v>
                </c:pt>
                <c:pt idx="64">
                  <c:v>0.00021531452328159073</c:v>
                </c:pt>
                <c:pt idx="65">
                  <c:v>0.00021531452328159073</c:v>
                </c:pt>
                <c:pt idx="66">
                  <c:v>0.00021531452328159073</c:v>
                </c:pt>
                <c:pt idx="67">
                  <c:v>0.0004558011279784093</c:v>
                </c:pt>
                <c:pt idx="68">
                  <c:v>0.0009481067137497251</c:v>
                </c:pt>
                <c:pt idx="69">
                  <c:v>0.00122756157183318</c:v>
                </c:pt>
                <c:pt idx="70">
                  <c:v>0.003104286624758969</c:v>
                </c:pt>
                <c:pt idx="71">
                  <c:v>0.0001811064940265568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638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31707317073170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0.5697440473116461</c:v>
                </c:pt>
                <c:pt idx="1">
                  <c:v>1.0025452580389769</c:v>
                </c:pt>
                <c:pt idx="2">
                  <c:v>0.9942828553431666</c:v>
                </c:pt>
                <c:pt idx="3">
                  <c:v>1.1133913117952596</c:v>
                </c:pt>
                <c:pt idx="4">
                  <c:v>0.9357592940037713</c:v>
                </c:pt>
                <c:pt idx="5">
                  <c:v>0.5997652047709174</c:v>
                </c:pt>
                <c:pt idx="6">
                  <c:v>0.7931475896542898</c:v>
                </c:pt>
                <c:pt idx="7">
                  <c:v>0.4806722677616729</c:v>
                </c:pt>
                <c:pt idx="8">
                  <c:v>0.6364115324364864</c:v>
                </c:pt>
                <c:pt idx="9">
                  <c:v>0.6308282486034792</c:v>
                </c:pt>
                <c:pt idx="10">
                  <c:v>0.9281741744233488</c:v>
                </c:pt>
                <c:pt idx="11">
                  <c:v>0.5735416708131845</c:v>
                </c:pt>
                <c:pt idx="12">
                  <c:v>0.7294522347512188</c:v>
                </c:pt>
                <c:pt idx="13">
                  <c:v>0.6928882220654088</c:v>
                </c:pt>
                <c:pt idx="14">
                  <c:v>0.7955199946266802</c:v>
                </c:pt>
                <c:pt idx="15">
                  <c:v>0.5340788694125794</c:v>
                </c:pt>
                <c:pt idx="16">
                  <c:v>0.2953069309547018</c:v>
                </c:pt>
                <c:pt idx="17">
                  <c:v>0.6253757314985862</c:v>
                </c:pt>
                <c:pt idx="18">
                  <c:v>0.4652547689652607</c:v>
                </c:pt>
                <c:pt idx="19">
                  <c:v>0.43285515160722526</c:v>
                </c:pt>
                <c:pt idx="20">
                  <c:v>0.38865408644465127</c:v>
                </c:pt>
                <c:pt idx="21">
                  <c:v>0.5249814043556517</c:v>
                </c:pt>
                <c:pt idx="22">
                  <c:v>0.8561725444699084</c:v>
                </c:pt>
                <c:pt idx="23">
                  <c:v>0.6513232486195083</c:v>
                </c:pt>
                <c:pt idx="24">
                  <c:v>0.5064700879560975</c:v>
                </c:pt>
                <c:pt idx="25">
                  <c:v>0.8249136763567373</c:v>
                </c:pt>
                <c:pt idx="26">
                  <c:v>0.8817559030482609</c:v>
                </c:pt>
                <c:pt idx="27">
                  <c:v>0.3805774846988365</c:v>
                </c:pt>
                <c:pt idx="28">
                  <c:v>0.8509230063618811</c:v>
                </c:pt>
                <c:pt idx="29">
                  <c:v>0.4429724025191094</c:v>
                </c:pt>
                <c:pt idx="30">
                  <c:v>0.5809728589048956</c:v>
                </c:pt>
                <c:pt idx="31">
                  <c:v>0.7085133135372758</c:v>
                </c:pt>
                <c:pt idx="32">
                  <c:v>0.383248449955713</c:v>
                </c:pt>
                <c:pt idx="33">
                  <c:v>0.3500537240562357</c:v>
                </c:pt>
                <c:pt idx="34">
                  <c:v>0.3695874091172738</c:v>
                </c:pt>
                <c:pt idx="35">
                  <c:v>0.7426906829975064</c:v>
                </c:pt>
                <c:pt idx="36">
                  <c:v>0.49965544036082843</c:v>
                </c:pt>
                <c:pt idx="37">
                  <c:v>0.8564243905061864</c:v>
                </c:pt>
                <c:pt idx="38">
                  <c:v>0.6113678998189702</c:v>
                </c:pt>
                <c:pt idx="39">
                  <c:v>0.658833021000823</c:v>
                </c:pt>
                <c:pt idx="40">
                  <c:v>0.5829972840419567</c:v>
                </c:pt>
                <c:pt idx="41">
                  <c:v>1.2115648411007955</c:v>
                </c:pt>
                <c:pt idx="42">
                  <c:v>0.5430520907505494</c:v>
                </c:pt>
                <c:pt idx="43">
                  <c:v>0.4117347709838455</c:v>
                </c:pt>
                <c:pt idx="44">
                  <c:v>0.4326377182793504</c:v>
                </c:pt>
                <c:pt idx="45">
                  <c:v>0.4185296884669865</c:v>
                </c:pt>
                <c:pt idx="46">
                  <c:v>0.37896256360300123</c:v>
                </c:pt>
                <c:pt idx="47">
                  <c:v>0.43894702930763924</c:v>
                </c:pt>
                <c:pt idx="48">
                  <c:v>0.33182727762329284</c:v>
                </c:pt>
                <c:pt idx="49">
                  <c:v>0.4013649591676983</c:v>
                </c:pt>
                <c:pt idx="50">
                  <c:v>0.4747250993642911</c:v>
                </c:pt>
                <c:pt idx="51">
                  <c:v>0.42700229659166816</c:v>
                </c:pt>
                <c:pt idx="52">
                  <c:v>0.3595799070691816</c:v>
                </c:pt>
                <c:pt idx="53">
                  <c:v>0.3442367443841322</c:v>
                </c:pt>
                <c:pt idx="54">
                  <c:v>0.45769909641132384</c:v>
                </c:pt>
                <c:pt idx="55">
                  <c:v>1.5398659202419347</c:v>
                </c:pt>
                <c:pt idx="56">
                  <c:v>0.7103638855467205</c:v>
                </c:pt>
                <c:pt idx="57">
                  <c:v>1.3220258577913688</c:v>
                </c:pt>
                <c:pt idx="58">
                  <c:v>0.5759136972063713</c:v>
                </c:pt>
                <c:pt idx="59">
                  <c:v>0.4650774495393189</c:v>
                </c:pt>
                <c:pt idx="60">
                  <c:v>0.4551111864958824</c:v>
                </c:pt>
                <c:pt idx="61">
                  <c:v>0.4133559886841562</c:v>
                </c:pt>
                <c:pt idx="62">
                  <c:v>0.3982788769015023</c:v>
                </c:pt>
                <c:pt idx="63">
                  <c:v>0.338560129739952</c:v>
                </c:pt>
                <c:pt idx="64">
                  <c:v>0.3464972763046583</c:v>
                </c:pt>
                <c:pt idx="65">
                  <c:v>0.680506432928392</c:v>
                </c:pt>
                <c:pt idx="66">
                  <c:v>1.0028302825846704</c:v>
                </c:pt>
                <c:pt idx="67">
                  <c:v>0.5981203021840915</c:v>
                </c:pt>
                <c:pt idx="68">
                  <c:v>1.6598554534226106</c:v>
                </c:pt>
                <c:pt idx="69">
                  <c:v>0.6164791505637486</c:v>
                </c:pt>
                <c:pt idx="70">
                  <c:v>0.5940409559425709</c:v>
                </c:pt>
                <c:pt idx="71">
                  <c:v>0.6180888878452859</c:v>
                </c:pt>
                <c:pt idx="72">
                  <c:v>0.602108355482845</c:v>
                </c:pt>
                <c:pt idx="73">
                  <c:v>0.6147739123500822</c:v>
                </c:pt>
                <c:pt idx="74">
                  <c:v>0.5508116498743102</c:v>
                </c:pt>
                <c:pt idx="75">
                  <c:v>0.7699920436745437</c:v>
                </c:pt>
                <c:pt idx="76">
                  <c:v>0.7711408591433636</c:v>
                </c:pt>
                <c:pt idx="77">
                  <c:v>0.41448718930286993</c:v>
                </c:pt>
                <c:pt idx="78">
                  <c:v>2.0229784524614294</c:v>
                </c:pt>
                <c:pt idx="79">
                  <c:v>1.7403191359664627</c:v>
                </c:pt>
                <c:pt idx="80">
                  <c:v>1.6844113553451598</c:v>
                </c:pt>
                <c:pt idx="81">
                  <c:v>1.2919305992972354</c:v>
                </c:pt>
                <c:pt idx="82">
                  <c:v>1.5037609634060551</c:v>
                </c:pt>
                <c:pt idx="83">
                  <c:v>1.896469232533408</c:v>
                </c:pt>
                <c:pt idx="84">
                  <c:v>0.7102106902010672</c:v>
                </c:pt>
                <c:pt idx="85">
                  <c:v>1.3245347205696598</c:v>
                </c:pt>
                <c:pt idx="86">
                  <c:v>0.5988285483478754</c:v>
                </c:pt>
                <c:pt idx="87">
                  <c:v>1.118432517952784</c:v>
                </c:pt>
              </c:numCache>
            </c:numRef>
          </c:xVal>
          <c:yVal>
            <c:numRef>
              <c:f>Sheet1!$B$2:$B$89</c:f>
              <c:numCache>
                <c:formatCode>General</c:formatCode>
                <c:ptCount val="88"/>
                <c:pt idx="0">
                  <c:v>0.003424657534246575</c:v>
                </c:pt>
                <c:pt idx="1">
                  <c:v>0.0008351893095768374</c:v>
                </c:pt>
                <c:pt idx="2">
                  <c:v>0.0008551881413911061</c:v>
                </c:pt>
                <c:pt idx="3">
                  <c:v>0.0005715918833952558</c:v>
                </c:pt>
                <c:pt idx="4">
                  <c:v>0.0006345177664974619</c:v>
                </c:pt>
                <c:pt idx="5">
                  <c:v>0.001839587932303164</c:v>
                </c:pt>
                <c:pt idx="6">
                  <c:v>0.0020646937370956643</c:v>
                </c:pt>
                <c:pt idx="7">
                  <c:v>0.0027955271565495207</c:v>
                </c:pt>
                <c:pt idx="8">
                  <c:v>0.0015527950310559005</c:v>
                </c:pt>
                <c:pt idx="9">
                  <c:v>0.0020711080428028996</c:v>
                </c:pt>
                <c:pt idx="10">
                  <c:v>0.0010053619302949062</c:v>
                </c:pt>
                <c:pt idx="11">
                  <c:v>0.002213788741302973</c:v>
                </c:pt>
                <c:pt idx="12">
                  <c:v>0.0016456390565002743</c:v>
                </c:pt>
                <c:pt idx="13">
                  <c:v>0.0018981335020563112</c:v>
                </c:pt>
                <c:pt idx="14">
                  <c:v>0.0006343165239454488</c:v>
                </c:pt>
                <c:pt idx="15">
                  <c:v>0.0017921146953405018</c:v>
                </c:pt>
                <c:pt idx="16">
                  <c:v>0.0016666666666666668</c:v>
                </c:pt>
                <c:pt idx="17">
                  <c:v>0.0012897678417884782</c:v>
                </c:pt>
                <c:pt idx="18">
                  <c:v>0.0019144862795149968</c:v>
                </c:pt>
                <c:pt idx="19">
                  <c:v>0.0018281535648994515</c:v>
                </c:pt>
                <c:pt idx="20">
                  <c:v>0.0010787486515641855</c:v>
                </c:pt>
                <c:pt idx="21">
                  <c:v>0.0030921459492888066</c:v>
                </c:pt>
                <c:pt idx="22">
                  <c:v>0.0019292604501607716</c:v>
                </c:pt>
                <c:pt idx="23">
                  <c:v>0.0029533372711163615</c:v>
                </c:pt>
                <c:pt idx="24">
                  <c:v>0.004807692307692308</c:v>
                </c:pt>
                <c:pt idx="25">
                  <c:v>0.0027114967462039045</c:v>
                </c:pt>
                <c:pt idx="26">
                  <c:v>0.0011092623405435386</c:v>
                </c:pt>
                <c:pt idx="27">
                  <c:v>0.0027548209366391185</c:v>
                </c:pt>
                <c:pt idx="28">
                  <c:v>0.002081165452653486</c:v>
                </c:pt>
                <c:pt idx="29">
                  <c:v>0.0024875621890547263</c:v>
                </c:pt>
                <c:pt idx="30">
                  <c:v>0.0025673940949935813</c:v>
                </c:pt>
                <c:pt idx="31">
                  <c:v>0.00202020202020202</c:v>
                </c:pt>
                <c:pt idx="32">
                  <c:v>0.005743825387708214</c:v>
                </c:pt>
                <c:pt idx="33">
                  <c:v>0.006097560975609756</c:v>
                </c:pt>
                <c:pt idx="34">
                  <c:v>0.004834254143646409</c:v>
                </c:pt>
                <c:pt idx="35">
                  <c:v>0.0017777777777777779</c:v>
                </c:pt>
                <c:pt idx="36">
                  <c:v>0.002271436683702442</c:v>
                </c:pt>
                <c:pt idx="37">
                  <c:v>0.0010845986984815619</c:v>
                </c:pt>
                <c:pt idx="38">
                  <c:v>0.002368265245707519</c:v>
                </c:pt>
                <c:pt idx="39">
                  <c:v>0.0014347202295552368</c:v>
                </c:pt>
                <c:pt idx="40">
                  <c:v>0.0016163793103448276</c:v>
                </c:pt>
                <c:pt idx="41">
                  <c:v>0.00043047783039173483</c:v>
                </c:pt>
                <c:pt idx="42">
                  <c:v>0.0014847809948032665</c:v>
                </c:pt>
                <c:pt idx="43">
                  <c:v>0.00202487706103558</c:v>
                </c:pt>
                <c:pt idx="44">
                  <c:v>0.0013838915029061722</c:v>
                </c:pt>
                <c:pt idx="45">
                  <c:v>0.003016177680285166</c:v>
                </c:pt>
                <c:pt idx="46">
                  <c:v>0.003564573622155196</c:v>
                </c:pt>
                <c:pt idx="47">
                  <c:v>0.002004811547714515</c:v>
                </c:pt>
                <c:pt idx="48">
                  <c:v>0.002232729183083793</c:v>
                </c:pt>
                <c:pt idx="49">
                  <c:v>0.0027378507871321013</c:v>
                </c:pt>
                <c:pt idx="50">
                  <c:v>0.002617801047120419</c:v>
                </c:pt>
                <c:pt idx="51">
                  <c:v>0.0008378718056137411</c:v>
                </c:pt>
                <c:pt idx="52">
                  <c:v>0.001509206157561123</c:v>
                </c:pt>
                <c:pt idx="53">
                  <c:v>0.00335345405767941</c:v>
                </c:pt>
                <c:pt idx="54">
                  <c:v>0.0017972681524083393</c:v>
                </c:pt>
                <c:pt idx="55">
                  <c:v>0.0003284072249589491</c:v>
                </c:pt>
                <c:pt idx="56">
                  <c:v>0.0006238303181534623</c:v>
                </c:pt>
                <c:pt idx="57">
                  <c:v>0.000277623542476402</c:v>
                </c:pt>
                <c:pt idx="58">
                  <c:v>0.0007090941322460556</c:v>
                </c:pt>
                <c:pt idx="59">
                  <c:v>0.0007457121551081282</c:v>
                </c:pt>
                <c:pt idx="60">
                  <c:v>0.0013333333333333333</c:v>
                </c:pt>
                <c:pt idx="61">
                  <c:v>0.0010778765831312314</c:v>
                </c:pt>
                <c:pt idx="62">
                  <c:v>0.0014061401453011485</c:v>
                </c:pt>
                <c:pt idx="63">
                  <c:v>0.0020352781546811396</c:v>
                </c:pt>
                <c:pt idx="64">
                  <c:v>0.0012025012025012026</c:v>
                </c:pt>
                <c:pt idx="65">
                  <c:v>0.00027831895352073476</c:v>
                </c:pt>
                <c:pt idx="66">
                  <c:v>0.00028514399771884804</c:v>
                </c:pt>
                <c:pt idx="67">
                  <c:v>0.000888494002665482</c:v>
                </c:pt>
                <c:pt idx="68">
                  <c:v>0.00040567951318458417</c:v>
                </c:pt>
                <c:pt idx="69">
                  <c:v>0.0020458265139116204</c:v>
                </c:pt>
                <c:pt idx="70">
                  <c:v>0.0029154518950437317</c:v>
                </c:pt>
                <c:pt idx="71">
                  <c:v>0.0025614754098360654</c:v>
                </c:pt>
                <c:pt idx="72">
                  <c:v>0.002635740643120717</c:v>
                </c:pt>
                <c:pt idx="73">
                  <c:v>0.0026232948583420775</c:v>
                </c:pt>
                <c:pt idx="74">
                  <c:v>0.004161712247324614</c:v>
                </c:pt>
                <c:pt idx="75">
                  <c:v>0.0030321406913280777</c:v>
                </c:pt>
                <c:pt idx="76">
                  <c:v>0.0024110910186859553</c:v>
                </c:pt>
                <c:pt idx="77">
                  <c:v>0.005583756345177665</c:v>
                </c:pt>
                <c:pt idx="78">
                  <c:v>0.0006199628022318661</c:v>
                </c:pt>
                <c:pt idx="79">
                  <c:v>0.0007905138339920949</c:v>
                </c:pt>
                <c:pt idx="80">
                  <c:v>0.0007974481658692185</c:v>
                </c:pt>
                <c:pt idx="81">
                  <c:v>0.00025464731347084286</c:v>
                </c:pt>
                <c:pt idx="82">
                  <c:v>0.0002011667672500503</c:v>
                </c:pt>
                <c:pt idx="83">
                  <c:v>0.0001261193088661874</c:v>
                </c:pt>
                <c:pt idx="84">
                  <c:v>0.00045351473922902497</c:v>
                </c:pt>
                <c:pt idx="85">
                  <c:v>0.00023969319271332693</c:v>
                </c:pt>
                <c:pt idx="86">
                  <c:v>0.0007351139426611125</c:v>
                </c:pt>
                <c:pt idx="87">
                  <c:v>0.0002690341673392521</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2307582870837905</c:v>
                </c:pt>
                <c:pt idx="21">
                  <c:v>0.6855307974614991</c:v>
                </c:pt>
                <c:pt idx="22">
                  <c:v>0.0</c:v>
                </c:pt>
                <c:pt idx="23">
                  <c:v>0.0</c:v>
                </c:pt>
                <c:pt idx="24">
                  <c:v>1.095503721086762</c:v>
                </c:pt>
                <c:pt idx="25">
                  <c:v>0.0</c:v>
                </c:pt>
                <c:pt idx="26">
                  <c:v>0.5641995017624925</c:v>
                </c:pt>
                <c:pt idx="27">
                  <c:v>0.866248653751963</c:v>
                </c:pt>
                <c:pt idx="28">
                  <c:v>1.0595890674858874</c:v>
                </c:pt>
                <c:pt idx="29">
                  <c:v>0.0</c:v>
                </c:pt>
                <c:pt idx="30">
                  <c:v>0.0</c:v>
                </c:pt>
                <c:pt idx="31">
                  <c:v>1.382486489674454</c:v>
                </c:pt>
                <c:pt idx="32">
                  <c:v>1.1562867960290224</c:v>
                </c:pt>
                <c:pt idx="33">
                  <c:v>1.0041893687062817</c:v>
                </c:pt>
                <c:pt idx="34">
                  <c:v>0.0</c:v>
                </c:pt>
                <c:pt idx="35">
                  <c:v>0.0</c:v>
                </c:pt>
                <c:pt idx="36">
                  <c:v>1.2834815646774576</c:v>
                </c:pt>
                <c:pt idx="37">
                  <c:v>0.0</c:v>
                </c:pt>
                <c:pt idx="38">
                  <c:v>0.6388141804436965</c:v>
                </c:pt>
                <c:pt idx="39">
                  <c:v>0.5413014533870317</c:v>
                </c:pt>
                <c:pt idx="40">
                  <c:v>0.6426814095242724</c:v>
                </c:pt>
                <c:pt idx="41">
                  <c:v>1.1124993471544407</c:v>
                </c:pt>
                <c:pt idx="42">
                  <c:v>0.5502281390073097</c:v>
                </c:pt>
                <c:pt idx="43">
                  <c:v>0.3893139634350655</c:v>
                </c:pt>
                <c:pt idx="44">
                  <c:v>0.5181565159935048</c:v>
                </c:pt>
                <c:pt idx="45">
                  <c:v>0.7547986299418713</c:v>
                </c:pt>
                <c:pt idx="46">
                  <c:v>0.5754615902739265</c:v>
                </c:pt>
                <c:pt idx="47">
                  <c:v>0.725155387216576</c:v>
                </c:pt>
                <c:pt idx="48">
                  <c:v>0.0</c:v>
                </c:pt>
                <c:pt idx="49">
                  <c:v>0.5542079891341198</c:v>
                </c:pt>
                <c:pt idx="50">
                  <c:v>0.23666513155001376</c:v>
                </c:pt>
                <c:pt idx="51">
                  <c:v>0.17677647456918338</c:v>
                </c:pt>
                <c:pt idx="52">
                  <c:v>0.3396349622405893</c:v>
                </c:pt>
                <c:pt idx="53">
                  <c:v>0.0</c:v>
                </c:pt>
                <c:pt idx="54">
                  <c:v>0.0</c:v>
                </c:pt>
                <c:pt idx="55">
                  <c:v>0.0</c:v>
                </c:pt>
                <c:pt idx="56">
                  <c:v>0.0</c:v>
                </c:pt>
                <c:pt idx="57">
                  <c:v>1.249085268215821</c:v>
                </c:pt>
                <c:pt idx="58">
                  <c:v>0.8819351579835466</c:v>
                </c:pt>
                <c:pt idx="59">
                  <c:v>1.1787311592207756</c:v>
                </c:pt>
                <c:pt idx="60">
                  <c:v>0.0</c:v>
                </c:pt>
                <c:pt idx="61">
                  <c:v>0.0</c:v>
                </c:pt>
                <c:pt idx="62">
                  <c:v>0.0</c:v>
                </c:pt>
                <c:pt idx="63">
                  <c:v>0.0</c:v>
                </c:pt>
                <c:pt idx="64">
                  <c:v>0.0</c:v>
                </c:pt>
                <c:pt idx="65">
                  <c:v>0.0</c:v>
                </c:pt>
                <c:pt idx="66">
                  <c:v>0.0</c:v>
                </c:pt>
                <c:pt idx="67">
                  <c:v>0.6589589693223477</c:v>
                </c:pt>
                <c:pt idx="68">
                  <c:v>1.821252692438249</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0023342670401493932</c:v>
                </c:pt>
                <c:pt idx="21">
                  <c:v>0.0005215123859191656</c:v>
                </c:pt>
                <c:pt idx="22">
                  <c:v>0.0</c:v>
                </c:pt>
                <c:pt idx="23">
                  <c:v>0.0</c:v>
                </c:pt>
                <c:pt idx="24">
                  <c:v>0.0004462293618920125</c:v>
                </c:pt>
                <c:pt idx="25">
                  <c:v>0.0</c:v>
                </c:pt>
                <c:pt idx="26">
                  <c:v>0.0007457121551081282</c:v>
                </c:pt>
                <c:pt idx="27">
                  <c:v>0.00035112359550561797</c:v>
                </c:pt>
                <c:pt idx="28">
                  <c:v>0.0006024096385542169</c:v>
                </c:pt>
                <c:pt idx="29">
                  <c:v>0.0</c:v>
                </c:pt>
                <c:pt idx="30">
                  <c:v>0.0</c:v>
                </c:pt>
                <c:pt idx="31">
                  <c:v>0.00033886818027787193</c:v>
                </c:pt>
                <c:pt idx="32">
                  <c:v>0.00034674063800277393</c:v>
                </c:pt>
                <c:pt idx="33">
                  <c:v>0.0008016032064128256</c:v>
                </c:pt>
                <c:pt idx="34">
                  <c:v>0.0</c:v>
                </c:pt>
                <c:pt idx="35">
                  <c:v>0.0</c:v>
                </c:pt>
                <c:pt idx="36">
                  <c:v>0.00041649312786339027</c:v>
                </c:pt>
                <c:pt idx="37">
                  <c:v>0.0</c:v>
                </c:pt>
                <c:pt idx="38">
                  <c:v>0.0013157894736842105</c:v>
                </c:pt>
                <c:pt idx="39">
                  <c:v>0.0012804097311139564</c:v>
                </c:pt>
                <c:pt idx="40">
                  <c:v>0.0005580357142857143</c:v>
                </c:pt>
                <c:pt idx="41">
                  <c:v>0.0005382131324004305</c:v>
                </c:pt>
                <c:pt idx="42">
                  <c:v>0.0016375545851528383</c:v>
                </c:pt>
                <c:pt idx="43">
                  <c:v>0.00267379679144385</c:v>
                </c:pt>
                <c:pt idx="44">
                  <c:v>0.001010611419909045</c:v>
                </c:pt>
                <c:pt idx="45">
                  <c:v>0.0010050251256281408</c:v>
                </c:pt>
                <c:pt idx="46">
                  <c:v>0.0011983223487118035</c:v>
                </c:pt>
                <c:pt idx="47">
                  <c:v>0.0006075334143377885</c:v>
                </c:pt>
                <c:pt idx="48">
                  <c:v>0.0</c:v>
                </c:pt>
                <c:pt idx="49">
                  <c:v>0.0007283321194464676</c:v>
                </c:pt>
                <c:pt idx="50">
                  <c:v>0.002616088947024199</c:v>
                </c:pt>
                <c:pt idx="51">
                  <c:v>0.0021043771043771043</c:v>
                </c:pt>
                <c:pt idx="52">
                  <c:v>0.0021579628830384117</c:v>
                </c:pt>
                <c:pt idx="53">
                  <c:v>0.0</c:v>
                </c:pt>
                <c:pt idx="54">
                  <c:v>0.0</c:v>
                </c:pt>
                <c:pt idx="55">
                  <c:v>0.0</c:v>
                </c:pt>
                <c:pt idx="56">
                  <c:v>0.0</c:v>
                </c:pt>
                <c:pt idx="57">
                  <c:v>0.0005452562704471102</c:v>
                </c:pt>
                <c:pt idx="58">
                  <c:v>0.0005189413596263622</c:v>
                </c:pt>
                <c:pt idx="59">
                  <c:v>0.0005830903790087463</c:v>
                </c:pt>
                <c:pt idx="60">
                  <c:v>0.0</c:v>
                </c:pt>
                <c:pt idx="61">
                  <c:v>0.0</c:v>
                </c:pt>
                <c:pt idx="62">
                  <c:v>0.0</c:v>
                </c:pt>
                <c:pt idx="63">
                  <c:v>0.0</c:v>
                </c:pt>
                <c:pt idx="64">
                  <c:v>0.0</c:v>
                </c:pt>
                <c:pt idx="65">
                  <c:v>0.0</c:v>
                </c:pt>
                <c:pt idx="66">
                  <c:v>0.0</c:v>
                </c:pt>
                <c:pt idx="67">
                  <c:v>0.0004925501785494397</c:v>
                </c:pt>
                <c:pt idx="68">
                  <c:v>0.0002145462347135807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6.353069134727823</c:v>
                </c:pt>
              </c:numCache>
            </c:numRef>
          </c:xVal>
          <c:yVal>
            <c:numRef>
              <c:f>Sheet1!$B$163:$B$164</c:f>
              <c:numCache>
                <c:formatCode>General</c:formatCode>
                <c:ptCount val="2"/>
                <c:pt idx="0">
                  <c:v>0.003104286624758969</c:v>
                </c:pt>
                <c:pt idx="1">
                  <c:v>0.00310428662475896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6.353069134727823</c:v>
                </c:pt>
                <c:pt idx="1">
                  <c:v>6.353069134727823</c:v>
                </c:pt>
              </c:numCache>
            </c:numRef>
          </c:xVal>
          <c:yVal>
            <c:numRef>
              <c:f>Sheet1!$B$167:$B$168</c:f>
              <c:numCache>
                <c:formatCode>General</c:formatCode>
                <c:ptCount val="2"/>
                <c:pt idx="0">
                  <c:v>0.00310428662475896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2067042027244184</c:v>
                </c:pt>
              </c:numCache>
            </c:numRef>
          </c:xVal>
          <c:yVal>
            <c:numRef>
              <c:f>Sheet1!$B$171:$B$172</c:f>
              <c:numCache>
                <c:formatCode>General</c:formatCode>
                <c:ptCount val="2"/>
                <c:pt idx="0">
                  <c:v>0.00122756157183318</c:v>
                </c:pt>
                <c:pt idx="1">
                  <c:v>0.0012275615718331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2067042027244184</c:v>
                </c:pt>
                <c:pt idx="1">
                  <c:v>2.2067042027244184</c:v>
                </c:pt>
              </c:numCache>
            </c:numRef>
          </c:xVal>
          <c:yVal>
            <c:numRef>
              <c:f>Sheet1!$B$175:$B$176</c:f>
              <c:numCache>
                <c:formatCode>General</c:formatCode>
                <c:ptCount val="2"/>
                <c:pt idx="0">
                  <c:v>0.001227561571833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0529383383925284</c:v>
                </c:pt>
              </c:numCache>
            </c:numRef>
          </c:xVal>
          <c:yVal>
            <c:numRef>
              <c:f>Sheet1!$B$179:$B$180</c:f>
              <c:numCache>
                <c:formatCode>General</c:formatCode>
                <c:ptCount val="2"/>
                <c:pt idx="0">
                  <c:v>0.00018110649402655686</c:v>
                </c:pt>
                <c:pt idx="1">
                  <c:v>0.0001811064940265568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0529383383925284</c:v>
                </c:pt>
                <c:pt idx="1">
                  <c:v>-0.10529383383925284</c:v>
                </c:pt>
              </c:numCache>
            </c:numRef>
          </c:xVal>
          <c:yVal>
            <c:numRef>
              <c:f>Sheet1!$B$183:$B$184</c:f>
              <c:numCache>
                <c:formatCode>General</c:formatCode>
                <c:ptCount val="2"/>
                <c:pt idx="0">
                  <c:v>0.000181106494026556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2307582870837905</c:v>
                </c:pt>
                <c:pt idx="21">
                  <c:v>0.6855307974614991</c:v>
                </c:pt>
                <c:pt idx="22">
                  <c:v>0.0</c:v>
                </c:pt>
                <c:pt idx="23">
                  <c:v>0.0</c:v>
                </c:pt>
                <c:pt idx="24">
                  <c:v>1.095503721086762</c:v>
                </c:pt>
                <c:pt idx="25">
                  <c:v>0.0</c:v>
                </c:pt>
                <c:pt idx="26">
                  <c:v>0.5641995017624925</c:v>
                </c:pt>
                <c:pt idx="27">
                  <c:v>0.866248653751963</c:v>
                </c:pt>
                <c:pt idx="28">
                  <c:v>1.0595890674858874</c:v>
                </c:pt>
                <c:pt idx="29">
                  <c:v>0.0</c:v>
                </c:pt>
                <c:pt idx="30">
                  <c:v>0.0</c:v>
                </c:pt>
                <c:pt idx="31">
                  <c:v>1.382486489674454</c:v>
                </c:pt>
                <c:pt idx="32">
                  <c:v>1.1562867960290224</c:v>
                </c:pt>
                <c:pt idx="33">
                  <c:v>1.0041893687062817</c:v>
                </c:pt>
                <c:pt idx="34">
                  <c:v>0.0</c:v>
                </c:pt>
                <c:pt idx="35">
                  <c:v>0.0</c:v>
                </c:pt>
                <c:pt idx="36">
                  <c:v>1.2834815646774576</c:v>
                </c:pt>
                <c:pt idx="37">
                  <c:v>0.0</c:v>
                </c:pt>
                <c:pt idx="38">
                  <c:v>0.6388141804436965</c:v>
                </c:pt>
                <c:pt idx="39">
                  <c:v>0.5413014533870317</c:v>
                </c:pt>
                <c:pt idx="40">
                  <c:v>0.6426814095242724</c:v>
                </c:pt>
                <c:pt idx="41">
                  <c:v>1.1124993471544407</c:v>
                </c:pt>
                <c:pt idx="42">
                  <c:v>0.5502281390073097</c:v>
                </c:pt>
                <c:pt idx="43">
                  <c:v>0.3893139634350655</c:v>
                </c:pt>
                <c:pt idx="44">
                  <c:v>0.5181565159935048</c:v>
                </c:pt>
                <c:pt idx="45">
                  <c:v>0.7547986299418713</c:v>
                </c:pt>
                <c:pt idx="46">
                  <c:v>0.5754615902739265</c:v>
                </c:pt>
                <c:pt idx="47">
                  <c:v>0.725155387216576</c:v>
                </c:pt>
                <c:pt idx="48">
                  <c:v>0.0</c:v>
                </c:pt>
                <c:pt idx="49">
                  <c:v>0.5542079891341198</c:v>
                </c:pt>
                <c:pt idx="50">
                  <c:v>0.23666513155001376</c:v>
                </c:pt>
                <c:pt idx="51">
                  <c:v>0.17677647456918338</c:v>
                </c:pt>
                <c:pt idx="52">
                  <c:v>0.3396349622405893</c:v>
                </c:pt>
                <c:pt idx="53">
                  <c:v>0.0</c:v>
                </c:pt>
                <c:pt idx="54">
                  <c:v>0.0</c:v>
                </c:pt>
                <c:pt idx="55">
                  <c:v>0.0</c:v>
                </c:pt>
                <c:pt idx="56">
                  <c:v>0.0</c:v>
                </c:pt>
                <c:pt idx="57">
                  <c:v>1.249085268215821</c:v>
                </c:pt>
                <c:pt idx="58">
                  <c:v>0.8819351579835466</c:v>
                </c:pt>
                <c:pt idx="59">
                  <c:v>1.1787311592207756</c:v>
                </c:pt>
                <c:pt idx="60">
                  <c:v>0.0</c:v>
                </c:pt>
                <c:pt idx="61">
                  <c:v>0.0</c:v>
                </c:pt>
                <c:pt idx="62">
                  <c:v>0.0</c:v>
                </c:pt>
                <c:pt idx="63">
                  <c:v>0.0</c:v>
                </c:pt>
                <c:pt idx="64">
                  <c:v>0.0</c:v>
                </c:pt>
                <c:pt idx="65">
                  <c:v>0.0</c:v>
                </c:pt>
                <c:pt idx="66">
                  <c:v>0.0</c:v>
                </c:pt>
                <c:pt idx="67">
                  <c:v>0.6589589693223477</c:v>
                </c:pt>
                <c:pt idx="68">
                  <c:v>1.821252692438249</c:v>
                </c:pt>
                <c:pt idx="69">
                  <c:v>2.2067042027244184</c:v>
                </c:pt>
                <c:pt idx="70">
                  <c:v>6.353069134727823</c:v>
                </c:pt>
                <c:pt idx="71">
                  <c:v>-0.10529383383925284</c:v>
                </c:pt>
              </c:numCache>
            </c:numRef>
          </c:xVal>
          <c:yVal>
            <c:numRef>
              <c:f>Sheet1!$B$187:$B$258</c:f>
              <c:numCache>
                <c:formatCode>General</c:formatCode>
                <c:ptCount val="72"/>
                <c:pt idx="0">
                  <c:v>0.00022876452199209165</c:v>
                </c:pt>
                <c:pt idx="1">
                  <c:v>0.00022876452199209165</c:v>
                </c:pt>
                <c:pt idx="2">
                  <c:v>0.00022876452199209165</c:v>
                </c:pt>
                <c:pt idx="3">
                  <c:v>0.00022876452199209165</c:v>
                </c:pt>
                <c:pt idx="4">
                  <c:v>0.00022876452199209165</c:v>
                </c:pt>
                <c:pt idx="5">
                  <c:v>0.00022876452199209165</c:v>
                </c:pt>
                <c:pt idx="6">
                  <c:v>0.00022876452199209165</c:v>
                </c:pt>
                <c:pt idx="7">
                  <c:v>0.00022876452199209165</c:v>
                </c:pt>
                <c:pt idx="8">
                  <c:v>0.00022876452199209165</c:v>
                </c:pt>
                <c:pt idx="9">
                  <c:v>0.00022876452199209165</c:v>
                </c:pt>
                <c:pt idx="10">
                  <c:v>0.00022876452199209165</c:v>
                </c:pt>
                <c:pt idx="11">
                  <c:v>0.00022876452199209165</c:v>
                </c:pt>
                <c:pt idx="12">
                  <c:v>0.00022876452199209165</c:v>
                </c:pt>
                <c:pt idx="13">
                  <c:v>0.00022876452199209165</c:v>
                </c:pt>
                <c:pt idx="14">
                  <c:v>0.00022876452199209165</c:v>
                </c:pt>
                <c:pt idx="15">
                  <c:v>0.00022876452199209165</c:v>
                </c:pt>
                <c:pt idx="16">
                  <c:v>0.00022876452199209165</c:v>
                </c:pt>
                <c:pt idx="17">
                  <c:v>0.00022876452199209165</c:v>
                </c:pt>
                <c:pt idx="18">
                  <c:v>0.00022876452199209165</c:v>
                </c:pt>
                <c:pt idx="19">
                  <c:v>0.00022876452199209165</c:v>
                </c:pt>
                <c:pt idx="20">
                  <c:v>0.0007858295534943125</c:v>
                </c:pt>
                <c:pt idx="21">
                  <c:v>0.000539049034630627</c:v>
                </c:pt>
                <c:pt idx="22">
                  <c:v>0.00022876452199209165</c:v>
                </c:pt>
                <c:pt idx="23">
                  <c:v>0.00022876452199209165</c:v>
                </c:pt>
                <c:pt idx="24">
                  <c:v>0.0007246107180343612</c:v>
                </c:pt>
                <c:pt idx="25">
                  <c:v>0.00022876452199209165</c:v>
                </c:pt>
                <c:pt idx="26">
                  <c:v>0.000484132140899266</c:v>
                </c:pt>
                <c:pt idx="27">
                  <c:v>0.0006208454355681308</c:v>
                </c:pt>
                <c:pt idx="28">
                  <c:v>0.0007083550504109748</c:v>
                </c:pt>
                <c:pt idx="29">
                  <c:v>0.00022876452199209165</c:v>
                </c:pt>
                <c:pt idx="30">
                  <c:v>0.00022876452199209165</c:v>
                </c:pt>
                <c:pt idx="31">
                  <c:v>0.0008545046758501524</c:v>
                </c:pt>
                <c:pt idx="32">
                  <c:v>0.0007521223146759258</c:v>
                </c:pt>
                <c:pt idx="33">
                  <c:v>0.0006832800740571706</c:v>
                </c:pt>
                <c:pt idx="34">
                  <c:v>0.00022876452199209165</c:v>
                </c:pt>
                <c:pt idx="35">
                  <c:v>0.00022876452199209165</c:v>
                </c:pt>
                <c:pt idx="36">
                  <c:v>0.0008096931297966973</c:v>
                </c:pt>
                <c:pt idx="37">
                  <c:v>0.00022876452199209165</c:v>
                </c:pt>
                <c:pt idx="38">
                  <c:v>0.0005179041892098725</c:v>
                </c:pt>
                <c:pt idx="39">
                  <c:v>0.0004737680408371496</c:v>
                </c:pt>
                <c:pt idx="40">
                  <c:v>0.0005196545719716265</c:v>
                </c:pt>
                <c:pt idx="41">
                  <c:v>0.0007323032674733129</c:v>
                </c:pt>
                <c:pt idx="42">
                  <c:v>0.00047780843159336644</c:v>
                </c:pt>
                <c:pt idx="43">
                  <c:v>0.00040497556000108816</c:v>
                </c:pt>
                <c:pt idx="44">
                  <c:v>0.00046329219402502556</c:v>
                </c:pt>
                <c:pt idx="45">
                  <c:v>0.0005704009968215118</c:v>
                </c:pt>
                <c:pt idx="46">
                  <c:v>0.0004892295802236585</c:v>
                </c:pt>
                <c:pt idx="47">
                  <c:v>0.0005569838911916795</c:v>
                </c:pt>
                <c:pt idx="48">
                  <c:v>0.00022876452199209165</c:v>
                </c:pt>
                <c:pt idx="49">
                  <c:v>0.0004796097888212903</c:v>
                </c:pt>
                <c:pt idx="50">
                  <c:v>0.00033588374300076566</c:v>
                </c:pt>
                <c:pt idx="51">
                  <c:v>0.0003087769772468653</c:v>
                </c:pt>
                <c:pt idx="52">
                  <c:v>0.0003824898821423002</c:v>
                </c:pt>
                <c:pt idx="53">
                  <c:v>0.00022876452199209165</c:v>
                </c:pt>
                <c:pt idx="54">
                  <c:v>0.00022876452199209165</c:v>
                </c:pt>
                <c:pt idx="55">
                  <c:v>0.00022876452199209165</c:v>
                </c:pt>
                <c:pt idx="56">
                  <c:v>0.00022876452199209165</c:v>
                </c:pt>
                <c:pt idx="57">
                  <c:v>0.0007941247000139802</c:v>
                </c:pt>
                <c:pt idx="58">
                  <c:v>0.00062794545111597</c:v>
                </c:pt>
                <c:pt idx="59">
                  <c:v>0.0007622810680393392</c:v>
                </c:pt>
                <c:pt idx="60">
                  <c:v>0.00022876452199209165</c:v>
                </c:pt>
                <c:pt idx="61">
                  <c:v>0.00022876452199209165</c:v>
                </c:pt>
                <c:pt idx="62">
                  <c:v>0.00022876452199209165</c:v>
                </c:pt>
                <c:pt idx="63">
                  <c:v>0.00022876452199209165</c:v>
                </c:pt>
                <c:pt idx="64">
                  <c:v>0.00022876452199209165</c:v>
                </c:pt>
                <c:pt idx="65">
                  <c:v>0.00022876452199209165</c:v>
                </c:pt>
                <c:pt idx="66">
                  <c:v>0.00022876452199209165</c:v>
                </c:pt>
                <c:pt idx="67">
                  <c:v>0.0005270221107132743</c:v>
                </c:pt>
                <c:pt idx="68">
                  <c:v>0.0010530987549067844</c:v>
                </c:pt>
                <c:pt idx="69">
                  <c:v>0.00122756157183318</c:v>
                </c:pt>
                <c:pt idx="70">
                  <c:v>0.003104286624758969</c:v>
                </c:pt>
                <c:pt idx="71">
                  <c:v>0.0001811064940265568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31707317073170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4387.0</c:v>
                </c:pt>
                <c:pt idx="18">
                  <c:v>3807.0</c:v>
                </c:pt>
                <c:pt idx="19">
                  <c:v>3804.25</c:v>
                </c:pt>
                <c:pt idx="20">
                  <c:v>3359.5</c:v>
                </c:pt>
                <c:pt idx="21">
                  <c:v>4369.8</c:v>
                </c:pt>
                <c:pt idx="22">
                  <c:v>6539.0</c:v>
                </c:pt>
                <c:pt idx="23">
                  <c:v>5053.4</c:v>
                </c:pt>
                <c:pt idx="24">
                  <c:v>3948.1429</c:v>
                </c:pt>
                <c:pt idx="25">
                  <c:v>6402.2</c:v>
                </c:pt>
                <c:pt idx="26">
                  <c:v>7763.5</c:v>
                </c:pt>
                <c:pt idx="27">
                  <c:v>3345.6</c:v>
                </c:pt>
                <c:pt idx="28">
                  <c:v>7017.25</c:v>
                </c:pt>
                <c:pt idx="29">
                  <c:v>3873.25</c:v>
                </c:pt>
                <c:pt idx="30">
                  <c:v>5011.5</c:v>
                </c:pt>
                <c:pt idx="31">
                  <c:v>5771.0</c:v>
                </c:pt>
                <c:pt idx="32">
                  <c:v>3461.5</c:v>
                </c:pt>
                <c:pt idx="33">
                  <c:v>3505.5833</c:v>
                </c:pt>
                <c:pt idx="34">
                  <c:v>3707.6429</c:v>
                </c:pt>
                <c:pt idx="35">
                  <c:v>6483.0</c:v>
                </c:pt>
                <c:pt idx="36">
                  <c:v>4574.5</c:v>
                </c:pt>
                <c:pt idx="37">
                  <c:v>7663.0</c:v>
                </c:pt>
                <c:pt idx="38">
                  <c:v>5601.0</c:v>
                </c:pt>
                <c:pt idx="39">
                  <c:v>5694.6667</c:v>
                </c:pt>
                <c:pt idx="40">
                  <c:v>5335.6667</c:v>
                </c:pt>
                <c:pt idx="41">
                  <c:v>10645.0</c:v>
                </c:pt>
                <c:pt idx="42">
                  <c:v>5430.5</c:v>
                </c:pt>
                <c:pt idx="43">
                  <c:v>3861.5714</c:v>
                </c:pt>
                <c:pt idx="44">
                  <c:v>4392.6</c:v>
                </c:pt>
                <c:pt idx="45">
                  <c:v>4084.4545</c:v>
                </c:pt>
                <c:pt idx="46">
                  <c:v>3682.6154</c:v>
                </c:pt>
                <c:pt idx="47">
                  <c:v>4401.9</c:v>
                </c:pt>
                <c:pt idx="48">
                  <c:v>3202.1176</c:v>
                </c:pt>
                <c:pt idx="49">
                  <c:v>3614.8333</c:v>
                </c:pt>
                <c:pt idx="50">
                  <c:v>4083.9</c:v>
                </c:pt>
                <c:pt idx="51">
                  <c:v>4174.75</c:v>
                </c:pt>
                <c:pt idx="52">
                  <c:v>3479.2</c:v>
                </c:pt>
                <c:pt idx="53">
                  <c:v>3423.5</c:v>
                </c:pt>
                <c:pt idx="54">
                  <c:v>4202.4</c:v>
                </c:pt>
                <c:pt idx="55">
                  <c:v>15202.0</c:v>
                </c:pt>
                <c:pt idx="56">
                  <c:v>6202.5</c:v>
                </c:pt>
                <c:pt idx="57">
                  <c:v>10480.0</c:v>
                </c:pt>
                <c:pt idx="58">
                  <c:v>4706.5</c:v>
                </c:pt>
                <c:pt idx="59">
                  <c:v>3925.25</c:v>
                </c:pt>
                <c:pt idx="60">
                  <c:v>3984.0</c:v>
                </c:pt>
                <c:pt idx="61">
                  <c:v>3894.25</c:v>
                </c:pt>
                <c:pt idx="62">
                  <c:v>3523.6667</c:v>
                </c:pt>
                <c:pt idx="63">
                  <c:v>2920.0</c:v>
                </c:pt>
                <c:pt idx="64">
                  <c:v>3077.6</c:v>
                </c:pt>
                <c:pt idx="65">
                  <c:v>6638.0</c:v>
                </c:pt>
                <c:pt idx="66">
                  <c:v>10119.0</c:v>
                </c:pt>
                <c:pt idx="67">
                  <c:v>5730.5</c:v>
                </c:pt>
                <c:pt idx="68">
                  <c:v>17630.0</c:v>
                </c:pt>
                <c:pt idx="69">
                  <c:v>5701.0</c:v>
                </c:pt>
                <c:pt idx="70">
                  <c:v>5620.2857</c:v>
                </c:pt>
                <c:pt idx="71">
                  <c:v>6033.2</c:v>
                </c:pt>
                <c:pt idx="72">
                  <c:v>5945.6</c:v>
                </c:pt>
                <c:pt idx="73">
                  <c:v>5831.6</c:v>
                </c:pt>
                <c:pt idx="74">
                  <c:v>5610.1429</c:v>
                </c:pt>
                <c:pt idx="75">
                  <c:v>8324.4</c:v>
                </c:pt>
                <c:pt idx="76">
                  <c:v>8366.5</c:v>
                </c:pt>
                <c:pt idx="77">
                  <c:v>4291.4545</c:v>
                </c:pt>
                <c:pt idx="78">
                  <c:v>22182.0</c:v>
                </c:pt>
                <c:pt idx="79">
                  <c:v>18169.0</c:v>
                </c:pt>
                <c:pt idx="80">
                  <c:v>17887.0</c:v>
                </c:pt>
                <c:pt idx="81">
                  <c:v>11855.0</c:v>
                </c:pt>
                <c:pt idx="82">
                  <c:v>14450.0</c:v>
                </c:pt>
                <c:pt idx="83">
                  <c:v>17175.0</c:v>
                </c:pt>
                <c:pt idx="84">
                  <c:v>6509.5</c:v>
                </c:pt>
                <c:pt idx="85">
                  <c:v>11668.0</c:v>
                </c:pt>
                <c:pt idx="86">
                  <c:v>5744.6667</c:v>
                </c:pt>
                <c:pt idx="87">
                  <c:v>10423.0</c:v>
                </c:pt>
              </c:numCache>
            </c:numRef>
          </c:xVal>
          <c:yVal>
            <c:numRef>
              <c:f>Sheet1!$B$2:$B$89</c:f>
              <c:numCache>
                <c:formatCode>General</c:formatCode>
                <c:ptCount val="88"/>
                <c:pt idx="0">
                  <c:v>0.003424657534246575</c:v>
                </c:pt>
                <c:pt idx="1">
                  <c:v>0.0008351893095768374</c:v>
                </c:pt>
                <c:pt idx="2">
                  <c:v>0.0008551881413911061</c:v>
                </c:pt>
                <c:pt idx="3">
                  <c:v>0.0005715918833952558</c:v>
                </c:pt>
                <c:pt idx="4">
                  <c:v>0.0006345177664974619</c:v>
                </c:pt>
                <c:pt idx="5">
                  <c:v>0.001839587932303164</c:v>
                </c:pt>
                <c:pt idx="6">
                  <c:v>0.0020646937370956643</c:v>
                </c:pt>
                <c:pt idx="7">
                  <c:v>0.0027955271565495207</c:v>
                </c:pt>
                <c:pt idx="8">
                  <c:v>0.0015527950310559005</c:v>
                </c:pt>
                <c:pt idx="9">
                  <c:v>0.0020711080428028996</c:v>
                </c:pt>
                <c:pt idx="10">
                  <c:v>0.0010053619302949062</c:v>
                </c:pt>
                <c:pt idx="11">
                  <c:v>0.002213788741302973</c:v>
                </c:pt>
                <c:pt idx="12">
                  <c:v>0.0016456390565002743</c:v>
                </c:pt>
                <c:pt idx="13">
                  <c:v>0.0018981335020563112</c:v>
                </c:pt>
                <c:pt idx="14">
                  <c:v>0.0006343165239454488</c:v>
                </c:pt>
                <c:pt idx="15">
                  <c:v>0.0017921146953405018</c:v>
                </c:pt>
                <c:pt idx="16">
                  <c:v>0.0016666666666666668</c:v>
                </c:pt>
                <c:pt idx="17">
                  <c:v>0.0012897678417884782</c:v>
                </c:pt>
                <c:pt idx="18">
                  <c:v>0.0019144862795149968</c:v>
                </c:pt>
                <c:pt idx="19">
                  <c:v>0.0018281535648994515</c:v>
                </c:pt>
                <c:pt idx="20">
                  <c:v>0.0010787486515641855</c:v>
                </c:pt>
                <c:pt idx="21">
                  <c:v>0.0030921459492888066</c:v>
                </c:pt>
                <c:pt idx="22">
                  <c:v>0.0019292604501607716</c:v>
                </c:pt>
                <c:pt idx="23">
                  <c:v>0.0029533372711163615</c:v>
                </c:pt>
                <c:pt idx="24">
                  <c:v>0.004807692307692308</c:v>
                </c:pt>
                <c:pt idx="25">
                  <c:v>0.0027114967462039045</c:v>
                </c:pt>
                <c:pt idx="26">
                  <c:v>0.0011092623405435386</c:v>
                </c:pt>
                <c:pt idx="27">
                  <c:v>0.0027548209366391185</c:v>
                </c:pt>
                <c:pt idx="28">
                  <c:v>0.002081165452653486</c:v>
                </c:pt>
                <c:pt idx="29">
                  <c:v>0.0024875621890547263</c:v>
                </c:pt>
                <c:pt idx="30">
                  <c:v>0.0025673940949935813</c:v>
                </c:pt>
                <c:pt idx="31">
                  <c:v>0.00202020202020202</c:v>
                </c:pt>
                <c:pt idx="32">
                  <c:v>0.005743825387708214</c:v>
                </c:pt>
                <c:pt idx="33">
                  <c:v>0.006097560975609756</c:v>
                </c:pt>
                <c:pt idx="34">
                  <c:v>0.004834254143646409</c:v>
                </c:pt>
                <c:pt idx="35">
                  <c:v>0.0017777777777777779</c:v>
                </c:pt>
                <c:pt idx="36">
                  <c:v>0.002271436683702442</c:v>
                </c:pt>
                <c:pt idx="37">
                  <c:v>0.0010845986984815619</c:v>
                </c:pt>
                <c:pt idx="38">
                  <c:v>0.002368265245707519</c:v>
                </c:pt>
                <c:pt idx="39">
                  <c:v>0.0014347202295552368</c:v>
                </c:pt>
                <c:pt idx="40">
                  <c:v>0.0016163793103448276</c:v>
                </c:pt>
                <c:pt idx="41">
                  <c:v>0.00043047783039173483</c:v>
                </c:pt>
                <c:pt idx="42">
                  <c:v>0.0014847809948032665</c:v>
                </c:pt>
                <c:pt idx="43">
                  <c:v>0.00202487706103558</c:v>
                </c:pt>
                <c:pt idx="44">
                  <c:v>0.0013838915029061722</c:v>
                </c:pt>
                <c:pt idx="45">
                  <c:v>0.003016177680285166</c:v>
                </c:pt>
                <c:pt idx="46">
                  <c:v>0.003564573622155196</c:v>
                </c:pt>
                <c:pt idx="47">
                  <c:v>0.002004811547714515</c:v>
                </c:pt>
                <c:pt idx="48">
                  <c:v>0.002232729183083793</c:v>
                </c:pt>
                <c:pt idx="49">
                  <c:v>0.0027378507871321013</c:v>
                </c:pt>
                <c:pt idx="50">
                  <c:v>0.002617801047120419</c:v>
                </c:pt>
                <c:pt idx="51">
                  <c:v>0.0008378718056137411</c:v>
                </c:pt>
                <c:pt idx="52">
                  <c:v>0.001509206157561123</c:v>
                </c:pt>
                <c:pt idx="53">
                  <c:v>0.00335345405767941</c:v>
                </c:pt>
                <c:pt idx="54">
                  <c:v>0.0017972681524083393</c:v>
                </c:pt>
                <c:pt idx="55">
                  <c:v>0.0003284072249589491</c:v>
                </c:pt>
                <c:pt idx="56">
                  <c:v>0.0006238303181534623</c:v>
                </c:pt>
                <c:pt idx="57">
                  <c:v>0.000277623542476402</c:v>
                </c:pt>
                <c:pt idx="58">
                  <c:v>0.0007090941322460556</c:v>
                </c:pt>
                <c:pt idx="59">
                  <c:v>0.0007457121551081282</c:v>
                </c:pt>
                <c:pt idx="60">
                  <c:v>0.0013333333333333333</c:v>
                </c:pt>
                <c:pt idx="61">
                  <c:v>0.0010778765831312314</c:v>
                </c:pt>
                <c:pt idx="62">
                  <c:v>0.0014061401453011485</c:v>
                </c:pt>
                <c:pt idx="63">
                  <c:v>0.0020352781546811396</c:v>
                </c:pt>
                <c:pt idx="64">
                  <c:v>0.0012025012025012026</c:v>
                </c:pt>
                <c:pt idx="65">
                  <c:v>0.00027831895352073476</c:v>
                </c:pt>
                <c:pt idx="66">
                  <c:v>0.00028514399771884804</c:v>
                </c:pt>
                <c:pt idx="67">
                  <c:v>0.000888494002665482</c:v>
                </c:pt>
                <c:pt idx="68">
                  <c:v>0.00040567951318458417</c:v>
                </c:pt>
                <c:pt idx="69">
                  <c:v>0.0020458265139116204</c:v>
                </c:pt>
                <c:pt idx="70">
                  <c:v>0.0029154518950437317</c:v>
                </c:pt>
                <c:pt idx="71">
                  <c:v>0.0025614754098360654</c:v>
                </c:pt>
                <c:pt idx="72">
                  <c:v>0.002635740643120717</c:v>
                </c:pt>
                <c:pt idx="73">
                  <c:v>0.0026232948583420775</c:v>
                </c:pt>
                <c:pt idx="74">
                  <c:v>0.004161712247324614</c:v>
                </c:pt>
                <c:pt idx="75">
                  <c:v>0.0030321406913280777</c:v>
                </c:pt>
                <c:pt idx="76">
                  <c:v>0.0024110910186859553</c:v>
                </c:pt>
                <c:pt idx="77">
                  <c:v>0.005583756345177665</c:v>
                </c:pt>
                <c:pt idx="78">
                  <c:v>0.0006199628022318661</c:v>
                </c:pt>
                <c:pt idx="79">
                  <c:v>0.0007905138339920949</c:v>
                </c:pt>
                <c:pt idx="80">
                  <c:v>0.0007974481658692185</c:v>
                </c:pt>
                <c:pt idx="81">
                  <c:v>0.00025464731347084286</c:v>
                </c:pt>
                <c:pt idx="82">
                  <c:v>0.0002011667672500503</c:v>
                </c:pt>
                <c:pt idx="83">
                  <c:v>0.0001261193088661874</c:v>
                </c:pt>
                <c:pt idx="84">
                  <c:v>0.00045351473922902497</c:v>
                </c:pt>
                <c:pt idx="85">
                  <c:v>0.00023969319271332693</c:v>
                </c:pt>
                <c:pt idx="86">
                  <c:v>0.0007351139426611125</c:v>
                </c:pt>
                <c:pt idx="87">
                  <c:v>0.0002690341673392521</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0023342670401493932</c:v>
                </c:pt>
                <c:pt idx="21">
                  <c:v>0.0005215123859191656</c:v>
                </c:pt>
                <c:pt idx="22">
                  <c:v>0.0</c:v>
                </c:pt>
                <c:pt idx="23">
                  <c:v>0.0</c:v>
                </c:pt>
                <c:pt idx="24">
                  <c:v>0.0004462293618920125</c:v>
                </c:pt>
                <c:pt idx="25">
                  <c:v>0.0</c:v>
                </c:pt>
                <c:pt idx="26">
                  <c:v>0.0007457121551081282</c:v>
                </c:pt>
                <c:pt idx="27">
                  <c:v>0.00035112359550561797</c:v>
                </c:pt>
                <c:pt idx="28">
                  <c:v>0.0006024096385542169</c:v>
                </c:pt>
                <c:pt idx="29">
                  <c:v>0.0</c:v>
                </c:pt>
                <c:pt idx="30">
                  <c:v>0.0</c:v>
                </c:pt>
                <c:pt idx="31">
                  <c:v>0.00033886818027787193</c:v>
                </c:pt>
                <c:pt idx="32">
                  <c:v>0.00034674063800277393</c:v>
                </c:pt>
                <c:pt idx="33">
                  <c:v>0.0008016032064128256</c:v>
                </c:pt>
                <c:pt idx="34">
                  <c:v>0.0</c:v>
                </c:pt>
                <c:pt idx="35">
                  <c:v>0.0</c:v>
                </c:pt>
                <c:pt idx="36">
                  <c:v>0.00041649312786339027</c:v>
                </c:pt>
                <c:pt idx="37">
                  <c:v>0.0</c:v>
                </c:pt>
                <c:pt idx="38">
                  <c:v>0.0013157894736842105</c:v>
                </c:pt>
                <c:pt idx="39">
                  <c:v>0.0012804097311139564</c:v>
                </c:pt>
                <c:pt idx="40">
                  <c:v>0.0005580357142857143</c:v>
                </c:pt>
                <c:pt idx="41">
                  <c:v>0.0005382131324004305</c:v>
                </c:pt>
                <c:pt idx="42">
                  <c:v>0.0016375545851528383</c:v>
                </c:pt>
                <c:pt idx="43">
                  <c:v>0.00267379679144385</c:v>
                </c:pt>
                <c:pt idx="44">
                  <c:v>0.001010611419909045</c:v>
                </c:pt>
                <c:pt idx="45">
                  <c:v>0.0010050251256281408</c:v>
                </c:pt>
                <c:pt idx="46">
                  <c:v>0.0011983223487118035</c:v>
                </c:pt>
                <c:pt idx="47">
                  <c:v>0.0006075334143377885</c:v>
                </c:pt>
                <c:pt idx="48">
                  <c:v>0.0</c:v>
                </c:pt>
                <c:pt idx="49">
                  <c:v>0.0007283321194464676</c:v>
                </c:pt>
                <c:pt idx="50">
                  <c:v>0.002616088947024199</c:v>
                </c:pt>
                <c:pt idx="51">
                  <c:v>0.0021043771043771043</c:v>
                </c:pt>
                <c:pt idx="52">
                  <c:v>0.0021579628830384117</c:v>
                </c:pt>
                <c:pt idx="53">
                  <c:v>0.0</c:v>
                </c:pt>
                <c:pt idx="54">
                  <c:v>0.0</c:v>
                </c:pt>
                <c:pt idx="55">
                  <c:v>0.0</c:v>
                </c:pt>
                <c:pt idx="56">
                  <c:v>0.0</c:v>
                </c:pt>
                <c:pt idx="57">
                  <c:v>0.0005452562704471102</c:v>
                </c:pt>
                <c:pt idx="58">
                  <c:v>0.0005189413596263622</c:v>
                </c:pt>
                <c:pt idx="59">
                  <c:v>0.0005830903790087463</c:v>
                </c:pt>
                <c:pt idx="60">
                  <c:v>0.0</c:v>
                </c:pt>
                <c:pt idx="61">
                  <c:v>0.0</c:v>
                </c:pt>
                <c:pt idx="62">
                  <c:v>0.0</c:v>
                </c:pt>
                <c:pt idx="63">
                  <c:v>0.0</c:v>
                </c:pt>
                <c:pt idx="64">
                  <c:v>0.0</c:v>
                </c:pt>
                <c:pt idx="65">
                  <c:v>0.0</c:v>
                </c:pt>
                <c:pt idx="66">
                  <c:v>0.0</c:v>
                </c:pt>
                <c:pt idx="67">
                  <c:v>0.0004925501785494397</c:v>
                </c:pt>
                <c:pt idx="68">
                  <c:v>0.0002145462347135807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5319.98983509006</c:v>
                </c:pt>
              </c:numCache>
            </c:numRef>
          </c:xVal>
          <c:yVal>
            <c:numRef>
              <c:f>Sheet1!$B$163:$B$164</c:f>
              <c:numCache>
                <c:formatCode>General</c:formatCode>
                <c:ptCount val="2"/>
                <c:pt idx="0">
                  <c:v>0.003104286624758969</c:v>
                </c:pt>
                <c:pt idx="1">
                  <c:v>0.00310428662475896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5319.98983509006</c:v>
                </c:pt>
                <c:pt idx="1">
                  <c:v>55319.98983509006</c:v>
                </c:pt>
              </c:numCache>
            </c:numRef>
          </c:xVal>
          <c:yVal>
            <c:numRef>
              <c:f>Sheet1!$B$167:$B$168</c:f>
              <c:numCache>
                <c:formatCode>General</c:formatCode>
                <c:ptCount val="2"/>
                <c:pt idx="0">
                  <c:v>0.00310428662475896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9383.190446123568</c:v>
                </c:pt>
              </c:numCache>
            </c:numRef>
          </c:xVal>
          <c:yVal>
            <c:numRef>
              <c:f>Sheet1!$B$171:$B$172</c:f>
              <c:numCache>
                <c:formatCode>General</c:formatCode>
                <c:ptCount val="2"/>
                <c:pt idx="0">
                  <c:v>0.00122756157183318</c:v>
                </c:pt>
                <c:pt idx="1">
                  <c:v>0.0012275615718331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9383.190446123568</c:v>
                </c:pt>
                <c:pt idx="1">
                  <c:v>19383.190446123568</c:v>
                </c:pt>
              </c:numCache>
            </c:numRef>
          </c:xVal>
          <c:yVal>
            <c:numRef>
              <c:f>Sheet1!$B$175:$B$176</c:f>
              <c:numCache>
                <c:formatCode>General</c:formatCode>
                <c:ptCount val="2"/>
                <c:pt idx="0">
                  <c:v>0.001227561571833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655.0384580381367</c:v>
                </c:pt>
              </c:numCache>
            </c:numRef>
          </c:xVal>
          <c:yVal>
            <c:numRef>
              <c:f>Sheet1!$B$179:$B$180</c:f>
              <c:numCache>
                <c:formatCode>General</c:formatCode>
                <c:ptCount val="2"/>
                <c:pt idx="0">
                  <c:v>0.00018110649402655686</c:v>
                </c:pt>
                <c:pt idx="1">
                  <c:v>0.0001811064940265568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655.0384580381367</c:v>
                </c:pt>
                <c:pt idx="1">
                  <c:v>-655.0384580381367</c:v>
                </c:pt>
              </c:numCache>
            </c:numRef>
          </c:xVal>
          <c:yVal>
            <c:numRef>
              <c:f>Sheet1!$B$183:$B$184</c:f>
              <c:numCache>
                <c:formatCode>General</c:formatCode>
                <c:ptCount val="2"/>
                <c:pt idx="0">
                  <c:v>0.000181106494026556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pt idx="69">
                  <c:v>19383.190446123568</c:v>
                </c:pt>
                <c:pt idx="70">
                  <c:v>55319.98983509006</c:v>
                </c:pt>
                <c:pt idx="71">
                  <c:v>-655.0384580381367</c:v>
                </c:pt>
              </c:numCache>
            </c:numRef>
          </c:xVal>
          <c:yVal>
            <c:numRef>
              <c:f>Sheet1!$B$187:$B$258</c:f>
              <c:numCache>
                <c:formatCode>General</c:formatCode>
                <c:ptCount val="72"/>
                <c:pt idx="0">
                  <c:v>0.00021531452328159073</c:v>
                </c:pt>
                <c:pt idx="1">
                  <c:v>0.00021531452328159073</c:v>
                </c:pt>
                <c:pt idx="2">
                  <c:v>0.00021531452328159073</c:v>
                </c:pt>
                <c:pt idx="3">
                  <c:v>0.00021531452328159073</c:v>
                </c:pt>
                <c:pt idx="4">
                  <c:v>0.00021531452328159073</c:v>
                </c:pt>
                <c:pt idx="5">
                  <c:v>0.00021531452328159073</c:v>
                </c:pt>
                <c:pt idx="6">
                  <c:v>0.00021531452328159073</c:v>
                </c:pt>
                <c:pt idx="7">
                  <c:v>0.00021531452328159073</c:v>
                </c:pt>
                <c:pt idx="8">
                  <c:v>0.00021531452328159073</c:v>
                </c:pt>
                <c:pt idx="9">
                  <c:v>0.00021531452328159073</c:v>
                </c:pt>
                <c:pt idx="10">
                  <c:v>0.00021531452328159073</c:v>
                </c:pt>
                <c:pt idx="11">
                  <c:v>0.00021531452328159073</c:v>
                </c:pt>
                <c:pt idx="12">
                  <c:v>0.00021531452328159073</c:v>
                </c:pt>
                <c:pt idx="13">
                  <c:v>0.00021531452328159073</c:v>
                </c:pt>
                <c:pt idx="14">
                  <c:v>0.00021531452328159073</c:v>
                </c:pt>
                <c:pt idx="15">
                  <c:v>0.00021531452328159073</c:v>
                </c:pt>
                <c:pt idx="16">
                  <c:v>0.00021531452328159073</c:v>
                </c:pt>
                <c:pt idx="17">
                  <c:v>0.00021531452328159073</c:v>
                </c:pt>
                <c:pt idx="18">
                  <c:v>0.00021531452328159073</c:v>
                </c:pt>
                <c:pt idx="19">
                  <c:v>0.00021531452328159073</c:v>
                </c:pt>
                <c:pt idx="20">
                  <c:v>0.0007993758016592713</c:v>
                </c:pt>
                <c:pt idx="21">
                  <c:v>0.0005424128617220953</c:v>
                </c:pt>
                <c:pt idx="22">
                  <c:v>0.00021531452328159073</c:v>
                </c:pt>
                <c:pt idx="23">
                  <c:v>0.00021531452328159073</c:v>
                </c:pt>
                <c:pt idx="24">
                  <c:v>0.0007107534850098682</c:v>
                </c:pt>
                <c:pt idx="25">
                  <c:v>0.00021531452328159073</c:v>
                </c:pt>
                <c:pt idx="26">
                  <c:v>0.0004744447149223321</c:v>
                </c:pt>
                <c:pt idx="27">
                  <c:v>0.0005943485682087372</c:v>
                </c:pt>
                <c:pt idx="28">
                  <c:v>0.0006661289890894705</c:v>
                </c:pt>
                <c:pt idx="29">
                  <c:v>0.00021531452328159073</c:v>
                </c:pt>
                <c:pt idx="30">
                  <c:v>0.00021531452328159073</c:v>
                </c:pt>
                <c:pt idx="31">
                  <c:v>0.0009243452794094314</c:v>
                </c:pt>
                <c:pt idx="32">
                  <c:v>0.0008292473191156406</c:v>
                </c:pt>
                <c:pt idx="33">
                  <c:v>0.0007975741104840183</c:v>
                </c:pt>
                <c:pt idx="34">
                  <c:v>0.00021531452328159073</c:v>
                </c:pt>
                <c:pt idx="35">
                  <c:v>0.00021531452328159073</c:v>
                </c:pt>
                <c:pt idx="36">
                  <c:v>0.0008227716754712529</c:v>
                </c:pt>
                <c:pt idx="37">
                  <c:v>0.00021531452328159073</c:v>
                </c:pt>
                <c:pt idx="38">
                  <c:v>0.0005702999077390554</c:v>
                </c:pt>
                <c:pt idx="39">
                  <c:v>0.000493375527995643</c:v>
                </c:pt>
                <c:pt idx="40">
                  <c:v>0.0005483923875066307</c:v>
                </c:pt>
                <c:pt idx="41">
                  <c:v>0.0008018825024248407</c:v>
                </c:pt>
                <c:pt idx="42">
                  <c:v>0.0004775084620432369</c:v>
                </c:pt>
                <c:pt idx="43">
                  <c:v>0.0004290107635463859</c:v>
                </c:pt>
                <c:pt idx="44">
                  <c:v>0.0004549394495902448</c:v>
                </c:pt>
                <c:pt idx="45">
                  <c:v>0.0005930429948933363</c:v>
                </c:pt>
                <c:pt idx="46">
                  <c:v>0.0005019923118772879</c:v>
                </c:pt>
                <c:pt idx="47">
                  <c:v>0.000559359203355997</c:v>
                </c:pt>
                <c:pt idx="48">
                  <c:v>0.00021531452328159073</c:v>
                </c:pt>
                <c:pt idx="49">
                  <c:v>0.0005214453542767591</c:v>
                </c:pt>
                <c:pt idx="50">
                  <c:v>0.0003328683446002745</c:v>
                </c:pt>
                <c:pt idx="51">
                  <c:v>0.00032033484077242724</c:v>
                </c:pt>
                <c:pt idx="52">
                  <c:v>0.00039922280278220233</c:v>
                </c:pt>
                <c:pt idx="53">
                  <c:v>0.00021531452328159073</c:v>
                </c:pt>
                <c:pt idx="54">
                  <c:v>0.00021531452328159073</c:v>
                </c:pt>
                <c:pt idx="55">
                  <c:v>0.00021531452328159073</c:v>
                </c:pt>
                <c:pt idx="56">
                  <c:v>0.00021531452328159073</c:v>
                </c:pt>
                <c:pt idx="57">
                  <c:v>0.0008736890347718822</c:v>
                </c:pt>
                <c:pt idx="58">
                  <c:v>0.0007026067075217676</c:v>
                </c:pt>
                <c:pt idx="59">
                  <c:v>0.0008326940326682985</c:v>
                </c:pt>
                <c:pt idx="60">
                  <c:v>0.00021531452328159073</c:v>
                </c:pt>
                <c:pt idx="61">
                  <c:v>0.00021531452328159073</c:v>
                </c:pt>
                <c:pt idx="62">
                  <c:v>0.00021531452328159073</c:v>
                </c:pt>
                <c:pt idx="63">
                  <c:v>0.00021531452328159073</c:v>
                </c:pt>
                <c:pt idx="64">
                  <c:v>0.00021531452328159073</c:v>
                </c:pt>
                <c:pt idx="65">
                  <c:v>0.00021531452328159073</c:v>
                </c:pt>
                <c:pt idx="66">
                  <c:v>0.00021531452328159073</c:v>
                </c:pt>
                <c:pt idx="67">
                  <c:v>0.0004558011279784093</c:v>
                </c:pt>
                <c:pt idx="68">
                  <c:v>0.0009481067137497251</c:v>
                </c:pt>
                <c:pt idx="69">
                  <c:v>0.00122756157183318</c:v>
                </c:pt>
                <c:pt idx="70">
                  <c:v>0.003104286624758969</c:v>
                </c:pt>
                <c:pt idx="71">
                  <c:v>0.0001811064940265568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638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31707317073170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0.578206571053454</c:v>
                </c:pt>
                <c:pt idx="1">
                  <c:v>1.1154353477916672</c:v>
                </c:pt>
                <c:pt idx="2">
                  <c:v>1.0722165991219181</c:v>
                </c:pt>
                <c:pt idx="3">
                  <c:v>1.3582048660498725</c:v>
                </c:pt>
                <c:pt idx="4">
                  <c:v>1.0508969340222727</c:v>
                </c:pt>
                <c:pt idx="5">
                  <c:v>0.8032035863598613</c:v>
                </c:pt>
                <c:pt idx="6">
                  <c:v>1.0890379651545414</c:v>
                </c:pt>
                <c:pt idx="7">
                  <c:v>0.623482642062969</c:v>
                </c:pt>
                <c:pt idx="8">
                  <c:v>0.8862861068987754</c:v>
                </c:pt>
                <c:pt idx="9">
                  <c:v>0.8227058673794069</c:v>
                </c:pt>
                <c:pt idx="10">
                  <c:v>1.2274117692954472</c:v>
                </c:pt>
                <c:pt idx="11">
                  <c:v>0.7855343442173863</c:v>
                </c:pt>
                <c:pt idx="12">
                  <c:v>0.9925341525484436</c:v>
                </c:pt>
                <c:pt idx="13">
                  <c:v>0.9006715302186026</c:v>
                </c:pt>
                <c:pt idx="14">
                  <c:v>1.0182506031656107</c:v>
                </c:pt>
                <c:pt idx="15">
                  <c:v>0.677574841717618</c:v>
                </c:pt>
                <c:pt idx="16">
                  <c:v>0.3670682082499681</c:v>
                </c:pt>
                <c:pt idx="17">
                  <c:v>0.8207670720299345</c:v>
                </c:pt>
                <c:pt idx="18">
                  <c:v>0.6409598713325672</c:v>
                </c:pt>
                <c:pt idx="19">
                  <c:v>0.6644841671025239</c:v>
                </c:pt>
                <c:pt idx="20">
                  <c:v>0.6017430864564477</c:v>
                </c:pt>
                <c:pt idx="21">
                  <c:v>0.7639796714761533</c:v>
                </c:pt>
                <c:pt idx="22">
                  <c:v>1.2419753086419754</c:v>
                </c:pt>
                <c:pt idx="23">
                  <c:v>0.7761602116075624</c:v>
                </c:pt>
                <c:pt idx="24">
                  <c:v>0.6499803103263777</c:v>
                </c:pt>
                <c:pt idx="25">
                  <c:v>1.0990346392982973</c:v>
                </c:pt>
                <c:pt idx="26">
                  <c:v>1.3020797081758193</c:v>
                </c:pt>
                <c:pt idx="27">
                  <c:v>0.5160145189235785</c:v>
                </c:pt>
                <c:pt idx="28">
                  <c:v>1.139957063959255</c:v>
                </c:pt>
                <c:pt idx="29">
                  <c:v>0.6403775976812056</c:v>
                </c:pt>
                <c:pt idx="30">
                  <c:v>0.8817962468436172</c:v>
                </c:pt>
                <c:pt idx="31">
                  <c:v>0.8842276223454785</c:v>
                </c:pt>
                <c:pt idx="32">
                  <c:v>0.5106826730436766</c:v>
                </c:pt>
                <c:pt idx="33">
                  <c:v>0.6143182250506728</c:v>
                </c:pt>
                <c:pt idx="34">
                  <c:v>0.5981677203450805</c:v>
                </c:pt>
                <c:pt idx="35">
                  <c:v>1.0373906605365406</c:v>
                </c:pt>
                <c:pt idx="36">
                  <c:v>0.8458906973861673</c:v>
                </c:pt>
                <c:pt idx="37">
                  <c:v>1.2278838694580143</c:v>
                </c:pt>
                <c:pt idx="38">
                  <c:v>0.895366561967447</c:v>
                </c:pt>
                <c:pt idx="39">
                  <c:v>0.9515466160896584</c:v>
                </c:pt>
                <c:pt idx="40">
                  <c:v>0.9072377336805945</c:v>
                </c:pt>
                <c:pt idx="41">
                  <c:v>1.808067940552017</c:v>
                </c:pt>
                <c:pt idx="42">
                  <c:v>0.9102498508031687</c:v>
                </c:pt>
                <c:pt idx="43">
                  <c:v>0.6132671295531641</c:v>
                </c:pt>
                <c:pt idx="44">
                  <c:v>0.7014111016198995</c:v>
                </c:pt>
                <c:pt idx="45">
                  <c:v>0.6363367192733731</c:v>
                </c:pt>
                <c:pt idx="46">
                  <c:v>0.6067689200767769</c:v>
                </c:pt>
                <c:pt idx="47">
                  <c:v>0.7349361382419233</c:v>
                </c:pt>
                <c:pt idx="48">
                  <c:v>0.5384841152599567</c:v>
                </c:pt>
                <c:pt idx="49">
                  <c:v>0.574932929350765</c:v>
                </c:pt>
                <c:pt idx="50">
                  <c:v>0.6797638824616191</c:v>
                </c:pt>
                <c:pt idx="51">
                  <c:v>0.6840885981705114</c:v>
                </c:pt>
                <c:pt idx="52">
                  <c:v>0.5846174237500391</c:v>
                </c:pt>
                <c:pt idx="53">
                  <c:v>0.5450356935891639</c:v>
                </c:pt>
                <c:pt idx="54">
                  <c:v>0.6697328544588304</c:v>
                </c:pt>
                <c:pt idx="55">
                  <c:v>2.5292404957990184</c:v>
                </c:pt>
                <c:pt idx="56">
                  <c:v>1.0134313268460549</c:v>
                </c:pt>
                <c:pt idx="57">
                  <c:v>1.7442388605966024</c:v>
                </c:pt>
                <c:pt idx="58">
                  <c:v>0.7727983518451639</c:v>
                </c:pt>
                <c:pt idx="59">
                  <c:v>0.6400020270059741</c:v>
                </c:pt>
                <c:pt idx="60">
                  <c:v>0.649706457925636</c:v>
                </c:pt>
                <c:pt idx="61">
                  <c:v>0.6474077282519756</c:v>
                </c:pt>
                <c:pt idx="62">
                  <c:v>0.5781369657594873</c:v>
                </c:pt>
                <c:pt idx="63">
                  <c:v>0.47962615440841316</c:v>
                </c:pt>
                <c:pt idx="64">
                  <c:v>0.5079926979515956</c:v>
                </c:pt>
                <c:pt idx="65">
                  <c:v>1.101011776413999</c:v>
                </c:pt>
                <c:pt idx="66">
                  <c:v>1.6381126636874244</c:v>
                </c:pt>
                <c:pt idx="67">
                  <c:v>0.9339427911024955</c:v>
                </c:pt>
                <c:pt idx="68">
                  <c:v>2.855486161500985</c:v>
                </c:pt>
                <c:pt idx="69">
                  <c:v>1.00738620299689</c:v>
                </c:pt>
                <c:pt idx="70">
                  <c:v>0.9375168602668459</c:v>
                </c:pt>
                <c:pt idx="71">
                  <c:v>0.9797495899576154</c:v>
                </c:pt>
                <c:pt idx="72">
                  <c:v>1.0010270224766395</c:v>
                </c:pt>
                <c:pt idx="73">
                  <c:v>0.9702999950084025</c:v>
                </c:pt>
                <c:pt idx="74">
                  <c:v>0.9459016860563143</c:v>
                </c:pt>
                <c:pt idx="75">
                  <c:v>1.389651745366467</c:v>
                </c:pt>
                <c:pt idx="76">
                  <c:v>1.4510530822845868</c:v>
                </c:pt>
                <c:pt idx="77">
                  <c:v>0.6701139605557199</c:v>
                </c:pt>
                <c:pt idx="78">
                  <c:v>3.6883937479215163</c:v>
                </c:pt>
                <c:pt idx="79">
                  <c:v>2.9405862074546425</c:v>
                </c:pt>
                <c:pt idx="80">
                  <c:v>2.7553645424157</c:v>
                </c:pt>
                <c:pt idx="81">
                  <c:v>1.9666179582428034</c:v>
                </c:pt>
                <c:pt idx="82">
                  <c:v>2.3939447280408377</c:v>
                </c:pt>
                <c:pt idx="83">
                  <c:v>2.6910030906346765</c:v>
                </c:pt>
                <c:pt idx="84">
                  <c:v>1.0685000186796685</c:v>
                </c:pt>
                <c:pt idx="85">
                  <c:v>1.9911777582645696</c:v>
                </c:pt>
                <c:pt idx="86">
                  <c:v>0.9305741222208723</c:v>
                </c:pt>
                <c:pt idx="87">
                  <c:v>1.6513364980965743</c:v>
                </c:pt>
              </c:numCache>
            </c:numRef>
          </c:xVal>
          <c:yVal>
            <c:numRef>
              <c:f>Sheet1!$B$2:$B$89</c:f>
              <c:numCache>
                <c:formatCode>General</c:formatCode>
                <c:ptCount val="88"/>
                <c:pt idx="0">
                  <c:v>0.003424657534246575</c:v>
                </c:pt>
                <c:pt idx="1">
                  <c:v>0.0008351893095768374</c:v>
                </c:pt>
                <c:pt idx="2">
                  <c:v>0.0008551881413911061</c:v>
                </c:pt>
                <c:pt idx="3">
                  <c:v>0.0005715918833952558</c:v>
                </c:pt>
                <c:pt idx="4">
                  <c:v>0.0006345177664974619</c:v>
                </c:pt>
                <c:pt idx="5">
                  <c:v>0.001839587932303164</c:v>
                </c:pt>
                <c:pt idx="6">
                  <c:v>0.0020646937370956643</c:v>
                </c:pt>
                <c:pt idx="7">
                  <c:v>0.0027955271565495207</c:v>
                </c:pt>
                <c:pt idx="8">
                  <c:v>0.0015527950310559005</c:v>
                </c:pt>
                <c:pt idx="9">
                  <c:v>0.0020711080428028996</c:v>
                </c:pt>
                <c:pt idx="10">
                  <c:v>0.0010053619302949062</c:v>
                </c:pt>
                <c:pt idx="11">
                  <c:v>0.002213788741302973</c:v>
                </c:pt>
                <c:pt idx="12">
                  <c:v>0.0016456390565002743</c:v>
                </c:pt>
                <c:pt idx="13">
                  <c:v>0.0018981335020563112</c:v>
                </c:pt>
                <c:pt idx="14">
                  <c:v>0.0006343165239454488</c:v>
                </c:pt>
                <c:pt idx="15">
                  <c:v>0.0017921146953405018</c:v>
                </c:pt>
                <c:pt idx="16">
                  <c:v>0.0016666666666666668</c:v>
                </c:pt>
                <c:pt idx="17">
                  <c:v>0.0012897678417884782</c:v>
                </c:pt>
                <c:pt idx="18">
                  <c:v>0.0019144862795149968</c:v>
                </c:pt>
                <c:pt idx="19">
                  <c:v>0.0018281535648994515</c:v>
                </c:pt>
                <c:pt idx="20">
                  <c:v>0.0010787486515641855</c:v>
                </c:pt>
                <c:pt idx="21">
                  <c:v>0.0030921459492888066</c:v>
                </c:pt>
                <c:pt idx="22">
                  <c:v>0.0019292604501607716</c:v>
                </c:pt>
                <c:pt idx="23">
                  <c:v>0.0029533372711163615</c:v>
                </c:pt>
                <c:pt idx="24">
                  <c:v>0.004807692307692308</c:v>
                </c:pt>
                <c:pt idx="25">
                  <c:v>0.0027114967462039045</c:v>
                </c:pt>
                <c:pt idx="26">
                  <c:v>0.0011092623405435386</c:v>
                </c:pt>
                <c:pt idx="27">
                  <c:v>0.0027548209366391185</c:v>
                </c:pt>
                <c:pt idx="28">
                  <c:v>0.002081165452653486</c:v>
                </c:pt>
                <c:pt idx="29">
                  <c:v>0.0024875621890547263</c:v>
                </c:pt>
                <c:pt idx="30">
                  <c:v>0.0025673940949935813</c:v>
                </c:pt>
                <c:pt idx="31">
                  <c:v>0.00202020202020202</c:v>
                </c:pt>
                <c:pt idx="32">
                  <c:v>0.005743825387708214</c:v>
                </c:pt>
                <c:pt idx="33">
                  <c:v>0.006097560975609756</c:v>
                </c:pt>
                <c:pt idx="34">
                  <c:v>0.004834254143646409</c:v>
                </c:pt>
                <c:pt idx="35">
                  <c:v>0.0017777777777777779</c:v>
                </c:pt>
                <c:pt idx="36">
                  <c:v>0.002271436683702442</c:v>
                </c:pt>
                <c:pt idx="37">
                  <c:v>0.0010845986984815619</c:v>
                </c:pt>
                <c:pt idx="38">
                  <c:v>0.002368265245707519</c:v>
                </c:pt>
                <c:pt idx="39">
                  <c:v>0.0014347202295552368</c:v>
                </c:pt>
                <c:pt idx="40">
                  <c:v>0.0016163793103448276</c:v>
                </c:pt>
                <c:pt idx="41">
                  <c:v>0.00043047783039173483</c:v>
                </c:pt>
                <c:pt idx="42">
                  <c:v>0.0014847809948032665</c:v>
                </c:pt>
                <c:pt idx="43">
                  <c:v>0.00202487706103558</c:v>
                </c:pt>
                <c:pt idx="44">
                  <c:v>0.0013838915029061722</c:v>
                </c:pt>
                <c:pt idx="45">
                  <c:v>0.003016177680285166</c:v>
                </c:pt>
                <c:pt idx="46">
                  <c:v>0.003564573622155196</c:v>
                </c:pt>
                <c:pt idx="47">
                  <c:v>0.002004811547714515</c:v>
                </c:pt>
                <c:pt idx="48">
                  <c:v>0.002232729183083793</c:v>
                </c:pt>
                <c:pt idx="49">
                  <c:v>0.0027378507871321013</c:v>
                </c:pt>
                <c:pt idx="50">
                  <c:v>0.002617801047120419</c:v>
                </c:pt>
                <c:pt idx="51">
                  <c:v>0.0008378718056137411</c:v>
                </c:pt>
                <c:pt idx="52">
                  <c:v>0.001509206157561123</c:v>
                </c:pt>
                <c:pt idx="53">
                  <c:v>0.00335345405767941</c:v>
                </c:pt>
                <c:pt idx="54">
                  <c:v>0.0017972681524083393</c:v>
                </c:pt>
                <c:pt idx="55">
                  <c:v>0.0003284072249589491</c:v>
                </c:pt>
                <c:pt idx="56">
                  <c:v>0.0006238303181534623</c:v>
                </c:pt>
                <c:pt idx="57">
                  <c:v>0.000277623542476402</c:v>
                </c:pt>
                <c:pt idx="58">
                  <c:v>0.0007090941322460556</c:v>
                </c:pt>
                <c:pt idx="59">
                  <c:v>0.0007457121551081282</c:v>
                </c:pt>
                <c:pt idx="60">
                  <c:v>0.0013333333333333333</c:v>
                </c:pt>
                <c:pt idx="61">
                  <c:v>0.0010778765831312314</c:v>
                </c:pt>
                <c:pt idx="62">
                  <c:v>0.0014061401453011485</c:v>
                </c:pt>
                <c:pt idx="63">
                  <c:v>0.0020352781546811396</c:v>
                </c:pt>
                <c:pt idx="64">
                  <c:v>0.0012025012025012026</c:v>
                </c:pt>
                <c:pt idx="65">
                  <c:v>0.00027831895352073476</c:v>
                </c:pt>
                <c:pt idx="66">
                  <c:v>0.00028514399771884804</c:v>
                </c:pt>
                <c:pt idx="67">
                  <c:v>0.000888494002665482</c:v>
                </c:pt>
                <c:pt idx="68">
                  <c:v>0.00040567951318458417</c:v>
                </c:pt>
                <c:pt idx="69">
                  <c:v>0.0020458265139116204</c:v>
                </c:pt>
                <c:pt idx="70">
                  <c:v>0.0029154518950437317</c:v>
                </c:pt>
                <c:pt idx="71">
                  <c:v>0.0025614754098360654</c:v>
                </c:pt>
                <c:pt idx="72">
                  <c:v>0.002635740643120717</c:v>
                </c:pt>
                <c:pt idx="73">
                  <c:v>0.0026232948583420775</c:v>
                </c:pt>
                <c:pt idx="74">
                  <c:v>0.004161712247324614</c:v>
                </c:pt>
                <c:pt idx="75">
                  <c:v>0.0030321406913280777</c:v>
                </c:pt>
                <c:pt idx="76">
                  <c:v>0.0024110910186859553</c:v>
                </c:pt>
                <c:pt idx="77">
                  <c:v>0.005583756345177665</c:v>
                </c:pt>
                <c:pt idx="78">
                  <c:v>0.0006199628022318661</c:v>
                </c:pt>
                <c:pt idx="79">
                  <c:v>0.0007905138339920949</c:v>
                </c:pt>
                <c:pt idx="80">
                  <c:v>0.0007974481658692185</c:v>
                </c:pt>
                <c:pt idx="81">
                  <c:v>0.00025464731347084286</c:v>
                </c:pt>
                <c:pt idx="82">
                  <c:v>0.0002011667672500503</c:v>
                </c:pt>
                <c:pt idx="83">
                  <c:v>0.0001261193088661874</c:v>
                </c:pt>
                <c:pt idx="84">
                  <c:v>0.00045351473922902497</c:v>
                </c:pt>
                <c:pt idx="85">
                  <c:v>0.00023969319271332693</c:v>
                </c:pt>
                <c:pt idx="86">
                  <c:v>0.0007351139426611125</c:v>
                </c:pt>
                <c:pt idx="87">
                  <c:v>0.0002690341673392521</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7454469725437634</c:v>
                </c:pt>
                <c:pt idx="21">
                  <c:v>0.9681805196112859</c:v>
                </c:pt>
                <c:pt idx="22">
                  <c:v>0.0</c:v>
                </c:pt>
                <c:pt idx="23">
                  <c:v>0.0</c:v>
                </c:pt>
                <c:pt idx="24">
                  <c:v>1.3274391137525632</c:v>
                </c:pt>
                <c:pt idx="25">
                  <c:v>0.0</c:v>
                </c:pt>
                <c:pt idx="26">
                  <c:v>0.6918702553920111</c:v>
                </c:pt>
                <c:pt idx="27">
                  <c:v>1.0602565815084006</c:v>
                </c:pt>
                <c:pt idx="28">
                  <c:v>1.1501262567502553</c:v>
                </c:pt>
                <c:pt idx="29">
                  <c:v>0.0</c:v>
                </c:pt>
                <c:pt idx="30">
                  <c:v>0.0</c:v>
                </c:pt>
                <c:pt idx="31">
                  <c:v>1.7478161245428605</c:v>
                </c:pt>
                <c:pt idx="32">
                  <c:v>1.5700453510190564</c:v>
                </c:pt>
                <c:pt idx="33">
                  <c:v>1.538751679677982</c:v>
                </c:pt>
                <c:pt idx="34">
                  <c:v>0.0</c:v>
                </c:pt>
                <c:pt idx="35">
                  <c:v>0.0</c:v>
                </c:pt>
                <c:pt idx="36">
                  <c:v>1.5763064232359167</c:v>
                </c:pt>
                <c:pt idx="37">
                  <c:v>0.0</c:v>
                </c:pt>
                <c:pt idx="38">
                  <c:v>0.9093499502349126</c:v>
                </c:pt>
                <c:pt idx="39">
                  <c:v>0.6916470790923538</c:v>
                </c:pt>
                <c:pt idx="40">
                  <c:v>0.8667611451716742</c:v>
                </c:pt>
                <c:pt idx="41">
                  <c:v>1.58867521248142</c:v>
                </c:pt>
                <c:pt idx="42">
                  <c:v>0.6225075046829409</c:v>
                </c:pt>
                <c:pt idx="43">
                  <c:v>0.472122068706914</c:v>
                </c:pt>
                <c:pt idx="44">
                  <c:v>0.5459292340791908</c:v>
                </c:pt>
                <c:pt idx="45">
                  <c:v>0.8365331236121392</c:v>
                </c:pt>
                <c:pt idx="46">
                  <c:v>0.6753287788243566</c:v>
                </c:pt>
                <c:pt idx="47">
                  <c:v>0.8435483284240947</c:v>
                </c:pt>
                <c:pt idx="48">
                  <c:v>0.0</c:v>
                </c:pt>
                <c:pt idx="49">
                  <c:v>0.6595931768360193</c:v>
                </c:pt>
                <c:pt idx="50">
                  <c:v>0.2722351736503636</c:v>
                </c:pt>
                <c:pt idx="51">
                  <c:v>0.2445653826274665</c:v>
                </c:pt>
                <c:pt idx="52">
                  <c:v>0.44037653043693226</c:v>
                </c:pt>
                <c:pt idx="53">
                  <c:v>0.0</c:v>
                </c:pt>
                <c:pt idx="54">
                  <c:v>0.0</c:v>
                </c:pt>
                <c:pt idx="55">
                  <c:v>0.0</c:v>
                </c:pt>
                <c:pt idx="56">
                  <c:v>0.0</c:v>
                </c:pt>
                <c:pt idx="57">
                  <c:v>1.8317566863368984</c:v>
                </c:pt>
                <c:pt idx="58">
                  <c:v>1.2697084786889414</c:v>
                </c:pt>
                <c:pt idx="59">
                  <c:v>1.3393592490397812</c:v>
                </c:pt>
                <c:pt idx="60">
                  <c:v>0.0</c:v>
                </c:pt>
                <c:pt idx="61">
                  <c:v>0.0</c:v>
                </c:pt>
                <c:pt idx="62">
                  <c:v>0.0</c:v>
                </c:pt>
                <c:pt idx="63">
                  <c:v>0.0</c:v>
                </c:pt>
                <c:pt idx="64">
                  <c:v>0.0</c:v>
                </c:pt>
                <c:pt idx="65">
                  <c:v>0.0</c:v>
                </c:pt>
                <c:pt idx="66">
                  <c:v>0.0</c:v>
                </c:pt>
                <c:pt idx="67">
                  <c:v>0.6350442662397919</c:v>
                </c:pt>
                <c:pt idx="68">
                  <c:v>1.9467045511946324</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0023342670401493932</c:v>
                </c:pt>
                <c:pt idx="21">
                  <c:v>0.0005215123859191656</c:v>
                </c:pt>
                <c:pt idx="22">
                  <c:v>0.0</c:v>
                </c:pt>
                <c:pt idx="23">
                  <c:v>0.0</c:v>
                </c:pt>
                <c:pt idx="24">
                  <c:v>0.0004462293618920125</c:v>
                </c:pt>
                <c:pt idx="25">
                  <c:v>0.0</c:v>
                </c:pt>
                <c:pt idx="26">
                  <c:v>0.0007457121551081282</c:v>
                </c:pt>
                <c:pt idx="27">
                  <c:v>0.00035112359550561797</c:v>
                </c:pt>
                <c:pt idx="28">
                  <c:v>0.0006024096385542169</c:v>
                </c:pt>
                <c:pt idx="29">
                  <c:v>0.0</c:v>
                </c:pt>
                <c:pt idx="30">
                  <c:v>0.0</c:v>
                </c:pt>
                <c:pt idx="31">
                  <c:v>0.00033886818027787193</c:v>
                </c:pt>
                <c:pt idx="32">
                  <c:v>0.00034674063800277393</c:v>
                </c:pt>
                <c:pt idx="33">
                  <c:v>0.0008016032064128256</c:v>
                </c:pt>
                <c:pt idx="34">
                  <c:v>0.0</c:v>
                </c:pt>
                <c:pt idx="35">
                  <c:v>0.0</c:v>
                </c:pt>
                <c:pt idx="36">
                  <c:v>0.00041649312786339027</c:v>
                </c:pt>
                <c:pt idx="37">
                  <c:v>0.0</c:v>
                </c:pt>
                <c:pt idx="38">
                  <c:v>0.0013157894736842105</c:v>
                </c:pt>
                <c:pt idx="39">
                  <c:v>0.0012804097311139564</c:v>
                </c:pt>
                <c:pt idx="40">
                  <c:v>0.0005580357142857143</c:v>
                </c:pt>
                <c:pt idx="41">
                  <c:v>0.0005382131324004305</c:v>
                </c:pt>
                <c:pt idx="42">
                  <c:v>0.0016375545851528383</c:v>
                </c:pt>
                <c:pt idx="43">
                  <c:v>0.00267379679144385</c:v>
                </c:pt>
                <c:pt idx="44">
                  <c:v>0.001010611419909045</c:v>
                </c:pt>
                <c:pt idx="45">
                  <c:v>0.0010050251256281408</c:v>
                </c:pt>
                <c:pt idx="46">
                  <c:v>0.0011983223487118035</c:v>
                </c:pt>
                <c:pt idx="47">
                  <c:v>0.0006075334143377885</c:v>
                </c:pt>
                <c:pt idx="48">
                  <c:v>0.0</c:v>
                </c:pt>
                <c:pt idx="49">
                  <c:v>0.0007283321194464676</c:v>
                </c:pt>
                <c:pt idx="50">
                  <c:v>0.002616088947024199</c:v>
                </c:pt>
                <c:pt idx="51">
                  <c:v>0.0021043771043771043</c:v>
                </c:pt>
                <c:pt idx="52">
                  <c:v>0.0021579628830384117</c:v>
                </c:pt>
                <c:pt idx="53">
                  <c:v>0.0</c:v>
                </c:pt>
                <c:pt idx="54">
                  <c:v>0.0</c:v>
                </c:pt>
                <c:pt idx="55">
                  <c:v>0.0</c:v>
                </c:pt>
                <c:pt idx="56">
                  <c:v>0.0</c:v>
                </c:pt>
                <c:pt idx="57">
                  <c:v>0.0005452562704471102</c:v>
                </c:pt>
                <c:pt idx="58">
                  <c:v>0.0005189413596263622</c:v>
                </c:pt>
                <c:pt idx="59">
                  <c:v>0.0005830903790087463</c:v>
                </c:pt>
                <c:pt idx="60">
                  <c:v>0.0</c:v>
                </c:pt>
                <c:pt idx="61">
                  <c:v>0.0</c:v>
                </c:pt>
                <c:pt idx="62">
                  <c:v>0.0</c:v>
                </c:pt>
                <c:pt idx="63">
                  <c:v>0.0</c:v>
                </c:pt>
                <c:pt idx="64">
                  <c:v>0.0</c:v>
                </c:pt>
                <c:pt idx="65">
                  <c:v>0.0</c:v>
                </c:pt>
                <c:pt idx="66">
                  <c:v>0.0</c:v>
                </c:pt>
                <c:pt idx="67">
                  <c:v>0.0004925501785494397</c:v>
                </c:pt>
                <c:pt idx="68">
                  <c:v>0.0002145462347135807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8.192296928301891</c:v>
                </c:pt>
              </c:numCache>
            </c:numRef>
          </c:xVal>
          <c:yVal>
            <c:numRef>
              <c:f>Sheet1!$B$163:$B$164</c:f>
              <c:numCache>
                <c:formatCode>General</c:formatCode>
                <c:ptCount val="2"/>
                <c:pt idx="0">
                  <c:v>0.003104286624758969</c:v>
                </c:pt>
                <c:pt idx="1">
                  <c:v>0.00310428662475896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8.192296928301891</c:v>
                </c:pt>
                <c:pt idx="1">
                  <c:v>8.192296928301891</c:v>
                </c:pt>
              </c:numCache>
            </c:numRef>
          </c:xVal>
          <c:yVal>
            <c:numRef>
              <c:f>Sheet1!$B$167:$B$168</c:f>
              <c:numCache>
                <c:formatCode>General</c:formatCode>
                <c:ptCount val="2"/>
                <c:pt idx="0">
                  <c:v>0.00310428662475896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8383724094820275</c:v>
                </c:pt>
              </c:numCache>
            </c:numRef>
          </c:xVal>
          <c:yVal>
            <c:numRef>
              <c:f>Sheet1!$B$171:$B$172</c:f>
              <c:numCache>
                <c:formatCode>General</c:formatCode>
                <c:ptCount val="2"/>
                <c:pt idx="0">
                  <c:v>0.00122756157183318</c:v>
                </c:pt>
                <c:pt idx="1">
                  <c:v>0.0012275615718331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8383724094820275</c:v>
                </c:pt>
                <c:pt idx="1">
                  <c:v>2.8383724094820275</c:v>
                </c:pt>
              </c:numCache>
            </c:numRef>
          </c:xVal>
          <c:yVal>
            <c:numRef>
              <c:f>Sheet1!$B$175:$B$176</c:f>
              <c:numCache>
                <c:formatCode>General</c:formatCode>
                <c:ptCount val="2"/>
                <c:pt idx="0">
                  <c:v>0.001227561571833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4695646976855156</c:v>
                </c:pt>
              </c:numCache>
            </c:numRef>
          </c:xVal>
          <c:yVal>
            <c:numRef>
              <c:f>Sheet1!$B$179:$B$180</c:f>
              <c:numCache>
                <c:formatCode>General</c:formatCode>
                <c:ptCount val="2"/>
                <c:pt idx="0">
                  <c:v>0.00018110649402655686</c:v>
                </c:pt>
                <c:pt idx="1">
                  <c:v>0.0001811064940265568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4695646976855156</c:v>
                </c:pt>
                <c:pt idx="1">
                  <c:v>-0.14695646976855156</c:v>
                </c:pt>
              </c:numCache>
            </c:numRef>
          </c:xVal>
          <c:yVal>
            <c:numRef>
              <c:f>Sheet1!$B$183:$B$184</c:f>
              <c:numCache>
                <c:formatCode>General</c:formatCode>
                <c:ptCount val="2"/>
                <c:pt idx="0">
                  <c:v>0.000181106494026556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7454469725437634</c:v>
                </c:pt>
                <c:pt idx="21">
                  <c:v>0.9681805196112859</c:v>
                </c:pt>
                <c:pt idx="22">
                  <c:v>0.0</c:v>
                </c:pt>
                <c:pt idx="23">
                  <c:v>0.0</c:v>
                </c:pt>
                <c:pt idx="24">
                  <c:v>1.3274391137525632</c:v>
                </c:pt>
                <c:pt idx="25">
                  <c:v>0.0</c:v>
                </c:pt>
                <c:pt idx="26">
                  <c:v>0.6918702553920111</c:v>
                </c:pt>
                <c:pt idx="27">
                  <c:v>1.0602565815084006</c:v>
                </c:pt>
                <c:pt idx="28">
                  <c:v>1.1501262567502553</c:v>
                </c:pt>
                <c:pt idx="29">
                  <c:v>0.0</c:v>
                </c:pt>
                <c:pt idx="30">
                  <c:v>0.0</c:v>
                </c:pt>
                <c:pt idx="31">
                  <c:v>1.7478161245428605</c:v>
                </c:pt>
                <c:pt idx="32">
                  <c:v>1.5700453510190564</c:v>
                </c:pt>
                <c:pt idx="33">
                  <c:v>1.538751679677982</c:v>
                </c:pt>
                <c:pt idx="34">
                  <c:v>0.0</c:v>
                </c:pt>
                <c:pt idx="35">
                  <c:v>0.0</c:v>
                </c:pt>
                <c:pt idx="36">
                  <c:v>1.5763064232359167</c:v>
                </c:pt>
                <c:pt idx="37">
                  <c:v>0.0</c:v>
                </c:pt>
                <c:pt idx="38">
                  <c:v>0.9093499502349126</c:v>
                </c:pt>
                <c:pt idx="39">
                  <c:v>0.6916470790923538</c:v>
                </c:pt>
                <c:pt idx="40">
                  <c:v>0.8667611451716742</c:v>
                </c:pt>
                <c:pt idx="41">
                  <c:v>1.58867521248142</c:v>
                </c:pt>
                <c:pt idx="42">
                  <c:v>0.6225075046829409</c:v>
                </c:pt>
                <c:pt idx="43">
                  <c:v>0.472122068706914</c:v>
                </c:pt>
                <c:pt idx="44">
                  <c:v>0.5459292340791908</c:v>
                </c:pt>
                <c:pt idx="45">
                  <c:v>0.8365331236121392</c:v>
                </c:pt>
                <c:pt idx="46">
                  <c:v>0.6753287788243566</c:v>
                </c:pt>
                <c:pt idx="47">
                  <c:v>0.8435483284240947</c:v>
                </c:pt>
                <c:pt idx="48">
                  <c:v>0.0</c:v>
                </c:pt>
                <c:pt idx="49">
                  <c:v>0.6595931768360193</c:v>
                </c:pt>
                <c:pt idx="50">
                  <c:v>0.2722351736503636</c:v>
                </c:pt>
                <c:pt idx="51">
                  <c:v>0.2445653826274665</c:v>
                </c:pt>
                <c:pt idx="52">
                  <c:v>0.44037653043693226</c:v>
                </c:pt>
                <c:pt idx="53">
                  <c:v>0.0</c:v>
                </c:pt>
                <c:pt idx="54">
                  <c:v>0.0</c:v>
                </c:pt>
                <c:pt idx="55">
                  <c:v>0.0</c:v>
                </c:pt>
                <c:pt idx="56">
                  <c:v>0.0</c:v>
                </c:pt>
                <c:pt idx="57">
                  <c:v>1.8317566863368984</c:v>
                </c:pt>
                <c:pt idx="58">
                  <c:v>1.2697084786889414</c:v>
                </c:pt>
                <c:pt idx="59">
                  <c:v>1.3393592490397812</c:v>
                </c:pt>
                <c:pt idx="60">
                  <c:v>0.0</c:v>
                </c:pt>
                <c:pt idx="61">
                  <c:v>0.0</c:v>
                </c:pt>
                <c:pt idx="62">
                  <c:v>0.0</c:v>
                </c:pt>
                <c:pt idx="63">
                  <c:v>0.0</c:v>
                </c:pt>
                <c:pt idx="64">
                  <c:v>0.0</c:v>
                </c:pt>
                <c:pt idx="65">
                  <c:v>0.0</c:v>
                </c:pt>
                <c:pt idx="66">
                  <c:v>0.0</c:v>
                </c:pt>
                <c:pt idx="67">
                  <c:v>0.6350442662397919</c:v>
                </c:pt>
                <c:pt idx="68">
                  <c:v>1.9467045511946324</c:v>
                </c:pt>
                <c:pt idx="69">
                  <c:v>2.8383724094820275</c:v>
                </c:pt>
                <c:pt idx="70">
                  <c:v>8.192296928301891</c:v>
                </c:pt>
                <c:pt idx="71">
                  <c:v>-0.14695646976855156</c:v>
                </c:pt>
              </c:numCache>
            </c:numRef>
          </c:xVal>
          <c:yVal>
            <c:numRef>
              <c:f>Sheet1!$B$187:$B$258</c:f>
              <c:numCache>
                <c:formatCode>General</c:formatCode>
                <c:ptCount val="72"/>
                <c:pt idx="0">
                  <c:v>0.00023261952666919194</c:v>
                </c:pt>
                <c:pt idx="1">
                  <c:v>0.00023261952666919194</c:v>
                </c:pt>
                <c:pt idx="2">
                  <c:v>0.00023261952666919194</c:v>
                </c:pt>
                <c:pt idx="3">
                  <c:v>0.00023261952666919194</c:v>
                </c:pt>
                <c:pt idx="4">
                  <c:v>0.00023261952666919194</c:v>
                </c:pt>
                <c:pt idx="5">
                  <c:v>0.00023261952666919194</c:v>
                </c:pt>
                <c:pt idx="6">
                  <c:v>0.00023261952666919194</c:v>
                </c:pt>
                <c:pt idx="7">
                  <c:v>0.00023261952666919194</c:v>
                </c:pt>
                <c:pt idx="8">
                  <c:v>0.00023261952666919194</c:v>
                </c:pt>
                <c:pt idx="9">
                  <c:v>0.00023261952666919194</c:v>
                </c:pt>
                <c:pt idx="10">
                  <c:v>0.00023261952666919194</c:v>
                </c:pt>
                <c:pt idx="11">
                  <c:v>0.00023261952666919194</c:v>
                </c:pt>
                <c:pt idx="12">
                  <c:v>0.00023261952666919194</c:v>
                </c:pt>
                <c:pt idx="13">
                  <c:v>0.00023261952666919194</c:v>
                </c:pt>
                <c:pt idx="14">
                  <c:v>0.00023261952666919194</c:v>
                </c:pt>
                <c:pt idx="15">
                  <c:v>0.00023261952666919194</c:v>
                </c:pt>
                <c:pt idx="16">
                  <c:v>0.00023261952666919194</c:v>
                </c:pt>
                <c:pt idx="17">
                  <c:v>0.00023261952666919194</c:v>
                </c:pt>
                <c:pt idx="18">
                  <c:v>0.00023261952666919194</c:v>
                </c:pt>
                <c:pt idx="19">
                  <c:v>0.00023261952666919194</c:v>
                </c:pt>
                <c:pt idx="20">
                  <c:v>0.0008444555827083985</c:v>
                </c:pt>
                <c:pt idx="21">
                  <c:v>0.00057199835625899</c:v>
                </c:pt>
                <c:pt idx="22">
                  <c:v>0.00023261952666919194</c:v>
                </c:pt>
                <c:pt idx="23">
                  <c:v>0.00023261952666919194</c:v>
                </c:pt>
                <c:pt idx="24">
                  <c:v>0.000697930203399123</c:v>
                </c:pt>
                <c:pt idx="25">
                  <c:v>0.00023261952666919194</c:v>
                </c:pt>
                <c:pt idx="26">
                  <c:v>0.00047514260242494826</c:v>
                </c:pt>
                <c:pt idx="27">
                  <c:v>0.0006042740171372182</c:v>
                </c:pt>
                <c:pt idx="28">
                  <c:v>0.0006357762675764661</c:v>
                </c:pt>
                <c:pt idx="29">
                  <c:v>0.00023261952666919194</c:v>
                </c:pt>
                <c:pt idx="30">
                  <c:v>0.00023261952666919194</c:v>
                </c:pt>
                <c:pt idx="31">
                  <c:v>0.0008452860477056665</c:v>
                </c:pt>
                <c:pt idx="32">
                  <c:v>0.0007829715972166148</c:v>
                </c:pt>
                <c:pt idx="33">
                  <c:v>0.0007720021454065686</c:v>
                </c:pt>
                <c:pt idx="34">
                  <c:v>0.00023261952666919194</c:v>
                </c:pt>
                <c:pt idx="35">
                  <c:v>0.00023261952666919194</c:v>
                </c:pt>
                <c:pt idx="36">
                  <c:v>0.000785166307105829</c:v>
                </c:pt>
                <c:pt idx="37">
                  <c:v>0.00023261952666919194</c:v>
                </c:pt>
                <c:pt idx="38">
                  <c:v>0.0005513763241331308</c:v>
                </c:pt>
                <c:pt idx="39">
                  <c:v>0.000475064371857574</c:v>
                </c:pt>
                <c:pt idx="40">
                  <c:v>0.0005364475597929921</c:v>
                </c:pt>
                <c:pt idx="41">
                  <c:v>0.0007895019708922343</c:v>
                </c:pt>
                <c:pt idx="42">
                  <c:v>0.0004508286974496402</c:v>
                </c:pt>
                <c:pt idx="43">
                  <c:v>0.0003981137003854702</c:v>
                </c:pt>
                <c:pt idx="44">
                  <c:v>0.00042398551756419293</c:v>
                </c:pt>
                <c:pt idx="45">
                  <c:v>0.0005258516529658139</c:v>
                </c:pt>
                <c:pt idx="46">
                  <c:v>0.00046934427572501466</c:v>
                </c:pt>
                <c:pt idx="47">
                  <c:v>0.0005283107109102662</c:v>
                </c:pt>
                <c:pt idx="48">
                  <c:v>0.00023261952666919194</c:v>
                </c:pt>
                <c:pt idx="49">
                  <c:v>0.0004638284343322991</c:v>
                </c:pt>
                <c:pt idx="50">
                  <c:v>0.0003280468284328442</c:v>
                </c:pt>
                <c:pt idx="51">
                  <c:v>0.00031834766479328316</c:v>
                </c:pt>
                <c:pt idx="52">
                  <c:v>0.0003869858544884157</c:v>
                </c:pt>
                <c:pt idx="53">
                  <c:v>0.00023261952666919194</c:v>
                </c:pt>
                <c:pt idx="54">
                  <c:v>0.00023261952666919194</c:v>
                </c:pt>
                <c:pt idx="55">
                  <c:v>0.00023261952666919194</c:v>
                </c:pt>
                <c:pt idx="56">
                  <c:v>0.00023261952666919194</c:v>
                </c:pt>
                <c:pt idx="57">
                  <c:v>0.0008747099506243166</c:v>
                </c:pt>
                <c:pt idx="58">
                  <c:v>0.0006776937341018127</c:v>
                </c:pt>
                <c:pt idx="59">
                  <c:v>0.0007021085993494488</c:v>
                </c:pt>
                <c:pt idx="60">
                  <c:v>0.00023261952666919194</c:v>
                </c:pt>
                <c:pt idx="61">
                  <c:v>0.00023261952666919194</c:v>
                </c:pt>
                <c:pt idx="62">
                  <c:v>0.00023261952666919194</c:v>
                </c:pt>
                <c:pt idx="63">
                  <c:v>0.00023261952666919194</c:v>
                </c:pt>
                <c:pt idx="64">
                  <c:v>0.00023261952666919194</c:v>
                </c:pt>
                <c:pt idx="65">
                  <c:v>0.00023261952666919194</c:v>
                </c:pt>
                <c:pt idx="66">
                  <c:v>0.00023261952666919194</c:v>
                </c:pt>
                <c:pt idx="67">
                  <c:v>0.00045522324100616483</c:v>
                </c:pt>
                <c:pt idx="68">
                  <c:v>0.0009150029239377298</c:v>
                </c:pt>
                <c:pt idx="69">
                  <c:v>0.00122756157183318</c:v>
                </c:pt>
                <c:pt idx="70">
                  <c:v>0.003104286624758969</c:v>
                </c:pt>
                <c:pt idx="71">
                  <c:v>0.0001811064940265568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31707317073170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4387.0</c:v>
                </c:pt>
                <c:pt idx="18">
                  <c:v>3807.0</c:v>
                </c:pt>
                <c:pt idx="19">
                  <c:v>3804.25</c:v>
                </c:pt>
                <c:pt idx="20">
                  <c:v>3359.5</c:v>
                </c:pt>
                <c:pt idx="21">
                  <c:v>4369.8</c:v>
                </c:pt>
                <c:pt idx="22">
                  <c:v>6539.0</c:v>
                </c:pt>
                <c:pt idx="23">
                  <c:v>5053.4</c:v>
                </c:pt>
                <c:pt idx="24">
                  <c:v>3948.1429</c:v>
                </c:pt>
                <c:pt idx="25">
                  <c:v>6402.2</c:v>
                </c:pt>
                <c:pt idx="26">
                  <c:v>7763.5</c:v>
                </c:pt>
                <c:pt idx="27">
                  <c:v>3345.6</c:v>
                </c:pt>
                <c:pt idx="28">
                  <c:v>7017.25</c:v>
                </c:pt>
                <c:pt idx="29">
                  <c:v>3873.25</c:v>
                </c:pt>
                <c:pt idx="30">
                  <c:v>5011.5</c:v>
                </c:pt>
                <c:pt idx="31">
                  <c:v>5771.0</c:v>
                </c:pt>
                <c:pt idx="32">
                  <c:v>3461.5</c:v>
                </c:pt>
                <c:pt idx="33">
                  <c:v>3505.5833</c:v>
                </c:pt>
                <c:pt idx="34">
                  <c:v>3707.6429</c:v>
                </c:pt>
                <c:pt idx="35">
                  <c:v>6483.0</c:v>
                </c:pt>
                <c:pt idx="36">
                  <c:v>4574.5</c:v>
                </c:pt>
                <c:pt idx="37">
                  <c:v>7663.0</c:v>
                </c:pt>
                <c:pt idx="38">
                  <c:v>5601.0</c:v>
                </c:pt>
                <c:pt idx="39">
                  <c:v>5694.6667</c:v>
                </c:pt>
                <c:pt idx="40">
                  <c:v>5335.6667</c:v>
                </c:pt>
                <c:pt idx="41">
                  <c:v>10645.0</c:v>
                </c:pt>
                <c:pt idx="42">
                  <c:v>5430.5</c:v>
                </c:pt>
                <c:pt idx="43">
                  <c:v>3861.5714</c:v>
                </c:pt>
                <c:pt idx="44">
                  <c:v>4392.6</c:v>
                </c:pt>
                <c:pt idx="45">
                  <c:v>4084.4545</c:v>
                </c:pt>
                <c:pt idx="46">
                  <c:v>3682.6154</c:v>
                </c:pt>
                <c:pt idx="47">
                  <c:v>4401.9</c:v>
                </c:pt>
                <c:pt idx="48">
                  <c:v>3202.1176</c:v>
                </c:pt>
                <c:pt idx="49">
                  <c:v>3614.8333</c:v>
                </c:pt>
                <c:pt idx="50">
                  <c:v>4083.9</c:v>
                </c:pt>
                <c:pt idx="51">
                  <c:v>4174.75</c:v>
                </c:pt>
                <c:pt idx="52">
                  <c:v>3479.2</c:v>
                </c:pt>
                <c:pt idx="53">
                  <c:v>3423.5</c:v>
                </c:pt>
                <c:pt idx="54">
                  <c:v>4202.4</c:v>
                </c:pt>
                <c:pt idx="55">
                  <c:v>15202.0</c:v>
                </c:pt>
                <c:pt idx="56">
                  <c:v>6202.5</c:v>
                </c:pt>
                <c:pt idx="57">
                  <c:v>10480.0</c:v>
                </c:pt>
                <c:pt idx="58">
                  <c:v>4706.5</c:v>
                </c:pt>
                <c:pt idx="59">
                  <c:v>3925.25</c:v>
                </c:pt>
                <c:pt idx="60">
                  <c:v>3984.0</c:v>
                </c:pt>
                <c:pt idx="61">
                  <c:v>3894.25</c:v>
                </c:pt>
                <c:pt idx="62">
                  <c:v>3523.6667</c:v>
                </c:pt>
                <c:pt idx="63">
                  <c:v>2920.0</c:v>
                </c:pt>
                <c:pt idx="64">
                  <c:v>3077.6</c:v>
                </c:pt>
                <c:pt idx="65">
                  <c:v>6638.0</c:v>
                </c:pt>
                <c:pt idx="66">
                  <c:v>10119.0</c:v>
                </c:pt>
                <c:pt idx="67">
                  <c:v>5730.5</c:v>
                </c:pt>
                <c:pt idx="68">
                  <c:v>17630.0</c:v>
                </c:pt>
                <c:pt idx="69">
                  <c:v>5701.0</c:v>
                </c:pt>
                <c:pt idx="70">
                  <c:v>5620.2857</c:v>
                </c:pt>
                <c:pt idx="71">
                  <c:v>6033.2</c:v>
                </c:pt>
                <c:pt idx="72">
                  <c:v>5945.6</c:v>
                </c:pt>
                <c:pt idx="73">
                  <c:v>5831.6</c:v>
                </c:pt>
                <c:pt idx="74">
                  <c:v>5610.1429</c:v>
                </c:pt>
                <c:pt idx="75">
                  <c:v>8324.4</c:v>
                </c:pt>
                <c:pt idx="76">
                  <c:v>8366.5</c:v>
                </c:pt>
                <c:pt idx="77">
                  <c:v>4291.4545</c:v>
                </c:pt>
                <c:pt idx="78">
                  <c:v>22182.0</c:v>
                </c:pt>
                <c:pt idx="79">
                  <c:v>18169.0</c:v>
                </c:pt>
                <c:pt idx="80">
                  <c:v>17887.0</c:v>
                </c:pt>
                <c:pt idx="81">
                  <c:v>11855.0</c:v>
                </c:pt>
                <c:pt idx="82">
                  <c:v>14450.0</c:v>
                </c:pt>
                <c:pt idx="83">
                  <c:v>17175.0</c:v>
                </c:pt>
                <c:pt idx="84">
                  <c:v>6509.5</c:v>
                </c:pt>
                <c:pt idx="85">
                  <c:v>11668.0</c:v>
                </c:pt>
                <c:pt idx="86">
                  <c:v>5744.6667</c:v>
                </c:pt>
                <c:pt idx="87">
                  <c:v>10423.0</c:v>
                </c:pt>
              </c:numCache>
            </c:numRef>
          </c:xVal>
          <c:yVal>
            <c:numRef>
              <c:f>Sheet1!$B$2:$B$89</c:f>
              <c:numCache>
                <c:formatCode>General</c:formatCode>
                <c:ptCount val="88"/>
                <c:pt idx="0">
                  <c:v>0.003424657534246575</c:v>
                </c:pt>
                <c:pt idx="1">
                  <c:v>0.0008351893095768374</c:v>
                </c:pt>
                <c:pt idx="2">
                  <c:v>0.0008551881413911061</c:v>
                </c:pt>
                <c:pt idx="3">
                  <c:v>0.0005715918833952558</c:v>
                </c:pt>
                <c:pt idx="4">
                  <c:v>0.0006345177664974619</c:v>
                </c:pt>
                <c:pt idx="5">
                  <c:v>0.001839587932303164</c:v>
                </c:pt>
                <c:pt idx="6">
                  <c:v>0.0020646937370956643</c:v>
                </c:pt>
                <c:pt idx="7">
                  <c:v>0.0027955271565495207</c:v>
                </c:pt>
                <c:pt idx="8">
                  <c:v>0.0015527950310559005</c:v>
                </c:pt>
                <c:pt idx="9">
                  <c:v>0.0020711080428028996</c:v>
                </c:pt>
                <c:pt idx="10">
                  <c:v>0.0010053619302949062</c:v>
                </c:pt>
                <c:pt idx="11">
                  <c:v>0.002213788741302973</c:v>
                </c:pt>
                <c:pt idx="12">
                  <c:v>0.0016456390565002743</c:v>
                </c:pt>
                <c:pt idx="13">
                  <c:v>0.0018981335020563112</c:v>
                </c:pt>
                <c:pt idx="14">
                  <c:v>0.0006343165239454488</c:v>
                </c:pt>
                <c:pt idx="15">
                  <c:v>0.0017921146953405018</c:v>
                </c:pt>
                <c:pt idx="16">
                  <c:v>0.0016666666666666668</c:v>
                </c:pt>
                <c:pt idx="17">
                  <c:v>0.0012897678417884782</c:v>
                </c:pt>
                <c:pt idx="18">
                  <c:v>0.0019144862795149968</c:v>
                </c:pt>
                <c:pt idx="19">
                  <c:v>0.0018281535648994515</c:v>
                </c:pt>
                <c:pt idx="20">
                  <c:v>0.0010787486515641855</c:v>
                </c:pt>
                <c:pt idx="21">
                  <c:v>0.0030921459492888066</c:v>
                </c:pt>
                <c:pt idx="22">
                  <c:v>0.0019292604501607716</c:v>
                </c:pt>
                <c:pt idx="23">
                  <c:v>0.0029533372711163615</c:v>
                </c:pt>
                <c:pt idx="24">
                  <c:v>0.004807692307692308</c:v>
                </c:pt>
                <c:pt idx="25">
                  <c:v>0.0027114967462039045</c:v>
                </c:pt>
                <c:pt idx="26">
                  <c:v>0.0011092623405435386</c:v>
                </c:pt>
                <c:pt idx="27">
                  <c:v>0.0027548209366391185</c:v>
                </c:pt>
                <c:pt idx="28">
                  <c:v>0.002081165452653486</c:v>
                </c:pt>
                <c:pt idx="29">
                  <c:v>0.0024875621890547263</c:v>
                </c:pt>
                <c:pt idx="30">
                  <c:v>0.0025673940949935813</c:v>
                </c:pt>
                <c:pt idx="31">
                  <c:v>0.00202020202020202</c:v>
                </c:pt>
                <c:pt idx="32">
                  <c:v>0.005743825387708214</c:v>
                </c:pt>
                <c:pt idx="33">
                  <c:v>0.006097560975609756</c:v>
                </c:pt>
                <c:pt idx="34">
                  <c:v>0.004834254143646409</c:v>
                </c:pt>
                <c:pt idx="35">
                  <c:v>0.0017777777777777779</c:v>
                </c:pt>
                <c:pt idx="36">
                  <c:v>0.002271436683702442</c:v>
                </c:pt>
                <c:pt idx="37">
                  <c:v>0.0010845986984815619</c:v>
                </c:pt>
                <c:pt idx="38">
                  <c:v>0.002368265245707519</c:v>
                </c:pt>
                <c:pt idx="39">
                  <c:v>0.0014347202295552368</c:v>
                </c:pt>
                <c:pt idx="40">
                  <c:v>0.0016163793103448276</c:v>
                </c:pt>
                <c:pt idx="41">
                  <c:v>0.00043047783039173483</c:v>
                </c:pt>
                <c:pt idx="42">
                  <c:v>0.0014847809948032665</c:v>
                </c:pt>
                <c:pt idx="43">
                  <c:v>0.00202487706103558</c:v>
                </c:pt>
                <c:pt idx="44">
                  <c:v>0.0013838915029061722</c:v>
                </c:pt>
                <c:pt idx="45">
                  <c:v>0.003016177680285166</c:v>
                </c:pt>
                <c:pt idx="46">
                  <c:v>0.003564573622155196</c:v>
                </c:pt>
                <c:pt idx="47">
                  <c:v>0.002004811547714515</c:v>
                </c:pt>
                <c:pt idx="48">
                  <c:v>0.002232729183083793</c:v>
                </c:pt>
                <c:pt idx="49">
                  <c:v>0.0027378507871321013</c:v>
                </c:pt>
                <c:pt idx="50">
                  <c:v>0.002617801047120419</c:v>
                </c:pt>
                <c:pt idx="51">
                  <c:v>0.0008378718056137411</c:v>
                </c:pt>
                <c:pt idx="52">
                  <c:v>0.001509206157561123</c:v>
                </c:pt>
                <c:pt idx="53">
                  <c:v>0.00335345405767941</c:v>
                </c:pt>
                <c:pt idx="54">
                  <c:v>0.0017972681524083393</c:v>
                </c:pt>
                <c:pt idx="55">
                  <c:v>0.0003284072249589491</c:v>
                </c:pt>
                <c:pt idx="56">
                  <c:v>0.0006238303181534623</c:v>
                </c:pt>
                <c:pt idx="57">
                  <c:v>0.000277623542476402</c:v>
                </c:pt>
                <c:pt idx="58">
                  <c:v>0.0007090941322460556</c:v>
                </c:pt>
                <c:pt idx="59">
                  <c:v>0.0007457121551081282</c:v>
                </c:pt>
                <c:pt idx="60">
                  <c:v>0.0013333333333333333</c:v>
                </c:pt>
                <c:pt idx="61">
                  <c:v>0.0010778765831312314</c:v>
                </c:pt>
                <c:pt idx="62">
                  <c:v>0.0014061401453011485</c:v>
                </c:pt>
                <c:pt idx="63">
                  <c:v>0.0020352781546811396</c:v>
                </c:pt>
                <c:pt idx="64">
                  <c:v>0.0012025012025012026</c:v>
                </c:pt>
                <c:pt idx="65">
                  <c:v>0.00027831895352073476</c:v>
                </c:pt>
                <c:pt idx="66">
                  <c:v>0.00028514399771884804</c:v>
                </c:pt>
                <c:pt idx="67">
                  <c:v>0.000888494002665482</c:v>
                </c:pt>
                <c:pt idx="68">
                  <c:v>0.00040567951318458417</c:v>
                </c:pt>
                <c:pt idx="69">
                  <c:v>0.0020458265139116204</c:v>
                </c:pt>
                <c:pt idx="70">
                  <c:v>0.0029154518950437317</c:v>
                </c:pt>
                <c:pt idx="71">
                  <c:v>0.0025614754098360654</c:v>
                </c:pt>
                <c:pt idx="72">
                  <c:v>0.002635740643120717</c:v>
                </c:pt>
                <c:pt idx="73">
                  <c:v>0.0026232948583420775</c:v>
                </c:pt>
                <c:pt idx="74">
                  <c:v>0.004161712247324614</c:v>
                </c:pt>
                <c:pt idx="75">
                  <c:v>0.0030321406913280777</c:v>
                </c:pt>
                <c:pt idx="76">
                  <c:v>0.0024110910186859553</c:v>
                </c:pt>
                <c:pt idx="77">
                  <c:v>0.005583756345177665</c:v>
                </c:pt>
                <c:pt idx="78">
                  <c:v>0.0006199628022318661</c:v>
                </c:pt>
                <c:pt idx="79">
                  <c:v>0.0007905138339920949</c:v>
                </c:pt>
                <c:pt idx="80">
                  <c:v>0.0007974481658692185</c:v>
                </c:pt>
                <c:pt idx="81">
                  <c:v>0.00025464731347084286</c:v>
                </c:pt>
                <c:pt idx="82">
                  <c:v>0.0002011667672500503</c:v>
                </c:pt>
                <c:pt idx="83">
                  <c:v>0.0001261193088661874</c:v>
                </c:pt>
                <c:pt idx="84">
                  <c:v>0.00045351473922902497</c:v>
                </c:pt>
                <c:pt idx="85">
                  <c:v>0.00023969319271332693</c:v>
                </c:pt>
                <c:pt idx="86">
                  <c:v>0.0007351139426611125</c:v>
                </c:pt>
                <c:pt idx="87">
                  <c:v>0.0002690341673392521</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0023342670401493932</c:v>
                </c:pt>
                <c:pt idx="21">
                  <c:v>0.0005215123859191656</c:v>
                </c:pt>
                <c:pt idx="22">
                  <c:v>0.0</c:v>
                </c:pt>
                <c:pt idx="23">
                  <c:v>0.0</c:v>
                </c:pt>
                <c:pt idx="24">
                  <c:v>0.0004462293618920125</c:v>
                </c:pt>
                <c:pt idx="25">
                  <c:v>0.0</c:v>
                </c:pt>
                <c:pt idx="26">
                  <c:v>0.0007457121551081282</c:v>
                </c:pt>
                <c:pt idx="27">
                  <c:v>0.00035112359550561797</c:v>
                </c:pt>
                <c:pt idx="28">
                  <c:v>0.0006024096385542169</c:v>
                </c:pt>
                <c:pt idx="29">
                  <c:v>0.0</c:v>
                </c:pt>
                <c:pt idx="30">
                  <c:v>0.0</c:v>
                </c:pt>
                <c:pt idx="31">
                  <c:v>0.00033886818027787193</c:v>
                </c:pt>
                <c:pt idx="32">
                  <c:v>0.00034674063800277393</c:v>
                </c:pt>
                <c:pt idx="33">
                  <c:v>0.0008016032064128256</c:v>
                </c:pt>
                <c:pt idx="34">
                  <c:v>0.0</c:v>
                </c:pt>
                <c:pt idx="35">
                  <c:v>0.0</c:v>
                </c:pt>
                <c:pt idx="36">
                  <c:v>0.00041649312786339027</c:v>
                </c:pt>
                <c:pt idx="37">
                  <c:v>0.0</c:v>
                </c:pt>
                <c:pt idx="38">
                  <c:v>0.0013157894736842105</c:v>
                </c:pt>
                <c:pt idx="39">
                  <c:v>0.0012804097311139564</c:v>
                </c:pt>
                <c:pt idx="40">
                  <c:v>0.0005580357142857143</c:v>
                </c:pt>
                <c:pt idx="41">
                  <c:v>0.0005382131324004305</c:v>
                </c:pt>
                <c:pt idx="42">
                  <c:v>0.0016375545851528383</c:v>
                </c:pt>
                <c:pt idx="43">
                  <c:v>0.00267379679144385</c:v>
                </c:pt>
                <c:pt idx="44">
                  <c:v>0.001010611419909045</c:v>
                </c:pt>
                <c:pt idx="45">
                  <c:v>0.0010050251256281408</c:v>
                </c:pt>
                <c:pt idx="46">
                  <c:v>0.0011983223487118035</c:v>
                </c:pt>
                <c:pt idx="47">
                  <c:v>0.0006075334143377885</c:v>
                </c:pt>
                <c:pt idx="48">
                  <c:v>0.0</c:v>
                </c:pt>
                <c:pt idx="49">
                  <c:v>0.0007283321194464676</c:v>
                </c:pt>
                <c:pt idx="50">
                  <c:v>0.002616088947024199</c:v>
                </c:pt>
                <c:pt idx="51">
                  <c:v>0.0021043771043771043</c:v>
                </c:pt>
                <c:pt idx="52">
                  <c:v>0.0021579628830384117</c:v>
                </c:pt>
                <c:pt idx="53">
                  <c:v>0.0</c:v>
                </c:pt>
                <c:pt idx="54">
                  <c:v>0.0</c:v>
                </c:pt>
                <c:pt idx="55">
                  <c:v>0.0</c:v>
                </c:pt>
                <c:pt idx="56">
                  <c:v>0.0</c:v>
                </c:pt>
                <c:pt idx="57">
                  <c:v>0.0005452562704471102</c:v>
                </c:pt>
                <c:pt idx="58">
                  <c:v>0.0005189413596263622</c:v>
                </c:pt>
                <c:pt idx="59">
                  <c:v>0.0005830903790087463</c:v>
                </c:pt>
                <c:pt idx="60">
                  <c:v>0.0</c:v>
                </c:pt>
                <c:pt idx="61">
                  <c:v>0.0</c:v>
                </c:pt>
                <c:pt idx="62">
                  <c:v>0.0</c:v>
                </c:pt>
                <c:pt idx="63">
                  <c:v>0.0</c:v>
                </c:pt>
                <c:pt idx="64">
                  <c:v>0.0</c:v>
                </c:pt>
                <c:pt idx="65">
                  <c:v>0.0</c:v>
                </c:pt>
                <c:pt idx="66">
                  <c:v>0.0</c:v>
                </c:pt>
                <c:pt idx="67">
                  <c:v>0.0004925501785494397</c:v>
                </c:pt>
                <c:pt idx="68">
                  <c:v>0.0002145462347135807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5319.98983509006</c:v>
                </c:pt>
              </c:numCache>
            </c:numRef>
          </c:xVal>
          <c:yVal>
            <c:numRef>
              <c:f>Sheet1!$B$163:$B$164</c:f>
              <c:numCache>
                <c:formatCode>General</c:formatCode>
                <c:ptCount val="2"/>
                <c:pt idx="0">
                  <c:v>0.003104286624758969</c:v>
                </c:pt>
                <c:pt idx="1">
                  <c:v>0.00310428662475896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5319.98983509006</c:v>
                </c:pt>
                <c:pt idx="1">
                  <c:v>55319.98983509006</c:v>
                </c:pt>
              </c:numCache>
            </c:numRef>
          </c:xVal>
          <c:yVal>
            <c:numRef>
              <c:f>Sheet1!$B$167:$B$168</c:f>
              <c:numCache>
                <c:formatCode>General</c:formatCode>
                <c:ptCount val="2"/>
                <c:pt idx="0">
                  <c:v>0.00310428662475896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9383.190446123568</c:v>
                </c:pt>
              </c:numCache>
            </c:numRef>
          </c:xVal>
          <c:yVal>
            <c:numRef>
              <c:f>Sheet1!$B$171:$B$172</c:f>
              <c:numCache>
                <c:formatCode>General</c:formatCode>
                <c:ptCount val="2"/>
                <c:pt idx="0">
                  <c:v>0.00122756157183318</c:v>
                </c:pt>
                <c:pt idx="1">
                  <c:v>0.0012275615718331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9383.190446123568</c:v>
                </c:pt>
                <c:pt idx="1">
                  <c:v>19383.190446123568</c:v>
                </c:pt>
              </c:numCache>
            </c:numRef>
          </c:xVal>
          <c:yVal>
            <c:numRef>
              <c:f>Sheet1!$B$175:$B$176</c:f>
              <c:numCache>
                <c:formatCode>General</c:formatCode>
                <c:ptCount val="2"/>
                <c:pt idx="0">
                  <c:v>0.001227561571833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655.0384580381367</c:v>
                </c:pt>
              </c:numCache>
            </c:numRef>
          </c:xVal>
          <c:yVal>
            <c:numRef>
              <c:f>Sheet1!$B$179:$B$180</c:f>
              <c:numCache>
                <c:formatCode>General</c:formatCode>
                <c:ptCount val="2"/>
                <c:pt idx="0">
                  <c:v>0.00018110649402655686</c:v>
                </c:pt>
                <c:pt idx="1">
                  <c:v>0.0001811064940265568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655.0384580381367</c:v>
                </c:pt>
                <c:pt idx="1">
                  <c:v>-655.0384580381367</c:v>
                </c:pt>
              </c:numCache>
            </c:numRef>
          </c:xVal>
          <c:yVal>
            <c:numRef>
              <c:f>Sheet1!$B$183:$B$184</c:f>
              <c:numCache>
                <c:formatCode>General</c:formatCode>
                <c:ptCount val="2"/>
                <c:pt idx="0">
                  <c:v>0.000181106494026556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pt idx="69">
                  <c:v>19383.190446123568</c:v>
                </c:pt>
                <c:pt idx="70">
                  <c:v>55319.98983509006</c:v>
                </c:pt>
                <c:pt idx="71">
                  <c:v>-655.0384580381367</c:v>
                </c:pt>
              </c:numCache>
            </c:numRef>
          </c:xVal>
          <c:yVal>
            <c:numRef>
              <c:f>Sheet1!$B$187:$B$258</c:f>
              <c:numCache>
                <c:formatCode>General</c:formatCode>
                <c:ptCount val="72"/>
                <c:pt idx="0">
                  <c:v>0.00021531452328159073</c:v>
                </c:pt>
                <c:pt idx="1">
                  <c:v>0.00021531452328159073</c:v>
                </c:pt>
                <c:pt idx="2">
                  <c:v>0.00021531452328159073</c:v>
                </c:pt>
                <c:pt idx="3">
                  <c:v>0.00021531452328159073</c:v>
                </c:pt>
                <c:pt idx="4">
                  <c:v>0.00021531452328159073</c:v>
                </c:pt>
                <c:pt idx="5">
                  <c:v>0.00021531452328159073</c:v>
                </c:pt>
                <c:pt idx="6">
                  <c:v>0.00021531452328159073</c:v>
                </c:pt>
                <c:pt idx="7">
                  <c:v>0.00021531452328159073</c:v>
                </c:pt>
                <c:pt idx="8">
                  <c:v>0.00021531452328159073</c:v>
                </c:pt>
                <c:pt idx="9">
                  <c:v>0.00021531452328159073</c:v>
                </c:pt>
                <c:pt idx="10">
                  <c:v>0.00021531452328159073</c:v>
                </c:pt>
                <c:pt idx="11">
                  <c:v>0.00021531452328159073</c:v>
                </c:pt>
                <c:pt idx="12">
                  <c:v>0.00021531452328159073</c:v>
                </c:pt>
                <c:pt idx="13">
                  <c:v>0.00021531452328159073</c:v>
                </c:pt>
                <c:pt idx="14">
                  <c:v>0.00021531452328159073</c:v>
                </c:pt>
                <c:pt idx="15">
                  <c:v>0.00021531452328159073</c:v>
                </c:pt>
                <c:pt idx="16">
                  <c:v>0.00021531452328159073</c:v>
                </c:pt>
                <c:pt idx="17">
                  <c:v>0.00021531452328159073</c:v>
                </c:pt>
                <c:pt idx="18">
                  <c:v>0.00021531452328159073</c:v>
                </c:pt>
                <c:pt idx="19">
                  <c:v>0.00021531452328159073</c:v>
                </c:pt>
                <c:pt idx="20">
                  <c:v>0.0007993758016592713</c:v>
                </c:pt>
                <c:pt idx="21">
                  <c:v>0.0005424128617220953</c:v>
                </c:pt>
                <c:pt idx="22">
                  <c:v>0.00021531452328159073</c:v>
                </c:pt>
                <c:pt idx="23">
                  <c:v>0.00021531452328159073</c:v>
                </c:pt>
                <c:pt idx="24">
                  <c:v>0.0007107534850098682</c:v>
                </c:pt>
                <c:pt idx="25">
                  <c:v>0.00021531452328159073</c:v>
                </c:pt>
                <c:pt idx="26">
                  <c:v>0.0004744447149223321</c:v>
                </c:pt>
                <c:pt idx="27">
                  <c:v>0.0005943485682087372</c:v>
                </c:pt>
                <c:pt idx="28">
                  <c:v>0.0006661289890894705</c:v>
                </c:pt>
                <c:pt idx="29">
                  <c:v>0.00021531452328159073</c:v>
                </c:pt>
                <c:pt idx="30">
                  <c:v>0.00021531452328159073</c:v>
                </c:pt>
                <c:pt idx="31">
                  <c:v>0.0009243452794094314</c:v>
                </c:pt>
                <c:pt idx="32">
                  <c:v>0.0008292473191156406</c:v>
                </c:pt>
                <c:pt idx="33">
                  <c:v>0.0007975741104840183</c:v>
                </c:pt>
                <c:pt idx="34">
                  <c:v>0.00021531452328159073</c:v>
                </c:pt>
                <c:pt idx="35">
                  <c:v>0.00021531452328159073</c:v>
                </c:pt>
                <c:pt idx="36">
                  <c:v>0.0008227716754712529</c:v>
                </c:pt>
                <c:pt idx="37">
                  <c:v>0.00021531452328159073</c:v>
                </c:pt>
                <c:pt idx="38">
                  <c:v>0.0005702999077390554</c:v>
                </c:pt>
                <c:pt idx="39">
                  <c:v>0.000493375527995643</c:v>
                </c:pt>
                <c:pt idx="40">
                  <c:v>0.0005483923875066307</c:v>
                </c:pt>
                <c:pt idx="41">
                  <c:v>0.0008018825024248407</c:v>
                </c:pt>
                <c:pt idx="42">
                  <c:v>0.0004775084620432369</c:v>
                </c:pt>
                <c:pt idx="43">
                  <c:v>0.0004290107635463859</c:v>
                </c:pt>
                <c:pt idx="44">
                  <c:v>0.0004549394495902448</c:v>
                </c:pt>
                <c:pt idx="45">
                  <c:v>0.0005930429948933363</c:v>
                </c:pt>
                <c:pt idx="46">
                  <c:v>0.0005019923118772879</c:v>
                </c:pt>
                <c:pt idx="47">
                  <c:v>0.000559359203355997</c:v>
                </c:pt>
                <c:pt idx="48">
                  <c:v>0.00021531452328159073</c:v>
                </c:pt>
                <c:pt idx="49">
                  <c:v>0.0005214453542767591</c:v>
                </c:pt>
                <c:pt idx="50">
                  <c:v>0.0003328683446002745</c:v>
                </c:pt>
                <c:pt idx="51">
                  <c:v>0.00032033484077242724</c:v>
                </c:pt>
                <c:pt idx="52">
                  <c:v>0.00039922280278220233</c:v>
                </c:pt>
                <c:pt idx="53">
                  <c:v>0.00021531452328159073</c:v>
                </c:pt>
                <c:pt idx="54">
                  <c:v>0.00021531452328159073</c:v>
                </c:pt>
                <c:pt idx="55">
                  <c:v>0.00021531452328159073</c:v>
                </c:pt>
                <c:pt idx="56">
                  <c:v>0.00021531452328159073</c:v>
                </c:pt>
                <c:pt idx="57">
                  <c:v>0.0008736890347718822</c:v>
                </c:pt>
                <c:pt idx="58">
                  <c:v>0.0007026067075217676</c:v>
                </c:pt>
                <c:pt idx="59">
                  <c:v>0.0008326940326682985</c:v>
                </c:pt>
                <c:pt idx="60">
                  <c:v>0.00021531452328159073</c:v>
                </c:pt>
                <c:pt idx="61">
                  <c:v>0.00021531452328159073</c:v>
                </c:pt>
                <c:pt idx="62">
                  <c:v>0.00021531452328159073</c:v>
                </c:pt>
                <c:pt idx="63">
                  <c:v>0.00021531452328159073</c:v>
                </c:pt>
                <c:pt idx="64">
                  <c:v>0.00021531452328159073</c:v>
                </c:pt>
                <c:pt idx="65">
                  <c:v>0.00021531452328159073</c:v>
                </c:pt>
                <c:pt idx="66">
                  <c:v>0.00021531452328159073</c:v>
                </c:pt>
                <c:pt idx="67">
                  <c:v>0.0004558011279784093</c:v>
                </c:pt>
                <c:pt idx="68">
                  <c:v>0.0009481067137497251</c:v>
                </c:pt>
                <c:pt idx="69">
                  <c:v>0.00122756157183318</c:v>
                </c:pt>
                <c:pt idx="70">
                  <c:v>0.003104286624758969</c:v>
                </c:pt>
                <c:pt idx="71">
                  <c:v>0.0001811064940265568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638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31707317073170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67082099231535</c:v>
                </c:pt>
                <c:pt idx="1">
                  <c:v>0.5434030925776502</c:v>
                </c:pt>
                <c:pt idx="2">
                  <c:v>0.5332706123845364</c:v>
                </c:pt>
                <c:pt idx="3">
                  <c:v>0.5340562636341796</c:v>
                </c:pt>
                <c:pt idx="4">
                  <c:v>0.5433254727007185</c:v>
                </c:pt>
                <c:pt idx="5">
                  <c:v>0.6117766775789772</c:v>
                </c:pt>
                <c:pt idx="6">
                  <c:v>0.6130058471910912</c:v>
                </c:pt>
                <c:pt idx="7">
                  <c:v>0.5993256344838213</c:v>
                </c:pt>
                <c:pt idx="8">
                  <c:v>0.6576232629626956</c:v>
                </c:pt>
                <c:pt idx="9">
                  <c:v>0.553429784742384</c:v>
                </c:pt>
                <c:pt idx="10">
                  <c:v>0.5017356412941514</c:v>
                </c:pt>
                <c:pt idx="11">
                  <c:v>0.5076293481567228</c:v>
                </c:pt>
                <c:pt idx="12">
                  <c:v>0.49499104637265084</c:v>
                </c:pt>
                <c:pt idx="13">
                  <c:v>0.47361648208170193</c:v>
                </c:pt>
                <c:pt idx="14">
                  <c:v>0.6071660421358095</c:v>
                </c:pt>
                <c:pt idx="15">
                  <c:v>0.6173190567836286</c:v>
                </c:pt>
                <c:pt idx="16">
                  <c:v>0.6129958703767457</c:v>
                </c:pt>
                <c:pt idx="17">
                  <c:v>0.5945463046225492</c:v>
                </c:pt>
                <c:pt idx="18">
                  <c:v>0.6734988572473295</c:v>
                </c:pt>
                <c:pt idx="19">
                  <c:v>0.6141085149059381</c:v>
                </c:pt>
                <c:pt idx="20">
                  <c:v>0.5776093962351063</c:v>
                </c:pt>
                <c:pt idx="21">
                  <c:v>0.5642195114164956</c:v>
                </c:pt>
                <c:pt idx="22">
                  <c:v>0.577253177050037</c:v>
                </c:pt>
                <c:pt idx="23">
                  <c:v>0.716278408773956</c:v>
                </c:pt>
                <c:pt idx="24">
                  <c:v>0.6421347476102343</c:v>
                </c:pt>
                <c:pt idx="25">
                  <c:v>0.6061495138226882</c:v>
                </c:pt>
                <c:pt idx="26">
                  <c:v>0.6284496748608813</c:v>
                </c:pt>
                <c:pt idx="27">
                  <c:v>0.6079315007589854</c:v>
                </c:pt>
                <c:pt idx="28">
                  <c:v>0.6432762706579358</c:v>
                </c:pt>
                <c:pt idx="29">
                  <c:v>0.6921641831972369</c:v>
                </c:pt>
                <c:pt idx="30">
                  <c:v>0.4943870189313678</c:v>
                </c:pt>
                <c:pt idx="31">
                  <c:v>0.6320477677818785</c:v>
                </c:pt>
                <c:pt idx="32">
                  <c:v>0.5042886397634248</c:v>
                </c:pt>
                <c:pt idx="33">
                  <c:v>0.5629521934464841</c:v>
                </c:pt>
                <c:pt idx="34">
                  <c:v>0.4289901211618661</c:v>
                </c:pt>
                <c:pt idx="35">
                  <c:v>0.5561451976831119</c:v>
                </c:pt>
                <c:pt idx="36">
                  <c:v>0.6154529811763297</c:v>
                </c:pt>
                <c:pt idx="37">
                  <c:v>0.552058491864901</c:v>
                </c:pt>
                <c:pt idx="38">
                  <c:v>0.6648139637217034</c:v>
                </c:pt>
                <c:pt idx="39">
                  <c:v>0.702578125575688</c:v>
                </c:pt>
                <c:pt idx="40">
                  <c:v>0.7254787874917705</c:v>
                </c:pt>
                <c:pt idx="41">
                  <c:v>0.7542186023948733</c:v>
                </c:pt>
                <c:pt idx="42">
                  <c:v>0.7381825238247263</c:v>
                </c:pt>
                <c:pt idx="43">
                  <c:v>0.6725236342127338</c:v>
                </c:pt>
                <c:pt idx="44">
                  <c:v>0.7362560773763389</c:v>
                </c:pt>
                <c:pt idx="45">
                  <c:v>0.6820262559359436</c:v>
                </c:pt>
                <c:pt idx="46">
                  <c:v>0.6572930405398901</c:v>
                </c:pt>
                <c:pt idx="47">
                  <c:v>0.6344039194940841</c:v>
                </c:pt>
                <c:pt idx="48">
                  <c:v>0.6481413501137749</c:v>
                </c:pt>
                <c:pt idx="49">
                  <c:v>0.6308979024415216</c:v>
                </c:pt>
                <c:pt idx="50">
                  <c:v>0.6532840820678855</c:v>
                </c:pt>
                <c:pt idx="51">
                  <c:v>0.6096925413335625</c:v>
                </c:pt>
                <c:pt idx="52">
                  <c:v>0.6385980916884154</c:v>
                </c:pt>
                <c:pt idx="53">
                  <c:v>0.7076213729523483</c:v>
                </c:pt>
                <c:pt idx="54">
                  <c:v>0.6875339637648767</c:v>
                </c:pt>
                <c:pt idx="55">
                  <c:v>0.7094643759554825</c:v>
                </c:pt>
                <c:pt idx="56">
                  <c:v>0.6759965823564981</c:v>
                </c:pt>
                <c:pt idx="57">
                  <c:v>0.694746132201404</c:v>
                </c:pt>
                <c:pt idx="58">
                  <c:v>0.6729287169042769</c:v>
                </c:pt>
                <c:pt idx="59">
                  <c:v>0.6677407948798689</c:v>
                </c:pt>
                <c:pt idx="60">
                  <c:v>0.6633755011907992</c:v>
                </c:pt>
                <c:pt idx="61">
                  <c:v>0.6140695302642705</c:v>
                </c:pt>
                <c:pt idx="62">
                  <c:v>0.5610604680004018</c:v>
                </c:pt>
                <c:pt idx="63">
                  <c:v>0.5505621360290996</c:v>
                </c:pt>
                <c:pt idx="64">
                  <c:v>0.5389226003136268</c:v>
                </c:pt>
                <c:pt idx="65">
                  <c:v>0.5439497293002263</c:v>
                </c:pt>
                <c:pt idx="66">
                  <c:v>0.6448338651283787</c:v>
                </c:pt>
                <c:pt idx="67">
                  <c:v>0.657149894380209</c:v>
                </c:pt>
                <c:pt idx="68">
                  <c:v>0.6420293104550687</c:v>
                </c:pt>
                <c:pt idx="69">
                  <c:v>0.6870736700595352</c:v>
                </c:pt>
                <c:pt idx="70">
                  <c:v>0.6564063313686194</c:v>
                </c:pt>
                <c:pt idx="71">
                  <c:v>0.6355522725334727</c:v>
                </c:pt>
                <c:pt idx="72">
                  <c:v>0.6757833112808244</c:v>
                </c:pt>
                <c:pt idx="73">
                  <c:v>0.6294501318258807</c:v>
                </c:pt>
                <c:pt idx="74">
                  <c:v>0.6835228741574194</c:v>
                </c:pt>
                <c:pt idx="75">
                  <c:v>0.6835206573376345</c:v>
                </c:pt>
                <c:pt idx="76">
                  <c:v>0.6718063150731838</c:v>
                </c:pt>
                <c:pt idx="77">
                  <c:v>0.6214244661287521</c:v>
                </c:pt>
                <c:pt idx="78">
                  <c:v>0.6208721256511162</c:v>
                </c:pt>
                <c:pt idx="79">
                  <c:v>0.6451469220486072</c:v>
                </c:pt>
                <c:pt idx="80">
                  <c:v>0.7543620451450819</c:v>
                </c:pt>
                <c:pt idx="81">
                  <c:v>0.6683402040487322</c:v>
                </c:pt>
                <c:pt idx="82">
                  <c:v>0.6341027247862064</c:v>
                </c:pt>
                <c:pt idx="83">
                  <c:v>0.6205560358090091</c:v>
                </c:pt>
                <c:pt idx="84">
                  <c:v>0.7521213272255585</c:v>
                </c:pt>
                <c:pt idx="85">
                  <c:v>0.6456164611021211</c:v>
                </c:pt>
                <c:pt idx="86">
                  <c:v>0.6699727406532725</c:v>
                </c:pt>
                <c:pt idx="87">
                  <c:v>0.7176561820476117</c:v>
                </c:pt>
                <c:pt idx="88">
                  <c:v>0.7368955043182236</c:v>
                </c:pt>
                <c:pt idx="89">
                  <c:v>0.6688618950879981</c:v>
                </c:pt>
                <c:pt idx="90">
                  <c:v>0.6962004416828866</c:v>
                </c:pt>
                <c:pt idx="91">
                  <c:v>0.7833203270632096</c:v>
                </c:pt>
                <c:pt idx="92">
                  <c:v>0.6705075687470213</c:v>
                </c:pt>
                <c:pt idx="93">
                  <c:v>0.7473227368523941</c:v>
                </c:pt>
                <c:pt idx="94">
                  <c:v>0.7524427188636656</c:v>
                </c:pt>
                <c:pt idx="95">
                  <c:v>0.6631238104750078</c:v>
                </c:pt>
                <c:pt idx="96">
                  <c:v>0.6009432795581066</c:v>
                </c:pt>
                <c:pt idx="97">
                  <c:v>0.6339220748414153</c:v>
                </c:pt>
                <c:pt idx="98">
                  <c:v>0.6261800519002061</c:v>
                </c:pt>
                <c:pt idx="99">
                  <c:v>0.5957723794638281</c:v>
                </c:pt>
                <c:pt idx="100">
                  <c:v>0.5291638588841923</c:v>
                </c:pt>
                <c:pt idx="101">
                  <c:v>0.6347656079855012</c:v>
                </c:pt>
                <c:pt idx="102">
                  <c:v>0.6296315509577277</c:v>
                </c:pt>
                <c:pt idx="103">
                  <c:v>0.5736998893257076</c:v>
                </c:pt>
                <c:pt idx="104">
                  <c:v>0.543389837182289</c:v>
                </c:pt>
              </c:numCache>
            </c:numRef>
          </c:xVal>
          <c:yVal>
            <c:numRef>
              <c:f>Sheet1!$B$2:$B$106</c:f>
              <c:numCache>
                <c:formatCode>General</c:formatCode>
                <c:ptCount val="105"/>
                <c:pt idx="0">
                  <c:v>0.757679180887372</c:v>
                </c:pt>
                <c:pt idx="1">
                  <c:v>0.7548209366391184</c:v>
                </c:pt>
                <c:pt idx="2">
                  <c:v>0.7382198952879581</c:v>
                </c:pt>
                <c:pt idx="3">
                  <c:v>0.8137931034482758</c:v>
                </c:pt>
                <c:pt idx="4">
                  <c:v>0.7784615384615384</c:v>
                </c:pt>
                <c:pt idx="5">
                  <c:v>0.7490774907749077</c:v>
                </c:pt>
                <c:pt idx="6">
                  <c:v>0.75</c:v>
                </c:pt>
                <c:pt idx="7">
                  <c:v>0.7587548638132295</c:v>
                </c:pt>
                <c:pt idx="8">
                  <c:v>0.6965174129353234</c:v>
                </c:pt>
                <c:pt idx="9">
                  <c:v>0.669683257918552</c:v>
                </c:pt>
                <c:pt idx="10">
                  <c:v>0.7030075187969925</c:v>
                </c:pt>
                <c:pt idx="11">
                  <c:v>0.71280276816609</c:v>
                </c:pt>
                <c:pt idx="12">
                  <c:v>0.7002881844380403</c:v>
                </c:pt>
                <c:pt idx="13">
                  <c:v>0.6847457627118644</c:v>
                </c:pt>
                <c:pt idx="14">
                  <c:v>0.6552901023890785</c:v>
                </c:pt>
                <c:pt idx="15">
                  <c:v>0.6710526315789473</c:v>
                </c:pt>
                <c:pt idx="16">
                  <c:v>0.6291079812206573</c:v>
                </c:pt>
                <c:pt idx="17">
                  <c:v>0.6853932584269663</c:v>
                </c:pt>
                <c:pt idx="18">
                  <c:v>0.6351351351351351</c:v>
                </c:pt>
                <c:pt idx="19">
                  <c:v>0.6666666666666666</c:v>
                </c:pt>
                <c:pt idx="20">
                  <c:v>0.6708074534161491</c:v>
                </c:pt>
                <c:pt idx="21">
                  <c:v>0.6752136752136753</c:v>
                </c:pt>
                <c:pt idx="22">
                  <c:v>0.7547169811320755</c:v>
                </c:pt>
                <c:pt idx="23">
                  <c:v>0.6739130434782609</c:v>
                </c:pt>
                <c:pt idx="24">
                  <c:v>0.7111111111111111</c:v>
                </c:pt>
                <c:pt idx="25">
                  <c:v>0.7375</c:v>
                </c:pt>
                <c:pt idx="26">
                  <c:v>0.7352941176470589</c:v>
                </c:pt>
                <c:pt idx="27">
                  <c:v>0.8</c:v>
                </c:pt>
                <c:pt idx="28">
                  <c:v>0.8191489361702128</c:v>
                </c:pt>
                <c:pt idx="29">
                  <c:v>0.7789473684210526</c:v>
                </c:pt>
                <c:pt idx="30">
                  <c:v>0.8181818181818182</c:v>
                </c:pt>
                <c:pt idx="31">
                  <c:v>0.6962025316455697</c:v>
                </c:pt>
                <c:pt idx="32">
                  <c:v>0.8369565217391305</c:v>
                </c:pt>
                <c:pt idx="33">
                  <c:v>0.7228915662650602</c:v>
                </c:pt>
                <c:pt idx="34">
                  <c:v>0.7731958762886598</c:v>
                </c:pt>
                <c:pt idx="35">
                  <c:v>0.7230769230769231</c:v>
                </c:pt>
                <c:pt idx="36">
                  <c:v>0.6486486486486487</c:v>
                </c:pt>
                <c:pt idx="37">
                  <c:v>0.7808219178082192</c:v>
                </c:pt>
                <c:pt idx="38">
                  <c:v>0.7246376811594203</c:v>
                </c:pt>
                <c:pt idx="39">
                  <c:v>0.6491228070175439</c:v>
                </c:pt>
                <c:pt idx="40">
                  <c:v>0.6511627906976745</c:v>
                </c:pt>
                <c:pt idx="41">
                  <c:v>0.7246376811594203</c:v>
                </c:pt>
                <c:pt idx="42">
                  <c:v>0.6774193548387096</c:v>
                </c:pt>
                <c:pt idx="43">
                  <c:v>0.7459016393442623</c:v>
                </c:pt>
                <c:pt idx="44">
                  <c:v>0.6086956521739131</c:v>
                </c:pt>
                <c:pt idx="45">
                  <c:v>0.5652173913043478</c:v>
                </c:pt>
                <c:pt idx="46">
                  <c:v>0.5714285714285714</c:v>
                </c:pt>
                <c:pt idx="47">
                  <c:v>0.6</c:v>
                </c:pt>
                <c:pt idx="48">
                  <c:v>0.5328467153284672</c:v>
                </c:pt>
                <c:pt idx="49">
                  <c:v>0.6139534883720931</c:v>
                </c:pt>
                <c:pt idx="50">
                  <c:v>0.6285714285714286</c:v>
                </c:pt>
                <c:pt idx="51">
                  <c:v>0.7642276422764228</c:v>
                </c:pt>
                <c:pt idx="52">
                  <c:v>0.6918918918918919</c:v>
                </c:pt>
                <c:pt idx="53">
                  <c:v>0.6458333333333334</c:v>
                </c:pt>
                <c:pt idx="54">
                  <c:v>0.7176470588235294</c:v>
                </c:pt>
                <c:pt idx="55">
                  <c:v>0.7446808510638298</c:v>
                </c:pt>
                <c:pt idx="56">
                  <c:v>0.8021390374331551</c:v>
                </c:pt>
                <c:pt idx="57">
                  <c:v>0.7435897435897436</c:v>
                </c:pt>
                <c:pt idx="58">
                  <c:v>0.7545126353790613</c:v>
                </c:pt>
                <c:pt idx="59">
                  <c:v>0.7619047619047619</c:v>
                </c:pt>
                <c:pt idx="60">
                  <c:v>0.7447795823665894</c:v>
                </c:pt>
                <c:pt idx="61">
                  <c:v>0.7042682926829268</c:v>
                </c:pt>
                <c:pt idx="62">
                  <c:v>0.770949720670391</c:v>
                </c:pt>
                <c:pt idx="63">
                  <c:v>0.800383877159309</c:v>
                </c:pt>
                <c:pt idx="64">
                  <c:v>0.7676767676767676</c:v>
                </c:pt>
                <c:pt idx="65">
                  <c:v>0.7794970986460348</c:v>
                </c:pt>
                <c:pt idx="66">
                  <c:v>0.7572383073496659</c:v>
                </c:pt>
                <c:pt idx="67">
                  <c:v>0.7761904761904762</c:v>
                </c:pt>
                <c:pt idx="68">
                  <c:v>0.7816091954022989</c:v>
                </c:pt>
                <c:pt idx="69">
                  <c:v>0.7431192660550459</c:v>
                </c:pt>
                <c:pt idx="70">
                  <c:v>0.7710843373493976</c:v>
                </c:pt>
                <c:pt idx="71">
                  <c:v>0.7649402390438247</c:v>
                </c:pt>
                <c:pt idx="72">
                  <c:v>0.7510373443983402</c:v>
                </c:pt>
                <c:pt idx="73">
                  <c:v>0.7755102040816326</c:v>
                </c:pt>
                <c:pt idx="74">
                  <c:v>0.7521367521367521</c:v>
                </c:pt>
                <c:pt idx="75">
                  <c:v>0.7772020725388601</c:v>
                </c:pt>
                <c:pt idx="76">
                  <c:v>0.7647058823529411</c:v>
                </c:pt>
                <c:pt idx="77">
                  <c:v>0.8020833333333334</c:v>
                </c:pt>
                <c:pt idx="78">
                  <c:v>0.7916666666666666</c:v>
                </c:pt>
                <c:pt idx="79">
                  <c:v>0.7935483870967742</c:v>
                </c:pt>
                <c:pt idx="80">
                  <c:v>0.7891566265060241</c:v>
                </c:pt>
                <c:pt idx="81">
                  <c:v>0.783068783068783</c:v>
                </c:pt>
                <c:pt idx="82">
                  <c:v>0.8352941176470589</c:v>
                </c:pt>
                <c:pt idx="83">
                  <c:v>0.782258064516129</c:v>
                </c:pt>
                <c:pt idx="84">
                  <c:v>0.7777777777777778</c:v>
                </c:pt>
                <c:pt idx="85">
                  <c:v>0.7265625</c:v>
                </c:pt>
                <c:pt idx="86">
                  <c:v>0.7297297297297297</c:v>
                </c:pt>
                <c:pt idx="87">
                  <c:v>0.7543103448275862</c:v>
                </c:pt>
                <c:pt idx="88">
                  <c:v>0.7391304347826086</c:v>
                </c:pt>
                <c:pt idx="89">
                  <c:v>0.7083333333333334</c:v>
                </c:pt>
                <c:pt idx="90">
                  <c:v>0.7461538461538462</c:v>
                </c:pt>
                <c:pt idx="91">
                  <c:v>0.7752808988764045</c:v>
                </c:pt>
                <c:pt idx="92">
                  <c:v>0.7545454545454545</c:v>
                </c:pt>
                <c:pt idx="93">
                  <c:v>0.780952380952381</c:v>
                </c:pt>
                <c:pt idx="94">
                  <c:v>0.7924528301886793</c:v>
                </c:pt>
                <c:pt idx="95">
                  <c:v>0.8060836501901141</c:v>
                </c:pt>
                <c:pt idx="96">
                  <c:v>0.8078817733990148</c:v>
                </c:pt>
                <c:pt idx="97">
                  <c:v>0.8264840182648402</c:v>
                </c:pt>
                <c:pt idx="98">
                  <c:v>0.7921348314606742</c:v>
                </c:pt>
                <c:pt idx="99">
                  <c:v>0.7839195979899497</c:v>
                </c:pt>
                <c:pt idx="100">
                  <c:v>0.8389319552110249</c:v>
                </c:pt>
                <c:pt idx="101">
                  <c:v>0.8107606679035251</c:v>
                </c:pt>
                <c:pt idx="102">
                  <c:v>0.7736220472440944</c:v>
                </c:pt>
                <c:pt idx="103">
                  <c:v>0.8036437246963563</c:v>
                </c:pt>
                <c:pt idx="104">
                  <c:v>0.830769230769230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567719302750409</c:v>
                </c:pt>
                <c:pt idx="1">
                  <c:v>0.5891052605747471</c:v>
                </c:pt>
                <c:pt idx="2">
                  <c:v>0.6513908686514489</c:v>
                </c:pt>
                <c:pt idx="3">
                  <c:v>0.6726463757997071</c:v>
                </c:pt>
                <c:pt idx="4">
                  <c:v>0.652906848163254</c:v>
                </c:pt>
                <c:pt idx="5">
                  <c:v>0.6599121459089685</c:v>
                </c:pt>
                <c:pt idx="6">
                  <c:v>0.6289460682770724</c:v>
                </c:pt>
                <c:pt idx="7">
                  <c:v>0.6738628056693131</c:v>
                </c:pt>
                <c:pt idx="8">
                  <c:v>0.690978207420853</c:v>
                </c:pt>
                <c:pt idx="9">
                  <c:v>0.6319878143295824</c:v>
                </c:pt>
                <c:pt idx="10">
                  <c:v>0.6211870667289622</c:v>
                </c:pt>
                <c:pt idx="11">
                  <c:v>0.7126522702478236</c:v>
                </c:pt>
                <c:pt idx="12">
                  <c:v>0.681398778855866</c:v>
                </c:pt>
                <c:pt idx="13">
                  <c:v>0.6143013693129254</c:v>
                </c:pt>
                <c:pt idx="14">
                  <c:v>0.6736228508323256</c:v>
                </c:pt>
                <c:pt idx="15">
                  <c:v>0.6299700048446494</c:v>
                </c:pt>
                <c:pt idx="16">
                  <c:v>0.7225473051854675</c:v>
                </c:pt>
                <c:pt idx="17">
                  <c:v>0.7029288626891935</c:v>
                </c:pt>
                <c:pt idx="18">
                  <c:v>0.7090330424248499</c:v>
                </c:pt>
                <c:pt idx="19">
                  <c:v>0.6975083180939808</c:v>
                </c:pt>
                <c:pt idx="20">
                  <c:v>0.7071915760528764</c:v>
                </c:pt>
                <c:pt idx="21">
                  <c:v>0.6331296698022074</c:v>
                </c:pt>
                <c:pt idx="22">
                  <c:v>0.6101480829637611</c:v>
                </c:pt>
                <c:pt idx="23">
                  <c:v>0.4402144666760654</c:v>
                </c:pt>
                <c:pt idx="24">
                  <c:v>0.3677521726842005</c:v>
                </c:pt>
                <c:pt idx="25">
                  <c:v>0.3322592900666668</c:v>
                </c:pt>
                <c:pt idx="26">
                  <c:v>0.3720816636984269</c:v>
                </c:pt>
                <c:pt idx="27">
                  <c:v>0.5206983888857986</c:v>
                </c:pt>
                <c:pt idx="28">
                  <c:v>0.5716330634397094</c:v>
                </c:pt>
                <c:pt idx="29">
                  <c:v>0.5729309009443685</c:v>
                </c:pt>
                <c:pt idx="30">
                  <c:v>0.6560764364988504</c:v>
                </c:pt>
                <c:pt idx="31">
                  <c:v>0.6361715505883422</c:v>
                </c:pt>
                <c:pt idx="32">
                  <c:v>0.6935335347271908</c:v>
                </c:pt>
                <c:pt idx="33">
                  <c:v>0.6222555734943004</c:v>
                </c:pt>
                <c:pt idx="34">
                  <c:v>0.7235418150928509</c:v>
                </c:pt>
                <c:pt idx="35">
                  <c:v>0.6954259851434778</c:v>
                </c:pt>
                <c:pt idx="36">
                  <c:v>0.6131982139068123</c:v>
                </c:pt>
                <c:pt idx="37">
                  <c:v>0.58869724673491</c:v>
                </c:pt>
                <c:pt idx="38">
                  <c:v>0.612991501943952</c:v>
                </c:pt>
                <c:pt idx="39">
                  <c:v>0.6988197987376377</c:v>
                </c:pt>
                <c:pt idx="40">
                  <c:v>0.6985415598821864</c:v>
                </c:pt>
                <c:pt idx="41">
                  <c:v>0.6577259030994607</c:v>
                </c:pt>
                <c:pt idx="42">
                  <c:v>0.6655077100500637</c:v>
                </c:pt>
                <c:pt idx="43">
                  <c:v>0.6339391651366886</c:v>
                </c:pt>
                <c:pt idx="44">
                  <c:v>0.6128526352549069</c:v>
                </c:pt>
                <c:pt idx="45">
                  <c:v>0.6460967033352529</c:v>
                </c:pt>
                <c:pt idx="46">
                  <c:v>0.6311277178850911</c:v>
                </c:pt>
                <c:pt idx="47">
                  <c:v>0.6479662121016219</c:v>
                </c:pt>
                <c:pt idx="48">
                  <c:v>0.5804568442760975</c:v>
                </c:pt>
                <c:pt idx="49">
                  <c:v>0.5838768357305072</c:v>
                </c:pt>
                <c:pt idx="50">
                  <c:v>0.5284836174465888</c:v>
                </c:pt>
                <c:pt idx="51">
                  <c:v>0.5668998685238467</c:v>
                </c:pt>
              </c:numCache>
            </c:numRef>
          </c:xVal>
          <c:yVal>
            <c:numRef>
              <c:f>Sheet1!$B$109:$B$160</c:f>
              <c:numCache>
                <c:formatCode>General</c:formatCode>
                <c:ptCount val="52"/>
                <c:pt idx="0">
                  <c:v>0.8452054794520548</c:v>
                </c:pt>
                <c:pt idx="1">
                  <c:v>0.8252252252252252</c:v>
                </c:pt>
                <c:pt idx="2">
                  <c:v>0.7897350993377483</c:v>
                </c:pt>
                <c:pt idx="3">
                  <c:v>0.7821782178217822</c:v>
                </c:pt>
                <c:pt idx="4">
                  <c:v>0.7591522157996147</c:v>
                </c:pt>
                <c:pt idx="5">
                  <c:v>0.7326923076923076</c:v>
                </c:pt>
                <c:pt idx="6">
                  <c:v>0.7402298850574712</c:v>
                </c:pt>
                <c:pt idx="7">
                  <c:v>0.7208480565371025</c:v>
                </c:pt>
                <c:pt idx="8">
                  <c:v>0.696875</c:v>
                </c:pt>
                <c:pt idx="9">
                  <c:v>0.6946564885496184</c:v>
                </c:pt>
                <c:pt idx="10">
                  <c:v>0.6985645933014354</c:v>
                </c:pt>
                <c:pt idx="11">
                  <c:v>0.6583850931677019</c:v>
                </c:pt>
                <c:pt idx="12">
                  <c:v>0.6926229508196722</c:v>
                </c:pt>
                <c:pt idx="13">
                  <c:v>0.7263374485596708</c:v>
                </c:pt>
                <c:pt idx="14">
                  <c:v>0.7422222222222222</c:v>
                </c:pt>
                <c:pt idx="15">
                  <c:v>0.7122641509433962</c:v>
                </c:pt>
                <c:pt idx="16">
                  <c:v>0.7295081967213115</c:v>
                </c:pt>
                <c:pt idx="17">
                  <c:v>0.7071005917159763</c:v>
                </c:pt>
                <c:pt idx="18">
                  <c:v>0.6832579185520362</c:v>
                </c:pt>
                <c:pt idx="19">
                  <c:v>0.6521739130434783</c:v>
                </c:pt>
                <c:pt idx="20">
                  <c:v>0.6571428571428571</c:v>
                </c:pt>
                <c:pt idx="21">
                  <c:v>0.6683937823834197</c:v>
                </c:pt>
                <c:pt idx="22">
                  <c:v>0.6481481481481481</c:v>
                </c:pt>
                <c:pt idx="23">
                  <c:v>0.8213166144200627</c:v>
                </c:pt>
                <c:pt idx="24">
                  <c:v>0.8654292343387471</c:v>
                </c:pt>
                <c:pt idx="25">
                  <c:v>0.8665158371040724</c:v>
                </c:pt>
                <c:pt idx="26">
                  <c:v>0.8554913294797688</c:v>
                </c:pt>
                <c:pt idx="27">
                  <c:v>0.7591973244147158</c:v>
                </c:pt>
                <c:pt idx="28">
                  <c:v>0.7198581560283688</c:v>
                </c:pt>
                <c:pt idx="29">
                  <c:v>0.7447916666666666</c:v>
                </c:pt>
                <c:pt idx="30">
                  <c:v>0.7461928934010152</c:v>
                </c:pt>
                <c:pt idx="31">
                  <c:v>0.7163120567375887</c:v>
                </c:pt>
                <c:pt idx="32">
                  <c:v>0.691358024691358</c:v>
                </c:pt>
                <c:pt idx="33">
                  <c:v>0.7206703910614525</c:v>
                </c:pt>
                <c:pt idx="34">
                  <c:v>0.7621776504297995</c:v>
                </c:pt>
                <c:pt idx="35">
                  <c:v>0.7570977917981072</c:v>
                </c:pt>
                <c:pt idx="36">
                  <c:v>0.7401129943502824</c:v>
                </c:pt>
                <c:pt idx="37">
                  <c:v>0.7286432160804021</c:v>
                </c:pt>
                <c:pt idx="38">
                  <c:v>0.697986577181208</c:v>
                </c:pt>
                <c:pt idx="39">
                  <c:v>0.7035398230088495</c:v>
                </c:pt>
                <c:pt idx="40">
                  <c:v>0.6543778801843319</c:v>
                </c:pt>
                <c:pt idx="41">
                  <c:v>0.6692015209125475</c:v>
                </c:pt>
                <c:pt idx="42">
                  <c:v>0.6822033898305084</c:v>
                </c:pt>
                <c:pt idx="43">
                  <c:v>0.6991150442477876</c:v>
                </c:pt>
                <c:pt idx="44">
                  <c:v>0.7622739018087855</c:v>
                </c:pt>
                <c:pt idx="45">
                  <c:v>0.7422303473491774</c:v>
                </c:pt>
                <c:pt idx="46">
                  <c:v>0.7357512953367875</c:v>
                </c:pt>
                <c:pt idx="47">
                  <c:v>0.7440758293838863</c:v>
                </c:pt>
                <c:pt idx="48">
                  <c:v>0.6964912280701754</c:v>
                </c:pt>
                <c:pt idx="49">
                  <c:v>0.6761194029850747</c:v>
                </c:pt>
                <c:pt idx="50">
                  <c:v>0.7628705148205929</c:v>
                </c:pt>
                <c:pt idx="51">
                  <c:v>0.739255014326647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071424990771598</c:v>
                </c:pt>
              </c:numCache>
            </c:numRef>
          </c:xVal>
          <c:yVal>
            <c:numRef>
              <c:f>Sheet1!$B$163:$B$164</c:f>
              <c:numCache>
                <c:formatCode>General</c:formatCode>
                <c:ptCount val="2"/>
                <c:pt idx="0">
                  <c:v>0.7809450004114097</c:v>
                </c:pt>
                <c:pt idx="1">
                  <c:v>0.780945000411409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071424990771598</c:v>
                </c:pt>
                <c:pt idx="1">
                  <c:v>0.5071424990771598</c:v>
                </c:pt>
              </c:numCache>
            </c:numRef>
          </c:xVal>
          <c:yVal>
            <c:numRef>
              <c:f>Sheet1!$B$167:$B$168</c:f>
              <c:numCache>
                <c:formatCode>General</c:formatCode>
                <c:ptCount val="2"/>
                <c:pt idx="0">
                  <c:v>0.780945000411409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419243006548925</c:v>
                </c:pt>
              </c:numCache>
            </c:numRef>
          </c:xVal>
          <c:yVal>
            <c:numRef>
              <c:f>Sheet1!$B$171:$B$172</c:f>
              <c:numCache>
                <c:formatCode>General</c:formatCode>
                <c:ptCount val="2"/>
                <c:pt idx="0">
                  <c:v>0.765793498547034</c:v>
                </c:pt>
                <c:pt idx="1">
                  <c:v>0.76579349854703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419243006548925</c:v>
                </c:pt>
                <c:pt idx="1">
                  <c:v>0.5419243006548925</c:v>
                </c:pt>
              </c:numCache>
            </c:numRef>
          </c:xVal>
          <c:yVal>
            <c:numRef>
              <c:f>Sheet1!$B$175:$B$176</c:f>
              <c:numCache>
                <c:formatCode>General</c:formatCode>
                <c:ptCount val="2"/>
                <c:pt idx="0">
                  <c:v>0.7657934985470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6338106449925</c:v>
                </c:pt>
              </c:numCache>
            </c:numRef>
          </c:xVal>
          <c:yVal>
            <c:numRef>
              <c:f>Sheet1!$B$179:$B$180</c:f>
              <c:numCache>
                <c:formatCode>General</c:formatCode>
                <c:ptCount val="2"/>
                <c:pt idx="0">
                  <c:v>0.7128850147896272</c:v>
                </c:pt>
                <c:pt idx="1">
                  <c:v>0.712885014789627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6338106449925</c:v>
                </c:pt>
                <c:pt idx="1">
                  <c:v>0.66338106449925</c:v>
                </c:pt>
              </c:numCache>
            </c:numRef>
          </c:xVal>
          <c:yVal>
            <c:numRef>
              <c:f>Sheet1!$B$183:$B$184</c:f>
              <c:numCache>
                <c:formatCode>General</c:formatCode>
                <c:ptCount val="2"/>
                <c:pt idx="0">
                  <c:v>0.712885014789627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567719302750409</c:v>
                </c:pt>
                <c:pt idx="1">
                  <c:v>0.5891052605747471</c:v>
                </c:pt>
                <c:pt idx="2">
                  <c:v>0.6513908686514489</c:v>
                </c:pt>
                <c:pt idx="3">
                  <c:v>0.6726463757997071</c:v>
                </c:pt>
                <c:pt idx="4">
                  <c:v>0.652906848163254</c:v>
                </c:pt>
                <c:pt idx="5">
                  <c:v>0.6599121459089685</c:v>
                </c:pt>
                <c:pt idx="6">
                  <c:v>0.6289460682770724</c:v>
                </c:pt>
                <c:pt idx="7">
                  <c:v>0.6738628056693131</c:v>
                </c:pt>
                <c:pt idx="8">
                  <c:v>0.690978207420853</c:v>
                </c:pt>
                <c:pt idx="9">
                  <c:v>0.6319878143295824</c:v>
                </c:pt>
                <c:pt idx="10">
                  <c:v>0.6211870667289622</c:v>
                </c:pt>
                <c:pt idx="11">
                  <c:v>0.7126522702478236</c:v>
                </c:pt>
                <c:pt idx="12">
                  <c:v>0.681398778855866</c:v>
                </c:pt>
                <c:pt idx="13">
                  <c:v>0.6143013693129254</c:v>
                </c:pt>
                <c:pt idx="14">
                  <c:v>0.6736228508323256</c:v>
                </c:pt>
                <c:pt idx="15">
                  <c:v>0.6299700048446494</c:v>
                </c:pt>
                <c:pt idx="16">
                  <c:v>0.7225473051854675</c:v>
                </c:pt>
                <c:pt idx="17">
                  <c:v>0.7029288626891935</c:v>
                </c:pt>
                <c:pt idx="18">
                  <c:v>0.7090330424248499</c:v>
                </c:pt>
                <c:pt idx="19">
                  <c:v>0.6975083180939808</c:v>
                </c:pt>
                <c:pt idx="20">
                  <c:v>0.7071915760528764</c:v>
                </c:pt>
                <c:pt idx="21">
                  <c:v>0.6331296698022074</c:v>
                </c:pt>
                <c:pt idx="22">
                  <c:v>0.6101480829637611</c:v>
                </c:pt>
                <c:pt idx="23">
                  <c:v>0.4402144666760654</c:v>
                </c:pt>
                <c:pt idx="24">
                  <c:v>0.3677521726842005</c:v>
                </c:pt>
                <c:pt idx="25">
                  <c:v>0.3322592900666668</c:v>
                </c:pt>
                <c:pt idx="26">
                  <c:v>0.3720816636984269</c:v>
                </c:pt>
                <c:pt idx="27">
                  <c:v>0.5206983888857986</c:v>
                </c:pt>
                <c:pt idx="28">
                  <c:v>0.5716330634397094</c:v>
                </c:pt>
                <c:pt idx="29">
                  <c:v>0.5729309009443685</c:v>
                </c:pt>
                <c:pt idx="30">
                  <c:v>0.6560764364988504</c:v>
                </c:pt>
                <c:pt idx="31">
                  <c:v>0.6361715505883422</c:v>
                </c:pt>
                <c:pt idx="32">
                  <c:v>0.6935335347271908</c:v>
                </c:pt>
                <c:pt idx="33">
                  <c:v>0.6222555734943004</c:v>
                </c:pt>
                <c:pt idx="34">
                  <c:v>0.7235418150928509</c:v>
                </c:pt>
                <c:pt idx="35">
                  <c:v>0.6954259851434778</c:v>
                </c:pt>
                <c:pt idx="36">
                  <c:v>0.6131982139068123</c:v>
                </c:pt>
                <c:pt idx="37">
                  <c:v>0.58869724673491</c:v>
                </c:pt>
                <c:pt idx="38">
                  <c:v>0.612991501943952</c:v>
                </c:pt>
                <c:pt idx="39">
                  <c:v>0.6988197987376377</c:v>
                </c:pt>
                <c:pt idx="40">
                  <c:v>0.6985415598821864</c:v>
                </c:pt>
                <c:pt idx="41">
                  <c:v>0.6577259030994607</c:v>
                </c:pt>
                <c:pt idx="42">
                  <c:v>0.6655077100500637</c:v>
                </c:pt>
                <c:pt idx="43">
                  <c:v>0.6339391651366886</c:v>
                </c:pt>
                <c:pt idx="44">
                  <c:v>0.6128526352549069</c:v>
                </c:pt>
                <c:pt idx="45">
                  <c:v>0.6460967033352529</c:v>
                </c:pt>
                <c:pt idx="46">
                  <c:v>0.6311277178850911</c:v>
                </c:pt>
                <c:pt idx="47">
                  <c:v>0.6479662121016219</c:v>
                </c:pt>
                <c:pt idx="48">
                  <c:v>0.5804568442760975</c:v>
                </c:pt>
                <c:pt idx="49">
                  <c:v>0.5838768357305072</c:v>
                </c:pt>
                <c:pt idx="50">
                  <c:v>0.5284836174465888</c:v>
                </c:pt>
                <c:pt idx="51">
                  <c:v>0.5668998685238467</c:v>
                </c:pt>
                <c:pt idx="52">
                  <c:v>0.5419243006548925</c:v>
                </c:pt>
                <c:pt idx="53">
                  <c:v>0.5071424990771598</c:v>
                </c:pt>
                <c:pt idx="54">
                  <c:v>0.66338106449925</c:v>
                </c:pt>
              </c:numCache>
            </c:numRef>
          </c:xVal>
          <c:yVal>
            <c:numRef>
              <c:f>Sheet1!$B$187:$B$241</c:f>
              <c:numCache>
                <c:formatCode>General</c:formatCode>
                <c:ptCount val="55"/>
                <c:pt idx="0">
                  <c:v>0.7545567884108919</c:v>
                </c:pt>
                <c:pt idx="1">
                  <c:v>0.7452407275644531</c:v>
                </c:pt>
                <c:pt idx="2">
                  <c:v>0.7181081333890529</c:v>
                </c:pt>
                <c:pt idx="3">
                  <c:v>0.7088488989165274</c:v>
                </c:pt>
                <c:pt idx="4">
                  <c:v>0.7174477487810809</c:v>
                </c:pt>
                <c:pt idx="5">
                  <c:v>0.7143961304910538</c:v>
                </c:pt>
                <c:pt idx="6">
                  <c:v>0.7278854427661386</c:v>
                </c:pt>
                <c:pt idx="7">
                  <c:v>0.70831900286166</c:v>
                </c:pt>
                <c:pt idx="8">
                  <c:v>0.7008632636594097</c:v>
                </c:pt>
                <c:pt idx="9">
                  <c:v>0.7265604101658991</c:v>
                </c:pt>
                <c:pt idx="10">
                  <c:v>0.7312653863311422</c:v>
                </c:pt>
                <c:pt idx="11">
                  <c:v>0.6914216997255369</c:v>
                </c:pt>
                <c:pt idx="12">
                  <c:v>0.7050362139718793</c:v>
                </c:pt>
                <c:pt idx="13">
                  <c:v>0.7342649048294421</c:v>
                </c:pt>
                <c:pt idx="14">
                  <c:v>0.7084235309767968</c:v>
                </c:pt>
                <c:pt idx="15">
                  <c:v>0.7274393998325094</c:v>
                </c:pt>
                <c:pt idx="16">
                  <c:v>0.6871112662946891</c:v>
                </c:pt>
                <c:pt idx="17">
                  <c:v>0.6956573695606205</c:v>
                </c:pt>
                <c:pt idx="18">
                  <c:v>0.6929982925016424</c:v>
                </c:pt>
                <c:pt idx="19">
                  <c:v>0.6980186443599362</c:v>
                </c:pt>
                <c:pt idx="20">
                  <c:v>0.693800464324335</c:v>
                </c:pt>
                <c:pt idx="21">
                  <c:v>0.7260629998956558</c:v>
                </c:pt>
                <c:pt idx="22">
                  <c:v>0.7360741419306892</c:v>
                </c:pt>
                <c:pt idx="23">
                  <c:v>0.810099907912043</c:v>
                </c:pt>
                <c:pt idx="24">
                  <c:v>0.8416656271304965</c:v>
                </c:pt>
                <c:pt idx="25">
                  <c:v>0.8571268871215808</c:v>
                </c:pt>
                <c:pt idx="26">
                  <c:v>0.8397796324954215</c:v>
                </c:pt>
                <c:pt idx="27">
                  <c:v>0.7750398408051761</c:v>
                </c:pt>
                <c:pt idx="28">
                  <c:v>0.7528518924684512</c:v>
                </c:pt>
                <c:pt idx="29">
                  <c:v>0.7522865339625799</c:v>
                </c:pt>
                <c:pt idx="30">
                  <c:v>0.7160670260640944</c:v>
                </c:pt>
                <c:pt idx="31">
                  <c:v>0.7247379086033222</c:v>
                </c:pt>
                <c:pt idx="32">
                  <c:v>0.6997501227440508</c:v>
                </c:pt>
                <c:pt idx="33">
                  <c:v>0.7307999279157424</c:v>
                </c:pt>
                <c:pt idx="34">
                  <c:v>0.6866780420787961</c:v>
                </c:pt>
                <c:pt idx="35">
                  <c:v>0.6989257414667749</c:v>
                </c:pt>
                <c:pt idx="36">
                  <c:v>0.7347454567397583</c:v>
                </c:pt>
                <c:pt idx="37">
                  <c:v>0.7454184648343634</c:v>
                </c:pt>
                <c:pt idx="38">
                  <c:v>0.7348355037341231</c:v>
                </c:pt>
                <c:pt idx="39">
                  <c:v>0.6974473426873344</c:v>
                </c:pt>
                <c:pt idx="40">
                  <c:v>0.6975685479253004</c:v>
                </c:pt>
                <c:pt idx="41">
                  <c:v>0.7153484923728903</c:v>
                </c:pt>
                <c:pt idx="42">
                  <c:v>0.7119586144145342</c:v>
                </c:pt>
                <c:pt idx="43">
                  <c:v>0.7257103709485271</c:v>
                </c:pt>
                <c:pt idx="44">
                  <c:v>0.7348959962561469</c:v>
                </c:pt>
                <c:pt idx="45">
                  <c:v>0.7204143553792907</c:v>
                </c:pt>
                <c:pt idx="46">
                  <c:v>0.7269350817553832</c:v>
                </c:pt>
                <c:pt idx="47">
                  <c:v>0.7195999678468967</c:v>
                </c:pt>
                <c:pt idx="48">
                  <c:v>0.7490081142359009</c:v>
                </c:pt>
                <c:pt idx="49">
                  <c:v>0.7475183119672681</c:v>
                </c:pt>
                <c:pt idx="50">
                  <c:v>0.7716484723394057</c:v>
                </c:pt>
                <c:pt idx="51">
                  <c:v>0.7549137468963155</c:v>
                </c:pt>
                <c:pt idx="52">
                  <c:v>0.765793498547034</c:v>
                </c:pt>
                <c:pt idx="53">
                  <c:v>0.7809450004114097</c:v>
                </c:pt>
                <c:pt idx="54">
                  <c:v>0.712885014789627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39819004524887"/>
          <c:min val="0.4262773722627737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429326070246997</c:v>
                </c:pt>
                <c:pt idx="1">
                  <c:v>0.7559570263062854</c:v>
                </c:pt>
                <c:pt idx="2">
                  <c:v>0.7647525261735731</c:v>
                </c:pt>
                <c:pt idx="3">
                  <c:v>0.5750223842571716</c:v>
                </c:pt>
                <c:pt idx="4">
                  <c:v>0.6582462224035797</c:v>
                </c:pt>
                <c:pt idx="5">
                  <c:v>0.8403010204207565</c:v>
                </c:pt>
                <c:pt idx="6">
                  <c:v>0.672349914847083</c:v>
                </c:pt>
                <c:pt idx="7">
                  <c:v>0.4793004512977399</c:v>
                </c:pt>
                <c:pt idx="8">
                  <c:v>0.7642625659008446</c:v>
                </c:pt>
                <c:pt idx="9">
                  <c:v>0.6348077198013546</c:v>
                </c:pt>
                <c:pt idx="10">
                  <c:v>0.5924496432361815</c:v>
                </c:pt>
                <c:pt idx="11">
                  <c:v>0.4993850994710633</c:v>
                </c:pt>
                <c:pt idx="12">
                  <c:v>0.7782143139220454</c:v>
                </c:pt>
                <c:pt idx="13">
                  <c:v>0.568609195952142</c:v>
                </c:pt>
                <c:pt idx="14">
                  <c:v>0.0</c:v>
                </c:pt>
                <c:pt idx="15">
                  <c:v>0.38725841596222027</c:v>
                </c:pt>
                <c:pt idx="16">
                  <c:v>0.21618626431221058</c:v>
                </c:pt>
                <c:pt idx="17">
                  <c:v>0.6032141873776699</c:v>
                </c:pt>
                <c:pt idx="18">
                  <c:v>0.0</c:v>
                </c:pt>
                <c:pt idx="19">
                  <c:v>0.35333521902532794</c:v>
                </c:pt>
                <c:pt idx="20">
                  <c:v>0.47416817931832267</c:v>
                </c:pt>
                <c:pt idx="21">
                  <c:v>0.6167463300403138</c:v>
                </c:pt>
                <c:pt idx="22">
                  <c:v>0.4860035298683947</c:v>
                </c:pt>
                <c:pt idx="23">
                  <c:v>0.5899469450152789</c:v>
                </c:pt>
                <c:pt idx="24">
                  <c:v>0.5476290587818347</c:v>
                </c:pt>
                <c:pt idx="25">
                  <c:v>0.42262506300035846</c:v>
                </c:pt>
                <c:pt idx="26">
                  <c:v>0.6166844349551803</c:v>
                </c:pt>
                <c:pt idx="27">
                  <c:v>1.4657116981534253</c:v>
                </c:pt>
                <c:pt idx="28">
                  <c:v>0.3208915301738611</c:v>
                </c:pt>
                <c:pt idx="29">
                  <c:v>0.6932973265310955</c:v>
                </c:pt>
                <c:pt idx="30">
                  <c:v>0.37369903626026374</c:v>
                </c:pt>
                <c:pt idx="31">
                  <c:v>0.4795297078055122</c:v>
                </c:pt>
                <c:pt idx="32">
                  <c:v>0.8148025951380286</c:v>
                </c:pt>
                <c:pt idx="33">
                  <c:v>0.37650153222753946</c:v>
                </c:pt>
                <c:pt idx="34">
                  <c:v>0.3458072164829871</c:v>
                </c:pt>
                <c:pt idx="35">
                  <c:v>0.3736932340700622</c:v>
                </c:pt>
                <c:pt idx="36">
                  <c:v>0.6207993277114372</c:v>
                </c:pt>
                <c:pt idx="37">
                  <c:v>0.43664691028732194</c:v>
                </c:pt>
                <c:pt idx="38">
                  <c:v>0.739247403889107</c:v>
                </c:pt>
                <c:pt idx="39">
                  <c:v>0.5590368741151369</c:v>
                </c:pt>
                <c:pt idx="40">
                  <c:v>0.8697125936654194</c:v>
                </c:pt>
                <c:pt idx="41">
                  <c:v>0.5322880555389095</c:v>
                </c:pt>
                <c:pt idx="42">
                  <c:v>1.0431422364371787</c:v>
                </c:pt>
                <c:pt idx="43">
                  <c:v>0.7070383687163881</c:v>
                </c:pt>
                <c:pt idx="44">
                  <c:v>0.4500737801302167</c:v>
                </c:pt>
                <c:pt idx="45">
                  <c:v>0.4517901575536142</c:v>
                </c:pt>
                <c:pt idx="46">
                  <c:v>0.41955839089343233</c:v>
                </c:pt>
                <c:pt idx="47">
                  <c:v>0.34668011550675715</c:v>
                </c:pt>
                <c:pt idx="48">
                  <c:v>0.47524012857297304</c:v>
                </c:pt>
                <c:pt idx="49">
                  <c:v>0.4086617480556271</c:v>
                </c:pt>
                <c:pt idx="50">
                  <c:v>0.46241572687656457</c:v>
                </c:pt>
                <c:pt idx="51">
                  <c:v>0.42830788370397344</c:v>
                </c:pt>
                <c:pt idx="52">
                  <c:v>0.513519335613833</c:v>
                </c:pt>
                <c:pt idx="53">
                  <c:v>0.43594904211986735</c:v>
                </c:pt>
                <c:pt idx="54">
                  <c:v>0.443657521090273</c:v>
                </c:pt>
                <c:pt idx="55">
                  <c:v>0.5047866212606499</c:v>
                </c:pt>
                <c:pt idx="56">
                  <c:v>1.0508358072033415</c:v>
                </c:pt>
                <c:pt idx="57">
                  <c:v>0.40803987786267065</c:v>
                </c:pt>
                <c:pt idx="58">
                  <c:v>0.44088262542941087</c:v>
                </c:pt>
                <c:pt idx="59">
                  <c:v>0.36152469105171947</c:v>
                </c:pt>
                <c:pt idx="60">
                  <c:v>0.3111059830638786</c:v>
                </c:pt>
                <c:pt idx="61">
                  <c:v>0.31158323107375596</c:v>
                </c:pt>
                <c:pt idx="62">
                  <c:v>0.30220198412433324</c:v>
                </c:pt>
                <c:pt idx="63">
                  <c:v>0.25131205183942845</c:v>
                </c:pt>
                <c:pt idx="64">
                  <c:v>0.2764823871624282</c:v>
                </c:pt>
                <c:pt idx="65">
                  <c:v>0.25282264241952024</c:v>
                </c:pt>
                <c:pt idx="66">
                  <c:v>0.24138036615975877</c:v>
                </c:pt>
                <c:pt idx="67">
                  <c:v>0.31900403327122456</c:v>
                </c:pt>
                <c:pt idx="68">
                  <c:v>0.23474779264079063</c:v>
                </c:pt>
                <c:pt idx="69">
                  <c:v>0.20212941396794157</c:v>
                </c:pt>
                <c:pt idx="70">
                  <c:v>0.21361696099187297</c:v>
                </c:pt>
                <c:pt idx="71">
                  <c:v>0.172531331157601</c:v>
                </c:pt>
                <c:pt idx="72">
                  <c:v>0.2747904731712203</c:v>
                </c:pt>
                <c:pt idx="73">
                  <c:v>0.18820768880512903</c:v>
                </c:pt>
                <c:pt idx="74">
                  <c:v>0.23166024925596004</c:v>
                </c:pt>
                <c:pt idx="75">
                  <c:v>0.3539876493249175</c:v>
                </c:pt>
                <c:pt idx="76">
                  <c:v>0.3521793049533665</c:v>
                </c:pt>
                <c:pt idx="77">
                  <c:v>0.4038590127615937</c:v>
                </c:pt>
                <c:pt idx="78">
                  <c:v>0.2720723598177342</c:v>
                </c:pt>
                <c:pt idx="79">
                  <c:v>0.4213573054515447</c:v>
                </c:pt>
                <c:pt idx="80">
                  <c:v>0.37664429390508675</c:v>
                </c:pt>
                <c:pt idx="81">
                  <c:v>0.31737378720364545</c:v>
                </c:pt>
                <c:pt idx="82">
                  <c:v>0.38201309755803603</c:v>
                </c:pt>
                <c:pt idx="83">
                  <c:v>0.37553437750866325</c:v>
                </c:pt>
                <c:pt idx="84">
                  <c:v>0.3695392867160934</c:v>
                </c:pt>
                <c:pt idx="85">
                  <c:v>0.3133787330399198</c:v>
                </c:pt>
                <c:pt idx="86">
                  <c:v>0.4345538864828965</c:v>
                </c:pt>
                <c:pt idx="87">
                  <c:v>0.42778392177859725</c:v>
                </c:pt>
                <c:pt idx="88">
                  <c:v>0.3662173656821902</c:v>
                </c:pt>
                <c:pt idx="89">
                  <c:v>0.3366277619544934</c:v>
                </c:pt>
                <c:pt idx="90">
                  <c:v>0.36029216154305344</c:v>
                </c:pt>
                <c:pt idx="91">
                  <c:v>0.3553786075080623</c:v>
                </c:pt>
                <c:pt idx="92">
                  <c:v>0.38205984495289275</c:v>
                </c:pt>
                <c:pt idx="93">
                  <c:v>0.38790653618377546</c:v>
                </c:pt>
                <c:pt idx="94">
                  <c:v>0.43638117470597626</c:v>
                </c:pt>
                <c:pt idx="95">
                  <c:v>0.3824720886837385</c:v>
                </c:pt>
                <c:pt idx="96">
                  <c:v>0.3089411747151546</c:v>
                </c:pt>
                <c:pt idx="97">
                  <c:v>0.3210660660283336</c:v>
                </c:pt>
                <c:pt idx="98">
                  <c:v>0.31528250372441635</c:v>
                </c:pt>
                <c:pt idx="99">
                  <c:v>0.3297766480431877</c:v>
                </c:pt>
                <c:pt idx="100">
                  <c:v>0.38633304362319815</c:v>
                </c:pt>
                <c:pt idx="101">
                  <c:v>0.3630552715110684</c:v>
                </c:pt>
                <c:pt idx="102">
                  <c:v>0.3661956196178641</c:v>
                </c:pt>
                <c:pt idx="103">
                  <c:v>0.37522453304561454</c:v>
                </c:pt>
                <c:pt idx="104">
                  <c:v>0.4185082105412163</c:v>
                </c:pt>
              </c:numCache>
            </c:numRef>
          </c:xVal>
          <c:yVal>
            <c:numRef>
              <c:f>Sheet1!$B$2:$B$106</c:f>
              <c:numCache>
                <c:formatCode>General</c:formatCode>
                <c:ptCount val="105"/>
                <c:pt idx="0">
                  <c:v>0.00031891666462232905</c:v>
                </c:pt>
                <c:pt idx="1">
                  <c:v>7.925395609330832e-05</c:v>
                </c:pt>
                <c:pt idx="2">
                  <c:v>7.552299675251114e-05</c:v>
                </c:pt>
                <c:pt idx="3">
                  <c:v>8.004482510205715e-05</c:v>
                </c:pt>
                <c:pt idx="4">
                  <c:v>6.23966555392631e-05</c:v>
                </c:pt>
                <c:pt idx="5">
                  <c:v>9.57548675390999e-05</c:v>
                </c:pt>
                <c:pt idx="6">
                  <c:v>0.00018340210912425492</c:v>
                </c:pt>
                <c:pt idx="7">
                  <c:v>0.00021210407239819005</c:v>
                </c:pt>
                <c:pt idx="8">
                  <c:v>0.00011031033975584644</c:v>
                </c:pt>
                <c:pt idx="9">
                  <c:v>0.0001392757660167131</c:v>
                </c:pt>
                <c:pt idx="10">
                  <c:v>0.00010751532093323298</c:v>
                </c:pt>
                <c:pt idx="11">
                  <c:v>0.00018946057866673884</c:v>
                </c:pt>
                <c:pt idx="12">
                  <c:v>0.00012403870007442322</c:v>
                </c:pt>
                <c:pt idx="13">
                  <c:v>0.00015577132769094968</c:v>
                </c:pt>
                <c:pt idx="14">
                  <c:v>0.0</c:v>
                </c:pt>
                <c:pt idx="15">
                  <c:v>0.00015527950310559007</c:v>
                </c:pt>
                <c:pt idx="16">
                  <c:v>0.00014243999715120005</c:v>
                </c:pt>
                <c:pt idx="17">
                  <c:v>7.810669374365383e-05</c:v>
                </c:pt>
                <c:pt idx="18">
                  <c:v>0.0</c:v>
                </c:pt>
                <c:pt idx="19">
                  <c:v>0.00015323322096230462</c:v>
                </c:pt>
                <c:pt idx="20">
                  <c:v>0.00012568077084206116</c:v>
                </c:pt>
                <c:pt idx="21">
                  <c:v>5.2578999947421e-05</c:v>
                </c:pt>
                <c:pt idx="22">
                  <c:v>0.00020874647740319382</c:v>
                </c:pt>
                <c:pt idx="23">
                  <c:v>0.0001632386549134835</c:v>
                </c:pt>
                <c:pt idx="24">
                  <c:v>0.00020258293238794632</c:v>
                </c:pt>
                <c:pt idx="25">
                  <c:v>0.0003478059242942438</c:v>
                </c:pt>
                <c:pt idx="26">
                  <c:v>0.00025717518773788703</c:v>
                </c:pt>
                <c:pt idx="27">
                  <c:v>5.060728744939271e-05</c:v>
                </c:pt>
                <c:pt idx="28">
                  <c:v>0.0002570561924836769</c:v>
                </c:pt>
                <c:pt idx="29">
                  <c:v>0.00017968644714972374</c:v>
                </c:pt>
                <c:pt idx="30">
                  <c:v>0.00023078698361412417</c:v>
                </c:pt>
                <c:pt idx="31">
                  <c:v>0.0002249212775528565</c:v>
                </c:pt>
                <c:pt idx="32">
                  <c:v>0.00011039355301650383</c:v>
                </c:pt>
                <c:pt idx="33">
                  <c:v>0.00039227651135422567</c:v>
                </c:pt>
                <c:pt idx="34">
                  <c:v>0.0004630165528417641</c:v>
                </c:pt>
                <c:pt idx="35">
                  <c:v>0.0004770504651242035</c:v>
                </c:pt>
                <c:pt idx="36">
                  <c:v>0.00016523463317911433</c:v>
                </c:pt>
                <c:pt idx="37">
                  <c:v>0.00019287333044023337</c:v>
                </c:pt>
                <c:pt idx="38">
                  <c:v>9.664637092877162e-05</c:v>
                </c:pt>
                <c:pt idx="39">
                  <c:v>0.00020469781485082646</c:v>
                </c:pt>
                <c:pt idx="40">
                  <c:v>8.289468230613006e-05</c:v>
                </c:pt>
                <c:pt idx="41">
                  <c:v>0.0001376399339328317</c:v>
                </c:pt>
                <c:pt idx="42">
                  <c:v>3.913894324853229e-05</c:v>
                </c:pt>
                <c:pt idx="43">
                  <c:v>0.00010425716768027802</c:v>
                </c:pt>
                <c:pt idx="44">
                  <c:v>0.00014063708599957808</c:v>
                </c:pt>
                <c:pt idx="45">
                  <c:v>0.0001060332944544587</c:v>
                </c:pt>
                <c:pt idx="46">
                  <c:v>0.00022583559168925022</c:v>
                </c:pt>
                <c:pt idx="47">
                  <c:v>0.000293581059827626</c:v>
                </c:pt>
                <c:pt idx="48">
                  <c:v>0.00015294027682190105</c:v>
                </c:pt>
                <c:pt idx="49">
                  <c:v>0.00016961550285696112</c:v>
                </c:pt>
                <c:pt idx="50">
                  <c:v>0.0002012477359629704</c:v>
                </c:pt>
                <c:pt idx="51">
                  <c:v>0.0002486139770777913</c:v>
                </c:pt>
                <c:pt idx="52">
                  <c:v>8.450228156160216e-05</c:v>
                </c:pt>
                <c:pt idx="53">
                  <c:v>0.0001316586354899018</c:v>
                </c:pt>
                <c:pt idx="54">
                  <c:v>0.0002624289254993439</c:v>
                </c:pt>
                <c:pt idx="55">
                  <c:v>0.00014956178397295924</c:v>
                </c:pt>
                <c:pt idx="56">
                  <c:v>6.046680372475511e-05</c:v>
                </c:pt>
                <c:pt idx="57">
                  <c:v>0.00010392849719393057</c:v>
                </c:pt>
                <c:pt idx="58">
                  <c:v>9.544716999140975e-05</c:v>
                </c:pt>
                <c:pt idx="59">
                  <c:v>0.0001570869790603057</c:v>
                </c:pt>
                <c:pt idx="60">
                  <c:v>0.0002410260824653525</c:v>
                </c:pt>
                <c:pt idx="61">
                  <c:v>0.00032864621235240263</c:v>
                </c:pt>
                <c:pt idx="62">
                  <c:v>0.00027110679348440006</c:v>
                </c:pt>
                <c:pt idx="63">
                  <c:v>0.00036864849366129393</c:v>
                </c:pt>
                <c:pt idx="64">
                  <c:v>0.0003807615230460922</c:v>
                </c:pt>
                <c:pt idx="65">
                  <c:v>0.00032711808963035657</c:v>
                </c:pt>
                <c:pt idx="66">
                  <c:v>0.0002484135407962783</c:v>
                </c:pt>
                <c:pt idx="67">
                  <c:v>0.0002141174791235458</c:v>
                </c:pt>
                <c:pt idx="68">
                  <c:v>0.0003691608689478915</c:v>
                </c:pt>
                <c:pt idx="69">
                  <c:v>0.00041263410608447746</c:v>
                </c:pt>
                <c:pt idx="70">
                  <c:v>0.0003591051100657162</c:v>
                </c:pt>
                <c:pt idx="71">
                  <c:v>0.0003860854793251226</c:v>
                </c:pt>
                <c:pt idx="72">
                  <c:v>0.00040169442009932807</c:v>
                </c:pt>
                <c:pt idx="73">
                  <c:v>0.0007383515330509462</c:v>
                </c:pt>
                <c:pt idx="74">
                  <c:v>0.0007898597058712905</c:v>
                </c:pt>
                <c:pt idx="75">
                  <c:v>0.0007884708046782601</c:v>
                </c:pt>
                <c:pt idx="76">
                  <c:v>0.0010745153001635132</c:v>
                </c:pt>
                <c:pt idx="77">
                  <c:v>0.0011077397293262053</c:v>
                </c:pt>
                <c:pt idx="78">
                  <c:v>0.0018812147272238647</c:v>
                </c:pt>
                <c:pt idx="79">
                  <c:v>0.0011912703707233393</c:v>
                </c:pt>
                <c:pt idx="80">
                  <c:v>0.0011436195558944058</c:v>
                </c:pt>
                <c:pt idx="81">
                  <c:v>0.0016303240269003464</c:v>
                </c:pt>
                <c:pt idx="82">
                  <c:v>0.0013089005235602095</c:v>
                </c:pt>
                <c:pt idx="83">
                  <c:v>0.001287395782246199</c:v>
                </c:pt>
                <c:pt idx="84">
                  <c:v>0.0012380068090374497</c:v>
                </c:pt>
                <c:pt idx="85">
                  <c:v>0.0011462256427050926</c:v>
                </c:pt>
                <c:pt idx="86">
                  <c:v>0.0010637427379101548</c:v>
                </c:pt>
                <c:pt idx="87">
                  <c:v>0.0009602827072290082</c:v>
                </c:pt>
                <c:pt idx="88">
                  <c:v>0.001459356910054969</c:v>
                </c:pt>
                <c:pt idx="89">
                  <c:v>0.0018212984786800943</c:v>
                </c:pt>
                <c:pt idx="90">
                  <c:v>0.0017051705170517053</c:v>
                </c:pt>
                <c:pt idx="91">
                  <c:v>0.0016994158258098779</c:v>
                </c:pt>
                <c:pt idx="92">
                  <c:v>0.0014476709529081156</c:v>
                </c:pt>
                <c:pt idx="93">
                  <c:v>0.0014341911162104573</c:v>
                </c:pt>
                <c:pt idx="94">
                  <c:v>0.0013409784518634976</c:v>
                </c:pt>
                <c:pt idx="95">
                  <c:v>0.0015918173812910655</c:v>
                </c:pt>
                <c:pt idx="96">
                  <c:v>0.0021358186495801174</c:v>
                </c:pt>
                <c:pt idx="97">
                  <c:v>0.0024340169746227274</c:v>
                </c:pt>
                <c:pt idx="98">
                  <c:v>0.002288203851504723</c:v>
                </c:pt>
                <c:pt idx="99">
                  <c:v>0.0021538071709109336</c:v>
                </c:pt>
                <c:pt idx="100">
                  <c:v>0.0016596553909986745</c:v>
                </c:pt>
                <c:pt idx="101">
                  <c:v>0.002235498931708475</c:v>
                </c:pt>
                <c:pt idx="102">
                  <c:v>0.0018664144933306789</c:v>
                </c:pt>
                <c:pt idx="103">
                  <c:v>0.001825415399017084</c:v>
                </c:pt>
                <c:pt idx="104">
                  <c:v>0.001356668023334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127667389240204</c:v>
                </c:pt>
                <c:pt idx="1">
                  <c:v>0.3676631140903165</c:v>
                </c:pt>
                <c:pt idx="2">
                  <c:v>0.4182396117128717</c:v>
                </c:pt>
                <c:pt idx="3">
                  <c:v>0.3615887488472138</c:v>
                </c:pt>
                <c:pt idx="4">
                  <c:v>0.4231183511896409</c:v>
                </c:pt>
                <c:pt idx="5">
                  <c:v>0.42422792890698435</c:v>
                </c:pt>
                <c:pt idx="6">
                  <c:v>0.4094593730113467</c:v>
                </c:pt>
                <c:pt idx="7">
                  <c:v>0.4072575685384422</c:v>
                </c:pt>
                <c:pt idx="8">
                  <c:v>0.4055787809565827</c:v>
                </c:pt>
                <c:pt idx="9">
                  <c:v>0.3961148372541077</c:v>
                </c:pt>
                <c:pt idx="10">
                  <c:v>0.40041258238150423</c:v>
                </c:pt>
                <c:pt idx="11">
                  <c:v>0.3922599862165763</c:v>
                </c:pt>
                <c:pt idx="12">
                  <c:v>0.35868936025148407</c:v>
                </c:pt>
                <c:pt idx="13">
                  <c:v>0.32482201613090284</c:v>
                </c:pt>
                <c:pt idx="14">
                  <c:v>0.32433172064665516</c:v>
                </c:pt>
                <c:pt idx="15">
                  <c:v>0.33990756250740395</c:v>
                </c:pt>
                <c:pt idx="16">
                  <c:v>0.3523515095722528</c:v>
                </c:pt>
                <c:pt idx="17">
                  <c:v>0.26838094109071164</c:v>
                </c:pt>
                <c:pt idx="18">
                  <c:v>0.37410456741060505</c:v>
                </c:pt>
                <c:pt idx="19">
                  <c:v>0.41105829022250173</c:v>
                </c:pt>
                <c:pt idx="20">
                  <c:v>0.3880960305612503</c:v>
                </c:pt>
                <c:pt idx="21">
                  <c:v>0.32281510582928963</c:v>
                </c:pt>
                <c:pt idx="22">
                  <c:v>0.35645065725508274</c:v>
                </c:pt>
                <c:pt idx="23">
                  <c:v>0.2935761879124602</c:v>
                </c:pt>
                <c:pt idx="24">
                  <c:v>0.3733794212761171</c:v>
                </c:pt>
                <c:pt idx="25">
                  <c:v>0.34293172553576295</c:v>
                </c:pt>
                <c:pt idx="26">
                  <c:v>0.342411934233547</c:v>
                </c:pt>
                <c:pt idx="27">
                  <c:v>0.3167823960449381</c:v>
                </c:pt>
                <c:pt idx="28">
                  <c:v>0.33843852123831836</c:v>
                </c:pt>
                <c:pt idx="29">
                  <c:v>0.3379421113154321</c:v>
                </c:pt>
                <c:pt idx="30">
                  <c:v>0.3266638765226859</c:v>
                </c:pt>
                <c:pt idx="31">
                  <c:v>0.34770677008237383</c:v>
                </c:pt>
                <c:pt idx="32">
                  <c:v>0.40148461224448256</c:v>
                </c:pt>
                <c:pt idx="33">
                  <c:v>0.4017659013617938</c:v>
                </c:pt>
                <c:pt idx="34">
                  <c:v>0.40535997777076505</c:v>
                </c:pt>
                <c:pt idx="35">
                  <c:v>0.36975986704298347</c:v>
                </c:pt>
                <c:pt idx="36">
                  <c:v>0.36866972099021594</c:v>
                </c:pt>
                <c:pt idx="37">
                  <c:v>0.3736904015667202</c:v>
                </c:pt>
                <c:pt idx="38">
                  <c:v>0.32543213467041404</c:v>
                </c:pt>
                <c:pt idx="39">
                  <c:v>0.30334509710772906</c:v>
                </c:pt>
                <c:pt idx="40">
                  <c:v>0.2911014660176575</c:v>
                </c:pt>
                <c:pt idx="41">
                  <c:v>0.32321756453625017</c:v>
                </c:pt>
                <c:pt idx="42">
                  <c:v>0.3083060100662502</c:v>
                </c:pt>
                <c:pt idx="43">
                  <c:v>0.3355084354912098</c:v>
                </c:pt>
                <c:pt idx="44">
                  <c:v>0.3984010658017174</c:v>
                </c:pt>
                <c:pt idx="45">
                  <c:v>0.42081773517622817</c:v>
                </c:pt>
                <c:pt idx="46">
                  <c:v>0.4410987109878409</c:v>
                </c:pt>
                <c:pt idx="47">
                  <c:v>0.3882939642750273</c:v>
                </c:pt>
                <c:pt idx="48">
                  <c:v>0.36735688820642814</c:v>
                </c:pt>
                <c:pt idx="49">
                  <c:v>0.3906730727566732</c:v>
                </c:pt>
                <c:pt idx="50">
                  <c:v>0.42802228837084966</c:v>
                </c:pt>
                <c:pt idx="51">
                  <c:v>0.4383564970172308</c:v>
                </c:pt>
              </c:numCache>
            </c:numRef>
          </c:xVal>
          <c:yVal>
            <c:numRef>
              <c:f>Sheet1!$B$109:$B$160</c:f>
              <c:numCache>
                <c:formatCode>General</c:formatCode>
                <c:ptCount val="52"/>
                <c:pt idx="0">
                  <c:v>0.0014574738766334823</c:v>
                </c:pt>
                <c:pt idx="1">
                  <c:v>0.001754845468831849</c:v>
                </c:pt>
                <c:pt idx="2">
                  <c:v>0.0015945971297251665</c:v>
                </c:pt>
                <c:pt idx="3">
                  <c:v>0.0016878032771513631</c:v>
                </c:pt>
                <c:pt idx="4">
                  <c:v>0.0016790772375529274</c:v>
                </c:pt>
                <c:pt idx="5">
                  <c:v>0.001467064404127341</c:v>
                </c:pt>
                <c:pt idx="6">
                  <c:v>0.0015850773012336037</c:v>
                </c:pt>
                <c:pt idx="7">
                  <c:v>0.0018228675592431957</c:v>
                </c:pt>
                <c:pt idx="8">
                  <c:v>0.0021541568495456074</c:v>
                </c:pt>
                <c:pt idx="9">
                  <c:v>0.0022634957055595174</c:v>
                </c:pt>
                <c:pt idx="10">
                  <c:v>0.0021662363868364047</c:v>
                </c:pt>
                <c:pt idx="11">
                  <c:v>0.0022191338653277143</c:v>
                </c:pt>
                <c:pt idx="12">
                  <c:v>0.0022670596236681025</c:v>
                </c:pt>
                <c:pt idx="13">
                  <c:v>0.003259726603575184</c:v>
                </c:pt>
                <c:pt idx="14">
                  <c:v>0.003245906390378206</c:v>
                </c:pt>
                <c:pt idx="15">
                  <c:v>0.0030689110015809542</c:v>
                </c:pt>
                <c:pt idx="16">
                  <c:v>0.0030204962243797194</c:v>
                </c:pt>
                <c:pt idx="17">
                  <c:v>0.003840072283713576</c:v>
                </c:pt>
                <c:pt idx="18">
                  <c:v>0.0020977745348412986</c:v>
                </c:pt>
                <c:pt idx="19">
                  <c:v>0.001841620626151013</c:v>
                </c:pt>
                <c:pt idx="20">
                  <c:v>0.0021836089946106673</c:v>
                </c:pt>
                <c:pt idx="21">
                  <c:v>0.003158196956646569</c:v>
                </c:pt>
                <c:pt idx="22">
                  <c:v>0.002605789384240639</c:v>
                </c:pt>
                <c:pt idx="23">
                  <c:v>0.00262574396078889</c:v>
                </c:pt>
                <c:pt idx="24">
                  <c:v>0.0023803083581282122</c:v>
                </c:pt>
                <c:pt idx="25">
                  <c:v>0.0025542059257577477</c:v>
                </c:pt>
                <c:pt idx="26">
                  <c:v>0.00275690577869074</c:v>
                </c:pt>
                <c:pt idx="27">
                  <c:v>0.0027923382158428454</c:v>
                </c:pt>
                <c:pt idx="28">
                  <c:v>0.002306293520202244</c:v>
                </c:pt>
                <c:pt idx="29">
                  <c:v>0.0026136121186259866</c:v>
                </c:pt>
                <c:pt idx="30">
                  <c:v>0.0025564076914527064</c:v>
                </c:pt>
                <c:pt idx="31">
                  <c:v>0.002603378337470485</c:v>
                </c:pt>
                <c:pt idx="32">
                  <c:v>0.0022248119504184767</c:v>
                </c:pt>
                <c:pt idx="33">
                  <c:v>0.0021675661328850746</c:v>
                </c:pt>
                <c:pt idx="34">
                  <c:v>0.0019902546153318236</c:v>
                </c:pt>
                <c:pt idx="35">
                  <c:v>0.0024293831837272502</c:v>
                </c:pt>
                <c:pt idx="36">
                  <c:v>0.003050165487701992</c:v>
                </c:pt>
                <c:pt idx="37">
                  <c:v>0.0030033498902622157</c:v>
                </c:pt>
                <c:pt idx="38">
                  <c:v>0.003501491375956426</c:v>
                </c:pt>
                <c:pt idx="39">
                  <c:v>0.003268438254938184</c:v>
                </c:pt>
                <c:pt idx="40">
                  <c:v>0.0030971201405260483</c:v>
                </c:pt>
                <c:pt idx="41">
                  <c:v>0.0025173611111111113</c:v>
                </c:pt>
                <c:pt idx="42">
                  <c:v>0.0028767858013555025</c:v>
                </c:pt>
                <c:pt idx="43">
                  <c:v>0.0021081969556206673</c:v>
                </c:pt>
                <c:pt idx="44">
                  <c:v>0.0015509774084045418</c:v>
                </c:pt>
                <c:pt idx="45">
                  <c:v>0.0012992732878220655</c:v>
                </c:pt>
                <c:pt idx="46">
                  <c:v>0.0013457884737175427</c:v>
                </c:pt>
                <c:pt idx="47">
                  <c:v>0.0013377263606411177</c:v>
                </c:pt>
                <c:pt idx="48">
                  <c:v>0.0014954823969259528</c:v>
                </c:pt>
                <c:pt idx="49">
                  <c:v>0.0013136165740879747</c:v>
                </c:pt>
                <c:pt idx="50">
                  <c:v>0.0011035611546473564</c:v>
                </c:pt>
                <c:pt idx="51">
                  <c:v>0.001310531517208782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3881181209945843</c:v>
                </c:pt>
              </c:numCache>
            </c:numRef>
          </c:xVal>
          <c:yVal>
            <c:numRef>
              <c:f>Sheet1!$B$163:$B$164</c:f>
              <c:numCache>
                <c:formatCode>General</c:formatCode>
                <c:ptCount val="2"/>
                <c:pt idx="0">
                  <c:v>0.0026640183997899175</c:v>
                </c:pt>
                <c:pt idx="1">
                  <c:v>0.002664018399789917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3881181209945843</c:v>
                </c:pt>
                <c:pt idx="1">
                  <c:v>0.33881181209945843</c:v>
                </c:pt>
              </c:numCache>
            </c:numRef>
          </c:xVal>
          <c:yVal>
            <c:numRef>
              <c:f>Sheet1!$B$167:$B$168</c:f>
              <c:numCache>
                <c:formatCode>General</c:formatCode>
                <c:ptCount val="2"/>
                <c:pt idx="0">
                  <c:v>0.002664018399789917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3881181209945843</c:v>
                </c:pt>
              </c:numCache>
            </c:numRef>
          </c:xVal>
          <c:yVal>
            <c:numRef>
              <c:f>Sheet1!$B$171:$B$172</c:f>
              <c:numCache>
                <c:formatCode>General</c:formatCode>
                <c:ptCount val="2"/>
                <c:pt idx="0">
                  <c:v>0.0026640183997899175</c:v>
                </c:pt>
                <c:pt idx="1">
                  <c:v>0.002664018399789917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3881181209945843</c:v>
                </c:pt>
                <c:pt idx="1">
                  <c:v>0.33881181209945843</c:v>
                </c:pt>
              </c:numCache>
            </c:numRef>
          </c:xVal>
          <c:yVal>
            <c:numRef>
              <c:f>Sheet1!$B$175:$B$176</c:f>
              <c:numCache>
                <c:formatCode>General</c:formatCode>
                <c:ptCount val="2"/>
                <c:pt idx="0">
                  <c:v>0.002664018399789917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976665317264635</c:v>
                </c:pt>
              </c:numCache>
            </c:numRef>
          </c:xVal>
          <c:yVal>
            <c:numRef>
              <c:f>Sheet1!$B$179:$B$180</c:f>
              <c:numCache>
                <c:formatCode>General</c:formatCode>
                <c:ptCount val="2"/>
                <c:pt idx="0">
                  <c:v>0.0018942199566928347</c:v>
                </c:pt>
                <c:pt idx="1">
                  <c:v>0.001894219956692834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976665317264635</c:v>
                </c:pt>
                <c:pt idx="1">
                  <c:v>0.3976665317264635</c:v>
                </c:pt>
              </c:numCache>
            </c:numRef>
          </c:xVal>
          <c:yVal>
            <c:numRef>
              <c:f>Sheet1!$B$183:$B$184</c:f>
              <c:numCache>
                <c:formatCode>General</c:formatCode>
                <c:ptCount val="2"/>
                <c:pt idx="0">
                  <c:v>0.00189421995669283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127667389240204</c:v>
                </c:pt>
                <c:pt idx="1">
                  <c:v>0.3676631140903165</c:v>
                </c:pt>
                <c:pt idx="2">
                  <c:v>0.4182396117128717</c:v>
                </c:pt>
                <c:pt idx="3">
                  <c:v>0.3615887488472138</c:v>
                </c:pt>
                <c:pt idx="4">
                  <c:v>0.4231183511896409</c:v>
                </c:pt>
                <c:pt idx="5">
                  <c:v>0.42422792890698435</c:v>
                </c:pt>
                <c:pt idx="6">
                  <c:v>0.4094593730113467</c:v>
                </c:pt>
                <c:pt idx="7">
                  <c:v>0.4072575685384422</c:v>
                </c:pt>
                <c:pt idx="8">
                  <c:v>0.4055787809565827</c:v>
                </c:pt>
                <c:pt idx="9">
                  <c:v>0.3961148372541077</c:v>
                </c:pt>
                <c:pt idx="10">
                  <c:v>0.40041258238150423</c:v>
                </c:pt>
                <c:pt idx="11">
                  <c:v>0.3922599862165763</c:v>
                </c:pt>
                <c:pt idx="12">
                  <c:v>0.35868936025148407</c:v>
                </c:pt>
                <c:pt idx="13">
                  <c:v>0.32482201613090284</c:v>
                </c:pt>
                <c:pt idx="14">
                  <c:v>0.32433172064665516</c:v>
                </c:pt>
                <c:pt idx="15">
                  <c:v>0.33990756250740395</c:v>
                </c:pt>
                <c:pt idx="16">
                  <c:v>0.3523515095722528</c:v>
                </c:pt>
                <c:pt idx="17">
                  <c:v>0.26838094109071164</c:v>
                </c:pt>
                <c:pt idx="18">
                  <c:v>0.37410456741060505</c:v>
                </c:pt>
                <c:pt idx="19">
                  <c:v>0.41105829022250173</c:v>
                </c:pt>
                <c:pt idx="20">
                  <c:v>0.3880960305612503</c:v>
                </c:pt>
                <c:pt idx="21">
                  <c:v>0.32281510582928963</c:v>
                </c:pt>
                <c:pt idx="22">
                  <c:v>0.35645065725508274</c:v>
                </c:pt>
                <c:pt idx="23">
                  <c:v>0.2935761879124602</c:v>
                </c:pt>
                <c:pt idx="24">
                  <c:v>0.3733794212761171</c:v>
                </c:pt>
                <c:pt idx="25">
                  <c:v>0.34293172553576295</c:v>
                </c:pt>
                <c:pt idx="26">
                  <c:v>0.342411934233547</c:v>
                </c:pt>
                <c:pt idx="27">
                  <c:v>0.3167823960449381</c:v>
                </c:pt>
                <c:pt idx="28">
                  <c:v>0.33843852123831836</c:v>
                </c:pt>
                <c:pt idx="29">
                  <c:v>0.3379421113154321</c:v>
                </c:pt>
                <c:pt idx="30">
                  <c:v>0.3266638765226859</c:v>
                </c:pt>
                <c:pt idx="31">
                  <c:v>0.34770677008237383</c:v>
                </c:pt>
                <c:pt idx="32">
                  <c:v>0.40148461224448256</c:v>
                </c:pt>
                <c:pt idx="33">
                  <c:v>0.4017659013617938</c:v>
                </c:pt>
                <c:pt idx="34">
                  <c:v>0.40535997777076505</c:v>
                </c:pt>
                <c:pt idx="35">
                  <c:v>0.36975986704298347</c:v>
                </c:pt>
                <c:pt idx="36">
                  <c:v>0.36866972099021594</c:v>
                </c:pt>
                <c:pt idx="37">
                  <c:v>0.3736904015667202</c:v>
                </c:pt>
                <c:pt idx="38">
                  <c:v>0.32543213467041404</c:v>
                </c:pt>
                <c:pt idx="39">
                  <c:v>0.30334509710772906</c:v>
                </c:pt>
                <c:pt idx="40">
                  <c:v>0.2911014660176575</c:v>
                </c:pt>
                <c:pt idx="41">
                  <c:v>0.32321756453625017</c:v>
                </c:pt>
                <c:pt idx="42">
                  <c:v>0.3083060100662502</c:v>
                </c:pt>
                <c:pt idx="43">
                  <c:v>0.3355084354912098</c:v>
                </c:pt>
                <c:pt idx="44">
                  <c:v>0.3984010658017174</c:v>
                </c:pt>
                <c:pt idx="45">
                  <c:v>0.42081773517622817</c:v>
                </c:pt>
                <c:pt idx="46">
                  <c:v>0.4410987109878409</c:v>
                </c:pt>
                <c:pt idx="47">
                  <c:v>0.3882939642750273</c:v>
                </c:pt>
                <c:pt idx="48">
                  <c:v>0.36735688820642814</c:v>
                </c:pt>
                <c:pt idx="49">
                  <c:v>0.3906730727566732</c:v>
                </c:pt>
                <c:pt idx="50">
                  <c:v>0.42802228837084966</c:v>
                </c:pt>
                <c:pt idx="51">
                  <c:v>0.4383564970172308</c:v>
                </c:pt>
                <c:pt idx="52">
                  <c:v>0.33881181209945843</c:v>
                </c:pt>
                <c:pt idx="53">
                  <c:v>0.33881181209945843</c:v>
                </c:pt>
                <c:pt idx="54">
                  <c:v>0.3976665317264635</c:v>
                </c:pt>
              </c:numCache>
            </c:numRef>
          </c:xVal>
          <c:yVal>
            <c:numRef>
              <c:f>Sheet1!$B$187:$B$241</c:f>
              <c:numCache>
                <c:formatCode>General</c:formatCode>
                <c:ptCount val="55"/>
                <c:pt idx="0">
                  <c:v>0.0016967147087740414</c:v>
                </c:pt>
                <c:pt idx="1">
                  <c:v>0.0022866538061831277</c:v>
                </c:pt>
                <c:pt idx="2">
                  <c:v>0.0016251315124080354</c:v>
                </c:pt>
                <c:pt idx="3">
                  <c:v>0.002366104306271789</c:v>
                </c:pt>
                <c:pt idx="4">
                  <c:v>0.0015613193648471458</c:v>
                </c:pt>
                <c:pt idx="5">
                  <c:v>0.0015468064896738479</c:v>
                </c:pt>
                <c:pt idx="6">
                  <c:v>0.0017399738585323612</c:v>
                </c:pt>
                <c:pt idx="7">
                  <c:v>0.0017687726645752395</c:v>
                </c:pt>
                <c:pt idx="8">
                  <c:v>0.0017907305988750953</c:v>
                </c:pt>
                <c:pt idx="9">
                  <c:v>0.0019145155590940014</c:v>
                </c:pt>
                <c:pt idx="10">
                  <c:v>0.00185830260745877</c:v>
                </c:pt>
                <c:pt idx="11">
                  <c:v>0.001964935616242676</c:v>
                </c:pt>
                <c:pt idx="12">
                  <c:v>0.002404027260302855</c:v>
                </c:pt>
                <c:pt idx="13">
                  <c:v>0.0028469998705044353</c:v>
                </c:pt>
                <c:pt idx="14">
                  <c:v>0.0028534127580829224</c:v>
                </c:pt>
                <c:pt idx="15">
                  <c:v>0.0026496863808217665</c:v>
                </c:pt>
                <c:pt idx="16">
                  <c:v>0.002486924054585014</c:v>
                </c:pt>
                <c:pt idx="17">
                  <c:v>0.0035852287154980135</c:v>
                </c:pt>
                <c:pt idx="18">
                  <c:v>0.0022024019268323093</c:v>
                </c:pt>
                <c:pt idx="19">
                  <c:v>0.0017190605997896681</c:v>
                </c:pt>
                <c:pt idx="20">
                  <c:v>0.0020193986499791325</c:v>
                </c:pt>
                <c:pt idx="21">
                  <c:v>0.0028732495312862438</c:v>
                </c:pt>
                <c:pt idx="22">
                  <c:v>0.002433308685685702</c:v>
                </c:pt>
                <c:pt idx="23">
                  <c:v>0.0032556840009917293</c:v>
                </c:pt>
                <c:pt idx="24">
                  <c:v>0.0022118865759629897</c:v>
                </c:pt>
                <c:pt idx="25">
                  <c:v>0.002610131422346791</c:v>
                </c:pt>
                <c:pt idx="26">
                  <c:v>0.0026169301045547285</c:v>
                </c:pt>
                <c:pt idx="27">
                  <c:v>0.0029521551930425443</c:v>
                </c:pt>
                <c:pt idx="28">
                  <c:v>0.0026689009092224518</c:v>
                </c:pt>
                <c:pt idx="29">
                  <c:v>0.0026753937714465445</c:v>
                </c:pt>
                <c:pt idx="30">
                  <c:v>0.0028229090028394016</c:v>
                </c:pt>
                <c:pt idx="31">
                  <c:v>0.0025476755669626176</c:v>
                </c:pt>
                <c:pt idx="32">
                  <c:v>0.0018442808446383135</c:v>
                </c:pt>
                <c:pt idx="33">
                  <c:v>0.0018406016847351036</c:v>
                </c:pt>
                <c:pt idx="34">
                  <c:v>0.0017935924653975175</c:v>
                </c:pt>
                <c:pt idx="35">
                  <c:v>0.00225922903602448</c:v>
                </c:pt>
                <c:pt idx="36">
                  <c:v>0.002273487752054177</c:v>
                </c:pt>
                <c:pt idx="37">
                  <c:v>0.0022078190662533645</c:v>
                </c:pt>
                <c:pt idx="38">
                  <c:v>0.0028390197407069107</c:v>
                </c:pt>
                <c:pt idx="39">
                  <c:v>0.003127910202442799</c:v>
                </c:pt>
                <c:pt idx="40">
                  <c:v>0.003288052468190123</c:v>
                </c:pt>
                <c:pt idx="41">
                  <c:v>0.0028679855169813154</c:v>
                </c:pt>
                <c:pt idx="42">
                  <c:v>0.003063023255465356</c:v>
                </c:pt>
                <c:pt idx="43">
                  <c:v>0.002707225370889417</c:v>
                </c:pt>
                <c:pt idx="44">
                  <c:v>0.0018846125166928516</c:v>
                </c:pt>
                <c:pt idx="45">
                  <c:v>0.0015914105900965946</c:v>
                </c:pt>
                <c:pt idx="46">
                  <c:v>0.0013261427627547489</c:v>
                </c:pt>
                <c:pt idx="47">
                  <c:v>0.0020168097486018494</c:v>
                </c:pt>
                <c:pt idx="48">
                  <c:v>0.002290659129972745</c:v>
                </c:pt>
                <c:pt idx="49">
                  <c:v>0.0019856918702611335</c:v>
                </c:pt>
                <c:pt idx="50">
                  <c:v>0.0014971776404269985</c:v>
                </c:pt>
                <c:pt idx="51">
                  <c:v>0.0013620099295443121</c:v>
                </c:pt>
                <c:pt idx="52">
                  <c:v>0.002664018399789918</c:v>
                </c:pt>
                <c:pt idx="53">
                  <c:v>0.002664018399789918</c:v>
                </c:pt>
                <c:pt idx="54">
                  <c:v>0.00189421995669283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0808674045629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331.8514</c:v>
                </c:pt>
                <c:pt idx="1">
                  <c:v>1296.7372</c:v>
                </c:pt>
                <c:pt idx="2">
                  <c:v>1247.0</c:v>
                </c:pt>
                <c:pt idx="3">
                  <c:v>1247.7486</c:v>
                </c:pt>
                <c:pt idx="4">
                  <c:v>1285.7668</c:v>
                </c:pt>
                <c:pt idx="5">
                  <c:v>1409.8719</c:v>
                </c:pt>
                <c:pt idx="6">
                  <c:v>1429.9333</c:v>
                </c:pt>
                <c:pt idx="7">
                  <c:v>1414.2462</c:v>
                </c:pt>
                <c:pt idx="8">
                  <c:v>1462.7071</c:v>
                </c:pt>
                <c:pt idx="9">
                  <c:v>1311.1284</c:v>
                </c:pt>
                <c:pt idx="10">
                  <c:v>1162.3102</c:v>
                </c:pt>
                <c:pt idx="11">
                  <c:v>1149.8155</c:v>
                </c:pt>
                <c:pt idx="12">
                  <c:v>1119.1111</c:v>
                </c:pt>
                <c:pt idx="13">
                  <c:v>1130.4901</c:v>
                </c:pt>
                <c:pt idx="14">
                  <c:v>1447.1615</c:v>
                </c:pt>
                <c:pt idx="15">
                  <c:v>1449.6667</c:v>
                </c:pt>
                <c:pt idx="16">
                  <c:v>1459.7164</c:v>
                </c:pt>
                <c:pt idx="17">
                  <c:v>1427.9262</c:v>
                </c:pt>
                <c:pt idx="18">
                  <c:v>1570.7766</c:v>
                </c:pt>
                <c:pt idx="19">
                  <c:v>1518.5921</c:v>
                </c:pt>
                <c:pt idx="20">
                  <c:v>1445.5463</c:v>
                </c:pt>
                <c:pt idx="21">
                  <c:v>1403.3165</c:v>
                </c:pt>
                <c:pt idx="22">
                  <c:v>1459.8125</c:v>
                </c:pt>
                <c:pt idx="23">
                  <c:v>1592.1935</c:v>
                </c:pt>
                <c:pt idx="24">
                  <c:v>1666.2813</c:v>
                </c:pt>
                <c:pt idx="25">
                  <c:v>1589.6271</c:v>
                </c:pt>
                <c:pt idx="26">
                  <c:v>1594.7867</c:v>
                </c:pt>
                <c:pt idx="27">
                  <c:v>1650.2976</c:v>
                </c:pt>
                <c:pt idx="28">
                  <c:v>1650.3896</c:v>
                </c:pt>
                <c:pt idx="29">
                  <c:v>1735.3649</c:v>
                </c:pt>
                <c:pt idx="30">
                  <c:v>1563.9259</c:v>
                </c:pt>
                <c:pt idx="31">
                  <c:v>1485.3455</c:v>
                </c:pt>
                <c:pt idx="32">
                  <c:v>1386.6104</c:v>
                </c:pt>
                <c:pt idx="33">
                  <c:v>1452.95</c:v>
                </c:pt>
                <c:pt idx="34">
                  <c:v>1248.0</c:v>
                </c:pt>
                <c:pt idx="35">
                  <c:v>1400.6702</c:v>
                </c:pt>
                <c:pt idx="36">
                  <c:v>1578.5972</c:v>
                </c:pt>
                <c:pt idx="37">
                  <c:v>1601.6491</c:v>
                </c:pt>
                <c:pt idx="38">
                  <c:v>1699.68</c:v>
                </c:pt>
                <c:pt idx="39">
                  <c:v>1916.4324</c:v>
                </c:pt>
                <c:pt idx="40">
                  <c:v>1845.0</c:v>
                </c:pt>
                <c:pt idx="41">
                  <c:v>1846.28</c:v>
                </c:pt>
                <c:pt idx="42">
                  <c:v>2001.6905</c:v>
                </c:pt>
                <c:pt idx="43">
                  <c:v>1706.3846</c:v>
                </c:pt>
                <c:pt idx="44">
                  <c:v>1883.3214</c:v>
                </c:pt>
                <c:pt idx="45">
                  <c:v>1787.9231</c:v>
                </c:pt>
                <c:pt idx="46">
                  <c:v>1706.875</c:v>
                </c:pt>
                <c:pt idx="47">
                  <c:v>1720.2982</c:v>
                </c:pt>
                <c:pt idx="48">
                  <c:v>1717.7534</c:v>
                </c:pt>
                <c:pt idx="49">
                  <c:v>1591.0606</c:v>
                </c:pt>
                <c:pt idx="50">
                  <c:v>1698.3977</c:v>
                </c:pt>
                <c:pt idx="51">
                  <c:v>1702.2128</c:v>
                </c:pt>
                <c:pt idx="52">
                  <c:v>1648.1172</c:v>
                </c:pt>
                <c:pt idx="53">
                  <c:v>1841.2473</c:v>
                </c:pt>
                <c:pt idx="54">
                  <c:v>1831.5</c:v>
                </c:pt>
                <c:pt idx="55">
                  <c:v>1829.4286</c:v>
                </c:pt>
                <c:pt idx="56">
                  <c:v>1841.64</c:v>
                </c:pt>
                <c:pt idx="57">
                  <c:v>1808.5805</c:v>
                </c:pt>
                <c:pt idx="58">
                  <c:v>1817.244</c:v>
                </c:pt>
                <c:pt idx="59">
                  <c:v>1763.4583</c:v>
                </c:pt>
                <c:pt idx="60">
                  <c:v>1760.3863</c:v>
                </c:pt>
                <c:pt idx="61">
                  <c:v>1666.368</c:v>
                </c:pt>
                <c:pt idx="62">
                  <c:v>1511.3949</c:v>
                </c:pt>
                <c:pt idx="63">
                  <c:v>1448.3381</c:v>
                </c:pt>
                <c:pt idx="64">
                  <c:v>1415.307</c:v>
                </c:pt>
                <c:pt idx="65">
                  <c:v>1421.6551</c:v>
                </c:pt>
                <c:pt idx="66">
                  <c:v>1720.0176</c:v>
                </c:pt>
                <c:pt idx="67">
                  <c:v>1747.8405</c:v>
                </c:pt>
                <c:pt idx="68">
                  <c:v>1740.1287</c:v>
                </c:pt>
                <c:pt idx="69">
                  <c:v>1788.7963</c:v>
                </c:pt>
                <c:pt idx="70">
                  <c:v>1793.5365</c:v>
                </c:pt>
                <c:pt idx="71">
                  <c:v>1787.2865</c:v>
                </c:pt>
                <c:pt idx="72">
                  <c:v>1830.9448</c:v>
                </c:pt>
                <c:pt idx="73">
                  <c:v>1794.6789</c:v>
                </c:pt>
                <c:pt idx="74">
                  <c:v>1811.9432</c:v>
                </c:pt>
                <c:pt idx="75">
                  <c:v>1813.5667</c:v>
                </c:pt>
                <c:pt idx="76">
                  <c:v>1752.5846</c:v>
                </c:pt>
                <c:pt idx="77">
                  <c:v>1666.9221</c:v>
                </c:pt>
                <c:pt idx="78">
                  <c:v>1736.1654</c:v>
                </c:pt>
                <c:pt idx="79">
                  <c:v>1839.9187</c:v>
                </c:pt>
                <c:pt idx="80">
                  <c:v>1815.4351</c:v>
                </c:pt>
                <c:pt idx="81">
                  <c:v>1813.75</c:v>
                </c:pt>
                <c:pt idx="82">
                  <c:v>1831.4789</c:v>
                </c:pt>
                <c:pt idx="83">
                  <c:v>1842.1649</c:v>
                </c:pt>
                <c:pt idx="84">
                  <c:v>1905.2308</c:v>
                </c:pt>
                <c:pt idx="85">
                  <c:v>1825.5054</c:v>
                </c:pt>
                <c:pt idx="86">
                  <c:v>1832.8593</c:v>
                </c:pt>
                <c:pt idx="87">
                  <c:v>1836.8171</c:v>
                </c:pt>
                <c:pt idx="88">
                  <c:v>1927.7574</c:v>
                </c:pt>
                <c:pt idx="89">
                  <c:v>1907.0686</c:v>
                </c:pt>
                <c:pt idx="90">
                  <c:v>1859.9691</c:v>
                </c:pt>
                <c:pt idx="91">
                  <c:v>1848.9493</c:v>
                </c:pt>
                <c:pt idx="92">
                  <c:v>1859.6687</c:v>
                </c:pt>
                <c:pt idx="93">
                  <c:v>1838.0183</c:v>
                </c:pt>
                <c:pt idx="94">
                  <c:v>1911.3413</c:v>
                </c:pt>
                <c:pt idx="95">
                  <c:v>1882.9575</c:v>
                </c:pt>
                <c:pt idx="96">
                  <c:v>1605.0305</c:v>
                </c:pt>
                <c:pt idx="97">
                  <c:v>1709.2652</c:v>
                </c:pt>
                <c:pt idx="98">
                  <c:v>1680.4965</c:v>
                </c:pt>
                <c:pt idx="99">
                  <c:v>1637.1175</c:v>
                </c:pt>
                <c:pt idx="100">
                  <c:v>1378.6088</c:v>
                </c:pt>
                <c:pt idx="101">
                  <c:v>1705.0618</c:v>
                </c:pt>
                <c:pt idx="102">
                  <c:v>1665.2341</c:v>
                </c:pt>
                <c:pt idx="103">
                  <c:v>1543.2846</c:v>
                </c:pt>
                <c:pt idx="104">
                  <c:v>1476.6214</c:v>
                </c:pt>
              </c:numCache>
            </c:numRef>
          </c:xVal>
          <c:yVal>
            <c:numRef>
              <c:f>Sheet1!$B$2:$B$106</c:f>
              <c:numCache>
                <c:formatCode>General</c:formatCode>
                <c:ptCount val="105"/>
                <c:pt idx="0">
                  <c:v>0.757679180887372</c:v>
                </c:pt>
                <c:pt idx="1">
                  <c:v>0.7548209366391184</c:v>
                </c:pt>
                <c:pt idx="2">
                  <c:v>0.7382198952879581</c:v>
                </c:pt>
                <c:pt idx="3">
                  <c:v>0.8137931034482758</c:v>
                </c:pt>
                <c:pt idx="4">
                  <c:v>0.7784615384615384</c:v>
                </c:pt>
                <c:pt idx="5">
                  <c:v>0.7490774907749077</c:v>
                </c:pt>
                <c:pt idx="6">
                  <c:v>0.75</c:v>
                </c:pt>
                <c:pt idx="7">
                  <c:v>0.7587548638132295</c:v>
                </c:pt>
                <c:pt idx="8">
                  <c:v>0.6965174129353234</c:v>
                </c:pt>
                <c:pt idx="9">
                  <c:v>0.669683257918552</c:v>
                </c:pt>
                <c:pt idx="10">
                  <c:v>0.7030075187969925</c:v>
                </c:pt>
                <c:pt idx="11">
                  <c:v>0.71280276816609</c:v>
                </c:pt>
                <c:pt idx="12">
                  <c:v>0.7002881844380403</c:v>
                </c:pt>
                <c:pt idx="13">
                  <c:v>0.6847457627118644</c:v>
                </c:pt>
                <c:pt idx="14">
                  <c:v>0.6552901023890785</c:v>
                </c:pt>
                <c:pt idx="15">
                  <c:v>0.6710526315789473</c:v>
                </c:pt>
                <c:pt idx="16">
                  <c:v>0.6291079812206573</c:v>
                </c:pt>
                <c:pt idx="17">
                  <c:v>0.6853932584269663</c:v>
                </c:pt>
                <c:pt idx="18">
                  <c:v>0.6351351351351351</c:v>
                </c:pt>
                <c:pt idx="19">
                  <c:v>0.6666666666666666</c:v>
                </c:pt>
                <c:pt idx="20">
                  <c:v>0.6708074534161491</c:v>
                </c:pt>
                <c:pt idx="21">
                  <c:v>0.6752136752136753</c:v>
                </c:pt>
                <c:pt idx="22">
                  <c:v>0.7547169811320755</c:v>
                </c:pt>
                <c:pt idx="23">
                  <c:v>0.6739130434782609</c:v>
                </c:pt>
                <c:pt idx="24">
                  <c:v>0.7111111111111111</c:v>
                </c:pt>
                <c:pt idx="25">
                  <c:v>0.7375</c:v>
                </c:pt>
                <c:pt idx="26">
                  <c:v>0.7352941176470589</c:v>
                </c:pt>
                <c:pt idx="27">
                  <c:v>0.8</c:v>
                </c:pt>
                <c:pt idx="28">
                  <c:v>0.8191489361702128</c:v>
                </c:pt>
                <c:pt idx="29">
                  <c:v>0.7789473684210526</c:v>
                </c:pt>
                <c:pt idx="30">
                  <c:v>0.8181818181818182</c:v>
                </c:pt>
                <c:pt idx="31">
                  <c:v>0.6962025316455697</c:v>
                </c:pt>
                <c:pt idx="32">
                  <c:v>0.8369565217391305</c:v>
                </c:pt>
                <c:pt idx="33">
                  <c:v>0.7228915662650602</c:v>
                </c:pt>
                <c:pt idx="34">
                  <c:v>0.7731958762886598</c:v>
                </c:pt>
                <c:pt idx="35">
                  <c:v>0.7230769230769231</c:v>
                </c:pt>
                <c:pt idx="36">
                  <c:v>0.6486486486486487</c:v>
                </c:pt>
                <c:pt idx="37">
                  <c:v>0.7808219178082192</c:v>
                </c:pt>
                <c:pt idx="38">
                  <c:v>0.7246376811594203</c:v>
                </c:pt>
                <c:pt idx="39">
                  <c:v>0.6491228070175439</c:v>
                </c:pt>
                <c:pt idx="40">
                  <c:v>0.6511627906976745</c:v>
                </c:pt>
                <c:pt idx="41">
                  <c:v>0.7246376811594203</c:v>
                </c:pt>
                <c:pt idx="42">
                  <c:v>0.6774193548387096</c:v>
                </c:pt>
                <c:pt idx="43">
                  <c:v>0.7459016393442623</c:v>
                </c:pt>
                <c:pt idx="44">
                  <c:v>0.6086956521739131</c:v>
                </c:pt>
                <c:pt idx="45">
                  <c:v>0.5652173913043478</c:v>
                </c:pt>
                <c:pt idx="46">
                  <c:v>0.5714285714285714</c:v>
                </c:pt>
                <c:pt idx="47">
                  <c:v>0.6</c:v>
                </c:pt>
                <c:pt idx="48">
                  <c:v>0.5328467153284672</c:v>
                </c:pt>
                <c:pt idx="49">
                  <c:v>0.6139534883720931</c:v>
                </c:pt>
                <c:pt idx="50">
                  <c:v>0.6285714285714286</c:v>
                </c:pt>
                <c:pt idx="51">
                  <c:v>0.7642276422764228</c:v>
                </c:pt>
                <c:pt idx="52">
                  <c:v>0.6918918918918919</c:v>
                </c:pt>
                <c:pt idx="53">
                  <c:v>0.6458333333333334</c:v>
                </c:pt>
                <c:pt idx="54">
                  <c:v>0.7176470588235294</c:v>
                </c:pt>
                <c:pt idx="55">
                  <c:v>0.7446808510638298</c:v>
                </c:pt>
                <c:pt idx="56">
                  <c:v>0.8021390374331551</c:v>
                </c:pt>
                <c:pt idx="57">
                  <c:v>0.7435897435897436</c:v>
                </c:pt>
                <c:pt idx="58">
                  <c:v>0.7545126353790613</c:v>
                </c:pt>
                <c:pt idx="59">
                  <c:v>0.7619047619047619</c:v>
                </c:pt>
                <c:pt idx="60">
                  <c:v>0.7447795823665894</c:v>
                </c:pt>
                <c:pt idx="61">
                  <c:v>0.7042682926829268</c:v>
                </c:pt>
                <c:pt idx="62">
                  <c:v>0.770949720670391</c:v>
                </c:pt>
                <c:pt idx="63">
                  <c:v>0.800383877159309</c:v>
                </c:pt>
                <c:pt idx="64">
                  <c:v>0.7676767676767676</c:v>
                </c:pt>
                <c:pt idx="65">
                  <c:v>0.7794970986460348</c:v>
                </c:pt>
                <c:pt idx="66">
                  <c:v>0.7572383073496659</c:v>
                </c:pt>
                <c:pt idx="67">
                  <c:v>0.7761904761904762</c:v>
                </c:pt>
                <c:pt idx="68">
                  <c:v>0.7816091954022989</c:v>
                </c:pt>
                <c:pt idx="69">
                  <c:v>0.7431192660550459</c:v>
                </c:pt>
                <c:pt idx="70">
                  <c:v>0.7710843373493976</c:v>
                </c:pt>
                <c:pt idx="71">
                  <c:v>0.7649402390438247</c:v>
                </c:pt>
                <c:pt idx="72">
                  <c:v>0.7510373443983402</c:v>
                </c:pt>
                <c:pt idx="73">
                  <c:v>0.7755102040816326</c:v>
                </c:pt>
                <c:pt idx="74">
                  <c:v>0.7521367521367521</c:v>
                </c:pt>
                <c:pt idx="75">
                  <c:v>0.7772020725388601</c:v>
                </c:pt>
                <c:pt idx="76">
                  <c:v>0.7647058823529411</c:v>
                </c:pt>
                <c:pt idx="77">
                  <c:v>0.8020833333333334</c:v>
                </c:pt>
                <c:pt idx="78">
                  <c:v>0.7916666666666666</c:v>
                </c:pt>
                <c:pt idx="79">
                  <c:v>0.7935483870967742</c:v>
                </c:pt>
                <c:pt idx="80">
                  <c:v>0.7891566265060241</c:v>
                </c:pt>
                <c:pt idx="81">
                  <c:v>0.783068783068783</c:v>
                </c:pt>
                <c:pt idx="82">
                  <c:v>0.8352941176470589</c:v>
                </c:pt>
                <c:pt idx="83">
                  <c:v>0.782258064516129</c:v>
                </c:pt>
                <c:pt idx="84">
                  <c:v>0.7777777777777778</c:v>
                </c:pt>
                <c:pt idx="85">
                  <c:v>0.7265625</c:v>
                </c:pt>
                <c:pt idx="86">
                  <c:v>0.7297297297297297</c:v>
                </c:pt>
                <c:pt idx="87">
                  <c:v>0.7543103448275862</c:v>
                </c:pt>
                <c:pt idx="88">
                  <c:v>0.7391304347826086</c:v>
                </c:pt>
                <c:pt idx="89">
                  <c:v>0.7083333333333334</c:v>
                </c:pt>
                <c:pt idx="90">
                  <c:v>0.7461538461538462</c:v>
                </c:pt>
                <c:pt idx="91">
                  <c:v>0.7752808988764045</c:v>
                </c:pt>
                <c:pt idx="92">
                  <c:v>0.7545454545454545</c:v>
                </c:pt>
                <c:pt idx="93">
                  <c:v>0.780952380952381</c:v>
                </c:pt>
                <c:pt idx="94">
                  <c:v>0.7924528301886793</c:v>
                </c:pt>
                <c:pt idx="95">
                  <c:v>0.8060836501901141</c:v>
                </c:pt>
                <c:pt idx="96">
                  <c:v>0.8078817733990148</c:v>
                </c:pt>
                <c:pt idx="97">
                  <c:v>0.8264840182648402</c:v>
                </c:pt>
                <c:pt idx="98">
                  <c:v>0.7921348314606742</c:v>
                </c:pt>
                <c:pt idx="99">
                  <c:v>0.7839195979899497</c:v>
                </c:pt>
                <c:pt idx="100">
                  <c:v>0.8389319552110249</c:v>
                </c:pt>
                <c:pt idx="101">
                  <c:v>0.8107606679035251</c:v>
                </c:pt>
                <c:pt idx="102">
                  <c:v>0.7736220472440944</c:v>
                </c:pt>
                <c:pt idx="103">
                  <c:v>0.8036437246963563</c:v>
                </c:pt>
                <c:pt idx="104">
                  <c:v>0.830769230769230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547.6823</c:v>
                </c:pt>
                <c:pt idx="1">
                  <c:v>1615.6048</c:v>
                </c:pt>
                <c:pt idx="2">
                  <c:v>1718.8344</c:v>
                </c:pt>
                <c:pt idx="3">
                  <c:v>1772.6519</c:v>
                </c:pt>
                <c:pt idx="4">
                  <c:v>1773.3883</c:v>
                </c:pt>
                <c:pt idx="5">
                  <c:v>1823.4961</c:v>
                </c:pt>
                <c:pt idx="6">
                  <c:v>1805.7919</c:v>
                </c:pt>
                <c:pt idx="7">
                  <c:v>1815.1618</c:v>
                </c:pt>
                <c:pt idx="8">
                  <c:v>1850.3722</c:v>
                </c:pt>
                <c:pt idx="9">
                  <c:v>1648.0879</c:v>
                </c:pt>
                <c:pt idx="10">
                  <c:v>1656.3527</c:v>
                </c:pt>
                <c:pt idx="11">
                  <c:v>1845.717</c:v>
                </c:pt>
                <c:pt idx="12">
                  <c:v>1819.1479</c:v>
                </c:pt>
                <c:pt idx="13">
                  <c:v>1701.1048</c:v>
                </c:pt>
                <c:pt idx="14">
                  <c:v>1866.0389</c:v>
                </c:pt>
                <c:pt idx="15">
                  <c:v>1705.2682</c:v>
                </c:pt>
                <c:pt idx="16">
                  <c:v>1906.8652</c:v>
                </c:pt>
                <c:pt idx="17">
                  <c:v>1895.3305</c:v>
                </c:pt>
                <c:pt idx="18">
                  <c:v>1929.5828</c:v>
                </c:pt>
                <c:pt idx="19">
                  <c:v>1934.4778</c:v>
                </c:pt>
                <c:pt idx="20">
                  <c:v>1843.8944</c:v>
                </c:pt>
                <c:pt idx="21">
                  <c:v>1826.6124</c:v>
                </c:pt>
                <c:pt idx="22">
                  <c:v>1824.1571</c:v>
                </c:pt>
                <c:pt idx="23">
                  <c:v>1140.3511</c:v>
                </c:pt>
                <c:pt idx="24">
                  <c:v>937.6166</c:v>
                </c:pt>
                <c:pt idx="25">
                  <c:v>944.2507</c:v>
                </c:pt>
                <c:pt idx="26">
                  <c:v>1002.8345</c:v>
                </c:pt>
                <c:pt idx="27">
                  <c:v>1292.6916</c:v>
                </c:pt>
                <c:pt idx="28">
                  <c:v>1653.1084</c:v>
                </c:pt>
                <c:pt idx="29">
                  <c:v>1652.6853</c:v>
                </c:pt>
                <c:pt idx="30">
                  <c:v>1749.8027</c:v>
                </c:pt>
                <c:pt idx="31">
                  <c:v>1750.3465</c:v>
                </c:pt>
                <c:pt idx="32">
                  <c:v>1737.8125</c:v>
                </c:pt>
                <c:pt idx="33">
                  <c:v>1861.0775</c:v>
                </c:pt>
                <c:pt idx="34">
                  <c:v>1926.3421</c:v>
                </c:pt>
                <c:pt idx="35">
                  <c:v>1867.0333</c:v>
                </c:pt>
                <c:pt idx="36">
                  <c:v>1548.4198</c:v>
                </c:pt>
                <c:pt idx="37">
                  <c:v>1667.7793</c:v>
                </c:pt>
                <c:pt idx="38">
                  <c:v>1591.2788</c:v>
                </c:pt>
                <c:pt idx="39">
                  <c:v>1780.7925</c:v>
                </c:pt>
                <c:pt idx="40">
                  <c:v>1826.1972</c:v>
                </c:pt>
                <c:pt idx="41">
                  <c:v>1848.3977</c:v>
                </c:pt>
                <c:pt idx="42">
                  <c:v>1801.1491</c:v>
                </c:pt>
                <c:pt idx="43">
                  <c:v>1784.654</c:v>
                </c:pt>
                <c:pt idx="44">
                  <c:v>1713.3458</c:v>
                </c:pt>
                <c:pt idx="45">
                  <c:v>1687.064</c:v>
                </c:pt>
                <c:pt idx="46">
                  <c:v>1686.2394</c:v>
                </c:pt>
                <c:pt idx="47">
                  <c:v>1737.4936</c:v>
                </c:pt>
                <c:pt idx="48">
                  <c:v>1617.5617</c:v>
                </c:pt>
                <c:pt idx="49">
                  <c:v>1542.6026</c:v>
                </c:pt>
                <c:pt idx="50">
                  <c:v>1401.2843</c:v>
                </c:pt>
                <c:pt idx="51">
                  <c:v>1487.5736</c:v>
                </c:pt>
              </c:numCache>
            </c:numRef>
          </c:xVal>
          <c:yVal>
            <c:numRef>
              <c:f>Sheet1!$B$109:$B$160</c:f>
              <c:numCache>
                <c:formatCode>General</c:formatCode>
                <c:ptCount val="52"/>
                <c:pt idx="0">
                  <c:v>0.8452054794520548</c:v>
                </c:pt>
                <c:pt idx="1">
                  <c:v>0.8252252252252252</c:v>
                </c:pt>
                <c:pt idx="2">
                  <c:v>0.7897350993377483</c:v>
                </c:pt>
                <c:pt idx="3">
                  <c:v>0.7821782178217822</c:v>
                </c:pt>
                <c:pt idx="4">
                  <c:v>0.7591522157996147</c:v>
                </c:pt>
                <c:pt idx="5">
                  <c:v>0.7326923076923076</c:v>
                </c:pt>
                <c:pt idx="6">
                  <c:v>0.7402298850574712</c:v>
                </c:pt>
                <c:pt idx="7">
                  <c:v>0.7208480565371025</c:v>
                </c:pt>
                <c:pt idx="8">
                  <c:v>0.696875</c:v>
                </c:pt>
                <c:pt idx="9">
                  <c:v>0.6946564885496184</c:v>
                </c:pt>
                <c:pt idx="10">
                  <c:v>0.6985645933014354</c:v>
                </c:pt>
                <c:pt idx="11">
                  <c:v>0.6583850931677019</c:v>
                </c:pt>
                <c:pt idx="12">
                  <c:v>0.6926229508196722</c:v>
                </c:pt>
                <c:pt idx="13">
                  <c:v>0.7263374485596708</c:v>
                </c:pt>
                <c:pt idx="14">
                  <c:v>0.7422222222222222</c:v>
                </c:pt>
                <c:pt idx="15">
                  <c:v>0.7122641509433962</c:v>
                </c:pt>
                <c:pt idx="16">
                  <c:v>0.7295081967213115</c:v>
                </c:pt>
                <c:pt idx="17">
                  <c:v>0.7071005917159763</c:v>
                </c:pt>
                <c:pt idx="18">
                  <c:v>0.6832579185520362</c:v>
                </c:pt>
                <c:pt idx="19">
                  <c:v>0.6521739130434783</c:v>
                </c:pt>
                <c:pt idx="20">
                  <c:v>0.6571428571428571</c:v>
                </c:pt>
                <c:pt idx="21">
                  <c:v>0.6683937823834197</c:v>
                </c:pt>
                <c:pt idx="22">
                  <c:v>0.6481481481481481</c:v>
                </c:pt>
                <c:pt idx="23">
                  <c:v>0.8213166144200627</c:v>
                </c:pt>
                <c:pt idx="24">
                  <c:v>0.8654292343387471</c:v>
                </c:pt>
                <c:pt idx="25">
                  <c:v>0.8665158371040724</c:v>
                </c:pt>
                <c:pt idx="26">
                  <c:v>0.8554913294797688</c:v>
                </c:pt>
                <c:pt idx="27">
                  <c:v>0.7591973244147158</c:v>
                </c:pt>
                <c:pt idx="28">
                  <c:v>0.7198581560283688</c:v>
                </c:pt>
                <c:pt idx="29">
                  <c:v>0.7447916666666666</c:v>
                </c:pt>
                <c:pt idx="30">
                  <c:v>0.7461928934010152</c:v>
                </c:pt>
                <c:pt idx="31">
                  <c:v>0.7163120567375887</c:v>
                </c:pt>
                <c:pt idx="32">
                  <c:v>0.691358024691358</c:v>
                </c:pt>
                <c:pt idx="33">
                  <c:v>0.7206703910614525</c:v>
                </c:pt>
                <c:pt idx="34">
                  <c:v>0.7621776504297995</c:v>
                </c:pt>
                <c:pt idx="35">
                  <c:v>0.7570977917981072</c:v>
                </c:pt>
                <c:pt idx="36">
                  <c:v>0.7401129943502824</c:v>
                </c:pt>
                <c:pt idx="37">
                  <c:v>0.7286432160804021</c:v>
                </c:pt>
                <c:pt idx="38">
                  <c:v>0.697986577181208</c:v>
                </c:pt>
                <c:pt idx="39">
                  <c:v>0.7035398230088495</c:v>
                </c:pt>
                <c:pt idx="40">
                  <c:v>0.6543778801843319</c:v>
                </c:pt>
                <c:pt idx="41">
                  <c:v>0.6692015209125475</c:v>
                </c:pt>
                <c:pt idx="42">
                  <c:v>0.6822033898305084</c:v>
                </c:pt>
                <c:pt idx="43">
                  <c:v>0.6991150442477876</c:v>
                </c:pt>
                <c:pt idx="44">
                  <c:v>0.7622739018087855</c:v>
                </c:pt>
                <c:pt idx="45">
                  <c:v>0.7422303473491774</c:v>
                </c:pt>
                <c:pt idx="46">
                  <c:v>0.7357512953367875</c:v>
                </c:pt>
                <c:pt idx="47">
                  <c:v>0.7440758293838863</c:v>
                </c:pt>
                <c:pt idx="48">
                  <c:v>0.6964912280701754</c:v>
                </c:pt>
                <c:pt idx="49">
                  <c:v>0.6761194029850747</c:v>
                </c:pt>
                <c:pt idx="50">
                  <c:v>0.7628705148205929</c:v>
                </c:pt>
                <c:pt idx="51">
                  <c:v>0.739255014326647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372.8262779208085</c:v>
                </c:pt>
              </c:numCache>
            </c:numRef>
          </c:xVal>
          <c:yVal>
            <c:numRef>
              <c:f>Sheet1!$B$163:$B$164</c:f>
              <c:numCache>
                <c:formatCode>General</c:formatCode>
                <c:ptCount val="2"/>
                <c:pt idx="0">
                  <c:v>0.7809450004114097</c:v>
                </c:pt>
                <c:pt idx="1">
                  <c:v>0.780945000411409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372.8262779208085</c:v>
                </c:pt>
                <c:pt idx="1">
                  <c:v>1372.8262779208085</c:v>
                </c:pt>
              </c:numCache>
            </c:numRef>
          </c:xVal>
          <c:yVal>
            <c:numRef>
              <c:f>Sheet1!$B$167:$B$168</c:f>
              <c:numCache>
                <c:formatCode>General</c:formatCode>
                <c:ptCount val="2"/>
                <c:pt idx="0">
                  <c:v>0.780945000411409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466.4488486763682</c:v>
                </c:pt>
              </c:numCache>
            </c:numRef>
          </c:xVal>
          <c:yVal>
            <c:numRef>
              <c:f>Sheet1!$B$171:$B$172</c:f>
              <c:numCache>
                <c:formatCode>General</c:formatCode>
                <c:ptCount val="2"/>
                <c:pt idx="0">
                  <c:v>0.765793498547034</c:v>
                </c:pt>
                <c:pt idx="1">
                  <c:v>0.76579349854703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466.4488486763682</c:v>
                </c:pt>
                <c:pt idx="1">
                  <c:v>1466.4488486763682</c:v>
                </c:pt>
              </c:numCache>
            </c:numRef>
          </c:xVal>
          <c:yVal>
            <c:numRef>
              <c:f>Sheet1!$B$175:$B$176</c:f>
              <c:numCache>
                <c:formatCode>General</c:formatCode>
                <c:ptCount val="2"/>
                <c:pt idx="0">
                  <c:v>0.7657934985470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793.3754008087192</c:v>
                </c:pt>
              </c:numCache>
            </c:numRef>
          </c:xVal>
          <c:yVal>
            <c:numRef>
              <c:f>Sheet1!$B$179:$B$180</c:f>
              <c:numCache>
                <c:formatCode>General</c:formatCode>
                <c:ptCount val="2"/>
                <c:pt idx="0">
                  <c:v>0.7128850147896272</c:v>
                </c:pt>
                <c:pt idx="1">
                  <c:v>0.712885014789627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793.3754008087192</c:v>
                </c:pt>
                <c:pt idx="1">
                  <c:v>1793.3754008087192</c:v>
                </c:pt>
              </c:numCache>
            </c:numRef>
          </c:xVal>
          <c:yVal>
            <c:numRef>
              <c:f>Sheet1!$B$183:$B$184</c:f>
              <c:numCache>
                <c:formatCode>General</c:formatCode>
                <c:ptCount val="2"/>
                <c:pt idx="0">
                  <c:v>0.712885014789627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547.6823</c:v>
                </c:pt>
                <c:pt idx="1">
                  <c:v>1615.6048</c:v>
                </c:pt>
                <c:pt idx="2">
                  <c:v>1718.8344</c:v>
                </c:pt>
                <c:pt idx="3">
                  <c:v>1772.6519</c:v>
                </c:pt>
                <c:pt idx="4">
                  <c:v>1773.3883</c:v>
                </c:pt>
                <c:pt idx="5">
                  <c:v>1823.4961</c:v>
                </c:pt>
                <c:pt idx="6">
                  <c:v>1805.7919</c:v>
                </c:pt>
                <c:pt idx="7">
                  <c:v>1815.1618</c:v>
                </c:pt>
                <c:pt idx="8">
                  <c:v>1850.3722</c:v>
                </c:pt>
                <c:pt idx="9">
                  <c:v>1648.0879</c:v>
                </c:pt>
                <c:pt idx="10">
                  <c:v>1656.3527</c:v>
                </c:pt>
                <c:pt idx="11">
                  <c:v>1845.717</c:v>
                </c:pt>
                <c:pt idx="12">
                  <c:v>1819.1479</c:v>
                </c:pt>
                <c:pt idx="13">
                  <c:v>1701.1048</c:v>
                </c:pt>
                <c:pt idx="14">
                  <c:v>1866.0389</c:v>
                </c:pt>
                <c:pt idx="15">
                  <c:v>1705.2682</c:v>
                </c:pt>
                <c:pt idx="16">
                  <c:v>1906.8652</c:v>
                </c:pt>
                <c:pt idx="17">
                  <c:v>1895.3305</c:v>
                </c:pt>
                <c:pt idx="18">
                  <c:v>1929.5828</c:v>
                </c:pt>
                <c:pt idx="19">
                  <c:v>1934.4778</c:v>
                </c:pt>
                <c:pt idx="20">
                  <c:v>1843.8944</c:v>
                </c:pt>
                <c:pt idx="21">
                  <c:v>1826.6124</c:v>
                </c:pt>
                <c:pt idx="22">
                  <c:v>1824.1571</c:v>
                </c:pt>
                <c:pt idx="23">
                  <c:v>1140.3511</c:v>
                </c:pt>
                <c:pt idx="24">
                  <c:v>937.6166</c:v>
                </c:pt>
                <c:pt idx="25">
                  <c:v>944.2507</c:v>
                </c:pt>
                <c:pt idx="26">
                  <c:v>1002.8345</c:v>
                </c:pt>
                <c:pt idx="27">
                  <c:v>1292.6916</c:v>
                </c:pt>
                <c:pt idx="28">
                  <c:v>1653.1084</c:v>
                </c:pt>
                <c:pt idx="29">
                  <c:v>1652.6853</c:v>
                </c:pt>
                <c:pt idx="30">
                  <c:v>1749.8027</c:v>
                </c:pt>
                <c:pt idx="31">
                  <c:v>1750.3465</c:v>
                </c:pt>
                <c:pt idx="32">
                  <c:v>1737.8125</c:v>
                </c:pt>
                <c:pt idx="33">
                  <c:v>1861.0775</c:v>
                </c:pt>
                <c:pt idx="34">
                  <c:v>1926.3421</c:v>
                </c:pt>
                <c:pt idx="35">
                  <c:v>1867.0333</c:v>
                </c:pt>
                <c:pt idx="36">
                  <c:v>1548.4198</c:v>
                </c:pt>
                <c:pt idx="37">
                  <c:v>1667.7793</c:v>
                </c:pt>
                <c:pt idx="38">
                  <c:v>1591.2788</c:v>
                </c:pt>
                <c:pt idx="39">
                  <c:v>1780.7925</c:v>
                </c:pt>
                <c:pt idx="40">
                  <c:v>1826.1972</c:v>
                </c:pt>
                <c:pt idx="41">
                  <c:v>1848.3977</c:v>
                </c:pt>
                <c:pt idx="42">
                  <c:v>1801.1491</c:v>
                </c:pt>
                <c:pt idx="43">
                  <c:v>1784.654</c:v>
                </c:pt>
                <c:pt idx="44">
                  <c:v>1713.3458</c:v>
                </c:pt>
                <c:pt idx="45">
                  <c:v>1687.064</c:v>
                </c:pt>
                <c:pt idx="46">
                  <c:v>1686.2394</c:v>
                </c:pt>
                <c:pt idx="47">
                  <c:v>1737.4936</c:v>
                </c:pt>
                <c:pt idx="48">
                  <c:v>1617.5617</c:v>
                </c:pt>
                <c:pt idx="49">
                  <c:v>1542.6026</c:v>
                </c:pt>
                <c:pt idx="50">
                  <c:v>1401.2843</c:v>
                </c:pt>
                <c:pt idx="51">
                  <c:v>1487.5736</c:v>
                </c:pt>
                <c:pt idx="52">
                  <c:v>1466.4488486763682</c:v>
                </c:pt>
                <c:pt idx="53">
                  <c:v>1372.8262779208085</c:v>
                </c:pt>
                <c:pt idx="54">
                  <c:v>1793.3754008087192</c:v>
                </c:pt>
              </c:numCache>
            </c:numRef>
          </c:xVal>
          <c:yVal>
            <c:numRef>
              <c:f>Sheet1!$B$187:$B$241</c:f>
              <c:numCache>
                <c:formatCode>General</c:formatCode>
                <c:ptCount val="55"/>
                <c:pt idx="0">
                  <c:v>0.7526470021493523</c:v>
                </c:pt>
                <c:pt idx="1">
                  <c:v>0.7416546967995022</c:v>
                </c:pt>
                <c:pt idx="2">
                  <c:v>0.7249484318012633</c:v>
                </c:pt>
                <c:pt idx="3">
                  <c:v>0.7162388231566235</c:v>
                </c:pt>
                <c:pt idx="4">
                  <c:v>0.7161196471301281</c:v>
                </c:pt>
                <c:pt idx="5">
                  <c:v>0.7080104014750179</c:v>
                </c:pt>
                <c:pt idx="6">
                  <c:v>0.7108755782923439</c:v>
                </c:pt>
                <c:pt idx="7">
                  <c:v>0.7093591912056265</c:v>
                </c:pt>
                <c:pt idx="8">
                  <c:v>0.7036608810979249</c:v>
                </c:pt>
                <c:pt idx="9">
                  <c:v>0.7363977620001395</c:v>
                </c:pt>
                <c:pt idx="10">
                  <c:v>0.7350602198711625</c:v>
                </c:pt>
                <c:pt idx="11">
                  <c:v>0.7044142600204413</c:v>
                </c:pt>
                <c:pt idx="12">
                  <c:v>0.7087140967471623</c:v>
                </c:pt>
                <c:pt idx="13">
                  <c:v>0.7278177192528545</c:v>
                </c:pt>
                <c:pt idx="14">
                  <c:v>0.7011254451197955</c:v>
                </c:pt>
                <c:pt idx="15">
                  <c:v>0.7271439312725304</c:v>
                </c:pt>
                <c:pt idx="16">
                  <c:v>0.6945182802494715</c:v>
                </c:pt>
                <c:pt idx="17">
                  <c:v>0.6963850098975103</c:v>
                </c:pt>
                <c:pt idx="18">
                  <c:v>0.6908417548563286</c:v>
                </c:pt>
                <c:pt idx="19">
                  <c:v>0.6900495676622836</c:v>
                </c:pt>
                <c:pt idx="20">
                  <c:v>0.7047092223043773</c:v>
                </c:pt>
                <c:pt idx="21">
                  <c:v>0.7075060719647418</c:v>
                </c:pt>
                <c:pt idx="22">
                  <c:v>0.7079034278825229</c:v>
                </c:pt>
                <c:pt idx="23">
                  <c:v>0.8185678520727331</c:v>
                </c:pt>
                <c:pt idx="24">
                  <c:v>0.8513775915397606</c:v>
                </c:pt>
                <c:pt idx="25">
                  <c:v>0.850303955367337</c:v>
                </c:pt>
                <c:pt idx="26">
                  <c:v>0.8408229878211698</c:v>
                </c:pt>
                <c:pt idx="27">
                  <c:v>0.7939136757224983</c:v>
                </c:pt>
                <c:pt idx="28">
                  <c:v>0.73558526438876</c:v>
                </c:pt>
                <c:pt idx="29">
                  <c:v>0.7356537371981167</c:v>
                </c:pt>
                <c:pt idx="30">
                  <c:v>0.7199366461666686</c:v>
                </c:pt>
                <c:pt idx="31">
                  <c:v>0.719848639752752</c:v>
                </c:pt>
                <c:pt idx="32">
                  <c:v>0.7218770921102922</c:v>
                </c:pt>
                <c:pt idx="33">
                  <c:v>0.7019283782238883</c:v>
                </c:pt>
                <c:pt idx="34">
                  <c:v>0.6913662167643451</c:v>
                </c:pt>
                <c:pt idx="35">
                  <c:v>0.7009645154066682</c:v>
                </c:pt>
                <c:pt idx="36">
                  <c:v>0.7525276481032628</c:v>
                </c:pt>
                <c:pt idx="37">
                  <c:v>0.7332109846941506</c:v>
                </c:pt>
                <c:pt idx="38">
                  <c:v>0.7455915192065169</c:v>
                </c:pt>
                <c:pt idx="39">
                  <c:v>0.7149213810581878</c:v>
                </c:pt>
                <c:pt idx="40">
                  <c:v>0.7075732662697403</c:v>
                </c:pt>
                <c:pt idx="41">
                  <c:v>0.7039804262694553</c:v>
                </c:pt>
                <c:pt idx="42">
                  <c:v>0.711626950448526</c:v>
                </c:pt>
                <c:pt idx="43">
                  <c:v>0.714296451364663</c:v>
                </c:pt>
                <c:pt idx="44">
                  <c:v>0.7258366848417608</c:v>
                </c:pt>
                <c:pt idx="45">
                  <c:v>0.7300900260872051</c:v>
                </c:pt>
                <c:pt idx="46">
                  <c:v>0.7302234760484327</c:v>
                </c:pt>
                <c:pt idx="47">
                  <c:v>0.7219287016090012</c:v>
                </c:pt>
                <c:pt idx="48">
                  <c:v>0.7413379999414784</c:v>
                </c:pt>
                <c:pt idx="49">
                  <c:v>0.7534690804516179</c:v>
                </c:pt>
                <c:pt idx="50">
                  <c:v>0.7763394681010964</c:v>
                </c:pt>
                <c:pt idx="51">
                  <c:v>0.762374753403834</c:v>
                </c:pt>
                <c:pt idx="52">
                  <c:v>0.765793498547034</c:v>
                </c:pt>
                <c:pt idx="53">
                  <c:v>0.7809450004114097</c:v>
                </c:pt>
                <c:pt idx="54">
                  <c:v>0.712885014789627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2.0"/>
          <c:min val="75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39819004524887"/>
          <c:min val="0.4262773722627737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6</c:f>
              <c:numCache>
                <c:formatCode>General</c:formatCode>
                <c:ptCount val="45"/>
                <c:pt idx="0">
                  <c:v>0.0</c:v>
                </c:pt>
                <c:pt idx="1">
                  <c:v>0.24693030499842086</c:v>
                </c:pt>
                <c:pt idx="2">
                  <c:v>0.1928373529841477</c:v>
                </c:pt>
                <c:pt idx="3">
                  <c:v>0.27383027371076557</c:v>
                </c:pt>
                <c:pt idx="4">
                  <c:v>0.34580767744466473</c:v>
                </c:pt>
                <c:pt idx="5">
                  <c:v>0.3620775959060941</c:v>
                </c:pt>
                <c:pt idx="6">
                  <c:v>0.43051863298116433</c:v>
                </c:pt>
                <c:pt idx="7">
                  <c:v>0.41943066018915126</c:v>
                </c:pt>
                <c:pt idx="8">
                  <c:v>0.40748694387795326</c:v>
                </c:pt>
                <c:pt idx="9">
                  <c:v>0.43908183497901815</c:v>
                </c:pt>
                <c:pt idx="10">
                  <c:v>0.38300136784334277</c:v>
                </c:pt>
                <c:pt idx="11">
                  <c:v>0.4346866199052564</c:v>
                </c:pt>
                <c:pt idx="12">
                  <c:v>0.4222519511522556</c:v>
                </c:pt>
                <c:pt idx="13">
                  <c:v>0.4209896551724138</c:v>
                </c:pt>
                <c:pt idx="14">
                  <c:v>0.4242122766713978</c:v>
                </c:pt>
                <c:pt idx="15">
                  <c:v>0.3647641241541017</c:v>
                </c:pt>
                <c:pt idx="16">
                  <c:v>0.3374320540433585</c:v>
                </c:pt>
                <c:pt idx="17">
                  <c:v>0.33416134512742124</c:v>
                </c:pt>
                <c:pt idx="18">
                  <c:v>0.34873652500769114</c:v>
                </c:pt>
                <c:pt idx="19">
                  <c:v>0.3930085600619443</c:v>
                </c:pt>
                <c:pt idx="20">
                  <c:v>0.37023250739267866</c:v>
                </c:pt>
                <c:pt idx="21">
                  <c:v>0.4448191293684856</c:v>
                </c:pt>
                <c:pt idx="22">
                  <c:v>0.3925579037616547</c:v>
                </c:pt>
                <c:pt idx="23">
                  <c:v>0.37730917842238665</c:v>
                </c:pt>
                <c:pt idx="24">
                  <c:v>0.40705227387962234</c:v>
                </c:pt>
                <c:pt idx="25">
                  <c:v>0.4333029670068835</c:v>
                </c:pt>
                <c:pt idx="26">
                  <c:v>0.36326336623930233</c:v>
                </c:pt>
                <c:pt idx="27">
                  <c:v>0.40883151085830627</c:v>
                </c:pt>
                <c:pt idx="28">
                  <c:v>0.42583552021206095</c:v>
                </c:pt>
                <c:pt idx="29">
                  <c:v>0.38329185006532007</c:v>
                </c:pt>
                <c:pt idx="30">
                  <c:v>0.45164369712736724</c:v>
                </c:pt>
                <c:pt idx="31">
                  <c:v>0.4721793202872747</c:v>
                </c:pt>
                <c:pt idx="32">
                  <c:v>0.4707263619603161</c:v>
                </c:pt>
                <c:pt idx="33">
                  <c:v>0.4273196396034131</c:v>
                </c:pt>
                <c:pt idx="34">
                  <c:v>0.39767829388816645</c:v>
                </c:pt>
                <c:pt idx="35">
                  <c:v>0.3997574438724059</c:v>
                </c:pt>
                <c:pt idx="36">
                  <c:v>0.3853723456873596</c:v>
                </c:pt>
                <c:pt idx="37">
                  <c:v>0.3752997540839628</c:v>
                </c:pt>
                <c:pt idx="38">
                  <c:v>0.43539121595032165</c:v>
                </c:pt>
                <c:pt idx="39">
                  <c:v>0.3853161131752013</c:v>
                </c:pt>
                <c:pt idx="40">
                  <c:v>0.3487634408792567</c:v>
                </c:pt>
                <c:pt idx="41">
                  <c:v>0.3973719216503262</c:v>
                </c:pt>
                <c:pt idx="42">
                  <c:v>0.4101496663415076</c:v>
                </c:pt>
                <c:pt idx="43">
                  <c:v>0.37502528766826154</c:v>
                </c:pt>
                <c:pt idx="44">
                  <c:v>0.35707987281698617</c:v>
                </c:pt>
              </c:numCache>
            </c:numRef>
          </c:xVal>
          <c:yVal>
            <c:numRef>
              <c:f>Sheet1!$B$2:$B$46</c:f>
              <c:numCache>
                <c:formatCode>General</c:formatCode>
                <c:ptCount val="45"/>
                <c:pt idx="0">
                  <c:v>0.7447795823665894</c:v>
                </c:pt>
                <c:pt idx="1">
                  <c:v>0.7042682926829268</c:v>
                </c:pt>
                <c:pt idx="2">
                  <c:v>0.770949720670391</c:v>
                </c:pt>
                <c:pt idx="3">
                  <c:v>0.800383877159309</c:v>
                </c:pt>
                <c:pt idx="4">
                  <c:v>0.7676767676767676</c:v>
                </c:pt>
                <c:pt idx="5">
                  <c:v>0.7794970986460348</c:v>
                </c:pt>
                <c:pt idx="6">
                  <c:v>0.7572383073496659</c:v>
                </c:pt>
                <c:pt idx="7">
                  <c:v>0.7761904761904762</c:v>
                </c:pt>
                <c:pt idx="8">
                  <c:v>0.7816091954022989</c:v>
                </c:pt>
                <c:pt idx="9">
                  <c:v>0.7431192660550459</c:v>
                </c:pt>
                <c:pt idx="10">
                  <c:v>0.7710843373493976</c:v>
                </c:pt>
                <c:pt idx="11">
                  <c:v>0.7649402390438247</c:v>
                </c:pt>
                <c:pt idx="12">
                  <c:v>0.7510373443983402</c:v>
                </c:pt>
                <c:pt idx="13">
                  <c:v>0.7755102040816326</c:v>
                </c:pt>
                <c:pt idx="14">
                  <c:v>0.7521367521367521</c:v>
                </c:pt>
                <c:pt idx="15">
                  <c:v>0.7772020725388601</c:v>
                </c:pt>
                <c:pt idx="16">
                  <c:v>0.7647058823529411</c:v>
                </c:pt>
                <c:pt idx="17">
                  <c:v>0.8020833333333334</c:v>
                </c:pt>
                <c:pt idx="18">
                  <c:v>0.7916666666666666</c:v>
                </c:pt>
                <c:pt idx="19">
                  <c:v>0.7935483870967742</c:v>
                </c:pt>
                <c:pt idx="20">
                  <c:v>0.7891566265060241</c:v>
                </c:pt>
                <c:pt idx="21">
                  <c:v>0.783068783068783</c:v>
                </c:pt>
                <c:pt idx="22">
                  <c:v>0.8352941176470589</c:v>
                </c:pt>
                <c:pt idx="23">
                  <c:v>0.782258064516129</c:v>
                </c:pt>
                <c:pt idx="24">
                  <c:v>0.7777777777777778</c:v>
                </c:pt>
                <c:pt idx="25">
                  <c:v>0.7265625</c:v>
                </c:pt>
                <c:pt idx="26">
                  <c:v>0.7297297297297297</c:v>
                </c:pt>
                <c:pt idx="27">
                  <c:v>0.7543103448275862</c:v>
                </c:pt>
                <c:pt idx="28">
                  <c:v>0.7391304347826086</c:v>
                </c:pt>
                <c:pt idx="29">
                  <c:v>0.7083333333333334</c:v>
                </c:pt>
                <c:pt idx="30">
                  <c:v>0.7461538461538462</c:v>
                </c:pt>
                <c:pt idx="31">
                  <c:v>0.7752808988764045</c:v>
                </c:pt>
                <c:pt idx="32">
                  <c:v>0.7545454545454545</c:v>
                </c:pt>
                <c:pt idx="33">
                  <c:v>0.780952380952381</c:v>
                </c:pt>
                <c:pt idx="34">
                  <c:v>0.7924528301886793</c:v>
                </c:pt>
                <c:pt idx="35">
                  <c:v>0.8060836501901141</c:v>
                </c:pt>
                <c:pt idx="36">
                  <c:v>0.8078817733990148</c:v>
                </c:pt>
                <c:pt idx="37">
                  <c:v>0.8264840182648402</c:v>
                </c:pt>
                <c:pt idx="38">
                  <c:v>0.7921348314606742</c:v>
                </c:pt>
                <c:pt idx="39">
                  <c:v>0.7839195979899497</c:v>
                </c:pt>
                <c:pt idx="40">
                  <c:v>0.8389319552110249</c:v>
                </c:pt>
                <c:pt idx="41">
                  <c:v>0.8107606679035251</c:v>
                </c:pt>
                <c:pt idx="42">
                  <c:v>0.7736220472440944</c:v>
                </c:pt>
                <c:pt idx="43">
                  <c:v>0.8036437246963563</c:v>
                </c:pt>
                <c:pt idx="44">
                  <c:v>0.8307692307692308</c:v>
                </c:pt>
              </c:numCache>
            </c:numRef>
          </c:yVal>
          <c:smooth val="0"/>
          <c:extLst>
            <c:ext xmlns:c16="http://schemas.microsoft.com/office/drawing/2014/chart" uri="{C3380CC4-5D6E-409C-BE32-E72D297353CC}">
              <c16:uniqueId val="{00000000-096C-4121-9522-6AB7243CCAAE}"/>
            </c:ext>
          </c:extLst>
        </c:ser>
        <c:ser>
          <c:idx val="1"/>
          <c:order val="1"/>
          <c:tx>
            <c:strRef>
              <c:f>Sheet1!$B$4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9:$A$100</c:f>
              <c:numCache>
                <c:formatCode>General</c:formatCode>
                <c:ptCount val="52"/>
                <c:pt idx="0">
                  <c:v>0.35402673011298375</c:v>
                </c:pt>
                <c:pt idx="1">
                  <c:v>0.3634512150417425</c:v>
                </c:pt>
                <c:pt idx="2">
                  <c:v>0.390242737340449</c:v>
                </c:pt>
                <c:pt idx="3">
                  <c:v>0.3874366704607072</c:v>
                </c:pt>
                <c:pt idx="4">
                  <c:v>0.4514195167961802</c:v>
                </c:pt>
                <c:pt idx="5">
                  <c:v>0.4143318123487095</c:v>
                </c:pt>
                <c:pt idx="6">
                  <c:v>0.4325595382261295</c:v>
                </c:pt>
                <c:pt idx="7">
                  <c:v>0.4525741569531883</c:v>
                </c:pt>
                <c:pt idx="8">
                  <c:v>0.39845682227805046</c:v>
                </c:pt>
                <c:pt idx="9">
                  <c:v>0.3869605885694746</c:v>
                </c:pt>
                <c:pt idx="10">
                  <c:v>0.39004106121231585</c:v>
                </c:pt>
                <c:pt idx="11">
                  <c:v>0.4521700397492928</c:v>
                </c:pt>
                <c:pt idx="12">
                  <c:v>0.4204133975480498</c:v>
                </c:pt>
                <c:pt idx="13">
                  <c:v>0.3982732721483424</c:v>
                </c:pt>
                <c:pt idx="14">
                  <c:v>0.4670780071343302</c:v>
                </c:pt>
                <c:pt idx="15">
                  <c:v>0.39516488795894394</c:v>
                </c:pt>
                <c:pt idx="16">
                  <c:v>0.43467920242148245</c:v>
                </c:pt>
                <c:pt idx="17">
                  <c:v>0.5032741635687732</c:v>
                </c:pt>
                <c:pt idx="18">
                  <c:v>0.46734506256536074</c:v>
                </c:pt>
                <c:pt idx="19">
                  <c:v>0.38066437351055604</c:v>
                </c:pt>
                <c:pt idx="20">
                  <c:v>0.4032397489448247</c:v>
                </c:pt>
                <c:pt idx="21">
                  <c:v>0.3686485079413183</c:v>
                </c:pt>
                <c:pt idx="22">
                  <c:v>0.40480152231320593</c:v>
                </c:pt>
                <c:pt idx="23">
                  <c:v>0.23861154849486552</c:v>
                </c:pt>
                <c:pt idx="24">
                  <c:v>0.18843250684552967</c:v>
                </c:pt>
                <c:pt idx="25">
                  <c:v>0.21269644926826844</c:v>
                </c:pt>
                <c:pt idx="26">
                  <c:v>0.17794635886152319</c:v>
                </c:pt>
                <c:pt idx="27">
                  <c:v>0.29640581027951296</c:v>
                </c:pt>
                <c:pt idx="28">
                  <c:v>0.3328249813767139</c:v>
                </c:pt>
                <c:pt idx="29">
                  <c:v>0.3211092912100723</c:v>
                </c:pt>
                <c:pt idx="30">
                  <c:v>0.2555949021326322</c:v>
                </c:pt>
                <c:pt idx="31">
                  <c:v>0.28620308220578017</c:v>
                </c:pt>
                <c:pt idx="32">
                  <c:v>0.31122398724882694</c:v>
                </c:pt>
                <c:pt idx="33">
                  <c:v>0.2751546849011273</c:v>
                </c:pt>
                <c:pt idx="34">
                  <c:v>0.44181144927868626</c:v>
                </c:pt>
                <c:pt idx="35">
                  <c:v>0.3541797568879146</c:v>
                </c:pt>
                <c:pt idx="36">
                  <c:v>0.4012619740209258</c:v>
                </c:pt>
                <c:pt idx="37">
                  <c:v>0.37282141100728755</c:v>
                </c:pt>
                <c:pt idx="38">
                  <c:v>0.32787338137275673</c:v>
                </c:pt>
                <c:pt idx="39">
                  <c:v>0.38110839362884585</c:v>
                </c:pt>
                <c:pt idx="40">
                  <c:v>0.36130125630626175</c:v>
                </c:pt>
                <c:pt idx="41">
                  <c:v>0.3726274403962677</c:v>
                </c:pt>
                <c:pt idx="42">
                  <c:v>0.41619695684230773</c:v>
                </c:pt>
                <c:pt idx="43">
                  <c:v>0.4270214418526781</c:v>
                </c:pt>
                <c:pt idx="44">
                  <c:v>0.40580417327870016</c:v>
                </c:pt>
                <c:pt idx="45">
                  <c:v>0.30150071245829463</c:v>
                </c:pt>
                <c:pt idx="46">
                  <c:v>0.3034332757503779</c:v>
                </c:pt>
                <c:pt idx="47">
                  <c:v>0.36296774467683124</c:v>
                </c:pt>
                <c:pt idx="48">
                  <c:v>0.321793960252253</c:v>
                </c:pt>
                <c:pt idx="49">
                  <c:v>0.33078925247673374</c:v>
                </c:pt>
                <c:pt idx="50">
                  <c:v>0.3161544386951558</c:v>
                </c:pt>
                <c:pt idx="51">
                  <c:v>0.2663575460507173</c:v>
                </c:pt>
              </c:numCache>
            </c:numRef>
          </c:xVal>
          <c:yVal>
            <c:numRef>
              <c:f>Sheet1!$B$49:$B$100</c:f>
              <c:numCache>
                <c:formatCode>General</c:formatCode>
                <c:ptCount val="52"/>
                <c:pt idx="0">
                  <c:v>0.8452054794520548</c:v>
                </c:pt>
                <c:pt idx="1">
                  <c:v>0.8252252252252252</c:v>
                </c:pt>
                <c:pt idx="2">
                  <c:v>0.7897350993377483</c:v>
                </c:pt>
                <c:pt idx="3">
                  <c:v>0.7821782178217822</c:v>
                </c:pt>
                <c:pt idx="4">
                  <c:v>0.7591522157996147</c:v>
                </c:pt>
                <c:pt idx="5">
                  <c:v>0.7326923076923076</c:v>
                </c:pt>
                <c:pt idx="6">
                  <c:v>0.7402298850574712</c:v>
                </c:pt>
                <c:pt idx="7">
                  <c:v>0.7208480565371025</c:v>
                </c:pt>
                <c:pt idx="8">
                  <c:v>0.696875</c:v>
                </c:pt>
                <c:pt idx="9">
                  <c:v>0.6946564885496184</c:v>
                </c:pt>
                <c:pt idx="10">
                  <c:v>0.6985645933014354</c:v>
                </c:pt>
                <c:pt idx="11">
                  <c:v>0.6583850931677019</c:v>
                </c:pt>
                <c:pt idx="12">
                  <c:v>0.6926229508196722</c:v>
                </c:pt>
                <c:pt idx="13">
                  <c:v>0.7263374485596708</c:v>
                </c:pt>
                <c:pt idx="14">
                  <c:v>0.7422222222222222</c:v>
                </c:pt>
                <c:pt idx="15">
                  <c:v>0.7122641509433962</c:v>
                </c:pt>
                <c:pt idx="16">
                  <c:v>0.7295081967213115</c:v>
                </c:pt>
                <c:pt idx="17">
                  <c:v>0.7071005917159763</c:v>
                </c:pt>
                <c:pt idx="18">
                  <c:v>0.6832579185520362</c:v>
                </c:pt>
                <c:pt idx="19">
                  <c:v>0.6521739130434783</c:v>
                </c:pt>
                <c:pt idx="20">
                  <c:v>0.6571428571428571</c:v>
                </c:pt>
                <c:pt idx="21">
                  <c:v>0.6683937823834197</c:v>
                </c:pt>
                <c:pt idx="22">
                  <c:v>0.6481481481481481</c:v>
                </c:pt>
                <c:pt idx="23">
                  <c:v>0.8213166144200627</c:v>
                </c:pt>
                <c:pt idx="24">
                  <c:v>0.8654292343387471</c:v>
                </c:pt>
                <c:pt idx="25">
                  <c:v>0.8665158371040724</c:v>
                </c:pt>
                <c:pt idx="26">
                  <c:v>0.8554913294797688</c:v>
                </c:pt>
                <c:pt idx="27">
                  <c:v>0.7591973244147158</c:v>
                </c:pt>
                <c:pt idx="28">
                  <c:v>0.7198581560283688</c:v>
                </c:pt>
                <c:pt idx="29">
                  <c:v>0.7447916666666666</c:v>
                </c:pt>
                <c:pt idx="30">
                  <c:v>0.7461928934010152</c:v>
                </c:pt>
                <c:pt idx="31">
                  <c:v>0.7163120567375887</c:v>
                </c:pt>
                <c:pt idx="32">
                  <c:v>0.691358024691358</c:v>
                </c:pt>
                <c:pt idx="33">
                  <c:v>0.7206703910614525</c:v>
                </c:pt>
                <c:pt idx="34">
                  <c:v>0.7621776504297995</c:v>
                </c:pt>
                <c:pt idx="35">
                  <c:v>0.7570977917981072</c:v>
                </c:pt>
                <c:pt idx="36">
                  <c:v>0.7401129943502824</c:v>
                </c:pt>
                <c:pt idx="37">
                  <c:v>0.7286432160804021</c:v>
                </c:pt>
                <c:pt idx="38">
                  <c:v>0.697986577181208</c:v>
                </c:pt>
                <c:pt idx="39">
                  <c:v>0.7035398230088495</c:v>
                </c:pt>
                <c:pt idx="40">
                  <c:v>0.6543778801843319</c:v>
                </c:pt>
                <c:pt idx="41">
                  <c:v>0.6692015209125475</c:v>
                </c:pt>
                <c:pt idx="42">
                  <c:v>0.6822033898305084</c:v>
                </c:pt>
                <c:pt idx="43">
                  <c:v>0.6991150442477876</c:v>
                </c:pt>
                <c:pt idx="44">
                  <c:v>0.7622739018087855</c:v>
                </c:pt>
                <c:pt idx="45">
                  <c:v>0.7422303473491774</c:v>
                </c:pt>
                <c:pt idx="46">
                  <c:v>0.7357512953367875</c:v>
                </c:pt>
                <c:pt idx="47">
                  <c:v>0.7440758293838863</c:v>
                </c:pt>
                <c:pt idx="48">
                  <c:v>0.6964912280701754</c:v>
                </c:pt>
                <c:pt idx="49">
                  <c:v>0.6761194029850747</c:v>
                </c:pt>
                <c:pt idx="50">
                  <c:v>0.7628705148205929</c:v>
                </c:pt>
                <c:pt idx="51">
                  <c:v>0.7392550143266475</c:v>
                </c:pt>
              </c:numCache>
            </c:numRef>
          </c:yVal>
          <c:smooth val="0"/>
          <c:extLst>
            <c:ext xmlns:c16="http://schemas.microsoft.com/office/drawing/2014/chart" uri="{C3380CC4-5D6E-409C-BE32-E72D297353CC}">
              <c16:uniqueId val="{00000002-096C-4121-9522-6AB7243CCAAE}"/>
            </c:ext>
          </c:extLst>
        </c:ser>
        <c:ser>
          <c:idx val="2"/>
          <c:order val="2"/>
          <c:tx>
            <c:strRef>
              <c:f>Sheet1!$B$10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3:$A$104</c:f>
              <c:numCache>
                <c:formatCode>General</c:formatCode>
                <c:ptCount val="2"/>
                <c:pt idx="0">
                  <c:v>0</c:v>
                </c:pt>
                <c:pt idx="1">
                  <c:v>0.23218373486246127</c:v>
                </c:pt>
              </c:numCache>
            </c:numRef>
          </c:xVal>
          <c:yVal>
            <c:numRef>
              <c:f>Sheet1!$B$103:$B$104</c:f>
              <c:numCache>
                <c:formatCode>General</c:formatCode>
                <c:ptCount val="2"/>
                <c:pt idx="0">
                  <c:v>0.7809450004114097</c:v>
                </c:pt>
                <c:pt idx="1">
                  <c:v>0.7809450004114097</c:v>
                </c:pt>
              </c:numCache>
            </c:numRef>
          </c:yVal>
          <c:smooth val="0"/>
          <c:extLst>
            <c:ext xmlns:c16="http://schemas.microsoft.com/office/drawing/2014/chart" uri="{C3380CC4-5D6E-409C-BE32-E72D297353CC}">
              <c16:uniqueId val="{00000005-096C-4121-9522-6AB7243CCAAE}"/>
            </c:ext>
          </c:extLst>
        </c:ser>
        <c:ser>
          <c:idx val="3"/>
          <c:order val="3"/>
          <c:tx>
            <c:strRef>
              <c:f>Sheet1!$B$10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7:$A$108</c:f>
              <c:numCache>
                <c:formatCode>General</c:formatCode>
                <c:ptCount val="2"/>
                <c:pt idx="0">
                  <c:v>0.23218373486246127</c:v>
                </c:pt>
                <c:pt idx="1">
                  <c:v>0.23218373486246127</c:v>
                </c:pt>
              </c:numCache>
            </c:numRef>
          </c:xVal>
          <c:yVal>
            <c:numRef>
              <c:f>Sheet1!$B$107:$B$108</c:f>
              <c:numCache>
                <c:formatCode>General</c:formatCode>
                <c:ptCount val="2"/>
                <c:pt idx="0">
                  <c:v>0.780945000411409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1:$A$112</c:f>
              <c:numCache>
                <c:formatCode>General</c:formatCode>
                <c:ptCount val="2"/>
                <c:pt idx="0">
                  <c:v>0</c:v>
                </c:pt>
                <c:pt idx="1">
                  <c:v>0.2720607565514996</c:v>
                </c:pt>
              </c:numCache>
            </c:numRef>
          </c:xVal>
          <c:yVal>
            <c:numRef>
              <c:f>Sheet1!$B$111:$B$112</c:f>
              <c:numCache>
                <c:formatCode>General</c:formatCode>
                <c:ptCount val="2"/>
                <c:pt idx="0">
                  <c:v>0.765793498547034</c:v>
                </c:pt>
                <c:pt idx="1">
                  <c:v>0.765793498547034</c:v>
                </c:pt>
              </c:numCache>
            </c:numRef>
          </c:yVal>
          <c:smooth val="0"/>
          <c:extLst>
            <c:ext xmlns:c16="http://schemas.microsoft.com/office/drawing/2014/chart" uri="{C3380CC4-5D6E-409C-BE32-E72D297353CC}">
              <c16:uniqueId val="{0000000D-096C-4121-9522-6AB7243CCAAE}"/>
            </c:ext>
          </c:extLst>
        </c:ser>
        <c:ser>
          <c:idx val="5"/>
          <c:order val="5"/>
          <c:tx>
            <c:strRef>
              <c:f>Sheet1!$B$11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0.2720607565514996</c:v>
                </c:pt>
                <c:pt idx="1">
                  <c:v>0.2720607565514996</c:v>
                </c:pt>
              </c:numCache>
            </c:numRef>
          </c:xVal>
          <c:yVal>
            <c:numRef>
              <c:f>Sheet1!$B$115:$B$116</c:f>
              <c:numCache>
                <c:formatCode>General</c:formatCode>
                <c:ptCount val="2"/>
                <c:pt idx="0">
                  <c:v>0.7657934985470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9:$A$120</c:f>
              <c:numCache>
                <c:formatCode>General</c:formatCode>
                <c:ptCount val="2"/>
                <c:pt idx="0">
                  <c:v>0</c:v>
                </c:pt>
                <c:pt idx="1">
                  <c:v>0.411309840451816</c:v>
                </c:pt>
              </c:numCache>
            </c:numRef>
          </c:xVal>
          <c:yVal>
            <c:numRef>
              <c:f>Sheet1!$B$119:$B$120</c:f>
              <c:numCache>
                <c:formatCode>General</c:formatCode>
                <c:ptCount val="2"/>
                <c:pt idx="0">
                  <c:v>0.7128850147896272</c:v>
                </c:pt>
                <c:pt idx="1">
                  <c:v>0.7128850147896272</c:v>
                </c:pt>
              </c:numCache>
            </c:numRef>
          </c:yVal>
          <c:smooth val="0"/>
          <c:extLst>
            <c:ext xmlns:c16="http://schemas.microsoft.com/office/drawing/2014/chart" uri="{C3380CC4-5D6E-409C-BE32-E72D297353CC}">
              <c16:uniqueId val="{00000015-096C-4121-9522-6AB7243CCAAE}"/>
            </c:ext>
          </c:extLst>
        </c:ser>
        <c:ser>
          <c:idx val="7"/>
          <c:order val="7"/>
          <c:tx>
            <c:strRef>
              <c:f>Sheet1!$B$12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411309840451816</c:v>
                </c:pt>
                <c:pt idx="1">
                  <c:v>0.411309840451816</c:v>
                </c:pt>
              </c:numCache>
            </c:numRef>
          </c:xVal>
          <c:yVal>
            <c:numRef>
              <c:f>Sheet1!$B$123:$B$124</c:f>
              <c:numCache>
                <c:formatCode>General</c:formatCode>
                <c:ptCount val="2"/>
                <c:pt idx="0">
                  <c:v>0.712885014789627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7:$A$181</c:f>
              <c:numCache>
                <c:formatCode>General</c:formatCode>
                <c:ptCount val="55"/>
                <c:pt idx="0">
                  <c:v>0.35402673011298375</c:v>
                </c:pt>
                <c:pt idx="1">
                  <c:v>0.3634512150417425</c:v>
                </c:pt>
                <c:pt idx="2">
                  <c:v>0.390242737340449</c:v>
                </c:pt>
                <c:pt idx="3">
                  <c:v>0.3874366704607072</c:v>
                </c:pt>
                <c:pt idx="4">
                  <c:v>0.4514195167961802</c:v>
                </c:pt>
                <c:pt idx="5">
                  <c:v>0.4143318123487095</c:v>
                </c:pt>
                <c:pt idx="6">
                  <c:v>0.4325595382261295</c:v>
                </c:pt>
                <c:pt idx="7">
                  <c:v>0.4525741569531883</c:v>
                </c:pt>
                <c:pt idx="8">
                  <c:v>0.39845682227805046</c:v>
                </c:pt>
                <c:pt idx="9">
                  <c:v>0.3869605885694746</c:v>
                </c:pt>
                <c:pt idx="10">
                  <c:v>0.39004106121231585</c:v>
                </c:pt>
                <c:pt idx="11">
                  <c:v>0.4521700397492928</c:v>
                </c:pt>
                <c:pt idx="12">
                  <c:v>0.4204133975480498</c:v>
                </c:pt>
                <c:pt idx="13">
                  <c:v>0.3982732721483424</c:v>
                </c:pt>
                <c:pt idx="14">
                  <c:v>0.4670780071343302</c:v>
                </c:pt>
                <c:pt idx="15">
                  <c:v>0.39516488795894394</c:v>
                </c:pt>
                <c:pt idx="16">
                  <c:v>0.43467920242148245</c:v>
                </c:pt>
                <c:pt idx="17">
                  <c:v>0.5032741635687732</c:v>
                </c:pt>
                <c:pt idx="18">
                  <c:v>0.46734506256536074</c:v>
                </c:pt>
                <c:pt idx="19">
                  <c:v>0.38066437351055604</c:v>
                </c:pt>
                <c:pt idx="20">
                  <c:v>0.4032397489448247</c:v>
                </c:pt>
                <c:pt idx="21">
                  <c:v>0.3686485079413183</c:v>
                </c:pt>
                <c:pt idx="22">
                  <c:v>0.40480152231320593</c:v>
                </c:pt>
                <c:pt idx="23">
                  <c:v>0.23861154849486552</c:v>
                </c:pt>
                <c:pt idx="24">
                  <c:v>0.18843250684552967</c:v>
                </c:pt>
                <c:pt idx="25">
                  <c:v>0.21269644926826844</c:v>
                </c:pt>
                <c:pt idx="26">
                  <c:v>0.17794635886152319</c:v>
                </c:pt>
                <c:pt idx="27">
                  <c:v>0.29640581027951296</c:v>
                </c:pt>
                <c:pt idx="28">
                  <c:v>0.3328249813767139</c:v>
                </c:pt>
                <c:pt idx="29">
                  <c:v>0.3211092912100723</c:v>
                </c:pt>
                <c:pt idx="30">
                  <c:v>0.2555949021326322</c:v>
                </c:pt>
                <c:pt idx="31">
                  <c:v>0.28620308220578017</c:v>
                </c:pt>
                <c:pt idx="32">
                  <c:v>0.31122398724882694</c:v>
                </c:pt>
                <c:pt idx="33">
                  <c:v>0.2751546849011273</c:v>
                </c:pt>
                <c:pt idx="34">
                  <c:v>0.44181144927868626</c:v>
                </c:pt>
                <c:pt idx="35">
                  <c:v>0.3541797568879146</c:v>
                </c:pt>
                <c:pt idx="36">
                  <c:v>0.4012619740209258</c:v>
                </c:pt>
                <c:pt idx="37">
                  <c:v>0.37282141100728755</c:v>
                </c:pt>
                <c:pt idx="38">
                  <c:v>0.32787338137275673</c:v>
                </c:pt>
                <c:pt idx="39">
                  <c:v>0.38110839362884585</c:v>
                </c:pt>
                <c:pt idx="40">
                  <c:v>0.36130125630626175</c:v>
                </c:pt>
                <c:pt idx="41">
                  <c:v>0.3726274403962677</c:v>
                </c:pt>
                <c:pt idx="42">
                  <c:v>0.41619695684230773</c:v>
                </c:pt>
                <c:pt idx="43">
                  <c:v>0.4270214418526781</c:v>
                </c:pt>
                <c:pt idx="44">
                  <c:v>0.40580417327870016</c:v>
                </c:pt>
                <c:pt idx="45">
                  <c:v>0.30150071245829463</c:v>
                </c:pt>
                <c:pt idx="46">
                  <c:v>0.3034332757503779</c:v>
                </c:pt>
                <c:pt idx="47">
                  <c:v>0.36296774467683124</c:v>
                </c:pt>
                <c:pt idx="48">
                  <c:v>0.321793960252253</c:v>
                </c:pt>
                <c:pt idx="49">
                  <c:v>0.33078925247673374</c:v>
                </c:pt>
                <c:pt idx="50">
                  <c:v>0.3161544386951558</c:v>
                </c:pt>
                <c:pt idx="51">
                  <c:v>0.2663575460507173</c:v>
                </c:pt>
                <c:pt idx="52">
                  <c:v>0.2720607565514996</c:v>
                </c:pt>
                <c:pt idx="53">
                  <c:v>0.23218373486246127</c:v>
                </c:pt>
                <c:pt idx="54">
                  <c:v>0.411309840451816</c:v>
                </c:pt>
              </c:numCache>
            </c:numRef>
          </c:xVal>
          <c:yVal>
            <c:numRef>
              <c:f>Sheet1!$B$127:$B$181</c:f>
              <c:numCache>
                <c:formatCode>General</c:formatCode>
                <c:ptCount val="55"/>
                <c:pt idx="0">
                  <c:v>0.7346500593274101</c:v>
                </c:pt>
                <c:pt idx="1">
                  <c:v>0.7310691725178988</c:v>
                </c:pt>
                <c:pt idx="2">
                  <c:v>0.7208895807915213</c:v>
                </c:pt>
                <c:pt idx="3">
                  <c:v>0.7219557619093468</c:v>
                </c:pt>
                <c:pt idx="4">
                  <c:v>0.6976451144618103</c:v>
                </c:pt>
                <c:pt idx="5">
                  <c:v>0.711736799328931</c:v>
                </c:pt>
                <c:pt idx="6">
                  <c:v>0.7048110709039574</c:v>
                </c:pt>
                <c:pt idx="7">
                  <c:v>0.6972064023476505</c:v>
                </c:pt>
                <c:pt idx="8">
                  <c:v>0.7177685923632301</c:v>
                </c:pt>
                <c:pt idx="9">
                  <c:v>0.7221366519396719</c:v>
                </c:pt>
                <c:pt idx="10">
                  <c:v>0.7209662087868425</c:v>
                </c:pt>
                <c:pt idx="11">
                  <c:v>0.6973599489845081</c:v>
                </c:pt>
                <c:pt idx="12">
                  <c:v>0.7094260663407777</c:v>
                </c:pt>
                <c:pt idx="13">
                  <c:v>0.717838333282052</c:v>
                </c:pt>
                <c:pt idx="14">
                  <c:v>0.6916955817358744</c:v>
                </c:pt>
                <c:pt idx="15">
                  <c:v>0.7190193815862139</c:v>
                </c:pt>
                <c:pt idx="16">
                  <c:v>0.7040056924015663</c:v>
                </c:pt>
                <c:pt idx="17">
                  <c:v>0.6779426456220309</c:v>
                </c:pt>
                <c:pt idx="18">
                  <c:v>0.6915941125014691</c:v>
                </c:pt>
                <c:pt idx="19">
                  <c:v>0.724528934767302</c:v>
                </c:pt>
                <c:pt idx="20">
                  <c:v>0.715951292092565</c:v>
                </c:pt>
                <c:pt idx="21">
                  <c:v>0.7290944314333792</c:v>
                </c:pt>
                <c:pt idx="22">
                  <c:v>0.7153578873923022</c:v>
                </c:pt>
                <c:pt idx="23">
                  <c:v>0.7785027159550958</c:v>
                </c:pt>
                <c:pt idx="24">
                  <c:v>0.7975685290700076</c:v>
                </c:pt>
                <c:pt idx="25">
                  <c:v>0.7883493057357764</c:v>
                </c:pt>
                <c:pt idx="26">
                  <c:v>0.8015528008134881</c:v>
                </c:pt>
                <c:pt idx="27">
                  <c:v>0.756543456509674</c:v>
                </c:pt>
                <c:pt idx="28">
                  <c:v>0.7427057847025557</c:v>
                </c:pt>
                <c:pt idx="29">
                  <c:v>0.7471572280121023</c:v>
                </c:pt>
                <c:pt idx="30">
                  <c:v>0.7720497938609487</c:v>
                </c:pt>
                <c:pt idx="31">
                  <c:v>0.7604200412415116</c:v>
                </c:pt>
                <c:pt idx="32">
                  <c:v>0.750913205641693</c:v>
                </c:pt>
                <c:pt idx="33">
                  <c:v>0.7646179428216546</c:v>
                </c:pt>
                <c:pt idx="34">
                  <c:v>0.701295754523136</c:v>
                </c:pt>
                <c:pt idx="35">
                  <c:v>0.7345919159313524</c:v>
                </c:pt>
                <c:pt idx="36">
                  <c:v>0.7167027589568773</c:v>
                </c:pt>
                <c:pt idx="37">
                  <c:v>0.7275089131096455</c:v>
                </c:pt>
                <c:pt idx="38">
                  <c:v>0.7445871733698598</c:v>
                </c:pt>
                <c:pt idx="39">
                  <c:v>0.7243602267904989</c:v>
                </c:pt>
                <c:pt idx="40">
                  <c:v>0.7318860616036232</c:v>
                </c:pt>
                <c:pt idx="41">
                  <c:v>0.7275826133497844</c:v>
                </c:pt>
                <c:pt idx="42">
                  <c:v>0.7110281270390981</c:v>
                </c:pt>
                <c:pt idx="43">
                  <c:v>0.7069153022124482</c:v>
                </c:pt>
                <c:pt idx="44">
                  <c:v>0.7149769244384621</c:v>
                </c:pt>
                <c:pt idx="45">
                  <c:v>0.7546076193635954</c:v>
                </c:pt>
                <c:pt idx="46">
                  <c:v>0.753873330916696</c:v>
                </c:pt>
                <c:pt idx="47">
                  <c:v>0.7312528698409448</c:v>
                </c:pt>
                <c:pt idx="48">
                  <c:v>0.7468970841039144</c:v>
                </c:pt>
                <c:pt idx="49">
                  <c:v>0.7434792715106713</c:v>
                </c:pt>
                <c:pt idx="50">
                  <c:v>0.749039852489499</c:v>
                </c:pt>
                <c:pt idx="51">
                  <c:v>0.7679604659100777</c:v>
                </c:pt>
                <c:pt idx="52">
                  <c:v>0.765793498547034</c:v>
                </c:pt>
                <c:pt idx="53">
                  <c:v>0.7809450004114097</c:v>
                </c:pt>
                <c:pt idx="54">
                  <c:v>0.712885014789627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39819004524887"/>
          <c:min val="0.518518518518518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6</c:f>
              <c:numCache>
                <c:formatCode>General</c:formatCode>
                <c:ptCount val="45"/>
                <c:pt idx="0">
                  <c:v>1760.3863</c:v>
                </c:pt>
                <c:pt idx="1">
                  <c:v>1666.368</c:v>
                </c:pt>
                <c:pt idx="2">
                  <c:v>1511.3949</c:v>
                </c:pt>
                <c:pt idx="3">
                  <c:v>1448.3381</c:v>
                </c:pt>
                <c:pt idx="4">
                  <c:v>1415.307</c:v>
                </c:pt>
                <c:pt idx="5">
                  <c:v>1421.6551</c:v>
                </c:pt>
                <c:pt idx="6">
                  <c:v>1720.0176</c:v>
                </c:pt>
                <c:pt idx="7">
                  <c:v>1747.8405</c:v>
                </c:pt>
                <c:pt idx="8">
                  <c:v>1740.1287</c:v>
                </c:pt>
                <c:pt idx="9">
                  <c:v>1788.7963</c:v>
                </c:pt>
                <c:pt idx="10">
                  <c:v>1793.5365</c:v>
                </c:pt>
                <c:pt idx="11">
                  <c:v>1787.2865</c:v>
                </c:pt>
                <c:pt idx="12">
                  <c:v>1830.9448</c:v>
                </c:pt>
                <c:pt idx="13">
                  <c:v>1794.6789</c:v>
                </c:pt>
                <c:pt idx="14">
                  <c:v>1811.9432</c:v>
                </c:pt>
                <c:pt idx="15">
                  <c:v>1813.5667</c:v>
                </c:pt>
                <c:pt idx="16">
                  <c:v>1752.5846</c:v>
                </c:pt>
                <c:pt idx="17">
                  <c:v>1666.9221</c:v>
                </c:pt>
                <c:pt idx="18">
                  <c:v>1736.1654</c:v>
                </c:pt>
                <c:pt idx="19">
                  <c:v>1839.9187</c:v>
                </c:pt>
                <c:pt idx="20">
                  <c:v>1815.4351</c:v>
                </c:pt>
                <c:pt idx="21">
                  <c:v>1813.75</c:v>
                </c:pt>
                <c:pt idx="22">
                  <c:v>1831.4789</c:v>
                </c:pt>
                <c:pt idx="23">
                  <c:v>1842.1649</c:v>
                </c:pt>
                <c:pt idx="24">
                  <c:v>1905.2308</c:v>
                </c:pt>
                <c:pt idx="25">
                  <c:v>1825.5054</c:v>
                </c:pt>
                <c:pt idx="26">
                  <c:v>1832.8593</c:v>
                </c:pt>
                <c:pt idx="27">
                  <c:v>1836.8171</c:v>
                </c:pt>
                <c:pt idx="28">
                  <c:v>1927.7574</c:v>
                </c:pt>
                <c:pt idx="29">
                  <c:v>1907.0686</c:v>
                </c:pt>
                <c:pt idx="30">
                  <c:v>1859.9691</c:v>
                </c:pt>
                <c:pt idx="31">
                  <c:v>1848.9493</c:v>
                </c:pt>
                <c:pt idx="32">
                  <c:v>1859.6687</c:v>
                </c:pt>
                <c:pt idx="33">
                  <c:v>1838.0183</c:v>
                </c:pt>
                <c:pt idx="34">
                  <c:v>1911.3413</c:v>
                </c:pt>
                <c:pt idx="35">
                  <c:v>1882.9575</c:v>
                </c:pt>
                <c:pt idx="36">
                  <c:v>1605.0305</c:v>
                </c:pt>
                <c:pt idx="37">
                  <c:v>1709.2652</c:v>
                </c:pt>
                <c:pt idx="38">
                  <c:v>1680.4965</c:v>
                </c:pt>
                <c:pt idx="39">
                  <c:v>1637.1175</c:v>
                </c:pt>
                <c:pt idx="40">
                  <c:v>1378.6088</c:v>
                </c:pt>
                <c:pt idx="41">
                  <c:v>1705.0618</c:v>
                </c:pt>
                <c:pt idx="42">
                  <c:v>1665.2341</c:v>
                </c:pt>
                <c:pt idx="43">
                  <c:v>1543.2846</c:v>
                </c:pt>
                <c:pt idx="44">
                  <c:v>1476.6214</c:v>
                </c:pt>
              </c:numCache>
            </c:numRef>
          </c:xVal>
          <c:yVal>
            <c:numRef>
              <c:f>Sheet1!$B$2:$B$46</c:f>
              <c:numCache>
                <c:formatCode>General</c:formatCode>
                <c:ptCount val="45"/>
                <c:pt idx="0">
                  <c:v>0.7447795823665894</c:v>
                </c:pt>
                <c:pt idx="1">
                  <c:v>0.7042682926829268</c:v>
                </c:pt>
                <c:pt idx="2">
                  <c:v>0.770949720670391</c:v>
                </c:pt>
                <c:pt idx="3">
                  <c:v>0.800383877159309</c:v>
                </c:pt>
                <c:pt idx="4">
                  <c:v>0.7676767676767676</c:v>
                </c:pt>
                <c:pt idx="5">
                  <c:v>0.7794970986460348</c:v>
                </c:pt>
                <c:pt idx="6">
                  <c:v>0.7572383073496659</c:v>
                </c:pt>
                <c:pt idx="7">
                  <c:v>0.7761904761904762</c:v>
                </c:pt>
                <c:pt idx="8">
                  <c:v>0.7816091954022989</c:v>
                </c:pt>
                <c:pt idx="9">
                  <c:v>0.7431192660550459</c:v>
                </c:pt>
                <c:pt idx="10">
                  <c:v>0.7710843373493976</c:v>
                </c:pt>
                <c:pt idx="11">
                  <c:v>0.7649402390438247</c:v>
                </c:pt>
                <c:pt idx="12">
                  <c:v>0.7510373443983402</c:v>
                </c:pt>
                <c:pt idx="13">
                  <c:v>0.7755102040816326</c:v>
                </c:pt>
                <c:pt idx="14">
                  <c:v>0.7521367521367521</c:v>
                </c:pt>
                <c:pt idx="15">
                  <c:v>0.7772020725388601</c:v>
                </c:pt>
                <c:pt idx="16">
                  <c:v>0.7647058823529411</c:v>
                </c:pt>
                <c:pt idx="17">
                  <c:v>0.8020833333333334</c:v>
                </c:pt>
                <c:pt idx="18">
                  <c:v>0.7916666666666666</c:v>
                </c:pt>
                <c:pt idx="19">
                  <c:v>0.7935483870967742</c:v>
                </c:pt>
                <c:pt idx="20">
                  <c:v>0.7891566265060241</c:v>
                </c:pt>
                <c:pt idx="21">
                  <c:v>0.783068783068783</c:v>
                </c:pt>
                <c:pt idx="22">
                  <c:v>0.8352941176470589</c:v>
                </c:pt>
                <c:pt idx="23">
                  <c:v>0.782258064516129</c:v>
                </c:pt>
                <c:pt idx="24">
                  <c:v>0.7777777777777778</c:v>
                </c:pt>
                <c:pt idx="25">
                  <c:v>0.7265625</c:v>
                </c:pt>
                <c:pt idx="26">
                  <c:v>0.7297297297297297</c:v>
                </c:pt>
                <c:pt idx="27">
                  <c:v>0.7543103448275862</c:v>
                </c:pt>
                <c:pt idx="28">
                  <c:v>0.7391304347826086</c:v>
                </c:pt>
                <c:pt idx="29">
                  <c:v>0.7083333333333334</c:v>
                </c:pt>
                <c:pt idx="30">
                  <c:v>0.7461538461538462</c:v>
                </c:pt>
                <c:pt idx="31">
                  <c:v>0.7752808988764045</c:v>
                </c:pt>
                <c:pt idx="32">
                  <c:v>0.7545454545454545</c:v>
                </c:pt>
                <c:pt idx="33">
                  <c:v>0.780952380952381</c:v>
                </c:pt>
                <c:pt idx="34">
                  <c:v>0.7924528301886793</c:v>
                </c:pt>
                <c:pt idx="35">
                  <c:v>0.8060836501901141</c:v>
                </c:pt>
                <c:pt idx="36">
                  <c:v>0.8078817733990148</c:v>
                </c:pt>
                <c:pt idx="37">
                  <c:v>0.8264840182648402</c:v>
                </c:pt>
                <c:pt idx="38">
                  <c:v>0.7921348314606742</c:v>
                </c:pt>
                <c:pt idx="39">
                  <c:v>0.7839195979899497</c:v>
                </c:pt>
                <c:pt idx="40">
                  <c:v>0.8389319552110249</c:v>
                </c:pt>
                <c:pt idx="41">
                  <c:v>0.8107606679035251</c:v>
                </c:pt>
                <c:pt idx="42">
                  <c:v>0.7736220472440944</c:v>
                </c:pt>
                <c:pt idx="43">
                  <c:v>0.8036437246963563</c:v>
                </c:pt>
                <c:pt idx="44">
                  <c:v>0.8307692307692308</c:v>
                </c:pt>
              </c:numCache>
            </c:numRef>
          </c:yVal>
          <c:smooth val="0"/>
          <c:extLst>
            <c:ext xmlns:c16="http://schemas.microsoft.com/office/drawing/2014/chart" uri="{C3380CC4-5D6E-409C-BE32-E72D297353CC}">
              <c16:uniqueId val="{00000000-F32D-48B7-BC20-E66FC6253BAD}"/>
            </c:ext>
          </c:extLst>
        </c:ser>
        <c:ser>
          <c:idx val="1"/>
          <c:order val="1"/>
          <c:tx>
            <c:strRef>
              <c:f>Sheet1!$B$4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9:$A$100</c:f>
              <c:numCache>
                <c:formatCode>General</c:formatCode>
                <c:ptCount val="52"/>
                <c:pt idx="0">
                  <c:v>1547.6823</c:v>
                </c:pt>
                <c:pt idx="1">
                  <c:v>1615.6048</c:v>
                </c:pt>
                <c:pt idx="2">
                  <c:v>1718.8344</c:v>
                </c:pt>
                <c:pt idx="3">
                  <c:v>1772.6519</c:v>
                </c:pt>
                <c:pt idx="4">
                  <c:v>1773.3883</c:v>
                </c:pt>
                <c:pt idx="5">
                  <c:v>1823.4961</c:v>
                </c:pt>
                <c:pt idx="6">
                  <c:v>1805.7919</c:v>
                </c:pt>
                <c:pt idx="7">
                  <c:v>1815.1618</c:v>
                </c:pt>
                <c:pt idx="8">
                  <c:v>1850.3722</c:v>
                </c:pt>
                <c:pt idx="9">
                  <c:v>1648.0879</c:v>
                </c:pt>
                <c:pt idx="10">
                  <c:v>1656.3527</c:v>
                </c:pt>
                <c:pt idx="11">
                  <c:v>1845.717</c:v>
                </c:pt>
                <c:pt idx="12">
                  <c:v>1819.1479</c:v>
                </c:pt>
                <c:pt idx="13">
                  <c:v>1701.1048</c:v>
                </c:pt>
                <c:pt idx="14">
                  <c:v>1866.0389</c:v>
                </c:pt>
                <c:pt idx="15">
                  <c:v>1705.2682</c:v>
                </c:pt>
                <c:pt idx="16">
                  <c:v>1906.8652</c:v>
                </c:pt>
                <c:pt idx="17">
                  <c:v>1895.3305</c:v>
                </c:pt>
                <c:pt idx="18">
                  <c:v>1929.5828</c:v>
                </c:pt>
                <c:pt idx="19">
                  <c:v>1934.4778</c:v>
                </c:pt>
                <c:pt idx="20">
                  <c:v>1843.8944</c:v>
                </c:pt>
                <c:pt idx="21">
                  <c:v>1826.6124</c:v>
                </c:pt>
                <c:pt idx="22">
                  <c:v>1824.1571</c:v>
                </c:pt>
                <c:pt idx="23">
                  <c:v>1140.3511</c:v>
                </c:pt>
                <c:pt idx="24">
                  <c:v>937.6166</c:v>
                </c:pt>
                <c:pt idx="25">
                  <c:v>944.2507</c:v>
                </c:pt>
                <c:pt idx="26">
                  <c:v>1002.8345</c:v>
                </c:pt>
                <c:pt idx="27">
                  <c:v>1292.6916</c:v>
                </c:pt>
                <c:pt idx="28">
                  <c:v>1653.1084</c:v>
                </c:pt>
                <c:pt idx="29">
                  <c:v>1652.6853</c:v>
                </c:pt>
                <c:pt idx="30">
                  <c:v>1749.8027</c:v>
                </c:pt>
                <c:pt idx="31">
                  <c:v>1750.3465</c:v>
                </c:pt>
                <c:pt idx="32">
                  <c:v>1737.8125</c:v>
                </c:pt>
                <c:pt idx="33">
                  <c:v>1861.0775</c:v>
                </c:pt>
                <c:pt idx="34">
                  <c:v>1926.3421</c:v>
                </c:pt>
                <c:pt idx="35">
                  <c:v>1867.0333</c:v>
                </c:pt>
                <c:pt idx="36">
                  <c:v>1548.4198</c:v>
                </c:pt>
                <c:pt idx="37">
                  <c:v>1667.7793</c:v>
                </c:pt>
                <c:pt idx="38">
                  <c:v>1591.2788</c:v>
                </c:pt>
                <c:pt idx="39">
                  <c:v>1780.7925</c:v>
                </c:pt>
                <c:pt idx="40">
                  <c:v>1826.1972</c:v>
                </c:pt>
                <c:pt idx="41">
                  <c:v>1848.3977</c:v>
                </c:pt>
                <c:pt idx="42">
                  <c:v>1801.1491</c:v>
                </c:pt>
                <c:pt idx="43">
                  <c:v>1784.654</c:v>
                </c:pt>
                <c:pt idx="44">
                  <c:v>1713.3458</c:v>
                </c:pt>
                <c:pt idx="45">
                  <c:v>1687.064</c:v>
                </c:pt>
                <c:pt idx="46">
                  <c:v>1686.2394</c:v>
                </c:pt>
                <c:pt idx="47">
                  <c:v>1737.4936</c:v>
                </c:pt>
                <c:pt idx="48">
                  <c:v>1617.5617</c:v>
                </c:pt>
                <c:pt idx="49">
                  <c:v>1542.6026</c:v>
                </c:pt>
                <c:pt idx="50">
                  <c:v>1401.2843</c:v>
                </c:pt>
                <c:pt idx="51">
                  <c:v>1487.5736</c:v>
                </c:pt>
              </c:numCache>
            </c:numRef>
          </c:xVal>
          <c:yVal>
            <c:numRef>
              <c:f>Sheet1!$B$49:$B$100</c:f>
              <c:numCache>
                <c:formatCode>General</c:formatCode>
                <c:ptCount val="52"/>
                <c:pt idx="0">
                  <c:v>0.8452054794520548</c:v>
                </c:pt>
                <c:pt idx="1">
                  <c:v>0.8252252252252252</c:v>
                </c:pt>
                <c:pt idx="2">
                  <c:v>0.7897350993377483</c:v>
                </c:pt>
                <c:pt idx="3">
                  <c:v>0.7821782178217822</c:v>
                </c:pt>
                <c:pt idx="4">
                  <c:v>0.7591522157996147</c:v>
                </c:pt>
                <c:pt idx="5">
                  <c:v>0.7326923076923076</c:v>
                </c:pt>
                <c:pt idx="6">
                  <c:v>0.7402298850574712</c:v>
                </c:pt>
                <c:pt idx="7">
                  <c:v>0.7208480565371025</c:v>
                </c:pt>
                <c:pt idx="8">
                  <c:v>0.696875</c:v>
                </c:pt>
                <c:pt idx="9">
                  <c:v>0.6946564885496184</c:v>
                </c:pt>
                <c:pt idx="10">
                  <c:v>0.6985645933014354</c:v>
                </c:pt>
                <c:pt idx="11">
                  <c:v>0.6583850931677019</c:v>
                </c:pt>
                <c:pt idx="12">
                  <c:v>0.6926229508196722</c:v>
                </c:pt>
                <c:pt idx="13">
                  <c:v>0.7263374485596708</c:v>
                </c:pt>
                <c:pt idx="14">
                  <c:v>0.7422222222222222</c:v>
                </c:pt>
                <c:pt idx="15">
                  <c:v>0.7122641509433962</c:v>
                </c:pt>
                <c:pt idx="16">
                  <c:v>0.7295081967213115</c:v>
                </c:pt>
                <c:pt idx="17">
                  <c:v>0.7071005917159763</c:v>
                </c:pt>
                <c:pt idx="18">
                  <c:v>0.6832579185520362</c:v>
                </c:pt>
                <c:pt idx="19">
                  <c:v>0.6521739130434783</c:v>
                </c:pt>
                <c:pt idx="20">
                  <c:v>0.6571428571428571</c:v>
                </c:pt>
                <c:pt idx="21">
                  <c:v>0.6683937823834197</c:v>
                </c:pt>
                <c:pt idx="22">
                  <c:v>0.6481481481481481</c:v>
                </c:pt>
                <c:pt idx="23">
                  <c:v>0.8213166144200627</c:v>
                </c:pt>
                <c:pt idx="24">
                  <c:v>0.8654292343387471</c:v>
                </c:pt>
                <c:pt idx="25">
                  <c:v>0.8665158371040724</c:v>
                </c:pt>
                <c:pt idx="26">
                  <c:v>0.8554913294797688</c:v>
                </c:pt>
                <c:pt idx="27">
                  <c:v>0.7591973244147158</c:v>
                </c:pt>
                <c:pt idx="28">
                  <c:v>0.7198581560283688</c:v>
                </c:pt>
                <c:pt idx="29">
                  <c:v>0.7447916666666666</c:v>
                </c:pt>
                <c:pt idx="30">
                  <c:v>0.7461928934010152</c:v>
                </c:pt>
                <c:pt idx="31">
                  <c:v>0.7163120567375887</c:v>
                </c:pt>
                <c:pt idx="32">
                  <c:v>0.691358024691358</c:v>
                </c:pt>
                <c:pt idx="33">
                  <c:v>0.7206703910614525</c:v>
                </c:pt>
                <c:pt idx="34">
                  <c:v>0.7621776504297995</c:v>
                </c:pt>
                <c:pt idx="35">
                  <c:v>0.7570977917981072</c:v>
                </c:pt>
                <c:pt idx="36">
                  <c:v>0.7401129943502824</c:v>
                </c:pt>
                <c:pt idx="37">
                  <c:v>0.7286432160804021</c:v>
                </c:pt>
                <c:pt idx="38">
                  <c:v>0.697986577181208</c:v>
                </c:pt>
                <c:pt idx="39">
                  <c:v>0.7035398230088495</c:v>
                </c:pt>
                <c:pt idx="40">
                  <c:v>0.6543778801843319</c:v>
                </c:pt>
                <c:pt idx="41">
                  <c:v>0.6692015209125475</c:v>
                </c:pt>
                <c:pt idx="42">
                  <c:v>0.6822033898305084</c:v>
                </c:pt>
                <c:pt idx="43">
                  <c:v>0.6991150442477876</c:v>
                </c:pt>
                <c:pt idx="44">
                  <c:v>0.7622739018087855</c:v>
                </c:pt>
                <c:pt idx="45">
                  <c:v>0.7422303473491774</c:v>
                </c:pt>
                <c:pt idx="46">
                  <c:v>0.7357512953367875</c:v>
                </c:pt>
                <c:pt idx="47">
                  <c:v>0.7440758293838863</c:v>
                </c:pt>
                <c:pt idx="48">
                  <c:v>0.6964912280701754</c:v>
                </c:pt>
                <c:pt idx="49">
                  <c:v>0.6761194029850747</c:v>
                </c:pt>
                <c:pt idx="50">
                  <c:v>0.7628705148205929</c:v>
                </c:pt>
                <c:pt idx="51">
                  <c:v>0.7392550143266475</c:v>
                </c:pt>
              </c:numCache>
            </c:numRef>
          </c:yVal>
          <c:smooth val="0"/>
          <c:extLst>
            <c:ext xmlns:c16="http://schemas.microsoft.com/office/drawing/2014/chart" uri="{C3380CC4-5D6E-409C-BE32-E72D297353CC}">
              <c16:uniqueId val="{00000002-F32D-48B7-BC20-E66FC6253BAD}"/>
            </c:ext>
          </c:extLst>
        </c:ser>
        <c:ser>
          <c:idx val="2"/>
          <c:order val="2"/>
          <c:tx>
            <c:strRef>
              <c:f>Sheet1!$B$102</c:f>
              <c:strCache>
                <c:ptCount val="1"/>
                <c:pt idx="0">
                  <c:v>Custom Linep3yQ</c:v>
                </c:pt>
              </c:strCache>
            </c:strRef>
          </c:tx>
          <c:spPr>
            <a:ln w="19050" cap="rnd">
              <a:solidFill>
                <a:srgbClr val="C00000"/>
              </a:solidFill>
              <a:prstDash val="sysDot"/>
              <a:round/>
            </a:ln>
            <a:effectLst/>
          </c:spPr>
          <c:marker>
            <c:symbol val="none"/>
          </c:marker>
          <c:xVal>
            <c:numRef>
              <c:f>Sheet1!$A$103:$A$104</c:f>
              <c:numCache>
                <c:formatCode>General</c:formatCode>
                <c:ptCount val="2"/>
                <c:pt idx="0">
                  <c:v>0</c:v>
                </c:pt>
                <c:pt idx="1">
                  <c:v>1372.8262779208085</c:v>
                </c:pt>
              </c:numCache>
            </c:numRef>
          </c:xVal>
          <c:yVal>
            <c:numRef>
              <c:f>Sheet1!$B$103:$B$104</c:f>
              <c:numCache>
                <c:formatCode>General</c:formatCode>
                <c:ptCount val="2"/>
                <c:pt idx="0">
                  <c:v>0.7809450004114097</c:v>
                </c:pt>
                <c:pt idx="1">
                  <c:v>0.7809450004114097</c:v>
                </c:pt>
              </c:numCache>
            </c:numRef>
          </c:yVal>
          <c:smooth val="0"/>
          <c:extLst>
            <c:ext xmlns:c16="http://schemas.microsoft.com/office/drawing/2014/chart" uri="{C3380CC4-5D6E-409C-BE32-E72D297353CC}">
              <c16:uniqueId val="{00000003-F32D-48B7-BC20-E66FC6253BAD}"/>
            </c:ext>
          </c:extLst>
        </c:ser>
        <c:ser>
          <c:idx val="3"/>
          <c:order val="3"/>
          <c:tx>
            <c:strRef>
              <c:f>Sheet1!$B$10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7:$A$108</c:f>
              <c:numCache>
                <c:formatCode>General</c:formatCode>
                <c:ptCount val="2"/>
                <c:pt idx="0">
                  <c:v>1372.8262779208085</c:v>
                </c:pt>
                <c:pt idx="1">
                  <c:v>1372.8262779208085</c:v>
                </c:pt>
              </c:numCache>
            </c:numRef>
          </c:xVal>
          <c:yVal>
            <c:numRef>
              <c:f>Sheet1!$B$107:$B$108</c:f>
              <c:numCache>
                <c:formatCode>General</c:formatCode>
                <c:ptCount val="2"/>
                <c:pt idx="0">
                  <c:v>0.780945000411409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1:$A$112</c:f>
              <c:numCache>
                <c:formatCode>General</c:formatCode>
                <c:ptCount val="2"/>
                <c:pt idx="0">
                  <c:v>0</c:v>
                </c:pt>
                <c:pt idx="1">
                  <c:v>1466.4488486763682</c:v>
                </c:pt>
              </c:numCache>
            </c:numRef>
          </c:xVal>
          <c:yVal>
            <c:numRef>
              <c:f>Sheet1!$B$111:$B$112</c:f>
              <c:numCache>
                <c:formatCode>General</c:formatCode>
                <c:ptCount val="2"/>
                <c:pt idx="0">
                  <c:v>0.765793498547034</c:v>
                </c:pt>
                <c:pt idx="1">
                  <c:v>0.765793498547034</c:v>
                </c:pt>
              </c:numCache>
            </c:numRef>
          </c:yVal>
          <c:smooth val="0"/>
          <c:extLst>
            <c:ext xmlns:c16="http://schemas.microsoft.com/office/drawing/2014/chart" uri="{C3380CC4-5D6E-409C-BE32-E72D297353CC}">
              <c16:uniqueId val="{0000000A-F32D-48B7-BC20-E66FC6253BAD}"/>
            </c:ext>
          </c:extLst>
        </c:ser>
        <c:ser>
          <c:idx val="5"/>
          <c:order val="5"/>
          <c:tx>
            <c:strRef>
              <c:f>Sheet1!$B$11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1466.4488486763682</c:v>
                </c:pt>
                <c:pt idx="1">
                  <c:v>1466.4488486763682</c:v>
                </c:pt>
              </c:numCache>
            </c:numRef>
          </c:xVal>
          <c:yVal>
            <c:numRef>
              <c:f>Sheet1!$B$115:$B$116</c:f>
              <c:numCache>
                <c:formatCode>General</c:formatCode>
                <c:ptCount val="2"/>
                <c:pt idx="0">
                  <c:v>0.7657934985470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9:$A$120</c:f>
              <c:numCache>
                <c:formatCode>General</c:formatCode>
                <c:ptCount val="2"/>
                <c:pt idx="0">
                  <c:v>0</c:v>
                </c:pt>
                <c:pt idx="1">
                  <c:v>1793.3754008087192</c:v>
                </c:pt>
              </c:numCache>
            </c:numRef>
          </c:xVal>
          <c:yVal>
            <c:numRef>
              <c:f>Sheet1!$B$119:$B$120</c:f>
              <c:numCache>
                <c:formatCode>General</c:formatCode>
                <c:ptCount val="2"/>
                <c:pt idx="0">
                  <c:v>0.7128850147896272</c:v>
                </c:pt>
                <c:pt idx="1">
                  <c:v>0.7128850147896272</c:v>
                </c:pt>
              </c:numCache>
            </c:numRef>
          </c:yVal>
          <c:smooth val="0"/>
          <c:extLst>
            <c:ext xmlns:c16="http://schemas.microsoft.com/office/drawing/2014/chart" uri="{C3380CC4-5D6E-409C-BE32-E72D297353CC}">
              <c16:uniqueId val="{00000011-F32D-48B7-BC20-E66FC6253BAD}"/>
            </c:ext>
          </c:extLst>
        </c:ser>
        <c:ser>
          <c:idx val="7"/>
          <c:order val="7"/>
          <c:tx>
            <c:strRef>
              <c:f>Sheet1!$B$12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1793.3754008087192</c:v>
                </c:pt>
                <c:pt idx="1">
                  <c:v>1793.3754008087192</c:v>
                </c:pt>
              </c:numCache>
            </c:numRef>
          </c:xVal>
          <c:yVal>
            <c:numRef>
              <c:f>Sheet1!$B$123:$B$124</c:f>
              <c:numCache>
                <c:formatCode>General</c:formatCode>
                <c:ptCount val="2"/>
                <c:pt idx="0">
                  <c:v>0.712885014789627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7:$A$181</c:f>
              <c:numCache>
                <c:formatCode>General</c:formatCode>
                <c:ptCount val="55"/>
                <c:pt idx="0">
                  <c:v>1547.6823</c:v>
                </c:pt>
                <c:pt idx="1">
                  <c:v>1615.6048</c:v>
                </c:pt>
                <c:pt idx="2">
                  <c:v>1718.8344</c:v>
                </c:pt>
                <c:pt idx="3">
                  <c:v>1772.6519</c:v>
                </c:pt>
                <c:pt idx="4">
                  <c:v>1773.3883</c:v>
                </c:pt>
                <c:pt idx="5">
                  <c:v>1823.4961</c:v>
                </c:pt>
                <c:pt idx="6">
                  <c:v>1805.7919</c:v>
                </c:pt>
                <c:pt idx="7">
                  <c:v>1815.1618</c:v>
                </c:pt>
                <c:pt idx="8">
                  <c:v>1850.3722</c:v>
                </c:pt>
                <c:pt idx="9">
                  <c:v>1648.0879</c:v>
                </c:pt>
                <c:pt idx="10">
                  <c:v>1656.3527</c:v>
                </c:pt>
                <c:pt idx="11">
                  <c:v>1845.717</c:v>
                </c:pt>
                <c:pt idx="12">
                  <c:v>1819.1479</c:v>
                </c:pt>
                <c:pt idx="13">
                  <c:v>1701.1048</c:v>
                </c:pt>
                <c:pt idx="14">
                  <c:v>1866.0389</c:v>
                </c:pt>
                <c:pt idx="15">
                  <c:v>1705.2682</c:v>
                </c:pt>
                <c:pt idx="16">
                  <c:v>1906.8652</c:v>
                </c:pt>
                <c:pt idx="17">
                  <c:v>1895.3305</c:v>
                </c:pt>
                <c:pt idx="18">
                  <c:v>1929.5828</c:v>
                </c:pt>
                <c:pt idx="19">
                  <c:v>1934.4778</c:v>
                </c:pt>
                <c:pt idx="20">
                  <c:v>1843.8944</c:v>
                </c:pt>
                <c:pt idx="21">
                  <c:v>1826.6124</c:v>
                </c:pt>
                <c:pt idx="22">
                  <c:v>1824.1571</c:v>
                </c:pt>
                <c:pt idx="23">
                  <c:v>1140.3511</c:v>
                </c:pt>
                <c:pt idx="24">
                  <c:v>937.6166</c:v>
                </c:pt>
                <c:pt idx="25">
                  <c:v>944.2507</c:v>
                </c:pt>
                <c:pt idx="26">
                  <c:v>1002.8345</c:v>
                </c:pt>
                <c:pt idx="27">
                  <c:v>1292.6916</c:v>
                </c:pt>
                <c:pt idx="28">
                  <c:v>1653.1084</c:v>
                </c:pt>
                <c:pt idx="29">
                  <c:v>1652.6853</c:v>
                </c:pt>
                <c:pt idx="30">
                  <c:v>1749.8027</c:v>
                </c:pt>
                <c:pt idx="31">
                  <c:v>1750.3465</c:v>
                </c:pt>
                <c:pt idx="32">
                  <c:v>1737.8125</c:v>
                </c:pt>
                <c:pt idx="33">
                  <c:v>1861.0775</c:v>
                </c:pt>
                <c:pt idx="34">
                  <c:v>1926.3421</c:v>
                </c:pt>
                <c:pt idx="35">
                  <c:v>1867.0333</c:v>
                </c:pt>
                <c:pt idx="36">
                  <c:v>1548.4198</c:v>
                </c:pt>
                <c:pt idx="37">
                  <c:v>1667.7793</c:v>
                </c:pt>
                <c:pt idx="38">
                  <c:v>1591.2788</c:v>
                </c:pt>
                <c:pt idx="39">
                  <c:v>1780.7925</c:v>
                </c:pt>
                <c:pt idx="40">
                  <c:v>1826.1972</c:v>
                </c:pt>
                <c:pt idx="41">
                  <c:v>1848.3977</c:v>
                </c:pt>
                <c:pt idx="42">
                  <c:v>1801.1491</c:v>
                </c:pt>
                <c:pt idx="43">
                  <c:v>1784.654</c:v>
                </c:pt>
                <c:pt idx="44">
                  <c:v>1713.3458</c:v>
                </c:pt>
                <c:pt idx="45">
                  <c:v>1687.064</c:v>
                </c:pt>
                <c:pt idx="46">
                  <c:v>1686.2394</c:v>
                </c:pt>
                <c:pt idx="47">
                  <c:v>1737.4936</c:v>
                </c:pt>
                <c:pt idx="48">
                  <c:v>1617.5617</c:v>
                </c:pt>
                <c:pt idx="49">
                  <c:v>1542.6026</c:v>
                </c:pt>
                <c:pt idx="50">
                  <c:v>1401.2843</c:v>
                </c:pt>
                <c:pt idx="51">
                  <c:v>1487.5736</c:v>
                </c:pt>
                <c:pt idx="52">
                  <c:v>1466.4488486763682</c:v>
                </c:pt>
                <c:pt idx="53">
                  <c:v>1372.8262779208085</c:v>
                </c:pt>
                <c:pt idx="54">
                  <c:v>1793.3754008087192</c:v>
                </c:pt>
              </c:numCache>
            </c:numRef>
          </c:xVal>
          <c:yVal>
            <c:numRef>
              <c:f>Sheet1!$B$127:$B$181</c:f>
              <c:numCache>
                <c:formatCode>General</c:formatCode>
                <c:ptCount val="55"/>
                <c:pt idx="0">
                  <c:v>0.7526470021493523</c:v>
                </c:pt>
                <c:pt idx="1">
                  <c:v>0.7416546967995022</c:v>
                </c:pt>
                <c:pt idx="2">
                  <c:v>0.7249484318012633</c:v>
                </c:pt>
                <c:pt idx="3">
                  <c:v>0.7162388231566235</c:v>
                </c:pt>
                <c:pt idx="4">
                  <c:v>0.7161196471301281</c:v>
                </c:pt>
                <c:pt idx="5">
                  <c:v>0.7080104014750179</c:v>
                </c:pt>
                <c:pt idx="6">
                  <c:v>0.7108755782923439</c:v>
                </c:pt>
                <c:pt idx="7">
                  <c:v>0.7093591912056265</c:v>
                </c:pt>
                <c:pt idx="8">
                  <c:v>0.7036608810979249</c:v>
                </c:pt>
                <c:pt idx="9">
                  <c:v>0.7363977620001395</c:v>
                </c:pt>
                <c:pt idx="10">
                  <c:v>0.7350602198711625</c:v>
                </c:pt>
                <c:pt idx="11">
                  <c:v>0.7044142600204413</c:v>
                </c:pt>
                <c:pt idx="12">
                  <c:v>0.7087140967471623</c:v>
                </c:pt>
                <c:pt idx="13">
                  <c:v>0.7278177192528545</c:v>
                </c:pt>
                <c:pt idx="14">
                  <c:v>0.7011254451197955</c:v>
                </c:pt>
                <c:pt idx="15">
                  <c:v>0.7271439312725304</c:v>
                </c:pt>
                <c:pt idx="16">
                  <c:v>0.6945182802494715</c:v>
                </c:pt>
                <c:pt idx="17">
                  <c:v>0.6963850098975103</c:v>
                </c:pt>
                <c:pt idx="18">
                  <c:v>0.6908417548563286</c:v>
                </c:pt>
                <c:pt idx="19">
                  <c:v>0.6900495676622836</c:v>
                </c:pt>
                <c:pt idx="20">
                  <c:v>0.7047092223043773</c:v>
                </c:pt>
                <c:pt idx="21">
                  <c:v>0.7075060719647418</c:v>
                </c:pt>
                <c:pt idx="22">
                  <c:v>0.7079034278825229</c:v>
                </c:pt>
                <c:pt idx="23">
                  <c:v>0.8185678520727331</c:v>
                </c:pt>
                <c:pt idx="24">
                  <c:v>0.8513775915397606</c:v>
                </c:pt>
                <c:pt idx="25">
                  <c:v>0.850303955367337</c:v>
                </c:pt>
                <c:pt idx="26">
                  <c:v>0.8408229878211698</c:v>
                </c:pt>
                <c:pt idx="27">
                  <c:v>0.7939136757224983</c:v>
                </c:pt>
                <c:pt idx="28">
                  <c:v>0.73558526438876</c:v>
                </c:pt>
                <c:pt idx="29">
                  <c:v>0.7356537371981167</c:v>
                </c:pt>
                <c:pt idx="30">
                  <c:v>0.7199366461666686</c:v>
                </c:pt>
                <c:pt idx="31">
                  <c:v>0.719848639752752</c:v>
                </c:pt>
                <c:pt idx="32">
                  <c:v>0.7218770921102922</c:v>
                </c:pt>
                <c:pt idx="33">
                  <c:v>0.7019283782238883</c:v>
                </c:pt>
                <c:pt idx="34">
                  <c:v>0.6913662167643451</c:v>
                </c:pt>
                <c:pt idx="35">
                  <c:v>0.7009645154066682</c:v>
                </c:pt>
                <c:pt idx="36">
                  <c:v>0.7525276481032628</c:v>
                </c:pt>
                <c:pt idx="37">
                  <c:v>0.7332109846941506</c:v>
                </c:pt>
                <c:pt idx="38">
                  <c:v>0.7455915192065169</c:v>
                </c:pt>
                <c:pt idx="39">
                  <c:v>0.7149213810581878</c:v>
                </c:pt>
                <c:pt idx="40">
                  <c:v>0.7075732662697403</c:v>
                </c:pt>
                <c:pt idx="41">
                  <c:v>0.7039804262694553</c:v>
                </c:pt>
                <c:pt idx="42">
                  <c:v>0.711626950448526</c:v>
                </c:pt>
                <c:pt idx="43">
                  <c:v>0.714296451364663</c:v>
                </c:pt>
                <c:pt idx="44">
                  <c:v>0.7258366848417608</c:v>
                </c:pt>
                <c:pt idx="45">
                  <c:v>0.7300900260872051</c:v>
                </c:pt>
                <c:pt idx="46">
                  <c:v>0.7302234760484327</c:v>
                </c:pt>
                <c:pt idx="47">
                  <c:v>0.7219287016090012</c:v>
                </c:pt>
                <c:pt idx="48">
                  <c:v>0.7413379999414784</c:v>
                </c:pt>
                <c:pt idx="49">
                  <c:v>0.7534690804516179</c:v>
                </c:pt>
                <c:pt idx="50">
                  <c:v>0.7763394681010964</c:v>
                </c:pt>
                <c:pt idx="51">
                  <c:v>0.762374753403834</c:v>
                </c:pt>
                <c:pt idx="52">
                  <c:v>0.765793498547034</c:v>
                </c:pt>
                <c:pt idx="53">
                  <c:v>0.7809450004114097</c:v>
                </c:pt>
                <c:pt idx="54">
                  <c:v>0.712885014789627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321.0"/>
          <c:min val="75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39819004524887"/>
          <c:min val="0.518518518518518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3</c:f>
              <c:numCache>
                <c:formatCode>General</c:formatCode>
                <c:ptCount val="52"/>
                <c:pt idx="0">
                  <c:v>0.3721571096513391</c:v>
                </c:pt>
                <c:pt idx="1">
                  <c:v>0.5198694294635254</c:v>
                </c:pt>
                <c:pt idx="2">
                  <c:v>0.6779176610094123</c:v>
                </c:pt>
                <c:pt idx="3">
                  <c:v>0.7063534375299646</c:v>
                </c:pt>
                <c:pt idx="4">
                  <c:v>0.6378990469962006</c:v>
                </c:pt>
                <c:pt idx="5">
                  <c:v>0.6022349627174813</c:v>
                </c:pt>
                <c:pt idx="6">
                  <c:v>0.6075827430292831</c:v>
                </c:pt>
                <c:pt idx="7">
                  <c:v>0.6064841947176689</c:v>
                </c:pt>
                <c:pt idx="8">
                  <c:v>0.5996286433969054</c:v>
                </c:pt>
                <c:pt idx="9">
                  <c:v>0.5222624538366845</c:v>
                </c:pt>
                <c:pt idx="10">
                  <c:v>0.4822702982155469</c:v>
                </c:pt>
                <c:pt idx="11">
                  <c:v>0.4678369396839093</c:v>
                </c:pt>
                <c:pt idx="12">
                  <c:v>0.48800768287101065</c:v>
                </c:pt>
                <c:pt idx="13">
                  <c:v>0.6431721043257854</c:v>
                </c:pt>
                <c:pt idx="14">
                  <c:v>0.5002405552375501</c:v>
                </c:pt>
                <c:pt idx="15">
                  <c:v>0.6715013892104653</c:v>
                </c:pt>
                <c:pt idx="16">
                  <c:v>0.45481726417493007</c:v>
                </c:pt>
                <c:pt idx="17">
                  <c:v>0.5554464230411892</c:v>
                </c:pt>
                <c:pt idx="18">
                  <c:v>0.5455364446614981</c:v>
                </c:pt>
                <c:pt idx="19">
                  <c:v>0.6709215097105167</c:v>
                </c:pt>
                <c:pt idx="20">
                  <c:v>0.6428220819341841</c:v>
                </c:pt>
                <c:pt idx="21">
                  <c:v>0.5740582788800443</c:v>
                </c:pt>
                <c:pt idx="22">
                  <c:v>0.33949208161737177</c:v>
                </c:pt>
                <c:pt idx="23">
                  <c:v>0.6961330632348268</c:v>
                </c:pt>
                <c:pt idx="24">
                  <c:v>0.3728854177383149</c:v>
                </c:pt>
                <c:pt idx="25">
                  <c:v>0.5424951832360712</c:v>
                </c:pt>
                <c:pt idx="26">
                  <c:v>0.7037812278946989</c:v>
                </c:pt>
                <c:pt idx="27">
                  <c:v>0.617075152957172</c:v>
                </c:pt>
                <c:pt idx="28">
                  <c:v>0.6302119527449618</c:v>
                </c:pt>
                <c:pt idx="29">
                  <c:v>0.4969417718084385</c:v>
                </c:pt>
                <c:pt idx="30">
                  <c:v>0.8485328880700138</c:v>
                </c:pt>
                <c:pt idx="31">
                  <c:v>0.8013589064143007</c:v>
                </c:pt>
                <c:pt idx="32">
                  <c:v>0.27815105896693587</c:v>
                </c:pt>
                <c:pt idx="33">
                  <c:v>0.44179478192355154</c:v>
                </c:pt>
                <c:pt idx="34">
                  <c:v>0.696467564414403</c:v>
                </c:pt>
                <c:pt idx="35">
                  <c:v>0.32366645399597044</c:v>
                </c:pt>
                <c:pt idx="36">
                  <c:v>0.41461876208726756</c:v>
                </c:pt>
                <c:pt idx="37">
                  <c:v>0.3541898778354061</c:v>
                </c:pt>
                <c:pt idx="38">
                  <c:v>0.45248993390308817</c:v>
                </c:pt>
                <c:pt idx="39">
                  <c:v>0.3451867000149199</c:v>
                </c:pt>
                <c:pt idx="40">
                  <c:v>0.3551611777066041</c:v>
                </c:pt>
                <c:pt idx="41">
                  <c:v>0.2997477142633106</c:v>
                </c:pt>
                <c:pt idx="42">
                  <c:v>0.4123866622864652</c:v>
                </c:pt>
                <c:pt idx="43">
                  <c:v>0.33136227793549244</c:v>
                </c:pt>
                <c:pt idx="44">
                  <c:v>0.40066641419300775</c:v>
                </c:pt>
                <c:pt idx="45">
                  <c:v>0.3384231366152706</c:v>
                </c:pt>
                <c:pt idx="46">
                  <c:v>0.3526550368794255</c:v>
                </c:pt>
                <c:pt idx="47">
                  <c:v>0.2967481466812464</c:v>
                </c:pt>
                <c:pt idx="48">
                  <c:v>0.33697317709701824</c:v>
                </c:pt>
                <c:pt idx="49">
                  <c:v>0.29574915472477215</c:v>
                </c:pt>
                <c:pt idx="50">
                  <c:v>0.33201316999433245</c:v>
                </c:pt>
                <c:pt idx="51">
                  <c:v>0.279160865866339</c:v>
                </c:pt>
              </c:numCache>
            </c:numRef>
          </c:xVal>
          <c:yVal>
            <c:numRef>
              <c:f>Sheet1!$B$2:$B$53</c:f>
              <c:numCache>
                <c:formatCode>General</c:formatCode>
                <c:ptCount val="52"/>
                <c:pt idx="0">
                  <c:v>0.6458333333333334</c:v>
                </c:pt>
                <c:pt idx="1">
                  <c:v>0.7176470588235294</c:v>
                </c:pt>
                <c:pt idx="2">
                  <c:v>0.7446808510638298</c:v>
                </c:pt>
                <c:pt idx="3">
                  <c:v>0.8021390374331551</c:v>
                </c:pt>
                <c:pt idx="4">
                  <c:v>0.7435897435897436</c:v>
                </c:pt>
                <c:pt idx="5">
                  <c:v>0.7545126353790613</c:v>
                </c:pt>
                <c:pt idx="6">
                  <c:v>0.7619047619047619</c:v>
                </c:pt>
                <c:pt idx="7">
                  <c:v>0.7447795823665894</c:v>
                </c:pt>
                <c:pt idx="8">
                  <c:v>0.7042682926829268</c:v>
                </c:pt>
                <c:pt idx="9">
                  <c:v>0.770949720670391</c:v>
                </c:pt>
                <c:pt idx="10">
                  <c:v>0.800383877159309</c:v>
                </c:pt>
                <c:pt idx="11">
                  <c:v>0.7676767676767676</c:v>
                </c:pt>
                <c:pt idx="12">
                  <c:v>0.7794970986460348</c:v>
                </c:pt>
                <c:pt idx="13">
                  <c:v>0.7572383073496659</c:v>
                </c:pt>
                <c:pt idx="14">
                  <c:v>0.7761904761904762</c:v>
                </c:pt>
                <c:pt idx="15">
                  <c:v>0.7816091954022989</c:v>
                </c:pt>
                <c:pt idx="16">
                  <c:v>0.7431192660550459</c:v>
                </c:pt>
                <c:pt idx="17">
                  <c:v>0.7710843373493976</c:v>
                </c:pt>
                <c:pt idx="18">
                  <c:v>0.7649402390438247</c:v>
                </c:pt>
                <c:pt idx="19">
                  <c:v>0.7510373443983402</c:v>
                </c:pt>
                <c:pt idx="20">
                  <c:v>0.7755102040816326</c:v>
                </c:pt>
                <c:pt idx="21">
                  <c:v>0.7521367521367521</c:v>
                </c:pt>
                <c:pt idx="22">
                  <c:v>0.7772020725388601</c:v>
                </c:pt>
                <c:pt idx="23">
                  <c:v>0.7647058823529411</c:v>
                </c:pt>
                <c:pt idx="24">
                  <c:v>0.8020833333333334</c:v>
                </c:pt>
                <c:pt idx="25">
                  <c:v>0.7916666666666666</c:v>
                </c:pt>
                <c:pt idx="26">
                  <c:v>0.7935483870967742</c:v>
                </c:pt>
                <c:pt idx="27">
                  <c:v>0.7891566265060241</c:v>
                </c:pt>
                <c:pt idx="28">
                  <c:v>0.783068783068783</c:v>
                </c:pt>
                <c:pt idx="29">
                  <c:v>0.8352941176470589</c:v>
                </c:pt>
                <c:pt idx="30">
                  <c:v>0.782258064516129</c:v>
                </c:pt>
                <c:pt idx="31">
                  <c:v>0.7777777777777778</c:v>
                </c:pt>
                <c:pt idx="32">
                  <c:v>0.7265625</c:v>
                </c:pt>
                <c:pt idx="33">
                  <c:v>0.7297297297297297</c:v>
                </c:pt>
                <c:pt idx="34">
                  <c:v>0.7543103448275862</c:v>
                </c:pt>
                <c:pt idx="35">
                  <c:v>0.7391304347826086</c:v>
                </c:pt>
                <c:pt idx="36">
                  <c:v>0.7083333333333334</c:v>
                </c:pt>
                <c:pt idx="37">
                  <c:v>0.7461538461538462</c:v>
                </c:pt>
                <c:pt idx="38">
                  <c:v>0.7752808988764045</c:v>
                </c:pt>
                <c:pt idx="39">
                  <c:v>0.7545454545454545</c:v>
                </c:pt>
                <c:pt idx="40">
                  <c:v>0.780952380952381</c:v>
                </c:pt>
                <c:pt idx="41">
                  <c:v>0.7924528301886793</c:v>
                </c:pt>
                <c:pt idx="42">
                  <c:v>0.8060836501901141</c:v>
                </c:pt>
                <c:pt idx="43">
                  <c:v>0.8078817733990148</c:v>
                </c:pt>
                <c:pt idx="44">
                  <c:v>0.8264840182648402</c:v>
                </c:pt>
                <c:pt idx="45">
                  <c:v>0.7921348314606742</c:v>
                </c:pt>
                <c:pt idx="46">
                  <c:v>0.7839195979899497</c:v>
                </c:pt>
                <c:pt idx="47">
                  <c:v>0.8389319552110249</c:v>
                </c:pt>
                <c:pt idx="48">
                  <c:v>0.8107606679035251</c:v>
                </c:pt>
                <c:pt idx="49">
                  <c:v>0.7736220472440944</c:v>
                </c:pt>
                <c:pt idx="50">
                  <c:v>0.8036437246963563</c:v>
                </c:pt>
                <c:pt idx="51">
                  <c:v>0.8307692307692308</c:v>
                </c:pt>
              </c:numCache>
            </c:numRef>
          </c:yVal>
          <c:smooth val="0"/>
          <c:extLst>
            <c:ext xmlns:c16="http://schemas.microsoft.com/office/drawing/2014/chart" uri="{C3380CC4-5D6E-409C-BE32-E72D297353CC}">
              <c16:uniqueId val="{00000000-096C-4121-9522-6AB7243CCAAE}"/>
            </c:ext>
          </c:extLst>
        </c:ser>
        <c:ser>
          <c:idx val="1"/>
          <c:order val="1"/>
          <c:tx>
            <c:strRef>
              <c:f>Sheet1!$B$5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6:$A$107</c:f>
              <c:numCache>
                <c:formatCode>General</c:formatCode>
                <c:ptCount val="52"/>
                <c:pt idx="0">
                  <c:v>0.300444265417794</c:v>
                </c:pt>
                <c:pt idx="1">
                  <c:v>0.3688642257650576</c:v>
                </c:pt>
                <c:pt idx="2">
                  <c:v>0.3616657162996707</c:v>
                </c:pt>
                <c:pt idx="3">
                  <c:v>0.37627172127619074</c:v>
                </c:pt>
                <c:pt idx="4">
                  <c:v>0.416153425380176</c:v>
                </c:pt>
                <c:pt idx="5">
                  <c:v>0.35273446688331783</c:v>
                </c:pt>
                <c:pt idx="6">
                  <c:v>0.37661988415497477</c:v>
                </c:pt>
                <c:pt idx="7">
                  <c:v>0.4137875396083617</c:v>
                </c:pt>
                <c:pt idx="8">
                  <c:v>0.3884724974806853</c:v>
                </c:pt>
                <c:pt idx="9">
                  <c:v>0.3587913026660342</c:v>
                </c:pt>
                <c:pt idx="10">
                  <c:v>0.37066931510488144</c:v>
                </c:pt>
                <c:pt idx="11">
                  <c:v>0.39253274631261453</c:v>
                </c:pt>
                <c:pt idx="12">
                  <c:v>0.35867766317018224</c:v>
                </c:pt>
                <c:pt idx="13">
                  <c:v>0.3028223943035158</c:v>
                </c:pt>
                <c:pt idx="14">
                  <c:v>0.3132146465918056</c:v>
                </c:pt>
                <c:pt idx="15">
                  <c:v>0.3561917911227154</c:v>
                </c:pt>
                <c:pt idx="16">
                  <c:v>0.4779210553443384</c:v>
                </c:pt>
                <c:pt idx="17">
                  <c:v>0.3977988036844228</c:v>
                </c:pt>
                <c:pt idx="18">
                  <c:v>0.36360913930371697</c:v>
                </c:pt>
                <c:pt idx="19">
                  <c:v>0.46677391772055543</c:v>
                </c:pt>
                <c:pt idx="20">
                  <c:v>0.3326194473453103</c:v>
                </c:pt>
                <c:pt idx="21">
                  <c:v>0.33817805688828717</c:v>
                </c:pt>
                <c:pt idx="22">
                  <c:v>0.3689202889958391</c:v>
                </c:pt>
                <c:pt idx="23">
                  <c:v>0.1810310991871984</c:v>
                </c:pt>
                <c:pt idx="24">
                  <c:v>0.1556675189268163</c:v>
                </c:pt>
                <c:pt idx="25">
                  <c:v>0.2295523187331765</c:v>
                </c:pt>
                <c:pt idx="26">
                  <c:v>0.14913885165874904</c:v>
                </c:pt>
                <c:pt idx="27">
                  <c:v>0.23946968873313823</c:v>
                </c:pt>
                <c:pt idx="28">
                  <c:v>0.2570074119466469</c:v>
                </c:pt>
                <c:pt idx="29">
                  <c:v>0.23282176516165387</c:v>
                </c:pt>
                <c:pt idx="30">
                  <c:v>0.33413586541399326</c:v>
                </c:pt>
                <c:pt idx="31">
                  <c:v>0.15619726039621631</c:v>
                </c:pt>
                <c:pt idx="32">
                  <c:v>0.311827112865602</c:v>
                </c:pt>
                <c:pt idx="33">
                  <c:v>0.40865753575055586</c:v>
                </c:pt>
                <c:pt idx="34">
                  <c:v>0.37444170762213547</c:v>
                </c:pt>
                <c:pt idx="35">
                  <c:v>0.35859170201718543</c:v>
                </c:pt>
                <c:pt idx="36">
                  <c:v>0.300907493447174</c:v>
                </c:pt>
                <c:pt idx="37">
                  <c:v>0.3220065601879686</c:v>
                </c:pt>
                <c:pt idx="38">
                  <c:v>0.2825424005681818</c:v>
                </c:pt>
                <c:pt idx="39">
                  <c:v>0.23899405464891563</c:v>
                </c:pt>
                <c:pt idx="40">
                  <c:v>0.3857438715064958</c:v>
                </c:pt>
                <c:pt idx="41">
                  <c:v>0.3474141558551011</c:v>
                </c:pt>
                <c:pt idx="42">
                  <c:v>0.37229208350558085</c:v>
                </c:pt>
                <c:pt idx="43">
                  <c:v>0.3357596309216646</c:v>
                </c:pt>
                <c:pt idx="44">
                  <c:v>0.32647151103927435</c:v>
                </c:pt>
                <c:pt idx="45">
                  <c:v>0.34515285272229757</c:v>
                </c:pt>
                <c:pt idx="46">
                  <c:v>0.37860583488864874</c:v>
                </c:pt>
                <c:pt idx="47">
                  <c:v>0.3265505050979655</c:v>
                </c:pt>
                <c:pt idx="48">
                  <c:v>0.3204827079971819</c:v>
                </c:pt>
                <c:pt idx="49">
                  <c:v>0.3204304121391614</c:v>
                </c:pt>
                <c:pt idx="50">
                  <c:v>0.2912836955798716</c:v>
                </c:pt>
                <c:pt idx="51">
                  <c:v>0.3118079986585059</c:v>
                </c:pt>
              </c:numCache>
            </c:numRef>
          </c:xVal>
          <c:yVal>
            <c:numRef>
              <c:f>Sheet1!$B$56:$B$107</c:f>
              <c:numCache>
                <c:formatCode>General</c:formatCode>
                <c:ptCount val="52"/>
                <c:pt idx="0">
                  <c:v>0.8452054794520548</c:v>
                </c:pt>
                <c:pt idx="1">
                  <c:v>0.8252252252252252</c:v>
                </c:pt>
                <c:pt idx="2">
                  <c:v>0.7897350993377483</c:v>
                </c:pt>
                <c:pt idx="3">
                  <c:v>0.7821782178217822</c:v>
                </c:pt>
                <c:pt idx="4">
                  <c:v>0.7591522157996147</c:v>
                </c:pt>
                <c:pt idx="5">
                  <c:v>0.7326923076923076</c:v>
                </c:pt>
                <c:pt idx="6">
                  <c:v>0.7402298850574712</c:v>
                </c:pt>
                <c:pt idx="7">
                  <c:v>0.7208480565371025</c:v>
                </c:pt>
                <c:pt idx="8">
                  <c:v>0.696875</c:v>
                </c:pt>
                <c:pt idx="9">
                  <c:v>0.6946564885496184</c:v>
                </c:pt>
                <c:pt idx="10">
                  <c:v>0.6985645933014354</c:v>
                </c:pt>
                <c:pt idx="11">
                  <c:v>0.6583850931677019</c:v>
                </c:pt>
                <c:pt idx="12">
                  <c:v>0.6926229508196722</c:v>
                </c:pt>
                <c:pt idx="13">
                  <c:v>0.7263374485596708</c:v>
                </c:pt>
                <c:pt idx="14">
                  <c:v>0.7422222222222222</c:v>
                </c:pt>
                <c:pt idx="15">
                  <c:v>0.7122641509433962</c:v>
                </c:pt>
                <c:pt idx="16">
                  <c:v>0.7295081967213115</c:v>
                </c:pt>
                <c:pt idx="17">
                  <c:v>0.7071005917159763</c:v>
                </c:pt>
                <c:pt idx="18">
                  <c:v>0.6832579185520362</c:v>
                </c:pt>
                <c:pt idx="19">
                  <c:v>0.6521739130434783</c:v>
                </c:pt>
                <c:pt idx="20">
                  <c:v>0.6571428571428571</c:v>
                </c:pt>
                <c:pt idx="21">
                  <c:v>0.6683937823834197</c:v>
                </c:pt>
                <c:pt idx="22">
                  <c:v>0.6481481481481481</c:v>
                </c:pt>
                <c:pt idx="23">
                  <c:v>0.8213166144200627</c:v>
                </c:pt>
                <c:pt idx="24">
                  <c:v>0.8654292343387471</c:v>
                </c:pt>
                <c:pt idx="25">
                  <c:v>0.8665158371040724</c:v>
                </c:pt>
                <c:pt idx="26">
                  <c:v>0.8554913294797688</c:v>
                </c:pt>
                <c:pt idx="27">
                  <c:v>0.7591973244147158</c:v>
                </c:pt>
                <c:pt idx="28">
                  <c:v>0.7198581560283688</c:v>
                </c:pt>
                <c:pt idx="29">
                  <c:v>0.7447916666666666</c:v>
                </c:pt>
                <c:pt idx="30">
                  <c:v>0.7461928934010152</c:v>
                </c:pt>
                <c:pt idx="31">
                  <c:v>0.7163120567375887</c:v>
                </c:pt>
                <c:pt idx="32">
                  <c:v>0.691358024691358</c:v>
                </c:pt>
                <c:pt idx="33">
                  <c:v>0.7206703910614525</c:v>
                </c:pt>
                <c:pt idx="34">
                  <c:v>0.7621776504297995</c:v>
                </c:pt>
                <c:pt idx="35">
                  <c:v>0.7570977917981072</c:v>
                </c:pt>
                <c:pt idx="36">
                  <c:v>0.7401129943502824</c:v>
                </c:pt>
                <c:pt idx="37">
                  <c:v>0.7286432160804021</c:v>
                </c:pt>
                <c:pt idx="38">
                  <c:v>0.697986577181208</c:v>
                </c:pt>
                <c:pt idx="39">
                  <c:v>0.7035398230088495</c:v>
                </c:pt>
                <c:pt idx="40">
                  <c:v>0.6543778801843319</c:v>
                </c:pt>
                <c:pt idx="41">
                  <c:v>0.6692015209125475</c:v>
                </c:pt>
                <c:pt idx="42">
                  <c:v>0.6822033898305084</c:v>
                </c:pt>
                <c:pt idx="43">
                  <c:v>0.6991150442477876</c:v>
                </c:pt>
                <c:pt idx="44">
                  <c:v>0.7622739018087855</c:v>
                </c:pt>
                <c:pt idx="45">
                  <c:v>0.7422303473491774</c:v>
                </c:pt>
                <c:pt idx="46">
                  <c:v>0.7357512953367875</c:v>
                </c:pt>
                <c:pt idx="47">
                  <c:v>0.7440758293838863</c:v>
                </c:pt>
                <c:pt idx="48">
                  <c:v>0.6964912280701754</c:v>
                </c:pt>
                <c:pt idx="49">
                  <c:v>0.6761194029850747</c:v>
                </c:pt>
                <c:pt idx="50">
                  <c:v>0.7628705148205929</c:v>
                </c:pt>
                <c:pt idx="51">
                  <c:v>0.7392550143266475</c:v>
                </c:pt>
              </c:numCache>
            </c:numRef>
          </c:yVal>
          <c:smooth val="0"/>
          <c:extLst>
            <c:ext xmlns:c16="http://schemas.microsoft.com/office/drawing/2014/chart" uri="{C3380CC4-5D6E-409C-BE32-E72D297353CC}">
              <c16:uniqueId val="{00000002-096C-4121-9522-6AB7243CCAAE}"/>
            </c:ext>
          </c:extLst>
        </c:ser>
        <c:ser>
          <c:idx val="2"/>
          <c:order val="2"/>
          <c:tx>
            <c:strRef>
              <c:f>Sheet1!$B$10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0:$A$111</c:f>
              <c:numCache>
                <c:formatCode>General</c:formatCode>
                <c:ptCount val="2"/>
                <c:pt idx="0">
                  <c:v>0</c:v>
                </c:pt>
                <c:pt idx="1">
                  <c:v>0.1963321780264653</c:v>
                </c:pt>
              </c:numCache>
            </c:numRef>
          </c:xVal>
          <c:yVal>
            <c:numRef>
              <c:f>Sheet1!$B$110:$B$111</c:f>
              <c:numCache>
                <c:formatCode>General</c:formatCode>
                <c:ptCount val="2"/>
                <c:pt idx="0">
                  <c:v>0.7809450004114097</c:v>
                </c:pt>
                <c:pt idx="1">
                  <c:v>0.7809450004114097</c:v>
                </c:pt>
              </c:numCache>
            </c:numRef>
          </c:yVal>
          <c:smooth val="0"/>
          <c:extLst>
            <c:ext xmlns:c16="http://schemas.microsoft.com/office/drawing/2014/chart" uri="{C3380CC4-5D6E-409C-BE32-E72D297353CC}">
              <c16:uniqueId val="{00000005-096C-4121-9522-6AB7243CCAAE}"/>
            </c:ext>
          </c:extLst>
        </c:ser>
        <c:ser>
          <c:idx val="3"/>
          <c:order val="3"/>
          <c:tx>
            <c:strRef>
              <c:f>Sheet1!$B$1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1963321780264653</c:v>
                </c:pt>
                <c:pt idx="1">
                  <c:v>0.1963321780264653</c:v>
                </c:pt>
              </c:numCache>
            </c:numRef>
          </c:xVal>
          <c:yVal>
            <c:numRef>
              <c:f>Sheet1!$B$114:$B$115</c:f>
              <c:numCache>
                <c:formatCode>General</c:formatCode>
                <c:ptCount val="2"/>
                <c:pt idx="0">
                  <c:v>0.780945000411409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8:$A$119</c:f>
              <c:numCache>
                <c:formatCode>General</c:formatCode>
                <c:ptCount val="2"/>
                <c:pt idx="0">
                  <c:v>0</c:v>
                </c:pt>
                <c:pt idx="1">
                  <c:v>0.23699760745669396</c:v>
                </c:pt>
              </c:numCache>
            </c:numRef>
          </c:xVal>
          <c:yVal>
            <c:numRef>
              <c:f>Sheet1!$B$118:$B$119</c:f>
              <c:numCache>
                <c:formatCode>General</c:formatCode>
                <c:ptCount val="2"/>
                <c:pt idx="0">
                  <c:v>0.765793498547034</c:v>
                </c:pt>
                <c:pt idx="1">
                  <c:v>0.765793498547034</c:v>
                </c:pt>
              </c:numCache>
            </c:numRef>
          </c:yVal>
          <c:smooth val="0"/>
          <c:extLst>
            <c:ext xmlns:c16="http://schemas.microsoft.com/office/drawing/2014/chart" uri="{C3380CC4-5D6E-409C-BE32-E72D297353CC}">
              <c16:uniqueId val="{0000000D-096C-4121-9522-6AB7243CCAAE}"/>
            </c:ext>
          </c:extLst>
        </c:ser>
        <c:ser>
          <c:idx val="5"/>
          <c:order val="5"/>
          <c:tx>
            <c:strRef>
              <c:f>Sheet1!$B$1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23699760745669396</c:v>
                </c:pt>
                <c:pt idx="1">
                  <c:v>0.23699760745669396</c:v>
                </c:pt>
              </c:numCache>
            </c:numRef>
          </c:xVal>
          <c:yVal>
            <c:numRef>
              <c:f>Sheet1!$B$122:$B$123</c:f>
              <c:numCache>
                <c:formatCode>General</c:formatCode>
                <c:ptCount val="2"/>
                <c:pt idx="0">
                  <c:v>0.7657934985470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6:$A$127</c:f>
              <c:numCache>
                <c:formatCode>General</c:formatCode>
                <c:ptCount val="2"/>
                <c:pt idx="0">
                  <c:v>0</c:v>
                </c:pt>
                <c:pt idx="1">
                  <c:v>0.37899978201048956</c:v>
                </c:pt>
              </c:numCache>
            </c:numRef>
          </c:xVal>
          <c:yVal>
            <c:numRef>
              <c:f>Sheet1!$B$126:$B$127</c:f>
              <c:numCache>
                <c:formatCode>General</c:formatCode>
                <c:ptCount val="2"/>
                <c:pt idx="0">
                  <c:v>0.7128850147896272</c:v>
                </c:pt>
                <c:pt idx="1">
                  <c:v>0.7128850147896272</c:v>
                </c:pt>
              </c:numCache>
            </c:numRef>
          </c:yVal>
          <c:smooth val="0"/>
          <c:extLst>
            <c:ext xmlns:c16="http://schemas.microsoft.com/office/drawing/2014/chart" uri="{C3380CC4-5D6E-409C-BE32-E72D297353CC}">
              <c16:uniqueId val="{00000015-096C-4121-9522-6AB7243CCAAE}"/>
            </c:ext>
          </c:extLst>
        </c:ser>
        <c:ser>
          <c:idx val="7"/>
          <c:order val="7"/>
          <c:tx>
            <c:strRef>
              <c:f>Sheet1!$B$1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0:$A$131</c:f>
              <c:numCache>
                <c:formatCode>General</c:formatCode>
                <c:ptCount val="2"/>
                <c:pt idx="0">
                  <c:v>0.37899978201048956</c:v>
                </c:pt>
                <c:pt idx="1">
                  <c:v>0.37899978201048956</c:v>
                </c:pt>
              </c:numCache>
            </c:numRef>
          </c:xVal>
          <c:yVal>
            <c:numRef>
              <c:f>Sheet1!$B$130:$B$131</c:f>
              <c:numCache>
                <c:formatCode>General</c:formatCode>
                <c:ptCount val="2"/>
                <c:pt idx="0">
                  <c:v>0.712885014789627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4:$A$188</c:f>
              <c:numCache>
                <c:formatCode>General</c:formatCode>
                <c:ptCount val="55"/>
                <c:pt idx="0">
                  <c:v>0.300444265417794</c:v>
                </c:pt>
                <c:pt idx="1">
                  <c:v>0.3688642257650576</c:v>
                </c:pt>
                <c:pt idx="2">
                  <c:v>0.3616657162996707</c:v>
                </c:pt>
                <c:pt idx="3">
                  <c:v>0.37627172127619074</c:v>
                </c:pt>
                <c:pt idx="4">
                  <c:v>0.416153425380176</c:v>
                </c:pt>
                <c:pt idx="5">
                  <c:v>0.35273446688331783</c:v>
                </c:pt>
                <c:pt idx="6">
                  <c:v>0.37661988415497477</c:v>
                </c:pt>
                <c:pt idx="7">
                  <c:v>0.4137875396083617</c:v>
                </c:pt>
                <c:pt idx="8">
                  <c:v>0.3884724974806853</c:v>
                </c:pt>
                <c:pt idx="9">
                  <c:v>0.3587913026660342</c:v>
                </c:pt>
                <c:pt idx="10">
                  <c:v>0.37066931510488144</c:v>
                </c:pt>
                <c:pt idx="11">
                  <c:v>0.39253274631261453</c:v>
                </c:pt>
                <c:pt idx="12">
                  <c:v>0.35867766317018224</c:v>
                </c:pt>
                <c:pt idx="13">
                  <c:v>0.3028223943035158</c:v>
                </c:pt>
                <c:pt idx="14">
                  <c:v>0.3132146465918056</c:v>
                </c:pt>
                <c:pt idx="15">
                  <c:v>0.3561917911227154</c:v>
                </c:pt>
                <c:pt idx="16">
                  <c:v>0.4779210553443384</c:v>
                </c:pt>
                <c:pt idx="17">
                  <c:v>0.3977988036844228</c:v>
                </c:pt>
                <c:pt idx="18">
                  <c:v>0.36360913930371697</c:v>
                </c:pt>
                <c:pt idx="19">
                  <c:v>0.46677391772055543</c:v>
                </c:pt>
                <c:pt idx="20">
                  <c:v>0.3326194473453103</c:v>
                </c:pt>
                <c:pt idx="21">
                  <c:v>0.33817805688828717</c:v>
                </c:pt>
                <c:pt idx="22">
                  <c:v>0.3689202889958391</c:v>
                </c:pt>
                <c:pt idx="23">
                  <c:v>0.1810310991871984</c:v>
                </c:pt>
                <c:pt idx="24">
                  <c:v>0.1556675189268163</c:v>
                </c:pt>
                <c:pt idx="25">
                  <c:v>0.2295523187331765</c:v>
                </c:pt>
                <c:pt idx="26">
                  <c:v>0.14913885165874904</c:v>
                </c:pt>
                <c:pt idx="27">
                  <c:v>0.23946968873313823</c:v>
                </c:pt>
                <c:pt idx="28">
                  <c:v>0.2570074119466469</c:v>
                </c:pt>
                <c:pt idx="29">
                  <c:v>0.23282176516165387</c:v>
                </c:pt>
                <c:pt idx="30">
                  <c:v>0.33413586541399326</c:v>
                </c:pt>
                <c:pt idx="31">
                  <c:v>0.15619726039621631</c:v>
                </c:pt>
                <c:pt idx="32">
                  <c:v>0.311827112865602</c:v>
                </c:pt>
                <c:pt idx="33">
                  <c:v>0.40865753575055586</c:v>
                </c:pt>
                <c:pt idx="34">
                  <c:v>0.37444170762213547</c:v>
                </c:pt>
                <c:pt idx="35">
                  <c:v>0.35859170201718543</c:v>
                </c:pt>
                <c:pt idx="36">
                  <c:v>0.300907493447174</c:v>
                </c:pt>
                <c:pt idx="37">
                  <c:v>0.3220065601879686</c:v>
                </c:pt>
                <c:pt idx="38">
                  <c:v>0.2825424005681818</c:v>
                </c:pt>
                <c:pt idx="39">
                  <c:v>0.23899405464891563</c:v>
                </c:pt>
                <c:pt idx="40">
                  <c:v>0.3857438715064958</c:v>
                </c:pt>
                <c:pt idx="41">
                  <c:v>0.3474141558551011</c:v>
                </c:pt>
                <c:pt idx="42">
                  <c:v>0.37229208350558085</c:v>
                </c:pt>
                <c:pt idx="43">
                  <c:v>0.3357596309216646</c:v>
                </c:pt>
                <c:pt idx="44">
                  <c:v>0.32647151103927435</c:v>
                </c:pt>
                <c:pt idx="45">
                  <c:v>0.34515285272229757</c:v>
                </c:pt>
                <c:pt idx="46">
                  <c:v>0.37860583488864874</c:v>
                </c:pt>
                <c:pt idx="47">
                  <c:v>0.3265505050979655</c:v>
                </c:pt>
                <c:pt idx="48">
                  <c:v>0.3204827079971819</c:v>
                </c:pt>
                <c:pt idx="49">
                  <c:v>0.3204304121391614</c:v>
                </c:pt>
                <c:pt idx="50">
                  <c:v>0.2912836955798716</c:v>
                </c:pt>
                <c:pt idx="51">
                  <c:v>0.3118079986585059</c:v>
                </c:pt>
                <c:pt idx="52">
                  <c:v>0.23699760745669396</c:v>
                </c:pt>
                <c:pt idx="53">
                  <c:v>0.1963321780264653</c:v>
                </c:pt>
                <c:pt idx="54">
                  <c:v>0.37899978201048956</c:v>
                </c:pt>
              </c:numCache>
            </c:numRef>
          </c:xVal>
          <c:yVal>
            <c:numRef>
              <c:f>Sheet1!$B$134:$B$188</c:f>
              <c:numCache>
                <c:formatCode>General</c:formatCode>
                <c:ptCount val="55"/>
                <c:pt idx="0">
                  <c:v>0.7421539558235182</c:v>
                </c:pt>
                <c:pt idx="1">
                  <c:v>0.7166614140924461</c:v>
                </c:pt>
                <c:pt idx="2">
                  <c:v>0.7193435013374035</c:v>
                </c:pt>
                <c:pt idx="3">
                  <c:v>0.7139014608933817</c:v>
                </c:pt>
                <c:pt idx="4">
                  <c:v>0.699041966660749</c:v>
                </c:pt>
                <c:pt idx="5">
                  <c:v>0.7226711888616495</c:v>
                </c:pt>
                <c:pt idx="6">
                  <c:v>0.7137717391473946</c:v>
                </c:pt>
                <c:pt idx="7">
                  <c:v>0.6999234702667554</c:v>
                </c:pt>
                <c:pt idx="8">
                  <c:v>0.7093555828343192</c:v>
                </c:pt>
                <c:pt idx="9">
                  <c:v>0.7204144769582009</c:v>
                </c:pt>
                <c:pt idx="10">
                  <c:v>0.7159888572086037</c:v>
                </c:pt>
                <c:pt idx="11">
                  <c:v>0.7078427777660152</c:v>
                </c:pt>
                <c:pt idx="12">
                  <c:v>0.7204568178127644</c:v>
                </c:pt>
                <c:pt idx="13">
                  <c:v>0.7412678905648797</c:v>
                </c:pt>
                <c:pt idx="14">
                  <c:v>0.7373958490758985</c:v>
                </c:pt>
                <c:pt idx="15">
                  <c:v>0.721383027015262</c:v>
                </c:pt>
                <c:pt idx="16">
                  <c:v>0.6760280117198383</c:v>
                </c:pt>
                <c:pt idx="17">
                  <c:v>0.7058807013978373</c:v>
                </c:pt>
                <c:pt idx="18">
                  <c:v>0.7186194028173178</c:v>
                </c:pt>
                <c:pt idx="19">
                  <c:v>0.6801813153700305</c:v>
                </c:pt>
                <c:pt idx="20">
                  <c:v>0.730165828911006</c:v>
                </c:pt>
                <c:pt idx="21">
                  <c:v>0.7280947507486998</c:v>
                </c:pt>
                <c:pt idx="22">
                  <c:v>0.71664052553532</c:v>
                </c:pt>
                <c:pt idx="23">
                  <c:v>0.7866460179048528</c:v>
                </c:pt>
                <c:pt idx="24">
                  <c:v>0.7960962152588922</c:v>
                </c:pt>
                <c:pt idx="25">
                  <c:v>0.768567533090767</c:v>
                </c:pt>
                <c:pt idx="26">
                  <c:v>0.7985287265017337</c:v>
                </c:pt>
                <c:pt idx="27">
                  <c:v>0.7648724276375728</c:v>
                </c:pt>
                <c:pt idx="28">
                  <c:v>0.758338060493552</c:v>
                </c:pt>
                <c:pt idx="29">
                  <c:v>0.7673493724970976</c:v>
                </c:pt>
                <c:pt idx="30">
                  <c:v>0.7296008278396601</c:v>
                </c:pt>
                <c:pt idx="31">
                  <c:v>0.7958988392819577</c:v>
                </c:pt>
                <c:pt idx="32">
                  <c:v>0.7379128292267051</c:v>
                </c:pt>
                <c:pt idx="33">
                  <c:v>0.7018348545581512</c:v>
                </c:pt>
                <c:pt idx="34">
                  <c:v>0.7145833043087777</c:v>
                </c:pt>
                <c:pt idx="35">
                  <c:v>0.7204888460143141</c:v>
                </c:pt>
                <c:pt idx="36">
                  <c:v>0.7419813620393354</c:v>
                </c:pt>
                <c:pt idx="37">
                  <c:v>0.7341200765804364</c:v>
                </c:pt>
                <c:pt idx="38">
                  <c:v>0.7488239982267363</c:v>
                </c:pt>
                <c:pt idx="39">
                  <c:v>0.7650496437844285</c:v>
                </c:pt>
                <c:pt idx="40">
                  <c:v>0.7103722395403808</c:v>
                </c:pt>
                <c:pt idx="41">
                  <c:v>0.7246534795589945</c:v>
                </c:pt>
                <c:pt idx="42">
                  <c:v>0.7153842311467831</c:v>
                </c:pt>
                <c:pt idx="43">
                  <c:v>0.7289958302665002</c:v>
                </c:pt>
                <c:pt idx="44">
                  <c:v>0.7324564838901397</c:v>
                </c:pt>
                <c:pt idx="45">
                  <c:v>0.7254960167979378</c:v>
                </c:pt>
                <c:pt idx="46">
                  <c:v>0.7130317952524101</c:v>
                </c:pt>
                <c:pt idx="47">
                  <c:v>0.7324270515530342</c:v>
                </c:pt>
                <c:pt idx="48">
                  <c:v>0.7346878475257637</c:v>
                </c:pt>
                <c:pt idx="49">
                  <c:v>0.7347073324002971</c:v>
                </c:pt>
                <c:pt idx="50">
                  <c:v>0.7455670856717143</c:v>
                </c:pt>
                <c:pt idx="51">
                  <c:v>0.7379199509747971</c:v>
                </c:pt>
                <c:pt idx="52">
                  <c:v>0.765793498547034</c:v>
                </c:pt>
                <c:pt idx="53">
                  <c:v>0.7809450004114097</c:v>
                </c:pt>
                <c:pt idx="54">
                  <c:v>0.712885014789627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clipso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39819004524887"/>
          <c:min val="0.516666666666666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3</c:f>
              <c:numCache>
                <c:formatCode>General</c:formatCode>
                <c:ptCount val="52"/>
                <c:pt idx="0">
                  <c:v>1841.2473</c:v>
                </c:pt>
                <c:pt idx="1">
                  <c:v>1831.5</c:v>
                </c:pt>
                <c:pt idx="2">
                  <c:v>1829.4286</c:v>
                </c:pt>
                <c:pt idx="3">
                  <c:v>1841.64</c:v>
                </c:pt>
                <c:pt idx="4">
                  <c:v>1808.5805</c:v>
                </c:pt>
                <c:pt idx="5">
                  <c:v>1817.244</c:v>
                </c:pt>
                <c:pt idx="6">
                  <c:v>1763.4583</c:v>
                </c:pt>
                <c:pt idx="7">
                  <c:v>1760.3863</c:v>
                </c:pt>
                <c:pt idx="8">
                  <c:v>1666.368</c:v>
                </c:pt>
                <c:pt idx="9">
                  <c:v>1511.3949</c:v>
                </c:pt>
                <c:pt idx="10">
                  <c:v>1448.3381</c:v>
                </c:pt>
                <c:pt idx="11">
                  <c:v>1415.307</c:v>
                </c:pt>
                <c:pt idx="12">
                  <c:v>1421.6551</c:v>
                </c:pt>
                <c:pt idx="13">
                  <c:v>1720.0176</c:v>
                </c:pt>
                <c:pt idx="14">
                  <c:v>1747.8405</c:v>
                </c:pt>
                <c:pt idx="15">
                  <c:v>1740.1287</c:v>
                </c:pt>
                <c:pt idx="16">
                  <c:v>1788.7963</c:v>
                </c:pt>
                <c:pt idx="17">
                  <c:v>1793.5365</c:v>
                </c:pt>
                <c:pt idx="18">
                  <c:v>1787.2865</c:v>
                </c:pt>
                <c:pt idx="19">
                  <c:v>1830.9448</c:v>
                </c:pt>
                <c:pt idx="20">
                  <c:v>1794.6789</c:v>
                </c:pt>
                <c:pt idx="21">
                  <c:v>1811.9432</c:v>
                </c:pt>
                <c:pt idx="22">
                  <c:v>1813.5667</c:v>
                </c:pt>
                <c:pt idx="23">
                  <c:v>1752.5846</c:v>
                </c:pt>
                <c:pt idx="24">
                  <c:v>1666.9221</c:v>
                </c:pt>
                <c:pt idx="25">
                  <c:v>1736.1654</c:v>
                </c:pt>
                <c:pt idx="26">
                  <c:v>1839.9187</c:v>
                </c:pt>
                <c:pt idx="27">
                  <c:v>1815.4351</c:v>
                </c:pt>
                <c:pt idx="28">
                  <c:v>1813.75</c:v>
                </c:pt>
                <c:pt idx="29">
                  <c:v>1831.4789</c:v>
                </c:pt>
                <c:pt idx="30">
                  <c:v>1842.1649</c:v>
                </c:pt>
                <c:pt idx="31">
                  <c:v>1905.2308</c:v>
                </c:pt>
                <c:pt idx="32">
                  <c:v>1825.5054</c:v>
                </c:pt>
                <c:pt idx="33">
                  <c:v>1832.8593</c:v>
                </c:pt>
                <c:pt idx="34">
                  <c:v>1836.8171</c:v>
                </c:pt>
                <c:pt idx="35">
                  <c:v>1927.7574</c:v>
                </c:pt>
                <c:pt idx="36">
                  <c:v>1907.0686</c:v>
                </c:pt>
                <c:pt idx="37">
                  <c:v>1859.9691</c:v>
                </c:pt>
                <c:pt idx="38">
                  <c:v>1848.9493</c:v>
                </c:pt>
                <c:pt idx="39">
                  <c:v>1859.6687</c:v>
                </c:pt>
                <c:pt idx="40">
                  <c:v>1838.0183</c:v>
                </c:pt>
                <c:pt idx="41">
                  <c:v>1911.3413</c:v>
                </c:pt>
                <c:pt idx="42">
                  <c:v>1882.9575</c:v>
                </c:pt>
                <c:pt idx="43">
                  <c:v>1605.0305</c:v>
                </c:pt>
                <c:pt idx="44">
                  <c:v>1709.2652</c:v>
                </c:pt>
                <c:pt idx="45">
                  <c:v>1680.4965</c:v>
                </c:pt>
                <c:pt idx="46">
                  <c:v>1637.1175</c:v>
                </c:pt>
                <c:pt idx="47">
                  <c:v>1378.6088</c:v>
                </c:pt>
                <c:pt idx="48">
                  <c:v>1705.0618</c:v>
                </c:pt>
                <c:pt idx="49">
                  <c:v>1665.2341</c:v>
                </c:pt>
                <c:pt idx="50">
                  <c:v>1543.2846</c:v>
                </c:pt>
                <c:pt idx="51">
                  <c:v>1476.6214</c:v>
                </c:pt>
              </c:numCache>
            </c:numRef>
          </c:xVal>
          <c:yVal>
            <c:numRef>
              <c:f>Sheet1!$B$2:$B$53</c:f>
              <c:numCache>
                <c:formatCode>General</c:formatCode>
                <c:ptCount val="52"/>
                <c:pt idx="0">
                  <c:v>0.6458333333333334</c:v>
                </c:pt>
                <c:pt idx="1">
                  <c:v>0.7176470588235294</c:v>
                </c:pt>
                <c:pt idx="2">
                  <c:v>0.7446808510638298</c:v>
                </c:pt>
                <c:pt idx="3">
                  <c:v>0.8021390374331551</c:v>
                </c:pt>
                <c:pt idx="4">
                  <c:v>0.7435897435897436</c:v>
                </c:pt>
                <c:pt idx="5">
                  <c:v>0.7545126353790613</c:v>
                </c:pt>
                <c:pt idx="6">
                  <c:v>0.7619047619047619</c:v>
                </c:pt>
                <c:pt idx="7">
                  <c:v>0.7447795823665894</c:v>
                </c:pt>
                <c:pt idx="8">
                  <c:v>0.7042682926829268</c:v>
                </c:pt>
                <c:pt idx="9">
                  <c:v>0.770949720670391</c:v>
                </c:pt>
                <c:pt idx="10">
                  <c:v>0.800383877159309</c:v>
                </c:pt>
                <c:pt idx="11">
                  <c:v>0.7676767676767676</c:v>
                </c:pt>
                <c:pt idx="12">
                  <c:v>0.7794970986460348</c:v>
                </c:pt>
                <c:pt idx="13">
                  <c:v>0.7572383073496659</c:v>
                </c:pt>
                <c:pt idx="14">
                  <c:v>0.7761904761904762</c:v>
                </c:pt>
                <c:pt idx="15">
                  <c:v>0.7816091954022989</c:v>
                </c:pt>
                <c:pt idx="16">
                  <c:v>0.7431192660550459</c:v>
                </c:pt>
                <c:pt idx="17">
                  <c:v>0.7710843373493976</c:v>
                </c:pt>
                <c:pt idx="18">
                  <c:v>0.7649402390438247</c:v>
                </c:pt>
                <c:pt idx="19">
                  <c:v>0.7510373443983402</c:v>
                </c:pt>
                <c:pt idx="20">
                  <c:v>0.7755102040816326</c:v>
                </c:pt>
                <c:pt idx="21">
                  <c:v>0.7521367521367521</c:v>
                </c:pt>
                <c:pt idx="22">
                  <c:v>0.7772020725388601</c:v>
                </c:pt>
                <c:pt idx="23">
                  <c:v>0.7647058823529411</c:v>
                </c:pt>
                <c:pt idx="24">
                  <c:v>0.8020833333333334</c:v>
                </c:pt>
                <c:pt idx="25">
                  <c:v>0.7916666666666666</c:v>
                </c:pt>
                <c:pt idx="26">
                  <c:v>0.7935483870967742</c:v>
                </c:pt>
                <c:pt idx="27">
                  <c:v>0.7891566265060241</c:v>
                </c:pt>
                <c:pt idx="28">
                  <c:v>0.783068783068783</c:v>
                </c:pt>
                <c:pt idx="29">
                  <c:v>0.8352941176470589</c:v>
                </c:pt>
                <c:pt idx="30">
                  <c:v>0.782258064516129</c:v>
                </c:pt>
                <c:pt idx="31">
                  <c:v>0.7777777777777778</c:v>
                </c:pt>
                <c:pt idx="32">
                  <c:v>0.7265625</c:v>
                </c:pt>
                <c:pt idx="33">
                  <c:v>0.7297297297297297</c:v>
                </c:pt>
                <c:pt idx="34">
                  <c:v>0.7543103448275862</c:v>
                </c:pt>
                <c:pt idx="35">
                  <c:v>0.7391304347826086</c:v>
                </c:pt>
                <c:pt idx="36">
                  <c:v>0.7083333333333334</c:v>
                </c:pt>
                <c:pt idx="37">
                  <c:v>0.7461538461538462</c:v>
                </c:pt>
                <c:pt idx="38">
                  <c:v>0.7752808988764045</c:v>
                </c:pt>
                <c:pt idx="39">
                  <c:v>0.7545454545454545</c:v>
                </c:pt>
                <c:pt idx="40">
                  <c:v>0.780952380952381</c:v>
                </c:pt>
                <c:pt idx="41">
                  <c:v>0.7924528301886793</c:v>
                </c:pt>
                <c:pt idx="42">
                  <c:v>0.8060836501901141</c:v>
                </c:pt>
                <c:pt idx="43">
                  <c:v>0.8078817733990148</c:v>
                </c:pt>
                <c:pt idx="44">
                  <c:v>0.8264840182648402</c:v>
                </c:pt>
                <c:pt idx="45">
                  <c:v>0.7921348314606742</c:v>
                </c:pt>
                <c:pt idx="46">
                  <c:v>0.7839195979899497</c:v>
                </c:pt>
                <c:pt idx="47">
                  <c:v>0.8389319552110249</c:v>
                </c:pt>
                <c:pt idx="48">
                  <c:v>0.8107606679035251</c:v>
                </c:pt>
                <c:pt idx="49">
                  <c:v>0.7736220472440944</c:v>
                </c:pt>
                <c:pt idx="50">
                  <c:v>0.8036437246963563</c:v>
                </c:pt>
                <c:pt idx="51">
                  <c:v>0.8307692307692308</c:v>
                </c:pt>
              </c:numCache>
            </c:numRef>
          </c:yVal>
          <c:smooth val="0"/>
          <c:extLst>
            <c:ext xmlns:c16="http://schemas.microsoft.com/office/drawing/2014/chart" uri="{C3380CC4-5D6E-409C-BE32-E72D297353CC}">
              <c16:uniqueId val="{00000000-F32D-48B7-BC20-E66FC6253BAD}"/>
            </c:ext>
          </c:extLst>
        </c:ser>
        <c:ser>
          <c:idx val="1"/>
          <c:order val="1"/>
          <c:tx>
            <c:strRef>
              <c:f>Sheet1!$B$5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6:$A$107</c:f>
              <c:numCache>
                <c:formatCode>General</c:formatCode>
                <c:ptCount val="52"/>
                <c:pt idx="0">
                  <c:v>1547.6823</c:v>
                </c:pt>
                <c:pt idx="1">
                  <c:v>1615.6048</c:v>
                </c:pt>
                <c:pt idx="2">
                  <c:v>1718.8344</c:v>
                </c:pt>
                <c:pt idx="3">
                  <c:v>1772.6519</c:v>
                </c:pt>
                <c:pt idx="4">
                  <c:v>1773.3883</c:v>
                </c:pt>
                <c:pt idx="5">
                  <c:v>1823.4961</c:v>
                </c:pt>
                <c:pt idx="6">
                  <c:v>1805.7919</c:v>
                </c:pt>
                <c:pt idx="7">
                  <c:v>1815.1618</c:v>
                </c:pt>
                <c:pt idx="8">
                  <c:v>1850.3722</c:v>
                </c:pt>
                <c:pt idx="9">
                  <c:v>1648.0879</c:v>
                </c:pt>
                <c:pt idx="10">
                  <c:v>1656.3527</c:v>
                </c:pt>
                <c:pt idx="11">
                  <c:v>1845.717</c:v>
                </c:pt>
                <c:pt idx="12">
                  <c:v>1819.1479</c:v>
                </c:pt>
                <c:pt idx="13">
                  <c:v>1701.1048</c:v>
                </c:pt>
                <c:pt idx="14">
                  <c:v>1866.0389</c:v>
                </c:pt>
                <c:pt idx="15">
                  <c:v>1705.2682</c:v>
                </c:pt>
                <c:pt idx="16">
                  <c:v>1906.8652</c:v>
                </c:pt>
                <c:pt idx="17">
                  <c:v>1895.3305</c:v>
                </c:pt>
                <c:pt idx="18">
                  <c:v>1929.5828</c:v>
                </c:pt>
                <c:pt idx="19">
                  <c:v>1934.4778</c:v>
                </c:pt>
                <c:pt idx="20">
                  <c:v>1843.8944</c:v>
                </c:pt>
                <c:pt idx="21">
                  <c:v>1826.6124</c:v>
                </c:pt>
                <c:pt idx="22">
                  <c:v>1824.1571</c:v>
                </c:pt>
                <c:pt idx="23">
                  <c:v>1140.3511</c:v>
                </c:pt>
                <c:pt idx="24">
                  <c:v>937.6166</c:v>
                </c:pt>
                <c:pt idx="25">
                  <c:v>944.2507</c:v>
                </c:pt>
                <c:pt idx="26">
                  <c:v>1002.8345</c:v>
                </c:pt>
                <c:pt idx="27">
                  <c:v>1292.6916</c:v>
                </c:pt>
                <c:pt idx="28">
                  <c:v>1653.1084</c:v>
                </c:pt>
                <c:pt idx="29">
                  <c:v>1652.6853</c:v>
                </c:pt>
                <c:pt idx="30">
                  <c:v>1749.8027</c:v>
                </c:pt>
                <c:pt idx="31">
                  <c:v>1750.3465</c:v>
                </c:pt>
                <c:pt idx="32">
                  <c:v>1737.8125</c:v>
                </c:pt>
                <c:pt idx="33">
                  <c:v>1861.0775</c:v>
                </c:pt>
                <c:pt idx="34">
                  <c:v>1926.3421</c:v>
                </c:pt>
                <c:pt idx="35">
                  <c:v>1867.0333</c:v>
                </c:pt>
                <c:pt idx="36">
                  <c:v>1548.4198</c:v>
                </c:pt>
                <c:pt idx="37">
                  <c:v>1667.7793</c:v>
                </c:pt>
                <c:pt idx="38">
                  <c:v>1591.2788</c:v>
                </c:pt>
                <c:pt idx="39">
                  <c:v>1780.7925</c:v>
                </c:pt>
                <c:pt idx="40">
                  <c:v>1826.1972</c:v>
                </c:pt>
                <c:pt idx="41">
                  <c:v>1848.3977</c:v>
                </c:pt>
                <c:pt idx="42">
                  <c:v>1801.1491</c:v>
                </c:pt>
                <c:pt idx="43">
                  <c:v>1784.654</c:v>
                </c:pt>
                <c:pt idx="44">
                  <c:v>1713.3458</c:v>
                </c:pt>
                <c:pt idx="45">
                  <c:v>1687.064</c:v>
                </c:pt>
                <c:pt idx="46">
                  <c:v>1686.2394</c:v>
                </c:pt>
                <c:pt idx="47">
                  <c:v>1737.4936</c:v>
                </c:pt>
                <c:pt idx="48">
                  <c:v>1617.5617</c:v>
                </c:pt>
                <c:pt idx="49">
                  <c:v>1542.6026</c:v>
                </c:pt>
                <c:pt idx="50">
                  <c:v>1401.2843</c:v>
                </c:pt>
                <c:pt idx="51">
                  <c:v>1487.5736</c:v>
                </c:pt>
              </c:numCache>
            </c:numRef>
          </c:xVal>
          <c:yVal>
            <c:numRef>
              <c:f>Sheet1!$B$56:$B$107</c:f>
              <c:numCache>
                <c:formatCode>General</c:formatCode>
                <c:ptCount val="52"/>
                <c:pt idx="0">
                  <c:v>0.8452054794520548</c:v>
                </c:pt>
                <c:pt idx="1">
                  <c:v>0.8252252252252252</c:v>
                </c:pt>
                <c:pt idx="2">
                  <c:v>0.7897350993377483</c:v>
                </c:pt>
                <c:pt idx="3">
                  <c:v>0.7821782178217822</c:v>
                </c:pt>
                <c:pt idx="4">
                  <c:v>0.7591522157996147</c:v>
                </c:pt>
                <c:pt idx="5">
                  <c:v>0.7326923076923076</c:v>
                </c:pt>
                <c:pt idx="6">
                  <c:v>0.7402298850574712</c:v>
                </c:pt>
                <c:pt idx="7">
                  <c:v>0.7208480565371025</c:v>
                </c:pt>
                <c:pt idx="8">
                  <c:v>0.696875</c:v>
                </c:pt>
                <c:pt idx="9">
                  <c:v>0.6946564885496184</c:v>
                </c:pt>
                <c:pt idx="10">
                  <c:v>0.6985645933014354</c:v>
                </c:pt>
                <c:pt idx="11">
                  <c:v>0.6583850931677019</c:v>
                </c:pt>
                <c:pt idx="12">
                  <c:v>0.6926229508196722</c:v>
                </c:pt>
                <c:pt idx="13">
                  <c:v>0.7263374485596708</c:v>
                </c:pt>
                <c:pt idx="14">
                  <c:v>0.7422222222222222</c:v>
                </c:pt>
                <c:pt idx="15">
                  <c:v>0.7122641509433962</c:v>
                </c:pt>
                <c:pt idx="16">
                  <c:v>0.7295081967213115</c:v>
                </c:pt>
                <c:pt idx="17">
                  <c:v>0.7071005917159763</c:v>
                </c:pt>
                <c:pt idx="18">
                  <c:v>0.6832579185520362</c:v>
                </c:pt>
                <c:pt idx="19">
                  <c:v>0.6521739130434783</c:v>
                </c:pt>
                <c:pt idx="20">
                  <c:v>0.6571428571428571</c:v>
                </c:pt>
                <c:pt idx="21">
                  <c:v>0.6683937823834197</c:v>
                </c:pt>
                <c:pt idx="22">
                  <c:v>0.6481481481481481</c:v>
                </c:pt>
                <c:pt idx="23">
                  <c:v>0.8213166144200627</c:v>
                </c:pt>
                <c:pt idx="24">
                  <c:v>0.8654292343387471</c:v>
                </c:pt>
                <c:pt idx="25">
                  <c:v>0.8665158371040724</c:v>
                </c:pt>
                <c:pt idx="26">
                  <c:v>0.8554913294797688</c:v>
                </c:pt>
                <c:pt idx="27">
                  <c:v>0.7591973244147158</c:v>
                </c:pt>
                <c:pt idx="28">
                  <c:v>0.7198581560283688</c:v>
                </c:pt>
                <c:pt idx="29">
                  <c:v>0.7447916666666666</c:v>
                </c:pt>
                <c:pt idx="30">
                  <c:v>0.7461928934010152</c:v>
                </c:pt>
                <c:pt idx="31">
                  <c:v>0.7163120567375887</c:v>
                </c:pt>
                <c:pt idx="32">
                  <c:v>0.691358024691358</c:v>
                </c:pt>
                <c:pt idx="33">
                  <c:v>0.7206703910614525</c:v>
                </c:pt>
                <c:pt idx="34">
                  <c:v>0.7621776504297995</c:v>
                </c:pt>
                <c:pt idx="35">
                  <c:v>0.7570977917981072</c:v>
                </c:pt>
                <c:pt idx="36">
                  <c:v>0.7401129943502824</c:v>
                </c:pt>
                <c:pt idx="37">
                  <c:v>0.7286432160804021</c:v>
                </c:pt>
                <c:pt idx="38">
                  <c:v>0.697986577181208</c:v>
                </c:pt>
                <c:pt idx="39">
                  <c:v>0.7035398230088495</c:v>
                </c:pt>
                <c:pt idx="40">
                  <c:v>0.6543778801843319</c:v>
                </c:pt>
                <c:pt idx="41">
                  <c:v>0.6692015209125475</c:v>
                </c:pt>
                <c:pt idx="42">
                  <c:v>0.6822033898305084</c:v>
                </c:pt>
                <c:pt idx="43">
                  <c:v>0.6991150442477876</c:v>
                </c:pt>
                <c:pt idx="44">
                  <c:v>0.7622739018087855</c:v>
                </c:pt>
                <c:pt idx="45">
                  <c:v>0.7422303473491774</c:v>
                </c:pt>
                <c:pt idx="46">
                  <c:v>0.7357512953367875</c:v>
                </c:pt>
                <c:pt idx="47">
                  <c:v>0.7440758293838863</c:v>
                </c:pt>
                <c:pt idx="48">
                  <c:v>0.6964912280701754</c:v>
                </c:pt>
                <c:pt idx="49">
                  <c:v>0.6761194029850747</c:v>
                </c:pt>
                <c:pt idx="50">
                  <c:v>0.7628705148205929</c:v>
                </c:pt>
                <c:pt idx="51">
                  <c:v>0.7392550143266475</c:v>
                </c:pt>
              </c:numCache>
            </c:numRef>
          </c:yVal>
          <c:smooth val="0"/>
          <c:extLst>
            <c:ext xmlns:c16="http://schemas.microsoft.com/office/drawing/2014/chart" uri="{C3380CC4-5D6E-409C-BE32-E72D297353CC}">
              <c16:uniqueId val="{00000002-F32D-48B7-BC20-E66FC6253BAD}"/>
            </c:ext>
          </c:extLst>
        </c:ser>
        <c:ser>
          <c:idx val="2"/>
          <c:order val="2"/>
          <c:tx>
            <c:strRef>
              <c:f>Sheet1!$B$109</c:f>
              <c:strCache>
                <c:ptCount val="1"/>
                <c:pt idx="0">
                  <c:v>Custom Linep3yQ</c:v>
                </c:pt>
              </c:strCache>
            </c:strRef>
          </c:tx>
          <c:spPr>
            <a:ln w="19050" cap="rnd">
              <a:solidFill>
                <a:srgbClr val="C00000"/>
              </a:solidFill>
              <a:prstDash val="sysDot"/>
              <a:round/>
            </a:ln>
            <a:effectLst/>
          </c:spPr>
          <c:marker>
            <c:symbol val="none"/>
          </c:marker>
          <c:xVal>
            <c:numRef>
              <c:f>Sheet1!$A$110:$A$111</c:f>
              <c:numCache>
                <c:formatCode>General</c:formatCode>
                <c:ptCount val="2"/>
                <c:pt idx="0">
                  <c:v>0</c:v>
                </c:pt>
                <c:pt idx="1">
                  <c:v>1372.8262779208085</c:v>
                </c:pt>
              </c:numCache>
            </c:numRef>
          </c:xVal>
          <c:yVal>
            <c:numRef>
              <c:f>Sheet1!$B$110:$B$111</c:f>
              <c:numCache>
                <c:formatCode>General</c:formatCode>
                <c:ptCount val="2"/>
                <c:pt idx="0">
                  <c:v>0.7809450004114097</c:v>
                </c:pt>
                <c:pt idx="1">
                  <c:v>0.7809450004114097</c:v>
                </c:pt>
              </c:numCache>
            </c:numRef>
          </c:yVal>
          <c:smooth val="0"/>
          <c:extLst>
            <c:ext xmlns:c16="http://schemas.microsoft.com/office/drawing/2014/chart" uri="{C3380CC4-5D6E-409C-BE32-E72D297353CC}">
              <c16:uniqueId val="{00000003-F32D-48B7-BC20-E66FC6253BAD}"/>
            </c:ext>
          </c:extLst>
        </c:ser>
        <c:ser>
          <c:idx val="3"/>
          <c:order val="3"/>
          <c:tx>
            <c:strRef>
              <c:f>Sheet1!$B$1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1372.8262779208085</c:v>
                </c:pt>
                <c:pt idx="1">
                  <c:v>1372.8262779208085</c:v>
                </c:pt>
              </c:numCache>
            </c:numRef>
          </c:xVal>
          <c:yVal>
            <c:numRef>
              <c:f>Sheet1!$B$114:$B$115</c:f>
              <c:numCache>
                <c:formatCode>General</c:formatCode>
                <c:ptCount val="2"/>
                <c:pt idx="0">
                  <c:v>0.780945000411409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8:$A$119</c:f>
              <c:numCache>
                <c:formatCode>General</c:formatCode>
                <c:ptCount val="2"/>
                <c:pt idx="0">
                  <c:v>0</c:v>
                </c:pt>
                <c:pt idx="1">
                  <c:v>1466.4488486763682</c:v>
                </c:pt>
              </c:numCache>
            </c:numRef>
          </c:xVal>
          <c:yVal>
            <c:numRef>
              <c:f>Sheet1!$B$118:$B$119</c:f>
              <c:numCache>
                <c:formatCode>General</c:formatCode>
                <c:ptCount val="2"/>
                <c:pt idx="0">
                  <c:v>0.765793498547034</c:v>
                </c:pt>
                <c:pt idx="1">
                  <c:v>0.765793498547034</c:v>
                </c:pt>
              </c:numCache>
            </c:numRef>
          </c:yVal>
          <c:smooth val="0"/>
          <c:extLst>
            <c:ext xmlns:c16="http://schemas.microsoft.com/office/drawing/2014/chart" uri="{C3380CC4-5D6E-409C-BE32-E72D297353CC}">
              <c16:uniqueId val="{0000000A-F32D-48B7-BC20-E66FC6253BAD}"/>
            </c:ext>
          </c:extLst>
        </c:ser>
        <c:ser>
          <c:idx val="5"/>
          <c:order val="5"/>
          <c:tx>
            <c:strRef>
              <c:f>Sheet1!$B$1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466.4488486763682</c:v>
                </c:pt>
                <c:pt idx="1">
                  <c:v>1466.4488486763682</c:v>
                </c:pt>
              </c:numCache>
            </c:numRef>
          </c:xVal>
          <c:yVal>
            <c:numRef>
              <c:f>Sheet1!$B$122:$B$123</c:f>
              <c:numCache>
                <c:formatCode>General</c:formatCode>
                <c:ptCount val="2"/>
                <c:pt idx="0">
                  <c:v>0.7657934985470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6:$A$127</c:f>
              <c:numCache>
                <c:formatCode>General</c:formatCode>
                <c:ptCount val="2"/>
                <c:pt idx="0">
                  <c:v>0</c:v>
                </c:pt>
                <c:pt idx="1">
                  <c:v>1793.3754008087192</c:v>
                </c:pt>
              </c:numCache>
            </c:numRef>
          </c:xVal>
          <c:yVal>
            <c:numRef>
              <c:f>Sheet1!$B$126:$B$127</c:f>
              <c:numCache>
                <c:formatCode>General</c:formatCode>
                <c:ptCount val="2"/>
                <c:pt idx="0">
                  <c:v>0.7128850147896272</c:v>
                </c:pt>
                <c:pt idx="1">
                  <c:v>0.7128850147896272</c:v>
                </c:pt>
              </c:numCache>
            </c:numRef>
          </c:yVal>
          <c:smooth val="0"/>
          <c:extLst>
            <c:ext xmlns:c16="http://schemas.microsoft.com/office/drawing/2014/chart" uri="{C3380CC4-5D6E-409C-BE32-E72D297353CC}">
              <c16:uniqueId val="{00000011-F32D-48B7-BC20-E66FC6253BAD}"/>
            </c:ext>
          </c:extLst>
        </c:ser>
        <c:ser>
          <c:idx val="7"/>
          <c:order val="7"/>
          <c:tx>
            <c:strRef>
              <c:f>Sheet1!$B$1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0:$A$131</c:f>
              <c:numCache>
                <c:formatCode>General</c:formatCode>
                <c:ptCount val="2"/>
                <c:pt idx="0">
                  <c:v>1793.3754008087192</c:v>
                </c:pt>
                <c:pt idx="1">
                  <c:v>1793.3754008087192</c:v>
                </c:pt>
              </c:numCache>
            </c:numRef>
          </c:xVal>
          <c:yVal>
            <c:numRef>
              <c:f>Sheet1!$B$130:$B$131</c:f>
              <c:numCache>
                <c:formatCode>General</c:formatCode>
                <c:ptCount val="2"/>
                <c:pt idx="0">
                  <c:v>0.712885014789627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4:$A$188</c:f>
              <c:numCache>
                <c:formatCode>General</c:formatCode>
                <c:ptCount val="55"/>
                <c:pt idx="0">
                  <c:v>1547.6823</c:v>
                </c:pt>
                <c:pt idx="1">
                  <c:v>1615.6048</c:v>
                </c:pt>
                <c:pt idx="2">
                  <c:v>1718.8344</c:v>
                </c:pt>
                <c:pt idx="3">
                  <c:v>1772.6519</c:v>
                </c:pt>
                <c:pt idx="4">
                  <c:v>1773.3883</c:v>
                </c:pt>
                <c:pt idx="5">
                  <c:v>1823.4961</c:v>
                </c:pt>
                <c:pt idx="6">
                  <c:v>1805.7919</c:v>
                </c:pt>
                <c:pt idx="7">
                  <c:v>1815.1618</c:v>
                </c:pt>
                <c:pt idx="8">
                  <c:v>1850.3722</c:v>
                </c:pt>
                <c:pt idx="9">
                  <c:v>1648.0879</c:v>
                </c:pt>
                <c:pt idx="10">
                  <c:v>1656.3527</c:v>
                </c:pt>
                <c:pt idx="11">
                  <c:v>1845.717</c:v>
                </c:pt>
                <c:pt idx="12">
                  <c:v>1819.1479</c:v>
                </c:pt>
                <c:pt idx="13">
                  <c:v>1701.1048</c:v>
                </c:pt>
                <c:pt idx="14">
                  <c:v>1866.0389</c:v>
                </c:pt>
                <c:pt idx="15">
                  <c:v>1705.2682</c:v>
                </c:pt>
                <c:pt idx="16">
                  <c:v>1906.8652</c:v>
                </c:pt>
                <c:pt idx="17">
                  <c:v>1895.3305</c:v>
                </c:pt>
                <c:pt idx="18">
                  <c:v>1929.5828</c:v>
                </c:pt>
                <c:pt idx="19">
                  <c:v>1934.4778</c:v>
                </c:pt>
                <c:pt idx="20">
                  <c:v>1843.8944</c:v>
                </c:pt>
                <c:pt idx="21">
                  <c:v>1826.6124</c:v>
                </c:pt>
                <c:pt idx="22">
                  <c:v>1824.1571</c:v>
                </c:pt>
                <c:pt idx="23">
                  <c:v>1140.3511</c:v>
                </c:pt>
                <c:pt idx="24">
                  <c:v>937.6166</c:v>
                </c:pt>
                <c:pt idx="25">
                  <c:v>944.2507</c:v>
                </c:pt>
                <c:pt idx="26">
                  <c:v>1002.8345</c:v>
                </c:pt>
                <c:pt idx="27">
                  <c:v>1292.6916</c:v>
                </c:pt>
                <c:pt idx="28">
                  <c:v>1653.1084</c:v>
                </c:pt>
                <c:pt idx="29">
                  <c:v>1652.6853</c:v>
                </c:pt>
                <c:pt idx="30">
                  <c:v>1749.8027</c:v>
                </c:pt>
                <c:pt idx="31">
                  <c:v>1750.3465</c:v>
                </c:pt>
                <c:pt idx="32">
                  <c:v>1737.8125</c:v>
                </c:pt>
                <c:pt idx="33">
                  <c:v>1861.0775</c:v>
                </c:pt>
                <c:pt idx="34">
                  <c:v>1926.3421</c:v>
                </c:pt>
                <c:pt idx="35">
                  <c:v>1867.0333</c:v>
                </c:pt>
                <c:pt idx="36">
                  <c:v>1548.4198</c:v>
                </c:pt>
                <c:pt idx="37">
                  <c:v>1667.7793</c:v>
                </c:pt>
                <c:pt idx="38">
                  <c:v>1591.2788</c:v>
                </c:pt>
                <c:pt idx="39">
                  <c:v>1780.7925</c:v>
                </c:pt>
                <c:pt idx="40">
                  <c:v>1826.1972</c:v>
                </c:pt>
                <c:pt idx="41">
                  <c:v>1848.3977</c:v>
                </c:pt>
                <c:pt idx="42">
                  <c:v>1801.1491</c:v>
                </c:pt>
                <c:pt idx="43">
                  <c:v>1784.654</c:v>
                </c:pt>
                <c:pt idx="44">
                  <c:v>1713.3458</c:v>
                </c:pt>
                <c:pt idx="45">
                  <c:v>1687.064</c:v>
                </c:pt>
                <c:pt idx="46">
                  <c:v>1686.2394</c:v>
                </c:pt>
                <c:pt idx="47">
                  <c:v>1737.4936</c:v>
                </c:pt>
                <c:pt idx="48">
                  <c:v>1617.5617</c:v>
                </c:pt>
                <c:pt idx="49">
                  <c:v>1542.6026</c:v>
                </c:pt>
                <c:pt idx="50">
                  <c:v>1401.2843</c:v>
                </c:pt>
                <c:pt idx="51">
                  <c:v>1487.5736</c:v>
                </c:pt>
                <c:pt idx="52">
                  <c:v>1466.4488486763682</c:v>
                </c:pt>
                <c:pt idx="53">
                  <c:v>1372.8262779208085</c:v>
                </c:pt>
                <c:pt idx="54">
                  <c:v>1793.3754008087192</c:v>
                </c:pt>
              </c:numCache>
            </c:numRef>
          </c:xVal>
          <c:yVal>
            <c:numRef>
              <c:f>Sheet1!$B$134:$B$188</c:f>
              <c:numCache>
                <c:formatCode>General</c:formatCode>
                <c:ptCount val="55"/>
                <c:pt idx="0">
                  <c:v>0.7526470021493523</c:v>
                </c:pt>
                <c:pt idx="1">
                  <c:v>0.7416546967995022</c:v>
                </c:pt>
                <c:pt idx="2">
                  <c:v>0.7249484318012633</c:v>
                </c:pt>
                <c:pt idx="3">
                  <c:v>0.7162388231566235</c:v>
                </c:pt>
                <c:pt idx="4">
                  <c:v>0.7161196471301281</c:v>
                </c:pt>
                <c:pt idx="5">
                  <c:v>0.7080104014750179</c:v>
                </c:pt>
                <c:pt idx="6">
                  <c:v>0.7108755782923439</c:v>
                </c:pt>
                <c:pt idx="7">
                  <c:v>0.7093591912056265</c:v>
                </c:pt>
                <c:pt idx="8">
                  <c:v>0.7036608810979249</c:v>
                </c:pt>
                <c:pt idx="9">
                  <c:v>0.7363977620001395</c:v>
                </c:pt>
                <c:pt idx="10">
                  <c:v>0.7350602198711625</c:v>
                </c:pt>
                <c:pt idx="11">
                  <c:v>0.7044142600204413</c:v>
                </c:pt>
                <c:pt idx="12">
                  <c:v>0.7087140967471623</c:v>
                </c:pt>
                <c:pt idx="13">
                  <c:v>0.7278177192528545</c:v>
                </c:pt>
                <c:pt idx="14">
                  <c:v>0.7011254451197955</c:v>
                </c:pt>
                <c:pt idx="15">
                  <c:v>0.7271439312725304</c:v>
                </c:pt>
                <c:pt idx="16">
                  <c:v>0.6945182802494715</c:v>
                </c:pt>
                <c:pt idx="17">
                  <c:v>0.6963850098975103</c:v>
                </c:pt>
                <c:pt idx="18">
                  <c:v>0.6908417548563286</c:v>
                </c:pt>
                <c:pt idx="19">
                  <c:v>0.6900495676622836</c:v>
                </c:pt>
                <c:pt idx="20">
                  <c:v>0.7047092223043773</c:v>
                </c:pt>
                <c:pt idx="21">
                  <c:v>0.7075060719647418</c:v>
                </c:pt>
                <c:pt idx="22">
                  <c:v>0.7079034278825229</c:v>
                </c:pt>
                <c:pt idx="23">
                  <c:v>0.8185678520727331</c:v>
                </c:pt>
                <c:pt idx="24">
                  <c:v>0.8513775915397606</c:v>
                </c:pt>
                <c:pt idx="25">
                  <c:v>0.850303955367337</c:v>
                </c:pt>
                <c:pt idx="26">
                  <c:v>0.8408229878211698</c:v>
                </c:pt>
                <c:pt idx="27">
                  <c:v>0.7939136757224983</c:v>
                </c:pt>
                <c:pt idx="28">
                  <c:v>0.73558526438876</c:v>
                </c:pt>
                <c:pt idx="29">
                  <c:v>0.7356537371981167</c:v>
                </c:pt>
                <c:pt idx="30">
                  <c:v>0.7199366461666686</c:v>
                </c:pt>
                <c:pt idx="31">
                  <c:v>0.719848639752752</c:v>
                </c:pt>
                <c:pt idx="32">
                  <c:v>0.7218770921102922</c:v>
                </c:pt>
                <c:pt idx="33">
                  <c:v>0.7019283782238883</c:v>
                </c:pt>
                <c:pt idx="34">
                  <c:v>0.6913662167643451</c:v>
                </c:pt>
                <c:pt idx="35">
                  <c:v>0.7009645154066682</c:v>
                </c:pt>
                <c:pt idx="36">
                  <c:v>0.7525276481032628</c:v>
                </c:pt>
                <c:pt idx="37">
                  <c:v>0.7332109846941506</c:v>
                </c:pt>
                <c:pt idx="38">
                  <c:v>0.7455915192065169</c:v>
                </c:pt>
                <c:pt idx="39">
                  <c:v>0.7149213810581878</c:v>
                </c:pt>
                <c:pt idx="40">
                  <c:v>0.7075732662697403</c:v>
                </c:pt>
                <c:pt idx="41">
                  <c:v>0.7039804262694553</c:v>
                </c:pt>
                <c:pt idx="42">
                  <c:v>0.711626950448526</c:v>
                </c:pt>
                <c:pt idx="43">
                  <c:v>0.714296451364663</c:v>
                </c:pt>
                <c:pt idx="44">
                  <c:v>0.7258366848417608</c:v>
                </c:pt>
                <c:pt idx="45">
                  <c:v>0.7300900260872051</c:v>
                </c:pt>
                <c:pt idx="46">
                  <c:v>0.7302234760484327</c:v>
                </c:pt>
                <c:pt idx="47">
                  <c:v>0.7219287016090012</c:v>
                </c:pt>
                <c:pt idx="48">
                  <c:v>0.7413379999414784</c:v>
                </c:pt>
                <c:pt idx="49">
                  <c:v>0.7534690804516179</c:v>
                </c:pt>
                <c:pt idx="50">
                  <c:v>0.7763394681010964</c:v>
                </c:pt>
                <c:pt idx="51">
                  <c:v>0.762374753403834</c:v>
                </c:pt>
                <c:pt idx="52">
                  <c:v>0.765793498547034</c:v>
                </c:pt>
                <c:pt idx="53">
                  <c:v>0.7809450004114097</c:v>
                </c:pt>
                <c:pt idx="54">
                  <c:v>0.712885014789627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321.0"/>
          <c:min val="75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39819004524887"/>
          <c:min val="0.516666666666666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9</c:f>
              <c:numCache>
                <c:formatCode>General</c:formatCode>
                <c:ptCount val="8"/>
                <c:pt idx="0">
                  <c:v>0.0</c:v>
                </c:pt>
                <c:pt idx="1">
                  <c:v>0.0</c:v>
                </c:pt>
                <c:pt idx="2">
                  <c:v>0.0</c:v>
                </c:pt>
                <c:pt idx="3">
                  <c:v>0.0</c:v>
                </c:pt>
                <c:pt idx="4">
                  <c:v>0.0</c:v>
                </c:pt>
                <c:pt idx="5">
                  <c:v>0.0</c:v>
                </c:pt>
                <c:pt idx="6">
                  <c:v>0.0</c:v>
                </c:pt>
                <c:pt idx="7">
                  <c:v>0.0</c:v>
                </c:pt>
              </c:numCache>
            </c:numRef>
          </c:xVal>
          <c:yVal>
            <c:numRef>
              <c:f>Sheet1!$B$2:$B$9</c:f>
              <c:numCache>
                <c:formatCode>General</c:formatCode>
                <c:ptCount val="8"/>
                <c:pt idx="0">
                  <c:v>0.0</c:v>
                </c:pt>
                <c:pt idx="1">
                  <c:v>0.0</c:v>
                </c:pt>
                <c:pt idx="2">
                  <c:v>0.0</c:v>
                </c:pt>
                <c:pt idx="3">
                  <c:v>0.0</c:v>
                </c:pt>
                <c:pt idx="4">
                  <c:v>0.0</c:v>
                </c:pt>
                <c:pt idx="5">
                  <c:v>0.0</c:v>
                </c:pt>
                <c:pt idx="6">
                  <c:v>0.0</c:v>
                </c:pt>
                <c:pt idx="7">
                  <c:v>0.0</c:v>
                </c:pt>
              </c:numCache>
            </c:numRef>
          </c:yVal>
          <c:smooth val="0"/>
          <c:extLst>
            <c:ext xmlns:c16="http://schemas.microsoft.com/office/drawing/2014/chart" uri="{C3380CC4-5D6E-409C-BE32-E72D297353CC}">
              <c16:uniqueId val="{00000000-096C-4121-9522-6AB7243CCAAE}"/>
            </c:ext>
          </c:extLst>
        </c:ser>
        <c:ser>
          <c:idx val="1"/>
          <c:order val="1"/>
          <c:tx>
            <c:strRef>
              <c:f>Sheet1!$B$1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2:$A$11</c:f>
              <c:numCache>
                <c:formatCode>General</c:formatCode>
                <c:ptCount val="0"/>
              </c:numCache>
            </c:numRef>
          </c:xVal>
          <c:yVal>
            <c:numRef>
              <c:f>Sheet1!$B$12:$B$11</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A$15</c:f>
              <c:numCache>
                <c:formatCode>General</c:formatCode>
                <c:ptCount val="2"/>
                <c:pt idx="0">
                  <c:v>0</c:v>
                </c:pt>
                <c:pt idx="1">
                  <c:v>0.0</c:v>
                </c:pt>
              </c:numCache>
            </c:numRef>
          </c:xVal>
          <c:yVal>
            <c:numRef>
              <c:f>Sheet1!$B$14:$B$15</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A$19</c:f>
              <c:numCache>
                <c:formatCode>General</c:formatCode>
                <c:ptCount val="2"/>
                <c:pt idx="0">
                  <c:v>0.0</c:v>
                </c:pt>
                <c:pt idx="1">
                  <c:v>0.0</c:v>
                </c:pt>
              </c:numCache>
            </c:numRef>
          </c:xVal>
          <c:yVal>
            <c:numRef>
              <c:f>Sheet1!$B$18:$B$19</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1</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2:$A$24</c:f>
              <c:numCache>
                <c:formatCode>General</c:formatCode>
                <c:ptCount val="3"/>
                <c:pt idx="0">
                  <c:v>0</c:v>
                </c:pt>
                <c:pt idx="1">
                  <c:v>0.0</c:v>
                </c:pt>
                <c:pt idx="2">
                  <c:v>0</c:v>
                </c:pt>
              </c:numCache>
            </c:numRef>
          </c:xVal>
          <c:yVal>
            <c:numRef>
              <c:f>Sheet1!$B$22:$B$24</c:f>
              <c:numCache>
                <c:formatCode>General</c:formatCode>
                <c:ptCount val="3"/>
                <c:pt idx="0">
                  <c:v>0</c:v>
                </c:pt>
                <c:pt idx="1">
                  <c:v>0.0</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Photoderm</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c:f>
              <c:numCache>
                <c:formatCode>General</c:formatCode>
                <c:ptCount val="8"/>
                <c:pt idx="0">
                  <c:v>0.0</c:v>
                </c:pt>
                <c:pt idx="1">
                  <c:v>0.0</c:v>
                </c:pt>
                <c:pt idx="2">
                  <c:v>0.0</c:v>
                </c:pt>
                <c:pt idx="3">
                  <c:v>0.0</c:v>
                </c:pt>
                <c:pt idx="4">
                  <c:v>0.0</c:v>
                </c:pt>
                <c:pt idx="5">
                  <c:v>0.0</c:v>
                </c:pt>
                <c:pt idx="6">
                  <c:v>0.0</c:v>
                </c:pt>
                <c:pt idx="7">
                  <c:v>0.0</c:v>
                </c:pt>
              </c:numCache>
            </c:numRef>
          </c:xVal>
          <c:yVal>
            <c:numRef>
              <c:f>Sheet1!$B$2:$B$9</c:f>
              <c:numCache>
                <c:formatCode>General</c:formatCode>
                <c:ptCount val="8"/>
                <c:pt idx="0">
                  <c:v>0.0</c:v>
                </c:pt>
                <c:pt idx="1">
                  <c:v>0.0</c:v>
                </c:pt>
                <c:pt idx="2">
                  <c:v>0.0</c:v>
                </c:pt>
                <c:pt idx="3">
                  <c:v>0.0</c:v>
                </c:pt>
                <c:pt idx="4">
                  <c:v>0.0</c:v>
                </c:pt>
                <c:pt idx="5">
                  <c:v>0.0</c:v>
                </c:pt>
                <c:pt idx="6">
                  <c:v>0.0</c:v>
                </c:pt>
                <c:pt idx="7">
                  <c:v>0.0</c:v>
                </c:pt>
              </c:numCache>
            </c:numRef>
          </c:yVal>
          <c:smooth val="0"/>
          <c:extLst>
            <c:ext xmlns:c16="http://schemas.microsoft.com/office/drawing/2014/chart" uri="{C3380CC4-5D6E-409C-BE32-E72D297353CC}">
              <c16:uniqueId val="{00000000-F32D-48B7-BC20-E66FC6253BAD}"/>
            </c:ext>
          </c:extLst>
        </c:ser>
        <c:ser>
          <c:idx val="1"/>
          <c:order val="1"/>
          <c:tx>
            <c:strRef>
              <c:f>Sheet1!$B$1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2:$A$11</c:f>
              <c:numCache>
                <c:formatCode>General</c:formatCode>
                <c:ptCount val="0"/>
              </c:numCache>
            </c:numRef>
          </c:xVal>
          <c:yVal>
            <c:numRef>
              <c:f>Sheet1!$B$12:$B$11</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3</c:f>
              <c:strCache>
                <c:ptCount val="1"/>
                <c:pt idx="0">
                  <c:v>Custom Linep3yQ</c:v>
                </c:pt>
              </c:strCache>
            </c:strRef>
          </c:tx>
          <c:spPr>
            <a:ln w="19050" cap="rnd">
              <a:solidFill>
                <a:srgbClr val="C00000"/>
              </a:solidFill>
              <a:prstDash val="sysDot"/>
              <a:round/>
            </a:ln>
            <a:effectLst/>
          </c:spPr>
          <c:marker>
            <c:symbol val="none"/>
          </c:marker>
          <c:xVal>
            <c:numRef>
              <c:f>Sheet1!$A$14:$A$15</c:f>
              <c:numCache>
                <c:formatCode>General</c:formatCode>
                <c:ptCount val="2"/>
                <c:pt idx="0">
                  <c:v>0</c:v>
                </c:pt>
                <c:pt idx="1">
                  <c:v>0.0</c:v>
                </c:pt>
              </c:numCache>
            </c:numRef>
          </c:xVal>
          <c:yVal>
            <c:numRef>
              <c:f>Sheet1!$B$14:$B$15</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A$19</c:f>
              <c:numCache>
                <c:formatCode>General</c:formatCode>
                <c:ptCount val="2"/>
                <c:pt idx="0">
                  <c:v>0.0</c:v>
                </c:pt>
                <c:pt idx="1">
                  <c:v>0.0</c:v>
                </c:pt>
              </c:numCache>
            </c:numRef>
          </c:xVal>
          <c:yVal>
            <c:numRef>
              <c:f>Sheet1!$B$18:$B$19</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1</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2:$A$24</c:f>
              <c:numCache>
                <c:formatCode>General</c:formatCode>
                <c:ptCount val="3"/>
                <c:pt idx="0">
                  <c:v>0</c:v>
                </c:pt>
                <c:pt idx="1">
                  <c:v>0.0</c:v>
                </c:pt>
                <c:pt idx="2">
                  <c:v>0</c:v>
                </c:pt>
              </c:numCache>
            </c:numRef>
          </c:xVal>
          <c:yVal>
            <c:numRef>
              <c:f>Sheet1!$B$22:$B$24</c:f>
              <c:numCache>
                <c:formatCode>General</c:formatCode>
                <c:ptCount val="3"/>
                <c:pt idx="0">
                  <c:v>0</c:v>
                </c:pt>
                <c:pt idx="1">
                  <c:v>0.0</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6</c:f>
              <c:numCache>
                <c:formatCode>General</c:formatCode>
                <c:ptCount val="15"/>
                <c:pt idx="0">
                  <c:v>0.9811706454465075</c:v>
                </c:pt>
                <c:pt idx="1">
                  <c:v>1.1024058876345886</c:v>
                </c:pt>
                <c:pt idx="2">
                  <c:v>1.1847856213019234</c:v>
                </c:pt>
                <c:pt idx="3">
                  <c:v>0.7283918184613052</c:v>
                </c:pt>
                <c:pt idx="4">
                  <c:v>1.1812264064463256</c:v>
                </c:pt>
                <c:pt idx="5">
                  <c:v>1.3876165402435154</c:v>
                </c:pt>
                <c:pt idx="6">
                  <c:v>1.1594247601383405</c:v>
                </c:pt>
                <c:pt idx="7">
                  <c:v>1.0889962324520328</c:v>
                </c:pt>
                <c:pt idx="8">
                  <c:v>0.9917311224969495</c:v>
                </c:pt>
                <c:pt idx="9">
                  <c:v>1.3212059339687745</c:v>
                </c:pt>
                <c:pt idx="10">
                  <c:v>0.7594257900397848</c:v>
                </c:pt>
                <c:pt idx="11">
                  <c:v>1.7310829372766343</c:v>
                </c:pt>
                <c:pt idx="12">
                  <c:v>2.0193523854496016</c:v>
                </c:pt>
                <c:pt idx="13">
                  <c:v>1.588339781349246</c:v>
                </c:pt>
                <c:pt idx="14">
                  <c:v>1.4137656193360286</c:v>
                </c:pt>
              </c:numCache>
            </c:numRef>
          </c:xVal>
          <c:yVal>
            <c:numRef>
              <c:f>Sheet1!$B$2:$B$16</c:f>
              <c:numCache>
                <c:formatCode>General</c:formatCode>
                <c:ptCount val="15"/>
                <c:pt idx="0">
                  <c:v>0.2846865364850976</c:v>
                </c:pt>
                <c:pt idx="1">
                  <c:v>0.0231023102310231</c:v>
                </c:pt>
                <c:pt idx="2">
                  <c:v>0.09688581314878893</c:v>
                </c:pt>
                <c:pt idx="3">
                  <c:v>0.0065420560747663555</c:v>
                </c:pt>
                <c:pt idx="4">
                  <c:v>0.009485094850948509</c:v>
                </c:pt>
                <c:pt idx="5">
                  <c:v>0.025145067698259187</c:v>
                </c:pt>
                <c:pt idx="6">
                  <c:v>0.025</c:v>
                </c:pt>
                <c:pt idx="7">
                  <c:v>0.06046511627906977</c:v>
                </c:pt>
                <c:pt idx="8">
                  <c:v>0.010507880910683012</c:v>
                </c:pt>
                <c:pt idx="9">
                  <c:v>0.01056338028169014</c:v>
                </c:pt>
                <c:pt idx="10">
                  <c:v>0.06734006734006734</c:v>
                </c:pt>
                <c:pt idx="11">
                  <c:v>0.01</c:v>
                </c:pt>
                <c:pt idx="12">
                  <c:v>0.25392670157068065</c:v>
                </c:pt>
                <c:pt idx="13">
                  <c:v>0.16782006920415224</c:v>
                </c:pt>
                <c:pt idx="14">
                  <c:v>0.45145631067961167</c:v>
                </c:pt>
              </c:numCache>
            </c:numRef>
          </c:yVal>
          <c:smooth val="0"/>
          <c:extLst>
            <c:ext xmlns:c16="http://schemas.microsoft.com/office/drawing/2014/chart" uri="{C3380CC4-5D6E-409C-BE32-E72D297353CC}">
              <c16:uniqueId val="{00000000-096C-4121-9522-6AB7243CCAAE}"/>
            </c:ext>
          </c:extLst>
        </c:ser>
        <c:ser>
          <c:idx val="1"/>
          <c:order val="1"/>
          <c:tx>
            <c:strRef>
              <c:f>Sheet1!$B$1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9:$A$31</c:f>
              <c:numCache>
                <c:formatCode>General</c:formatCode>
                <c:ptCount val="13"/>
                <c:pt idx="0">
                  <c:v>0.6626337739140092</c:v>
                </c:pt>
                <c:pt idx="1">
                  <c:v>0.5520317791482263</c:v>
                </c:pt>
                <c:pt idx="2">
                  <c:v>0.6454087574981399</c:v>
                </c:pt>
                <c:pt idx="3">
                  <c:v>1.2791264447323556</c:v>
                </c:pt>
                <c:pt idx="4">
                  <c:v>0.5837710511797026</c:v>
                </c:pt>
                <c:pt idx="5">
                  <c:v>0.8187452729980034</c:v>
                </c:pt>
                <c:pt idx="6">
                  <c:v>2.4056197290273116</c:v>
                </c:pt>
                <c:pt idx="7">
                  <c:v>0.9632874491466917</c:v>
                </c:pt>
                <c:pt idx="8">
                  <c:v>1.0021511793010183</c:v>
                </c:pt>
                <c:pt idx="9">
                  <c:v>0.7486869009112989</c:v>
                </c:pt>
                <c:pt idx="10">
                  <c:v>0.8700575418633218</c:v>
                </c:pt>
                <c:pt idx="11">
                  <c:v>0.59641643601698</c:v>
                </c:pt>
                <c:pt idx="12">
                  <c:v>0.7626826665785129</c:v>
                </c:pt>
              </c:numCache>
            </c:numRef>
          </c:xVal>
          <c:yVal>
            <c:numRef>
              <c:f>Sheet1!$B$19:$B$31</c:f>
              <c:numCache>
                <c:formatCode>General</c:formatCode>
                <c:ptCount val="13"/>
                <c:pt idx="0">
                  <c:v>0.04878048780487805</c:v>
                </c:pt>
                <c:pt idx="1">
                  <c:v>0.0847953216374269</c:v>
                </c:pt>
                <c:pt idx="2">
                  <c:v>0.037520391517128875</c:v>
                </c:pt>
                <c:pt idx="3">
                  <c:v>0.017857142857142856</c:v>
                </c:pt>
                <c:pt idx="4">
                  <c:v>0.03880983182406209</c:v>
                </c:pt>
                <c:pt idx="5">
                  <c:v>0.08055555555555556</c:v>
                </c:pt>
                <c:pt idx="6">
                  <c:v>0.6984126984126984</c:v>
                </c:pt>
                <c:pt idx="7">
                  <c:v>0.042042042042042045</c:v>
                </c:pt>
                <c:pt idx="8">
                  <c:v>0.19771863117870722</c:v>
                </c:pt>
                <c:pt idx="9">
                  <c:v>0.06866952789699571</c:v>
                </c:pt>
                <c:pt idx="10">
                  <c:v>0.24528301886792453</c:v>
                </c:pt>
                <c:pt idx="11">
                  <c:v>0.24537037037037038</c:v>
                </c:pt>
                <c:pt idx="12">
                  <c:v>0.10642570281124498</c:v>
                </c:pt>
              </c:numCache>
            </c:numRef>
          </c:yVal>
          <c:smooth val="0"/>
          <c:extLst>
            <c:ext xmlns:c16="http://schemas.microsoft.com/office/drawing/2014/chart" uri="{C3380CC4-5D6E-409C-BE32-E72D297353CC}">
              <c16:uniqueId val="{00000002-096C-4121-9522-6AB7243CCAAE}"/>
            </c:ext>
          </c:extLst>
        </c:ser>
        <c:ser>
          <c:idx val="2"/>
          <c:order val="2"/>
          <c:tx>
            <c:strRef>
              <c:f>Sheet1!$B$3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34:$A$35</c:f>
              <c:numCache>
                <c:formatCode>General</c:formatCode>
                <c:ptCount val="2"/>
                <c:pt idx="0">
                  <c:v>0</c:v>
                </c:pt>
                <c:pt idx="1">
                  <c:v>1.2571081579231034</c:v>
                </c:pt>
              </c:numCache>
            </c:numRef>
          </c:xVal>
          <c:yVal>
            <c:numRef>
              <c:f>Sheet1!$B$34:$B$35</c:f>
              <c:numCache>
                <c:formatCode>General</c:formatCode>
                <c:ptCount val="2"/>
                <c:pt idx="0">
                  <c:v>0.2504251836796736</c:v>
                </c:pt>
                <c:pt idx="1">
                  <c:v>0.2504251836796736</c:v>
                </c:pt>
              </c:numCache>
            </c:numRef>
          </c:yVal>
          <c:smooth val="0"/>
          <c:extLst>
            <c:ext xmlns:c16="http://schemas.microsoft.com/office/drawing/2014/chart" uri="{C3380CC4-5D6E-409C-BE32-E72D297353CC}">
              <c16:uniqueId val="{00000005-096C-4121-9522-6AB7243CCAAE}"/>
            </c:ext>
          </c:extLst>
        </c:ser>
        <c:ser>
          <c:idx val="3"/>
          <c:order val="3"/>
          <c:tx>
            <c:strRef>
              <c:f>Sheet1!$B$3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8:$A$39</c:f>
              <c:numCache>
                <c:formatCode>General</c:formatCode>
                <c:ptCount val="2"/>
                <c:pt idx="0">
                  <c:v>1.2571081579231034</c:v>
                </c:pt>
                <c:pt idx="1">
                  <c:v>1.2571081579231034</c:v>
                </c:pt>
              </c:numCache>
            </c:numRef>
          </c:xVal>
          <c:yVal>
            <c:numRef>
              <c:f>Sheet1!$B$38:$B$39</c:f>
              <c:numCache>
                <c:formatCode>General</c:formatCode>
                <c:ptCount val="2"/>
                <c:pt idx="0">
                  <c:v>0.25042518367967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2:$A$43</c:f>
              <c:numCache>
                <c:formatCode>General</c:formatCode>
                <c:ptCount val="2"/>
                <c:pt idx="0">
                  <c:v>0</c:v>
                </c:pt>
                <c:pt idx="1">
                  <c:v>1.2571081579231034</c:v>
                </c:pt>
              </c:numCache>
            </c:numRef>
          </c:xVal>
          <c:yVal>
            <c:numRef>
              <c:f>Sheet1!$B$42:$B$43</c:f>
              <c:numCache>
                <c:formatCode>General</c:formatCode>
                <c:ptCount val="2"/>
                <c:pt idx="0">
                  <c:v>0.2504251836796736</c:v>
                </c:pt>
                <c:pt idx="1">
                  <c:v>0.2504251836796736</c:v>
                </c:pt>
              </c:numCache>
            </c:numRef>
          </c:yVal>
          <c:smooth val="0"/>
          <c:extLst>
            <c:ext xmlns:c16="http://schemas.microsoft.com/office/drawing/2014/chart" uri="{C3380CC4-5D6E-409C-BE32-E72D297353CC}">
              <c16:uniqueId val="{0000000D-096C-4121-9522-6AB7243CCAAE}"/>
            </c:ext>
          </c:extLst>
        </c:ser>
        <c:ser>
          <c:idx val="5"/>
          <c:order val="5"/>
          <c:tx>
            <c:strRef>
              <c:f>Sheet1!$B$4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6:$A$47</c:f>
              <c:numCache>
                <c:formatCode>General</c:formatCode>
                <c:ptCount val="2"/>
                <c:pt idx="0">
                  <c:v>1.2571081579231034</c:v>
                </c:pt>
                <c:pt idx="1">
                  <c:v>1.2571081579231034</c:v>
                </c:pt>
              </c:numCache>
            </c:numRef>
          </c:xVal>
          <c:yVal>
            <c:numRef>
              <c:f>Sheet1!$B$46:$B$47</c:f>
              <c:numCache>
                <c:formatCode>General</c:formatCode>
                <c:ptCount val="2"/>
                <c:pt idx="0">
                  <c:v>0.250425183679673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49</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50:$A$51</c:f>
              <c:numCache>
                <c:formatCode>General</c:formatCode>
                <c:ptCount val="2"/>
                <c:pt idx="0">
                  <c:v>0</c:v>
                </c:pt>
                <c:pt idx="1">
                  <c:v>0.9994973776062555</c:v>
                </c:pt>
              </c:numCache>
            </c:numRef>
          </c:xVal>
          <c:yVal>
            <c:numRef>
              <c:f>Sheet1!$B$50:$B$51</c:f>
              <c:numCache>
                <c:formatCode>General</c:formatCode>
                <c:ptCount val="2"/>
                <c:pt idx="0">
                  <c:v>0.17269345022504853</c:v>
                </c:pt>
                <c:pt idx="1">
                  <c:v>0.17269345022504853</c:v>
                </c:pt>
              </c:numCache>
            </c:numRef>
          </c:yVal>
          <c:smooth val="0"/>
          <c:extLst>
            <c:ext xmlns:c16="http://schemas.microsoft.com/office/drawing/2014/chart" uri="{C3380CC4-5D6E-409C-BE32-E72D297353CC}">
              <c16:uniqueId val="{00000015-096C-4121-9522-6AB7243CCAAE}"/>
            </c:ext>
          </c:extLst>
        </c:ser>
        <c:ser>
          <c:idx val="7"/>
          <c:order val="7"/>
          <c:tx>
            <c:strRef>
              <c:f>Sheet1!$B$53</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4:$A$55</c:f>
              <c:numCache>
                <c:formatCode>General</c:formatCode>
                <c:ptCount val="2"/>
                <c:pt idx="0">
                  <c:v>0.9994973776062555</c:v>
                </c:pt>
                <c:pt idx="1">
                  <c:v>0.9994973776062555</c:v>
                </c:pt>
              </c:numCache>
            </c:numRef>
          </c:xVal>
          <c:yVal>
            <c:numRef>
              <c:f>Sheet1!$B$54:$B$55</c:f>
              <c:numCache>
                <c:formatCode>General</c:formatCode>
                <c:ptCount val="2"/>
                <c:pt idx="0">
                  <c:v>0.1726934502250485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57</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58:$A$73</c:f>
              <c:numCache>
                <c:formatCode>General</c:formatCode>
                <c:ptCount val="16"/>
                <c:pt idx="0">
                  <c:v>0.6626337739140092</c:v>
                </c:pt>
                <c:pt idx="1">
                  <c:v>0.5520317791482263</c:v>
                </c:pt>
                <c:pt idx="2">
                  <c:v>0.6454087574981399</c:v>
                </c:pt>
                <c:pt idx="3">
                  <c:v>1.2791264447323556</c:v>
                </c:pt>
                <c:pt idx="4">
                  <c:v>0.5837710511797026</c:v>
                </c:pt>
                <c:pt idx="5">
                  <c:v>0.8187452729980034</c:v>
                </c:pt>
                <c:pt idx="6">
                  <c:v>2.4056197290273116</c:v>
                </c:pt>
                <c:pt idx="7">
                  <c:v>0.9632874491466917</c:v>
                </c:pt>
                <c:pt idx="8">
                  <c:v>1.0021511793010183</c:v>
                </c:pt>
                <c:pt idx="9">
                  <c:v>0.7486869009112989</c:v>
                </c:pt>
                <c:pt idx="10">
                  <c:v>0.8700575418633218</c:v>
                </c:pt>
                <c:pt idx="11">
                  <c:v>0.59641643601698</c:v>
                </c:pt>
                <c:pt idx="12">
                  <c:v>0.7626826665785129</c:v>
                </c:pt>
                <c:pt idx="13">
                  <c:v>1.2571081579231034</c:v>
                </c:pt>
                <c:pt idx="14">
                  <c:v>1.2571081579231034</c:v>
                </c:pt>
                <c:pt idx="15">
                  <c:v>0.9994973776062555</c:v>
                </c:pt>
              </c:numCache>
            </c:numRef>
          </c:xVal>
          <c:yVal>
            <c:numRef>
              <c:f>Sheet1!$B$58:$B$73</c:f>
              <c:numCache>
                <c:formatCode>General</c:formatCode>
                <c:ptCount val="16"/>
                <c:pt idx="0">
                  <c:v>0.07104789090270985</c:v>
                </c:pt>
                <c:pt idx="1">
                  <c:v>0.03767473483327263</c:v>
                </c:pt>
                <c:pt idx="2">
                  <c:v>0.0658503972918327</c:v>
                </c:pt>
                <c:pt idx="3">
                  <c:v>0.25706900347354716</c:v>
                </c:pt>
                <c:pt idx="4">
                  <c:v>0.04725177439101197</c:v>
                </c:pt>
                <c:pt idx="5">
                  <c:v>0.11815313013638548</c:v>
                </c:pt>
                <c:pt idx="6">
                  <c:v>0.5969782091579566</c:v>
                </c:pt>
                <c:pt idx="7">
                  <c:v>0.1617674303435515</c:v>
                </c:pt>
                <c:pt idx="8">
                  <c:v>0.1734942109918341</c:v>
                </c:pt>
                <c:pt idx="9">
                  <c:v>0.09701364715896249</c:v>
                </c:pt>
                <c:pt idx="10">
                  <c:v>0.13363614525510542</c:v>
                </c:pt>
                <c:pt idx="11">
                  <c:v>0.05106740540766985</c:v>
                </c:pt>
                <c:pt idx="12">
                  <c:v>0.10123674343233738</c:v>
                </c:pt>
                <c:pt idx="13">
                  <c:v>0.25042518367967365</c:v>
                </c:pt>
                <c:pt idx="14">
                  <c:v>0.25042518367967365</c:v>
                </c:pt>
                <c:pt idx="15">
                  <c:v>0.1726934502250485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38095238095238"/>
          <c:min val="0.0052336448598130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6</c:f>
              <c:numCache>
                <c:formatCode>General</c:formatCode>
                <c:ptCount val="15"/>
                <c:pt idx="0">
                  <c:v>1109.704</c:v>
                </c:pt>
                <c:pt idx="1">
                  <c:v>1284.1429</c:v>
                </c:pt>
                <c:pt idx="2">
                  <c:v>1133.6607</c:v>
                </c:pt>
                <c:pt idx="3">
                  <c:v>1205.0</c:v>
                </c:pt>
                <c:pt idx="4">
                  <c:v>1028.2857</c:v>
                </c:pt>
                <c:pt idx="5">
                  <c:v>1291.6154</c:v>
                </c:pt>
                <c:pt idx="6">
                  <c:v>1375.75</c:v>
                </c:pt>
                <c:pt idx="7">
                  <c:v>1145.2308</c:v>
                </c:pt>
                <c:pt idx="8">
                  <c:v>1235.1667</c:v>
                </c:pt>
                <c:pt idx="9">
                  <c:v>1472.5</c:v>
                </c:pt>
                <c:pt idx="10">
                  <c:v>1062.4</c:v>
                </c:pt>
                <c:pt idx="11">
                  <c:v>1478.1667</c:v>
                </c:pt>
                <c:pt idx="12">
                  <c:v>1833.7216</c:v>
                </c:pt>
                <c:pt idx="13">
                  <c:v>1833.7216</c:v>
                </c:pt>
                <c:pt idx="14">
                  <c:v>1830.7097</c:v>
                </c:pt>
              </c:numCache>
            </c:numRef>
          </c:xVal>
          <c:yVal>
            <c:numRef>
              <c:f>Sheet1!$B$2:$B$16</c:f>
              <c:numCache>
                <c:formatCode>General</c:formatCode>
                <c:ptCount val="15"/>
                <c:pt idx="0">
                  <c:v>0.2846865364850976</c:v>
                </c:pt>
                <c:pt idx="1">
                  <c:v>0.0231023102310231</c:v>
                </c:pt>
                <c:pt idx="2">
                  <c:v>0.09688581314878893</c:v>
                </c:pt>
                <c:pt idx="3">
                  <c:v>0.0065420560747663555</c:v>
                </c:pt>
                <c:pt idx="4">
                  <c:v>0.009485094850948509</c:v>
                </c:pt>
                <c:pt idx="5">
                  <c:v>0.025145067698259187</c:v>
                </c:pt>
                <c:pt idx="6">
                  <c:v>0.025</c:v>
                </c:pt>
                <c:pt idx="7">
                  <c:v>0.06046511627906977</c:v>
                </c:pt>
                <c:pt idx="8">
                  <c:v>0.010507880910683012</c:v>
                </c:pt>
                <c:pt idx="9">
                  <c:v>0.01056338028169014</c:v>
                </c:pt>
                <c:pt idx="10">
                  <c:v>0.06734006734006734</c:v>
                </c:pt>
                <c:pt idx="11">
                  <c:v>0.01</c:v>
                </c:pt>
                <c:pt idx="12">
                  <c:v>0.25392670157068065</c:v>
                </c:pt>
                <c:pt idx="13">
                  <c:v>0.16782006920415224</c:v>
                </c:pt>
                <c:pt idx="14">
                  <c:v>0.45145631067961167</c:v>
                </c:pt>
              </c:numCache>
            </c:numRef>
          </c:yVal>
          <c:smooth val="0"/>
          <c:extLst>
            <c:ext xmlns:c16="http://schemas.microsoft.com/office/drawing/2014/chart" uri="{C3380CC4-5D6E-409C-BE32-E72D297353CC}">
              <c16:uniqueId val="{00000000-F32D-48B7-BC20-E66FC6253BAD}"/>
            </c:ext>
          </c:extLst>
        </c:ser>
        <c:ser>
          <c:idx val="1"/>
          <c:order val="1"/>
          <c:tx>
            <c:strRef>
              <c:f>Sheet1!$B$1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9:$A$31</c:f>
              <c:numCache>
                <c:formatCode>General</c:formatCode>
                <c:ptCount val="13"/>
                <c:pt idx="0">
                  <c:v>737.4167</c:v>
                </c:pt>
                <c:pt idx="1">
                  <c:v>643.8621</c:v>
                </c:pt>
                <c:pt idx="2">
                  <c:v>1090.0</c:v>
                </c:pt>
                <c:pt idx="3">
                  <c:v>1452.0</c:v>
                </c:pt>
                <c:pt idx="4">
                  <c:v>792.7333</c:v>
                </c:pt>
                <c:pt idx="5">
                  <c:v>817.9655</c:v>
                </c:pt>
                <c:pt idx="6">
                  <c:v>1080.5606</c:v>
                </c:pt>
                <c:pt idx="7">
                  <c:v>1166.7143</c:v>
                </c:pt>
                <c:pt idx="8">
                  <c:v>1009.2885</c:v>
                </c:pt>
                <c:pt idx="9">
                  <c:v>907.75</c:v>
                </c:pt>
                <c:pt idx="10">
                  <c:v>1009.2885</c:v>
                </c:pt>
                <c:pt idx="11">
                  <c:v>996.6792</c:v>
                </c:pt>
                <c:pt idx="12">
                  <c:v>996.6792</c:v>
                </c:pt>
              </c:numCache>
            </c:numRef>
          </c:xVal>
          <c:yVal>
            <c:numRef>
              <c:f>Sheet1!$B$19:$B$31</c:f>
              <c:numCache>
                <c:formatCode>General</c:formatCode>
                <c:ptCount val="13"/>
                <c:pt idx="0">
                  <c:v>0.04878048780487805</c:v>
                </c:pt>
                <c:pt idx="1">
                  <c:v>0.0847953216374269</c:v>
                </c:pt>
                <c:pt idx="2">
                  <c:v>0.037520391517128875</c:v>
                </c:pt>
                <c:pt idx="3">
                  <c:v>0.017857142857142856</c:v>
                </c:pt>
                <c:pt idx="4">
                  <c:v>0.03880983182406209</c:v>
                </c:pt>
                <c:pt idx="5">
                  <c:v>0.08055555555555556</c:v>
                </c:pt>
                <c:pt idx="6">
                  <c:v>0.6984126984126984</c:v>
                </c:pt>
                <c:pt idx="7">
                  <c:v>0.042042042042042045</c:v>
                </c:pt>
                <c:pt idx="8">
                  <c:v>0.19771863117870722</c:v>
                </c:pt>
                <c:pt idx="9">
                  <c:v>0.06866952789699571</c:v>
                </c:pt>
                <c:pt idx="10">
                  <c:v>0.24528301886792453</c:v>
                </c:pt>
                <c:pt idx="11">
                  <c:v>0.24537037037037038</c:v>
                </c:pt>
                <c:pt idx="12">
                  <c:v>0.10642570281124498</c:v>
                </c:pt>
              </c:numCache>
            </c:numRef>
          </c:yVal>
          <c:smooth val="0"/>
          <c:extLst>
            <c:ext xmlns:c16="http://schemas.microsoft.com/office/drawing/2014/chart" uri="{C3380CC4-5D6E-409C-BE32-E72D297353CC}">
              <c16:uniqueId val="{00000002-F32D-48B7-BC20-E66FC6253BAD}"/>
            </c:ext>
          </c:extLst>
        </c:ser>
        <c:ser>
          <c:idx val="2"/>
          <c:order val="2"/>
          <c:tx>
            <c:strRef>
              <c:f>Sheet1!$B$33</c:f>
              <c:strCache>
                <c:ptCount val="1"/>
                <c:pt idx="0">
                  <c:v>Custom Linep3yQ</c:v>
                </c:pt>
              </c:strCache>
            </c:strRef>
          </c:tx>
          <c:spPr>
            <a:ln w="19050" cap="rnd">
              <a:solidFill>
                <a:srgbClr val="C00000"/>
              </a:solidFill>
              <a:prstDash val="sysDot"/>
              <a:round/>
            </a:ln>
            <a:effectLst/>
          </c:spPr>
          <c:marker>
            <c:symbol val="none"/>
          </c:marker>
          <c:xVal>
            <c:numRef>
              <c:f>Sheet1!$A$34:$A$35</c:f>
              <c:numCache>
                <c:formatCode>General</c:formatCode>
                <c:ptCount val="2"/>
                <c:pt idx="0">
                  <c:v>0</c:v>
                </c:pt>
                <c:pt idx="1">
                  <c:v>2060.9198531697884</c:v>
                </c:pt>
              </c:numCache>
            </c:numRef>
          </c:xVal>
          <c:yVal>
            <c:numRef>
              <c:f>Sheet1!$B$34:$B$35</c:f>
              <c:numCache>
                <c:formatCode>General</c:formatCode>
                <c:ptCount val="2"/>
                <c:pt idx="0">
                  <c:v>0.2504251836796736</c:v>
                </c:pt>
                <c:pt idx="1">
                  <c:v>0.2504251836796736</c:v>
                </c:pt>
              </c:numCache>
            </c:numRef>
          </c:yVal>
          <c:smooth val="0"/>
          <c:extLst>
            <c:ext xmlns:c16="http://schemas.microsoft.com/office/drawing/2014/chart" uri="{C3380CC4-5D6E-409C-BE32-E72D297353CC}">
              <c16:uniqueId val="{00000003-F32D-48B7-BC20-E66FC6253BAD}"/>
            </c:ext>
          </c:extLst>
        </c:ser>
        <c:ser>
          <c:idx val="3"/>
          <c:order val="3"/>
          <c:tx>
            <c:strRef>
              <c:f>Sheet1!$B$3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8:$A$39</c:f>
              <c:numCache>
                <c:formatCode>General</c:formatCode>
                <c:ptCount val="2"/>
                <c:pt idx="0">
                  <c:v>2060.9198531697884</c:v>
                </c:pt>
                <c:pt idx="1">
                  <c:v>2060.9198531697884</c:v>
                </c:pt>
              </c:numCache>
            </c:numRef>
          </c:xVal>
          <c:yVal>
            <c:numRef>
              <c:f>Sheet1!$B$38:$B$39</c:f>
              <c:numCache>
                <c:formatCode>General</c:formatCode>
                <c:ptCount val="2"/>
                <c:pt idx="0">
                  <c:v>0.25042518367967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2:$A$43</c:f>
              <c:numCache>
                <c:formatCode>General</c:formatCode>
                <c:ptCount val="2"/>
                <c:pt idx="0">
                  <c:v>0</c:v>
                </c:pt>
                <c:pt idx="1">
                  <c:v>2060.9198531697884</c:v>
                </c:pt>
              </c:numCache>
            </c:numRef>
          </c:xVal>
          <c:yVal>
            <c:numRef>
              <c:f>Sheet1!$B$42:$B$43</c:f>
              <c:numCache>
                <c:formatCode>General</c:formatCode>
                <c:ptCount val="2"/>
                <c:pt idx="0">
                  <c:v>0.2504251836796736</c:v>
                </c:pt>
                <c:pt idx="1">
                  <c:v>0.2504251836796736</c:v>
                </c:pt>
              </c:numCache>
            </c:numRef>
          </c:yVal>
          <c:smooth val="0"/>
          <c:extLst>
            <c:ext xmlns:c16="http://schemas.microsoft.com/office/drawing/2014/chart" uri="{C3380CC4-5D6E-409C-BE32-E72D297353CC}">
              <c16:uniqueId val="{0000000A-F32D-48B7-BC20-E66FC6253BAD}"/>
            </c:ext>
          </c:extLst>
        </c:ser>
        <c:ser>
          <c:idx val="5"/>
          <c:order val="5"/>
          <c:tx>
            <c:strRef>
              <c:f>Sheet1!$B$4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6:$A$47</c:f>
              <c:numCache>
                <c:formatCode>General</c:formatCode>
                <c:ptCount val="2"/>
                <c:pt idx="0">
                  <c:v>2060.9198531697884</c:v>
                </c:pt>
                <c:pt idx="1">
                  <c:v>2060.9198531697884</c:v>
                </c:pt>
              </c:numCache>
            </c:numRef>
          </c:xVal>
          <c:yVal>
            <c:numRef>
              <c:f>Sheet1!$B$46:$B$47</c:f>
              <c:numCache>
                <c:formatCode>General</c:formatCode>
                <c:ptCount val="2"/>
                <c:pt idx="0">
                  <c:v>0.250425183679673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49</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50:$A$51</c:f>
              <c:numCache>
                <c:formatCode>General</c:formatCode>
                <c:ptCount val="2"/>
                <c:pt idx="0">
                  <c:v>0</c:v>
                </c:pt>
                <c:pt idx="1">
                  <c:v>1245.5172633152392</c:v>
                </c:pt>
              </c:numCache>
            </c:numRef>
          </c:xVal>
          <c:yVal>
            <c:numRef>
              <c:f>Sheet1!$B$50:$B$51</c:f>
              <c:numCache>
                <c:formatCode>General</c:formatCode>
                <c:ptCount val="2"/>
                <c:pt idx="0">
                  <c:v>0.17269345022504853</c:v>
                </c:pt>
                <c:pt idx="1">
                  <c:v>0.17269345022504853</c:v>
                </c:pt>
              </c:numCache>
            </c:numRef>
          </c:yVal>
          <c:smooth val="0"/>
          <c:extLst>
            <c:ext xmlns:c16="http://schemas.microsoft.com/office/drawing/2014/chart" uri="{C3380CC4-5D6E-409C-BE32-E72D297353CC}">
              <c16:uniqueId val="{00000011-F32D-48B7-BC20-E66FC6253BAD}"/>
            </c:ext>
          </c:extLst>
        </c:ser>
        <c:ser>
          <c:idx val="7"/>
          <c:order val="7"/>
          <c:tx>
            <c:strRef>
              <c:f>Sheet1!$B$53</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4:$A$55</c:f>
              <c:numCache>
                <c:formatCode>General</c:formatCode>
                <c:ptCount val="2"/>
                <c:pt idx="0">
                  <c:v>1245.5172633152392</c:v>
                </c:pt>
                <c:pt idx="1">
                  <c:v>1245.5172633152392</c:v>
                </c:pt>
              </c:numCache>
            </c:numRef>
          </c:xVal>
          <c:yVal>
            <c:numRef>
              <c:f>Sheet1!$B$54:$B$55</c:f>
              <c:numCache>
                <c:formatCode>General</c:formatCode>
                <c:ptCount val="2"/>
                <c:pt idx="0">
                  <c:v>0.1726934502250485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57</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58:$A$73</c:f>
              <c:numCache>
                <c:formatCode>General</c:formatCode>
                <c:ptCount val="16"/>
                <c:pt idx="0">
                  <c:v>737.4167</c:v>
                </c:pt>
                <c:pt idx="1">
                  <c:v>643.8621</c:v>
                </c:pt>
                <c:pt idx="2">
                  <c:v>1090.0</c:v>
                </c:pt>
                <c:pt idx="3">
                  <c:v>1452.0</c:v>
                </c:pt>
                <c:pt idx="4">
                  <c:v>792.7333</c:v>
                </c:pt>
                <c:pt idx="5">
                  <c:v>817.9655</c:v>
                </c:pt>
                <c:pt idx="6">
                  <c:v>1080.5606</c:v>
                </c:pt>
                <c:pt idx="7">
                  <c:v>1166.7143</c:v>
                </c:pt>
                <c:pt idx="8">
                  <c:v>1009.2885</c:v>
                </c:pt>
                <c:pt idx="9">
                  <c:v>907.75</c:v>
                </c:pt>
                <c:pt idx="10">
                  <c:v>1009.2885</c:v>
                </c:pt>
                <c:pt idx="11">
                  <c:v>996.6792</c:v>
                </c:pt>
                <c:pt idx="12">
                  <c:v>996.6792</c:v>
                </c:pt>
                <c:pt idx="13">
                  <c:v>2060.9198531697884</c:v>
                </c:pt>
                <c:pt idx="14">
                  <c:v>2060.9198531697884</c:v>
                </c:pt>
                <c:pt idx="15">
                  <c:v>1245.5172633152392</c:v>
                </c:pt>
              </c:numCache>
            </c:numRef>
          </c:xVal>
          <c:yVal>
            <c:numRef>
              <c:f>Sheet1!$B$58:$B$73</c:f>
              <c:numCache>
                <c:formatCode>General</c:formatCode>
                <c:ptCount val="16"/>
                <c:pt idx="0">
                  <c:v>0.12425659455745713</c:v>
                </c:pt>
                <c:pt idx="1">
                  <c:v>0.11533810285638066</c:v>
                </c:pt>
                <c:pt idx="2">
                  <c:v>0.15786810307748886</c:v>
                </c:pt>
                <c:pt idx="3">
                  <c:v>0.19237729873210857</c:v>
                </c:pt>
                <c:pt idx="4">
                  <c:v>0.1295298856412923</c:v>
                </c:pt>
                <c:pt idx="5">
                  <c:v>0.13193525284183513</c:v>
                </c:pt>
                <c:pt idx="6">
                  <c:v>0.1569682519684772</c:v>
                </c:pt>
                <c:pt idx="7">
                  <c:v>0.16518122127695625</c:v>
                </c:pt>
                <c:pt idx="8">
                  <c:v>0.15017393472092022</c:v>
                </c:pt>
                <c:pt idx="9">
                  <c:v>0.1404943436629738</c:v>
                </c:pt>
                <c:pt idx="10">
                  <c:v>0.15017393472092022</c:v>
                </c:pt>
                <c:pt idx="11">
                  <c:v>0.14897189935968322</c:v>
                </c:pt>
                <c:pt idx="12">
                  <c:v>0.14897189935968322</c:v>
                </c:pt>
                <c:pt idx="13">
                  <c:v>0.2504251836796736</c:v>
                </c:pt>
                <c:pt idx="14">
                  <c:v>0.2504251836796736</c:v>
                </c:pt>
                <c:pt idx="15">
                  <c:v>0.172693450225048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73.0"/>
          <c:min val="51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38095238095238"/>
          <c:min val="0.0052336448598130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1</c:f>
              <c:numCache>
                <c:formatCode>General</c:formatCode>
                <c:ptCount val="10"/>
                <c:pt idx="0">
                  <c:v>0.8797683578342823</c:v>
                </c:pt>
                <c:pt idx="1">
                  <c:v>0.29755583932435553</c:v>
                </c:pt>
                <c:pt idx="2">
                  <c:v>0.9007398176035507</c:v>
                </c:pt>
                <c:pt idx="3">
                  <c:v>0.27800076955102226</c:v>
                </c:pt>
                <c:pt idx="4">
                  <c:v>0.42107696904405567</c:v>
                </c:pt>
                <c:pt idx="5">
                  <c:v>0.3183726442289158</c:v>
                </c:pt>
                <c:pt idx="6">
                  <c:v>0.32030481865706006</c:v>
                </c:pt>
                <c:pt idx="7">
                  <c:v>0.39735381124167585</c:v>
                </c:pt>
                <c:pt idx="8">
                  <c:v>0.40095503885678013</c:v>
                </c:pt>
                <c:pt idx="9">
                  <c:v>0.31198188479890937</c:v>
                </c:pt>
              </c:numCache>
            </c:numRef>
          </c:xVal>
          <c:yVal>
            <c:numRef>
              <c:f>Sheet1!$B$2:$B$11</c:f>
              <c:numCache>
                <c:formatCode>General</c:formatCode>
                <c:ptCount val="10"/>
                <c:pt idx="0">
                  <c:v>0.2846865364850976</c:v>
                </c:pt>
                <c:pt idx="1">
                  <c:v>0.09688581314878893</c:v>
                </c:pt>
                <c:pt idx="2">
                  <c:v>0.0065420560747663555</c:v>
                </c:pt>
                <c:pt idx="3">
                  <c:v>0.025145067698259187</c:v>
                </c:pt>
                <c:pt idx="4">
                  <c:v>0.025</c:v>
                </c:pt>
                <c:pt idx="5">
                  <c:v>0.01056338028169014</c:v>
                </c:pt>
                <c:pt idx="6">
                  <c:v>0.01</c:v>
                </c:pt>
                <c:pt idx="7">
                  <c:v>0.25392670157068065</c:v>
                </c:pt>
                <c:pt idx="8">
                  <c:v>0.16782006920415224</c:v>
                </c:pt>
                <c:pt idx="9">
                  <c:v>0.45145631067961167</c:v>
                </c:pt>
              </c:numCache>
            </c:numRef>
          </c:yVal>
          <c:smooth val="0"/>
          <c:extLst>
            <c:ext xmlns:c16="http://schemas.microsoft.com/office/drawing/2014/chart" uri="{C3380CC4-5D6E-409C-BE32-E72D297353CC}">
              <c16:uniqueId val="{00000000-096C-4121-9522-6AB7243CCAAE}"/>
            </c:ext>
          </c:extLst>
        </c:ser>
        <c:ser>
          <c:idx val="1"/>
          <c:order val="1"/>
          <c:tx>
            <c:strRef>
              <c:f>Sheet1!$B$1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4:$A$22</c:f>
              <c:numCache>
                <c:formatCode>General</c:formatCode>
                <c:ptCount val="9"/>
                <c:pt idx="0">
                  <c:v>0.40439437418673274</c:v>
                </c:pt>
                <c:pt idx="1">
                  <c:v>0.11264617988090785</c:v>
                </c:pt>
                <c:pt idx="2">
                  <c:v>0.3028313116240882</c:v>
                </c:pt>
                <c:pt idx="3">
                  <c:v>0.29755001376168816</c:v>
                </c:pt>
                <c:pt idx="4">
                  <c:v>1.244479277864992</c:v>
                </c:pt>
                <c:pt idx="5">
                  <c:v>0.4197564929908229</c:v>
                </c:pt>
                <c:pt idx="6">
                  <c:v>0.6840814937207883</c:v>
                </c:pt>
                <c:pt idx="7">
                  <c:v>0.13798511573019945</c:v>
                </c:pt>
                <c:pt idx="8">
                  <c:v>0.5867888333879981</c:v>
                </c:pt>
              </c:numCache>
            </c:numRef>
          </c:xVal>
          <c:yVal>
            <c:numRef>
              <c:f>Sheet1!$B$14:$B$22</c:f>
              <c:numCache>
                <c:formatCode>General</c:formatCode>
                <c:ptCount val="9"/>
                <c:pt idx="0">
                  <c:v>0.04878048780487805</c:v>
                </c:pt>
                <c:pt idx="1">
                  <c:v>0.0847953216374269</c:v>
                </c:pt>
                <c:pt idx="2">
                  <c:v>0.037520391517128875</c:v>
                </c:pt>
                <c:pt idx="3">
                  <c:v>0.017857142857142856</c:v>
                </c:pt>
                <c:pt idx="4">
                  <c:v>0.03880983182406209</c:v>
                </c:pt>
                <c:pt idx="5">
                  <c:v>0.08055555555555556</c:v>
                </c:pt>
                <c:pt idx="6">
                  <c:v>0.19771863117870722</c:v>
                </c:pt>
                <c:pt idx="7">
                  <c:v>0.24528301886792453</c:v>
                </c:pt>
                <c:pt idx="8">
                  <c:v>0.10642570281124498</c:v>
                </c:pt>
              </c:numCache>
            </c:numRef>
          </c:yVal>
          <c:smooth val="0"/>
          <c:extLst>
            <c:ext xmlns:c16="http://schemas.microsoft.com/office/drawing/2014/chart" uri="{C3380CC4-5D6E-409C-BE32-E72D297353CC}">
              <c16:uniqueId val="{00000002-096C-4121-9522-6AB7243CCAAE}"/>
            </c:ext>
          </c:extLst>
        </c:ser>
        <c:ser>
          <c:idx val="2"/>
          <c:order val="2"/>
          <c:tx>
            <c:strRef>
              <c:f>Sheet1!$B$2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5:$A$26</c:f>
              <c:numCache>
                <c:formatCode>General</c:formatCode>
                <c:ptCount val="2"/>
                <c:pt idx="0">
                  <c:v>0</c:v>
                </c:pt>
                <c:pt idx="1">
                  <c:v>-4.114315180125048</c:v>
                </c:pt>
              </c:numCache>
            </c:numRef>
          </c:xVal>
          <c:yVal>
            <c:numRef>
              <c:f>Sheet1!$B$25:$B$26</c:f>
              <c:numCache>
                <c:formatCode>General</c:formatCode>
                <c:ptCount val="2"/>
                <c:pt idx="0">
                  <c:v>0.2846865364850976</c:v>
                </c:pt>
                <c:pt idx="1">
                  <c:v>0.2846865364850976</c:v>
                </c:pt>
              </c:numCache>
            </c:numRef>
          </c:yVal>
          <c:smooth val="0"/>
          <c:extLst>
            <c:ext xmlns:c16="http://schemas.microsoft.com/office/drawing/2014/chart" uri="{C3380CC4-5D6E-409C-BE32-E72D297353CC}">
              <c16:uniqueId val="{00000005-096C-4121-9522-6AB7243CCAAE}"/>
            </c:ext>
          </c:extLst>
        </c:ser>
        <c:ser>
          <c:idx val="3"/>
          <c:order val="3"/>
          <c:tx>
            <c:strRef>
              <c:f>Sheet1!$B$2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9:$A$30</c:f>
              <c:numCache>
                <c:formatCode>General</c:formatCode>
                <c:ptCount val="2"/>
                <c:pt idx="0">
                  <c:v>-4.114315180125048</c:v>
                </c:pt>
                <c:pt idx="1">
                  <c:v>-4.114315180125048</c:v>
                </c:pt>
              </c:numCache>
            </c:numRef>
          </c:xVal>
          <c:yVal>
            <c:numRef>
              <c:f>Sheet1!$B$29:$B$30</c:f>
              <c:numCache>
                <c:formatCode>General</c:formatCode>
                <c:ptCount val="2"/>
                <c:pt idx="0">
                  <c:v>0.284686536485097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2</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3:$A$34</c:f>
              <c:numCache>
                <c:formatCode>General</c:formatCode>
                <c:ptCount val="2"/>
                <c:pt idx="0">
                  <c:v>0</c:v>
                </c:pt>
                <c:pt idx="1">
                  <c:v>-2.5862560963153376</c:v>
                </c:pt>
              </c:numCache>
            </c:numRef>
          </c:xVal>
          <c:yVal>
            <c:numRef>
              <c:f>Sheet1!$B$33:$B$34</c:f>
              <c:numCache>
                <c:formatCode>General</c:formatCode>
                <c:ptCount val="2"/>
                <c:pt idx="0">
                  <c:v>0.22150082502331586</c:v>
                </c:pt>
                <c:pt idx="1">
                  <c:v>0.22150082502331586</c:v>
                </c:pt>
              </c:numCache>
            </c:numRef>
          </c:yVal>
          <c:smooth val="0"/>
          <c:extLst>
            <c:ext xmlns:c16="http://schemas.microsoft.com/office/drawing/2014/chart" uri="{C3380CC4-5D6E-409C-BE32-E72D297353CC}">
              <c16:uniqueId val="{0000000D-096C-4121-9522-6AB7243CCAAE}"/>
            </c:ext>
          </c:extLst>
        </c:ser>
        <c:ser>
          <c:idx val="5"/>
          <c:order val="5"/>
          <c:tx>
            <c:strRef>
              <c:f>Sheet1!$B$36</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7:$A$38</c:f>
              <c:numCache>
                <c:formatCode>General</c:formatCode>
                <c:ptCount val="2"/>
                <c:pt idx="0">
                  <c:v>-2.5862560963153376</c:v>
                </c:pt>
                <c:pt idx="1">
                  <c:v>-2.5862560963153376</c:v>
                </c:pt>
              </c:numCache>
            </c:numRef>
          </c:xVal>
          <c:yVal>
            <c:numRef>
              <c:f>Sheet1!$B$37:$B$38</c:f>
              <c:numCache>
                <c:formatCode>General</c:formatCode>
                <c:ptCount val="2"/>
                <c:pt idx="0">
                  <c:v>0.2215008250233158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40</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41:$A$42</c:f>
              <c:numCache>
                <c:formatCode>General</c:formatCode>
                <c:ptCount val="2"/>
                <c:pt idx="0">
                  <c:v>0</c:v>
                </c:pt>
                <c:pt idx="1">
                  <c:v>-1.6586118460113415</c:v>
                </c:pt>
              </c:numCache>
            </c:numRef>
          </c:xVal>
          <c:yVal>
            <c:numRef>
              <c:f>Sheet1!$B$41:$B$42</c:f>
              <c:numCache>
                <c:formatCode>General</c:formatCode>
                <c:ptCount val="2"/>
                <c:pt idx="0">
                  <c:v>0.18314245095262557</c:v>
                </c:pt>
                <c:pt idx="1">
                  <c:v>0.18314245095262557</c:v>
                </c:pt>
              </c:numCache>
            </c:numRef>
          </c:yVal>
          <c:smooth val="0"/>
          <c:extLst>
            <c:ext xmlns:c16="http://schemas.microsoft.com/office/drawing/2014/chart" uri="{C3380CC4-5D6E-409C-BE32-E72D297353CC}">
              <c16:uniqueId val="{00000015-096C-4121-9522-6AB7243CCAAE}"/>
            </c:ext>
          </c:extLst>
        </c:ser>
        <c:ser>
          <c:idx val="7"/>
          <c:order val="7"/>
          <c:tx>
            <c:strRef>
              <c:f>Sheet1!$B$44</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5:$A$46</c:f>
              <c:numCache>
                <c:formatCode>General</c:formatCode>
                <c:ptCount val="2"/>
                <c:pt idx="0">
                  <c:v>-1.6586118460113415</c:v>
                </c:pt>
                <c:pt idx="1">
                  <c:v>-1.6586118460113415</c:v>
                </c:pt>
              </c:numCache>
            </c:numRef>
          </c:xVal>
          <c:yVal>
            <c:numRef>
              <c:f>Sheet1!$B$45:$B$46</c:f>
              <c:numCache>
                <c:formatCode>General</c:formatCode>
                <c:ptCount val="2"/>
                <c:pt idx="0">
                  <c:v>0.1831424509526255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8</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9:$A$60</c:f>
              <c:numCache>
                <c:formatCode>General</c:formatCode>
                <c:ptCount val="12"/>
                <c:pt idx="0">
                  <c:v>0.40439437418673274</c:v>
                </c:pt>
                <c:pt idx="1">
                  <c:v>0.11264617988090785</c:v>
                </c:pt>
                <c:pt idx="2">
                  <c:v>0.3028313116240882</c:v>
                </c:pt>
                <c:pt idx="3">
                  <c:v>0.29755001376168816</c:v>
                </c:pt>
                <c:pt idx="4">
                  <c:v>1.244479277864992</c:v>
                </c:pt>
                <c:pt idx="5">
                  <c:v>0.4197564929908229</c:v>
                </c:pt>
                <c:pt idx="6">
                  <c:v>0.6840814937207883</c:v>
                </c:pt>
                <c:pt idx="7">
                  <c:v>0.13798511573019945</c:v>
                </c:pt>
                <c:pt idx="8">
                  <c:v>0.5867888333879981</c:v>
                </c:pt>
                <c:pt idx="9">
                  <c:v>-2.5862560963153376</c:v>
                </c:pt>
                <c:pt idx="10">
                  <c:v>-4.114315180125048</c:v>
                </c:pt>
                <c:pt idx="11">
                  <c:v>-1.6586118460113415</c:v>
                </c:pt>
              </c:numCache>
            </c:numRef>
          </c:xVal>
          <c:yVal>
            <c:numRef>
              <c:f>Sheet1!$B$49:$B$60</c:f>
              <c:numCache>
                <c:formatCode>General</c:formatCode>
                <c:ptCount val="12"/>
                <c:pt idx="0">
                  <c:v>0.09783651144123862</c:v>
                </c:pt>
                <c:pt idx="1">
                  <c:v>0.10990038869586925</c:v>
                </c:pt>
                <c:pt idx="2">
                  <c:v>0.10203617520702615</c:v>
                </c:pt>
                <c:pt idx="3">
                  <c:v>0.10225455849234086</c:v>
                </c:pt>
                <c:pt idx="4">
                  <c:v>0.06309874319024117</c:v>
                </c:pt>
                <c:pt idx="5">
                  <c:v>0.09720128312023887</c:v>
                </c:pt>
                <c:pt idx="6">
                  <c:v>0.08627136332510961</c:v>
                </c:pt>
                <c:pt idx="7">
                  <c:v>0.10885261593218121</c:v>
                </c:pt>
                <c:pt idx="8">
                  <c:v>0.09029444464982517</c:v>
                </c:pt>
                <c:pt idx="9">
                  <c:v>0.22150082502331586</c:v>
                </c:pt>
                <c:pt idx="10">
                  <c:v>0.2846865364850976</c:v>
                </c:pt>
                <c:pt idx="11">
                  <c:v>0.1831424509526255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41747572815534"/>
          <c:min val="0.0052336448598130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56.3077</c:v>
                </c:pt>
                <c:pt idx="1">
                  <c:v>6230.0</c:v>
                </c:pt>
                <c:pt idx="2">
                  <c:v>6349.3333</c:v>
                </c:pt>
                <c:pt idx="3">
                  <c:v>5043.3333</c:v>
                </c:pt>
                <c:pt idx="4">
                  <c:v>5971.5</c:v>
                </c:pt>
                <c:pt idx="5">
                  <c:v>7694.0</c:v>
                </c:pt>
                <c:pt idx="6">
                  <c:v>5895.0</c:v>
                </c:pt>
                <c:pt idx="7">
                  <c:v>4277.0</c:v>
                </c:pt>
                <c:pt idx="8">
                  <c:v>7050.6667</c:v>
                </c:pt>
                <c:pt idx="9">
                  <c:v>5817.6</c:v>
                </c:pt>
                <c:pt idx="10">
                  <c:v>5290.25</c:v>
                </c:pt>
                <c:pt idx="11">
                  <c:v>4469.2857</c:v>
                </c:pt>
                <c:pt idx="12">
                  <c:v>7055.8</c:v>
                </c:pt>
                <c:pt idx="13">
                  <c:v>5252.6667</c:v>
                </c:pt>
                <c:pt idx="14">
                  <c:v>0.0</c:v>
                </c:pt>
                <c:pt idx="15">
                  <c:v>3753.0</c:v>
                </c:pt>
                <c:pt idx="16">
                  <c:v>2170.25</c:v>
                </c:pt>
                <c:pt idx="17">
                  <c:v>6580.0</c:v>
                </c:pt>
                <c:pt idx="18">
                  <c:v>0.0</c:v>
                </c:pt>
                <c:pt idx="19">
                  <c:v>3807.0</c:v>
                </c:pt>
                <c:pt idx="20">
                  <c:v>5072.3333</c:v>
                </c:pt>
                <c:pt idx="21">
                  <c:v>6718.0</c:v>
                </c:pt>
                <c:pt idx="22">
                  <c:v>5462.25</c:v>
                </c:pt>
                <c:pt idx="23">
                  <c:v>6538.6667</c:v>
                </c:pt>
                <c:pt idx="24">
                  <c:v>6316.5</c:v>
                </c:pt>
                <c:pt idx="25">
                  <c:v>4606.0</c:v>
                </c:pt>
                <c:pt idx="26">
                  <c:v>6402.0</c:v>
                </c:pt>
                <c:pt idx="27">
                  <c:v>15524.0</c:v>
                </c:pt>
                <c:pt idx="28">
                  <c:v>3345.4</c:v>
                </c:pt>
                <c:pt idx="29">
                  <c:v>7017.0</c:v>
                </c:pt>
                <c:pt idx="30">
                  <c:v>3873.25</c:v>
                </c:pt>
                <c:pt idx="31">
                  <c:v>5011.5</c:v>
                </c:pt>
                <c:pt idx="32">
                  <c:v>8655.5</c:v>
                </c:pt>
                <c:pt idx="33">
                  <c:v>3845.7778</c:v>
                </c:pt>
                <c:pt idx="34">
                  <c:v>3505.4167</c:v>
                </c:pt>
                <c:pt idx="35">
                  <c:v>3707.5</c:v>
                </c:pt>
                <c:pt idx="36">
                  <c:v>6482.5</c:v>
                </c:pt>
                <c:pt idx="37">
                  <c:v>4574.0</c:v>
                </c:pt>
                <c:pt idx="38">
                  <c:v>7663.0</c:v>
                </c:pt>
                <c:pt idx="39">
                  <c:v>5600.75</c:v>
                </c:pt>
                <c:pt idx="40">
                  <c:v>8541.5</c:v>
                </c:pt>
                <c:pt idx="41">
                  <c:v>5335.6667</c:v>
                </c:pt>
                <c:pt idx="42">
                  <c:v>10645.0</c:v>
                </c:pt>
                <c:pt idx="43">
                  <c:v>7240.0</c:v>
                </c:pt>
                <c:pt idx="44">
                  <c:v>4505.0</c:v>
                </c:pt>
                <c:pt idx="45">
                  <c:v>4392.2</c:v>
                </c:pt>
                <c:pt idx="46">
                  <c:v>4084.1818</c:v>
                </c:pt>
                <c:pt idx="47">
                  <c:v>3419.4286</c:v>
                </c:pt>
                <c:pt idx="48">
                  <c:v>4401.9</c:v>
                </c:pt>
                <c:pt idx="49">
                  <c:v>3402.25</c:v>
                </c:pt>
                <c:pt idx="50">
                  <c:v>4337.6</c:v>
                </c:pt>
                <c:pt idx="51">
                  <c:v>4108.2</c:v>
                </c:pt>
                <c:pt idx="52">
                  <c:v>4801.75</c:v>
                </c:pt>
                <c:pt idx="53">
                  <c:v>3999.4</c:v>
                </c:pt>
                <c:pt idx="54">
                  <c:v>4201.4444</c:v>
                </c:pt>
                <c:pt idx="55">
                  <c:v>4984.2</c:v>
                </c:pt>
                <c:pt idx="56">
                  <c:v>10395.0</c:v>
                </c:pt>
                <c:pt idx="57">
                  <c:v>4042.75</c:v>
                </c:pt>
                <c:pt idx="58">
                  <c:v>4289.0</c:v>
                </c:pt>
                <c:pt idx="59">
                  <c:v>3433.0</c:v>
                </c:pt>
                <c:pt idx="60">
                  <c:v>3007.3571</c:v>
                </c:pt>
                <c:pt idx="61">
                  <c:v>2989.9286</c:v>
                </c:pt>
                <c:pt idx="62">
                  <c:v>3040.0833</c:v>
                </c:pt>
                <c:pt idx="63">
                  <c:v>2470.9444</c:v>
                </c:pt>
                <c:pt idx="64">
                  <c:v>2609.3158</c:v>
                </c:pt>
                <c:pt idx="65">
                  <c:v>2489.9333</c:v>
                </c:pt>
                <c:pt idx="66">
                  <c:v>2358.7273</c:v>
                </c:pt>
                <c:pt idx="67">
                  <c:v>3155.3333</c:v>
                </c:pt>
                <c:pt idx="68">
                  <c:v>2346.9231</c:v>
                </c:pt>
                <c:pt idx="69">
                  <c:v>2135.0</c:v>
                </c:pt>
                <c:pt idx="70">
                  <c:v>2302.5</c:v>
                </c:pt>
                <c:pt idx="71">
                  <c:v>1857.8</c:v>
                </c:pt>
                <c:pt idx="72">
                  <c:v>2952.3636</c:v>
                </c:pt>
                <c:pt idx="73">
                  <c:v>2025.9474</c:v>
                </c:pt>
                <c:pt idx="74">
                  <c:v>2531.4762</c:v>
                </c:pt>
                <c:pt idx="75">
                  <c:v>3962.4444</c:v>
                </c:pt>
                <c:pt idx="76">
                  <c:v>3882.0</c:v>
                </c:pt>
                <c:pt idx="77">
                  <c:v>4467.6957</c:v>
                </c:pt>
                <c:pt idx="78">
                  <c:v>3018.5429</c:v>
                </c:pt>
                <c:pt idx="79">
                  <c:v>4773.4</c:v>
                </c:pt>
                <c:pt idx="80">
                  <c:v>4299.5</c:v>
                </c:pt>
                <c:pt idx="81">
                  <c:v>3470.475</c:v>
                </c:pt>
                <c:pt idx="82">
                  <c:v>4188.0</c:v>
                </c:pt>
                <c:pt idx="83">
                  <c:v>4291.4286</c:v>
                </c:pt>
                <c:pt idx="84">
                  <c:v>4199.35</c:v>
                </c:pt>
                <c:pt idx="85">
                  <c:v>3644.0476</c:v>
                </c:pt>
                <c:pt idx="86">
                  <c:v>4846.4231</c:v>
                </c:pt>
                <c:pt idx="87">
                  <c:v>4906.68</c:v>
                </c:pt>
                <c:pt idx="88">
                  <c:v>4199.0333</c:v>
                </c:pt>
                <c:pt idx="89">
                  <c:v>3929.7353</c:v>
                </c:pt>
                <c:pt idx="90">
                  <c:v>4177.2903</c:v>
                </c:pt>
                <c:pt idx="91">
                  <c:v>3942.625</c:v>
                </c:pt>
                <c:pt idx="92">
                  <c:v>4270.3235</c:v>
                </c:pt>
                <c:pt idx="93">
                  <c:v>4332.2286</c:v>
                </c:pt>
                <c:pt idx="94">
                  <c:v>5011.5517</c:v>
                </c:pt>
                <c:pt idx="95">
                  <c:v>4381.1064</c:v>
                </c:pt>
                <c:pt idx="96">
                  <c:v>3358.3295</c:v>
                </c:pt>
                <c:pt idx="97">
                  <c:v>3539.0348</c:v>
                </c:pt>
                <c:pt idx="98">
                  <c:v>3390.072</c:v>
                </c:pt>
                <c:pt idx="99">
                  <c:v>3491.0956</c:v>
                </c:pt>
                <c:pt idx="100">
                  <c:v>3928.0486</c:v>
                </c:pt>
                <c:pt idx="101">
                  <c:v>3765.3274</c:v>
                </c:pt>
                <c:pt idx="102">
                  <c:v>3902.8667</c:v>
                </c:pt>
                <c:pt idx="103">
                  <c:v>3989.4744</c:v>
                </c:pt>
                <c:pt idx="104">
                  <c:v>4479.7</c:v>
                </c:pt>
              </c:numCache>
            </c:numRef>
          </c:xVal>
          <c:yVal>
            <c:numRef>
              <c:f>Sheet1!$B$2:$B$106</c:f>
              <c:numCache>
                <c:formatCode>General</c:formatCode>
                <c:ptCount val="105"/>
                <c:pt idx="0">
                  <c:v>0.00031891666462232905</c:v>
                </c:pt>
                <c:pt idx="1">
                  <c:v>7.925395609330832e-05</c:v>
                </c:pt>
                <c:pt idx="2">
                  <c:v>7.552299675251114e-05</c:v>
                </c:pt>
                <c:pt idx="3">
                  <c:v>8.004482510205715e-05</c:v>
                </c:pt>
                <c:pt idx="4">
                  <c:v>6.23966555392631e-05</c:v>
                </c:pt>
                <c:pt idx="5">
                  <c:v>9.57548675390999e-05</c:v>
                </c:pt>
                <c:pt idx="6">
                  <c:v>0.00018340210912425492</c:v>
                </c:pt>
                <c:pt idx="7">
                  <c:v>0.00021210407239819005</c:v>
                </c:pt>
                <c:pt idx="8">
                  <c:v>0.00011031033975584644</c:v>
                </c:pt>
                <c:pt idx="9">
                  <c:v>0.0001392757660167131</c:v>
                </c:pt>
                <c:pt idx="10">
                  <c:v>0.00010751532093323298</c:v>
                </c:pt>
                <c:pt idx="11">
                  <c:v>0.00018946057866673884</c:v>
                </c:pt>
                <c:pt idx="12">
                  <c:v>0.00012403870007442322</c:v>
                </c:pt>
                <c:pt idx="13">
                  <c:v>0.00015577132769094968</c:v>
                </c:pt>
                <c:pt idx="14">
                  <c:v>0.0</c:v>
                </c:pt>
                <c:pt idx="15">
                  <c:v>0.00015527950310559007</c:v>
                </c:pt>
                <c:pt idx="16">
                  <c:v>0.00014243999715120005</c:v>
                </c:pt>
                <c:pt idx="17">
                  <c:v>7.810669374365383e-05</c:v>
                </c:pt>
                <c:pt idx="18">
                  <c:v>0.0</c:v>
                </c:pt>
                <c:pt idx="19">
                  <c:v>0.00015323322096230462</c:v>
                </c:pt>
                <c:pt idx="20">
                  <c:v>0.00012568077084206116</c:v>
                </c:pt>
                <c:pt idx="21">
                  <c:v>5.2578999947421e-05</c:v>
                </c:pt>
                <c:pt idx="22">
                  <c:v>0.00020874647740319382</c:v>
                </c:pt>
                <c:pt idx="23">
                  <c:v>0.0001632386549134835</c:v>
                </c:pt>
                <c:pt idx="24">
                  <c:v>0.00020258293238794632</c:v>
                </c:pt>
                <c:pt idx="25">
                  <c:v>0.0003478059242942438</c:v>
                </c:pt>
                <c:pt idx="26">
                  <c:v>0.00025717518773788703</c:v>
                </c:pt>
                <c:pt idx="27">
                  <c:v>5.060728744939271e-05</c:v>
                </c:pt>
                <c:pt idx="28">
                  <c:v>0.0002570561924836769</c:v>
                </c:pt>
                <c:pt idx="29">
                  <c:v>0.00017968644714972374</c:v>
                </c:pt>
                <c:pt idx="30">
                  <c:v>0.00023078698361412417</c:v>
                </c:pt>
                <c:pt idx="31">
                  <c:v>0.0002249212775528565</c:v>
                </c:pt>
                <c:pt idx="32">
                  <c:v>0.00011039355301650383</c:v>
                </c:pt>
                <c:pt idx="33">
                  <c:v>0.00039227651135422567</c:v>
                </c:pt>
                <c:pt idx="34">
                  <c:v>0.0004630165528417641</c:v>
                </c:pt>
                <c:pt idx="35">
                  <c:v>0.0004770504651242035</c:v>
                </c:pt>
                <c:pt idx="36">
                  <c:v>0.00016523463317911433</c:v>
                </c:pt>
                <c:pt idx="37">
                  <c:v>0.00019287333044023337</c:v>
                </c:pt>
                <c:pt idx="38">
                  <c:v>9.664637092877162e-05</c:v>
                </c:pt>
                <c:pt idx="39">
                  <c:v>0.00020469781485082646</c:v>
                </c:pt>
                <c:pt idx="40">
                  <c:v>8.289468230613006e-05</c:v>
                </c:pt>
                <c:pt idx="41">
                  <c:v>0.0001376399339328317</c:v>
                </c:pt>
                <c:pt idx="42">
                  <c:v>3.913894324853229e-05</c:v>
                </c:pt>
                <c:pt idx="43">
                  <c:v>0.00010425716768027802</c:v>
                </c:pt>
                <c:pt idx="44">
                  <c:v>0.00014063708599957808</c:v>
                </c:pt>
                <c:pt idx="45">
                  <c:v>0.0001060332944544587</c:v>
                </c:pt>
                <c:pt idx="46">
                  <c:v>0.00022583559168925022</c:v>
                </c:pt>
                <c:pt idx="47">
                  <c:v>0.000293581059827626</c:v>
                </c:pt>
                <c:pt idx="48">
                  <c:v>0.00015294027682190105</c:v>
                </c:pt>
                <c:pt idx="49">
                  <c:v>0.00016961550285696112</c:v>
                </c:pt>
                <c:pt idx="50">
                  <c:v>0.0002012477359629704</c:v>
                </c:pt>
                <c:pt idx="51">
                  <c:v>0.0002486139770777913</c:v>
                </c:pt>
                <c:pt idx="52">
                  <c:v>8.450228156160216e-05</c:v>
                </c:pt>
                <c:pt idx="53">
                  <c:v>0.0001316586354899018</c:v>
                </c:pt>
                <c:pt idx="54">
                  <c:v>0.0002624289254993439</c:v>
                </c:pt>
                <c:pt idx="55">
                  <c:v>0.00014956178397295924</c:v>
                </c:pt>
                <c:pt idx="56">
                  <c:v>6.046680372475511e-05</c:v>
                </c:pt>
                <c:pt idx="57">
                  <c:v>0.00010392849719393057</c:v>
                </c:pt>
                <c:pt idx="58">
                  <c:v>9.544716999140975e-05</c:v>
                </c:pt>
                <c:pt idx="59">
                  <c:v>0.0001570869790603057</c:v>
                </c:pt>
                <c:pt idx="60">
                  <c:v>0.0002410260824653525</c:v>
                </c:pt>
                <c:pt idx="61">
                  <c:v>0.00032864621235240263</c:v>
                </c:pt>
                <c:pt idx="62">
                  <c:v>0.00027110679348440006</c:v>
                </c:pt>
                <c:pt idx="63">
                  <c:v>0.00036864849366129393</c:v>
                </c:pt>
                <c:pt idx="64">
                  <c:v>0.0003807615230460922</c:v>
                </c:pt>
                <c:pt idx="65">
                  <c:v>0.00032711808963035657</c:v>
                </c:pt>
                <c:pt idx="66">
                  <c:v>0.0002484135407962783</c:v>
                </c:pt>
                <c:pt idx="67">
                  <c:v>0.0002141174791235458</c:v>
                </c:pt>
                <c:pt idx="68">
                  <c:v>0.0003691608689478915</c:v>
                </c:pt>
                <c:pt idx="69">
                  <c:v>0.00041263410608447746</c:v>
                </c:pt>
                <c:pt idx="70">
                  <c:v>0.0003591051100657162</c:v>
                </c:pt>
                <c:pt idx="71">
                  <c:v>0.0003860854793251226</c:v>
                </c:pt>
                <c:pt idx="72">
                  <c:v>0.00040169442009932807</c:v>
                </c:pt>
                <c:pt idx="73">
                  <c:v>0.0007383515330509462</c:v>
                </c:pt>
                <c:pt idx="74">
                  <c:v>0.0007898597058712905</c:v>
                </c:pt>
                <c:pt idx="75">
                  <c:v>0.0007884708046782601</c:v>
                </c:pt>
                <c:pt idx="76">
                  <c:v>0.0010745153001635132</c:v>
                </c:pt>
                <c:pt idx="77">
                  <c:v>0.0011077397293262053</c:v>
                </c:pt>
                <c:pt idx="78">
                  <c:v>0.0018812147272238647</c:v>
                </c:pt>
                <c:pt idx="79">
                  <c:v>0.0011912703707233393</c:v>
                </c:pt>
                <c:pt idx="80">
                  <c:v>0.0011436195558944058</c:v>
                </c:pt>
                <c:pt idx="81">
                  <c:v>0.0016303240269003464</c:v>
                </c:pt>
                <c:pt idx="82">
                  <c:v>0.0013089005235602095</c:v>
                </c:pt>
                <c:pt idx="83">
                  <c:v>0.001287395782246199</c:v>
                </c:pt>
                <c:pt idx="84">
                  <c:v>0.0012380068090374497</c:v>
                </c:pt>
                <c:pt idx="85">
                  <c:v>0.0011462256427050926</c:v>
                </c:pt>
                <c:pt idx="86">
                  <c:v>0.0010637427379101548</c:v>
                </c:pt>
                <c:pt idx="87">
                  <c:v>0.0009602827072290082</c:v>
                </c:pt>
                <c:pt idx="88">
                  <c:v>0.001459356910054969</c:v>
                </c:pt>
                <c:pt idx="89">
                  <c:v>0.0018212984786800943</c:v>
                </c:pt>
                <c:pt idx="90">
                  <c:v>0.0017051705170517053</c:v>
                </c:pt>
                <c:pt idx="91">
                  <c:v>0.0016994158258098779</c:v>
                </c:pt>
                <c:pt idx="92">
                  <c:v>0.0014476709529081156</c:v>
                </c:pt>
                <c:pt idx="93">
                  <c:v>0.0014341911162104573</c:v>
                </c:pt>
                <c:pt idx="94">
                  <c:v>0.0013409784518634976</c:v>
                </c:pt>
                <c:pt idx="95">
                  <c:v>0.0015918173812910655</c:v>
                </c:pt>
                <c:pt idx="96">
                  <c:v>0.0021358186495801174</c:v>
                </c:pt>
                <c:pt idx="97">
                  <c:v>0.0024340169746227274</c:v>
                </c:pt>
                <c:pt idx="98">
                  <c:v>0.002288203851504723</c:v>
                </c:pt>
                <c:pt idx="99">
                  <c:v>0.0021538071709109336</c:v>
                </c:pt>
                <c:pt idx="100">
                  <c:v>0.0016596553909986745</c:v>
                </c:pt>
                <c:pt idx="101">
                  <c:v>0.002235498931708475</c:v>
                </c:pt>
                <c:pt idx="102">
                  <c:v>0.0018664144933306789</c:v>
                </c:pt>
                <c:pt idx="103">
                  <c:v>0.001825415399017084</c:v>
                </c:pt>
                <c:pt idx="104">
                  <c:v>0.001356668023334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109:$B$160</c:f>
              <c:numCache>
                <c:formatCode>General</c:formatCode>
                <c:ptCount val="52"/>
                <c:pt idx="0">
                  <c:v>0.0014574738766334823</c:v>
                </c:pt>
                <c:pt idx="1">
                  <c:v>0.001754845468831849</c:v>
                </c:pt>
                <c:pt idx="2">
                  <c:v>0.0015945971297251665</c:v>
                </c:pt>
                <c:pt idx="3">
                  <c:v>0.0016878032771513631</c:v>
                </c:pt>
                <c:pt idx="4">
                  <c:v>0.0016790772375529274</c:v>
                </c:pt>
                <c:pt idx="5">
                  <c:v>0.001467064404127341</c:v>
                </c:pt>
                <c:pt idx="6">
                  <c:v>0.0015850773012336037</c:v>
                </c:pt>
                <c:pt idx="7">
                  <c:v>0.0018228675592431957</c:v>
                </c:pt>
                <c:pt idx="8">
                  <c:v>0.0021541568495456074</c:v>
                </c:pt>
                <c:pt idx="9">
                  <c:v>0.0022634957055595174</c:v>
                </c:pt>
                <c:pt idx="10">
                  <c:v>0.0021662363868364047</c:v>
                </c:pt>
                <c:pt idx="11">
                  <c:v>0.0022191338653277143</c:v>
                </c:pt>
                <c:pt idx="12">
                  <c:v>0.0022670596236681025</c:v>
                </c:pt>
                <c:pt idx="13">
                  <c:v>0.003259726603575184</c:v>
                </c:pt>
                <c:pt idx="14">
                  <c:v>0.003245906390378206</c:v>
                </c:pt>
                <c:pt idx="15">
                  <c:v>0.0030689110015809542</c:v>
                </c:pt>
                <c:pt idx="16">
                  <c:v>0.0030204962243797194</c:v>
                </c:pt>
                <c:pt idx="17">
                  <c:v>0.003840072283713576</c:v>
                </c:pt>
                <c:pt idx="18">
                  <c:v>0.0020977745348412986</c:v>
                </c:pt>
                <c:pt idx="19">
                  <c:v>0.001841620626151013</c:v>
                </c:pt>
                <c:pt idx="20">
                  <c:v>0.0021836089946106673</c:v>
                </c:pt>
                <c:pt idx="21">
                  <c:v>0.003158196956646569</c:v>
                </c:pt>
                <c:pt idx="22">
                  <c:v>0.002605789384240639</c:v>
                </c:pt>
                <c:pt idx="23">
                  <c:v>0.00262574396078889</c:v>
                </c:pt>
                <c:pt idx="24">
                  <c:v>0.0023803083581282122</c:v>
                </c:pt>
                <c:pt idx="25">
                  <c:v>0.0025542059257577477</c:v>
                </c:pt>
                <c:pt idx="26">
                  <c:v>0.00275690577869074</c:v>
                </c:pt>
                <c:pt idx="27">
                  <c:v>0.0027923382158428454</c:v>
                </c:pt>
                <c:pt idx="28">
                  <c:v>0.002306293520202244</c:v>
                </c:pt>
                <c:pt idx="29">
                  <c:v>0.0026136121186259866</c:v>
                </c:pt>
                <c:pt idx="30">
                  <c:v>0.0025564076914527064</c:v>
                </c:pt>
                <c:pt idx="31">
                  <c:v>0.002603378337470485</c:v>
                </c:pt>
                <c:pt idx="32">
                  <c:v>0.0022248119504184767</c:v>
                </c:pt>
                <c:pt idx="33">
                  <c:v>0.0021675661328850746</c:v>
                </c:pt>
                <c:pt idx="34">
                  <c:v>0.0019902546153318236</c:v>
                </c:pt>
                <c:pt idx="35">
                  <c:v>0.0024293831837272502</c:v>
                </c:pt>
                <c:pt idx="36">
                  <c:v>0.003050165487701992</c:v>
                </c:pt>
                <c:pt idx="37">
                  <c:v>0.0030033498902622157</c:v>
                </c:pt>
                <c:pt idx="38">
                  <c:v>0.003501491375956426</c:v>
                </c:pt>
                <c:pt idx="39">
                  <c:v>0.003268438254938184</c:v>
                </c:pt>
                <c:pt idx="40">
                  <c:v>0.0030971201405260483</c:v>
                </c:pt>
                <c:pt idx="41">
                  <c:v>0.0025173611111111113</c:v>
                </c:pt>
                <c:pt idx="42">
                  <c:v>0.0028767858013555025</c:v>
                </c:pt>
                <c:pt idx="43">
                  <c:v>0.0021081969556206673</c:v>
                </c:pt>
                <c:pt idx="44">
                  <c:v>0.0015509774084045418</c:v>
                </c:pt>
                <c:pt idx="45">
                  <c:v>0.0012992732878220655</c:v>
                </c:pt>
                <c:pt idx="46">
                  <c:v>0.0013457884737175427</c:v>
                </c:pt>
                <c:pt idx="47">
                  <c:v>0.0013377263606411177</c:v>
                </c:pt>
                <c:pt idx="48">
                  <c:v>0.0014954823969259528</c:v>
                </c:pt>
                <c:pt idx="49">
                  <c:v>0.0013136165740879747</c:v>
                </c:pt>
                <c:pt idx="50">
                  <c:v>0.0011035611546473564</c:v>
                </c:pt>
                <c:pt idx="51">
                  <c:v>0.001310531517208782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616.0995188250113</c:v>
                </c:pt>
              </c:numCache>
            </c:numRef>
          </c:xVal>
          <c:yVal>
            <c:numRef>
              <c:f>Sheet1!$B$163:$B$164</c:f>
              <c:numCache>
                <c:formatCode>General</c:formatCode>
                <c:ptCount val="2"/>
                <c:pt idx="0">
                  <c:v>0.0026640183997899175</c:v>
                </c:pt>
                <c:pt idx="1">
                  <c:v>0.002664018399789917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616.0995188250113</c:v>
                </c:pt>
                <c:pt idx="1">
                  <c:v>3616.0995188250113</c:v>
                </c:pt>
              </c:numCache>
            </c:numRef>
          </c:xVal>
          <c:yVal>
            <c:numRef>
              <c:f>Sheet1!$B$167:$B$168</c:f>
              <c:numCache>
                <c:formatCode>General</c:formatCode>
                <c:ptCount val="2"/>
                <c:pt idx="0">
                  <c:v>0.002664018399789917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616.0995188250113</c:v>
                </c:pt>
              </c:numCache>
            </c:numRef>
          </c:xVal>
          <c:yVal>
            <c:numRef>
              <c:f>Sheet1!$B$171:$B$172</c:f>
              <c:numCache>
                <c:formatCode>General</c:formatCode>
                <c:ptCount val="2"/>
                <c:pt idx="0">
                  <c:v>0.0026640183997899175</c:v>
                </c:pt>
                <c:pt idx="1">
                  <c:v>0.002664018399789917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616.0995188250113</c:v>
                </c:pt>
                <c:pt idx="1">
                  <c:v>3616.0995188250113</c:v>
                </c:pt>
              </c:numCache>
            </c:numRef>
          </c:xVal>
          <c:yVal>
            <c:numRef>
              <c:f>Sheet1!$B$175:$B$176</c:f>
              <c:numCache>
                <c:formatCode>General</c:formatCode>
                <c:ptCount val="2"/>
                <c:pt idx="0">
                  <c:v>0.002664018399789917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327.939731955908</c:v>
                </c:pt>
              </c:numCache>
            </c:numRef>
          </c:xVal>
          <c:yVal>
            <c:numRef>
              <c:f>Sheet1!$B$179:$B$180</c:f>
              <c:numCache>
                <c:formatCode>General</c:formatCode>
                <c:ptCount val="2"/>
                <c:pt idx="0">
                  <c:v>0.0018942199566928347</c:v>
                </c:pt>
                <c:pt idx="1">
                  <c:v>0.001894219956692834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327.939731955908</c:v>
                </c:pt>
                <c:pt idx="1">
                  <c:v>4327.939731955908</c:v>
                </c:pt>
              </c:numCache>
            </c:numRef>
          </c:xVal>
          <c:yVal>
            <c:numRef>
              <c:f>Sheet1!$B$183:$B$184</c:f>
              <c:numCache>
                <c:formatCode>General</c:formatCode>
                <c:ptCount val="2"/>
                <c:pt idx="0">
                  <c:v>0.00189421995669283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616.0995188250113</c:v>
                </c:pt>
                <c:pt idx="53">
                  <c:v>3616.0995188250113</c:v>
                </c:pt>
                <c:pt idx="54">
                  <c:v>4327.939731955908</c:v>
                </c:pt>
              </c:numCache>
            </c:numRef>
          </c:xVal>
          <c:yVal>
            <c:numRef>
              <c:f>Sheet1!$B$187:$B$241</c:f>
              <c:numCache>
                <c:formatCode>General</c:formatCode>
                <c:ptCount val="55"/>
                <c:pt idx="0">
                  <c:v>0.001891002117063354</c:v>
                </c:pt>
                <c:pt idx="1">
                  <c:v>0.0025376967438809255</c:v>
                </c:pt>
                <c:pt idx="2">
                  <c:v>0.0018600105583750151</c:v>
                </c:pt>
                <c:pt idx="3">
                  <c:v>0.0024694553391978163</c:v>
                </c:pt>
                <c:pt idx="4">
                  <c:v>0.0017502631618983855</c:v>
                </c:pt>
                <c:pt idx="5">
                  <c:v>0.001443310666584127</c:v>
                </c:pt>
                <c:pt idx="6">
                  <c:v>0.0016663041785715347</c:v>
                </c:pt>
                <c:pt idx="7">
                  <c:v>0.0017021280637841765</c:v>
                </c:pt>
                <c:pt idx="8">
                  <c:v>0.001995081681706811</c:v>
                </c:pt>
                <c:pt idx="9">
                  <c:v>0.0021429555234577496</c:v>
                </c:pt>
                <c:pt idx="10">
                  <c:v>0.0020943212417419707</c:v>
                </c:pt>
                <c:pt idx="11">
                  <c:v>0.002155792955467903</c:v>
                </c:pt>
                <c:pt idx="12">
                  <c:v>0.002507416219027148</c:v>
                </c:pt>
                <c:pt idx="13">
                  <c:v>0.0028536972663997396</c:v>
                </c:pt>
                <c:pt idx="14">
                  <c:v>0.002804594837844446</c:v>
                </c:pt>
                <c:pt idx="15">
                  <c:v>0.002532968341845596</c:v>
                </c:pt>
                <c:pt idx="16">
                  <c:v>0.002334408655964365</c:v>
                </c:pt>
                <c:pt idx="17">
                  <c:v>0.0033051643876469993</c:v>
                </c:pt>
                <c:pt idx="18">
                  <c:v>0.0019582876543603528</c:v>
                </c:pt>
                <c:pt idx="19">
                  <c:v>0.0015953141279609713</c:v>
                </c:pt>
                <c:pt idx="20">
                  <c:v>0.0017749224641330878</c:v>
                </c:pt>
                <c:pt idx="21">
                  <c:v>0.0026736622017848595</c:v>
                </c:pt>
                <c:pt idx="22">
                  <c:v>0.002288355940742672</c:v>
                </c:pt>
                <c:pt idx="23">
                  <c:v>0.003098496536927169</c:v>
                </c:pt>
                <c:pt idx="24">
                  <c:v>0.0020874094521599086</c:v>
                </c:pt>
                <c:pt idx="25">
                  <c:v>0.0023882677116243136</c:v>
                </c:pt>
                <c:pt idx="26">
                  <c:v>0.0023643181455198347</c:v>
                </c:pt>
                <c:pt idx="27">
                  <c:v>0.002631702337899529</c:v>
                </c:pt>
                <c:pt idx="28">
                  <c:v>0.002529967508708684</c:v>
                </c:pt>
                <c:pt idx="29">
                  <c:v>0.002541528324077472</c:v>
                </c:pt>
                <c:pt idx="30">
                  <c:v>0.0026327413665052247</c:v>
                </c:pt>
                <c:pt idx="31">
                  <c:v>0.002279366742801387</c:v>
                </c:pt>
                <c:pt idx="32">
                  <c:v>0.0017533126589479291</c:v>
                </c:pt>
                <c:pt idx="33">
                  <c:v>0.0018763885603841788</c:v>
                </c:pt>
                <c:pt idx="34">
                  <c:v>0.0017566652781021534</c:v>
                </c:pt>
                <c:pt idx="35">
                  <c:v>0.0020849246727809457</c:v>
                </c:pt>
                <c:pt idx="36">
                  <c:v>0.002103099022018379</c:v>
                </c:pt>
                <c:pt idx="37">
                  <c:v>0.0020498585387589896</c:v>
                </c:pt>
                <c:pt idx="38">
                  <c:v>0.002605469028446269</c:v>
                </c:pt>
                <c:pt idx="39">
                  <c:v>0.0029703717004843895</c:v>
                </c:pt>
                <c:pt idx="40">
                  <c:v>0.0030908351068065264</c:v>
                </c:pt>
                <c:pt idx="41">
                  <c:v>0.0027554128167564932</c:v>
                </c:pt>
                <c:pt idx="42">
                  <c:v>0.002937963589370364</c:v>
                </c:pt>
                <c:pt idx="43">
                  <c:v>0.002675141801012912</c:v>
                </c:pt>
                <c:pt idx="44">
                  <c:v>0.0021103164209717662</c:v>
                </c:pt>
                <c:pt idx="45">
                  <c:v>0.0020062376133225058</c:v>
                </c:pt>
                <c:pt idx="46">
                  <c:v>0.0017526583996781055</c:v>
                </c:pt>
                <c:pt idx="47">
                  <c:v>0.00219168551086837</c:v>
                </c:pt>
                <c:pt idx="48">
                  <c:v>0.0025131477465148546</c:v>
                </c:pt>
                <c:pt idx="49">
                  <c:v>0.002439484100544318</c:v>
                </c:pt>
                <c:pt idx="50">
                  <c:v>0.0022139149698743683</c:v>
                </c:pt>
                <c:pt idx="51">
                  <c:v>0.0018442676744967077</c:v>
                </c:pt>
                <c:pt idx="52">
                  <c:v>0.002664018399789918</c:v>
                </c:pt>
                <c:pt idx="53">
                  <c:v>0.002664018399789918</c:v>
                </c:pt>
                <c:pt idx="54">
                  <c:v>0.001894219956692835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0808674045629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1</c:f>
              <c:numCache>
                <c:formatCode>General</c:formatCode>
                <c:ptCount val="10"/>
                <c:pt idx="0">
                  <c:v>1109.704</c:v>
                </c:pt>
                <c:pt idx="1">
                  <c:v>1133.6607</c:v>
                </c:pt>
                <c:pt idx="2">
                  <c:v>1205.0</c:v>
                </c:pt>
                <c:pt idx="3">
                  <c:v>1291.6154</c:v>
                </c:pt>
                <c:pt idx="4">
                  <c:v>1375.75</c:v>
                </c:pt>
                <c:pt idx="5">
                  <c:v>1472.5</c:v>
                </c:pt>
                <c:pt idx="6">
                  <c:v>1478.1667</c:v>
                </c:pt>
                <c:pt idx="7">
                  <c:v>1833.7216</c:v>
                </c:pt>
                <c:pt idx="8">
                  <c:v>1833.7216</c:v>
                </c:pt>
                <c:pt idx="9">
                  <c:v>1830.7097</c:v>
                </c:pt>
              </c:numCache>
            </c:numRef>
          </c:xVal>
          <c:yVal>
            <c:numRef>
              <c:f>Sheet1!$B$2:$B$11</c:f>
              <c:numCache>
                <c:formatCode>General</c:formatCode>
                <c:ptCount val="10"/>
                <c:pt idx="0">
                  <c:v>0.2846865364850976</c:v>
                </c:pt>
                <c:pt idx="1">
                  <c:v>0.09688581314878893</c:v>
                </c:pt>
                <c:pt idx="2">
                  <c:v>0.0065420560747663555</c:v>
                </c:pt>
                <c:pt idx="3">
                  <c:v>0.025145067698259187</c:v>
                </c:pt>
                <c:pt idx="4">
                  <c:v>0.025</c:v>
                </c:pt>
                <c:pt idx="5">
                  <c:v>0.01056338028169014</c:v>
                </c:pt>
                <c:pt idx="6">
                  <c:v>0.01</c:v>
                </c:pt>
                <c:pt idx="7">
                  <c:v>0.25392670157068065</c:v>
                </c:pt>
                <c:pt idx="8">
                  <c:v>0.16782006920415224</c:v>
                </c:pt>
                <c:pt idx="9">
                  <c:v>0.45145631067961167</c:v>
                </c:pt>
              </c:numCache>
            </c:numRef>
          </c:yVal>
          <c:smooth val="0"/>
          <c:extLst>
            <c:ext xmlns:c16="http://schemas.microsoft.com/office/drawing/2014/chart" uri="{C3380CC4-5D6E-409C-BE32-E72D297353CC}">
              <c16:uniqueId val="{00000000-F32D-48B7-BC20-E66FC6253BAD}"/>
            </c:ext>
          </c:extLst>
        </c:ser>
        <c:ser>
          <c:idx val="1"/>
          <c:order val="1"/>
          <c:tx>
            <c:strRef>
              <c:f>Sheet1!$B$1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4:$A$22</c:f>
              <c:numCache>
                <c:formatCode>General</c:formatCode>
                <c:ptCount val="9"/>
                <c:pt idx="0">
                  <c:v>737.4167</c:v>
                </c:pt>
                <c:pt idx="1">
                  <c:v>643.8621</c:v>
                </c:pt>
                <c:pt idx="2">
                  <c:v>1090.0</c:v>
                </c:pt>
                <c:pt idx="3">
                  <c:v>1452.0</c:v>
                </c:pt>
                <c:pt idx="4">
                  <c:v>792.7333</c:v>
                </c:pt>
                <c:pt idx="5">
                  <c:v>817.9655</c:v>
                </c:pt>
                <c:pt idx="6">
                  <c:v>1009.2885</c:v>
                </c:pt>
                <c:pt idx="7">
                  <c:v>1009.2885</c:v>
                </c:pt>
                <c:pt idx="8">
                  <c:v>996.6792</c:v>
                </c:pt>
              </c:numCache>
            </c:numRef>
          </c:xVal>
          <c:yVal>
            <c:numRef>
              <c:f>Sheet1!$B$14:$B$22</c:f>
              <c:numCache>
                <c:formatCode>General</c:formatCode>
                <c:ptCount val="9"/>
                <c:pt idx="0">
                  <c:v>0.04878048780487805</c:v>
                </c:pt>
                <c:pt idx="1">
                  <c:v>0.0847953216374269</c:v>
                </c:pt>
                <c:pt idx="2">
                  <c:v>0.037520391517128875</c:v>
                </c:pt>
                <c:pt idx="3">
                  <c:v>0.017857142857142856</c:v>
                </c:pt>
                <c:pt idx="4">
                  <c:v>0.03880983182406209</c:v>
                </c:pt>
                <c:pt idx="5">
                  <c:v>0.08055555555555556</c:v>
                </c:pt>
                <c:pt idx="6">
                  <c:v>0.19771863117870722</c:v>
                </c:pt>
                <c:pt idx="7">
                  <c:v>0.24528301886792453</c:v>
                </c:pt>
                <c:pt idx="8">
                  <c:v>0.10642570281124498</c:v>
                </c:pt>
              </c:numCache>
            </c:numRef>
          </c:yVal>
          <c:smooth val="0"/>
          <c:extLst>
            <c:ext xmlns:c16="http://schemas.microsoft.com/office/drawing/2014/chart" uri="{C3380CC4-5D6E-409C-BE32-E72D297353CC}">
              <c16:uniqueId val="{00000002-F32D-48B7-BC20-E66FC6253BAD}"/>
            </c:ext>
          </c:extLst>
        </c:ser>
        <c:ser>
          <c:idx val="2"/>
          <c:order val="2"/>
          <c:tx>
            <c:strRef>
              <c:f>Sheet1!$B$24</c:f>
              <c:strCache>
                <c:ptCount val="1"/>
                <c:pt idx="0">
                  <c:v>Custom Linep3yQ</c:v>
                </c:pt>
              </c:strCache>
            </c:strRef>
          </c:tx>
          <c:spPr>
            <a:ln w="19050" cap="rnd">
              <a:solidFill>
                <a:srgbClr val="C00000"/>
              </a:solidFill>
              <a:prstDash val="sysDot"/>
              <a:round/>
            </a:ln>
            <a:effectLst/>
          </c:spPr>
          <c:marker>
            <c:symbol val="none"/>
          </c:marker>
          <c:xVal>
            <c:numRef>
              <c:f>Sheet1!$A$25:$A$26</c:f>
              <c:numCache>
                <c:formatCode>General</c:formatCode>
                <c:ptCount val="2"/>
                <c:pt idx="0">
                  <c:v>0</c:v>
                </c:pt>
                <c:pt idx="1">
                  <c:v>-10642.667861096623</c:v>
                </c:pt>
              </c:numCache>
            </c:numRef>
          </c:xVal>
          <c:yVal>
            <c:numRef>
              <c:f>Sheet1!$B$25:$B$26</c:f>
              <c:numCache>
                <c:formatCode>General</c:formatCode>
                <c:ptCount val="2"/>
                <c:pt idx="0">
                  <c:v>0.2846865364850976</c:v>
                </c:pt>
                <c:pt idx="1">
                  <c:v>0.2846865364850976</c:v>
                </c:pt>
              </c:numCache>
            </c:numRef>
          </c:yVal>
          <c:smooth val="0"/>
          <c:extLst>
            <c:ext xmlns:c16="http://schemas.microsoft.com/office/drawing/2014/chart" uri="{C3380CC4-5D6E-409C-BE32-E72D297353CC}">
              <c16:uniqueId val="{00000003-F32D-48B7-BC20-E66FC6253BAD}"/>
            </c:ext>
          </c:extLst>
        </c:ser>
        <c:ser>
          <c:idx val="3"/>
          <c:order val="3"/>
          <c:tx>
            <c:strRef>
              <c:f>Sheet1!$B$2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9:$A$30</c:f>
              <c:numCache>
                <c:formatCode>General</c:formatCode>
                <c:ptCount val="2"/>
                <c:pt idx="0">
                  <c:v>-10642.667861096623</c:v>
                </c:pt>
                <c:pt idx="1">
                  <c:v>-10642.667861096623</c:v>
                </c:pt>
              </c:numCache>
            </c:numRef>
          </c:xVal>
          <c:yVal>
            <c:numRef>
              <c:f>Sheet1!$B$29:$B$30</c:f>
              <c:numCache>
                <c:formatCode>General</c:formatCode>
                <c:ptCount val="2"/>
                <c:pt idx="0">
                  <c:v>0.284686536485097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2</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3:$A$34</c:f>
              <c:numCache>
                <c:formatCode>General</c:formatCode>
                <c:ptCount val="2"/>
                <c:pt idx="0">
                  <c:v>0</c:v>
                </c:pt>
                <c:pt idx="1">
                  <c:v>-6774.888209479244</c:v>
                </c:pt>
              </c:numCache>
            </c:numRef>
          </c:xVal>
          <c:yVal>
            <c:numRef>
              <c:f>Sheet1!$B$33:$B$34</c:f>
              <c:numCache>
                <c:formatCode>General</c:formatCode>
                <c:ptCount val="2"/>
                <c:pt idx="0">
                  <c:v>0.22150082502331586</c:v>
                </c:pt>
                <c:pt idx="1">
                  <c:v>0.22150082502331586</c:v>
                </c:pt>
              </c:numCache>
            </c:numRef>
          </c:yVal>
          <c:smooth val="0"/>
          <c:extLst>
            <c:ext xmlns:c16="http://schemas.microsoft.com/office/drawing/2014/chart" uri="{C3380CC4-5D6E-409C-BE32-E72D297353CC}">
              <c16:uniqueId val="{0000000A-F32D-48B7-BC20-E66FC6253BAD}"/>
            </c:ext>
          </c:extLst>
        </c:ser>
        <c:ser>
          <c:idx val="5"/>
          <c:order val="5"/>
          <c:tx>
            <c:strRef>
              <c:f>Sheet1!$B$36</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7:$A$38</c:f>
              <c:numCache>
                <c:formatCode>General</c:formatCode>
                <c:ptCount val="2"/>
                <c:pt idx="0">
                  <c:v>-6774.888209479244</c:v>
                </c:pt>
                <c:pt idx="1">
                  <c:v>-6774.888209479244</c:v>
                </c:pt>
              </c:numCache>
            </c:numRef>
          </c:xVal>
          <c:yVal>
            <c:numRef>
              <c:f>Sheet1!$B$37:$B$38</c:f>
              <c:numCache>
                <c:formatCode>General</c:formatCode>
                <c:ptCount val="2"/>
                <c:pt idx="0">
                  <c:v>0.2215008250233158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40</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41:$A$42</c:f>
              <c:numCache>
                <c:formatCode>General</c:formatCode>
                <c:ptCount val="2"/>
                <c:pt idx="0">
                  <c:v>0</c:v>
                </c:pt>
                <c:pt idx="1">
                  <c:v>-4426.861491611535</c:v>
                </c:pt>
              </c:numCache>
            </c:numRef>
          </c:xVal>
          <c:yVal>
            <c:numRef>
              <c:f>Sheet1!$B$41:$B$42</c:f>
              <c:numCache>
                <c:formatCode>General</c:formatCode>
                <c:ptCount val="2"/>
                <c:pt idx="0">
                  <c:v>0.18314245095262557</c:v>
                </c:pt>
                <c:pt idx="1">
                  <c:v>0.18314245095262557</c:v>
                </c:pt>
              </c:numCache>
            </c:numRef>
          </c:yVal>
          <c:smooth val="0"/>
          <c:extLst>
            <c:ext xmlns:c16="http://schemas.microsoft.com/office/drawing/2014/chart" uri="{C3380CC4-5D6E-409C-BE32-E72D297353CC}">
              <c16:uniqueId val="{00000011-F32D-48B7-BC20-E66FC6253BAD}"/>
            </c:ext>
          </c:extLst>
        </c:ser>
        <c:ser>
          <c:idx val="7"/>
          <c:order val="7"/>
          <c:tx>
            <c:strRef>
              <c:f>Sheet1!$B$44</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5:$A$46</c:f>
              <c:numCache>
                <c:formatCode>General</c:formatCode>
                <c:ptCount val="2"/>
                <c:pt idx="0">
                  <c:v>-4426.861491611535</c:v>
                </c:pt>
                <c:pt idx="1">
                  <c:v>-4426.861491611535</c:v>
                </c:pt>
              </c:numCache>
            </c:numRef>
          </c:xVal>
          <c:yVal>
            <c:numRef>
              <c:f>Sheet1!$B$45:$B$46</c:f>
              <c:numCache>
                <c:formatCode>General</c:formatCode>
                <c:ptCount val="2"/>
                <c:pt idx="0">
                  <c:v>0.1831424509526255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8</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9:$A$60</c:f>
              <c:numCache>
                <c:formatCode>General</c:formatCode>
                <c:ptCount val="12"/>
                <c:pt idx="0">
                  <c:v>737.4167</c:v>
                </c:pt>
                <c:pt idx="1">
                  <c:v>643.8621</c:v>
                </c:pt>
                <c:pt idx="2">
                  <c:v>1090.0</c:v>
                </c:pt>
                <c:pt idx="3">
                  <c:v>1452.0</c:v>
                </c:pt>
                <c:pt idx="4">
                  <c:v>792.7333</c:v>
                </c:pt>
                <c:pt idx="5">
                  <c:v>817.9655</c:v>
                </c:pt>
                <c:pt idx="6">
                  <c:v>1009.2885</c:v>
                </c:pt>
                <c:pt idx="7">
                  <c:v>1009.2885</c:v>
                </c:pt>
                <c:pt idx="8">
                  <c:v>996.6792</c:v>
                </c:pt>
                <c:pt idx="9">
                  <c:v>-6774.888209479244</c:v>
                </c:pt>
                <c:pt idx="10">
                  <c:v>-10642.667861096623</c:v>
                </c:pt>
                <c:pt idx="11">
                  <c:v>-4426.861491611535</c:v>
                </c:pt>
              </c:numCache>
            </c:numRef>
          </c:xVal>
          <c:yVal>
            <c:numRef>
              <c:f>Sheet1!$B$49:$B$60</c:f>
              <c:numCache>
                <c:formatCode>General</c:formatCode>
                <c:ptCount val="12"/>
                <c:pt idx="0">
                  <c:v>0.098776581871359</c:v>
                </c:pt>
                <c:pt idx="1">
                  <c:v>0.10030493004368844</c:v>
                </c:pt>
                <c:pt idx="2">
                  <c:v>0.09301662947832989</c:v>
                </c:pt>
                <c:pt idx="3">
                  <c:v>0.08710284182509577</c:v>
                </c:pt>
                <c:pt idx="4">
                  <c:v>0.09787290610865489</c:v>
                </c:pt>
                <c:pt idx="5">
                  <c:v>0.09746070204008049</c:v>
                </c:pt>
                <c:pt idx="6">
                  <c:v>0.09433516724676637</c:v>
                </c:pt>
                <c:pt idx="7">
                  <c:v>0.09433516724676637</c:v>
                </c:pt>
                <c:pt idx="8">
                  <c:v>0.0945411581933297</c:v>
                </c:pt>
                <c:pt idx="9">
                  <c:v>0.22150082502331586</c:v>
                </c:pt>
                <c:pt idx="10">
                  <c:v>0.2846865364850976</c:v>
                </c:pt>
                <c:pt idx="11">
                  <c:v>0.1831424509526255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20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41747572815534"/>
          <c:min val="0.0052336448598130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2.3738304162370527</c:v>
                </c:pt>
                <c:pt idx="1">
                  <c:v>2.325598456448217</c:v>
                </c:pt>
                <c:pt idx="2">
                  <c:v>1.789863946450554</c:v>
                </c:pt>
                <c:pt idx="3">
                  <c:v>1.2859371315223416</c:v>
                </c:pt>
                <c:pt idx="4">
                  <c:v>2.336250188547992</c:v>
                </c:pt>
                <c:pt idx="5">
                  <c:v>1.5454353490150436</c:v>
                </c:pt>
                <c:pt idx="6">
                  <c:v>1.8871742112482852</c:v>
                </c:pt>
                <c:pt idx="7">
                  <c:v>1.71045464131303</c:v>
                </c:pt>
                <c:pt idx="8">
                  <c:v>2.248436137012674</c:v>
                </c:pt>
                <c:pt idx="9">
                  <c:v>1.5720386581654517</c:v>
                </c:pt>
                <c:pt idx="10">
                  <c:v>2.6160142226074456</c:v>
                </c:pt>
                <c:pt idx="11">
                  <c:v>2.3473802427184234</c:v>
                </c:pt>
                <c:pt idx="12">
                  <c:v>2.739411627266333</c:v>
                </c:pt>
                <c:pt idx="13">
                  <c:v>2.75009920756923</c:v>
                </c:pt>
              </c:numCache>
            </c:numRef>
          </c:xVal>
          <c:yVal>
            <c:numRef>
              <c:f>Sheet1!$B$2:$B$15</c:f>
              <c:numCache>
                <c:formatCode>General</c:formatCode>
                <c:ptCount val="14"/>
                <c:pt idx="0">
                  <c:v>0.2846865364850976</c:v>
                </c:pt>
                <c:pt idx="1">
                  <c:v>0.07291666666666667</c:v>
                </c:pt>
                <c:pt idx="2">
                  <c:v>0.0231023102310231</c:v>
                </c:pt>
                <c:pt idx="3">
                  <c:v>0.09688581314878893</c:v>
                </c:pt>
                <c:pt idx="4">
                  <c:v>0.0065420560747663555</c:v>
                </c:pt>
                <c:pt idx="5">
                  <c:v>0.009485094850948509</c:v>
                </c:pt>
                <c:pt idx="6">
                  <c:v>0.025</c:v>
                </c:pt>
                <c:pt idx="7">
                  <c:v>0.06046511627906977</c:v>
                </c:pt>
                <c:pt idx="8">
                  <c:v>0.010507880910683012</c:v>
                </c:pt>
                <c:pt idx="9">
                  <c:v>0.01056338028169014</c:v>
                </c:pt>
                <c:pt idx="10">
                  <c:v>0.06734006734006734</c:v>
                </c:pt>
                <c:pt idx="11">
                  <c:v>0.01</c:v>
                </c:pt>
                <c:pt idx="12">
                  <c:v>0.25392670157068065</c:v>
                </c:pt>
                <c:pt idx="13">
                  <c:v>0.16782006920415224</c:v>
                </c:pt>
              </c:numCache>
            </c:numRef>
          </c:yVal>
          <c:smooth val="0"/>
          <c:extLst>
            <c:ext xmlns:c16="http://schemas.microsoft.com/office/drawing/2014/chart" uri="{C3380CC4-5D6E-409C-BE32-E72D297353CC}">
              <c16:uniqueId val="{00000000-096C-4121-9522-6AB7243CCAAE}"/>
            </c:ext>
          </c:extLst>
        </c:ser>
        <c:ser>
          <c:idx val="1"/>
          <c:order val="1"/>
          <c:tx>
            <c:strRef>
              <c:f>Sheet1!$B$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8:$A$28</c:f>
              <c:numCache>
                <c:formatCode>General</c:formatCode>
                <c:ptCount val="11"/>
                <c:pt idx="0">
                  <c:v>0.8488047284858049</c:v>
                </c:pt>
                <c:pt idx="1">
                  <c:v>2.173238620005439</c:v>
                </c:pt>
                <c:pt idx="2">
                  <c:v>3.033425972602648</c:v>
                </c:pt>
                <c:pt idx="3">
                  <c:v>1.0758304425647796</c:v>
                </c:pt>
                <c:pt idx="4">
                  <c:v>1.7608055702355339</c:v>
                </c:pt>
                <c:pt idx="5">
                  <c:v>1.5121195074167366</c:v>
                </c:pt>
                <c:pt idx="6">
                  <c:v>1.4846728841380166</c:v>
                </c:pt>
                <c:pt idx="7">
                  <c:v>1.3905876274455773</c:v>
                </c:pt>
                <c:pt idx="8">
                  <c:v>1.3466166876923313</c:v>
                </c:pt>
                <c:pt idx="9">
                  <c:v>1.168157986111111</c:v>
                </c:pt>
                <c:pt idx="10">
                  <c:v>0.8610499672531553</c:v>
                </c:pt>
              </c:numCache>
            </c:numRef>
          </c:xVal>
          <c:yVal>
            <c:numRef>
              <c:f>Sheet1!$B$18:$B$28</c:f>
              <c:numCache>
                <c:formatCode>General</c:formatCode>
                <c:ptCount val="11"/>
                <c:pt idx="0">
                  <c:v>0.0847953216374269</c:v>
                </c:pt>
                <c:pt idx="1">
                  <c:v>0.037520391517128875</c:v>
                </c:pt>
                <c:pt idx="2">
                  <c:v>0.017857142857142856</c:v>
                </c:pt>
                <c:pt idx="3">
                  <c:v>0.03880983182406209</c:v>
                </c:pt>
                <c:pt idx="4">
                  <c:v>0.08055555555555556</c:v>
                </c:pt>
                <c:pt idx="5">
                  <c:v>0.6984126984126984</c:v>
                </c:pt>
                <c:pt idx="6">
                  <c:v>0.042042042042042045</c:v>
                </c:pt>
                <c:pt idx="7">
                  <c:v>0.19771863117870722</c:v>
                </c:pt>
                <c:pt idx="8">
                  <c:v>0.06866952789699571</c:v>
                </c:pt>
                <c:pt idx="9">
                  <c:v>0.24528301886792453</c:v>
                </c:pt>
                <c:pt idx="10">
                  <c:v>0.10642570281124498</c:v>
                </c:pt>
              </c:numCache>
            </c:numRef>
          </c:yVal>
          <c:smooth val="0"/>
          <c:extLst>
            <c:ext xmlns:c16="http://schemas.microsoft.com/office/drawing/2014/chart" uri="{C3380CC4-5D6E-409C-BE32-E72D297353CC}">
              <c16:uniqueId val="{00000002-096C-4121-9522-6AB7243CCAAE}"/>
            </c:ext>
          </c:extLst>
        </c:ser>
        <c:ser>
          <c:idx val="2"/>
          <c:order val="2"/>
          <c:tx>
            <c:strRef>
              <c:f>Sheet1!$B$3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31:$A$32</c:f>
              <c:numCache>
                <c:formatCode>General</c:formatCode>
                <c:ptCount val="2"/>
                <c:pt idx="0">
                  <c:v>0</c:v>
                </c:pt>
                <c:pt idx="1">
                  <c:v>-0.6248161365509026</c:v>
                </c:pt>
              </c:numCache>
            </c:numRef>
          </c:xVal>
          <c:yVal>
            <c:numRef>
              <c:f>Sheet1!$B$31:$B$32</c:f>
              <c:numCache>
                <c:formatCode>General</c:formatCode>
                <c:ptCount val="2"/>
                <c:pt idx="0">
                  <c:v>0.2504251836796736</c:v>
                </c:pt>
                <c:pt idx="1">
                  <c:v>0.2504251836796736</c:v>
                </c:pt>
              </c:numCache>
            </c:numRef>
          </c:yVal>
          <c:smooth val="0"/>
          <c:extLst>
            <c:ext xmlns:c16="http://schemas.microsoft.com/office/drawing/2014/chart" uri="{C3380CC4-5D6E-409C-BE32-E72D297353CC}">
              <c16:uniqueId val="{00000005-096C-4121-9522-6AB7243CCAAE}"/>
            </c:ext>
          </c:extLst>
        </c:ser>
        <c:ser>
          <c:idx val="3"/>
          <c:order val="3"/>
          <c:tx>
            <c:strRef>
              <c:f>Sheet1!$B$3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6248161365509026</c:v>
                </c:pt>
                <c:pt idx="1">
                  <c:v>-0.6248161365509026</c:v>
                </c:pt>
              </c:numCache>
            </c:numRef>
          </c:xVal>
          <c:yVal>
            <c:numRef>
              <c:f>Sheet1!$B$35:$B$36</c:f>
              <c:numCache>
                <c:formatCode>General</c:formatCode>
                <c:ptCount val="2"/>
                <c:pt idx="0">
                  <c:v>0.25042518367967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9:$A$40</c:f>
              <c:numCache>
                <c:formatCode>General</c:formatCode>
                <c:ptCount val="2"/>
                <c:pt idx="0">
                  <c:v>0</c:v>
                </c:pt>
                <c:pt idx="1">
                  <c:v>-0.6248161365509026</c:v>
                </c:pt>
              </c:numCache>
            </c:numRef>
          </c:xVal>
          <c:yVal>
            <c:numRef>
              <c:f>Sheet1!$B$39:$B$40</c:f>
              <c:numCache>
                <c:formatCode>General</c:formatCode>
                <c:ptCount val="2"/>
                <c:pt idx="0">
                  <c:v>0.2504251836796736</c:v>
                </c:pt>
                <c:pt idx="1">
                  <c:v>0.2504251836796736</c:v>
                </c:pt>
              </c:numCache>
            </c:numRef>
          </c:yVal>
          <c:smooth val="0"/>
          <c:extLst>
            <c:ext xmlns:c16="http://schemas.microsoft.com/office/drawing/2014/chart" uri="{C3380CC4-5D6E-409C-BE32-E72D297353CC}">
              <c16:uniqueId val="{0000000D-096C-4121-9522-6AB7243CCAAE}"/>
            </c:ext>
          </c:extLst>
        </c:ser>
        <c:ser>
          <c:idx val="5"/>
          <c:order val="5"/>
          <c:tx>
            <c:strRef>
              <c:f>Sheet1!$B$4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6248161365509026</c:v>
                </c:pt>
                <c:pt idx="1">
                  <c:v>-0.6248161365509026</c:v>
                </c:pt>
              </c:numCache>
            </c:numRef>
          </c:xVal>
          <c:yVal>
            <c:numRef>
              <c:f>Sheet1!$B$43:$B$44</c:f>
              <c:numCache>
                <c:formatCode>General</c:formatCode>
                <c:ptCount val="2"/>
                <c:pt idx="0">
                  <c:v>0.250425183679673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4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47:$A$48</c:f>
              <c:numCache>
                <c:formatCode>General</c:formatCode>
                <c:ptCount val="2"/>
                <c:pt idx="0">
                  <c:v>0</c:v>
                </c:pt>
                <c:pt idx="1">
                  <c:v>1.360412561921969</c:v>
                </c:pt>
              </c:numCache>
            </c:numRef>
          </c:xVal>
          <c:yVal>
            <c:numRef>
              <c:f>Sheet1!$B$47:$B$48</c:f>
              <c:numCache>
                <c:formatCode>General</c:formatCode>
                <c:ptCount val="2"/>
                <c:pt idx="0">
                  <c:v>0.1545242201887181</c:v>
                </c:pt>
                <c:pt idx="1">
                  <c:v>0.1545242201887181</c:v>
                </c:pt>
              </c:numCache>
            </c:numRef>
          </c:yVal>
          <c:smooth val="0"/>
          <c:extLst>
            <c:ext xmlns:c16="http://schemas.microsoft.com/office/drawing/2014/chart" uri="{C3380CC4-5D6E-409C-BE32-E72D297353CC}">
              <c16:uniqueId val="{00000015-096C-4121-9522-6AB7243CCAAE}"/>
            </c:ext>
          </c:extLst>
        </c:ser>
        <c:ser>
          <c:idx val="7"/>
          <c:order val="7"/>
          <c:tx>
            <c:strRef>
              <c:f>Sheet1!$B$5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1:$A$52</c:f>
              <c:numCache>
                <c:formatCode>General</c:formatCode>
                <c:ptCount val="2"/>
                <c:pt idx="0">
                  <c:v>1.360412561921969</c:v>
                </c:pt>
                <c:pt idx="1">
                  <c:v>1.360412561921969</c:v>
                </c:pt>
              </c:numCache>
            </c:numRef>
          </c:xVal>
          <c:yVal>
            <c:numRef>
              <c:f>Sheet1!$B$51:$B$52</c:f>
              <c:numCache>
                <c:formatCode>General</c:formatCode>
                <c:ptCount val="2"/>
                <c:pt idx="0">
                  <c:v>0.154524220188718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5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55:$A$68</c:f>
              <c:numCache>
                <c:formatCode>General</c:formatCode>
                <c:ptCount val="14"/>
                <c:pt idx="0">
                  <c:v>0.8488047284858049</c:v>
                </c:pt>
                <c:pt idx="1">
                  <c:v>2.173238620005439</c:v>
                </c:pt>
                <c:pt idx="2">
                  <c:v>3.033425972602648</c:v>
                </c:pt>
                <c:pt idx="3">
                  <c:v>1.0758304425647796</c:v>
                </c:pt>
                <c:pt idx="4">
                  <c:v>1.7608055702355339</c:v>
                </c:pt>
                <c:pt idx="5">
                  <c:v>1.5121195074167366</c:v>
                </c:pt>
                <c:pt idx="6">
                  <c:v>1.4846728841380166</c:v>
                </c:pt>
                <c:pt idx="7">
                  <c:v>1.3905876274455773</c:v>
                </c:pt>
                <c:pt idx="8">
                  <c:v>1.3466166876923313</c:v>
                </c:pt>
                <c:pt idx="9">
                  <c:v>1.168157986111111</c:v>
                </c:pt>
                <c:pt idx="10">
                  <c:v>0.8610499672531553</c:v>
                </c:pt>
                <c:pt idx="11">
                  <c:v>-0.6248161365509026</c:v>
                </c:pt>
                <c:pt idx="12">
                  <c:v>-0.6248161365509026</c:v>
                </c:pt>
                <c:pt idx="13">
                  <c:v>1.360412561921969</c:v>
                </c:pt>
              </c:numCache>
            </c:numRef>
          </c:xVal>
          <c:yVal>
            <c:numRef>
              <c:f>Sheet1!$B$55:$B$68</c:f>
              <c:numCache>
                <c:formatCode>General</c:formatCode>
                <c:ptCount val="14"/>
                <c:pt idx="0">
                  <c:v>0.1792385940005567</c:v>
                </c:pt>
                <c:pt idx="1">
                  <c:v>0.11525881858500187</c:v>
                </c:pt>
                <c:pt idx="2">
                  <c:v>0.07370552250366685</c:v>
                </c:pt>
                <c:pt idx="3">
                  <c:v>0.1682716032784581</c:v>
                </c:pt>
                <c:pt idx="4">
                  <c:v>0.13518233010731306</c:v>
                </c:pt>
                <c:pt idx="5">
                  <c:v>0.14719567297780495</c:v>
                </c:pt>
                <c:pt idx="6">
                  <c:v>0.14852154420817115</c:v>
                </c:pt>
                <c:pt idx="7">
                  <c:v>0.1530665453831187</c:v>
                </c:pt>
                <c:pt idx="8">
                  <c:v>0.15519066110398394</c:v>
                </c:pt>
                <c:pt idx="9">
                  <c:v>0.16381151241353284</c:v>
                </c:pt>
                <c:pt idx="10">
                  <c:v>0.17864706003932138</c:v>
                </c:pt>
                <c:pt idx="11">
                  <c:v>0.2504251836796736</c:v>
                </c:pt>
                <c:pt idx="12">
                  <c:v>0.2504251836796736</c:v>
                </c:pt>
                <c:pt idx="13">
                  <c:v>0.154524220188718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38095238095238"/>
          <c:min val="0.0052336448598130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1109.704</c:v>
                </c:pt>
                <c:pt idx="1">
                  <c:v>1268.0</c:v>
                </c:pt>
                <c:pt idx="2">
                  <c:v>1284.1429</c:v>
                </c:pt>
                <c:pt idx="3">
                  <c:v>1133.6607</c:v>
                </c:pt>
                <c:pt idx="4">
                  <c:v>1205.0</c:v>
                </c:pt>
                <c:pt idx="5">
                  <c:v>1028.2857</c:v>
                </c:pt>
                <c:pt idx="6">
                  <c:v>1375.75</c:v>
                </c:pt>
                <c:pt idx="7">
                  <c:v>1145.2308</c:v>
                </c:pt>
                <c:pt idx="8">
                  <c:v>1235.1667</c:v>
                </c:pt>
                <c:pt idx="9">
                  <c:v>1472.5</c:v>
                </c:pt>
                <c:pt idx="10">
                  <c:v>1062.4</c:v>
                </c:pt>
                <c:pt idx="11">
                  <c:v>1478.1667</c:v>
                </c:pt>
                <c:pt idx="12">
                  <c:v>1833.7216</c:v>
                </c:pt>
                <c:pt idx="13">
                  <c:v>1833.7216</c:v>
                </c:pt>
              </c:numCache>
            </c:numRef>
          </c:xVal>
          <c:yVal>
            <c:numRef>
              <c:f>Sheet1!$B$2:$B$15</c:f>
              <c:numCache>
                <c:formatCode>General</c:formatCode>
                <c:ptCount val="14"/>
                <c:pt idx="0">
                  <c:v>0.2846865364850976</c:v>
                </c:pt>
                <c:pt idx="1">
                  <c:v>0.07291666666666667</c:v>
                </c:pt>
                <c:pt idx="2">
                  <c:v>0.0231023102310231</c:v>
                </c:pt>
                <c:pt idx="3">
                  <c:v>0.09688581314878893</c:v>
                </c:pt>
                <c:pt idx="4">
                  <c:v>0.0065420560747663555</c:v>
                </c:pt>
                <c:pt idx="5">
                  <c:v>0.009485094850948509</c:v>
                </c:pt>
                <c:pt idx="6">
                  <c:v>0.025</c:v>
                </c:pt>
                <c:pt idx="7">
                  <c:v>0.06046511627906977</c:v>
                </c:pt>
                <c:pt idx="8">
                  <c:v>0.010507880910683012</c:v>
                </c:pt>
                <c:pt idx="9">
                  <c:v>0.01056338028169014</c:v>
                </c:pt>
                <c:pt idx="10">
                  <c:v>0.06734006734006734</c:v>
                </c:pt>
                <c:pt idx="11">
                  <c:v>0.01</c:v>
                </c:pt>
                <c:pt idx="12">
                  <c:v>0.25392670157068065</c:v>
                </c:pt>
                <c:pt idx="13">
                  <c:v>0.16782006920415224</c:v>
                </c:pt>
              </c:numCache>
            </c:numRef>
          </c:yVal>
          <c:smooth val="0"/>
          <c:extLst>
            <c:ext xmlns:c16="http://schemas.microsoft.com/office/drawing/2014/chart" uri="{C3380CC4-5D6E-409C-BE32-E72D297353CC}">
              <c16:uniqueId val="{00000000-F32D-48B7-BC20-E66FC6253BAD}"/>
            </c:ext>
          </c:extLst>
        </c:ser>
        <c:ser>
          <c:idx val="1"/>
          <c:order val="1"/>
          <c:tx>
            <c:strRef>
              <c:f>Sheet1!$B$1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8:$A$28</c:f>
              <c:numCache>
                <c:formatCode>General</c:formatCode>
                <c:ptCount val="11"/>
                <c:pt idx="0">
                  <c:v>643.8621</c:v>
                </c:pt>
                <c:pt idx="1">
                  <c:v>1090.0</c:v>
                </c:pt>
                <c:pt idx="2">
                  <c:v>1452.0</c:v>
                </c:pt>
                <c:pt idx="3">
                  <c:v>792.7333</c:v>
                </c:pt>
                <c:pt idx="4">
                  <c:v>817.9655</c:v>
                </c:pt>
                <c:pt idx="5">
                  <c:v>1080.5606</c:v>
                </c:pt>
                <c:pt idx="6">
                  <c:v>1166.7143</c:v>
                </c:pt>
                <c:pt idx="7">
                  <c:v>1009.2885</c:v>
                </c:pt>
                <c:pt idx="8">
                  <c:v>907.75</c:v>
                </c:pt>
                <c:pt idx="9">
                  <c:v>1009.2885</c:v>
                </c:pt>
                <c:pt idx="10">
                  <c:v>996.6792</c:v>
                </c:pt>
              </c:numCache>
            </c:numRef>
          </c:xVal>
          <c:yVal>
            <c:numRef>
              <c:f>Sheet1!$B$18:$B$28</c:f>
              <c:numCache>
                <c:formatCode>General</c:formatCode>
                <c:ptCount val="11"/>
                <c:pt idx="0">
                  <c:v>0.0847953216374269</c:v>
                </c:pt>
                <c:pt idx="1">
                  <c:v>0.037520391517128875</c:v>
                </c:pt>
                <c:pt idx="2">
                  <c:v>0.017857142857142856</c:v>
                </c:pt>
                <c:pt idx="3">
                  <c:v>0.03880983182406209</c:v>
                </c:pt>
                <c:pt idx="4">
                  <c:v>0.08055555555555556</c:v>
                </c:pt>
                <c:pt idx="5">
                  <c:v>0.6984126984126984</c:v>
                </c:pt>
                <c:pt idx="6">
                  <c:v>0.042042042042042045</c:v>
                </c:pt>
                <c:pt idx="7">
                  <c:v>0.19771863117870722</c:v>
                </c:pt>
                <c:pt idx="8">
                  <c:v>0.06866952789699571</c:v>
                </c:pt>
                <c:pt idx="9">
                  <c:v>0.24528301886792453</c:v>
                </c:pt>
                <c:pt idx="10">
                  <c:v>0.10642570281124498</c:v>
                </c:pt>
              </c:numCache>
            </c:numRef>
          </c:yVal>
          <c:smooth val="0"/>
          <c:extLst>
            <c:ext xmlns:c16="http://schemas.microsoft.com/office/drawing/2014/chart" uri="{C3380CC4-5D6E-409C-BE32-E72D297353CC}">
              <c16:uniqueId val="{00000002-F32D-48B7-BC20-E66FC6253BAD}"/>
            </c:ext>
          </c:extLst>
        </c:ser>
        <c:ser>
          <c:idx val="2"/>
          <c:order val="2"/>
          <c:tx>
            <c:strRef>
              <c:f>Sheet1!$B$30</c:f>
              <c:strCache>
                <c:ptCount val="1"/>
                <c:pt idx="0">
                  <c:v>Custom Linep3yQ</c:v>
                </c:pt>
              </c:strCache>
            </c:strRef>
          </c:tx>
          <c:spPr>
            <a:ln w="19050" cap="rnd">
              <a:solidFill>
                <a:srgbClr val="C00000"/>
              </a:solidFill>
              <a:prstDash val="sysDot"/>
              <a:round/>
            </a:ln>
            <a:effectLst/>
          </c:spPr>
          <c:marker>
            <c:symbol val="none"/>
          </c:marker>
          <c:xVal>
            <c:numRef>
              <c:f>Sheet1!$A$31:$A$32</c:f>
              <c:numCache>
                <c:formatCode>General</c:formatCode>
                <c:ptCount val="2"/>
                <c:pt idx="0">
                  <c:v>0</c:v>
                </c:pt>
                <c:pt idx="1">
                  <c:v>2959.9484488683115</c:v>
                </c:pt>
              </c:numCache>
            </c:numRef>
          </c:xVal>
          <c:yVal>
            <c:numRef>
              <c:f>Sheet1!$B$31:$B$32</c:f>
              <c:numCache>
                <c:formatCode>General</c:formatCode>
                <c:ptCount val="2"/>
                <c:pt idx="0">
                  <c:v>0.2504251836796736</c:v>
                </c:pt>
                <c:pt idx="1">
                  <c:v>0.2504251836796736</c:v>
                </c:pt>
              </c:numCache>
            </c:numRef>
          </c:yVal>
          <c:smooth val="0"/>
          <c:extLst>
            <c:ext xmlns:c16="http://schemas.microsoft.com/office/drawing/2014/chart" uri="{C3380CC4-5D6E-409C-BE32-E72D297353CC}">
              <c16:uniqueId val="{00000003-F32D-48B7-BC20-E66FC6253BAD}"/>
            </c:ext>
          </c:extLst>
        </c:ser>
        <c:ser>
          <c:idx val="3"/>
          <c:order val="3"/>
          <c:tx>
            <c:strRef>
              <c:f>Sheet1!$B$3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2959.9484488683115</c:v>
                </c:pt>
                <c:pt idx="1">
                  <c:v>2959.9484488683115</c:v>
                </c:pt>
              </c:numCache>
            </c:numRef>
          </c:xVal>
          <c:yVal>
            <c:numRef>
              <c:f>Sheet1!$B$35:$B$36</c:f>
              <c:numCache>
                <c:formatCode>General</c:formatCode>
                <c:ptCount val="2"/>
                <c:pt idx="0">
                  <c:v>0.25042518367967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9:$A$40</c:f>
              <c:numCache>
                <c:formatCode>General</c:formatCode>
                <c:ptCount val="2"/>
                <c:pt idx="0">
                  <c:v>0</c:v>
                </c:pt>
                <c:pt idx="1">
                  <c:v>2959.9484488683115</c:v>
                </c:pt>
              </c:numCache>
            </c:numRef>
          </c:xVal>
          <c:yVal>
            <c:numRef>
              <c:f>Sheet1!$B$39:$B$40</c:f>
              <c:numCache>
                <c:formatCode>General</c:formatCode>
                <c:ptCount val="2"/>
                <c:pt idx="0">
                  <c:v>0.2504251836796736</c:v>
                </c:pt>
                <c:pt idx="1">
                  <c:v>0.2504251836796736</c:v>
                </c:pt>
              </c:numCache>
            </c:numRef>
          </c:yVal>
          <c:smooth val="0"/>
          <c:extLst>
            <c:ext xmlns:c16="http://schemas.microsoft.com/office/drawing/2014/chart" uri="{C3380CC4-5D6E-409C-BE32-E72D297353CC}">
              <c16:uniqueId val="{0000000A-F32D-48B7-BC20-E66FC6253BAD}"/>
            </c:ext>
          </c:extLst>
        </c:ser>
        <c:ser>
          <c:idx val="5"/>
          <c:order val="5"/>
          <c:tx>
            <c:strRef>
              <c:f>Sheet1!$B$4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2959.9484488683115</c:v>
                </c:pt>
                <c:pt idx="1">
                  <c:v>2959.9484488683115</c:v>
                </c:pt>
              </c:numCache>
            </c:numRef>
          </c:xVal>
          <c:yVal>
            <c:numRef>
              <c:f>Sheet1!$B$43:$B$44</c:f>
              <c:numCache>
                <c:formatCode>General</c:formatCode>
                <c:ptCount val="2"/>
                <c:pt idx="0">
                  <c:v>0.250425183679673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4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47:$A$48</c:f>
              <c:numCache>
                <c:formatCode>General</c:formatCode>
                <c:ptCount val="2"/>
                <c:pt idx="0">
                  <c:v>0</c:v>
                </c:pt>
                <c:pt idx="1">
                  <c:v>1138.046569656755</c:v>
                </c:pt>
              </c:numCache>
            </c:numRef>
          </c:xVal>
          <c:yVal>
            <c:numRef>
              <c:f>Sheet1!$B$47:$B$48</c:f>
              <c:numCache>
                <c:formatCode>General</c:formatCode>
                <c:ptCount val="2"/>
                <c:pt idx="0">
                  <c:v>0.1545242201887181</c:v>
                </c:pt>
                <c:pt idx="1">
                  <c:v>0.1545242201887181</c:v>
                </c:pt>
              </c:numCache>
            </c:numRef>
          </c:yVal>
          <c:smooth val="0"/>
          <c:extLst>
            <c:ext xmlns:c16="http://schemas.microsoft.com/office/drawing/2014/chart" uri="{C3380CC4-5D6E-409C-BE32-E72D297353CC}">
              <c16:uniqueId val="{00000011-F32D-48B7-BC20-E66FC6253BAD}"/>
            </c:ext>
          </c:extLst>
        </c:ser>
        <c:ser>
          <c:idx val="7"/>
          <c:order val="7"/>
          <c:tx>
            <c:strRef>
              <c:f>Sheet1!$B$5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1:$A$52</c:f>
              <c:numCache>
                <c:formatCode>General</c:formatCode>
                <c:ptCount val="2"/>
                <c:pt idx="0">
                  <c:v>1138.046569656755</c:v>
                </c:pt>
                <c:pt idx="1">
                  <c:v>1138.046569656755</c:v>
                </c:pt>
              </c:numCache>
            </c:numRef>
          </c:xVal>
          <c:yVal>
            <c:numRef>
              <c:f>Sheet1!$B$51:$B$52</c:f>
              <c:numCache>
                <c:formatCode>General</c:formatCode>
                <c:ptCount val="2"/>
                <c:pt idx="0">
                  <c:v>0.154524220188718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5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55:$A$68</c:f>
              <c:numCache>
                <c:formatCode>General</c:formatCode>
                <c:ptCount val="14"/>
                <c:pt idx="0">
                  <c:v>643.8621</c:v>
                </c:pt>
                <c:pt idx="1">
                  <c:v>1090.0</c:v>
                </c:pt>
                <c:pt idx="2">
                  <c:v>1452.0</c:v>
                </c:pt>
                <c:pt idx="3">
                  <c:v>792.7333</c:v>
                </c:pt>
                <c:pt idx="4">
                  <c:v>817.9655</c:v>
                </c:pt>
                <c:pt idx="5">
                  <c:v>1080.5606</c:v>
                </c:pt>
                <c:pt idx="6">
                  <c:v>1166.7143</c:v>
                </c:pt>
                <c:pt idx="7">
                  <c:v>1009.2885</c:v>
                </c:pt>
                <c:pt idx="8">
                  <c:v>907.75</c:v>
                </c:pt>
                <c:pt idx="9">
                  <c:v>1009.2885</c:v>
                </c:pt>
                <c:pt idx="10">
                  <c:v>996.6792</c:v>
                </c:pt>
                <c:pt idx="11">
                  <c:v>2959.9484488683115</c:v>
                </c:pt>
                <c:pt idx="12">
                  <c:v>2959.9484488683115</c:v>
                </c:pt>
                <c:pt idx="13">
                  <c:v>1138.046569656755</c:v>
                </c:pt>
              </c:numCache>
            </c:numRef>
          </c:xVal>
          <c:yVal>
            <c:numRef>
              <c:f>Sheet1!$B$55:$B$68</c:f>
              <c:numCache>
                <c:formatCode>General</c:formatCode>
                <c:ptCount val="14"/>
                <c:pt idx="0">
                  <c:v>0.1285114215176616</c:v>
                </c:pt>
                <c:pt idx="1">
                  <c:v>0.15199515296775878</c:v>
                </c:pt>
                <c:pt idx="2">
                  <c:v>0.17105004784428723</c:v>
                </c:pt>
                <c:pt idx="3">
                  <c:v>0.13634767860645344</c:v>
                </c:pt>
                <c:pt idx="4">
                  <c:v>0.1376758468896124</c:v>
                </c:pt>
                <c:pt idx="5">
                  <c:v>0.1514982834243955</c:v>
                </c:pt>
                <c:pt idx="6">
                  <c:v>0.15603322733799763</c:v>
                </c:pt>
                <c:pt idx="7">
                  <c:v>0.1477466746588446</c:v>
                </c:pt>
                <c:pt idx="8">
                  <c:v>0.14240190824055624</c:v>
                </c:pt>
                <c:pt idx="9">
                  <c:v>0.1477466746588446</c:v>
                </c:pt>
                <c:pt idx="10">
                  <c:v>0.14708294845451697</c:v>
                </c:pt>
                <c:pt idx="11">
                  <c:v>0.2504251836796736</c:v>
                </c:pt>
                <c:pt idx="12">
                  <c:v>0.2504251836796736</c:v>
                </c:pt>
                <c:pt idx="13">
                  <c:v>0.154524220188718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552.0"/>
          <c:min val="51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38095238095238"/>
          <c:min val="0.0052336448598130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1.0477574336445095</c:v>
                </c:pt>
                <c:pt idx="1">
                  <c:v>0.94650031083523</c:v>
                </c:pt>
                <c:pt idx="2">
                  <c:v>0.9363713010754899</c:v>
                </c:pt>
                <c:pt idx="3">
                  <c:v>0.8396646282298332</c:v>
                </c:pt>
                <c:pt idx="4">
                  <c:v>1.0072512785219048</c:v>
                </c:pt>
                <c:pt idx="5">
                  <c:v>0.6343757749990707</c:v>
                </c:pt>
                <c:pt idx="6">
                  <c:v>1.0264330358541809</c:v>
                </c:pt>
                <c:pt idx="7">
                  <c:v>0.4975898436129025</c:v>
                </c:pt>
                <c:pt idx="8">
                  <c:v>0.6233401169581422</c:v>
                </c:pt>
                <c:pt idx="9">
                  <c:v>0.613533441005737</c:v>
                </c:pt>
                <c:pt idx="10">
                  <c:v>0.6922364279398762</c:v>
                </c:pt>
                <c:pt idx="11">
                  <c:v>1.0170488186983633</c:v>
                </c:pt>
                <c:pt idx="12">
                  <c:v>1.6250520493033545</c:v>
                </c:pt>
                <c:pt idx="13">
                  <c:v>0.3959054210231265</c:v>
                </c:pt>
                <c:pt idx="14">
                  <c:v>0.7548145537727591</c:v>
                </c:pt>
                <c:pt idx="15">
                  <c:v>0.45086706952040584</c:v>
                </c:pt>
                <c:pt idx="16">
                  <c:v>0.46342304164251275</c:v>
                </c:pt>
                <c:pt idx="17">
                  <c:v>0.38328170919286086</c:v>
                </c:pt>
                <c:pt idx="18">
                  <c:v>0.5574096228680872</c:v>
                </c:pt>
                <c:pt idx="19">
                  <c:v>0.9215516806067733</c:v>
                </c:pt>
                <c:pt idx="20">
                  <c:v>0.5660919322366602</c:v>
                </c:pt>
                <c:pt idx="21">
                  <c:v>0.7751010655502764</c:v>
                </c:pt>
                <c:pt idx="22">
                  <c:v>0.5041839178928623</c:v>
                </c:pt>
                <c:pt idx="23">
                  <c:v>0.595274350429602</c:v>
                </c:pt>
                <c:pt idx="24">
                  <c:v>0.3422459490249078</c:v>
                </c:pt>
                <c:pt idx="25">
                  <c:v>0.6138756991447718</c:v>
                </c:pt>
                <c:pt idx="26">
                  <c:v>0.6167649178207181</c:v>
                </c:pt>
                <c:pt idx="27">
                  <c:v>0.45408711660185014</c:v>
                </c:pt>
                <c:pt idx="28">
                  <c:v>0.43041486073084134</c:v>
                </c:pt>
                <c:pt idx="29">
                  <c:v>0.4833771027259091</c:v>
                </c:pt>
                <c:pt idx="30">
                  <c:v>0.5699178827204326</c:v>
                </c:pt>
                <c:pt idx="31">
                  <c:v>0.9246045634511052</c:v>
                </c:pt>
                <c:pt idx="32">
                  <c:v>0.44330312788887627</c:v>
                </c:pt>
                <c:pt idx="33">
                  <c:v>0.6533097961867192</c:v>
                </c:pt>
                <c:pt idx="34">
                  <c:v>0.3089218162428338</c:v>
                </c:pt>
                <c:pt idx="35">
                  <c:v>0.4174140520458145</c:v>
                </c:pt>
                <c:pt idx="36">
                  <c:v>0.47617539547430676</c:v>
                </c:pt>
                <c:pt idx="37">
                  <c:v>0.9159610683769741</c:v>
                </c:pt>
                <c:pt idx="38">
                  <c:v>0.9976496937186361</c:v>
                </c:pt>
                <c:pt idx="39">
                  <c:v>0.39890078557685243</c:v>
                </c:pt>
                <c:pt idx="40">
                  <c:v>0.7050441704411875</c:v>
                </c:pt>
                <c:pt idx="41">
                  <c:v>0.43319215982475373</c:v>
                </c:pt>
                <c:pt idx="42">
                  <c:v>1.2692372196325348</c:v>
                </c:pt>
                <c:pt idx="43">
                  <c:v>1.2719075116687868</c:v>
                </c:pt>
                <c:pt idx="44">
                  <c:v>1.0479221321289884</c:v>
                </c:pt>
                <c:pt idx="45">
                  <c:v>0.45164899276366927</c:v>
                </c:pt>
                <c:pt idx="46">
                  <c:v>0.7717783617621675</c:v>
                </c:pt>
                <c:pt idx="47">
                  <c:v>1.0156585095851116</c:v>
                </c:pt>
                <c:pt idx="48">
                  <c:v>0.36087842873713805</c:v>
                </c:pt>
              </c:numCache>
            </c:numRef>
          </c:xVal>
          <c:yVal>
            <c:numRef>
              <c:f>Sheet1!$B$2:$B$50</c:f>
              <c:numCache>
                <c:formatCode>General</c:formatCode>
                <c:ptCount val="49"/>
                <c:pt idx="0">
                  <c:v>0.4444444444444444</c:v>
                </c:pt>
                <c:pt idx="1">
                  <c:v>0.13793103448275862</c:v>
                </c:pt>
                <c:pt idx="2">
                  <c:v>0.20588235294117646</c:v>
                </c:pt>
                <c:pt idx="3">
                  <c:v>0.5872093023255814</c:v>
                </c:pt>
                <c:pt idx="4">
                  <c:v>0.8575063613231552</c:v>
                </c:pt>
                <c:pt idx="5">
                  <c:v>0.15841584158415842</c:v>
                </c:pt>
                <c:pt idx="6">
                  <c:v>0.17277486910994763</c:v>
                </c:pt>
                <c:pt idx="7">
                  <c:v>0.09433962264150944</c:v>
                </c:pt>
                <c:pt idx="8">
                  <c:v>0.08530805687203792</c:v>
                </c:pt>
                <c:pt idx="9">
                  <c:v>0.10416666666666667</c:v>
                </c:pt>
                <c:pt idx="10">
                  <c:v>0.2805755395683453</c:v>
                </c:pt>
                <c:pt idx="11">
                  <c:v>0.0231023102310231</c:v>
                </c:pt>
                <c:pt idx="12">
                  <c:v>0.022292993630573247</c:v>
                </c:pt>
                <c:pt idx="13">
                  <c:v>0.08187134502923976</c:v>
                </c:pt>
                <c:pt idx="14">
                  <c:v>0.39100346020761245</c:v>
                </c:pt>
                <c:pt idx="15">
                  <c:v>0.2380474757606152</c:v>
                </c:pt>
                <c:pt idx="16">
                  <c:v>0.2652370203160271</c:v>
                </c:pt>
                <c:pt idx="17">
                  <c:v>0.21401869158878506</c:v>
                </c:pt>
                <c:pt idx="18">
                  <c:v>0.361317747077577</c:v>
                </c:pt>
                <c:pt idx="19">
                  <c:v>0.11444141689373297</c:v>
                </c:pt>
                <c:pt idx="20">
                  <c:v>0.15311653116531165</c:v>
                </c:pt>
                <c:pt idx="21">
                  <c:v>0.00945945945945946</c:v>
                </c:pt>
                <c:pt idx="22">
                  <c:v>0.447265625</c:v>
                </c:pt>
                <c:pt idx="23">
                  <c:v>0.16534391534391535</c:v>
                </c:pt>
                <c:pt idx="24">
                  <c:v>0.3509933774834437</c:v>
                </c:pt>
                <c:pt idx="25">
                  <c:v>0.29593810444874274</c:v>
                </c:pt>
                <c:pt idx="26">
                  <c:v>0.10367892976588629</c:v>
                </c:pt>
                <c:pt idx="27">
                  <c:v>0.275</c:v>
                </c:pt>
                <c:pt idx="28">
                  <c:v>0.5913461538461539</c:v>
                </c:pt>
                <c:pt idx="29">
                  <c:v>0.4075342465753425</c:v>
                </c:pt>
                <c:pt idx="30">
                  <c:v>0.551219512195122</c:v>
                </c:pt>
                <c:pt idx="31">
                  <c:v>0.500875656742557</c:v>
                </c:pt>
                <c:pt idx="32">
                  <c:v>0.36971830985915494</c:v>
                </c:pt>
                <c:pt idx="33">
                  <c:v>0.17757009345794392</c:v>
                </c:pt>
                <c:pt idx="34">
                  <c:v>0.020202020202020204</c:v>
                </c:pt>
                <c:pt idx="35">
                  <c:v>0.17509025270758122</c:v>
                </c:pt>
                <c:pt idx="36">
                  <c:v>0.3052415210688592</c:v>
                </c:pt>
                <c:pt idx="37">
                  <c:v>0.5616666666666666</c:v>
                </c:pt>
                <c:pt idx="38">
                  <c:v>0.23604060913705585</c:v>
                </c:pt>
                <c:pt idx="39">
                  <c:v>0.3848797250859107</c:v>
                </c:pt>
                <c:pt idx="40">
                  <c:v>0.43823146944083224</c:v>
                </c:pt>
                <c:pt idx="41">
                  <c:v>0.1643598615916955</c:v>
                </c:pt>
                <c:pt idx="42">
                  <c:v>0.26258992805755393</c:v>
                </c:pt>
                <c:pt idx="43">
                  <c:v>0.5661157024793388</c:v>
                </c:pt>
                <c:pt idx="44">
                  <c:v>0.43425076452599387</c:v>
                </c:pt>
                <c:pt idx="45">
                  <c:v>0.045</c:v>
                </c:pt>
                <c:pt idx="46">
                  <c:v>0.13312202852614896</c:v>
                </c:pt>
                <c:pt idx="47">
                  <c:v>0.0448642266824085</c:v>
                </c:pt>
                <c:pt idx="48">
                  <c:v>0.06593406593406594</c:v>
                </c:pt>
              </c:numCache>
            </c:numRef>
          </c:yVal>
          <c:smooth val="0"/>
          <c:extLst>
            <c:ext xmlns:c16="http://schemas.microsoft.com/office/drawing/2014/chart" uri="{C3380CC4-5D6E-409C-BE32-E72D297353CC}">
              <c16:uniqueId val="{00000000-096C-4121-9522-6AB7243CCAAE}"/>
            </c:ext>
          </c:extLst>
        </c:ser>
        <c:ser>
          <c:idx val="1"/>
          <c:order val="1"/>
          <c:tx>
            <c:strRef>
              <c:f>Sheet1!$B$5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3:$A$59</c:f>
              <c:numCache>
                <c:formatCode>General</c:formatCode>
                <c:ptCount val="7"/>
                <c:pt idx="0">
                  <c:v>0.9562511372256906</c:v>
                </c:pt>
                <c:pt idx="1">
                  <c:v>1.0603173897224711</c:v>
                </c:pt>
                <c:pt idx="2">
                  <c:v>0.7919615863027731</c:v>
                </c:pt>
                <c:pt idx="3">
                  <c:v>1.0707071292125887</c:v>
                </c:pt>
                <c:pt idx="4">
                  <c:v>0.6031062990592072</c:v>
                </c:pt>
                <c:pt idx="5">
                  <c:v>0.7495336360832678</c:v>
                </c:pt>
                <c:pt idx="6">
                  <c:v>0.8709469225971423</c:v>
                </c:pt>
              </c:numCache>
            </c:numRef>
          </c:xVal>
          <c:yVal>
            <c:numRef>
              <c:f>Sheet1!$B$53:$B$59</c:f>
              <c:numCache>
                <c:formatCode>General</c:formatCode>
                <c:ptCount val="7"/>
                <c:pt idx="0">
                  <c:v>0.10480887792848335</c:v>
                </c:pt>
                <c:pt idx="1">
                  <c:v>0.3185595567867036</c:v>
                </c:pt>
                <c:pt idx="2">
                  <c:v>0.29562982005141386</c:v>
                </c:pt>
                <c:pt idx="3">
                  <c:v>0.7044609665427509</c:v>
                </c:pt>
                <c:pt idx="4">
                  <c:v>0.39804241435562804</c:v>
                </c:pt>
                <c:pt idx="5">
                  <c:v>0.5588615782664942</c:v>
                </c:pt>
                <c:pt idx="6">
                  <c:v>0.13138686131386862</c:v>
                </c:pt>
              </c:numCache>
            </c:numRef>
          </c:yVal>
          <c:smooth val="0"/>
          <c:extLst>
            <c:ext xmlns:c16="http://schemas.microsoft.com/office/drawing/2014/chart" uri="{C3380CC4-5D6E-409C-BE32-E72D297353CC}">
              <c16:uniqueId val="{00000002-096C-4121-9522-6AB7243CCAAE}"/>
            </c:ext>
          </c:extLst>
        </c:ser>
        <c:ser>
          <c:idx val="2"/>
          <c:order val="2"/>
          <c:tx>
            <c:strRef>
              <c:f>Sheet1!$B$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2:$A$63</c:f>
              <c:numCache>
                <c:formatCode>General</c:formatCode>
                <c:ptCount val="2"/>
                <c:pt idx="0">
                  <c:v>0</c:v>
                </c:pt>
                <c:pt idx="1">
                  <c:v>7.2926446449489175</c:v>
                </c:pt>
              </c:numCache>
            </c:numRef>
          </c:xVal>
          <c:yVal>
            <c:numRef>
              <c:f>Sheet1!$B$62:$B$63</c:f>
              <c:numCache>
                <c:formatCode>General</c:formatCode>
                <c:ptCount val="2"/>
                <c:pt idx="0">
                  <c:v>0.7223578318243683</c:v>
                </c:pt>
                <c:pt idx="1">
                  <c:v>0.7223578318243683</c:v>
                </c:pt>
              </c:numCache>
            </c:numRef>
          </c:yVal>
          <c:smooth val="0"/>
          <c:extLst>
            <c:ext xmlns:c16="http://schemas.microsoft.com/office/drawing/2014/chart" uri="{C3380CC4-5D6E-409C-BE32-E72D297353CC}">
              <c16:uniqueId val="{00000005-096C-4121-9522-6AB7243CCAAE}"/>
            </c:ext>
          </c:extLst>
        </c:ser>
        <c:ser>
          <c:idx val="3"/>
          <c:order val="3"/>
          <c:tx>
            <c:strRef>
              <c:f>Sheet1!$B$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6:$A$67</c:f>
              <c:numCache>
                <c:formatCode>General</c:formatCode>
                <c:ptCount val="2"/>
                <c:pt idx="0">
                  <c:v>7.2926446449489175</c:v>
                </c:pt>
                <c:pt idx="1">
                  <c:v>7.2926446449489175</c:v>
                </c:pt>
              </c:numCache>
            </c:numRef>
          </c:xVal>
          <c:yVal>
            <c:numRef>
              <c:f>Sheet1!$B$66:$B$67</c:f>
              <c:numCache>
                <c:formatCode>General</c:formatCode>
                <c:ptCount val="2"/>
                <c:pt idx="0">
                  <c:v>0.722357831824368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70:$A$71</c:f>
              <c:numCache>
                <c:formatCode>General</c:formatCode>
                <c:ptCount val="2"/>
                <c:pt idx="0">
                  <c:v>0</c:v>
                </c:pt>
                <c:pt idx="1">
                  <c:v>1.9113323809342104</c:v>
                </c:pt>
              </c:numCache>
            </c:numRef>
          </c:xVal>
          <c:yVal>
            <c:numRef>
              <c:f>Sheet1!$B$70:$B$71</c:f>
              <c:numCache>
                <c:formatCode>General</c:formatCode>
                <c:ptCount val="2"/>
                <c:pt idx="0">
                  <c:v>0.4176763281060311</c:v>
                </c:pt>
                <c:pt idx="1">
                  <c:v>0.4176763281060311</c:v>
                </c:pt>
              </c:numCache>
            </c:numRef>
          </c:yVal>
          <c:smooth val="0"/>
          <c:extLst>
            <c:ext xmlns:c16="http://schemas.microsoft.com/office/drawing/2014/chart" uri="{C3380CC4-5D6E-409C-BE32-E72D297353CC}">
              <c16:uniqueId val="{0000000D-096C-4121-9522-6AB7243CCAAE}"/>
            </c:ext>
          </c:extLst>
        </c:ser>
        <c:ser>
          <c:idx val="5"/>
          <c:order val="5"/>
          <c:tx>
            <c:strRef>
              <c:f>Sheet1!$B$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4:$A$75</c:f>
              <c:numCache>
                <c:formatCode>General</c:formatCode>
                <c:ptCount val="2"/>
                <c:pt idx="0">
                  <c:v>1.9113323809342104</c:v>
                </c:pt>
                <c:pt idx="1">
                  <c:v>1.9113323809342104</c:v>
                </c:pt>
              </c:numCache>
            </c:numRef>
          </c:xVal>
          <c:yVal>
            <c:numRef>
              <c:f>Sheet1!$B$74:$B$75</c:f>
              <c:numCache>
                <c:formatCode>General</c:formatCode>
                <c:ptCount val="2"/>
                <c:pt idx="0">
                  <c:v>0.417676328106031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77</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78:$A$87</c:f>
              <c:numCache>
                <c:formatCode>General</c:formatCode>
                <c:ptCount val="10"/>
                <c:pt idx="0">
                  <c:v>0.9562511372256906</c:v>
                </c:pt>
                <c:pt idx="1">
                  <c:v>1.0603173897224711</c:v>
                </c:pt>
                <c:pt idx="2">
                  <c:v>0.7919615863027731</c:v>
                </c:pt>
                <c:pt idx="3">
                  <c:v>1.0707071292125887</c:v>
                </c:pt>
                <c:pt idx="4">
                  <c:v>0.6031062990592072</c:v>
                </c:pt>
                <c:pt idx="5">
                  <c:v>0.7495336360832678</c:v>
                </c:pt>
                <c:pt idx="6">
                  <c:v>0.8709469225971423</c:v>
                </c:pt>
                <c:pt idx="7">
                  <c:v>1.9113323809342104</c:v>
                </c:pt>
                <c:pt idx="8">
                  <c:v>7.2926446449489175</c:v>
                </c:pt>
                <c:pt idx="9">
                  <c:v>0</c:v>
                </c:pt>
              </c:numCache>
            </c:numRef>
          </c:xVal>
          <c:yVal>
            <c:numRef>
              <c:f>Sheet1!$B$78:$B$87</c:f>
              <c:numCache>
                <c:formatCode>General</c:formatCode>
                <c:ptCount val="10"/>
                <c:pt idx="0">
                  <c:v>0.3636011183375507</c:v>
                </c:pt>
                <c:pt idx="1">
                  <c:v>0.3694931871753097</c:v>
                </c:pt>
                <c:pt idx="2">
                  <c:v>0.35429930031165147</c:v>
                </c:pt>
                <c:pt idx="3">
                  <c:v>0.3700814380137268</c:v>
                </c:pt>
                <c:pt idx="4">
                  <c:v>0.34360660862614795</c:v>
                </c:pt>
                <c:pt idx="5">
                  <c:v>0.35189709597219887</c:v>
                </c:pt>
                <c:pt idx="6">
                  <c:v>0.3587713268087559</c:v>
                </c:pt>
                <c:pt idx="7">
                  <c:v>0.4176763281060311</c:v>
                </c:pt>
                <c:pt idx="8">
                  <c:v>0.7223578318243683</c:v>
                </c:pt>
                <c:pt idx="9">
                  <c:v>0.3094596710235583</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290076335877862"/>
          <c:min val="0.00756756756756756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889.3714</c:v>
                </c:pt>
                <c:pt idx="1">
                  <c:v>887.9286</c:v>
                </c:pt>
                <c:pt idx="2">
                  <c:v>887.9286</c:v>
                </c:pt>
                <c:pt idx="3">
                  <c:v>1060.9307</c:v>
                </c:pt>
                <c:pt idx="4">
                  <c:v>1323.9199</c:v>
                </c:pt>
                <c:pt idx="5">
                  <c:v>832.875</c:v>
                </c:pt>
                <c:pt idx="6">
                  <c:v>1067.8182</c:v>
                </c:pt>
                <c:pt idx="7">
                  <c:v>455.1</c:v>
                </c:pt>
                <c:pt idx="8">
                  <c:v>616.6667</c:v>
                </c:pt>
                <c:pt idx="9">
                  <c:v>455.7</c:v>
                </c:pt>
                <c:pt idx="10">
                  <c:v>782.9194</c:v>
                </c:pt>
                <c:pt idx="11">
                  <c:v>1184.7143</c:v>
                </c:pt>
                <c:pt idx="12">
                  <c:v>1211.0</c:v>
                </c:pt>
                <c:pt idx="13">
                  <c:v>365.8929</c:v>
                </c:pt>
                <c:pt idx="14">
                  <c:v>722.2434</c:v>
                </c:pt>
                <c:pt idx="15">
                  <c:v>580.8933</c:v>
                </c:pt>
                <c:pt idx="16">
                  <c:v>521.6255</c:v>
                </c:pt>
                <c:pt idx="17">
                  <c:v>634.0742</c:v>
                </c:pt>
                <c:pt idx="18">
                  <c:v>494.0676</c:v>
                </c:pt>
                <c:pt idx="19">
                  <c:v>1007.3968</c:v>
                </c:pt>
                <c:pt idx="20">
                  <c:v>492.7965</c:v>
                </c:pt>
                <c:pt idx="21">
                  <c:v>808.2857</c:v>
                </c:pt>
                <c:pt idx="22">
                  <c:v>523.559</c:v>
                </c:pt>
                <c:pt idx="23">
                  <c:v>529.904</c:v>
                </c:pt>
                <c:pt idx="24">
                  <c:v>504.3491</c:v>
                </c:pt>
                <c:pt idx="25">
                  <c:v>571.4052</c:v>
                </c:pt>
                <c:pt idx="26">
                  <c:v>877.7419</c:v>
                </c:pt>
                <c:pt idx="27">
                  <c:v>538.8106</c:v>
                </c:pt>
                <c:pt idx="28">
                  <c:v>514.5122</c:v>
                </c:pt>
                <c:pt idx="29">
                  <c:v>490.7647</c:v>
                </c:pt>
                <c:pt idx="30">
                  <c:v>493.2743</c:v>
                </c:pt>
                <c:pt idx="31">
                  <c:v>1151.5629</c:v>
                </c:pt>
                <c:pt idx="32">
                  <c:v>494.0667</c:v>
                </c:pt>
                <c:pt idx="33">
                  <c:v>496.8421</c:v>
                </c:pt>
                <c:pt idx="34">
                  <c:v>432.1667</c:v>
                </c:pt>
                <c:pt idx="35">
                  <c:v>497.134</c:v>
                </c:pt>
                <c:pt idx="36">
                  <c:v>1167.8283</c:v>
                </c:pt>
                <c:pt idx="37">
                  <c:v>782.1365</c:v>
                </c:pt>
                <c:pt idx="38">
                  <c:v>850.2688</c:v>
                </c:pt>
                <c:pt idx="39">
                  <c:v>811.0223</c:v>
                </c:pt>
                <c:pt idx="40">
                  <c:v>785.7804</c:v>
                </c:pt>
                <c:pt idx="41">
                  <c:v>500.1158</c:v>
                </c:pt>
                <c:pt idx="42">
                  <c:v>1167.7466</c:v>
                </c:pt>
                <c:pt idx="43">
                  <c:v>1162.7664</c:v>
                </c:pt>
                <c:pt idx="44">
                  <c:v>1166.1901</c:v>
                </c:pt>
                <c:pt idx="45">
                  <c:v>514.1111</c:v>
                </c:pt>
                <c:pt idx="46">
                  <c:v>795.881</c:v>
                </c:pt>
                <c:pt idx="47">
                  <c:v>1216.0263</c:v>
                </c:pt>
                <c:pt idx="48">
                  <c:v>504.7778</c:v>
                </c:pt>
              </c:numCache>
            </c:numRef>
          </c:xVal>
          <c:yVal>
            <c:numRef>
              <c:f>Sheet1!$B$2:$B$50</c:f>
              <c:numCache>
                <c:formatCode>General</c:formatCode>
                <c:ptCount val="49"/>
                <c:pt idx="0">
                  <c:v>0.4444444444444444</c:v>
                </c:pt>
                <c:pt idx="1">
                  <c:v>0.13793103448275862</c:v>
                </c:pt>
                <c:pt idx="2">
                  <c:v>0.20588235294117646</c:v>
                </c:pt>
                <c:pt idx="3">
                  <c:v>0.5872093023255814</c:v>
                </c:pt>
                <c:pt idx="4">
                  <c:v>0.8575063613231552</c:v>
                </c:pt>
                <c:pt idx="5">
                  <c:v>0.15841584158415842</c:v>
                </c:pt>
                <c:pt idx="6">
                  <c:v>0.17277486910994763</c:v>
                </c:pt>
                <c:pt idx="7">
                  <c:v>0.09433962264150944</c:v>
                </c:pt>
                <c:pt idx="8">
                  <c:v>0.08530805687203792</c:v>
                </c:pt>
                <c:pt idx="9">
                  <c:v>0.10416666666666667</c:v>
                </c:pt>
                <c:pt idx="10">
                  <c:v>0.2805755395683453</c:v>
                </c:pt>
                <c:pt idx="11">
                  <c:v>0.0231023102310231</c:v>
                </c:pt>
                <c:pt idx="12">
                  <c:v>0.022292993630573247</c:v>
                </c:pt>
                <c:pt idx="13">
                  <c:v>0.08187134502923976</c:v>
                </c:pt>
                <c:pt idx="14">
                  <c:v>0.39100346020761245</c:v>
                </c:pt>
                <c:pt idx="15">
                  <c:v>0.2380474757606152</c:v>
                </c:pt>
                <c:pt idx="16">
                  <c:v>0.2652370203160271</c:v>
                </c:pt>
                <c:pt idx="17">
                  <c:v>0.21401869158878506</c:v>
                </c:pt>
                <c:pt idx="18">
                  <c:v>0.361317747077577</c:v>
                </c:pt>
                <c:pt idx="19">
                  <c:v>0.11444141689373297</c:v>
                </c:pt>
                <c:pt idx="20">
                  <c:v>0.15311653116531165</c:v>
                </c:pt>
                <c:pt idx="21">
                  <c:v>0.00945945945945946</c:v>
                </c:pt>
                <c:pt idx="22">
                  <c:v>0.447265625</c:v>
                </c:pt>
                <c:pt idx="23">
                  <c:v>0.16534391534391535</c:v>
                </c:pt>
                <c:pt idx="24">
                  <c:v>0.3509933774834437</c:v>
                </c:pt>
                <c:pt idx="25">
                  <c:v>0.29593810444874274</c:v>
                </c:pt>
                <c:pt idx="26">
                  <c:v>0.10367892976588629</c:v>
                </c:pt>
                <c:pt idx="27">
                  <c:v>0.275</c:v>
                </c:pt>
                <c:pt idx="28">
                  <c:v>0.5913461538461539</c:v>
                </c:pt>
                <c:pt idx="29">
                  <c:v>0.4075342465753425</c:v>
                </c:pt>
                <c:pt idx="30">
                  <c:v>0.551219512195122</c:v>
                </c:pt>
                <c:pt idx="31">
                  <c:v>0.500875656742557</c:v>
                </c:pt>
                <c:pt idx="32">
                  <c:v>0.36971830985915494</c:v>
                </c:pt>
                <c:pt idx="33">
                  <c:v>0.17757009345794392</c:v>
                </c:pt>
                <c:pt idx="34">
                  <c:v>0.020202020202020204</c:v>
                </c:pt>
                <c:pt idx="35">
                  <c:v>0.17509025270758122</c:v>
                </c:pt>
                <c:pt idx="36">
                  <c:v>0.3052415210688592</c:v>
                </c:pt>
                <c:pt idx="37">
                  <c:v>0.5616666666666666</c:v>
                </c:pt>
                <c:pt idx="38">
                  <c:v>0.23604060913705585</c:v>
                </c:pt>
                <c:pt idx="39">
                  <c:v>0.3848797250859107</c:v>
                </c:pt>
                <c:pt idx="40">
                  <c:v>0.43823146944083224</c:v>
                </c:pt>
                <c:pt idx="41">
                  <c:v>0.1643598615916955</c:v>
                </c:pt>
                <c:pt idx="42">
                  <c:v>0.26258992805755393</c:v>
                </c:pt>
                <c:pt idx="43">
                  <c:v>0.5661157024793388</c:v>
                </c:pt>
                <c:pt idx="44">
                  <c:v>0.43425076452599387</c:v>
                </c:pt>
                <c:pt idx="45">
                  <c:v>0.045</c:v>
                </c:pt>
                <c:pt idx="46">
                  <c:v>0.13312202852614896</c:v>
                </c:pt>
                <c:pt idx="47">
                  <c:v>0.0448642266824085</c:v>
                </c:pt>
                <c:pt idx="48">
                  <c:v>0.06593406593406594</c:v>
                </c:pt>
              </c:numCache>
            </c:numRef>
          </c:yVal>
          <c:smooth val="0"/>
          <c:extLst>
            <c:ext xmlns:c16="http://schemas.microsoft.com/office/drawing/2014/chart" uri="{C3380CC4-5D6E-409C-BE32-E72D297353CC}">
              <c16:uniqueId val="{00000000-F32D-48B7-BC20-E66FC6253BAD}"/>
            </c:ext>
          </c:extLst>
        </c:ser>
        <c:ser>
          <c:idx val="1"/>
          <c:order val="1"/>
          <c:tx>
            <c:strRef>
              <c:f>Sheet1!$B$5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3:$A$59</c:f>
              <c:numCache>
                <c:formatCode>General</c:formatCode>
                <c:ptCount val="7"/>
                <c:pt idx="0">
                  <c:v>1254.9882</c:v>
                </c:pt>
                <c:pt idx="1">
                  <c:v>1082.3739</c:v>
                </c:pt>
                <c:pt idx="2">
                  <c:v>1082.3739</c:v>
                </c:pt>
                <c:pt idx="3">
                  <c:v>1035.2058</c:v>
                </c:pt>
                <c:pt idx="4">
                  <c:v>1018.5574</c:v>
                </c:pt>
                <c:pt idx="5">
                  <c:v>1017.831</c:v>
                </c:pt>
                <c:pt idx="6">
                  <c:v>1221.0</c:v>
                </c:pt>
              </c:numCache>
            </c:numRef>
          </c:xVal>
          <c:yVal>
            <c:numRef>
              <c:f>Sheet1!$B$53:$B$59</c:f>
              <c:numCache>
                <c:formatCode>General</c:formatCode>
                <c:ptCount val="7"/>
                <c:pt idx="0">
                  <c:v>0.10480887792848335</c:v>
                </c:pt>
                <c:pt idx="1">
                  <c:v>0.3185595567867036</c:v>
                </c:pt>
                <c:pt idx="2">
                  <c:v>0.29562982005141386</c:v>
                </c:pt>
                <c:pt idx="3">
                  <c:v>0.7044609665427509</c:v>
                </c:pt>
                <c:pt idx="4">
                  <c:v>0.39804241435562804</c:v>
                </c:pt>
                <c:pt idx="5">
                  <c:v>0.5588615782664942</c:v>
                </c:pt>
                <c:pt idx="6">
                  <c:v>0.13138686131386862</c:v>
                </c:pt>
              </c:numCache>
            </c:numRef>
          </c:yVal>
          <c:smooth val="0"/>
          <c:extLst>
            <c:ext xmlns:c16="http://schemas.microsoft.com/office/drawing/2014/chart" uri="{C3380CC4-5D6E-409C-BE32-E72D297353CC}">
              <c16:uniqueId val="{00000002-F32D-48B7-BC20-E66FC6253BAD}"/>
            </c:ext>
          </c:extLst>
        </c:ser>
        <c:ser>
          <c:idx val="2"/>
          <c:order val="2"/>
          <c:tx>
            <c:strRef>
              <c:f>Sheet1!$B$61</c:f>
              <c:strCache>
                <c:ptCount val="1"/>
                <c:pt idx="0">
                  <c:v>Custom Linep3yQ</c:v>
                </c:pt>
              </c:strCache>
            </c:strRef>
          </c:tx>
          <c:spPr>
            <a:ln w="19050" cap="rnd">
              <a:solidFill>
                <a:srgbClr val="C00000"/>
              </a:solidFill>
              <a:prstDash val="sysDot"/>
              <a:round/>
            </a:ln>
            <a:effectLst/>
          </c:spPr>
          <c:marker>
            <c:symbol val="none"/>
          </c:marker>
          <c:xVal>
            <c:numRef>
              <c:f>Sheet1!$A$62:$A$63</c:f>
              <c:numCache>
                <c:formatCode>General</c:formatCode>
                <c:ptCount val="2"/>
                <c:pt idx="0">
                  <c:v>0</c:v>
                </c:pt>
                <c:pt idx="1">
                  <c:v>908.7944370272214</c:v>
                </c:pt>
              </c:numCache>
            </c:numRef>
          </c:xVal>
          <c:yVal>
            <c:numRef>
              <c:f>Sheet1!$B$62:$B$63</c:f>
              <c:numCache>
                <c:formatCode>General</c:formatCode>
                <c:ptCount val="2"/>
                <c:pt idx="0">
                  <c:v>0.7223578318243683</c:v>
                </c:pt>
                <c:pt idx="1">
                  <c:v>0.7223578318243683</c:v>
                </c:pt>
              </c:numCache>
            </c:numRef>
          </c:yVal>
          <c:smooth val="0"/>
          <c:extLst>
            <c:ext xmlns:c16="http://schemas.microsoft.com/office/drawing/2014/chart" uri="{C3380CC4-5D6E-409C-BE32-E72D297353CC}">
              <c16:uniqueId val="{00000003-F32D-48B7-BC20-E66FC6253BAD}"/>
            </c:ext>
          </c:extLst>
        </c:ser>
        <c:ser>
          <c:idx val="3"/>
          <c:order val="3"/>
          <c:tx>
            <c:strRef>
              <c:f>Sheet1!$B$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6:$A$67</c:f>
              <c:numCache>
                <c:formatCode>General</c:formatCode>
                <c:ptCount val="2"/>
                <c:pt idx="0">
                  <c:v>908.7944370272214</c:v>
                </c:pt>
                <c:pt idx="1">
                  <c:v>908.7944370272214</c:v>
                </c:pt>
              </c:numCache>
            </c:numRef>
          </c:xVal>
          <c:yVal>
            <c:numRef>
              <c:f>Sheet1!$B$66:$B$67</c:f>
              <c:numCache>
                <c:formatCode>General</c:formatCode>
                <c:ptCount val="2"/>
                <c:pt idx="0">
                  <c:v>0.722357831824368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70:$A$71</c:f>
              <c:numCache>
                <c:formatCode>General</c:formatCode>
                <c:ptCount val="2"/>
                <c:pt idx="0">
                  <c:v>0</c:v>
                </c:pt>
                <c:pt idx="1">
                  <c:v>1070.5209740926832</c:v>
                </c:pt>
              </c:numCache>
            </c:numRef>
          </c:xVal>
          <c:yVal>
            <c:numRef>
              <c:f>Sheet1!$B$70:$B$71</c:f>
              <c:numCache>
                <c:formatCode>General</c:formatCode>
                <c:ptCount val="2"/>
                <c:pt idx="0">
                  <c:v>0.4176763281060311</c:v>
                </c:pt>
                <c:pt idx="1">
                  <c:v>0.4176763281060311</c:v>
                </c:pt>
              </c:numCache>
            </c:numRef>
          </c:yVal>
          <c:smooth val="0"/>
          <c:extLst>
            <c:ext xmlns:c16="http://schemas.microsoft.com/office/drawing/2014/chart" uri="{C3380CC4-5D6E-409C-BE32-E72D297353CC}">
              <c16:uniqueId val="{0000000A-F32D-48B7-BC20-E66FC6253BAD}"/>
            </c:ext>
          </c:extLst>
        </c:ser>
        <c:ser>
          <c:idx val="5"/>
          <c:order val="5"/>
          <c:tx>
            <c:strRef>
              <c:f>Sheet1!$B$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4:$A$75</c:f>
              <c:numCache>
                <c:formatCode>General</c:formatCode>
                <c:ptCount val="2"/>
                <c:pt idx="0">
                  <c:v>1070.5209740926832</c:v>
                </c:pt>
                <c:pt idx="1">
                  <c:v>1070.5209740926832</c:v>
                </c:pt>
              </c:numCache>
            </c:numRef>
          </c:xVal>
          <c:yVal>
            <c:numRef>
              <c:f>Sheet1!$B$74:$B$75</c:f>
              <c:numCache>
                <c:formatCode>General</c:formatCode>
                <c:ptCount val="2"/>
                <c:pt idx="0">
                  <c:v>0.417676328106031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77</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78:$A$87</c:f>
              <c:numCache>
                <c:formatCode>General</c:formatCode>
                <c:ptCount val="10"/>
                <c:pt idx="0">
                  <c:v>1254.9882</c:v>
                </c:pt>
                <c:pt idx="1">
                  <c:v>1082.3739</c:v>
                </c:pt>
                <c:pt idx="2">
                  <c:v>1082.3739</c:v>
                </c:pt>
                <c:pt idx="3">
                  <c:v>1035.2058</c:v>
                </c:pt>
                <c:pt idx="4">
                  <c:v>1018.5574</c:v>
                </c:pt>
                <c:pt idx="5">
                  <c:v>1017.831</c:v>
                </c:pt>
                <c:pt idx="6">
                  <c:v>1221.0</c:v>
                </c:pt>
                <c:pt idx="7">
                  <c:v>1070.5209740926832</c:v>
                </c:pt>
                <c:pt idx="8">
                  <c:v>908.7944370272214</c:v>
                </c:pt>
                <c:pt idx="9">
                  <c:v>0</c:v>
                </c:pt>
              </c:numCache>
            </c:numRef>
          </c:xVal>
          <c:yVal>
            <c:numRef>
              <c:f>Sheet1!$B$78:$B$87</c:f>
              <c:numCache>
                <c:formatCode>General</c:formatCode>
                <c:ptCount val="10"/>
                <c:pt idx="0">
                  <c:v>0.07015295441602198</c:v>
                </c:pt>
                <c:pt idx="1">
                  <c:v>0.39534624329476964</c:v>
                </c:pt>
                <c:pt idx="2">
                  <c:v>0.39534624329476964</c:v>
                </c:pt>
                <c:pt idx="3">
                  <c:v>0.4842076503112318</c:v>
                </c:pt>
                <c:pt idx="4">
                  <c:v>0.5155720734822489</c:v>
                </c:pt>
                <c:pt idx="5">
                  <c:v>0.5169405603633563</c:v>
                </c:pt>
                <c:pt idx="6">
                  <c:v>0.13418435008294338</c:v>
                </c:pt>
                <c:pt idx="7">
                  <c:v>0.41767632810603095</c:v>
                </c:pt>
                <c:pt idx="8">
                  <c:v>0.7223578318243682</c:v>
                </c:pt>
                <c:pt idx="9">
                  <c:v>2.434463097098405</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8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290076335877862"/>
          <c:min val="0.00756756756756756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35</c:f>
              <c:numCache>
                <c:formatCode>General</c:formatCode>
                <c:ptCount val="34"/>
                <c:pt idx="0">
                  <c:v>0.18889610070503482</c:v>
                </c:pt>
                <c:pt idx="1">
                  <c:v>0.0996423886997693</c:v>
                </c:pt>
                <c:pt idx="2">
                  <c:v>0.3179633469060707</c:v>
                </c:pt>
                <c:pt idx="3">
                  <c:v>0.1482735792076284</c:v>
                </c:pt>
                <c:pt idx="4">
                  <c:v>0.1008929881852916</c:v>
                </c:pt>
                <c:pt idx="5">
                  <c:v>0.6206949915063852</c:v>
                </c:pt>
                <c:pt idx="6">
                  <c:v>0.2562691778647762</c:v>
                </c:pt>
                <c:pt idx="7">
                  <c:v>0.07882125491387572</c:v>
                </c:pt>
                <c:pt idx="8">
                  <c:v>0.1895697196555162</c:v>
                </c:pt>
                <c:pt idx="9">
                  <c:v>0.473971684029143</c:v>
                </c:pt>
                <c:pt idx="10">
                  <c:v>0.12567497496065247</c:v>
                </c:pt>
                <c:pt idx="11">
                  <c:v>0.575442959392471</c:v>
                </c:pt>
                <c:pt idx="12">
                  <c:v>0.19609065987384766</c:v>
                </c:pt>
                <c:pt idx="13">
                  <c:v>0.12766145043298688</c:v>
                </c:pt>
                <c:pt idx="14">
                  <c:v>0.10570160305616606</c:v>
                </c:pt>
                <c:pt idx="15">
                  <c:v>0.1229863667818267</c:v>
                </c:pt>
                <c:pt idx="16">
                  <c:v>0.1907336386403516</c:v>
                </c:pt>
                <c:pt idx="17">
                  <c:v>0.16491421721737892</c:v>
                </c:pt>
                <c:pt idx="18">
                  <c:v>0.10857859449830008</c:v>
                </c:pt>
                <c:pt idx="19">
                  <c:v>0.10664335033708719</c:v>
                </c:pt>
                <c:pt idx="20">
                  <c:v>0.10718868734279675</c:v>
                </c:pt>
                <c:pt idx="21">
                  <c:v>0.10682330845803362</c:v>
                </c:pt>
                <c:pt idx="22">
                  <c:v>0.08407961980620855</c:v>
                </c:pt>
                <c:pt idx="23">
                  <c:v>0.2511728788041725</c:v>
                </c:pt>
                <c:pt idx="24">
                  <c:v>0.169481621929088</c:v>
                </c:pt>
                <c:pt idx="25">
                  <c:v>0.1878429992003732</c:v>
                </c:pt>
                <c:pt idx="26">
                  <c:v>0.1725864606729044</c:v>
                </c:pt>
                <c:pt idx="27">
                  <c:v>0.17027275936489406</c:v>
                </c:pt>
                <c:pt idx="28">
                  <c:v>0.10935354092021912</c:v>
                </c:pt>
                <c:pt idx="29">
                  <c:v>0.2510145024360031</c:v>
                </c:pt>
                <c:pt idx="30">
                  <c:v>0.10730827013306293</c:v>
                </c:pt>
                <c:pt idx="31">
                  <c:v>0.5963442229881613</c:v>
                </c:pt>
                <c:pt idx="32">
                  <c:v>0.84537741844144</c:v>
                </c:pt>
                <c:pt idx="33">
                  <c:v>0.39336695542639993</c:v>
                </c:pt>
              </c:numCache>
            </c:numRef>
          </c:xVal>
          <c:yVal>
            <c:numRef>
              <c:f>Sheet1!$B$2:$B$35</c:f>
              <c:numCache>
                <c:formatCode>General</c:formatCode>
                <c:ptCount val="34"/>
                <c:pt idx="0">
                  <c:v>0.13793103448275862</c:v>
                </c:pt>
                <c:pt idx="1">
                  <c:v>0.09433962264150944</c:v>
                </c:pt>
                <c:pt idx="2">
                  <c:v>0.08530805687203792</c:v>
                </c:pt>
                <c:pt idx="3">
                  <c:v>0.17901234567901234</c:v>
                </c:pt>
                <c:pt idx="4">
                  <c:v>0.10416666666666667</c:v>
                </c:pt>
                <c:pt idx="5">
                  <c:v>0.2805755395683453</c:v>
                </c:pt>
                <c:pt idx="6">
                  <c:v>0.022292993630573247</c:v>
                </c:pt>
                <c:pt idx="7">
                  <c:v>0.08187134502923976</c:v>
                </c:pt>
                <c:pt idx="8">
                  <c:v>0.39100346020761245</c:v>
                </c:pt>
                <c:pt idx="9">
                  <c:v>0.21401869158878506</c:v>
                </c:pt>
                <c:pt idx="10">
                  <c:v>0.361317747077577</c:v>
                </c:pt>
                <c:pt idx="11">
                  <c:v>0.11444141689373297</c:v>
                </c:pt>
                <c:pt idx="12">
                  <c:v>0.00945945945945946</c:v>
                </c:pt>
                <c:pt idx="13">
                  <c:v>0.447265625</c:v>
                </c:pt>
                <c:pt idx="14">
                  <c:v>0.3509933774834437</c:v>
                </c:pt>
                <c:pt idx="15">
                  <c:v>0.29593810444874274</c:v>
                </c:pt>
                <c:pt idx="16">
                  <c:v>0.10367892976588629</c:v>
                </c:pt>
                <c:pt idx="17">
                  <c:v>0.275</c:v>
                </c:pt>
                <c:pt idx="18">
                  <c:v>0.5913461538461539</c:v>
                </c:pt>
                <c:pt idx="19">
                  <c:v>0.4075342465753425</c:v>
                </c:pt>
                <c:pt idx="20">
                  <c:v>0.551219512195122</c:v>
                </c:pt>
                <c:pt idx="21">
                  <c:v>0.36971830985915494</c:v>
                </c:pt>
                <c:pt idx="22">
                  <c:v>0.04395604395604396</c:v>
                </c:pt>
                <c:pt idx="23">
                  <c:v>0.3052415210688592</c:v>
                </c:pt>
                <c:pt idx="24">
                  <c:v>0.5616666666666666</c:v>
                </c:pt>
                <c:pt idx="25">
                  <c:v>0.23604060913705585</c:v>
                </c:pt>
                <c:pt idx="26">
                  <c:v>0.3848797250859107</c:v>
                </c:pt>
                <c:pt idx="27">
                  <c:v>0.43823146944083224</c:v>
                </c:pt>
                <c:pt idx="28">
                  <c:v>0.1643598615916955</c:v>
                </c:pt>
                <c:pt idx="29">
                  <c:v>0.26258992805755393</c:v>
                </c:pt>
                <c:pt idx="30">
                  <c:v>0.045</c:v>
                </c:pt>
                <c:pt idx="31">
                  <c:v>0.13312202852614896</c:v>
                </c:pt>
                <c:pt idx="32">
                  <c:v>0.0448642266824085</c:v>
                </c:pt>
                <c:pt idx="33">
                  <c:v>0.06593406593406594</c:v>
                </c:pt>
              </c:numCache>
            </c:numRef>
          </c:yVal>
          <c:smooth val="0"/>
          <c:extLst>
            <c:ext xmlns:c16="http://schemas.microsoft.com/office/drawing/2014/chart" uri="{C3380CC4-5D6E-409C-BE32-E72D297353CC}">
              <c16:uniqueId val="{00000000-096C-4121-9522-6AB7243CCAAE}"/>
            </c:ext>
          </c:extLst>
        </c:ser>
        <c:ser>
          <c:idx val="1"/>
          <c:order val="1"/>
          <c:tx>
            <c:strRef>
              <c:f>Sheet1!$B$3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38:$A$44</c:f>
              <c:numCache>
                <c:formatCode>General</c:formatCode>
                <c:ptCount val="7"/>
                <c:pt idx="0">
                  <c:v>0.33753982738454363</c:v>
                </c:pt>
                <c:pt idx="1">
                  <c:v>0.7111432073542285</c:v>
                </c:pt>
                <c:pt idx="2">
                  <c:v>0.22636413087692495</c:v>
                </c:pt>
                <c:pt idx="3">
                  <c:v>0.22810054259509185</c:v>
                </c:pt>
                <c:pt idx="4">
                  <c:v>0.2829826361526799</c:v>
                </c:pt>
                <c:pt idx="5">
                  <c:v>1.597850863422292</c:v>
                </c:pt>
                <c:pt idx="6">
                  <c:v>1.0138038401660612</c:v>
                </c:pt>
              </c:numCache>
            </c:numRef>
          </c:xVal>
          <c:yVal>
            <c:numRef>
              <c:f>Sheet1!$B$38:$B$44</c:f>
              <c:numCache>
                <c:formatCode>General</c:formatCode>
                <c:ptCount val="7"/>
                <c:pt idx="0">
                  <c:v>0.10480887792848335</c:v>
                </c:pt>
                <c:pt idx="1">
                  <c:v>0.3185595567867036</c:v>
                </c:pt>
                <c:pt idx="2">
                  <c:v>0.29562982005141386</c:v>
                </c:pt>
                <c:pt idx="3">
                  <c:v>0.7044609665427509</c:v>
                </c:pt>
                <c:pt idx="4">
                  <c:v>0.39804241435562804</c:v>
                </c:pt>
                <c:pt idx="5">
                  <c:v>0.5588615782664942</c:v>
                </c:pt>
                <c:pt idx="6">
                  <c:v>0.13138686131386862</c:v>
                </c:pt>
              </c:numCache>
            </c:numRef>
          </c:yVal>
          <c:smooth val="0"/>
          <c:extLst>
            <c:ext xmlns:c16="http://schemas.microsoft.com/office/drawing/2014/chart" uri="{C3380CC4-5D6E-409C-BE32-E72D297353CC}">
              <c16:uniqueId val="{00000002-096C-4121-9522-6AB7243CCAAE}"/>
            </c:ext>
          </c:extLst>
        </c:ser>
        <c:ser>
          <c:idx val="2"/>
          <c:order val="2"/>
          <c:tx>
            <c:strRef>
              <c:f>Sheet1!$B$4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47:$A$48</c:f>
              <c:numCache>
                <c:formatCode>General</c:formatCode>
                <c:ptCount val="2"/>
                <c:pt idx="0">
                  <c:v>0</c:v>
                </c:pt>
                <c:pt idx="1">
                  <c:v>2.5240473128751257</c:v>
                </c:pt>
              </c:numCache>
            </c:numRef>
          </c:xVal>
          <c:yVal>
            <c:numRef>
              <c:f>Sheet1!$B$47:$B$48</c:f>
              <c:numCache>
                <c:formatCode>General</c:formatCode>
                <c:ptCount val="2"/>
                <c:pt idx="0">
                  <c:v>0.4176763281060311</c:v>
                </c:pt>
                <c:pt idx="1">
                  <c:v>0.4176763281060311</c:v>
                </c:pt>
              </c:numCache>
            </c:numRef>
          </c:yVal>
          <c:smooth val="0"/>
          <c:extLst>
            <c:ext xmlns:c16="http://schemas.microsoft.com/office/drawing/2014/chart" uri="{C3380CC4-5D6E-409C-BE32-E72D297353CC}">
              <c16:uniqueId val="{00000005-096C-4121-9522-6AB7243CCAAE}"/>
            </c:ext>
          </c:extLst>
        </c:ser>
        <c:ser>
          <c:idx val="3"/>
          <c:order val="3"/>
          <c:tx>
            <c:strRef>
              <c:f>Sheet1!$B$5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1:$A$52</c:f>
              <c:numCache>
                <c:formatCode>General</c:formatCode>
                <c:ptCount val="2"/>
                <c:pt idx="0">
                  <c:v>2.5240473128751257</c:v>
                </c:pt>
                <c:pt idx="1">
                  <c:v>2.5240473128751257</c:v>
                </c:pt>
              </c:numCache>
            </c:numRef>
          </c:xVal>
          <c:yVal>
            <c:numRef>
              <c:f>Sheet1!$B$51:$B$52</c:f>
              <c:numCache>
                <c:formatCode>General</c:formatCode>
                <c:ptCount val="2"/>
                <c:pt idx="0">
                  <c:v>0.417676328106031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5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55:$A$56</c:f>
              <c:numCache>
                <c:formatCode>General</c:formatCode>
                <c:ptCount val="2"/>
                <c:pt idx="0">
                  <c:v>0</c:v>
                </c:pt>
                <c:pt idx="1">
                  <c:v>2.5240473128751257</c:v>
                </c:pt>
              </c:numCache>
            </c:numRef>
          </c:xVal>
          <c:yVal>
            <c:numRef>
              <c:f>Sheet1!$B$55:$B$56</c:f>
              <c:numCache>
                <c:formatCode>General</c:formatCode>
                <c:ptCount val="2"/>
                <c:pt idx="0">
                  <c:v>0.4176763281060311</c:v>
                </c:pt>
                <c:pt idx="1">
                  <c:v>0.4176763281060311</c:v>
                </c:pt>
              </c:numCache>
            </c:numRef>
          </c:yVal>
          <c:smooth val="0"/>
          <c:extLst>
            <c:ext xmlns:c16="http://schemas.microsoft.com/office/drawing/2014/chart" uri="{C3380CC4-5D6E-409C-BE32-E72D297353CC}">
              <c16:uniqueId val="{0000000D-096C-4121-9522-6AB7243CCAAE}"/>
            </c:ext>
          </c:extLst>
        </c:ser>
        <c:ser>
          <c:idx val="5"/>
          <c:order val="5"/>
          <c:tx>
            <c:strRef>
              <c:f>Sheet1!$B$5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2.5240473128751257</c:v>
                </c:pt>
                <c:pt idx="1">
                  <c:v>2.5240473128751257</c:v>
                </c:pt>
              </c:numCache>
            </c:numRef>
          </c:xVal>
          <c:yVal>
            <c:numRef>
              <c:f>Sheet1!$B$59:$B$60</c:f>
              <c:numCache>
                <c:formatCode>General</c:formatCode>
                <c:ptCount val="2"/>
                <c:pt idx="0">
                  <c:v>0.417676328106031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62</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63:$A$72</c:f>
              <c:numCache>
                <c:formatCode>General</c:formatCode>
                <c:ptCount val="10"/>
                <c:pt idx="0">
                  <c:v>0.33753982738454363</c:v>
                </c:pt>
                <c:pt idx="1">
                  <c:v>0.7111432073542285</c:v>
                </c:pt>
                <c:pt idx="2">
                  <c:v>0.22636413087692495</c:v>
                </c:pt>
                <c:pt idx="3">
                  <c:v>0.22810054259509185</c:v>
                </c:pt>
                <c:pt idx="4">
                  <c:v>0.2829826361526799</c:v>
                </c:pt>
                <c:pt idx="5">
                  <c:v>1.597850863422292</c:v>
                </c:pt>
                <c:pt idx="6">
                  <c:v>1.0138038401660612</c:v>
                </c:pt>
                <c:pt idx="7">
                  <c:v>2.5240473128751257</c:v>
                </c:pt>
                <c:pt idx="8">
                  <c:v>2.5240473128751257</c:v>
                </c:pt>
                <c:pt idx="9">
                  <c:v>0</c:v>
                </c:pt>
              </c:numCache>
            </c:numRef>
          </c:xVal>
          <c:yVal>
            <c:numRef>
              <c:f>Sheet1!$B$63:$B$72</c:f>
              <c:numCache>
                <c:formatCode>General</c:formatCode>
                <c:ptCount val="10"/>
                <c:pt idx="0">
                  <c:v>0.34979618402182133</c:v>
                </c:pt>
                <c:pt idx="1">
                  <c:v>0.3613947042331528</c:v>
                </c:pt>
                <c:pt idx="2">
                  <c:v>0.3463447335476391</c:v>
                </c:pt>
                <c:pt idx="3">
                  <c:v>0.346398640464675</c:v>
                </c:pt>
                <c:pt idx="4">
                  <c:v>0.34810245554102554</c:v>
                </c:pt>
                <c:pt idx="5">
                  <c:v>0.3889225512009245</c:v>
                </c:pt>
                <c:pt idx="6">
                  <c:v>0.3707908062361037</c:v>
                </c:pt>
                <c:pt idx="7">
                  <c:v>0.4176763281060311</c:v>
                </c:pt>
                <c:pt idx="8">
                  <c:v>0.4176763281060311</c:v>
                </c:pt>
                <c:pt idx="9">
                  <c:v>0.33931725711712735</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453531598513011"/>
          <c:min val="0.00756756756756756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35</c:f>
              <c:numCache>
                <c:formatCode>General</c:formatCode>
                <c:ptCount val="34"/>
                <c:pt idx="0">
                  <c:v>887.9286</c:v>
                </c:pt>
                <c:pt idx="1">
                  <c:v>455.1</c:v>
                </c:pt>
                <c:pt idx="2">
                  <c:v>616.6667</c:v>
                </c:pt>
                <c:pt idx="3">
                  <c:v>695.9138</c:v>
                </c:pt>
                <c:pt idx="4">
                  <c:v>455.7</c:v>
                </c:pt>
                <c:pt idx="5">
                  <c:v>782.9194</c:v>
                </c:pt>
                <c:pt idx="6">
                  <c:v>1211.0</c:v>
                </c:pt>
                <c:pt idx="7">
                  <c:v>365.8929</c:v>
                </c:pt>
                <c:pt idx="8">
                  <c:v>722.2434</c:v>
                </c:pt>
                <c:pt idx="9">
                  <c:v>634.0742</c:v>
                </c:pt>
                <c:pt idx="10">
                  <c:v>494.0676</c:v>
                </c:pt>
                <c:pt idx="11">
                  <c:v>1007.3968</c:v>
                </c:pt>
                <c:pt idx="12">
                  <c:v>808.2857</c:v>
                </c:pt>
                <c:pt idx="13">
                  <c:v>523.559</c:v>
                </c:pt>
                <c:pt idx="14">
                  <c:v>504.3491</c:v>
                </c:pt>
                <c:pt idx="15">
                  <c:v>571.4052</c:v>
                </c:pt>
                <c:pt idx="16">
                  <c:v>877.7419</c:v>
                </c:pt>
                <c:pt idx="17">
                  <c:v>538.8106</c:v>
                </c:pt>
                <c:pt idx="18">
                  <c:v>514.5122</c:v>
                </c:pt>
                <c:pt idx="19">
                  <c:v>490.7647</c:v>
                </c:pt>
                <c:pt idx="20">
                  <c:v>493.2743</c:v>
                </c:pt>
                <c:pt idx="21">
                  <c:v>494.0667</c:v>
                </c:pt>
                <c:pt idx="22">
                  <c:v>429.6667</c:v>
                </c:pt>
                <c:pt idx="23">
                  <c:v>1167.8283</c:v>
                </c:pt>
                <c:pt idx="24">
                  <c:v>782.1365</c:v>
                </c:pt>
                <c:pt idx="25">
                  <c:v>850.2688</c:v>
                </c:pt>
                <c:pt idx="26">
                  <c:v>811.0223</c:v>
                </c:pt>
                <c:pt idx="27">
                  <c:v>785.7804</c:v>
                </c:pt>
                <c:pt idx="28">
                  <c:v>500.1158</c:v>
                </c:pt>
                <c:pt idx="29">
                  <c:v>1167.7466</c:v>
                </c:pt>
                <c:pt idx="30">
                  <c:v>514.1111</c:v>
                </c:pt>
                <c:pt idx="31">
                  <c:v>795.881</c:v>
                </c:pt>
                <c:pt idx="32">
                  <c:v>1216.0263</c:v>
                </c:pt>
                <c:pt idx="33">
                  <c:v>504.7778</c:v>
                </c:pt>
              </c:numCache>
            </c:numRef>
          </c:xVal>
          <c:yVal>
            <c:numRef>
              <c:f>Sheet1!$B$2:$B$35</c:f>
              <c:numCache>
                <c:formatCode>General</c:formatCode>
                <c:ptCount val="34"/>
                <c:pt idx="0">
                  <c:v>0.13793103448275862</c:v>
                </c:pt>
                <c:pt idx="1">
                  <c:v>0.09433962264150944</c:v>
                </c:pt>
                <c:pt idx="2">
                  <c:v>0.08530805687203792</c:v>
                </c:pt>
                <c:pt idx="3">
                  <c:v>0.17901234567901234</c:v>
                </c:pt>
                <c:pt idx="4">
                  <c:v>0.10416666666666667</c:v>
                </c:pt>
                <c:pt idx="5">
                  <c:v>0.2805755395683453</c:v>
                </c:pt>
                <c:pt idx="6">
                  <c:v>0.022292993630573247</c:v>
                </c:pt>
                <c:pt idx="7">
                  <c:v>0.08187134502923976</c:v>
                </c:pt>
                <c:pt idx="8">
                  <c:v>0.39100346020761245</c:v>
                </c:pt>
                <c:pt idx="9">
                  <c:v>0.21401869158878506</c:v>
                </c:pt>
                <c:pt idx="10">
                  <c:v>0.361317747077577</c:v>
                </c:pt>
                <c:pt idx="11">
                  <c:v>0.11444141689373297</c:v>
                </c:pt>
                <c:pt idx="12">
                  <c:v>0.00945945945945946</c:v>
                </c:pt>
                <c:pt idx="13">
                  <c:v>0.447265625</c:v>
                </c:pt>
                <c:pt idx="14">
                  <c:v>0.3509933774834437</c:v>
                </c:pt>
                <c:pt idx="15">
                  <c:v>0.29593810444874274</c:v>
                </c:pt>
                <c:pt idx="16">
                  <c:v>0.10367892976588629</c:v>
                </c:pt>
                <c:pt idx="17">
                  <c:v>0.275</c:v>
                </c:pt>
                <c:pt idx="18">
                  <c:v>0.5913461538461539</c:v>
                </c:pt>
                <c:pt idx="19">
                  <c:v>0.4075342465753425</c:v>
                </c:pt>
                <c:pt idx="20">
                  <c:v>0.551219512195122</c:v>
                </c:pt>
                <c:pt idx="21">
                  <c:v>0.36971830985915494</c:v>
                </c:pt>
                <c:pt idx="22">
                  <c:v>0.04395604395604396</c:v>
                </c:pt>
                <c:pt idx="23">
                  <c:v>0.3052415210688592</c:v>
                </c:pt>
                <c:pt idx="24">
                  <c:v>0.5616666666666666</c:v>
                </c:pt>
                <c:pt idx="25">
                  <c:v>0.23604060913705585</c:v>
                </c:pt>
                <c:pt idx="26">
                  <c:v>0.3848797250859107</c:v>
                </c:pt>
                <c:pt idx="27">
                  <c:v>0.43823146944083224</c:v>
                </c:pt>
                <c:pt idx="28">
                  <c:v>0.1643598615916955</c:v>
                </c:pt>
                <c:pt idx="29">
                  <c:v>0.26258992805755393</c:v>
                </c:pt>
                <c:pt idx="30">
                  <c:v>0.045</c:v>
                </c:pt>
                <c:pt idx="31">
                  <c:v>0.13312202852614896</c:v>
                </c:pt>
                <c:pt idx="32">
                  <c:v>0.0448642266824085</c:v>
                </c:pt>
                <c:pt idx="33">
                  <c:v>0.06593406593406594</c:v>
                </c:pt>
              </c:numCache>
            </c:numRef>
          </c:yVal>
          <c:smooth val="0"/>
          <c:extLst>
            <c:ext xmlns:c16="http://schemas.microsoft.com/office/drawing/2014/chart" uri="{C3380CC4-5D6E-409C-BE32-E72D297353CC}">
              <c16:uniqueId val="{00000000-F32D-48B7-BC20-E66FC6253BAD}"/>
            </c:ext>
          </c:extLst>
        </c:ser>
        <c:ser>
          <c:idx val="1"/>
          <c:order val="1"/>
          <c:tx>
            <c:strRef>
              <c:f>Sheet1!$B$3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38:$A$44</c:f>
              <c:numCache>
                <c:formatCode>General</c:formatCode>
                <c:ptCount val="7"/>
                <c:pt idx="0">
                  <c:v>1254.9882</c:v>
                </c:pt>
                <c:pt idx="1">
                  <c:v>1082.3739</c:v>
                </c:pt>
                <c:pt idx="2">
                  <c:v>1082.3739</c:v>
                </c:pt>
                <c:pt idx="3">
                  <c:v>1035.2058</c:v>
                </c:pt>
                <c:pt idx="4">
                  <c:v>1018.5574</c:v>
                </c:pt>
                <c:pt idx="5">
                  <c:v>1017.831</c:v>
                </c:pt>
                <c:pt idx="6">
                  <c:v>1221.0</c:v>
                </c:pt>
              </c:numCache>
            </c:numRef>
          </c:xVal>
          <c:yVal>
            <c:numRef>
              <c:f>Sheet1!$B$38:$B$44</c:f>
              <c:numCache>
                <c:formatCode>General</c:formatCode>
                <c:ptCount val="7"/>
                <c:pt idx="0">
                  <c:v>0.10480887792848335</c:v>
                </c:pt>
                <c:pt idx="1">
                  <c:v>0.3185595567867036</c:v>
                </c:pt>
                <c:pt idx="2">
                  <c:v>0.29562982005141386</c:v>
                </c:pt>
                <c:pt idx="3">
                  <c:v>0.7044609665427509</c:v>
                </c:pt>
                <c:pt idx="4">
                  <c:v>0.39804241435562804</c:v>
                </c:pt>
                <c:pt idx="5">
                  <c:v>0.5588615782664942</c:v>
                </c:pt>
                <c:pt idx="6">
                  <c:v>0.13138686131386862</c:v>
                </c:pt>
              </c:numCache>
            </c:numRef>
          </c:yVal>
          <c:smooth val="0"/>
          <c:extLst>
            <c:ext xmlns:c16="http://schemas.microsoft.com/office/drawing/2014/chart" uri="{C3380CC4-5D6E-409C-BE32-E72D297353CC}">
              <c16:uniqueId val="{00000002-F32D-48B7-BC20-E66FC6253BAD}"/>
            </c:ext>
          </c:extLst>
        </c:ser>
        <c:ser>
          <c:idx val="2"/>
          <c:order val="2"/>
          <c:tx>
            <c:strRef>
              <c:f>Sheet1!$B$46</c:f>
              <c:strCache>
                <c:ptCount val="1"/>
                <c:pt idx="0">
                  <c:v>Custom Linep3yQ</c:v>
                </c:pt>
              </c:strCache>
            </c:strRef>
          </c:tx>
          <c:spPr>
            <a:ln w="19050" cap="rnd">
              <a:solidFill>
                <a:srgbClr val="C00000"/>
              </a:solidFill>
              <a:prstDash val="sysDot"/>
              <a:round/>
            </a:ln>
            <a:effectLst/>
          </c:spPr>
          <c:marker>
            <c:symbol val="none"/>
          </c:marker>
          <c:xVal>
            <c:numRef>
              <c:f>Sheet1!$A$47:$A$48</c:f>
              <c:numCache>
                <c:formatCode>General</c:formatCode>
                <c:ptCount val="2"/>
                <c:pt idx="0">
                  <c:v>0</c:v>
                </c:pt>
                <c:pt idx="1">
                  <c:v>1070.5209740926832</c:v>
                </c:pt>
              </c:numCache>
            </c:numRef>
          </c:xVal>
          <c:yVal>
            <c:numRef>
              <c:f>Sheet1!$B$47:$B$48</c:f>
              <c:numCache>
                <c:formatCode>General</c:formatCode>
                <c:ptCount val="2"/>
                <c:pt idx="0">
                  <c:v>0.4176763281060311</c:v>
                </c:pt>
                <c:pt idx="1">
                  <c:v>0.4176763281060311</c:v>
                </c:pt>
              </c:numCache>
            </c:numRef>
          </c:yVal>
          <c:smooth val="0"/>
          <c:extLst>
            <c:ext xmlns:c16="http://schemas.microsoft.com/office/drawing/2014/chart" uri="{C3380CC4-5D6E-409C-BE32-E72D297353CC}">
              <c16:uniqueId val="{00000003-F32D-48B7-BC20-E66FC6253BAD}"/>
            </c:ext>
          </c:extLst>
        </c:ser>
        <c:ser>
          <c:idx val="3"/>
          <c:order val="3"/>
          <c:tx>
            <c:strRef>
              <c:f>Sheet1!$B$5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1:$A$52</c:f>
              <c:numCache>
                <c:formatCode>General</c:formatCode>
                <c:ptCount val="2"/>
                <c:pt idx="0">
                  <c:v>1070.5209740926832</c:v>
                </c:pt>
                <c:pt idx="1">
                  <c:v>1070.5209740926832</c:v>
                </c:pt>
              </c:numCache>
            </c:numRef>
          </c:xVal>
          <c:yVal>
            <c:numRef>
              <c:f>Sheet1!$B$51:$B$52</c:f>
              <c:numCache>
                <c:formatCode>General</c:formatCode>
                <c:ptCount val="2"/>
                <c:pt idx="0">
                  <c:v>0.417676328106031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5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55:$A$56</c:f>
              <c:numCache>
                <c:formatCode>General</c:formatCode>
                <c:ptCount val="2"/>
                <c:pt idx="0">
                  <c:v>0</c:v>
                </c:pt>
                <c:pt idx="1">
                  <c:v>1070.5209740926832</c:v>
                </c:pt>
              </c:numCache>
            </c:numRef>
          </c:xVal>
          <c:yVal>
            <c:numRef>
              <c:f>Sheet1!$B$55:$B$56</c:f>
              <c:numCache>
                <c:formatCode>General</c:formatCode>
                <c:ptCount val="2"/>
                <c:pt idx="0">
                  <c:v>0.4176763281060311</c:v>
                </c:pt>
                <c:pt idx="1">
                  <c:v>0.4176763281060311</c:v>
                </c:pt>
              </c:numCache>
            </c:numRef>
          </c:yVal>
          <c:smooth val="0"/>
          <c:extLst>
            <c:ext xmlns:c16="http://schemas.microsoft.com/office/drawing/2014/chart" uri="{C3380CC4-5D6E-409C-BE32-E72D297353CC}">
              <c16:uniqueId val="{0000000A-F32D-48B7-BC20-E66FC6253BAD}"/>
            </c:ext>
          </c:extLst>
        </c:ser>
        <c:ser>
          <c:idx val="5"/>
          <c:order val="5"/>
          <c:tx>
            <c:strRef>
              <c:f>Sheet1!$B$5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1070.5209740926832</c:v>
                </c:pt>
                <c:pt idx="1">
                  <c:v>1070.5209740926832</c:v>
                </c:pt>
              </c:numCache>
            </c:numRef>
          </c:xVal>
          <c:yVal>
            <c:numRef>
              <c:f>Sheet1!$B$59:$B$60</c:f>
              <c:numCache>
                <c:formatCode>General</c:formatCode>
                <c:ptCount val="2"/>
                <c:pt idx="0">
                  <c:v>0.417676328106031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62</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63:$A$72</c:f>
              <c:numCache>
                <c:formatCode>General</c:formatCode>
                <c:ptCount val="10"/>
                <c:pt idx="0">
                  <c:v>1254.9882</c:v>
                </c:pt>
                <c:pt idx="1">
                  <c:v>1082.3739</c:v>
                </c:pt>
                <c:pt idx="2">
                  <c:v>1082.3739</c:v>
                </c:pt>
                <c:pt idx="3">
                  <c:v>1035.2058</c:v>
                </c:pt>
                <c:pt idx="4">
                  <c:v>1018.5574</c:v>
                </c:pt>
                <c:pt idx="5">
                  <c:v>1017.831</c:v>
                </c:pt>
                <c:pt idx="6">
                  <c:v>1221.0</c:v>
                </c:pt>
                <c:pt idx="7">
                  <c:v>1070.5209740926832</c:v>
                </c:pt>
                <c:pt idx="8">
                  <c:v>1070.5209740926832</c:v>
                </c:pt>
                <c:pt idx="9">
                  <c:v>0</c:v>
                </c:pt>
              </c:numCache>
            </c:numRef>
          </c:xVal>
          <c:yVal>
            <c:numRef>
              <c:f>Sheet1!$B$63:$B$72</c:f>
              <c:numCache>
                <c:formatCode>General</c:formatCode>
                <c:ptCount val="10"/>
                <c:pt idx="0">
                  <c:v>0.07015295441602198</c:v>
                </c:pt>
                <c:pt idx="1">
                  <c:v>0.39534624329476964</c:v>
                </c:pt>
                <c:pt idx="2">
                  <c:v>0.39534624329476964</c:v>
                </c:pt>
                <c:pt idx="3">
                  <c:v>0.4842076503112318</c:v>
                </c:pt>
                <c:pt idx="4">
                  <c:v>0.5155720734822489</c:v>
                </c:pt>
                <c:pt idx="5">
                  <c:v>0.5169405603633563</c:v>
                </c:pt>
                <c:pt idx="6">
                  <c:v>0.13418435008294338</c:v>
                </c:pt>
                <c:pt idx="7">
                  <c:v>0.41767632810603095</c:v>
                </c:pt>
                <c:pt idx="8">
                  <c:v>0.41767632810603095</c:v>
                </c:pt>
                <c:pt idx="9">
                  <c:v>2.434463097098405</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0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453531598513011"/>
          <c:min val="0.00756756756756756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9</c:f>
              <c:numCache>
                <c:formatCode>General</c:formatCode>
                <c:ptCount val="48"/>
                <c:pt idx="0">
                  <c:v>1.2298554803608974</c:v>
                </c:pt>
                <c:pt idx="1">
                  <c:v>1.3211158970696542</c:v>
                </c:pt>
                <c:pt idx="2">
                  <c:v>1.7929200160771703</c:v>
                </c:pt>
                <c:pt idx="3">
                  <c:v>1.3576759489345942</c:v>
                </c:pt>
                <c:pt idx="4">
                  <c:v>1.8350348710192421</c:v>
                </c:pt>
                <c:pt idx="5">
                  <c:v>2.4489934368186286</c:v>
                </c:pt>
                <c:pt idx="6">
                  <c:v>0.7031710992506461</c:v>
                </c:pt>
                <c:pt idx="7">
                  <c:v>0.8304114522441173</c:v>
                </c:pt>
                <c:pt idx="8">
                  <c:v>0.9150060514899288</c:v>
                </c:pt>
                <c:pt idx="9">
                  <c:v>0.7859606760952053</c:v>
                </c:pt>
                <c:pt idx="10">
                  <c:v>1.674787046980153</c:v>
                </c:pt>
                <c:pt idx="11">
                  <c:v>1.6512783837487288</c:v>
                </c:pt>
                <c:pt idx="12">
                  <c:v>1.599333958627568</c:v>
                </c:pt>
                <c:pt idx="13">
                  <c:v>0.4876675298420601</c:v>
                </c:pt>
                <c:pt idx="14">
                  <c:v>1.4601368200743658</c:v>
                </c:pt>
                <c:pt idx="15">
                  <c:v>0.8192571252200443</c:v>
                </c:pt>
                <c:pt idx="16">
                  <c:v>0.889179332656249</c:v>
                </c:pt>
                <c:pt idx="17">
                  <c:v>0.9387783052748446</c:v>
                </c:pt>
                <c:pt idx="18">
                  <c:v>1.2293410533638318</c:v>
                </c:pt>
                <c:pt idx="19">
                  <c:v>0.9664276878466634</c:v>
                </c:pt>
                <c:pt idx="20">
                  <c:v>1.4248791133189846</c:v>
                </c:pt>
                <c:pt idx="21">
                  <c:v>0.7406357308779962</c:v>
                </c:pt>
                <c:pt idx="22">
                  <c:v>1.3218081766148815</c:v>
                </c:pt>
                <c:pt idx="23">
                  <c:v>0.5592524486568504</c:v>
                </c:pt>
                <c:pt idx="24">
                  <c:v>0.6356584293201505</c:v>
                </c:pt>
                <c:pt idx="25">
                  <c:v>0.7492522320135319</c:v>
                </c:pt>
                <c:pt idx="26">
                  <c:v>1.2331547262048113</c:v>
                </c:pt>
                <c:pt idx="27">
                  <c:v>0.7391091906721536</c:v>
                </c:pt>
                <c:pt idx="28">
                  <c:v>1.3689037668837438</c:v>
                </c:pt>
                <c:pt idx="29">
                  <c:v>0.7431137038176049</c:v>
                </c:pt>
                <c:pt idx="30">
                  <c:v>0.6952421423537702</c:v>
                </c:pt>
                <c:pt idx="31">
                  <c:v>2.09624793026165</c:v>
                </c:pt>
                <c:pt idx="32">
                  <c:v>0.5274648231662022</c:v>
                </c:pt>
                <c:pt idx="33">
                  <c:v>0.4163041142158574</c:v>
                </c:pt>
                <c:pt idx="34">
                  <c:v>1.0641511989244399</c:v>
                </c:pt>
                <c:pt idx="35">
                  <c:v>1.0426912051834423</c:v>
                </c:pt>
                <c:pt idx="36">
                  <c:v>0.6132776844539544</c:v>
                </c:pt>
                <c:pt idx="37">
                  <c:v>2.3232314933273863</c:v>
                </c:pt>
                <c:pt idx="38">
                  <c:v>1.2420600242238835</c:v>
                </c:pt>
                <c:pt idx="39">
                  <c:v>1.1440838281052899</c:v>
                </c:pt>
                <c:pt idx="40">
                  <c:v>1.6984607259034106</c:v>
                </c:pt>
                <c:pt idx="41">
                  <c:v>1.9604433636538505</c:v>
                </c:pt>
                <c:pt idx="42">
                  <c:v>0.7500419176350714</c:v>
                </c:pt>
                <c:pt idx="43">
                  <c:v>1.7689458400301756</c:v>
                </c:pt>
                <c:pt idx="44">
                  <c:v>0.9268694016746388</c:v>
                </c:pt>
                <c:pt idx="45">
                  <c:v>1.2993788823932</c:v>
                </c:pt>
                <c:pt idx="46">
                  <c:v>1.6023713265015285</c:v>
                </c:pt>
                <c:pt idx="47">
                  <c:v>0.5796376554141434</c:v>
                </c:pt>
              </c:numCache>
            </c:numRef>
          </c:xVal>
          <c:yVal>
            <c:numRef>
              <c:f>Sheet1!$B$2:$B$49</c:f>
              <c:numCache>
                <c:formatCode>General</c:formatCode>
                <c:ptCount val="48"/>
                <c:pt idx="0">
                  <c:v>0.13793103448275862</c:v>
                </c:pt>
                <c:pt idx="1">
                  <c:v>0.20588235294117646</c:v>
                </c:pt>
                <c:pt idx="2">
                  <c:v>0.8287671232876712</c:v>
                </c:pt>
                <c:pt idx="3">
                  <c:v>0.15841584158415842</c:v>
                </c:pt>
                <c:pt idx="4">
                  <c:v>0.6153846153846154</c:v>
                </c:pt>
                <c:pt idx="5">
                  <c:v>0.17277486910994763</c:v>
                </c:pt>
                <c:pt idx="6">
                  <c:v>0.09433962264150944</c:v>
                </c:pt>
                <c:pt idx="7">
                  <c:v>0.08530805687203792</c:v>
                </c:pt>
                <c:pt idx="8">
                  <c:v>0.17901234567901234</c:v>
                </c:pt>
                <c:pt idx="9">
                  <c:v>0.10416666666666667</c:v>
                </c:pt>
                <c:pt idx="10">
                  <c:v>0.2805755395683453</c:v>
                </c:pt>
                <c:pt idx="11">
                  <c:v>0.0231023102310231</c:v>
                </c:pt>
                <c:pt idx="12">
                  <c:v>0.022292993630573247</c:v>
                </c:pt>
                <c:pt idx="13">
                  <c:v>0.08187134502923976</c:v>
                </c:pt>
                <c:pt idx="14">
                  <c:v>0.2357142857142857</c:v>
                </c:pt>
                <c:pt idx="15">
                  <c:v>0.39100346020761245</c:v>
                </c:pt>
                <c:pt idx="16">
                  <c:v>0.2380474757606152</c:v>
                </c:pt>
                <c:pt idx="17">
                  <c:v>0.2652370203160271</c:v>
                </c:pt>
                <c:pt idx="18">
                  <c:v>0.21401869158878506</c:v>
                </c:pt>
                <c:pt idx="19">
                  <c:v>0.361317747077577</c:v>
                </c:pt>
                <c:pt idx="20">
                  <c:v>0.11444141689373297</c:v>
                </c:pt>
                <c:pt idx="21">
                  <c:v>0.15311653116531165</c:v>
                </c:pt>
                <c:pt idx="22">
                  <c:v>0.00945945945945946</c:v>
                </c:pt>
                <c:pt idx="23">
                  <c:v>0.447265625</c:v>
                </c:pt>
                <c:pt idx="24">
                  <c:v>0.16534391534391535</c:v>
                </c:pt>
                <c:pt idx="25">
                  <c:v>0.3509933774834437</c:v>
                </c:pt>
                <c:pt idx="26">
                  <c:v>0.10367892976588629</c:v>
                </c:pt>
                <c:pt idx="27">
                  <c:v>0.275</c:v>
                </c:pt>
                <c:pt idx="28">
                  <c:v>0.5913461538461539</c:v>
                </c:pt>
                <c:pt idx="29">
                  <c:v>0.4075342465753425</c:v>
                </c:pt>
                <c:pt idx="30">
                  <c:v>0.551219512195122</c:v>
                </c:pt>
                <c:pt idx="31">
                  <c:v>0.500875656742557</c:v>
                </c:pt>
                <c:pt idx="32">
                  <c:v>0.36971830985915494</c:v>
                </c:pt>
                <c:pt idx="33">
                  <c:v>0.17757009345794392</c:v>
                </c:pt>
                <c:pt idx="34">
                  <c:v>0.020202020202020204</c:v>
                </c:pt>
                <c:pt idx="35">
                  <c:v>0.17509025270758122</c:v>
                </c:pt>
                <c:pt idx="36">
                  <c:v>0.04395604395604396</c:v>
                </c:pt>
                <c:pt idx="37">
                  <c:v>0.3052415210688592</c:v>
                </c:pt>
                <c:pt idx="38">
                  <c:v>0.5616666666666666</c:v>
                </c:pt>
                <c:pt idx="39">
                  <c:v>0.23604060913705585</c:v>
                </c:pt>
                <c:pt idx="40">
                  <c:v>0.3848797250859107</c:v>
                </c:pt>
                <c:pt idx="41">
                  <c:v>0.43823146944083224</c:v>
                </c:pt>
                <c:pt idx="42">
                  <c:v>0.1643598615916955</c:v>
                </c:pt>
                <c:pt idx="43">
                  <c:v>0.26258992805755393</c:v>
                </c:pt>
                <c:pt idx="44">
                  <c:v>0.045</c:v>
                </c:pt>
                <c:pt idx="45">
                  <c:v>0.13312202852614896</c:v>
                </c:pt>
                <c:pt idx="46">
                  <c:v>0.0448642266824085</c:v>
                </c:pt>
                <c:pt idx="47">
                  <c:v>0.06593406593406594</c:v>
                </c:pt>
              </c:numCache>
            </c:numRef>
          </c:yVal>
          <c:smooth val="0"/>
          <c:extLst>
            <c:ext xmlns:c16="http://schemas.microsoft.com/office/drawing/2014/chart" uri="{C3380CC4-5D6E-409C-BE32-E72D297353CC}">
              <c16:uniqueId val="{00000000-096C-4121-9522-6AB7243CCAAE}"/>
            </c:ext>
          </c:extLst>
        </c:ser>
        <c:ser>
          <c:idx val="1"/>
          <c:order val="1"/>
          <c:tx>
            <c:strRef>
              <c:f>Sheet1!$B$5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2:$A$57</c:f>
              <c:numCache>
                <c:formatCode>General</c:formatCode>
                <c:ptCount val="6"/>
                <c:pt idx="0">
                  <c:v>2.004113021539387</c:v>
                </c:pt>
                <c:pt idx="1">
                  <c:v>1.1643436962134253</c:v>
                </c:pt>
                <c:pt idx="2">
                  <c:v>1.2664434254558106</c:v>
                </c:pt>
                <c:pt idx="3">
                  <c:v>2.0307965856626864</c:v>
                </c:pt>
                <c:pt idx="4">
                  <c:v>1.3813139616894512</c:v>
                </c:pt>
                <c:pt idx="5">
                  <c:v>2.6657857856633997</c:v>
                </c:pt>
              </c:numCache>
            </c:numRef>
          </c:xVal>
          <c:yVal>
            <c:numRef>
              <c:f>Sheet1!$B$52:$B$57</c:f>
              <c:numCache>
                <c:formatCode>General</c:formatCode>
                <c:ptCount val="6"/>
                <c:pt idx="0">
                  <c:v>0.10480887792848335</c:v>
                </c:pt>
                <c:pt idx="1">
                  <c:v>0.29562982005141386</c:v>
                </c:pt>
                <c:pt idx="2">
                  <c:v>0.7044609665427509</c:v>
                </c:pt>
                <c:pt idx="3">
                  <c:v>0.39804241435562804</c:v>
                </c:pt>
                <c:pt idx="4">
                  <c:v>0.5588615782664942</c:v>
                </c:pt>
                <c:pt idx="5">
                  <c:v>0.13138686131386862</c:v>
                </c:pt>
              </c:numCache>
            </c:numRef>
          </c:yVal>
          <c:smooth val="0"/>
          <c:extLst>
            <c:ext xmlns:c16="http://schemas.microsoft.com/office/drawing/2014/chart" uri="{C3380CC4-5D6E-409C-BE32-E72D297353CC}">
              <c16:uniqueId val="{00000002-096C-4121-9522-6AB7243CCAAE}"/>
            </c:ext>
          </c:extLst>
        </c:ser>
        <c:ser>
          <c:idx val="2"/>
          <c:order val="2"/>
          <c:tx>
            <c:strRef>
              <c:f>Sheet1!$B$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0:$A$61</c:f>
              <c:numCache>
                <c:formatCode>General</c:formatCode>
                <c:ptCount val="2"/>
                <c:pt idx="0">
                  <c:v>0</c:v>
                </c:pt>
                <c:pt idx="1">
                  <c:v>1.5623980619021685</c:v>
                </c:pt>
              </c:numCache>
            </c:numRef>
          </c:xVal>
          <c:yVal>
            <c:numRef>
              <c:f>Sheet1!$B$60:$B$61</c:f>
              <c:numCache>
                <c:formatCode>General</c:formatCode>
                <c:ptCount val="2"/>
                <c:pt idx="0">
                  <c:v>0.4176763281060311</c:v>
                </c:pt>
                <c:pt idx="1">
                  <c:v>0.4176763281060311</c:v>
                </c:pt>
              </c:numCache>
            </c:numRef>
          </c:yVal>
          <c:smooth val="0"/>
          <c:extLst>
            <c:ext xmlns:c16="http://schemas.microsoft.com/office/drawing/2014/chart" uri="{C3380CC4-5D6E-409C-BE32-E72D297353CC}">
              <c16:uniqueId val="{00000005-096C-4121-9522-6AB7243CCAAE}"/>
            </c:ext>
          </c:extLst>
        </c:ser>
        <c:ser>
          <c:idx val="3"/>
          <c:order val="3"/>
          <c:tx>
            <c:strRef>
              <c:f>Sheet1!$B$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4:$A$65</c:f>
              <c:numCache>
                <c:formatCode>General</c:formatCode>
                <c:ptCount val="2"/>
                <c:pt idx="0">
                  <c:v>1.5623980619021685</c:v>
                </c:pt>
                <c:pt idx="1">
                  <c:v>1.5623980619021685</c:v>
                </c:pt>
              </c:numCache>
            </c:numRef>
          </c:xVal>
          <c:yVal>
            <c:numRef>
              <c:f>Sheet1!$B$64:$B$65</c:f>
              <c:numCache>
                <c:formatCode>General</c:formatCode>
                <c:ptCount val="2"/>
                <c:pt idx="0">
                  <c:v>0.417676328106031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8:$A$69</c:f>
              <c:numCache>
                <c:formatCode>General</c:formatCode>
                <c:ptCount val="2"/>
                <c:pt idx="0">
                  <c:v>0</c:v>
                </c:pt>
                <c:pt idx="1">
                  <c:v>1.5623980619021685</c:v>
                </c:pt>
              </c:numCache>
            </c:numRef>
          </c:xVal>
          <c:yVal>
            <c:numRef>
              <c:f>Sheet1!$B$68:$B$69</c:f>
              <c:numCache>
                <c:formatCode>General</c:formatCode>
                <c:ptCount val="2"/>
                <c:pt idx="0">
                  <c:v>0.4176763281060311</c:v>
                </c:pt>
                <c:pt idx="1">
                  <c:v>0.4176763281060311</c:v>
                </c:pt>
              </c:numCache>
            </c:numRef>
          </c:yVal>
          <c:smooth val="0"/>
          <c:extLst>
            <c:ext xmlns:c16="http://schemas.microsoft.com/office/drawing/2014/chart" uri="{C3380CC4-5D6E-409C-BE32-E72D297353CC}">
              <c16:uniqueId val="{0000000D-096C-4121-9522-6AB7243CCAAE}"/>
            </c:ext>
          </c:extLst>
        </c:ser>
        <c:ser>
          <c:idx val="5"/>
          <c:order val="5"/>
          <c:tx>
            <c:strRef>
              <c:f>Sheet1!$B$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2:$A$73</c:f>
              <c:numCache>
                <c:formatCode>General</c:formatCode>
                <c:ptCount val="2"/>
                <c:pt idx="0">
                  <c:v>1.5623980619021685</c:v>
                </c:pt>
                <c:pt idx="1">
                  <c:v>1.5623980619021685</c:v>
                </c:pt>
              </c:numCache>
            </c:numRef>
          </c:xVal>
          <c:yVal>
            <c:numRef>
              <c:f>Sheet1!$B$72:$B$73</c:f>
              <c:numCache>
                <c:formatCode>General</c:formatCode>
                <c:ptCount val="2"/>
                <c:pt idx="0">
                  <c:v>0.417676328106031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75</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76:$A$84</c:f>
              <c:numCache>
                <c:formatCode>General</c:formatCode>
                <c:ptCount val="9"/>
                <c:pt idx="0">
                  <c:v>2.004113021539387</c:v>
                </c:pt>
                <c:pt idx="1">
                  <c:v>1.1643436962134253</c:v>
                </c:pt>
                <c:pt idx="2">
                  <c:v>1.2664434254558106</c:v>
                </c:pt>
                <c:pt idx="3">
                  <c:v>2.0307965856626864</c:v>
                </c:pt>
                <c:pt idx="4">
                  <c:v>1.3813139616894512</c:v>
                </c:pt>
                <c:pt idx="5">
                  <c:v>2.6657857856633997</c:v>
                </c:pt>
                <c:pt idx="6">
                  <c:v>1.5623980619021685</c:v>
                </c:pt>
                <c:pt idx="7">
                  <c:v>1.5623980619021685</c:v>
                </c:pt>
                <c:pt idx="8">
                  <c:v>0</c:v>
                </c:pt>
              </c:numCache>
            </c:numRef>
          </c:xVal>
          <c:yVal>
            <c:numRef>
              <c:f>Sheet1!$B$76:$B$84</c:f>
              <c:numCache>
                <c:formatCode>General</c:formatCode>
                <c:ptCount val="9"/>
                <c:pt idx="0">
                  <c:v>0.2962802904786457</c:v>
                </c:pt>
                <c:pt idx="1">
                  <c:v>0.5270731726108738</c:v>
                </c:pt>
                <c:pt idx="2">
                  <c:v>0.49901321606551685</c:v>
                </c:pt>
                <c:pt idx="3">
                  <c:v>0.2889468758326821</c:v>
                </c:pt>
                <c:pt idx="4">
                  <c:v>0.4674434726491972</c:v>
                </c:pt>
                <c:pt idx="5">
                  <c:v>0.1144334908217236</c:v>
                </c:pt>
                <c:pt idx="6">
                  <c:v>0.4176763281060311</c:v>
                </c:pt>
                <c:pt idx="7">
                  <c:v>0.4176763281060311</c:v>
                </c:pt>
                <c:pt idx="8">
                  <c:v>0.847068472912277</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945205479452054"/>
          <c:min val="0.00756756756756756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9</c:f>
              <c:numCache>
                <c:formatCode>General</c:formatCode>
                <c:ptCount val="48"/>
                <c:pt idx="0">
                  <c:v>887.9286</c:v>
                </c:pt>
                <c:pt idx="1">
                  <c:v>887.9286</c:v>
                </c:pt>
                <c:pt idx="2">
                  <c:v>892.157</c:v>
                </c:pt>
                <c:pt idx="3">
                  <c:v>832.875</c:v>
                </c:pt>
                <c:pt idx="4">
                  <c:v>1091.9375</c:v>
                </c:pt>
                <c:pt idx="5">
                  <c:v>1067.8182</c:v>
                </c:pt>
                <c:pt idx="6">
                  <c:v>455.1</c:v>
                </c:pt>
                <c:pt idx="7">
                  <c:v>616.6667</c:v>
                </c:pt>
                <c:pt idx="8">
                  <c:v>695.9138</c:v>
                </c:pt>
                <c:pt idx="9">
                  <c:v>455.7</c:v>
                </c:pt>
                <c:pt idx="10">
                  <c:v>782.9194</c:v>
                </c:pt>
                <c:pt idx="11">
                  <c:v>1184.7143</c:v>
                </c:pt>
                <c:pt idx="12">
                  <c:v>1211.0</c:v>
                </c:pt>
                <c:pt idx="13">
                  <c:v>365.8929</c:v>
                </c:pt>
                <c:pt idx="14">
                  <c:v>786.9495</c:v>
                </c:pt>
                <c:pt idx="15">
                  <c:v>722.2434</c:v>
                </c:pt>
                <c:pt idx="16">
                  <c:v>580.8933</c:v>
                </c:pt>
                <c:pt idx="17">
                  <c:v>521.6255</c:v>
                </c:pt>
                <c:pt idx="18">
                  <c:v>634.0742</c:v>
                </c:pt>
                <c:pt idx="19">
                  <c:v>494.0676</c:v>
                </c:pt>
                <c:pt idx="20">
                  <c:v>1007.3968</c:v>
                </c:pt>
                <c:pt idx="21">
                  <c:v>492.7965</c:v>
                </c:pt>
                <c:pt idx="22">
                  <c:v>808.2857</c:v>
                </c:pt>
                <c:pt idx="23">
                  <c:v>523.559</c:v>
                </c:pt>
                <c:pt idx="24">
                  <c:v>529.904</c:v>
                </c:pt>
                <c:pt idx="25">
                  <c:v>504.3491</c:v>
                </c:pt>
                <c:pt idx="26">
                  <c:v>877.7419</c:v>
                </c:pt>
                <c:pt idx="27">
                  <c:v>538.8106</c:v>
                </c:pt>
                <c:pt idx="28">
                  <c:v>514.5122</c:v>
                </c:pt>
                <c:pt idx="29">
                  <c:v>490.7647</c:v>
                </c:pt>
                <c:pt idx="30">
                  <c:v>493.2743</c:v>
                </c:pt>
                <c:pt idx="31">
                  <c:v>1151.5629</c:v>
                </c:pt>
                <c:pt idx="32">
                  <c:v>494.0667</c:v>
                </c:pt>
                <c:pt idx="33">
                  <c:v>496.8421</c:v>
                </c:pt>
                <c:pt idx="34">
                  <c:v>432.1667</c:v>
                </c:pt>
                <c:pt idx="35">
                  <c:v>497.134</c:v>
                </c:pt>
                <c:pt idx="36">
                  <c:v>429.6667</c:v>
                </c:pt>
                <c:pt idx="37">
                  <c:v>1167.8283</c:v>
                </c:pt>
                <c:pt idx="38">
                  <c:v>782.1365</c:v>
                </c:pt>
                <c:pt idx="39">
                  <c:v>850.2688</c:v>
                </c:pt>
                <c:pt idx="40">
                  <c:v>811.0223</c:v>
                </c:pt>
                <c:pt idx="41">
                  <c:v>785.7804</c:v>
                </c:pt>
                <c:pt idx="42">
                  <c:v>500.1158</c:v>
                </c:pt>
                <c:pt idx="43">
                  <c:v>1167.7466</c:v>
                </c:pt>
                <c:pt idx="44">
                  <c:v>514.1111</c:v>
                </c:pt>
                <c:pt idx="45">
                  <c:v>795.881</c:v>
                </c:pt>
                <c:pt idx="46">
                  <c:v>1216.0263</c:v>
                </c:pt>
                <c:pt idx="47">
                  <c:v>504.7778</c:v>
                </c:pt>
              </c:numCache>
            </c:numRef>
          </c:xVal>
          <c:yVal>
            <c:numRef>
              <c:f>Sheet1!$B$2:$B$49</c:f>
              <c:numCache>
                <c:formatCode>General</c:formatCode>
                <c:ptCount val="48"/>
                <c:pt idx="0">
                  <c:v>0.13793103448275862</c:v>
                </c:pt>
                <c:pt idx="1">
                  <c:v>0.20588235294117646</c:v>
                </c:pt>
                <c:pt idx="2">
                  <c:v>0.8287671232876712</c:v>
                </c:pt>
                <c:pt idx="3">
                  <c:v>0.15841584158415842</c:v>
                </c:pt>
                <c:pt idx="4">
                  <c:v>0.6153846153846154</c:v>
                </c:pt>
                <c:pt idx="5">
                  <c:v>0.17277486910994763</c:v>
                </c:pt>
                <c:pt idx="6">
                  <c:v>0.09433962264150944</c:v>
                </c:pt>
                <c:pt idx="7">
                  <c:v>0.08530805687203792</c:v>
                </c:pt>
                <c:pt idx="8">
                  <c:v>0.17901234567901234</c:v>
                </c:pt>
                <c:pt idx="9">
                  <c:v>0.10416666666666667</c:v>
                </c:pt>
                <c:pt idx="10">
                  <c:v>0.2805755395683453</c:v>
                </c:pt>
                <c:pt idx="11">
                  <c:v>0.0231023102310231</c:v>
                </c:pt>
                <c:pt idx="12">
                  <c:v>0.022292993630573247</c:v>
                </c:pt>
                <c:pt idx="13">
                  <c:v>0.08187134502923976</c:v>
                </c:pt>
                <c:pt idx="14">
                  <c:v>0.2357142857142857</c:v>
                </c:pt>
                <c:pt idx="15">
                  <c:v>0.39100346020761245</c:v>
                </c:pt>
                <c:pt idx="16">
                  <c:v>0.2380474757606152</c:v>
                </c:pt>
                <c:pt idx="17">
                  <c:v>0.2652370203160271</c:v>
                </c:pt>
                <c:pt idx="18">
                  <c:v>0.21401869158878506</c:v>
                </c:pt>
                <c:pt idx="19">
                  <c:v>0.361317747077577</c:v>
                </c:pt>
                <c:pt idx="20">
                  <c:v>0.11444141689373297</c:v>
                </c:pt>
                <c:pt idx="21">
                  <c:v>0.15311653116531165</c:v>
                </c:pt>
                <c:pt idx="22">
                  <c:v>0.00945945945945946</c:v>
                </c:pt>
                <c:pt idx="23">
                  <c:v>0.447265625</c:v>
                </c:pt>
                <c:pt idx="24">
                  <c:v>0.16534391534391535</c:v>
                </c:pt>
                <c:pt idx="25">
                  <c:v>0.3509933774834437</c:v>
                </c:pt>
                <c:pt idx="26">
                  <c:v>0.10367892976588629</c:v>
                </c:pt>
                <c:pt idx="27">
                  <c:v>0.275</c:v>
                </c:pt>
                <c:pt idx="28">
                  <c:v>0.5913461538461539</c:v>
                </c:pt>
                <c:pt idx="29">
                  <c:v>0.4075342465753425</c:v>
                </c:pt>
                <c:pt idx="30">
                  <c:v>0.551219512195122</c:v>
                </c:pt>
                <c:pt idx="31">
                  <c:v>0.500875656742557</c:v>
                </c:pt>
                <c:pt idx="32">
                  <c:v>0.36971830985915494</c:v>
                </c:pt>
                <c:pt idx="33">
                  <c:v>0.17757009345794392</c:v>
                </c:pt>
                <c:pt idx="34">
                  <c:v>0.020202020202020204</c:v>
                </c:pt>
                <c:pt idx="35">
                  <c:v>0.17509025270758122</c:v>
                </c:pt>
                <c:pt idx="36">
                  <c:v>0.04395604395604396</c:v>
                </c:pt>
                <c:pt idx="37">
                  <c:v>0.3052415210688592</c:v>
                </c:pt>
                <c:pt idx="38">
                  <c:v>0.5616666666666666</c:v>
                </c:pt>
                <c:pt idx="39">
                  <c:v>0.23604060913705585</c:v>
                </c:pt>
                <c:pt idx="40">
                  <c:v>0.3848797250859107</c:v>
                </c:pt>
                <c:pt idx="41">
                  <c:v>0.43823146944083224</c:v>
                </c:pt>
                <c:pt idx="42">
                  <c:v>0.1643598615916955</c:v>
                </c:pt>
                <c:pt idx="43">
                  <c:v>0.26258992805755393</c:v>
                </c:pt>
                <c:pt idx="44">
                  <c:v>0.045</c:v>
                </c:pt>
                <c:pt idx="45">
                  <c:v>0.13312202852614896</c:v>
                </c:pt>
                <c:pt idx="46">
                  <c:v>0.0448642266824085</c:v>
                </c:pt>
                <c:pt idx="47">
                  <c:v>0.06593406593406594</c:v>
                </c:pt>
              </c:numCache>
            </c:numRef>
          </c:yVal>
          <c:smooth val="0"/>
          <c:extLst>
            <c:ext xmlns:c16="http://schemas.microsoft.com/office/drawing/2014/chart" uri="{C3380CC4-5D6E-409C-BE32-E72D297353CC}">
              <c16:uniqueId val="{00000000-F32D-48B7-BC20-E66FC6253BAD}"/>
            </c:ext>
          </c:extLst>
        </c:ser>
        <c:ser>
          <c:idx val="1"/>
          <c:order val="1"/>
          <c:tx>
            <c:strRef>
              <c:f>Sheet1!$B$5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2:$A$57</c:f>
              <c:numCache>
                <c:formatCode>General</c:formatCode>
                <c:ptCount val="6"/>
                <c:pt idx="0">
                  <c:v>1254.9882</c:v>
                </c:pt>
                <c:pt idx="1">
                  <c:v>1082.3739</c:v>
                </c:pt>
                <c:pt idx="2">
                  <c:v>1035.2058</c:v>
                </c:pt>
                <c:pt idx="3">
                  <c:v>1018.5574</c:v>
                </c:pt>
                <c:pt idx="4">
                  <c:v>1017.831</c:v>
                </c:pt>
                <c:pt idx="5">
                  <c:v>1221.0</c:v>
                </c:pt>
              </c:numCache>
            </c:numRef>
          </c:xVal>
          <c:yVal>
            <c:numRef>
              <c:f>Sheet1!$B$52:$B$57</c:f>
              <c:numCache>
                <c:formatCode>General</c:formatCode>
                <c:ptCount val="6"/>
                <c:pt idx="0">
                  <c:v>0.10480887792848335</c:v>
                </c:pt>
                <c:pt idx="1">
                  <c:v>0.29562982005141386</c:v>
                </c:pt>
                <c:pt idx="2">
                  <c:v>0.7044609665427509</c:v>
                </c:pt>
                <c:pt idx="3">
                  <c:v>0.39804241435562804</c:v>
                </c:pt>
                <c:pt idx="4">
                  <c:v>0.5588615782664942</c:v>
                </c:pt>
                <c:pt idx="5">
                  <c:v>0.13138686131386862</c:v>
                </c:pt>
              </c:numCache>
            </c:numRef>
          </c:yVal>
          <c:smooth val="0"/>
          <c:extLst>
            <c:ext xmlns:c16="http://schemas.microsoft.com/office/drawing/2014/chart" uri="{C3380CC4-5D6E-409C-BE32-E72D297353CC}">
              <c16:uniqueId val="{00000002-F32D-48B7-BC20-E66FC6253BAD}"/>
            </c:ext>
          </c:extLst>
        </c:ser>
        <c:ser>
          <c:idx val="2"/>
          <c:order val="2"/>
          <c:tx>
            <c:strRef>
              <c:f>Sheet1!$B$59</c:f>
              <c:strCache>
                <c:ptCount val="1"/>
                <c:pt idx="0">
                  <c:v>Custom Linep3yQ</c:v>
                </c:pt>
              </c:strCache>
            </c:strRef>
          </c:tx>
          <c:spPr>
            <a:ln w="19050" cap="rnd">
              <a:solidFill>
                <a:srgbClr val="C00000"/>
              </a:solidFill>
              <a:prstDash val="sysDot"/>
              <a:round/>
            </a:ln>
            <a:effectLst/>
          </c:spPr>
          <c:marker>
            <c:symbol val="none"/>
          </c:marker>
          <c:xVal>
            <c:numRef>
              <c:f>Sheet1!$A$60:$A$61</c:f>
              <c:numCache>
                <c:formatCode>General</c:formatCode>
                <c:ptCount val="2"/>
                <c:pt idx="0">
                  <c:v>0</c:v>
                </c:pt>
                <c:pt idx="1">
                  <c:v>1077.7592121493822</c:v>
                </c:pt>
              </c:numCache>
            </c:numRef>
          </c:xVal>
          <c:yVal>
            <c:numRef>
              <c:f>Sheet1!$B$60:$B$61</c:f>
              <c:numCache>
                <c:formatCode>General</c:formatCode>
                <c:ptCount val="2"/>
                <c:pt idx="0">
                  <c:v>0.4176763281060311</c:v>
                </c:pt>
                <c:pt idx="1">
                  <c:v>0.4176763281060311</c:v>
                </c:pt>
              </c:numCache>
            </c:numRef>
          </c:yVal>
          <c:smooth val="0"/>
          <c:extLst>
            <c:ext xmlns:c16="http://schemas.microsoft.com/office/drawing/2014/chart" uri="{C3380CC4-5D6E-409C-BE32-E72D297353CC}">
              <c16:uniqueId val="{00000003-F32D-48B7-BC20-E66FC6253BAD}"/>
            </c:ext>
          </c:extLst>
        </c:ser>
        <c:ser>
          <c:idx val="3"/>
          <c:order val="3"/>
          <c:tx>
            <c:strRef>
              <c:f>Sheet1!$B$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4:$A$65</c:f>
              <c:numCache>
                <c:formatCode>General</c:formatCode>
                <c:ptCount val="2"/>
                <c:pt idx="0">
                  <c:v>1077.7592121493822</c:v>
                </c:pt>
                <c:pt idx="1">
                  <c:v>1077.7592121493822</c:v>
                </c:pt>
              </c:numCache>
            </c:numRef>
          </c:xVal>
          <c:yVal>
            <c:numRef>
              <c:f>Sheet1!$B$64:$B$65</c:f>
              <c:numCache>
                <c:formatCode>General</c:formatCode>
                <c:ptCount val="2"/>
                <c:pt idx="0">
                  <c:v>0.417676328106031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8:$A$69</c:f>
              <c:numCache>
                <c:formatCode>General</c:formatCode>
                <c:ptCount val="2"/>
                <c:pt idx="0">
                  <c:v>0</c:v>
                </c:pt>
                <c:pt idx="1">
                  <c:v>1077.7592121493822</c:v>
                </c:pt>
              </c:numCache>
            </c:numRef>
          </c:xVal>
          <c:yVal>
            <c:numRef>
              <c:f>Sheet1!$B$68:$B$69</c:f>
              <c:numCache>
                <c:formatCode>General</c:formatCode>
                <c:ptCount val="2"/>
                <c:pt idx="0">
                  <c:v>0.4176763281060311</c:v>
                </c:pt>
                <c:pt idx="1">
                  <c:v>0.4176763281060311</c:v>
                </c:pt>
              </c:numCache>
            </c:numRef>
          </c:yVal>
          <c:smooth val="0"/>
          <c:extLst>
            <c:ext xmlns:c16="http://schemas.microsoft.com/office/drawing/2014/chart" uri="{C3380CC4-5D6E-409C-BE32-E72D297353CC}">
              <c16:uniqueId val="{0000000A-F32D-48B7-BC20-E66FC6253BAD}"/>
            </c:ext>
          </c:extLst>
        </c:ser>
        <c:ser>
          <c:idx val="5"/>
          <c:order val="5"/>
          <c:tx>
            <c:strRef>
              <c:f>Sheet1!$B$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2:$A$73</c:f>
              <c:numCache>
                <c:formatCode>General</c:formatCode>
                <c:ptCount val="2"/>
                <c:pt idx="0">
                  <c:v>1077.7592121493822</c:v>
                </c:pt>
                <c:pt idx="1">
                  <c:v>1077.7592121493822</c:v>
                </c:pt>
              </c:numCache>
            </c:numRef>
          </c:xVal>
          <c:yVal>
            <c:numRef>
              <c:f>Sheet1!$B$72:$B$73</c:f>
              <c:numCache>
                <c:formatCode>General</c:formatCode>
                <c:ptCount val="2"/>
                <c:pt idx="0">
                  <c:v>0.417676328106031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75</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76:$A$84</c:f>
              <c:numCache>
                <c:formatCode>General</c:formatCode>
                <c:ptCount val="9"/>
                <c:pt idx="0">
                  <c:v>1254.9882</c:v>
                </c:pt>
                <c:pt idx="1">
                  <c:v>1082.3739</c:v>
                </c:pt>
                <c:pt idx="2">
                  <c:v>1035.2058</c:v>
                </c:pt>
                <c:pt idx="3">
                  <c:v>1018.5574</c:v>
                </c:pt>
                <c:pt idx="4">
                  <c:v>1017.831</c:v>
                </c:pt>
                <c:pt idx="5">
                  <c:v>1221.0</c:v>
                </c:pt>
                <c:pt idx="6">
                  <c:v>1077.7592121493822</c:v>
                </c:pt>
                <c:pt idx="7">
                  <c:v>1077.7592121493822</c:v>
                </c:pt>
                <c:pt idx="8">
                  <c:v>0</c:v>
                </c:pt>
              </c:numCache>
            </c:numRef>
          </c:xVal>
          <c:yVal>
            <c:numRef>
              <c:f>Sheet1!$B$76:$B$84</c:f>
              <c:numCache>
                <c:formatCode>General</c:formatCode>
                <c:ptCount val="9"/>
                <c:pt idx="0">
                  <c:v>0.07833218499254535</c:v>
                </c:pt>
                <c:pt idx="1">
                  <c:v>0.408840486332088</c:v>
                </c:pt>
                <c:pt idx="2">
                  <c:v>0.4991542587623774</c:v>
                </c:pt>
                <c:pt idx="3">
                  <c:v>0.5310313072109776</c:v>
                </c:pt>
                <c:pt idx="4">
                  <c:v>0.5324221608661674</c:v>
                </c:pt>
                <c:pt idx="5">
                  <c:v>0.14341012029447953</c:v>
                </c:pt>
                <c:pt idx="6">
                  <c:v>0.41767632810603095</c:v>
                </c:pt>
                <c:pt idx="7">
                  <c:v>0.41767632810603095</c:v>
                </c:pt>
                <c:pt idx="8">
                  <c:v>2.4812850005076568</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0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945205479452054"/>
          <c:min val="0.00756756756756756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9</c:f>
              <c:numCache>
                <c:formatCode>General</c:formatCode>
                <c:ptCount val="58"/>
                <c:pt idx="0">
                  <c:v>0.5996989365662583</c:v>
                </c:pt>
                <c:pt idx="1">
                  <c:v>0.5739445921587571</c:v>
                </c:pt>
                <c:pt idx="2">
                  <c:v>1.3585501423195427</c:v>
                </c:pt>
                <c:pt idx="3">
                  <c:v>1.8840716302429925</c:v>
                </c:pt>
                <c:pt idx="4">
                  <c:v>1.1597627222713167</c:v>
                </c:pt>
                <c:pt idx="5">
                  <c:v>1.4415864117727595</c:v>
                </c:pt>
                <c:pt idx="6">
                  <c:v>1.7464823970169994</c:v>
                </c:pt>
                <c:pt idx="7">
                  <c:v>0.830317236163304</c:v>
                </c:pt>
                <c:pt idx="8">
                  <c:v>0.4819435148159293</c:v>
                </c:pt>
                <c:pt idx="9">
                  <c:v>0.8744278501850733</c:v>
                </c:pt>
                <c:pt idx="10">
                  <c:v>0.8228087466530097</c:v>
                </c:pt>
                <c:pt idx="11">
                  <c:v>1.3422914923257967</c:v>
                </c:pt>
                <c:pt idx="12">
                  <c:v>0.7643257799292716</c:v>
                </c:pt>
                <c:pt idx="13">
                  <c:v>1.4409880175768017</c:v>
                </c:pt>
                <c:pt idx="14">
                  <c:v>1.3202306252514446</c:v>
                </c:pt>
                <c:pt idx="15">
                  <c:v>0.0808889847245677</c:v>
                </c:pt>
                <c:pt idx="16">
                  <c:v>1.596182459804469</c:v>
                </c:pt>
                <c:pt idx="17">
                  <c:v>2.986594869036099</c:v>
                </c:pt>
                <c:pt idx="18">
                  <c:v>1.0740395365276796</c:v>
                </c:pt>
                <c:pt idx="19">
                  <c:v>1.0917815042392058</c:v>
                </c:pt>
                <c:pt idx="20">
                  <c:v>1.2369006765542978</c:v>
                </c:pt>
                <c:pt idx="21">
                  <c:v>1.686186073379357</c:v>
                </c:pt>
                <c:pt idx="22">
                  <c:v>0.6635126319168904</c:v>
                </c:pt>
                <c:pt idx="23">
                  <c:v>0.7415910088348702</c:v>
                </c:pt>
                <c:pt idx="24">
                  <c:v>0.7154175462317195</c:v>
                </c:pt>
                <c:pt idx="25">
                  <c:v>1.873724514642428</c:v>
                </c:pt>
                <c:pt idx="26">
                  <c:v>0.8581907377793345</c:v>
                </c:pt>
                <c:pt idx="27">
                  <c:v>0.8458970675103747</c:v>
                </c:pt>
                <c:pt idx="28">
                  <c:v>0.8334199074234397</c:v>
                </c:pt>
                <c:pt idx="29">
                  <c:v>0.8475699931560033</c:v>
                </c:pt>
                <c:pt idx="30">
                  <c:v>0.7484852781348105</c:v>
                </c:pt>
                <c:pt idx="31">
                  <c:v>1.0759600181514506</c:v>
                </c:pt>
                <c:pt idx="32">
                  <c:v>6.462837933866616</c:v>
                </c:pt>
                <c:pt idx="33">
                  <c:v>0.7729665116975757</c:v>
                </c:pt>
                <c:pt idx="34">
                  <c:v>5.195303280623083</c:v>
                </c:pt>
                <c:pt idx="35">
                  <c:v>4.6359193565956796</c:v>
                </c:pt>
                <c:pt idx="36">
                  <c:v>1.054110170520522</c:v>
                </c:pt>
                <c:pt idx="37">
                  <c:v>1.2250662226038684</c:v>
                </c:pt>
                <c:pt idx="38">
                  <c:v>0.8440132377669166</c:v>
                </c:pt>
                <c:pt idx="39">
                  <c:v>0.8738118631043676</c:v>
                </c:pt>
                <c:pt idx="40">
                  <c:v>0.7512912433151238</c:v>
                </c:pt>
                <c:pt idx="41">
                  <c:v>0.852508408664733</c:v>
                </c:pt>
                <c:pt idx="42">
                  <c:v>0.9082747269190484</c:v>
                </c:pt>
                <c:pt idx="43">
                  <c:v>1.0147413607514855</c:v>
                </c:pt>
                <c:pt idx="44">
                  <c:v>1.7503519022796235</c:v>
                </c:pt>
                <c:pt idx="45">
                  <c:v>1.368985973145866</c:v>
                </c:pt>
                <c:pt idx="46">
                  <c:v>0.8917046893856797</c:v>
                </c:pt>
                <c:pt idx="47">
                  <c:v>0.7866578748754808</c:v>
                </c:pt>
                <c:pt idx="48">
                  <c:v>0.8087006535032485</c:v>
                </c:pt>
                <c:pt idx="49">
                  <c:v>0.808596827523744</c:v>
                </c:pt>
                <c:pt idx="50">
                  <c:v>0.8704844839026817</c:v>
                </c:pt>
                <c:pt idx="51">
                  <c:v>1.2688016754132763</c:v>
                </c:pt>
                <c:pt idx="52">
                  <c:v>0.8458190492878915</c:v>
                </c:pt>
                <c:pt idx="53">
                  <c:v>0.4390095844579661</c:v>
                </c:pt>
                <c:pt idx="54">
                  <c:v>0.746346831564268</c:v>
                </c:pt>
                <c:pt idx="55">
                  <c:v>0.5873519882722822</c:v>
                </c:pt>
                <c:pt idx="56">
                  <c:v>1.0220383602198242</c:v>
                </c:pt>
                <c:pt idx="57">
                  <c:v>1.2070172788601303</c:v>
                </c:pt>
              </c:numCache>
            </c:numRef>
          </c:xVal>
          <c:yVal>
            <c:numRef>
              <c:f>Sheet1!$B$2:$B$59</c:f>
              <c:numCache>
                <c:formatCode>General</c:formatCode>
                <c:ptCount val="58"/>
                <c:pt idx="0">
                  <c:v>0.04395604395604396</c:v>
                </c:pt>
                <c:pt idx="1">
                  <c:v>0.0440251572327044</c:v>
                </c:pt>
                <c:pt idx="2">
                  <c:v>0.8144329896907216</c:v>
                </c:pt>
                <c:pt idx="3">
                  <c:v>0.09523809523809523</c:v>
                </c:pt>
                <c:pt idx="4">
                  <c:v>0.24193548387096775</c:v>
                </c:pt>
                <c:pt idx="5">
                  <c:v>0.23728813559322035</c:v>
                </c:pt>
                <c:pt idx="6">
                  <c:v>0.40540540540540543</c:v>
                </c:pt>
                <c:pt idx="7">
                  <c:v>0.08746355685131195</c:v>
                </c:pt>
                <c:pt idx="8">
                  <c:v>0.5855513307984791</c:v>
                </c:pt>
                <c:pt idx="9">
                  <c:v>0.2857142857142857</c:v>
                </c:pt>
                <c:pt idx="10">
                  <c:v>0.45</c:v>
                </c:pt>
                <c:pt idx="11">
                  <c:v>0.45217391304347826</c:v>
                </c:pt>
                <c:pt idx="12">
                  <c:v>0.11023622047244094</c:v>
                </c:pt>
                <c:pt idx="13">
                  <c:v>0.04</c:v>
                </c:pt>
                <c:pt idx="14">
                  <c:v>0.1320754716981132</c:v>
                </c:pt>
                <c:pt idx="15">
                  <c:v>0.35555555555555557</c:v>
                </c:pt>
                <c:pt idx="16">
                  <c:v>0.12280701754385964</c:v>
                </c:pt>
                <c:pt idx="17">
                  <c:v>0.019417475728155338</c:v>
                </c:pt>
                <c:pt idx="18">
                  <c:v>0.24022346368715083</c:v>
                </c:pt>
                <c:pt idx="19">
                  <c:v>0.08762886597938144</c:v>
                </c:pt>
                <c:pt idx="20">
                  <c:v>0.1485884101040119</c:v>
                </c:pt>
                <c:pt idx="21">
                  <c:v>0.04979253112033195</c:v>
                </c:pt>
                <c:pt idx="22">
                  <c:v>0.24193548387096775</c:v>
                </c:pt>
                <c:pt idx="23">
                  <c:v>0.10091743119266056</c:v>
                </c:pt>
                <c:pt idx="24">
                  <c:v>0.6190476190476191</c:v>
                </c:pt>
                <c:pt idx="25">
                  <c:v>0.35251798561151076</c:v>
                </c:pt>
                <c:pt idx="26">
                  <c:v>0.20967741935483872</c:v>
                </c:pt>
                <c:pt idx="27">
                  <c:v>0.035</c:v>
                </c:pt>
                <c:pt idx="28">
                  <c:v>0.05789473684210526</c:v>
                </c:pt>
                <c:pt idx="29">
                  <c:v>0.3341121495327103</c:v>
                </c:pt>
                <c:pt idx="30">
                  <c:v>0.75</c:v>
                </c:pt>
                <c:pt idx="31">
                  <c:v>0.12030075187969924</c:v>
                </c:pt>
                <c:pt idx="32">
                  <c:v>0.0070921985815602835</c:v>
                </c:pt>
                <c:pt idx="33">
                  <c:v>0.24050632911392406</c:v>
                </c:pt>
                <c:pt idx="34">
                  <c:v>0.007692307692307693</c:v>
                </c:pt>
                <c:pt idx="35">
                  <c:v>0.006060606060606061</c:v>
                </c:pt>
                <c:pt idx="36">
                  <c:v>0.031088082901554404</c:v>
                </c:pt>
                <c:pt idx="37">
                  <c:v>0.391304347826087</c:v>
                </c:pt>
                <c:pt idx="38">
                  <c:v>0.22695035460992907</c:v>
                </c:pt>
                <c:pt idx="39">
                  <c:v>0.24468085106382978</c:v>
                </c:pt>
                <c:pt idx="40">
                  <c:v>0.15625</c:v>
                </c:pt>
                <c:pt idx="41">
                  <c:v>0.31521739130434784</c:v>
                </c:pt>
                <c:pt idx="42">
                  <c:v>0.5454545454545454</c:v>
                </c:pt>
                <c:pt idx="43">
                  <c:v>0.25757575757575757</c:v>
                </c:pt>
                <c:pt idx="44">
                  <c:v>0.041666666666666664</c:v>
                </c:pt>
                <c:pt idx="45">
                  <c:v>0.25882352941176473</c:v>
                </c:pt>
                <c:pt idx="46">
                  <c:v>0.5707762557077626</c:v>
                </c:pt>
                <c:pt idx="47">
                  <c:v>0.061224489795918366</c:v>
                </c:pt>
                <c:pt idx="48">
                  <c:v>0.07936507936507936</c:v>
                </c:pt>
                <c:pt idx="49">
                  <c:v>0.23319327731092437</c:v>
                </c:pt>
                <c:pt idx="50">
                  <c:v>0.05825242718446602</c:v>
                </c:pt>
                <c:pt idx="51">
                  <c:v>0.16352201257861634</c:v>
                </c:pt>
                <c:pt idx="52">
                  <c:v>0.14516129032258066</c:v>
                </c:pt>
                <c:pt idx="53">
                  <c:v>0.3475783475783476</c:v>
                </c:pt>
                <c:pt idx="54">
                  <c:v>0.28169014084507044</c:v>
                </c:pt>
                <c:pt idx="55">
                  <c:v>0.36507936507936506</c:v>
                </c:pt>
                <c:pt idx="56">
                  <c:v>0.12376237623762376</c:v>
                </c:pt>
                <c:pt idx="57">
                  <c:v>0.1487603305785124</c:v>
                </c:pt>
              </c:numCache>
            </c:numRef>
          </c:yVal>
          <c:smooth val="0"/>
          <c:extLst>
            <c:ext xmlns:c16="http://schemas.microsoft.com/office/drawing/2014/chart" uri="{C3380CC4-5D6E-409C-BE32-E72D297353CC}">
              <c16:uniqueId val="{00000000-096C-4121-9522-6AB7243CCAAE}"/>
            </c:ext>
          </c:extLst>
        </c:ser>
        <c:ser>
          <c:idx val="1"/>
          <c:order val="1"/>
          <c:tx>
            <c:strRef>
              <c:f>Sheet1!$B$6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2:$A$83</c:f>
              <c:numCache>
                <c:formatCode>General</c:formatCode>
                <c:ptCount val="22"/>
                <c:pt idx="0">
                  <c:v>0.8910932179676226</c:v>
                </c:pt>
                <c:pt idx="1">
                  <c:v>1.1250381846931512</c:v>
                </c:pt>
                <c:pt idx="2">
                  <c:v>0.6570526492380819</c:v>
                </c:pt>
                <c:pt idx="3">
                  <c:v>0.7706983889016735</c:v>
                </c:pt>
                <c:pt idx="4">
                  <c:v>1.3416638257703954</c:v>
                </c:pt>
                <c:pt idx="5">
                  <c:v>0.5771738812003455</c:v>
                </c:pt>
                <c:pt idx="6">
                  <c:v>1.868619722663578</c:v>
                </c:pt>
                <c:pt idx="7">
                  <c:v>0.8086197266433669</c:v>
                </c:pt>
                <c:pt idx="8">
                  <c:v>0.6214587565681762</c:v>
                </c:pt>
                <c:pt idx="9">
                  <c:v>1.1193763021832612</c:v>
                </c:pt>
                <c:pt idx="10">
                  <c:v>0.6316404163430098</c:v>
                </c:pt>
                <c:pt idx="11">
                  <c:v>0.5732723999548549</c:v>
                </c:pt>
                <c:pt idx="12">
                  <c:v>0.8480268429832074</c:v>
                </c:pt>
                <c:pt idx="13">
                  <c:v>0.5068451752269262</c:v>
                </c:pt>
                <c:pt idx="14">
                  <c:v>0.6999510248423091</c:v>
                </c:pt>
                <c:pt idx="15">
                  <c:v>1.0075563791554358</c:v>
                </c:pt>
                <c:pt idx="16">
                  <c:v>1.6099831417807398</c:v>
                </c:pt>
                <c:pt idx="17">
                  <c:v>0.6710878624052798</c:v>
                </c:pt>
                <c:pt idx="18">
                  <c:v>0.7917342762188267</c:v>
                </c:pt>
                <c:pt idx="19">
                  <c:v>0.6795692287496449</c:v>
                </c:pt>
                <c:pt idx="20">
                  <c:v>0.8129680265941372</c:v>
                </c:pt>
                <c:pt idx="21">
                  <c:v>1.4556276195593765</c:v>
                </c:pt>
              </c:numCache>
            </c:numRef>
          </c:xVal>
          <c:yVal>
            <c:numRef>
              <c:f>Sheet1!$B$62:$B$83</c:f>
              <c:numCache>
                <c:formatCode>General</c:formatCode>
                <c:ptCount val="22"/>
                <c:pt idx="0">
                  <c:v>0.3728813559322034</c:v>
                </c:pt>
                <c:pt idx="1">
                  <c:v>0.5</c:v>
                </c:pt>
                <c:pt idx="2">
                  <c:v>0.11926605504587157</c:v>
                </c:pt>
                <c:pt idx="3">
                  <c:v>0.49206349206349204</c:v>
                </c:pt>
                <c:pt idx="4">
                  <c:v>0.12244897959183673</c:v>
                </c:pt>
                <c:pt idx="5">
                  <c:v>0.10909090909090909</c:v>
                </c:pt>
                <c:pt idx="6">
                  <c:v>0.0967741935483871</c:v>
                </c:pt>
                <c:pt idx="7">
                  <c:v>0.14213197969543148</c:v>
                </c:pt>
                <c:pt idx="8">
                  <c:v>0.3111111111111111</c:v>
                </c:pt>
                <c:pt idx="9">
                  <c:v>0.20833333333333334</c:v>
                </c:pt>
                <c:pt idx="10">
                  <c:v>0.47513812154696133</c:v>
                </c:pt>
                <c:pt idx="11">
                  <c:v>0.2616822429906542</c:v>
                </c:pt>
                <c:pt idx="12">
                  <c:v>0.37</c:v>
                </c:pt>
                <c:pt idx="13">
                  <c:v>0.10091743119266056</c:v>
                </c:pt>
                <c:pt idx="14">
                  <c:v>0.48</c:v>
                </c:pt>
                <c:pt idx="15">
                  <c:v>0.047619047619047616</c:v>
                </c:pt>
                <c:pt idx="16">
                  <c:v>0.0684931506849315</c:v>
                </c:pt>
                <c:pt idx="17">
                  <c:v>0.20967741935483872</c:v>
                </c:pt>
                <c:pt idx="18">
                  <c:v>0.10505836575875487</c:v>
                </c:pt>
                <c:pt idx="19">
                  <c:v>0.0948905109489051</c:v>
                </c:pt>
                <c:pt idx="20">
                  <c:v>0.16216216216216217</c:v>
                </c:pt>
                <c:pt idx="21">
                  <c:v>0.8666666666666667</c:v>
                </c:pt>
              </c:numCache>
            </c:numRef>
          </c:yVal>
          <c:smooth val="0"/>
          <c:extLst>
            <c:ext xmlns:c16="http://schemas.microsoft.com/office/drawing/2014/chart" uri="{C3380CC4-5D6E-409C-BE32-E72D297353CC}">
              <c16:uniqueId val="{00000002-096C-4121-9522-6AB7243CCAAE}"/>
            </c:ext>
          </c:extLst>
        </c:ser>
        <c:ser>
          <c:idx val="2"/>
          <c:order val="2"/>
          <c:tx>
            <c:strRef>
              <c:f>Sheet1!$B$8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86:$A$87</c:f>
              <c:numCache>
                <c:formatCode>General</c:formatCode>
                <c:ptCount val="2"/>
                <c:pt idx="0">
                  <c:v>0</c:v>
                </c:pt>
                <c:pt idx="1">
                  <c:v>7.4053657773266375</c:v>
                </c:pt>
              </c:numCache>
            </c:numRef>
          </c:xVal>
          <c:yVal>
            <c:numRef>
              <c:f>Sheet1!$B$86:$B$87</c:f>
              <c:numCache>
                <c:formatCode>General</c:formatCode>
                <c:ptCount val="2"/>
                <c:pt idx="0">
                  <c:v>0.4404218721709216</c:v>
                </c:pt>
                <c:pt idx="1">
                  <c:v>0.4404218721709216</c:v>
                </c:pt>
              </c:numCache>
            </c:numRef>
          </c:yVal>
          <c:smooth val="0"/>
          <c:extLst>
            <c:ext xmlns:c16="http://schemas.microsoft.com/office/drawing/2014/chart" uri="{C3380CC4-5D6E-409C-BE32-E72D297353CC}">
              <c16:uniqueId val="{00000005-096C-4121-9522-6AB7243CCAAE}"/>
            </c:ext>
          </c:extLst>
        </c:ser>
        <c:ser>
          <c:idx val="3"/>
          <c:order val="3"/>
          <c:tx>
            <c:strRef>
              <c:f>Sheet1!$B$8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90:$A$91</c:f>
              <c:numCache>
                <c:formatCode>General</c:formatCode>
                <c:ptCount val="2"/>
                <c:pt idx="0">
                  <c:v>7.4053657773266375</c:v>
                </c:pt>
                <c:pt idx="1">
                  <c:v>7.4053657773266375</c:v>
                </c:pt>
              </c:numCache>
            </c:numRef>
          </c:xVal>
          <c:yVal>
            <c:numRef>
              <c:f>Sheet1!$B$90:$B$91</c:f>
              <c:numCache>
                <c:formatCode>General</c:formatCode>
                <c:ptCount val="2"/>
                <c:pt idx="0">
                  <c:v>0.440421872170921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9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94:$A$95</c:f>
              <c:numCache>
                <c:formatCode>General</c:formatCode>
                <c:ptCount val="2"/>
                <c:pt idx="0">
                  <c:v>0</c:v>
                </c:pt>
                <c:pt idx="1">
                  <c:v>4.873271467908319</c:v>
                </c:pt>
              </c:numCache>
            </c:numRef>
          </c:xVal>
          <c:yVal>
            <c:numRef>
              <c:f>Sheet1!$B$94:$B$95</c:f>
              <c:numCache>
                <c:formatCode>General</c:formatCode>
                <c:ptCount val="2"/>
                <c:pt idx="0">
                  <c:v>0.37</c:v>
                </c:pt>
                <c:pt idx="1">
                  <c:v>0.37</c:v>
                </c:pt>
              </c:numCache>
            </c:numRef>
          </c:yVal>
          <c:smooth val="0"/>
          <c:extLst>
            <c:ext xmlns:c16="http://schemas.microsoft.com/office/drawing/2014/chart" uri="{C3380CC4-5D6E-409C-BE32-E72D297353CC}">
              <c16:uniqueId val="{0000000D-096C-4121-9522-6AB7243CCAAE}"/>
            </c:ext>
          </c:extLst>
        </c:ser>
        <c:ser>
          <c:idx val="5"/>
          <c:order val="5"/>
          <c:tx>
            <c:strRef>
              <c:f>Sheet1!$B$9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98:$A$99</c:f>
              <c:numCache>
                <c:formatCode>General</c:formatCode>
                <c:ptCount val="2"/>
                <c:pt idx="0">
                  <c:v>4.873271467908319</c:v>
                </c:pt>
                <c:pt idx="1">
                  <c:v>4.873271467908319</c:v>
                </c:pt>
              </c:numCache>
            </c:numRef>
          </c:xVal>
          <c:yVal>
            <c:numRef>
              <c:f>Sheet1!$B$98:$B$99</c:f>
              <c:numCache>
                <c:formatCode>General</c:formatCode>
                <c:ptCount val="2"/>
                <c:pt idx="0">
                  <c:v>0.3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0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02:$A$103</c:f>
              <c:numCache>
                <c:formatCode>General</c:formatCode>
                <c:ptCount val="2"/>
                <c:pt idx="0">
                  <c:v>0</c:v>
                </c:pt>
                <c:pt idx="1">
                  <c:v>-0.4453139331879942</c:v>
                </c:pt>
              </c:numCache>
            </c:numRef>
          </c:xVal>
          <c:yVal>
            <c:numRef>
              <c:f>Sheet1!$B$102:$B$103</c:f>
              <c:numCache>
                <c:formatCode>General</c:formatCode>
                <c:ptCount val="2"/>
                <c:pt idx="0">
                  <c:v>0.22208104617075808</c:v>
                </c:pt>
                <c:pt idx="1">
                  <c:v>0.22208104617075808</c:v>
                </c:pt>
              </c:numCache>
            </c:numRef>
          </c:yVal>
          <c:smooth val="0"/>
          <c:extLst>
            <c:ext xmlns:c16="http://schemas.microsoft.com/office/drawing/2014/chart" uri="{C3380CC4-5D6E-409C-BE32-E72D297353CC}">
              <c16:uniqueId val="{00000015-096C-4121-9522-6AB7243CCAAE}"/>
            </c:ext>
          </c:extLst>
        </c:ser>
        <c:ser>
          <c:idx val="7"/>
          <c:order val="7"/>
          <c:tx>
            <c:strRef>
              <c:f>Sheet1!$B$10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4453139331879942</c:v>
                </c:pt>
                <c:pt idx="1">
                  <c:v>-0.4453139331879942</c:v>
                </c:pt>
              </c:numCache>
            </c:numRef>
          </c:xVal>
          <c:yVal>
            <c:numRef>
              <c:f>Sheet1!$B$106:$B$107</c:f>
              <c:numCache>
                <c:formatCode>General</c:formatCode>
                <c:ptCount val="2"/>
                <c:pt idx="0">
                  <c:v>0.2220810461707580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0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10:$A$134</c:f>
              <c:numCache>
                <c:formatCode>General</c:formatCode>
                <c:ptCount val="25"/>
                <c:pt idx="0">
                  <c:v>0.8910932179676226</c:v>
                </c:pt>
                <c:pt idx="1">
                  <c:v>1.1250381846931512</c:v>
                </c:pt>
                <c:pt idx="2">
                  <c:v>0.6570526492380819</c:v>
                </c:pt>
                <c:pt idx="3">
                  <c:v>0.7706983889016735</c:v>
                </c:pt>
                <c:pt idx="4">
                  <c:v>1.3416638257703954</c:v>
                </c:pt>
                <c:pt idx="5">
                  <c:v>0.5771738812003455</c:v>
                </c:pt>
                <c:pt idx="6">
                  <c:v>1.868619722663578</c:v>
                </c:pt>
                <c:pt idx="7">
                  <c:v>0.8086197266433669</c:v>
                </c:pt>
                <c:pt idx="8">
                  <c:v>0.6214587565681762</c:v>
                </c:pt>
                <c:pt idx="9">
                  <c:v>1.1193763021832612</c:v>
                </c:pt>
                <c:pt idx="10">
                  <c:v>0.6316404163430098</c:v>
                </c:pt>
                <c:pt idx="11">
                  <c:v>0.5732723999548549</c:v>
                </c:pt>
                <c:pt idx="12">
                  <c:v>0.8480268429832074</c:v>
                </c:pt>
                <c:pt idx="13">
                  <c:v>0.5068451752269262</c:v>
                </c:pt>
                <c:pt idx="14">
                  <c:v>0.6999510248423091</c:v>
                </c:pt>
                <c:pt idx="15">
                  <c:v>1.0075563791554358</c:v>
                </c:pt>
                <c:pt idx="16">
                  <c:v>1.6099831417807398</c:v>
                </c:pt>
                <c:pt idx="17">
                  <c:v>0.6710878624052798</c:v>
                </c:pt>
                <c:pt idx="18">
                  <c:v>0.7917342762188267</c:v>
                </c:pt>
                <c:pt idx="19">
                  <c:v>0.6795692287496449</c:v>
                </c:pt>
                <c:pt idx="20">
                  <c:v>0.8129680265941372</c:v>
                </c:pt>
                <c:pt idx="21">
                  <c:v>1.4556276195593765</c:v>
                </c:pt>
                <c:pt idx="22">
                  <c:v>4.873271467908319</c:v>
                </c:pt>
                <c:pt idx="23">
                  <c:v>7.4053657773266375</c:v>
                </c:pt>
                <c:pt idx="24">
                  <c:v>-0.4453139331879942</c:v>
                </c:pt>
              </c:numCache>
            </c:numRef>
          </c:xVal>
          <c:yVal>
            <c:numRef>
              <c:f>Sheet1!$B$110:$B$134</c:f>
              <c:numCache>
                <c:formatCode>General</c:formatCode>
                <c:ptCount val="25"/>
                <c:pt idx="0">
                  <c:v>0.25924881406033806</c:v>
                </c:pt>
                <c:pt idx="1">
                  <c:v>0.26575522358880477</c:v>
                </c:pt>
                <c:pt idx="2">
                  <c:v>0.2527397456766775</c:v>
                </c:pt>
                <c:pt idx="3">
                  <c:v>0.25590042801050333</c:v>
                </c:pt>
                <c:pt idx="4">
                  <c:v>0.27177995305805985</c:v>
                </c:pt>
                <c:pt idx="5">
                  <c:v>0.25051818055921693</c:v>
                </c:pt>
                <c:pt idx="6">
                  <c:v>0.2864354975504962</c:v>
                </c:pt>
                <c:pt idx="7">
                  <c:v>0.2569550852517691</c:v>
                </c:pt>
                <c:pt idx="8">
                  <c:v>0.2517498186623708</c:v>
                </c:pt>
                <c:pt idx="9">
                  <c:v>0.26559775695540366</c:v>
                </c:pt>
                <c:pt idx="10">
                  <c:v>0.25203298802951646</c:v>
                </c:pt>
                <c:pt idx="11">
                  <c:v>0.25040967369494843</c:v>
                </c:pt>
                <c:pt idx="12">
                  <c:v>0.2580510645362636</c:v>
                </c:pt>
                <c:pt idx="13">
                  <c:v>0.24856221899665407</c:v>
                </c:pt>
                <c:pt idx="14">
                  <c:v>0.25393282285074026</c:v>
                </c:pt>
                <c:pt idx="15">
                  <c:v>0.26248785370403666</c:v>
                </c:pt>
                <c:pt idx="16">
                  <c:v>0.2792423720140941</c:v>
                </c:pt>
                <c:pt idx="17">
                  <c:v>0.2531300889525483</c:v>
                </c:pt>
                <c:pt idx="18">
                  <c:v>0.25648547200437843</c:v>
                </c:pt>
                <c:pt idx="19">
                  <c:v>0.2533659702521966</c:v>
                </c:pt>
                <c:pt idx="20">
                  <c:v>0.2570760189082111</c:v>
                </c:pt>
                <c:pt idx="21">
                  <c:v>0.2749494810209281</c:v>
                </c:pt>
                <c:pt idx="22">
                  <c:v>0.37</c:v>
                </c:pt>
                <c:pt idx="23">
                  <c:v>0.4404218721709216</c:v>
                </c:pt>
                <c:pt idx="24">
                  <c:v>0.2220810461707580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4"/>
          <c:min val="0.004848484848484848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6240477954827406</c:v>
                </c:pt>
                <c:pt idx="1">
                  <c:v>0.17152170712829543</c:v>
                </c:pt>
                <c:pt idx="2">
                  <c:v>0.17120700327600755</c:v>
                </c:pt>
                <c:pt idx="3">
                  <c:v>0.17413633380971422</c:v>
                </c:pt>
                <c:pt idx="4">
                  <c:v>0.16252380166829314</c:v>
                </c:pt>
                <c:pt idx="5">
                  <c:v>0.15750249825805132</c:v>
                </c:pt>
                <c:pt idx="6">
                  <c:v>0.16246483193266326</c:v>
                </c:pt>
                <c:pt idx="7">
                  <c:v>0.15639198024814366</c:v>
                </c:pt>
                <c:pt idx="8">
                  <c:v>0.15978555600027036</c:v>
                </c:pt>
                <c:pt idx="9">
                  <c:v>0.15517494087229886</c:v>
                </c:pt>
                <c:pt idx="10">
                  <c:v>0.15257136082236863</c:v>
                </c:pt>
                <c:pt idx="11">
                  <c:v>0.15529906231387275</c:v>
                </c:pt>
                <c:pt idx="12">
                  <c:v>0.16391488109761193</c:v>
                </c:pt>
                <c:pt idx="13">
                  <c:v>0.15895289634084667</c:v>
                </c:pt>
                <c:pt idx="14">
                  <c:v>0.18019240159866443</c:v>
                </c:pt>
                <c:pt idx="15">
                  <c:v>0.17648758648659957</c:v>
                </c:pt>
                <c:pt idx="16">
                  <c:v>0.16777820742199492</c:v>
                </c:pt>
                <c:pt idx="17">
                  <c:v>0.16685471016454512</c:v>
                </c:pt>
                <c:pt idx="18">
                  <c:v>0.1580631042407052</c:v>
                </c:pt>
                <c:pt idx="19">
                  <c:v>0.15621430452685542</c:v>
                </c:pt>
                <c:pt idx="20">
                  <c:v>0.1667696787688273</c:v>
                </c:pt>
                <c:pt idx="21">
                  <c:v>0.15948282099481795</c:v>
                </c:pt>
                <c:pt idx="22">
                  <c:v>0.1532821480773035</c:v>
                </c:pt>
                <c:pt idx="23">
                  <c:v>0.15511192048271993</c:v>
                </c:pt>
                <c:pt idx="24">
                  <c:v>0.15323810400819704</c:v>
                </c:pt>
                <c:pt idx="25">
                  <c:v>0.14513081361845995</c:v>
                </c:pt>
                <c:pt idx="26">
                  <c:v>0.1531690667563777</c:v>
                </c:pt>
                <c:pt idx="27">
                  <c:v>0.14799487895948957</c:v>
                </c:pt>
                <c:pt idx="28">
                  <c:v>0.1464326153728176</c:v>
                </c:pt>
                <c:pt idx="29">
                  <c:v>0.15311784045103724</c:v>
                </c:pt>
                <c:pt idx="30">
                  <c:v>0.14130025059791967</c:v>
                </c:pt>
                <c:pt idx="31">
                  <c:v>0.13777653936096151</c:v>
                </c:pt>
                <c:pt idx="32">
                  <c:v>0.13800348896294581</c:v>
                </c:pt>
                <c:pt idx="33">
                  <c:v>0.14202431961943038</c:v>
                </c:pt>
                <c:pt idx="34">
                  <c:v>0.1450894591780814</c:v>
                </c:pt>
                <c:pt idx="35">
                  <c:v>0.15616439008575225</c:v>
                </c:pt>
                <c:pt idx="36">
                  <c:v>0.14632255501909489</c:v>
                </c:pt>
                <c:pt idx="37">
                  <c:v>0.13573786057742027</c:v>
                </c:pt>
                <c:pt idx="38">
                  <c:v>0.1379889396560814</c:v>
                </c:pt>
                <c:pt idx="39">
                  <c:v>0.14412835608966357</c:v>
                </c:pt>
                <c:pt idx="40">
                  <c:v>0.1562745652470845</c:v>
                </c:pt>
                <c:pt idx="41">
                  <c:v>0.14985590335133708</c:v>
                </c:pt>
                <c:pt idx="42">
                  <c:v>0.15467696013567503</c:v>
                </c:pt>
                <c:pt idx="43">
                  <c:v>0.164781705059848</c:v>
                </c:pt>
                <c:pt idx="44">
                  <c:v>0.1804513840493281</c:v>
                </c:pt>
                <c:pt idx="45">
                  <c:v>0.1891592819995231</c:v>
                </c:pt>
                <c:pt idx="46">
                  <c:v>0.18096434850776616</c:v>
                </c:pt>
                <c:pt idx="47">
                  <c:v>0.17995475614427403</c:v>
                </c:pt>
                <c:pt idx="48">
                  <c:v>0.19315563830638094</c:v>
                </c:pt>
                <c:pt idx="49">
                  <c:v>0.1964736130825695</c:v>
                </c:pt>
                <c:pt idx="50">
                  <c:v>0.1761353848197656</c:v>
                </c:pt>
                <c:pt idx="51">
                  <c:v>0.16363516702246303</c:v>
                </c:pt>
                <c:pt idx="52">
                  <c:v>0.17334349606195723</c:v>
                </c:pt>
                <c:pt idx="53">
                  <c:v>0.1906556207436337</c:v>
                </c:pt>
                <c:pt idx="54">
                  <c:v>0.18226166469951804</c:v>
                </c:pt>
                <c:pt idx="55">
                  <c:v>0.18323447508837282</c:v>
                </c:pt>
                <c:pt idx="56">
                  <c:v>0.1830149141482816</c:v>
                </c:pt>
                <c:pt idx="57">
                  <c:v>0.18383332347248607</c:v>
                </c:pt>
                <c:pt idx="58">
                  <c:v>0.1964044910090703</c:v>
                </c:pt>
                <c:pt idx="59">
                  <c:v>0.22410623621488504</c:v>
                </c:pt>
                <c:pt idx="60">
                  <c:v>0.22679322211553093</c:v>
                </c:pt>
                <c:pt idx="61">
                  <c:v>0.2017364642272239</c:v>
                </c:pt>
                <c:pt idx="62">
                  <c:v>0.18245477260641915</c:v>
                </c:pt>
                <c:pt idx="63">
                  <c:v>0.1883175945342368</c:v>
                </c:pt>
                <c:pt idx="64">
                  <c:v>0.19637983364033515</c:v>
                </c:pt>
                <c:pt idx="65">
                  <c:v>0.19278728948252838</c:v>
                </c:pt>
                <c:pt idx="66">
                  <c:v>0.20894866177978094</c:v>
                </c:pt>
                <c:pt idx="67">
                  <c:v>0.20898608119565845</c:v>
                </c:pt>
                <c:pt idx="68">
                  <c:v>0.1961038473554327</c:v>
                </c:pt>
                <c:pt idx="69">
                  <c:v>0.19195800737542812</c:v>
                </c:pt>
                <c:pt idx="70">
                  <c:v>0.18835143029789808</c:v>
                </c:pt>
                <c:pt idx="71">
                  <c:v>0.18563611814818196</c:v>
                </c:pt>
                <c:pt idx="72">
                  <c:v>0.19610495873784117</c:v>
                </c:pt>
                <c:pt idx="73">
                  <c:v>0.19220560412162077</c:v>
                </c:pt>
                <c:pt idx="74">
                  <c:v>0.19344046284175834</c:v>
                </c:pt>
                <c:pt idx="75">
                  <c:v>0.18461822790181495</c:v>
                </c:pt>
                <c:pt idx="76">
                  <c:v>0.17732635864715282</c:v>
                </c:pt>
                <c:pt idx="77">
                  <c:v>0.17579999869793972</c:v>
                </c:pt>
                <c:pt idx="78">
                  <c:v>0.17095647459594168</c:v>
                </c:pt>
                <c:pt idx="79">
                  <c:v>0.16415065044750887</c:v>
                </c:pt>
                <c:pt idx="80">
                  <c:v>0.1639022669528552</c:v>
                </c:pt>
                <c:pt idx="81">
                  <c:v>0.17728650670753934</c:v>
                </c:pt>
                <c:pt idx="82">
                  <c:v>0.16773559520960066</c:v>
                </c:pt>
                <c:pt idx="83">
                  <c:v>0.1594987026966244</c:v>
                </c:pt>
                <c:pt idx="84">
                  <c:v>0.15923105003828028</c:v>
                </c:pt>
                <c:pt idx="85">
                  <c:v>0.1618642954994114</c:v>
                </c:pt>
                <c:pt idx="86">
                  <c:v>0.1703290384841131</c:v>
                </c:pt>
                <c:pt idx="87">
                  <c:v>0.18850138050357268</c:v>
                </c:pt>
                <c:pt idx="88">
                  <c:v>0.1691219204582464</c:v>
                </c:pt>
                <c:pt idx="89">
                  <c:v>0.1653270892407267</c:v>
                </c:pt>
                <c:pt idx="90">
                  <c:v>0.16518234049893102</c:v>
                </c:pt>
                <c:pt idx="91">
                  <c:v>0.17070481452152717</c:v>
                </c:pt>
                <c:pt idx="92">
                  <c:v>0.17737922625807884</c:v>
                </c:pt>
                <c:pt idx="93">
                  <c:v>0.17749395628140938</c:v>
                </c:pt>
                <c:pt idx="94">
                  <c:v>0.17182318862106924</c:v>
                </c:pt>
                <c:pt idx="95">
                  <c:v>0.18716228354941702</c:v>
                </c:pt>
                <c:pt idx="96">
                  <c:v>0.18553333060065835</c:v>
                </c:pt>
                <c:pt idx="97">
                  <c:v>0.19989434967314676</c:v>
                </c:pt>
                <c:pt idx="98">
                  <c:v>0.20752761269061112</c:v>
                </c:pt>
                <c:pt idx="99">
                  <c:v>0.21368840083268528</c:v>
                </c:pt>
                <c:pt idx="100">
                  <c:v>0.21946081471296966</c:v>
                </c:pt>
                <c:pt idx="101">
                  <c:v>0.22259626543907177</c:v>
                </c:pt>
                <c:pt idx="102">
                  <c:v>0.22213945498316404</c:v>
                </c:pt>
                <c:pt idx="103">
                  <c:v>0.20451701067455177</c:v>
                </c:pt>
                <c:pt idx="104">
                  <c:v>0.20248435160546097</c:v>
                </c:pt>
              </c:numCache>
            </c:numRef>
          </c:xVal>
          <c:yVal>
            <c:numRef>
              <c:f>Sheet1!$B$2:$B$106</c:f>
              <c:numCache>
                <c:formatCode>General</c:formatCode>
                <c:ptCount val="105"/>
                <c:pt idx="0">
                  <c:v>0.19014989293361884</c:v>
                </c:pt>
                <c:pt idx="1">
                  <c:v>0.1874182090110301</c:v>
                </c:pt>
                <c:pt idx="2">
                  <c:v>0.18448132010753684</c:v>
                </c:pt>
                <c:pt idx="3">
                  <c:v>0.19202967471942173</c:v>
                </c:pt>
                <c:pt idx="4">
                  <c:v>0.21944354227563062</c:v>
                </c:pt>
                <c:pt idx="5">
                  <c:v>0.20732787248173568</c:v>
                </c:pt>
                <c:pt idx="6">
                  <c:v>0.2320424403183024</c:v>
                </c:pt>
                <c:pt idx="7">
                  <c:v>0.22241929762327067</c:v>
                </c:pt>
                <c:pt idx="8">
                  <c:v>0.23044594910109736</c:v>
                </c:pt>
                <c:pt idx="9">
                  <c:v>0.2308305912852727</c:v>
                </c:pt>
                <c:pt idx="10">
                  <c:v>0.22501406337896118</c:v>
                </c:pt>
                <c:pt idx="11">
                  <c:v>0.22715702624418502</c:v>
                </c:pt>
                <c:pt idx="12">
                  <c:v>0.21044108574953732</c:v>
                </c:pt>
                <c:pt idx="13">
                  <c:v>0.20045123221103783</c:v>
                </c:pt>
                <c:pt idx="14">
                  <c:v>0.17698123774852983</c:v>
                </c:pt>
                <c:pt idx="15">
                  <c:v>0.16688297642223665</c:v>
                </c:pt>
                <c:pt idx="16">
                  <c:v>0.16820361490225008</c:v>
                </c:pt>
                <c:pt idx="17">
                  <c:v>0.16568854920158319</c:v>
                </c:pt>
                <c:pt idx="18">
                  <c:v>0.15335360973267168</c:v>
                </c:pt>
                <c:pt idx="19">
                  <c:v>0.1468956879584899</c:v>
                </c:pt>
                <c:pt idx="20">
                  <c:v>0.18550137462017074</c:v>
                </c:pt>
                <c:pt idx="21">
                  <c:v>0.1703767123287671</c:v>
                </c:pt>
                <c:pt idx="22">
                  <c:v>0.14937759336099585</c:v>
                </c:pt>
                <c:pt idx="23">
                  <c:v>0.1632692681032809</c:v>
                </c:pt>
                <c:pt idx="24">
                  <c:v>0.16693914623069936</c:v>
                </c:pt>
                <c:pt idx="25">
                  <c:v>0.1607843137254902</c:v>
                </c:pt>
                <c:pt idx="26">
                  <c:v>0.168135593220339</c:v>
                </c:pt>
                <c:pt idx="27">
                  <c:v>0.18114667604642984</c:v>
                </c:pt>
                <c:pt idx="28">
                  <c:v>0.18936994016191483</c:v>
                </c:pt>
                <c:pt idx="29">
                  <c:v>0.18606127956818544</c:v>
                </c:pt>
                <c:pt idx="30">
                  <c:v>0.1950787401574803</c:v>
                </c:pt>
                <c:pt idx="31">
                  <c:v>0.17657657657657658</c:v>
                </c:pt>
                <c:pt idx="32">
                  <c:v>0.18993506493506493</c:v>
                </c:pt>
                <c:pt idx="33">
                  <c:v>0.1818020259463302</c:v>
                </c:pt>
                <c:pt idx="34">
                  <c:v>0.20025288446341077</c:v>
                </c:pt>
                <c:pt idx="35">
                  <c:v>0.2567105905319668</c:v>
                </c:pt>
                <c:pt idx="36">
                  <c:v>0.2090291536937447</c:v>
                </c:pt>
                <c:pt idx="37">
                  <c:v>0.19676739283204497</c:v>
                </c:pt>
                <c:pt idx="38">
                  <c:v>0.18666219839142092</c:v>
                </c:pt>
                <c:pt idx="39">
                  <c:v>0.18684603886397608</c:v>
                </c:pt>
                <c:pt idx="40">
                  <c:v>0.1901644336175396</c:v>
                </c:pt>
                <c:pt idx="41">
                  <c:v>0.17954735959765297</c:v>
                </c:pt>
                <c:pt idx="42">
                  <c:v>0.18690275435637999</c:v>
                </c:pt>
                <c:pt idx="43">
                  <c:v>0.18360136452241715</c:v>
                </c:pt>
                <c:pt idx="44">
                  <c:v>0.16826381059751974</c:v>
                </c:pt>
                <c:pt idx="45">
                  <c:v>0.16118853536681568</c:v>
                </c:pt>
                <c:pt idx="46">
                  <c:v>0.16547874624302275</c:v>
                </c:pt>
                <c:pt idx="47">
                  <c:v>0.16660851360781578</c:v>
                </c:pt>
                <c:pt idx="48">
                  <c:v>0.16566534577527803</c:v>
                </c:pt>
                <c:pt idx="49">
                  <c:v>0.18493237800483317</c:v>
                </c:pt>
                <c:pt idx="50">
                  <c:v>0.1706705661165657</c:v>
                </c:pt>
                <c:pt idx="51">
                  <c:v>0.1737982884107814</c:v>
                </c:pt>
                <c:pt idx="52">
                  <c:v>0.17529908028490424</c:v>
                </c:pt>
                <c:pt idx="53">
                  <c:v>0.16356603426045313</c:v>
                </c:pt>
                <c:pt idx="54">
                  <c:v>0.16656510257972781</c:v>
                </c:pt>
                <c:pt idx="55">
                  <c:v>0.16468982890731604</c:v>
                </c:pt>
                <c:pt idx="56">
                  <c:v>0.17314981049271894</c:v>
                </c:pt>
                <c:pt idx="57">
                  <c:v>0.15567353549896518</c:v>
                </c:pt>
                <c:pt idx="58">
                  <c:v>0.1553445337229121</c:v>
                </c:pt>
                <c:pt idx="59">
                  <c:v>0.14042185898473325</c:v>
                </c:pt>
                <c:pt idx="60">
                  <c:v>0.13943281566509116</c:v>
                </c:pt>
                <c:pt idx="61">
                  <c:v>0.1463888266487415</c:v>
                </c:pt>
                <c:pt idx="62">
                  <c:v>0.16681908245694255</c:v>
                </c:pt>
                <c:pt idx="63">
                  <c:v>0.16552175335296043</c:v>
                </c:pt>
                <c:pt idx="64">
                  <c:v>0.16559465254130407</c:v>
                </c:pt>
                <c:pt idx="65">
                  <c:v>0.16908012687905116</c:v>
                </c:pt>
                <c:pt idx="66">
                  <c:v>0.16127120527446479</c:v>
                </c:pt>
                <c:pt idx="67">
                  <c:v>0.1575673807878369</c:v>
                </c:pt>
                <c:pt idx="68">
                  <c:v>0.15084640609766906</c:v>
                </c:pt>
                <c:pt idx="69">
                  <c:v>0.13940273243864104</c:v>
                </c:pt>
                <c:pt idx="70">
                  <c:v>0.1383089168300842</c:v>
                </c:pt>
                <c:pt idx="71">
                  <c:v>0.1375188580712545</c:v>
                </c:pt>
                <c:pt idx="72">
                  <c:v>0.15128576199487923</c:v>
                </c:pt>
                <c:pt idx="73">
                  <c:v>0.14916875427009793</c:v>
                </c:pt>
                <c:pt idx="74">
                  <c:v>0.14144620811287478</c:v>
                </c:pt>
                <c:pt idx="75">
                  <c:v>0.15030504714364948</c:v>
                </c:pt>
                <c:pt idx="76">
                  <c:v>0.15098152424942263</c:v>
                </c:pt>
                <c:pt idx="77">
                  <c:v>0.14893926184248765</c:v>
                </c:pt>
                <c:pt idx="78">
                  <c:v>0.1562448711636304</c:v>
                </c:pt>
                <c:pt idx="79">
                  <c:v>0.1584241408214585</c:v>
                </c:pt>
                <c:pt idx="80">
                  <c:v>0.158530531193116</c:v>
                </c:pt>
                <c:pt idx="81">
                  <c:v>0.15322033898305085</c:v>
                </c:pt>
                <c:pt idx="82">
                  <c:v>0.15401558793629277</c:v>
                </c:pt>
                <c:pt idx="83">
                  <c:v>0.13964346349745332</c:v>
                </c:pt>
                <c:pt idx="84">
                  <c:v>0.14164366107453813</c:v>
                </c:pt>
                <c:pt idx="85">
                  <c:v>0.1314352574102964</c:v>
                </c:pt>
                <c:pt idx="86">
                  <c:v>0.14265335235378032</c:v>
                </c:pt>
                <c:pt idx="87">
                  <c:v>0.17739646497226164</c:v>
                </c:pt>
                <c:pt idx="88">
                  <c:v>0.18386639357176618</c:v>
                </c:pt>
                <c:pt idx="89">
                  <c:v>0.1434290687554395</c:v>
                </c:pt>
                <c:pt idx="90">
                  <c:v>0.14193663862538033</c:v>
                </c:pt>
                <c:pt idx="91">
                  <c:v>0.14365199797673242</c:v>
                </c:pt>
                <c:pt idx="92">
                  <c:v>0.15895232815964525</c:v>
                </c:pt>
                <c:pt idx="93">
                  <c:v>0.13890293225480282</c:v>
                </c:pt>
                <c:pt idx="94">
                  <c:v>0.13735046521931768</c:v>
                </c:pt>
                <c:pt idx="95">
                  <c:v>0.1478503270076123</c:v>
                </c:pt>
                <c:pt idx="96">
                  <c:v>0.14983572540204046</c:v>
                </c:pt>
                <c:pt idx="97">
                  <c:v>0.1448043382676242</c:v>
                </c:pt>
                <c:pt idx="98">
                  <c:v>0.15628408288958748</c:v>
                </c:pt>
                <c:pt idx="99">
                  <c:v>0.1556851648668938</c:v>
                </c:pt>
                <c:pt idx="100">
                  <c:v>0.17040760657781934</c:v>
                </c:pt>
                <c:pt idx="101">
                  <c:v>0.14546495356824832</c:v>
                </c:pt>
                <c:pt idx="102">
                  <c:v>0.13494876586969132</c:v>
                </c:pt>
                <c:pt idx="103">
                  <c:v>0.1509997222993613</c:v>
                </c:pt>
                <c:pt idx="104">
                  <c:v>0.155755176613885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86077296537739</c:v>
                </c:pt>
                <c:pt idx="1">
                  <c:v>0.21400611031752134</c:v>
                </c:pt>
                <c:pt idx="2">
                  <c:v>0.21809251054375364</c:v>
                </c:pt>
                <c:pt idx="3">
                  <c:v>0.22408640975722846</c:v>
                </c:pt>
                <c:pt idx="4">
                  <c:v>0.2165935322398825</c:v>
                </c:pt>
                <c:pt idx="5">
                  <c:v>0.21803373743433022</c:v>
                </c:pt>
                <c:pt idx="6">
                  <c:v>0.21248571888851445</c:v>
                </c:pt>
                <c:pt idx="7">
                  <c:v>0.20601399441002421</c:v>
                </c:pt>
                <c:pt idx="8">
                  <c:v>0.20063885190182063</c:v>
                </c:pt>
                <c:pt idx="9">
                  <c:v>0.1865018266524623</c:v>
                </c:pt>
                <c:pt idx="10">
                  <c:v>0.19798808796127879</c:v>
                </c:pt>
                <c:pt idx="11">
                  <c:v>0.22317002556044863</c:v>
                </c:pt>
                <c:pt idx="12">
                  <c:v>0.21916192013439487</c:v>
                </c:pt>
                <c:pt idx="13">
                  <c:v>0.19065037302466298</c:v>
                </c:pt>
                <c:pt idx="14">
                  <c:v>0.20700137422591255</c:v>
                </c:pt>
                <c:pt idx="15">
                  <c:v>0.1880883029718309</c:v>
                </c:pt>
                <c:pt idx="16">
                  <c:v>0.19482705775795986</c:v>
                </c:pt>
                <c:pt idx="17">
                  <c:v>0.19492949394379142</c:v>
                </c:pt>
                <c:pt idx="18">
                  <c:v>0.1841558856212417</c:v>
                </c:pt>
                <c:pt idx="19">
                  <c:v>0.19902860824586338</c:v>
                </c:pt>
                <c:pt idx="20">
                  <c:v>0.17793062577266805</c:v>
                </c:pt>
                <c:pt idx="21">
                  <c:v>0.17199318076383885</c:v>
                </c:pt>
                <c:pt idx="22">
                  <c:v>0.17487847937511306</c:v>
                </c:pt>
                <c:pt idx="23">
                  <c:v>0.14953711588065663</c:v>
                </c:pt>
                <c:pt idx="24">
                  <c:v>0.147483479081812</c:v>
                </c:pt>
                <c:pt idx="25">
                  <c:v>0.1523372304034474</c:v>
                </c:pt>
                <c:pt idx="26">
                  <c:v>0.1586886589408183</c:v>
                </c:pt>
                <c:pt idx="27">
                  <c:v>0.1638176326923272</c:v>
                </c:pt>
                <c:pt idx="28">
                  <c:v>0.17202709107655037</c:v>
                </c:pt>
                <c:pt idx="29">
                  <c:v>0.1637399998988175</c:v>
                </c:pt>
                <c:pt idx="30">
                  <c:v>0.16028662401848653</c:v>
                </c:pt>
                <c:pt idx="31">
                  <c:v>0.1620413060862328</c:v>
                </c:pt>
                <c:pt idx="32">
                  <c:v>0.15466839330641702</c:v>
                </c:pt>
                <c:pt idx="33">
                  <c:v>0.16546193198246842</c:v>
                </c:pt>
                <c:pt idx="34">
                  <c:v>0.17973973965168502</c:v>
                </c:pt>
                <c:pt idx="35">
                  <c:v>0.17717313305842683</c:v>
                </c:pt>
                <c:pt idx="36">
                  <c:v>0.15831294734214127</c:v>
                </c:pt>
                <c:pt idx="37">
                  <c:v>0.1588203387186952</c:v>
                </c:pt>
                <c:pt idx="38">
                  <c:v>0.16150350649516754</c:v>
                </c:pt>
                <c:pt idx="39">
                  <c:v>0.17755558167836227</c:v>
                </c:pt>
                <c:pt idx="40">
                  <c:v>0.1736444909438409</c:v>
                </c:pt>
                <c:pt idx="41">
                  <c:v>0.17694410270819655</c:v>
                </c:pt>
                <c:pt idx="42">
                  <c:v>0.1724234639306775</c:v>
                </c:pt>
                <c:pt idx="43">
                  <c:v>0.17601990694262973</c:v>
                </c:pt>
                <c:pt idx="44">
                  <c:v>0.17917355460370724</c:v>
                </c:pt>
                <c:pt idx="45">
                  <c:v>0.19235117478195016</c:v>
                </c:pt>
                <c:pt idx="46">
                  <c:v>0.18062212093156418</c:v>
                </c:pt>
                <c:pt idx="47">
                  <c:v>0.18148765768855316</c:v>
                </c:pt>
                <c:pt idx="48">
                  <c:v>0.1796268503672698</c:v>
                </c:pt>
                <c:pt idx="49">
                  <c:v>0.19170004491184175</c:v>
                </c:pt>
                <c:pt idx="50">
                  <c:v>0.2042914776212333</c:v>
                </c:pt>
                <c:pt idx="51">
                  <c:v>0.18770430215113512</c:v>
                </c:pt>
              </c:numCache>
            </c:numRef>
          </c:xVal>
          <c:yVal>
            <c:numRef>
              <c:f>Sheet1!$B$109:$B$160</c:f>
              <c:numCache>
                <c:formatCode>General</c:formatCode>
                <c:ptCount val="52"/>
                <c:pt idx="0">
                  <c:v>0.17426059152677859</c:v>
                </c:pt>
                <c:pt idx="1">
                  <c:v>0.16431742076162292</c:v>
                </c:pt>
                <c:pt idx="2">
                  <c:v>0.17060423825887744</c:v>
                </c:pt>
                <c:pt idx="3">
                  <c:v>0.17236204897346702</c:v>
                </c:pt>
                <c:pt idx="4">
                  <c:v>0.16263736263736264</c:v>
                </c:pt>
                <c:pt idx="5">
                  <c:v>0.14951032198971323</c:v>
                </c:pt>
                <c:pt idx="6">
                  <c:v>0.13346288379323745</c:v>
                </c:pt>
                <c:pt idx="7">
                  <c:v>0.12609065758672058</c:v>
                </c:pt>
                <c:pt idx="8">
                  <c:v>0.13813025210084034</c:v>
                </c:pt>
                <c:pt idx="9">
                  <c:v>0.1473429951690821</c:v>
                </c:pt>
                <c:pt idx="10">
                  <c:v>0.15446789402784014</c:v>
                </c:pt>
                <c:pt idx="11">
                  <c:v>0.1449075140072147</c:v>
                </c:pt>
                <c:pt idx="12">
                  <c:v>0.15228900654001867</c:v>
                </c:pt>
                <c:pt idx="13">
                  <c:v>0.16745934335685794</c:v>
                </c:pt>
                <c:pt idx="14">
                  <c:v>0.15208279873406894</c:v>
                </c:pt>
                <c:pt idx="15">
                  <c:v>0.16133059841255684</c:v>
                </c:pt>
                <c:pt idx="16">
                  <c:v>0.14426034328802462</c:v>
                </c:pt>
                <c:pt idx="17">
                  <c:v>0.13033272096346193</c:v>
                </c:pt>
                <c:pt idx="18">
                  <c:v>0.14128664495114007</c:v>
                </c:pt>
                <c:pt idx="19">
                  <c:v>0.1602713824936047</c:v>
                </c:pt>
                <c:pt idx="20">
                  <c:v>0.14584607855132753</c:v>
                </c:pt>
                <c:pt idx="21">
                  <c:v>0.14382130805077936</c:v>
                </c:pt>
                <c:pt idx="22">
                  <c:v>0.14724121481952615</c:v>
                </c:pt>
                <c:pt idx="23">
                  <c:v>0.1690320523042577</c:v>
                </c:pt>
                <c:pt idx="24">
                  <c:v>0.16953979913056513</c:v>
                </c:pt>
                <c:pt idx="25">
                  <c:v>0.15811023622047243</c:v>
                </c:pt>
                <c:pt idx="26">
                  <c:v>0.14966740576496673</c:v>
                </c:pt>
                <c:pt idx="27">
                  <c:v>0.14160184384903485</c:v>
                </c:pt>
                <c:pt idx="28">
                  <c:v>0.13394495412844037</c:v>
                </c:pt>
                <c:pt idx="29">
                  <c:v>0.13297451321829984</c:v>
                </c:pt>
                <c:pt idx="30">
                  <c:v>0.1478966545213647</c:v>
                </c:pt>
                <c:pt idx="31">
                  <c:v>0.13251649387370407</c:v>
                </c:pt>
                <c:pt idx="32">
                  <c:v>0.12795010114632502</c:v>
                </c:pt>
                <c:pt idx="33">
                  <c:v>0.14974874371859295</c:v>
                </c:pt>
                <c:pt idx="34">
                  <c:v>0.17448064479509592</c:v>
                </c:pt>
                <c:pt idx="35">
                  <c:v>0.1884363006066609</c:v>
                </c:pt>
                <c:pt idx="36">
                  <c:v>0.1548663936024966</c:v>
                </c:pt>
                <c:pt idx="37">
                  <c:v>0.15599931728963987</c:v>
                </c:pt>
                <c:pt idx="38">
                  <c:v>0.14588601439408674</c:v>
                </c:pt>
                <c:pt idx="39">
                  <c:v>0.17300596082883907</c:v>
                </c:pt>
                <c:pt idx="40">
                  <c:v>0.16146916146916146</c:v>
                </c:pt>
                <c:pt idx="41">
                  <c:v>0.17017430600387345</c:v>
                </c:pt>
                <c:pt idx="42">
                  <c:v>0.15789473684210525</c:v>
                </c:pt>
                <c:pt idx="43">
                  <c:v>0.16773659142679645</c:v>
                </c:pt>
                <c:pt idx="44">
                  <c:v>0.1599419943700418</c:v>
                </c:pt>
                <c:pt idx="45">
                  <c:v>0.16267975192530498</c:v>
                </c:pt>
                <c:pt idx="46">
                  <c:v>0.16652705645836824</c:v>
                </c:pt>
                <c:pt idx="47">
                  <c:v>0.1659030624547866</c:v>
                </c:pt>
                <c:pt idx="48">
                  <c:v>0.17166175159454083</c:v>
                </c:pt>
                <c:pt idx="49">
                  <c:v>0.18768242848803268</c:v>
                </c:pt>
                <c:pt idx="50">
                  <c:v>0.21325828642901815</c:v>
                </c:pt>
                <c:pt idx="51">
                  <c:v>0.19118963767683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362731913962179</c:v>
                </c:pt>
              </c:numCache>
            </c:numRef>
          </c:xVal>
          <c:yVal>
            <c:numRef>
              <c:f>Sheet1!$B$163:$B$164</c:f>
              <c:numCache>
                <c:formatCode>General</c:formatCode>
                <c:ptCount val="2"/>
                <c:pt idx="0">
                  <c:v>0.20730646650796047</c:v>
                </c:pt>
                <c:pt idx="1">
                  <c:v>0.2073064665079604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362731913962179</c:v>
                </c:pt>
                <c:pt idx="1">
                  <c:v>0.6362731913962179</c:v>
                </c:pt>
              </c:numCache>
            </c:numRef>
          </c:xVal>
          <c:yVal>
            <c:numRef>
              <c:f>Sheet1!$B$167:$B$168</c:f>
              <c:numCache>
                <c:formatCode>General</c:formatCode>
                <c:ptCount val="2"/>
                <c:pt idx="0">
                  <c:v>0.207306466507960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892752935539495</c:v>
                </c:pt>
              </c:numCache>
            </c:numRef>
          </c:xVal>
          <c:yVal>
            <c:numRef>
              <c:f>Sheet1!$B$171:$B$172</c:f>
              <c:numCache>
                <c:formatCode>General</c:formatCode>
                <c:ptCount val="2"/>
                <c:pt idx="0">
                  <c:v>0.19094802604710642</c:v>
                </c:pt>
                <c:pt idx="1">
                  <c:v>0.1909480260471064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892752935539495</c:v>
                </c:pt>
                <c:pt idx="1">
                  <c:v>0.4892752935539495</c:v>
                </c:pt>
              </c:numCache>
            </c:numRef>
          </c:xVal>
          <c:yVal>
            <c:numRef>
              <c:f>Sheet1!$B$175:$B$176</c:f>
              <c:numCache>
                <c:formatCode>General</c:formatCode>
                <c:ptCount val="2"/>
                <c:pt idx="0">
                  <c:v>0.1909480260471064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2807950212405973</c:v>
                </c:pt>
              </c:numCache>
            </c:numRef>
          </c:xVal>
          <c:yVal>
            <c:numRef>
              <c:f>Sheet1!$B$179:$B$180</c:f>
              <c:numCache>
                <c:formatCode>General</c:formatCode>
                <c:ptCount val="2"/>
                <c:pt idx="0">
                  <c:v>0.17300959430520793</c:v>
                </c:pt>
                <c:pt idx="1">
                  <c:v>0.1730095943052079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2807950212405973</c:v>
                </c:pt>
                <c:pt idx="1">
                  <c:v>0.32807950212405973</c:v>
                </c:pt>
              </c:numCache>
            </c:numRef>
          </c:xVal>
          <c:yVal>
            <c:numRef>
              <c:f>Sheet1!$B$183:$B$184</c:f>
              <c:numCache>
                <c:formatCode>General</c:formatCode>
                <c:ptCount val="2"/>
                <c:pt idx="0">
                  <c:v>0.173009594305207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86077296537739</c:v>
                </c:pt>
                <c:pt idx="1">
                  <c:v>0.21400611031752134</c:v>
                </c:pt>
                <c:pt idx="2">
                  <c:v>0.21809251054375364</c:v>
                </c:pt>
                <c:pt idx="3">
                  <c:v>0.22408640975722846</c:v>
                </c:pt>
                <c:pt idx="4">
                  <c:v>0.2165935322398825</c:v>
                </c:pt>
                <c:pt idx="5">
                  <c:v>0.21803373743433022</c:v>
                </c:pt>
                <c:pt idx="6">
                  <c:v>0.21248571888851445</c:v>
                </c:pt>
                <c:pt idx="7">
                  <c:v>0.20601399441002421</c:v>
                </c:pt>
                <c:pt idx="8">
                  <c:v>0.20063885190182063</c:v>
                </c:pt>
                <c:pt idx="9">
                  <c:v>0.1865018266524623</c:v>
                </c:pt>
                <c:pt idx="10">
                  <c:v>0.19798808796127879</c:v>
                </c:pt>
                <c:pt idx="11">
                  <c:v>0.22317002556044863</c:v>
                </c:pt>
                <c:pt idx="12">
                  <c:v>0.21916192013439487</c:v>
                </c:pt>
                <c:pt idx="13">
                  <c:v>0.19065037302466298</c:v>
                </c:pt>
                <c:pt idx="14">
                  <c:v>0.20700137422591255</c:v>
                </c:pt>
                <c:pt idx="15">
                  <c:v>0.1880883029718309</c:v>
                </c:pt>
                <c:pt idx="16">
                  <c:v>0.19482705775795986</c:v>
                </c:pt>
                <c:pt idx="17">
                  <c:v>0.19492949394379142</c:v>
                </c:pt>
                <c:pt idx="18">
                  <c:v>0.1841558856212417</c:v>
                </c:pt>
                <c:pt idx="19">
                  <c:v>0.19902860824586338</c:v>
                </c:pt>
                <c:pt idx="20">
                  <c:v>0.17793062577266805</c:v>
                </c:pt>
                <c:pt idx="21">
                  <c:v>0.17199318076383885</c:v>
                </c:pt>
                <c:pt idx="22">
                  <c:v>0.17487847937511306</c:v>
                </c:pt>
                <c:pt idx="23">
                  <c:v>0.14953711588065663</c:v>
                </c:pt>
                <c:pt idx="24">
                  <c:v>0.147483479081812</c:v>
                </c:pt>
                <c:pt idx="25">
                  <c:v>0.1523372304034474</c:v>
                </c:pt>
                <c:pt idx="26">
                  <c:v>0.1586886589408183</c:v>
                </c:pt>
                <c:pt idx="27">
                  <c:v>0.1638176326923272</c:v>
                </c:pt>
                <c:pt idx="28">
                  <c:v>0.17202709107655037</c:v>
                </c:pt>
                <c:pt idx="29">
                  <c:v>0.1637399998988175</c:v>
                </c:pt>
                <c:pt idx="30">
                  <c:v>0.16028662401848653</c:v>
                </c:pt>
                <c:pt idx="31">
                  <c:v>0.1620413060862328</c:v>
                </c:pt>
                <c:pt idx="32">
                  <c:v>0.15466839330641702</c:v>
                </c:pt>
                <c:pt idx="33">
                  <c:v>0.16546193198246842</c:v>
                </c:pt>
                <c:pt idx="34">
                  <c:v>0.17973973965168502</c:v>
                </c:pt>
                <c:pt idx="35">
                  <c:v>0.17717313305842683</c:v>
                </c:pt>
                <c:pt idx="36">
                  <c:v>0.15831294734214127</c:v>
                </c:pt>
                <c:pt idx="37">
                  <c:v>0.1588203387186952</c:v>
                </c:pt>
                <c:pt idx="38">
                  <c:v>0.16150350649516754</c:v>
                </c:pt>
                <c:pt idx="39">
                  <c:v>0.17755558167836227</c:v>
                </c:pt>
                <c:pt idx="40">
                  <c:v>0.1736444909438409</c:v>
                </c:pt>
                <c:pt idx="41">
                  <c:v>0.17694410270819655</c:v>
                </c:pt>
                <c:pt idx="42">
                  <c:v>0.1724234639306775</c:v>
                </c:pt>
                <c:pt idx="43">
                  <c:v>0.17601990694262973</c:v>
                </c:pt>
                <c:pt idx="44">
                  <c:v>0.17917355460370724</c:v>
                </c:pt>
                <c:pt idx="45">
                  <c:v>0.19235117478195016</c:v>
                </c:pt>
                <c:pt idx="46">
                  <c:v>0.18062212093156418</c:v>
                </c:pt>
                <c:pt idx="47">
                  <c:v>0.18148765768855316</c:v>
                </c:pt>
                <c:pt idx="48">
                  <c:v>0.1796268503672698</c:v>
                </c:pt>
                <c:pt idx="49">
                  <c:v>0.19170004491184175</c:v>
                </c:pt>
                <c:pt idx="50">
                  <c:v>0.2042914776212333</c:v>
                </c:pt>
                <c:pt idx="51">
                  <c:v>0.18770430215113512</c:v>
                </c:pt>
                <c:pt idx="52">
                  <c:v>0.4892752935539495</c:v>
                </c:pt>
                <c:pt idx="53">
                  <c:v>0.6362731913962179</c:v>
                </c:pt>
                <c:pt idx="54">
                  <c:v>0.32807950212405973</c:v>
                </c:pt>
              </c:numCache>
            </c:numRef>
          </c:xVal>
          <c:yVal>
            <c:numRef>
              <c:f>Sheet1!$B$187:$B$241</c:f>
              <c:numCache>
                <c:formatCode>General</c:formatCode>
                <c:ptCount val="55"/>
                <c:pt idx="0">
                  <c:v>0.16082719239072013</c:v>
                </c:pt>
                <c:pt idx="1">
                  <c:v>0.16031510808855975</c:v>
                </c:pt>
                <c:pt idx="2">
                  <c:v>0.16076985700525356</c:v>
                </c:pt>
                <c:pt idx="3">
                  <c:v>0.16143687908414886</c:v>
                </c:pt>
                <c:pt idx="4">
                  <c:v>0.16060304545423193</c:v>
                </c:pt>
                <c:pt idx="5">
                  <c:v>0.1607633165279725</c:v>
                </c:pt>
                <c:pt idx="6">
                  <c:v>0.16014591361004216</c:v>
                </c:pt>
                <c:pt idx="7">
                  <c:v>0.15942571746360454</c:v>
                </c:pt>
                <c:pt idx="8">
                  <c:v>0.1588275527960839</c:v>
                </c:pt>
                <c:pt idx="9">
                  <c:v>0.1572543351567176</c:v>
                </c:pt>
                <c:pt idx="10">
                  <c:v>0.15853256650897615</c:v>
                </c:pt>
                <c:pt idx="11">
                  <c:v>0.16133490064403283</c:v>
                </c:pt>
                <c:pt idx="12">
                  <c:v>0.16088886464667945</c:v>
                </c:pt>
                <c:pt idx="13">
                  <c:v>0.15771599991400248</c:v>
                </c:pt>
                <c:pt idx="14">
                  <c:v>0.15953559654464955</c:v>
                </c:pt>
                <c:pt idx="15">
                  <c:v>0.15743088379308515</c:v>
                </c:pt>
                <c:pt idx="16">
                  <c:v>0.15818079600657456</c:v>
                </c:pt>
                <c:pt idx="17">
                  <c:v>0.1581921954637883</c:v>
                </c:pt>
                <c:pt idx="18">
                  <c:v>0.15699327062962434</c:v>
                </c:pt>
                <c:pt idx="19">
                  <c:v>0.15864835924733187</c:v>
                </c:pt>
                <c:pt idx="20">
                  <c:v>0.15630050192965622</c:v>
                </c:pt>
                <c:pt idx="21">
                  <c:v>0.15563976227220377</c:v>
                </c:pt>
                <c:pt idx="22">
                  <c:v>0.15596084839817653</c:v>
                </c:pt>
                <c:pt idx="23">
                  <c:v>0.1531407727916142</c:v>
                </c:pt>
                <c:pt idx="24">
                  <c:v>0.1529122369023584</c:v>
                </c:pt>
                <c:pt idx="25">
                  <c:v>0.1534523793341363</c:v>
                </c:pt>
                <c:pt idx="26">
                  <c:v>0.1541591885272952</c:v>
                </c:pt>
                <c:pt idx="27">
                  <c:v>0.15472995867415384</c:v>
                </c:pt>
                <c:pt idx="28">
                  <c:v>0.1556435359304645</c:v>
                </c:pt>
                <c:pt idx="29">
                  <c:v>0.15472131942523207</c:v>
                </c:pt>
                <c:pt idx="30">
                  <c:v>0.15433701567288888</c:v>
                </c:pt>
                <c:pt idx="31">
                  <c:v>0.15453228283353737</c:v>
                </c:pt>
                <c:pt idx="32">
                  <c:v>0.15371179929940476</c:v>
                </c:pt>
                <c:pt idx="33">
                  <c:v>0.15491294205304856</c:v>
                </c:pt>
                <c:pt idx="34">
                  <c:v>0.15650182645273586</c:v>
                </c:pt>
                <c:pt idx="35">
                  <c:v>0.1562162054897252</c:v>
                </c:pt>
                <c:pt idx="36">
                  <c:v>0.15411737802586883</c:v>
                </c:pt>
                <c:pt idx="37">
                  <c:v>0.1541738423137637</c:v>
                </c:pt>
                <c:pt idx="38">
                  <c:v>0.15447243461312435</c:v>
                </c:pt>
                <c:pt idx="39">
                  <c:v>0.15625876571045205</c:v>
                </c:pt>
                <c:pt idx="40">
                  <c:v>0.1558235258474554</c:v>
                </c:pt>
                <c:pt idx="41">
                  <c:v>0.15619071819090688</c:v>
                </c:pt>
                <c:pt idx="42">
                  <c:v>0.1556876456886972</c:v>
                </c:pt>
                <c:pt idx="43">
                  <c:v>0.15608787045208125</c:v>
                </c:pt>
                <c:pt idx="44">
                  <c:v>0.15643881939934853</c:v>
                </c:pt>
                <c:pt idx="45">
                  <c:v>0.15790527108516</c:v>
                </c:pt>
                <c:pt idx="46">
                  <c:v>0.15660002092927294</c:v>
                </c:pt>
                <c:pt idx="47">
                  <c:v>0.15669634088835888</c:v>
                </c:pt>
                <c:pt idx="48">
                  <c:v>0.15648926373813324</c:v>
                </c:pt>
                <c:pt idx="49">
                  <c:v>0.15783281107471903</c:v>
                </c:pt>
                <c:pt idx="50">
                  <c:v>0.159234029767754</c:v>
                </c:pt>
                <c:pt idx="51">
                  <c:v>0.1573881508380261</c:v>
                </c:pt>
                <c:pt idx="52">
                  <c:v>0.19094802604710642</c:v>
                </c:pt>
                <c:pt idx="53">
                  <c:v>0.20730646650796047</c:v>
                </c:pt>
                <c:pt idx="54">
                  <c:v>0.173009594305207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805270863836015"/>
          <c:min val="0.1008725260693764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9</c:f>
              <c:numCache>
                <c:formatCode>General</c:formatCode>
                <c:ptCount val="58"/>
                <c:pt idx="0">
                  <c:v>629.85</c:v>
                </c:pt>
                <c:pt idx="1">
                  <c:v>599.8571</c:v>
                </c:pt>
                <c:pt idx="2">
                  <c:v>1419.8861</c:v>
                </c:pt>
                <c:pt idx="3">
                  <c:v>1810.5333</c:v>
                </c:pt>
                <c:pt idx="4">
                  <c:v>1305.5667</c:v>
                </c:pt>
                <c:pt idx="5">
                  <c:v>1517.2857</c:v>
                </c:pt>
                <c:pt idx="6">
                  <c:v>1697.7</c:v>
                </c:pt>
                <c:pt idx="7">
                  <c:v>714.0333</c:v>
                </c:pt>
                <c:pt idx="8">
                  <c:v>678.1299</c:v>
                </c:pt>
                <c:pt idx="9">
                  <c:v>925.4167</c:v>
                </c:pt>
                <c:pt idx="10">
                  <c:v>925.4167</c:v>
                </c:pt>
                <c:pt idx="11">
                  <c:v>1563.5865</c:v>
                </c:pt>
                <c:pt idx="12">
                  <c:v>1028.2143</c:v>
                </c:pt>
                <c:pt idx="13">
                  <c:v>1861.0</c:v>
                </c:pt>
                <c:pt idx="14">
                  <c:v>1269.0</c:v>
                </c:pt>
                <c:pt idx="15">
                  <c:v>146.375</c:v>
                </c:pt>
                <c:pt idx="16">
                  <c:v>1773.0714</c:v>
                </c:pt>
                <c:pt idx="17">
                  <c:v>3436.5</c:v>
                </c:pt>
                <c:pt idx="18">
                  <c:v>1546.7093</c:v>
                </c:pt>
                <c:pt idx="19">
                  <c:v>1334.0</c:v>
                </c:pt>
                <c:pt idx="20">
                  <c:v>1639.58</c:v>
                </c:pt>
                <c:pt idx="21">
                  <c:v>2228.6667</c:v>
                </c:pt>
                <c:pt idx="22">
                  <c:v>773.781</c:v>
                </c:pt>
                <c:pt idx="23">
                  <c:v>984.4545</c:v>
                </c:pt>
                <c:pt idx="24">
                  <c:v>867.9744</c:v>
                </c:pt>
                <c:pt idx="25">
                  <c:v>1894.9184</c:v>
                </c:pt>
                <c:pt idx="26">
                  <c:v>1117.3077</c:v>
                </c:pt>
                <c:pt idx="27">
                  <c:v>1129.8571</c:v>
                </c:pt>
                <c:pt idx="28">
                  <c:v>1083.0</c:v>
                </c:pt>
                <c:pt idx="29">
                  <c:v>1310.4895</c:v>
                </c:pt>
                <c:pt idx="30">
                  <c:v>1099.623</c:v>
                </c:pt>
                <c:pt idx="31">
                  <c:v>1335.625</c:v>
                </c:pt>
                <c:pt idx="32">
                  <c:v>7344.0</c:v>
                </c:pt>
                <c:pt idx="33">
                  <c:v>1120.8421</c:v>
                </c:pt>
                <c:pt idx="34">
                  <c:v>7044.0</c:v>
                </c:pt>
                <c:pt idx="35">
                  <c:v>7171.0</c:v>
                </c:pt>
                <c:pt idx="36">
                  <c:v>1276.1667</c:v>
                </c:pt>
                <c:pt idx="37">
                  <c:v>1366.5833</c:v>
                </c:pt>
                <c:pt idx="38">
                  <c:v>1101.4063</c:v>
                </c:pt>
                <c:pt idx="39">
                  <c:v>1186.9565</c:v>
                </c:pt>
                <c:pt idx="40">
                  <c:v>1097.4</c:v>
                </c:pt>
                <c:pt idx="41">
                  <c:v>1128.2069</c:v>
                </c:pt>
                <c:pt idx="42">
                  <c:v>1214.0</c:v>
                </c:pt>
                <c:pt idx="43">
                  <c:v>1160.4706</c:v>
                </c:pt>
                <c:pt idx="44">
                  <c:v>2249.7273</c:v>
                </c:pt>
                <c:pt idx="45">
                  <c:v>1653.4091</c:v>
                </c:pt>
                <c:pt idx="46">
                  <c:v>1140.016</c:v>
                </c:pt>
                <c:pt idx="47">
                  <c:v>1094.8333</c:v>
                </c:pt>
                <c:pt idx="48">
                  <c:v>1145.8</c:v>
                </c:pt>
                <c:pt idx="49">
                  <c:v>1147.036</c:v>
                </c:pt>
                <c:pt idx="50">
                  <c:v>1141.8333</c:v>
                </c:pt>
                <c:pt idx="51">
                  <c:v>1423.6154</c:v>
                </c:pt>
                <c:pt idx="52">
                  <c:v>1112.6111</c:v>
                </c:pt>
                <c:pt idx="53">
                  <c:v>597.5082</c:v>
                </c:pt>
                <c:pt idx="54">
                  <c:v>1016.7</c:v>
                </c:pt>
                <c:pt idx="55">
                  <c:v>796.3098</c:v>
                </c:pt>
                <c:pt idx="56">
                  <c:v>1397.76</c:v>
                </c:pt>
                <c:pt idx="57">
                  <c:v>1729.2222</c:v>
                </c:pt>
              </c:numCache>
            </c:numRef>
          </c:xVal>
          <c:yVal>
            <c:numRef>
              <c:f>Sheet1!$B$2:$B$59</c:f>
              <c:numCache>
                <c:formatCode>General</c:formatCode>
                <c:ptCount val="58"/>
                <c:pt idx="0">
                  <c:v>0.04395604395604396</c:v>
                </c:pt>
                <c:pt idx="1">
                  <c:v>0.0440251572327044</c:v>
                </c:pt>
                <c:pt idx="2">
                  <c:v>0.8144329896907216</c:v>
                </c:pt>
                <c:pt idx="3">
                  <c:v>0.09523809523809523</c:v>
                </c:pt>
                <c:pt idx="4">
                  <c:v>0.24193548387096775</c:v>
                </c:pt>
                <c:pt idx="5">
                  <c:v>0.23728813559322035</c:v>
                </c:pt>
                <c:pt idx="6">
                  <c:v>0.40540540540540543</c:v>
                </c:pt>
                <c:pt idx="7">
                  <c:v>0.08746355685131195</c:v>
                </c:pt>
                <c:pt idx="8">
                  <c:v>0.5855513307984791</c:v>
                </c:pt>
                <c:pt idx="9">
                  <c:v>0.2857142857142857</c:v>
                </c:pt>
                <c:pt idx="10">
                  <c:v>0.45</c:v>
                </c:pt>
                <c:pt idx="11">
                  <c:v>0.45217391304347826</c:v>
                </c:pt>
                <c:pt idx="12">
                  <c:v>0.11023622047244094</c:v>
                </c:pt>
                <c:pt idx="13">
                  <c:v>0.04</c:v>
                </c:pt>
                <c:pt idx="14">
                  <c:v>0.1320754716981132</c:v>
                </c:pt>
                <c:pt idx="15">
                  <c:v>0.35555555555555557</c:v>
                </c:pt>
                <c:pt idx="16">
                  <c:v>0.12280701754385964</c:v>
                </c:pt>
                <c:pt idx="17">
                  <c:v>0.019417475728155338</c:v>
                </c:pt>
                <c:pt idx="18">
                  <c:v>0.24022346368715083</c:v>
                </c:pt>
                <c:pt idx="19">
                  <c:v>0.08762886597938144</c:v>
                </c:pt>
                <c:pt idx="20">
                  <c:v>0.1485884101040119</c:v>
                </c:pt>
                <c:pt idx="21">
                  <c:v>0.04979253112033195</c:v>
                </c:pt>
                <c:pt idx="22">
                  <c:v>0.24193548387096775</c:v>
                </c:pt>
                <c:pt idx="23">
                  <c:v>0.10091743119266056</c:v>
                </c:pt>
                <c:pt idx="24">
                  <c:v>0.6190476190476191</c:v>
                </c:pt>
                <c:pt idx="25">
                  <c:v>0.35251798561151076</c:v>
                </c:pt>
                <c:pt idx="26">
                  <c:v>0.20967741935483872</c:v>
                </c:pt>
                <c:pt idx="27">
                  <c:v>0.035</c:v>
                </c:pt>
                <c:pt idx="28">
                  <c:v>0.05789473684210526</c:v>
                </c:pt>
                <c:pt idx="29">
                  <c:v>0.3341121495327103</c:v>
                </c:pt>
                <c:pt idx="30">
                  <c:v>0.75</c:v>
                </c:pt>
                <c:pt idx="31">
                  <c:v>0.12030075187969924</c:v>
                </c:pt>
                <c:pt idx="32">
                  <c:v>0.0070921985815602835</c:v>
                </c:pt>
                <c:pt idx="33">
                  <c:v>0.24050632911392406</c:v>
                </c:pt>
                <c:pt idx="34">
                  <c:v>0.007692307692307693</c:v>
                </c:pt>
                <c:pt idx="35">
                  <c:v>0.006060606060606061</c:v>
                </c:pt>
                <c:pt idx="36">
                  <c:v>0.031088082901554404</c:v>
                </c:pt>
                <c:pt idx="37">
                  <c:v>0.391304347826087</c:v>
                </c:pt>
                <c:pt idx="38">
                  <c:v>0.22695035460992907</c:v>
                </c:pt>
                <c:pt idx="39">
                  <c:v>0.24468085106382978</c:v>
                </c:pt>
                <c:pt idx="40">
                  <c:v>0.15625</c:v>
                </c:pt>
                <c:pt idx="41">
                  <c:v>0.31521739130434784</c:v>
                </c:pt>
                <c:pt idx="42">
                  <c:v>0.5454545454545454</c:v>
                </c:pt>
                <c:pt idx="43">
                  <c:v>0.25757575757575757</c:v>
                </c:pt>
                <c:pt idx="44">
                  <c:v>0.041666666666666664</c:v>
                </c:pt>
                <c:pt idx="45">
                  <c:v>0.25882352941176473</c:v>
                </c:pt>
                <c:pt idx="46">
                  <c:v>0.5707762557077626</c:v>
                </c:pt>
                <c:pt idx="47">
                  <c:v>0.061224489795918366</c:v>
                </c:pt>
                <c:pt idx="48">
                  <c:v>0.07936507936507936</c:v>
                </c:pt>
                <c:pt idx="49">
                  <c:v>0.23319327731092437</c:v>
                </c:pt>
                <c:pt idx="50">
                  <c:v>0.05825242718446602</c:v>
                </c:pt>
                <c:pt idx="51">
                  <c:v>0.16352201257861634</c:v>
                </c:pt>
                <c:pt idx="52">
                  <c:v>0.14516129032258066</c:v>
                </c:pt>
                <c:pt idx="53">
                  <c:v>0.3475783475783476</c:v>
                </c:pt>
                <c:pt idx="54">
                  <c:v>0.28169014084507044</c:v>
                </c:pt>
                <c:pt idx="55">
                  <c:v>0.36507936507936506</c:v>
                </c:pt>
                <c:pt idx="56">
                  <c:v>0.12376237623762376</c:v>
                </c:pt>
                <c:pt idx="57">
                  <c:v>0.1487603305785124</c:v>
                </c:pt>
              </c:numCache>
            </c:numRef>
          </c:yVal>
          <c:smooth val="0"/>
          <c:extLst>
            <c:ext xmlns:c16="http://schemas.microsoft.com/office/drawing/2014/chart" uri="{C3380CC4-5D6E-409C-BE32-E72D297353CC}">
              <c16:uniqueId val="{00000000-F32D-48B7-BC20-E66FC6253BAD}"/>
            </c:ext>
          </c:extLst>
        </c:ser>
        <c:ser>
          <c:idx val="1"/>
          <c:order val="1"/>
          <c:tx>
            <c:strRef>
              <c:f>Sheet1!$B$6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2:$A$83</c:f>
              <c:numCache>
                <c:formatCode>General</c:formatCode>
                <c:ptCount val="22"/>
                <c:pt idx="0">
                  <c:v>1247.0568</c:v>
                </c:pt>
                <c:pt idx="1">
                  <c:v>1592.1105</c:v>
                </c:pt>
                <c:pt idx="2">
                  <c:v>881.2308</c:v>
                </c:pt>
                <c:pt idx="3">
                  <c:v>1093.129</c:v>
                </c:pt>
                <c:pt idx="4">
                  <c:v>2398.3333</c:v>
                </c:pt>
                <c:pt idx="5">
                  <c:v>825.5</c:v>
                </c:pt>
                <c:pt idx="6">
                  <c:v>2360.0</c:v>
                </c:pt>
                <c:pt idx="7">
                  <c:v>1066.5357</c:v>
                </c:pt>
                <c:pt idx="8">
                  <c:v>768.5</c:v>
                </c:pt>
                <c:pt idx="9">
                  <c:v>1454.2</c:v>
                </c:pt>
                <c:pt idx="10">
                  <c:v>770.6279</c:v>
                </c:pt>
                <c:pt idx="11">
                  <c:v>774.6071</c:v>
                </c:pt>
                <c:pt idx="12">
                  <c:v>1034.3514</c:v>
                </c:pt>
                <c:pt idx="13">
                  <c:v>723.1818</c:v>
                </c:pt>
                <c:pt idx="14">
                  <c:v>994.2917</c:v>
                </c:pt>
                <c:pt idx="15">
                  <c:v>1345.6923</c:v>
                </c:pt>
                <c:pt idx="16">
                  <c:v>2428.6</c:v>
                </c:pt>
                <c:pt idx="17">
                  <c:v>970.4615</c:v>
                </c:pt>
                <c:pt idx="18">
                  <c:v>1159.963</c:v>
                </c:pt>
                <c:pt idx="19">
                  <c:v>973.2308</c:v>
                </c:pt>
                <c:pt idx="20">
                  <c:v>1008.7917</c:v>
                </c:pt>
                <c:pt idx="21">
                  <c:v>1354.4615</c:v>
                </c:pt>
              </c:numCache>
            </c:numRef>
          </c:xVal>
          <c:yVal>
            <c:numRef>
              <c:f>Sheet1!$B$62:$B$83</c:f>
              <c:numCache>
                <c:formatCode>General</c:formatCode>
                <c:ptCount val="22"/>
                <c:pt idx="0">
                  <c:v>0.3728813559322034</c:v>
                </c:pt>
                <c:pt idx="1">
                  <c:v>0.5</c:v>
                </c:pt>
                <c:pt idx="2">
                  <c:v>0.11926605504587157</c:v>
                </c:pt>
                <c:pt idx="3">
                  <c:v>0.49206349206349204</c:v>
                </c:pt>
                <c:pt idx="4">
                  <c:v>0.12244897959183673</c:v>
                </c:pt>
                <c:pt idx="5">
                  <c:v>0.10909090909090909</c:v>
                </c:pt>
                <c:pt idx="6">
                  <c:v>0.0967741935483871</c:v>
                </c:pt>
                <c:pt idx="7">
                  <c:v>0.14213197969543148</c:v>
                </c:pt>
                <c:pt idx="8">
                  <c:v>0.3111111111111111</c:v>
                </c:pt>
                <c:pt idx="9">
                  <c:v>0.20833333333333334</c:v>
                </c:pt>
                <c:pt idx="10">
                  <c:v>0.47513812154696133</c:v>
                </c:pt>
                <c:pt idx="11">
                  <c:v>0.2616822429906542</c:v>
                </c:pt>
                <c:pt idx="12">
                  <c:v>0.37</c:v>
                </c:pt>
                <c:pt idx="13">
                  <c:v>0.10091743119266056</c:v>
                </c:pt>
                <c:pt idx="14">
                  <c:v>0.48</c:v>
                </c:pt>
                <c:pt idx="15">
                  <c:v>0.047619047619047616</c:v>
                </c:pt>
                <c:pt idx="16">
                  <c:v>0.0684931506849315</c:v>
                </c:pt>
                <c:pt idx="17">
                  <c:v>0.20967741935483872</c:v>
                </c:pt>
                <c:pt idx="18">
                  <c:v>0.10505836575875487</c:v>
                </c:pt>
                <c:pt idx="19">
                  <c:v>0.0948905109489051</c:v>
                </c:pt>
                <c:pt idx="20">
                  <c:v>0.16216216216216217</c:v>
                </c:pt>
                <c:pt idx="21">
                  <c:v>0.8666666666666667</c:v>
                </c:pt>
              </c:numCache>
            </c:numRef>
          </c:yVal>
          <c:smooth val="0"/>
          <c:extLst>
            <c:ext xmlns:c16="http://schemas.microsoft.com/office/drawing/2014/chart" uri="{C3380CC4-5D6E-409C-BE32-E72D297353CC}">
              <c16:uniqueId val="{00000002-F32D-48B7-BC20-E66FC6253BAD}"/>
            </c:ext>
          </c:extLst>
        </c:ser>
        <c:ser>
          <c:idx val="2"/>
          <c:order val="2"/>
          <c:tx>
            <c:strRef>
              <c:f>Sheet1!$B$85</c:f>
              <c:strCache>
                <c:ptCount val="1"/>
                <c:pt idx="0">
                  <c:v>Custom Linep3yQ</c:v>
                </c:pt>
              </c:strCache>
            </c:strRef>
          </c:tx>
          <c:spPr>
            <a:ln w="19050" cap="rnd">
              <a:solidFill>
                <a:srgbClr val="C00000"/>
              </a:solidFill>
              <a:prstDash val="sysDot"/>
              <a:round/>
            </a:ln>
            <a:effectLst/>
          </c:spPr>
          <c:marker>
            <c:symbol val="none"/>
          </c:marker>
          <c:xVal>
            <c:numRef>
              <c:f>Sheet1!$A$86:$A$87</c:f>
              <c:numCache>
                <c:formatCode>General</c:formatCode>
                <c:ptCount val="2"/>
                <c:pt idx="0">
                  <c:v>0</c:v>
                </c:pt>
                <c:pt idx="1">
                  <c:v>-1536.1274861933814</c:v>
                </c:pt>
              </c:numCache>
            </c:numRef>
          </c:xVal>
          <c:yVal>
            <c:numRef>
              <c:f>Sheet1!$B$86:$B$87</c:f>
              <c:numCache>
                <c:formatCode>General</c:formatCode>
                <c:ptCount val="2"/>
                <c:pt idx="0">
                  <c:v>0.4404218721709216</c:v>
                </c:pt>
                <c:pt idx="1">
                  <c:v>0.4404218721709216</c:v>
                </c:pt>
              </c:numCache>
            </c:numRef>
          </c:yVal>
          <c:smooth val="0"/>
          <c:extLst>
            <c:ext xmlns:c16="http://schemas.microsoft.com/office/drawing/2014/chart" uri="{C3380CC4-5D6E-409C-BE32-E72D297353CC}">
              <c16:uniqueId val="{00000003-F32D-48B7-BC20-E66FC6253BAD}"/>
            </c:ext>
          </c:extLst>
        </c:ser>
        <c:ser>
          <c:idx val="3"/>
          <c:order val="3"/>
          <c:tx>
            <c:strRef>
              <c:f>Sheet1!$B$8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90:$A$91</c:f>
              <c:numCache>
                <c:formatCode>General</c:formatCode>
                <c:ptCount val="2"/>
                <c:pt idx="0">
                  <c:v>-1536.1274861933814</c:v>
                </c:pt>
                <c:pt idx="1">
                  <c:v>-1536.1274861933814</c:v>
                </c:pt>
              </c:numCache>
            </c:numRef>
          </c:xVal>
          <c:yVal>
            <c:numRef>
              <c:f>Sheet1!$B$90:$B$91</c:f>
              <c:numCache>
                <c:formatCode>General</c:formatCode>
                <c:ptCount val="2"/>
                <c:pt idx="0">
                  <c:v>0.440421872170921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9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94:$A$95</c:f>
              <c:numCache>
                <c:formatCode>General</c:formatCode>
                <c:ptCount val="2"/>
                <c:pt idx="0">
                  <c:v>0</c:v>
                </c:pt>
                <c:pt idx="1">
                  <c:v>-454.51299538355005</c:v>
                </c:pt>
              </c:numCache>
            </c:numRef>
          </c:xVal>
          <c:yVal>
            <c:numRef>
              <c:f>Sheet1!$B$94:$B$95</c:f>
              <c:numCache>
                <c:formatCode>General</c:formatCode>
                <c:ptCount val="2"/>
                <c:pt idx="0">
                  <c:v>0.37</c:v>
                </c:pt>
                <c:pt idx="1">
                  <c:v>0.37</c:v>
                </c:pt>
              </c:numCache>
            </c:numRef>
          </c:yVal>
          <c:smooth val="0"/>
          <c:extLst>
            <c:ext xmlns:c16="http://schemas.microsoft.com/office/drawing/2014/chart" uri="{C3380CC4-5D6E-409C-BE32-E72D297353CC}">
              <c16:uniqueId val="{0000000A-F32D-48B7-BC20-E66FC6253BAD}"/>
            </c:ext>
          </c:extLst>
        </c:ser>
        <c:ser>
          <c:idx val="5"/>
          <c:order val="5"/>
          <c:tx>
            <c:strRef>
              <c:f>Sheet1!$B$9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98:$A$99</c:f>
              <c:numCache>
                <c:formatCode>General</c:formatCode>
                <c:ptCount val="2"/>
                <c:pt idx="0">
                  <c:v>-454.51299538355005</c:v>
                </c:pt>
                <c:pt idx="1">
                  <c:v>-454.51299538355005</c:v>
                </c:pt>
              </c:numCache>
            </c:numRef>
          </c:xVal>
          <c:yVal>
            <c:numRef>
              <c:f>Sheet1!$B$98:$B$99</c:f>
              <c:numCache>
                <c:formatCode>General</c:formatCode>
                <c:ptCount val="2"/>
                <c:pt idx="0">
                  <c:v>0.3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0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02:$A$103</c:f>
              <c:numCache>
                <c:formatCode>General</c:formatCode>
                <c:ptCount val="2"/>
                <c:pt idx="0">
                  <c:v>0</c:v>
                </c:pt>
                <c:pt idx="1">
                  <c:v>1817.3846266907685</c:v>
                </c:pt>
              </c:numCache>
            </c:numRef>
          </c:xVal>
          <c:yVal>
            <c:numRef>
              <c:f>Sheet1!$B$102:$B$103</c:f>
              <c:numCache>
                <c:formatCode>General</c:formatCode>
                <c:ptCount val="2"/>
                <c:pt idx="0">
                  <c:v>0.22208104617075808</c:v>
                </c:pt>
                <c:pt idx="1">
                  <c:v>0.22208104617075808</c:v>
                </c:pt>
              </c:numCache>
            </c:numRef>
          </c:yVal>
          <c:smooth val="0"/>
          <c:extLst>
            <c:ext xmlns:c16="http://schemas.microsoft.com/office/drawing/2014/chart" uri="{C3380CC4-5D6E-409C-BE32-E72D297353CC}">
              <c16:uniqueId val="{00000011-F32D-48B7-BC20-E66FC6253BAD}"/>
            </c:ext>
          </c:extLst>
        </c:ser>
        <c:ser>
          <c:idx val="7"/>
          <c:order val="7"/>
          <c:tx>
            <c:strRef>
              <c:f>Sheet1!$B$10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1817.3846266907685</c:v>
                </c:pt>
                <c:pt idx="1">
                  <c:v>1817.3846266907685</c:v>
                </c:pt>
              </c:numCache>
            </c:numRef>
          </c:xVal>
          <c:yVal>
            <c:numRef>
              <c:f>Sheet1!$B$106:$B$107</c:f>
              <c:numCache>
                <c:formatCode>General</c:formatCode>
                <c:ptCount val="2"/>
                <c:pt idx="0">
                  <c:v>0.2220810461707580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0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10:$A$134</c:f>
              <c:numCache>
                <c:formatCode>General</c:formatCode>
                <c:ptCount val="25"/>
                <c:pt idx="0">
                  <c:v>1247.0568</c:v>
                </c:pt>
                <c:pt idx="1">
                  <c:v>1592.1105</c:v>
                </c:pt>
                <c:pt idx="2">
                  <c:v>881.2308</c:v>
                </c:pt>
                <c:pt idx="3">
                  <c:v>1093.129</c:v>
                </c:pt>
                <c:pt idx="4">
                  <c:v>2398.3333</c:v>
                </c:pt>
                <c:pt idx="5">
                  <c:v>825.5</c:v>
                </c:pt>
                <c:pt idx="6">
                  <c:v>2360.0</c:v>
                </c:pt>
                <c:pt idx="7">
                  <c:v>1066.5357</c:v>
                </c:pt>
                <c:pt idx="8">
                  <c:v>768.5</c:v>
                </c:pt>
                <c:pt idx="9">
                  <c:v>1454.2</c:v>
                </c:pt>
                <c:pt idx="10">
                  <c:v>770.6279</c:v>
                </c:pt>
                <c:pt idx="11">
                  <c:v>774.6071</c:v>
                </c:pt>
                <c:pt idx="12">
                  <c:v>1034.3514</c:v>
                </c:pt>
                <c:pt idx="13">
                  <c:v>723.1818</c:v>
                </c:pt>
                <c:pt idx="14">
                  <c:v>994.2917</c:v>
                </c:pt>
                <c:pt idx="15">
                  <c:v>1345.6923</c:v>
                </c:pt>
                <c:pt idx="16">
                  <c:v>2428.6</c:v>
                </c:pt>
                <c:pt idx="17">
                  <c:v>970.4615</c:v>
                </c:pt>
                <c:pt idx="18">
                  <c:v>1159.963</c:v>
                </c:pt>
                <c:pt idx="19">
                  <c:v>973.2308</c:v>
                </c:pt>
                <c:pt idx="20">
                  <c:v>1008.7917</c:v>
                </c:pt>
                <c:pt idx="21">
                  <c:v>1354.4615</c:v>
                </c:pt>
                <c:pt idx="22">
                  <c:v>-454.51299538355005</c:v>
                </c:pt>
                <c:pt idx="23">
                  <c:v>-1536.1274861933814</c:v>
                </c:pt>
                <c:pt idx="24">
                  <c:v>1817.3846266907685</c:v>
                </c:pt>
              </c:numCache>
            </c:numRef>
          </c:xVal>
          <c:yVal>
            <c:numRef>
              <c:f>Sheet1!$B$110:$B$134</c:f>
              <c:numCache>
                <c:formatCode>General</c:formatCode>
                <c:ptCount val="25"/>
                <c:pt idx="0">
                  <c:v>0.25921401142593453</c:v>
                </c:pt>
                <c:pt idx="1">
                  <c:v>0.23674821815118835</c:v>
                </c:pt>
                <c:pt idx="2">
                  <c:v>0.28303224983499176</c:v>
                </c:pt>
                <c:pt idx="3">
                  <c:v>0.269235959122877</c:v>
                </c:pt>
                <c:pt idx="4">
                  <c:v>0.18425657769584172</c:v>
                </c:pt>
                <c:pt idx="5">
                  <c:v>0.2866607767333737</c:v>
                </c:pt>
                <c:pt idx="6">
                  <c:v>0.18675238629994834</c:v>
                </c:pt>
                <c:pt idx="7">
                  <c:v>0.27096739854895274</c:v>
                </c:pt>
                <c:pt idx="8">
                  <c:v>0.2903719388413602</c:v>
                </c:pt>
                <c:pt idx="9">
                  <c:v>0.24572730976335447</c:v>
                </c:pt>
                <c:pt idx="10">
                  <c:v>0.2902333953001394</c:v>
                </c:pt>
                <c:pt idx="11">
                  <c:v>0.28997431712013766</c:v>
                </c:pt>
                <c:pt idx="12">
                  <c:v>0.2730628574021469</c:v>
                </c:pt>
                <c:pt idx="13">
                  <c:v>0.2933225210631523</c:v>
                </c:pt>
                <c:pt idx="14">
                  <c:v>0.27567106864245056</c:v>
                </c:pt>
                <c:pt idx="15">
                  <c:v>0.2527920407223854</c:v>
                </c:pt>
                <c:pt idx="16">
                  <c:v>0.18228597014893302</c:v>
                </c:pt>
                <c:pt idx="17">
                  <c:v>0.27722260785763897</c:v>
                </c:pt>
                <c:pt idx="18">
                  <c:v>0.2648845238891021</c:v>
                </c:pt>
                <c:pt idx="19">
                  <c:v>0.2770423039764872</c:v>
                </c:pt>
                <c:pt idx="20">
                  <c:v>0.2747270010886645</c:v>
                </c:pt>
                <c:pt idx="21">
                  <c:v>0.2522210947090985</c:v>
                </c:pt>
                <c:pt idx="22">
                  <c:v>0.37</c:v>
                </c:pt>
                <c:pt idx="23">
                  <c:v>0.4404218721709216</c:v>
                </c:pt>
                <c:pt idx="24">
                  <c:v>0.2220810461707580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81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4"/>
          <c:min val="0.004848484848484848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4</c:f>
              <c:numCache>
                <c:formatCode>General</c:formatCode>
                <c:ptCount val="1"/>
                <c:pt idx="0">
                  <c:v>0.19509861738719902</c:v>
                </c:pt>
              </c:numCache>
            </c:numRef>
          </c:xVal>
          <c:yVal>
            <c:numRef>
              <c:f>Sheet1!$B$4:$B$4</c:f>
              <c:numCache>
                <c:formatCode>General</c:formatCode>
                <c:ptCount val="1"/>
                <c:pt idx="0">
                  <c:v>0.10091743119266056</c:v>
                </c:pt>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10091743119266056</c:v>
                </c:pt>
              </c:numCache>
            </c:numRef>
          </c:xVal>
          <c:yVal>
            <c:numRef>
              <c:f>Sheet1!$B$7:$B$8</c:f>
              <c:numCache>
                <c:formatCode>General</c:formatCode>
                <c:ptCount val="2"/>
                <c:pt idx="0">
                  <c:v>0.10091743119266056</c:v>
                </c:pt>
                <c:pt idx="1">
                  <c:v>0.10091743119266056</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10091743119266056</c:v>
                </c:pt>
                <c:pt idx="1">
                  <c:v>0.10091743119266056</c:v>
                </c:pt>
              </c:numCache>
            </c:numRef>
          </c:xVal>
          <c:yVal>
            <c:numRef>
              <c:f>Sheet1!$B$11:$B$12</c:f>
              <c:numCache>
                <c:formatCode>General</c:formatCode>
                <c:ptCount val="2"/>
                <c:pt idx="0">
                  <c:v>0.100917431192660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6</c:f>
              <c:numCache>
                <c:formatCode>General</c:formatCode>
                <c:ptCount val="2"/>
                <c:pt idx="0">
                  <c:v>0</c:v>
                </c:pt>
                <c:pt idx="1">
                  <c:v>0.10091743119266056</c:v>
                </c:pt>
              </c:numCache>
            </c:numRef>
          </c:xVal>
          <c:yVal>
            <c:numRef>
              <c:f>Sheet1!$B$15:$B$16</c:f>
              <c:numCache>
                <c:formatCode>General</c:formatCode>
                <c:ptCount val="2"/>
                <c:pt idx="0">
                  <c:v>0.10091743119266056</c:v>
                </c:pt>
                <c:pt idx="1">
                  <c:v>0.10091743119266056</c:v>
                </c:pt>
              </c:numCache>
            </c:numRef>
          </c:yVal>
          <c:smooth val="0"/>
          <c:extLst>
            <c:ext xmlns:c16="http://schemas.microsoft.com/office/drawing/2014/chart" uri="{C3380CC4-5D6E-409C-BE32-E72D297353CC}">
              <c16:uniqueId val="{0000000D-096C-4121-9522-6AB7243CCAAE}"/>
            </c:ext>
          </c:extLst>
        </c:ser>
        <c:ser>
          <c:idx val="5"/>
          <c:order val="5"/>
          <c:tx>
            <c:strRef>
              <c:f>Sheet1!$B$1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9:$A$20</c:f>
              <c:numCache>
                <c:formatCode>General</c:formatCode>
                <c:ptCount val="2"/>
                <c:pt idx="0">
                  <c:v>0.10091743119266056</c:v>
                </c:pt>
                <c:pt idx="1">
                  <c:v>0.10091743119266056</c:v>
                </c:pt>
              </c:numCache>
            </c:numRef>
          </c:xVal>
          <c:yVal>
            <c:numRef>
              <c:f>Sheet1!$B$19:$B$20</c:f>
              <c:numCache>
                <c:formatCode>General</c:formatCode>
                <c:ptCount val="2"/>
                <c:pt idx="0">
                  <c:v>0.1009174311926605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2</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3:$A$26</c:f>
              <c:numCache>
                <c:formatCode>General</c:formatCode>
                <c:ptCount val="4"/>
                <c:pt idx="0">
                  <c:v>0.19509861738719902</c:v>
                </c:pt>
                <c:pt idx="1">
                  <c:v>0.10091743119266056</c:v>
                </c:pt>
                <c:pt idx="2">
                  <c:v>0.10091743119266056</c:v>
                </c:pt>
                <c:pt idx="3">
                  <c:v>0</c:v>
                </c:pt>
              </c:numCache>
            </c:numRef>
          </c:xVal>
          <c:yVal>
            <c:numRef>
              <c:f>Sheet1!$B$23:$B$26</c:f>
              <c:numCache>
                <c:formatCode>General</c:formatCode>
                <c:ptCount val="4"/>
                <c:pt idx="0">
                  <c:v>0.19509861738719902</c:v>
                </c:pt>
                <c:pt idx="1">
                  <c:v>0.10091743119266056</c:v>
                </c:pt>
                <c:pt idx="2">
                  <c:v>0.10091743119266056</c:v>
                </c:pt>
                <c:pt idx="3">
                  <c:v>0</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2110091743119267"/>
          <c:min val="0.0807339449541284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4</c:f>
              <c:numCache>
                <c:formatCode>General</c:formatCode>
                <c:ptCount val="1"/>
                <c:pt idx="0">
                  <c:v>723.1818</c:v>
                </c:pt>
              </c:numCache>
            </c:numRef>
          </c:xVal>
          <c:yVal>
            <c:numRef>
              <c:f>Sheet1!$B$4:$B$4</c:f>
              <c:numCache>
                <c:formatCode>General</c:formatCode>
                <c:ptCount val="1"/>
                <c:pt idx="0">
                  <c:v>0.10091743119266056</c:v>
                </c:pt>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10091743119266056</c:v>
                </c:pt>
              </c:numCache>
            </c:numRef>
          </c:xVal>
          <c:yVal>
            <c:numRef>
              <c:f>Sheet1!$B$7:$B$8</c:f>
              <c:numCache>
                <c:formatCode>General</c:formatCode>
                <c:ptCount val="2"/>
                <c:pt idx="0">
                  <c:v>0.10091743119266056</c:v>
                </c:pt>
                <c:pt idx="1">
                  <c:v>0.10091743119266056</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10091743119266056</c:v>
                </c:pt>
                <c:pt idx="1">
                  <c:v>0.10091743119266056</c:v>
                </c:pt>
              </c:numCache>
            </c:numRef>
          </c:xVal>
          <c:yVal>
            <c:numRef>
              <c:f>Sheet1!$B$11:$B$12</c:f>
              <c:numCache>
                <c:formatCode>General</c:formatCode>
                <c:ptCount val="2"/>
                <c:pt idx="0">
                  <c:v>0.100917431192660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6</c:f>
              <c:numCache>
                <c:formatCode>General</c:formatCode>
                <c:ptCount val="2"/>
                <c:pt idx="0">
                  <c:v>0</c:v>
                </c:pt>
                <c:pt idx="1">
                  <c:v>0.10091743119266056</c:v>
                </c:pt>
              </c:numCache>
            </c:numRef>
          </c:xVal>
          <c:yVal>
            <c:numRef>
              <c:f>Sheet1!$B$15:$B$16</c:f>
              <c:numCache>
                <c:formatCode>General</c:formatCode>
                <c:ptCount val="2"/>
                <c:pt idx="0">
                  <c:v>0.10091743119266056</c:v>
                </c:pt>
                <c:pt idx="1">
                  <c:v>0.10091743119266056</c:v>
                </c:pt>
              </c:numCache>
            </c:numRef>
          </c:yVal>
          <c:smooth val="0"/>
          <c:extLst>
            <c:ext xmlns:c16="http://schemas.microsoft.com/office/drawing/2014/chart" uri="{C3380CC4-5D6E-409C-BE32-E72D297353CC}">
              <c16:uniqueId val="{0000000A-F32D-48B7-BC20-E66FC6253BAD}"/>
            </c:ext>
          </c:extLst>
        </c:ser>
        <c:ser>
          <c:idx val="5"/>
          <c:order val="5"/>
          <c:tx>
            <c:strRef>
              <c:f>Sheet1!$B$1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9:$A$20</c:f>
              <c:numCache>
                <c:formatCode>General</c:formatCode>
                <c:ptCount val="2"/>
                <c:pt idx="0">
                  <c:v>0.10091743119266056</c:v>
                </c:pt>
                <c:pt idx="1">
                  <c:v>0.10091743119266056</c:v>
                </c:pt>
              </c:numCache>
            </c:numRef>
          </c:xVal>
          <c:yVal>
            <c:numRef>
              <c:f>Sheet1!$B$19:$B$20</c:f>
              <c:numCache>
                <c:formatCode>General</c:formatCode>
                <c:ptCount val="2"/>
                <c:pt idx="0">
                  <c:v>0.1009174311926605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2</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3:$A$26</c:f>
              <c:numCache>
                <c:formatCode>General</c:formatCode>
                <c:ptCount val="4"/>
                <c:pt idx="0">
                  <c:v>723.1818</c:v>
                </c:pt>
                <c:pt idx="1">
                  <c:v>0.10091743119266056</c:v>
                </c:pt>
                <c:pt idx="2">
                  <c:v>0.10091743119266056</c:v>
                </c:pt>
                <c:pt idx="3">
                  <c:v>0</c:v>
                </c:pt>
              </c:numCache>
            </c:numRef>
          </c:xVal>
          <c:yVal>
            <c:numRef>
              <c:f>Sheet1!$B$23:$B$26</c:f>
              <c:numCache>
                <c:formatCode>General</c:formatCode>
                <c:ptCount val="4"/>
                <c:pt idx="0">
                  <c:v>723.1818</c:v>
                </c:pt>
                <c:pt idx="1">
                  <c:v>0.10091743119266056</c:v>
                </c:pt>
                <c:pt idx="2">
                  <c:v>0.10091743119266056</c:v>
                </c:pt>
                <c:pt idx="3">
                  <c:v>0</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6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2110091743119267"/>
          <c:min val="0.0807339449541284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4</c:f>
              <c:numCache>
                <c:formatCode>General</c:formatCode>
                <c:ptCount val="1"/>
                <c:pt idx="0">
                  <c:v>0.5601027448314023</c:v>
                </c:pt>
              </c:numCache>
            </c:numRef>
          </c:xVal>
          <c:yVal>
            <c:numRef>
              <c:f>Sheet1!$B$4:$B$4</c:f>
              <c:numCache>
                <c:formatCode>General</c:formatCode>
                <c:ptCount val="1"/>
                <c:pt idx="0">
                  <c:v>0.16216216216216217</c:v>
                </c:pt>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16216216216216217</c:v>
                </c:pt>
              </c:numCache>
            </c:numRef>
          </c:xVal>
          <c:yVal>
            <c:numRef>
              <c:f>Sheet1!$B$7:$B$8</c:f>
              <c:numCache>
                <c:formatCode>General</c:formatCode>
                <c:ptCount val="2"/>
                <c:pt idx="0">
                  <c:v>0.16216216216216217</c:v>
                </c:pt>
                <c:pt idx="1">
                  <c:v>0.16216216216216217</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16216216216216217</c:v>
                </c:pt>
                <c:pt idx="1">
                  <c:v>0.16216216216216217</c:v>
                </c:pt>
              </c:numCache>
            </c:numRef>
          </c:xVal>
          <c:yVal>
            <c:numRef>
              <c:f>Sheet1!$B$11:$B$12</c:f>
              <c:numCache>
                <c:formatCode>General</c:formatCode>
                <c:ptCount val="2"/>
                <c:pt idx="0">
                  <c:v>0.1621621621621621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6</c:f>
              <c:numCache>
                <c:formatCode>General</c:formatCode>
                <c:ptCount val="2"/>
                <c:pt idx="0">
                  <c:v>0</c:v>
                </c:pt>
                <c:pt idx="1">
                  <c:v>0.16216216216216217</c:v>
                </c:pt>
              </c:numCache>
            </c:numRef>
          </c:xVal>
          <c:yVal>
            <c:numRef>
              <c:f>Sheet1!$B$15:$B$16</c:f>
              <c:numCache>
                <c:formatCode>General</c:formatCode>
                <c:ptCount val="2"/>
                <c:pt idx="0">
                  <c:v>0.16216216216216217</c:v>
                </c:pt>
                <c:pt idx="1">
                  <c:v>0.16216216216216217</c:v>
                </c:pt>
              </c:numCache>
            </c:numRef>
          </c:yVal>
          <c:smooth val="0"/>
          <c:extLst>
            <c:ext xmlns:c16="http://schemas.microsoft.com/office/drawing/2014/chart" uri="{C3380CC4-5D6E-409C-BE32-E72D297353CC}">
              <c16:uniqueId val="{0000000D-096C-4121-9522-6AB7243CCAAE}"/>
            </c:ext>
          </c:extLst>
        </c:ser>
        <c:ser>
          <c:idx val="5"/>
          <c:order val="5"/>
          <c:tx>
            <c:strRef>
              <c:f>Sheet1!$B$1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9:$A$20</c:f>
              <c:numCache>
                <c:formatCode>General</c:formatCode>
                <c:ptCount val="2"/>
                <c:pt idx="0">
                  <c:v>0.16216216216216217</c:v>
                </c:pt>
                <c:pt idx="1">
                  <c:v>0.16216216216216217</c:v>
                </c:pt>
              </c:numCache>
            </c:numRef>
          </c:xVal>
          <c:yVal>
            <c:numRef>
              <c:f>Sheet1!$B$19:$B$20</c:f>
              <c:numCache>
                <c:formatCode>General</c:formatCode>
                <c:ptCount val="2"/>
                <c:pt idx="0">
                  <c:v>0.1621621621621621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2</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3:$A$24</c:f>
              <c:numCache>
                <c:formatCode>General</c:formatCode>
                <c:ptCount val="2"/>
                <c:pt idx="0">
                  <c:v>0</c:v>
                </c:pt>
                <c:pt idx="1">
                  <c:v>0.16216216216216217</c:v>
                </c:pt>
              </c:numCache>
            </c:numRef>
          </c:xVal>
          <c:yVal>
            <c:numRef>
              <c:f>Sheet1!$B$23:$B$24</c:f>
              <c:numCache>
                <c:formatCode>General</c:formatCode>
                <c:ptCount val="2"/>
                <c:pt idx="0">
                  <c:v>0.16216216216216217</c:v>
                </c:pt>
                <c:pt idx="1">
                  <c:v>0.16216216216216217</c:v>
                </c:pt>
              </c:numCache>
            </c:numRef>
          </c:yVal>
          <c:smooth val="0"/>
          <c:extLst>
            <c:ext xmlns:c16="http://schemas.microsoft.com/office/drawing/2014/chart" uri="{C3380CC4-5D6E-409C-BE32-E72D297353CC}">
              <c16:uniqueId val="{00000015-096C-4121-9522-6AB7243CCAAE}"/>
            </c:ext>
          </c:extLst>
        </c:ser>
        <c:ser>
          <c:idx val="7"/>
          <c:order val="7"/>
          <c:tx>
            <c:strRef>
              <c:f>Sheet1!$B$26</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16216216216216217</c:v>
                </c:pt>
                <c:pt idx="1">
                  <c:v>0.16216216216216217</c:v>
                </c:pt>
              </c:numCache>
            </c:numRef>
          </c:xVal>
          <c:yVal>
            <c:numRef>
              <c:f>Sheet1!$B$27:$B$28</c:f>
              <c:numCache>
                <c:formatCode>General</c:formatCode>
                <c:ptCount val="2"/>
                <c:pt idx="0">
                  <c:v>0.1621621621621621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0</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1:$A$34</c:f>
              <c:numCache>
                <c:formatCode>General</c:formatCode>
                <c:ptCount val="4"/>
                <c:pt idx="0">
                  <c:v>0.5601027448314023</c:v>
                </c:pt>
                <c:pt idx="1">
                  <c:v>0.16216216216216217</c:v>
                </c:pt>
                <c:pt idx="2">
                  <c:v>0.16216216216216217</c:v>
                </c:pt>
                <c:pt idx="3">
                  <c:v>0.16216216216216217</c:v>
                </c:pt>
              </c:numCache>
            </c:numRef>
          </c:xVal>
          <c:yVal>
            <c:numRef>
              <c:f>Sheet1!$B$31:$B$34</c:f>
              <c:numCache>
                <c:formatCode>General</c:formatCode>
                <c:ptCount val="4"/>
                <c:pt idx="0">
                  <c:v>0.5601027448314023</c:v>
                </c:pt>
                <c:pt idx="1">
                  <c:v>0.16216216216216217</c:v>
                </c:pt>
                <c:pt idx="2">
                  <c:v>0.16216216216216217</c:v>
                </c:pt>
                <c:pt idx="3">
                  <c:v>0.1621621621621621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45945945945946"/>
          <c:min val="0.129729729729729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4</c:f>
              <c:numCache>
                <c:formatCode>General</c:formatCode>
                <c:ptCount val="1"/>
                <c:pt idx="0">
                  <c:v>1008.7917</c:v>
                </c:pt>
              </c:numCache>
            </c:numRef>
          </c:xVal>
          <c:yVal>
            <c:numRef>
              <c:f>Sheet1!$B$4:$B$4</c:f>
              <c:numCache>
                <c:formatCode>General</c:formatCode>
                <c:ptCount val="1"/>
                <c:pt idx="0">
                  <c:v>0.16216216216216217</c:v>
                </c:pt>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16216216216216217</c:v>
                </c:pt>
              </c:numCache>
            </c:numRef>
          </c:xVal>
          <c:yVal>
            <c:numRef>
              <c:f>Sheet1!$B$7:$B$8</c:f>
              <c:numCache>
                <c:formatCode>General</c:formatCode>
                <c:ptCount val="2"/>
                <c:pt idx="0">
                  <c:v>0.16216216216216217</c:v>
                </c:pt>
                <c:pt idx="1">
                  <c:v>0.16216216216216217</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16216216216216217</c:v>
                </c:pt>
                <c:pt idx="1">
                  <c:v>0.16216216216216217</c:v>
                </c:pt>
              </c:numCache>
            </c:numRef>
          </c:xVal>
          <c:yVal>
            <c:numRef>
              <c:f>Sheet1!$B$11:$B$12</c:f>
              <c:numCache>
                <c:formatCode>General</c:formatCode>
                <c:ptCount val="2"/>
                <c:pt idx="0">
                  <c:v>0.1621621621621621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6</c:f>
              <c:numCache>
                <c:formatCode>General</c:formatCode>
                <c:ptCount val="2"/>
                <c:pt idx="0">
                  <c:v>0</c:v>
                </c:pt>
                <c:pt idx="1">
                  <c:v>0.16216216216216217</c:v>
                </c:pt>
              </c:numCache>
            </c:numRef>
          </c:xVal>
          <c:yVal>
            <c:numRef>
              <c:f>Sheet1!$B$15:$B$16</c:f>
              <c:numCache>
                <c:formatCode>General</c:formatCode>
                <c:ptCount val="2"/>
                <c:pt idx="0">
                  <c:v>0.16216216216216217</c:v>
                </c:pt>
                <c:pt idx="1">
                  <c:v>0.16216216216216217</c:v>
                </c:pt>
              </c:numCache>
            </c:numRef>
          </c:yVal>
          <c:smooth val="0"/>
          <c:extLst>
            <c:ext xmlns:c16="http://schemas.microsoft.com/office/drawing/2014/chart" uri="{C3380CC4-5D6E-409C-BE32-E72D297353CC}">
              <c16:uniqueId val="{0000000A-F32D-48B7-BC20-E66FC6253BAD}"/>
            </c:ext>
          </c:extLst>
        </c:ser>
        <c:ser>
          <c:idx val="5"/>
          <c:order val="5"/>
          <c:tx>
            <c:strRef>
              <c:f>Sheet1!$B$1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9:$A$20</c:f>
              <c:numCache>
                <c:formatCode>General</c:formatCode>
                <c:ptCount val="2"/>
                <c:pt idx="0">
                  <c:v>0.16216216216216217</c:v>
                </c:pt>
                <c:pt idx="1">
                  <c:v>0.16216216216216217</c:v>
                </c:pt>
              </c:numCache>
            </c:numRef>
          </c:xVal>
          <c:yVal>
            <c:numRef>
              <c:f>Sheet1!$B$19:$B$20</c:f>
              <c:numCache>
                <c:formatCode>General</c:formatCode>
                <c:ptCount val="2"/>
                <c:pt idx="0">
                  <c:v>0.1621621621621621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2</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3:$A$24</c:f>
              <c:numCache>
                <c:formatCode>General</c:formatCode>
                <c:ptCount val="2"/>
                <c:pt idx="0">
                  <c:v>0</c:v>
                </c:pt>
                <c:pt idx="1">
                  <c:v>0.16216216216216217</c:v>
                </c:pt>
              </c:numCache>
            </c:numRef>
          </c:xVal>
          <c:yVal>
            <c:numRef>
              <c:f>Sheet1!$B$23:$B$24</c:f>
              <c:numCache>
                <c:formatCode>General</c:formatCode>
                <c:ptCount val="2"/>
                <c:pt idx="0">
                  <c:v>0.16216216216216217</c:v>
                </c:pt>
                <c:pt idx="1">
                  <c:v>0.16216216216216217</c:v>
                </c:pt>
              </c:numCache>
            </c:numRef>
          </c:yVal>
          <c:smooth val="0"/>
          <c:extLst>
            <c:ext xmlns:c16="http://schemas.microsoft.com/office/drawing/2014/chart" uri="{C3380CC4-5D6E-409C-BE32-E72D297353CC}">
              <c16:uniqueId val="{00000011-F32D-48B7-BC20-E66FC6253BAD}"/>
            </c:ext>
          </c:extLst>
        </c:ser>
        <c:ser>
          <c:idx val="7"/>
          <c:order val="7"/>
          <c:tx>
            <c:strRef>
              <c:f>Sheet1!$B$26</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0.16216216216216217</c:v>
                </c:pt>
                <c:pt idx="1">
                  <c:v>0.16216216216216217</c:v>
                </c:pt>
              </c:numCache>
            </c:numRef>
          </c:xVal>
          <c:yVal>
            <c:numRef>
              <c:f>Sheet1!$B$27:$B$28</c:f>
              <c:numCache>
                <c:formatCode>General</c:formatCode>
                <c:ptCount val="2"/>
                <c:pt idx="0">
                  <c:v>0.1621621621621621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0</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1:$A$34</c:f>
              <c:numCache>
                <c:formatCode>General</c:formatCode>
                <c:ptCount val="4"/>
                <c:pt idx="0">
                  <c:v>1008.7917</c:v>
                </c:pt>
                <c:pt idx="1">
                  <c:v>0.16216216216216217</c:v>
                </c:pt>
                <c:pt idx="2">
                  <c:v>0.16216216216216217</c:v>
                </c:pt>
                <c:pt idx="3">
                  <c:v>0.16216216216216217</c:v>
                </c:pt>
              </c:numCache>
            </c:numRef>
          </c:xVal>
          <c:yVal>
            <c:numRef>
              <c:f>Sheet1!$B$31:$B$34</c:f>
              <c:numCache>
                <c:formatCode>General</c:formatCode>
                <c:ptCount val="4"/>
                <c:pt idx="0">
                  <c:v>1008.7917</c:v>
                </c:pt>
                <c:pt idx="1">
                  <c:v>0.16216216216216217</c:v>
                </c:pt>
                <c:pt idx="2">
                  <c:v>0.16216216216216217</c:v>
                </c:pt>
                <c:pt idx="3">
                  <c:v>0.1621621621621621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1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45945945945946"/>
          <c:min val="0.129729729729729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8</c:f>
              <c:numCache>
                <c:formatCode>General</c:formatCode>
                <c:ptCount val="27"/>
                <c:pt idx="0">
                  <c:v>1.0663003188682603</c:v>
                </c:pt>
                <c:pt idx="1">
                  <c:v>0.9852524249912523</c:v>
                </c:pt>
                <c:pt idx="2">
                  <c:v>1.3457252887309166</c:v>
                </c:pt>
                <c:pt idx="3">
                  <c:v>1.1995890980944797</c:v>
                </c:pt>
                <c:pt idx="4">
                  <c:v>1.2694024692529493</c:v>
                </c:pt>
                <c:pt idx="5">
                  <c:v>1.2610285173325804</c:v>
                </c:pt>
                <c:pt idx="6">
                  <c:v>0.8821476608935158</c:v>
                </c:pt>
                <c:pt idx="7">
                  <c:v>0.8848073939074311</c:v>
                </c:pt>
                <c:pt idx="8">
                  <c:v>1.1713760318001267</c:v>
                </c:pt>
                <c:pt idx="9">
                  <c:v>1.0016646946813748</c:v>
                </c:pt>
                <c:pt idx="10">
                  <c:v>0.7534845814128359</c:v>
                </c:pt>
                <c:pt idx="11">
                  <c:v>1.1647307176040496</c:v>
                </c:pt>
                <c:pt idx="12">
                  <c:v>0.8172734822781417</c:v>
                </c:pt>
                <c:pt idx="13">
                  <c:v>1.0963851556345174</c:v>
                </c:pt>
                <c:pt idx="14">
                  <c:v>0.882095055875082</c:v>
                </c:pt>
                <c:pt idx="15">
                  <c:v>1.0256781749233057</c:v>
                </c:pt>
                <c:pt idx="16">
                  <c:v>0.804656610857386</c:v>
                </c:pt>
                <c:pt idx="17">
                  <c:v>0.8453551757105497</c:v>
                </c:pt>
                <c:pt idx="18">
                  <c:v>0.8517298272750711</c:v>
                </c:pt>
                <c:pt idx="19">
                  <c:v>0.7219266464817704</c:v>
                </c:pt>
                <c:pt idx="20">
                  <c:v>0.7860509352135945</c:v>
                </c:pt>
                <c:pt idx="21">
                  <c:v>0.703436599067321</c:v>
                </c:pt>
                <c:pt idx="22">
                  <c:v>1.1944414781421793</c:v>
                </c:pt>
                <c:pt idx="23">
                  <c:v>0.7801132592182783</c:v>
                </c:pt>
                <c:pt idx="24">
                  <c:v>0.9466593916644839</c:v>
                </c:pt>
                <c:pt idx="25">
                  <c:v>0.5110733963989805</c:v>
                </c:pt>
                <c:pt idx="26">
                  <c:v>0.7810406239335944</c:v>
                </c:pt>
              </c:numCache>
            </c:numRef>
          </c:xVal>
          <c:yVal>
            <c:numRef>
              <c:f>Sheet1!$B$2:$B$28</c:f>
              <c:numCache>
                <c:formatCode>General</c:formatCode>
                <c:ptCount val="27"/>
                <c:pt idx="0">
                  <c:v>0.12307692307692308</c:v>
                </c:pt>
                <c:pt idx="1">
                  <c:v>0.6163522012578616</c:v>
                </c:pt>
                <c:pt idx="2">
                  <c:v>0.04736842105263158</c:v>
                </c:pt>
                <c:pt idx="3">
                  <c:v>0.24193548387096775</c:v>
                </c:pt>
                <c:pt idx="4">
                  <c:v>0.5451895043731778</c:v>
                </c:pt>
                <c:pt idx="5">
                  <c:v>0.379746835443038</c:v>
                </c:pt>
                <c:pt idx="6">
                  <c:v>0.45217391304347826</c:v>
                </c:pt>
                <c:pt idx="7">
                  <c:v>0.6775244299674267</c:v>
                </c:pt>
                <c:pt idx="8">
                  <c:v>0.4528301886792453</c:v>
                </c:pt>
                <c:pt idx="9">
                  <c:v>0.4177215189873418</c:v>
                </c:pt>
                <c:pt idx="10">
                  <c:v>0.362962962962963</c:v>
                </c:pt>
                <c:pt idx="11">
                  <c:v>0.46601941747572817</c:v>
                </c:pt>
                <c:pt idx="12">
                  <c:v>0.5</c:v>
                </c:pt>
                <c:pt idx="13">
                  <c:v>0.12371134020618557</c:v>
                </c:pt>
                <c:pt idx="14">
                  <c:v>0.1901931649331352</c:v>
                </c:pt>
                <c:pt idx="15">
                  <c:v>0.42857142857142855</c:v>
                </c:pt>
                <c:pt idx="16">
                  <c:v>0.22043010752688172</c:v>
                </c:pt>
                <c:pt idx="17">
                  <c:v>0.075</c:v>
                </c:pt>
                <c:pt idx="18">
                  <c:v>0.07631578947368421</c:v>
                </c:pt>
                <c:pt idx="19">
                  <c:v>0.2616822429906542</c:v>
                </c:pt>
                <c:pt idx="20">
                  <c:v>0.4153846153846154</c:v>
                </c:pt>
                <c:pt idx="21">
                  <c:v>0.12121212121212122</c:v>
                </c:pt>
                <c:pt idx="22">
                  <c:v>0.023809523809523808</c:v>
                </c:pt>
                <c:pt idx="23">
                  <c:v>0.23319327731092437</c:v>
                </c:pt>
                <c:pt idx="24">
                  <c:v>0.03773584905660377</c:v>
                </c:pt>
                <c:pt idx="25">
                  <c:v>0.1111111111111111</c:v>
                </c:pt>
                <c:pt idx="26">
                  <c:v>0.0297029702970297</c:v>
                </c:pt>
              </c:numCache>
            </c:numRef>
          </c:yVal>
          <c:smooth val="0"/>
          <c:extLst>
            <c:ext xmlns:c16="http://schemas.microsoft.com/office/drawing/2014/chart" uri="{C3380CC4-5D6E-409C-BE32-E72D297353CC}">
              <c16:uniqueId val="{00000000-096C-4121-9522-6AB7243CCAAE}"/>
            </c:ext>
          </c:extLst>
        </c:ser>
        <c:ser>
          <c:idx val="1"/>
          <c:order val="1"/>
          <c:tx>
            <c:strRef>
              <c:f>Sheet1!$B$3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31:$A$41</c:f>
              <c:numCache>
                <c:formatCode>General</c:formatCode>
                <c:ptCount val="11"/>
                <c:pt idx="0">
                  <c:v>0.7193000570788165</c:v>
                </c:pt>
                <c:pt idx="1">
                  <c:v>0.8080974232407288</c:v>
                </c:pt>
                <c:pt idx="2">
                  <c:v>0.7997653147942584</c:v>
                </c:pt>
                <c:pt idx="3">
                  <c:v>0.8717301907458171</c:v>
                </c:pt>
                <c:pt idx="4">
                  <c:v>0.42358936680319215</c:v>
                </c:pt>
                <c:pt idx="5">
                  <c:v>0.5652802738369362</c:v>
                </c:pt>
                <c:pt idx="6">
                  <c:v>1.1828187908636154</c:v>
                </c:pt>
                <c:pt idx="7">
                  <c:v>0.6529920577813142</c:v>
                </c:pt>
                <c:pt idx="8">
                  <c:v>1.1325863184514415</c:v>
                </c:pt>
                <c:pt idx="9">
                  <c:v>1.023416351610878</c:v>
                </c:pt>
                <c:pt idx="10">
                  <c:v>0.8026333837010174</c:v>
                </c:pt>
              </c:numCache>
            </c:numRef>
          </c:xVal>
          <c:yVal>
            <c:numRef>
              <c:f>Sheet1!$B$31:$B$41</c:f>
              <c:numCache>
                <c:formatCode>General</c:formatCode>
                <c:ptCount val="11"/>
                <c:pt idx="0">
                  <c:v>0.2923728813559322</c:v>
                </c:pt>
                <c:pt idx="1">
                  <c:v>0.04941860465116279</c:v>
                </c:pt>
                <c:pt idx="2">
                  <c:v>0.24873096446700507</c:v>
                </c:pt>
                <c:pt idx="3">
                  <c:v>0.4930555555555556</c:v>
                </c:pt>
                <c:pt idx="4">
                  <c:v>0.03015075376884422</c:v>
                </c:pt>
                <c:pt idx="5">
                  <c:v>0.13690476190476192</c:v>
                </c:pt>
                <c:pt idx="6">
                  <c:v>0.30392156862745096</c:v>
                </c:pt>
                <c:pt idx="7">
                  <c:v>0.2903225806451613</c:v>
                </c:pt>
                <c:pt idx="8">
                  <c:v>0.21</c:v>
                </c:pt>
                <c:pt idx="9">
                  <c:v>0.1917808219178082</c:v>
                </c:pt>
                <c:pt idx="10">
                  <c:v>0.4189189189189189</c:v>
                </c:pt>
              </c:numCache>
            </c:numRef>
          </c:yVal>
          <c:smooth val="0"/>
          <c:extLst>
            <c:ext xmlns:c16="http://schemas.microsoft.com/office/drawing/2014/chart" uri="{C3380CC4-5D6E-409C-BE32-E72D297353CC}">
              <c16:uniqueId val="{00000002-096C-4121-9522-6AB7243CCAAE}"/>
            </c:ext>
          </c:extLst>
        </c:ser>
        <c:ser>
          <c:idx val="2"/>
          <c:order val="2"/>
          <c:tx>
            <c:strRef>
              <c:f>Sheet1!$B$4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44:$A$45</c:f>
              <c:numCache>
                <c:formatCode>General</c:formatCode>
                <c:ptCount val="2"/>
                <c:pt idx="0">
                  <c:v>0</c:v>
                </c:pt>
                <c:pt idx="1">
                  <c:v>1.929805073895478</c:v>
                </c:pt>
              </c:numCache>
            </c:numRef>
          </c:xVal>
          <c:yVal>
            <c:numRef>
              <c:f>Sheet1!$B$44:$B$45</c:f>
              <c:numCache>
                <c:formatCode>General</c:formatCode>
                <c:ptCount val="2"/>
                <c:pt idx="0">
                  <c:v>0.4756046330165976</c:v>
                </c:pt>
                <c:pt idx="1">
                  <c:v>0.4756046330165976</c:v>
                </c:pt>
              </c:numCache>
            </c:numRef>
          </c:yVal>
          <c:smooth val="0"/>
          <c:extLst>
            <c:ext xmlns:c16="http://schemas.microsoft.com/office/drawing/2014/chart" uri="{C3380CC4-5D6E-409C-BE32-E72D297353CC}">
              <c16:uniqueId val="{00000005-096C-4121-9522-6AB7243CCAAE}"/>
            </c:ext>
          </c:extLst>
        </c:ser>
        <c:ser>
          <c:idx val="3"/>
          <c:order val="3"/>
          <c:tx>
            <c:strRef>
              <c:f>Sheet1!$B$4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8:$A$49</c:f>
              <c:numCache>
                <c:formatCode>General</c:formatCode>
                <c:ptCount val="2"/>
                <c:pt idx="0">
                  <c:v>1.929805073895478</c:v>
                </c:pt>
                <c:pt idx="1">
                  <c:v>1.929805073895478</c:v>
                </c:pt>
              </c:numCache>
            </c:numRef>
          </c:xVal>
          <c:yVal>
            <c:numRef>
              <c:f>Sheet1!$B$48:$B$49</c:f>
              <c:numCache>
                <c:formatCode>General</c:formatCode>
                <c:ptCount val="2"/>
                <c:pt idx="0">
                  <c:v>0.475604633016597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5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52:$A$53</c:f>
              <c:numCache>
                <c:formatCode>General</c:formatCode>
                <c:ptCount val="2"/>
                <c:pt idx="0">
                  <c:v>0</c:v>
                </c:pt>
                <c:pt idx="1">
                  <c:v>1.6592932626411756</c:v>
                </c:pt>
              </c:numCache>
            </c:numRef>
          </c:xVal>
          <c:yVal>
            <c:numRef>
              <c:f>Sheet1!$B$52:$B$53</c:f>
              <c:numCache>
                <c:formatCode>General</c:formatCode>
                <c:ptCount val="2"/>
                <c:pt idx="0">
                  <c:v>0.4189189189189189</c:v>
                </c:pt>
                <c:pt idx="1">
                  <c:v>0.4189189189189189</c:v>
                </c:pt>
              </c:numCache>
            </c:numRef>
          </c:yVal>
          <c:smooth val="0"/>
          <c:extLst>
            <c:ext xmlns:c16="http://schemas.microsoft.com/office/drawing/2014/chart" uri="{C3380CC4-5D6E-409C-BE32-E72D297353CC}">
              <c16:uniqueId val="{0000000D-096C-4121-9522-6AB7243CCAAE}"/>
            </c:ext>
          </c:extLst>
        </c:ser>
        <c:ser>
          <c:idx val="5"/>
          <c:order val="5"/>
          <c:tx>
            <c:strRef>
              <c:f>Sheet1!$B$5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6:$A$57</c:f>
              <c:numCache>
                <c:formatCode>General</c:formatCode>
                <c:ptCount val="2"/>
                <c:pt idx="0">
                  <c:v>1.6592932626411756</c:v>
                </c:pt>
                <c:pt idx="1">
                  <c:v>1.6592932626411756</c:v>
                </c:pt>
              </c:numCache>
            </c:numRef>
          </c:xVal>
          <c:yVal>
            <c:numRef>
              <c:f>Sheet1!$B$56:$B$57</c:f>
              <c:numCache>
                <c:formatCode>General</c:formatCode>
                <c:ptCount val="2"/>
                <c:pt idx="0">
                  <c:v>0.418918918918918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59</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60:$A$61</c:f>
              <c:numCache>
                <c:formatCode>General</c:formatCode>
                <c:ptCount val="2"/>
                <c:pt idx="0">
                  <c:v>0</c:v>
                </c:pt>
                <c:pt idx="1">
                  <c:v>1.117326569597945</c:v>
                </c:pt>
              </c:numCache>
            </c:numRef>
          </c:xVal>
          <c:yVal>
            <c:numRef>
              <c:f>Sheet1!$B$60:$B$61</c:f>
              <c:numCache>
                <c:formatCode>General</c:formatCode>
                <c:ptCount val="2"/>
                <c:pt idx="0">
                  <c:v>0.3053498704183636</c:v>
                </c:pt>
                <c:pt idx="1">
                  <c:v>0.3053498704183636</c:v>
                </c:pt>
              </c:numCache>
            </c:numRef>
          </c:yVal>
          <c:smooth val="0"/>
          <c:extLst>
            <c:ext xmlns:c16="http://schemas.microsoft.com/office/drawing/2014/chart" uri="{C3380CC4-5D6E-409C-BE32-E72D297353CC}">
              <c16:uniqueId val="{00000015-096C-4121-9522-6AB7243CCAAE}"/>
            </c:ext>
          </c:extLst>
        </c:ser>
        <c:ser>
          <c:idx val="7"/>
          <c:order val="7"/>
          <c:tx>
            <c:strRef>
              <c:f>Sheet1!$B$63</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4:$A$65</c:f>
              <c:numCache>
                <c:formatCode>General</c:formatCode>
                <c:ptCount val="2"/>
                <c:pt idx="0">
                  <c:v>1.117326569597945</c:v>
                </c:pt>
                <c:pt idx="1">
                  <c:v>1.117326569597945</c:v>
                </c:pt>
              </c:numCache>
            </c:numRef>
          </c:xVal>
          <c:yVal>
            <c:numRef>
              <c:f>Sheet1!$B$64:$B$65</c:f>
              <c:numCache>
                <c:formatCode>General</c:formatCode>
                <c:ptCount val="2"/>
                <c:pt idx="0">
                  <c:v>0.30534987041836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67</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68:$A$81</c:f>
              <c:numCache>
                <c:formatCode>General</c:formatCode>
                <c:ptCount val="14"/>
                <c:pt idx="0">
                  <c:v>0.7193000570788165</c:v>
                </c:pt>
                <c:pt idx="1">
                  <c:v>0.8080974232407288</c:v>
                </c:pt>
                <c:pt idx="2">
                  <c:v>0.7997653147942584</c:v>
                </c:pt>
                <c:pt idx="3">
                  <c:v>0.8717301907458171</c:v>
                </c:pt>
                <c:pt idx="4">
                  <c:v>0.42358936680319215</c:v>
                </c:pt>
                <c:pt idx="5">
                  <c:v>0.5652802738369362</c:v>
                </c:pt>
                <c:pt idx="6">
                  <c:v>1.1828187908636154</c:v>
                </c:pt>
                <c:pt idx="7">
                  <c:v>0.6529920577813142</c:v>
                </c:pt>
                <c:pt idx="8">
                  <c:v>1.1325863184514415</c:v>
                </c:pt>
                <c:pt idx="9">
                  <c:v>1.023416351610878</c:v>
                </c:pt>
                <c:pt idx="10">
                  <c:v>0.8026333837010174</c:v>
                </c:pt>
                <c:pt idx="11">
                  <c:v>1.6592932626411756</c:v>
                </c:pt>
                <c:pt idx="12">
                  <c:v>1.929805073895478</c:v>
                </c:pt>
                <c:pt idx="13">
                  <c:v>1.117326569597945</c:v>
                </c:pt>
              </c:numCache>
            </c:numRef>
          </c:xVal>
          <c:yVal>
            <c:numRef>
              <c:f>Sheet1!$B$68:$B$81</c:f>
              <c:numCache>
                <c:formatCode>General</c:formatCode>
                <c:ptCount val="14"/>
                <c:pt idx="0">
                  <c:v>0.22194346761717498</c:v>
                </c:pt>
                <c:pt idx="1">
                  <c:v>0.2405509438953517</c:v>
                </c:pt>
                <c:pt idx="2">
                  <c:v>0.23880495167771998</c:v>
                </c:pt>
                <c:pt idx="3">
                  <c:v>0.2538851818693327</c:v>
                </c:pt>
                <c:pt idx="4">
                  <c:v>0.15997733176947584</c:v>
                </c:pt>
                <c:pt idx="5">
                  <c:v>0.18966864250786358</c:v>
                </c:pt>
                <c:pt idx="6">
                  <c:v>0.31907375668075555</c:v>
                </c:pt>
                <c:pt idx="7">
                  <c:v>0.20804863517662842</c:v>
                </c:pt>
                <c:pt idx="8">
                  <c:v>0.30854754876261337</c:v>
                </c:pt>
                <c:pt idx="9">
                  <c:v>0.2856709967197169</c:v>
                </c:pt>
                <c:pt idx="10">
                  <c:v>0.2394059551359688</c:v>
                </c:pt>
                <c:pt idx="11">
                  <c:v>0.4189189189189189</c:v>
                </c:pt>
                <c:pt idx="12">
                  <c:v>0.4756046330165976</c:v>
                </c:pt>
                <c:pt idx="13">
                  <c:v>0.3053498704183635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13029315960912"/>
          <c:min val="0.019047619047619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8</c:f>
              <c:numCache>
                <c:formatCode>General</c:formatCode>
                <c:ptCount val="27"/>
                <c:pt idx="0">
                  <c:v>1119.9107</c:v>
                </c:pt>
                <c:pt idx="1">
                  <c:v>1029.7347</c:v>
                </c:pt>
                <c:pt idx="2">
                  <c:v>1437.8889</c:v>
                </c:pt>
                <c:pt idx="3">
                  <c:v>1350.4</c:v>
                </c:pt>
                <c:pt idx="4">
                  <c:v>1091.6257</c:v>
                </c:pt>
                <c:pt idx="5">
                  <c:v>1353.3667</c:v>
                </c:pt>
                <c:pt idx="6">
                  <c:v>1027.5817</c:v>
                </c:pt>
                <c:pt idx="7">
                  <c:v>1204.9423</c:v>
                </c:pt>
                <c:pt idx="8">
                  <c:v>1331.2083</c:v>
                </c:pt>
                <c:pt idx="9">
                  <c:v>1173.697</c:v>
                </c:pt>
                <c:pt idx="10">
                  <c:v>1363.4898</c:v>
                </c:pt>
                <c:pt idx="11">
                  <c:v>1340.1875</c:v>
                </c:pt>
                <c:pt idx="12">
                  <c:v>1176.9441</c:v>
                </c:pt>
                <c:pt idx="13">
                  <c:v>1339.625</c:v>
                </c:pt>
                <c:pt idx="14">
                  <c:v>1169.2656</c:v>
                </c:pt>
                <c:pt idx="15">
                  <c:v>1196.1344</c:v>
                </c:pt>
                <c:pt idx="16">
                  <c:v>1047.6098</c:v>
                </c:pt>
                <c:pt idx="17">
                  <c:v>1129.1333</c:v>
                </c:pt>
                <c:pt idx="18">
                  <c:v>1106.7931</c:v>
                </c:pt>
                <c:pt idx="19">
                  <c:v>1116.2232</c:v>
                </c:pt>
                <c:pt idx="20">
                  <c:v>1065.7593</c:v>
                </c:pt>
                <c:pt idx="21">
                  <c:v>1088.1</c:v>
                </c:pt>
                <c:pt idx="22">
                  <c:v>1692.3333</c:v>
                </c:pt>
                <c:pt idx="23">
                  <c:v>1106.6306</c:v>
                </c:pt>
                <c:pt idx="24">
                  <c:v>1062.1667</c:v>
                </c:pt>
                <c:pt idx="25">
                  <c:v>695.5897</c:v>
                </c:pt>
                <c:pt idx="26">
                  <c:v>1068.1667</c:v>
                </c:pt>
              </c:numCache>
            </c:numRef>
          </c:xVal>
          <c:yVal>
            <c:numRef>
              <c:f>Sheet1!$B$2:$B$28</c:f>
              <c:numCache>
                <c:formatCode>General</c:formatCode>
                <c:ptCount val="27"/>
                <c:pt idx="0">
                  <c:v>0.12307692307692308</c:v>
                </c:pt>
                <c:pt idx="1">
                  <c:v>0.6163522012578616</c:v>
                </c:pt>
                <c:pt idx="2">
                  <c:v>0.04736842105263158</c:v>
                </c:pt>
                <c:pt idx="3">
                  <c:v>0.24193548387096775</c:v>
                </c:pt>
                <c:pt idx="4">
                  <c:v>0.5451895043731778</c:v>
                </c:pt>
                <c:pt idx="5">
                  <c:v>0.379746835443038</c:v>
                </c:pt>
                <c:pt idx="6">
                  <c:v>0.45217391304347826</c:v>
                </c:pt>
                <c:pt idx="7">
                  <c:v>0.6775244299674267</c:v>
                </c:pt>
                <c:pt idx="8">
                  <c:v>0.4528301886792453</c:v>
                </c:pt>
                <c:pt idx="9">
                  <c:v>0.4177215189873418</c:v>
                </c:pt>
                <c:pt idx="10">
                  <c:v>0.362962962962963</c:v>
                </c:pt>
                <c:pt idx="11">
                  <c:v>0.46601941747572817</c:v>
                </c:pt>
                <c:pt idx="12">
                  <c:v>0.5</c:v>
                </c:pt>
                <c:pt idx="13">
                  <c:v>0.12371134020618557</c:v>
                </c:pt>
                <c:pt idx="14">
                  <c:v>0.1901931649331352</c:v>
                </c:pt>
                <c:pt idx="15">
                  <c:v>0.42857142857142855</c:v>
                </c:pt>
                <c:pt idx="16">
                  <c:v>0.22043010752688172</c:v>
                </c:pt>
                <c:pt idx="17">
                  <c:v>0.075</c:v>
                </c:pt>
                <c:pt idx="18">
                  <c:v>0.07631578947368421</c:v>
                </c:pt>
                <c:pt idx="19">
                  <c:v>0.2616822429906542</c:v>
                </c:pt>
                <c:pt idx="20">
                  <c:v>0.4153846153846154</c:v>
                </c:pt>
                <c:pt idx="21">
                  <c:v>0.12121212121212122</c:v>
                </c:pt>
                <c:pt idx="22">
                  <c:v>0.023809523809523808</c:v>
                </c:pt>
                <c:pt idx="23">
                  <c:v>0.23319327731092437</c:v>
                </c:pt>
                <c:pt idx="24">
                  <c:v>0.03773584905660377</c:v>
                </c:pt>
                <c:pt idx="25">
                  <c:v>0.1111111111111111</c:v>
                </c:pt>
                <c:pt idx="26">
                  <c:v>0.0297029702970297</c:v>
                </c:pt>
              </c:numCache>
            </c:numRef>
          </c:yVal>
          <c:smooth val="0"/>
          <c:extLst>
            <c:ext xmlns:c16="http://schemas.microsoft.com/office/drawing/2014/chart" uri="{C3380CC4-5D6E-409C-BE32-E72D297353CC}">
              <c16:uniqueId val="{00000000-F32D-48B7-BC20-E66FC6253BAD}"/>
            </c:ext>
          </c:extLst>
        </c:ser>
        <c:ser>
          <c:idx val="1"/>
          <c:order val="1"/>
          <c:tx>
            <c:strRef>
              <c:f>Sheet1!$B$30</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31:$A$41</c:f>
              <c:numCache>
                <c:formatCode>General</c:formatCode>
                <c:ptCount val="11"/>
                <c:pt idx="0">
                  <c:v>1006.6377</c:v>
                </c:pt>
                <c:pt idx="1">
                  <c:v>1143.5882</c:v>
                </c:pt>
                <c:pt idx="2">
                  <c:v>1054.8571</c:v>
                </c:pt>
                <c:pt idx="3">
                  <c:v>1132.4789</c:v>
                </c:pt>
                <c:pt idx="4">
                  <c:v>643.1667</c:v>
                </c:pt>
                <c:pt idx="5">
                  <c:v>708.5652</c:v>
                </c:pt>
                <c:pt idx="6">
                  <c:v>1495.7419</c:v>
                </c:pt>
                <c:pt idx="7">
                  <c:v>1054.6</c:v>
                </c:pt>
                <c:pt idx="8">
                  <c:v>1608.8571</c:v>
                </c:pt>
                <c:pt idx="9">
                  <c:v>1543.7857</c:v>
                </c:pt>
                <c:pt idx="10">
                  <c:v>995.9677</c:v>
                </c:pt>
              </c:numCache>
            </c:numRef>
          </c:xVal>
          <c:yVal>
            <c:numRef>
              <c:f>Sheet1!$B$31:$B$41</c:f>
              <c:numCache>
                <c:formatCode>General</c:formatCode>
                <c:ptCount val="11"/>
                <c:pt idx="0">
                  <c:v>0.2923728813559322</c:v>
                </c:pt>
                <c:pt idx="1">
                  <c:v>0.04941860465116279</c:v>
                </c:pt>
                <c:pt idx="2">
                  <c:v>0.24873096446700507</c:v>
                </c:pt>
                <c:pt idx="3">
                  <c:v>0.4930555555555556</c:v>
                </c:pt>
                <c:pt idx="4">
                  <c:v>0.03015075376884422</c:v>
                </c:pt>
                <c:pt idx="5">
                  <c:v>0.13690476190476192</c:v>
                </c:pt>
                <c:pt idx="6">
                  <c:v>0.30392156862745096</c:v>
                </c:pt>
                <c:pt idx="7">
                  <c:v>0.2903225806451613</c:v>
                </c:pt>
                <c:pt idx="8">
                  <c:v>0.21</c:v>
                </c:pt>
                <c:pt idx="9">
                  <c:v>0.1917808219178082</c:v>
                </c:pt>
                <c:pt idx="10">
                  <c:v>0.4189189189189189</c:v>
                </c:pt>
              </c:numCache>
            </c:numRef>
          </c:yVal>
          <c:smooth val="0"/>
          <c:extLst>
            <c:ext xmlns:c16="http://schemas.microsoft.com/office/drawing/2014/chart" uri="{C3380CC4-5D6E-409C-BE32-E72D297353CC}">
              <c16:uniqueId val="{00000002-F32D-48B7-BC20-E66FC6253BAD}"/>
            </c:ext>
          </c:extLst>
        </c:ser>
        <c:ser>
          <c:idx val="2"/>
          <c:order val="2"/>
          <c:tx>
            <c:strRef>
              <c:f>Sheet1!$B$43</c:f>
              <c:strCache>
                <c:ptCount val="1"/>
                <c:pt idx="0">
                  <c:v>Custom Linep3yQ</c:v>
                </c:pt>
              </c:strCache>
            </c:strRef>
          </c:tx>
          <c:spPr>
            <a:ln w="19050" cap="rnd">
              <a:solidFill>
                <a:srgbClr val="C00000"/>
              </a:solidFill>
              <a:prstDash val="sysDot"/>
              <a:round/>
            </a:ln>
            <a:effectLst/>
          </c:spPr>
          <c:marker>
            <c:symbol val="none"/>
          </c:marker>
          <c:xVal>
            <c:numRef>
              <c:f>Sheet1!$A$44:$A$45</c:f>
              <c:numCache>
                <c:formatCode>General</c:formatCode>
                <c:ptCount val="2"/>
                <c:pt idx="0">
                  <c:v>0</c:v>
                </c:pt>
                <c:pt idx="1">
                  <c:v>3493.1228140679495</c:v>
                </c:pt>
              </c:numCache>
            </c:numRef>
          </c:xVal>
          <c:yVal>
            <c:numRef>
              <c:f>Sheet1!$B$44:$B$45</c:f>
              <c:numCache>
                <c:formatCode>General</c:formatCode>
                <c:ptCount val="2"/>
                <c:pt idx="0">
                  <c:v>0.4756046330165976</c:v>
                </c:pt>
                <c:pt idx="1">
                  <c:v>0.4756046330165976</c:v>
                </c:pt>
              </c:numCache>
            </c:numRef>
          </c:yVal>
          <c:smooth val="0"/>
          <c:extLst>
            <c:ext xmlns:c16="http://schemas.microsoft.com/office/drawing/2014/chart" uri="{C3380CC4-5D6E-409C-BE32-E72D297353CC}">
              <c16:uniqueId val="{00000003-F32D-48B7-BC20-E66FC6253BAD}"/>
            </c:ext>
          </c:extLst>
        </c:ser>
        <c:ser>
          <c:idx val="3"/>
          <c:order val="3"/>
          <c:tx>
            <c:strRef>
              <c:f>Sheet1!$B$4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8:$A$49</c:f>
              <c:numCache>
                <c:formatCode>General</c:formatCode>
                <c:ptCount val="2"/>
                <c:pt idx="0">
                  <c:v>3493.1228140679495</c:v>
                </c:pt>
                <c:pt idx="1">
                  <c:v>3493.1228140679495</c:v>
                </c:pt>
              </c:numCache>
            </c:numRef>
          </c:xVal>
          <c:yVal>
            <c:numRef>
              <c:f>Sheet1!$B$48:$B$49</c:f>
              <c:numCache>
                <c:formatCode>General</c:formatCode>
                <c:ptCount val="2"/>
                <c:pt idx="0">
                  <c:v>0.475604633016597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5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52:$A$53</c:f>
              <c:numCache>
                <c:formatCode>General</c:formatCode>
                <c:ptCount val="2"/>
                <c:pt idx="0">
                  <c:v>0</c:v>
                </c:pt>
                <c:pt idx="1">
                  <c:v>2917.973598428013</c:v>
                </c:pt>
              </c:numCache>
            </c:numRef>
          </c:xVal>
          <c:yVal>
            <c:numRef>
              <c:f>Sheet1!$B$52:$B$53</c:f>
              <c:numCache>
                <c:formatCode>General</c:formatCode>
                <c:ptCount val="2"/>
                <c:pt idx="0">
                  <c:v>0.4189189189189189</c:v>
                </c:pt>
                <c:pt idx="1">
                  <c:v>0.4189189189189189</c:v>
                </c:pt>
              </c:numCache>
            </c:numRef>
          </c:yVal>
          <c:smooth val="0"/>
          <c:extLst>
            <c:ext xmlns:c16="http://schemas.microsoft.com/office/drawing/2014/chart" uri="{C3380CC4-5D6E-409C-BE32-E72D297353CC}">
              <c16:uniqueId val="{0000000A-F32D-48B7-BC20-E66FC6253BAD}"/>
            </c:ext>
          </c:extLst>
        </c:ser>
        <c:ser>
          <c:idx val="5"/>
          <c:order val="5"/>
          <c:tx>
            <c:strRef>
              <c:f>Sheet1!$B$5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6:$A$57</c:f>
              <c:numCache>
                <c:formatCode>General</c:formatCode>
                <c:ptCount val="2"/>
                <c:pt idx="0">
                  <c:v>2917.973598428013</c:v>
                </c:pt>
                <c:pt idx="1">
                  <c:v>2917.973598428013</c:v>
                </c:pt>
              </c:numCache>
            </c:numRef>
          </c:xVal>
          <c:yVal>
            <c:numRef>
              <c:f>Sheet1!$B$56:$B$57</c:f>
              <c:numCache>
                <c:formatCode>General</c:formatCode>
                <c:ptCount val="2"/>
                <c:pt idx="0">
                  <c:v>0.418918918918918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59</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60:$A$61</c:f>
              <c:numCache>
                <c:formatCode>General</c:formatCode>
                <c:ptCount val="2"/>
                <c:pt idx="0">
                  <c:v>0</c:v>
                </c:pt>
                <c:pt idx="1">
                  <c:v>1765.6700558897141</c:v>
                </c:pt>
              </c:numCache>
            </c:numRef>
          </c:xVal>
          <c:yVal>
            <c:numRef>
              <c:f>Sheet1!$B$60:$B$61</c:f>
              <c:numCache>
                <c:formatCode>General</c:formatCode>
                <c:ptCount val="2"/>
                <c:pt idx="0">
                  <c:v>0.3053498704183636</c:v>
                </c:pt>
                <c:pt idx="1">
                  <c:v>0.3053498704183636</c:v>
                </c:pt>
              </c:numCache>
            </c:numRef>
          </c:yVal>
          <c:smooth val="0"/>
          <c:extLst>
            <c:ext xmlns:c16="http://schemas.microsoft.com/office/drawing/2014/chart" uri="{C3380CC4-5D6E-409C-BE32-E72D297353CC}">
              <c16:uniqueId val="{00000011-F32D-48B7-BC20-E66FC6253BAD}"/>
            </c:ext>
          </c:extLst>
        </c:ser>
        <c:ser>
          <c:idx val="7"/>
          <c:order val="7"/>
          <c:tx>
            <c:strRef>
              <c:f>Sheet1!$B$63</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4:$A$65</c:f>
              <c:numCache>
                <c:formatCode>General</c:formatCode>
                <c:ptCount val="2"/>
                <c:pt idx="0">
                  <c:v>1765.6700558897141</c:v>
                </c:pt>
                <c:pt idx="1">
                  <c:v>1765.6700558897141</c:v>
                </c:pt>
              </c:numCache>
            </c:numRef>
          </c:xVal>
          <c:yVal>
            <c:numRef>
              <c:f>Sheet1!$B$64:$B$65</c:f>
              <c:numCache>
                <c:formatCode>General</c:formatCode>
                <c:ptCount val="2"/>
                <c:pt idx="0">
                  <c:v>0.30534987041836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67</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68:$A$81</c:f>
              <c:numCache>
                <c:formatCode>General</c:formatCode>
                <c:ptCount val="14"/>
                <c:pt idx="0">
                  <c:v>1006.6377</c:v>
                </c:pt>
                <c:pt idx="1">
                  <c:v>1143.5882</c:v>
                </c:pt>
                <c:pt idx="2">
                  <c:v>1054.8571</c:v>
                </c:pt>
                <c:pt idx="3">
                  <c:v>1132.4789</c:v>
                </c:pt>
                <c:pt idx="4">
                  <c:v>643.1667</c:v>
                </c:pt>
                <c:pt idx="5">
                  <c:v>708.5652</c:v>
                </c:pt>
                <c:pt idx="6">
                  <c:v>1495.7419</c:v>
                </c:pt>
                <c:pt idx="7">
                  <c:v>1054.6</c:v>
                </c:pt>
                <c:pt idx="8">
                  <c:v>1608.8571</c:v>
                </c:pt>
                <c:pt idx="9">
                  <c:v>1543.7857</c:v>
                </c:pt>
                <c:pt idx="10">
                  <c:v>995.9677</c:v>
                </c:pt>
                <c:pt idx="11">
                  <c:v>2917.973598428013</c:v>
                </c:pt>
                <c:pt idx="12">
                  <c:v>3493.1228140679495</c:v>
                </c:pt>
                <c:pt idx="13">
                  <c:v>1765.6700558897141</c:v>
                </c:pt>
              </c:numCache>
            </c:numRef>
          </c:xVal>
          <c:yVal>
            <c:numRef>
              <c:f>Sheet1!$B$68:$B$81</c:f>
              <c:numCache>
                <c:formatCode>General</c:formatCode>
                <c:ptCount val="14"/>
                <c:pt idx="0">
                  <c:v>0.23054095136423802</c:v>
                </c:pt>
                <c:pt idx="1">
                  <c:v>0.2440385562942848</c:v>
                </c:pt>
                <c:pt idx="2">
                  <c:v>0.23529337221092278</c:v>
                </c:pt>
                <c:pt idx="3">
                  <c:v>0.24294364285877806</c:v>
                </c:pt>
                <c:pt idx="4">
                  <c:v>0.19471787688456085</c:v>
                </c:pt>
                <c:pt idx="5">
                  <c:v>0.20116344017945692</c:v>
                </c:pt>
                <c:pt idx="6">
                  <c:v>0.2787462172174228</c:v>
                </c:pt>
                <c:pt idx="7">
                  <c:v>0.2352680328786274</c:v>
                </c:pt>
                <c:pt idx="8">
                  <c:v>0.2898946561145661</c:v>
                </c:pt>
                <c:pt idx="9">
                  <c:v>0.28348133123115904</c:v>
                </c:pt>
                <c:pt idx="10">
                  <c:v>0.22948933457858484</c:v>
                </c:pt>
                <c:pt idx="11">
                  <c:v>0.4189189189189189</c:v>
                </c:pt>
                <c:pt idx="12">
                  <c:v>0.4756046330165976</c:v>
                </c:pt>
                <c:pt idx="13">
                  <c:v>0.30534987041836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192.0"/>
          <c:min val="51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13029315960912"/>
          <c:min val="0.019047619047619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4</c:f>
              <c:numCache>
                <c:formatCode>General</c:formatCode>
                <c:ptCount val="1"/>
                <c:pt idx="0">
                  <c:v>0.5529825855361604</c:v>
                </c:pt>
              </c:numCache>
            </c:numRef>
          </c:xVal>
          <c:yVal>
            <c:numRef>
              <c:f>Sheet1!$B$4:$B$4</c:f>
              <c:numCache>
                <c:formatCode>General</c:formatCode>
                <c:ptCount val="1"/>
                <c:pt idx="0">
                  <c:v>0.4189189189189189</c:v>
                </c:pt>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4189189189189189</c:v>
                </c:pt>
              </c:numCache>
            </c:numRef>
          </c:xVal>
          <c:yVal>
            <c:numRef>
              <c:f>Sheet1!$B$7:$B$8</c:f>
              <c:numCache>
                <c:formatCode>General</c:formatCode>
                <c:ptCount val="2"/>
                <c:pt idx="0">
                  <c:v>0.4189189189189189</c:v>
                </c:pt>
                <c:pt idx="1">
                  <c:v>0.4189189189189189</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4189189189189189</c:v>
                </c:pt>
                <c:pt idx="1">
                  <c:v>0.4189189189189189</c:v>
                </c:pt>
              </c:numCache>
            </c:numRef>
          </c:xVal>
          <c:yVal>
            <c:numRef>
              <c:f>Sheet1!$B$11:$B$12</c:f>
              <c:numCache>
                <c:formatCode>General</c:formatCode>
                <c:ptCount val="2"/>
                <c:pt idx="0">
                  <c:v>0.418918918918918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6</c:f>
              <c:numCache>
                <c:formatCode>General</c:formatCode>
                <c:ptCount val="2"/>
                <c:pt idx="0">
                  <c:v>0</c:v>
                </c:pt>
                <c:pt idx="1">
                  <c:v>0.4189189189189189</c:v>
                </c:pt>
              </c:numCache>
            </c:numRef>
          </c:xVal>
          <c:yVal>
            <c:numRef>
              <c:f>Sheet1!$B$15:$B$16</c:f>
              <c:numCache>
                <c:formatCode>General</c:formatCode>
                <c:ptCount val="2"/>
                <c:pt idx="0">
                  <c:v>0.4189189189189189</c:v>
                </c:pt>
                <c:pt idx="1">
                  <c:v>0.4189189189189189</c:v>
                </c:pt>
              </c:numCache>
            </c:numRef>
          </c:yVal>
          <c:smooth val="0"/>
          <c:extLst>
            <c:ext xmlns:c16="http://schemas.microsoft.com/office/drawing/2014/chart" uri="{C3380CC4-5D6E-409C-BE32-E72D297353CC}">
              <c16:uniqueId val="{0000000D-096C-4121-9522-6AB7243CCAAE}"/>
            </c:ext>
          </c:extLst>
        </c:ser>
        <c:ser>
          <c:idx val="5"/>
          <c:order val="5"/>
          <c:tx>
            <c:strRef>
              <c:f>Sheet1!$B$1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9:$A$20</c:f>
              <c:numCache>
                <c:formatCode>General</c:formatCode>
                <c:ptCount val="2"/>
                <c:pt idx="0">
                  <c:v>0.4189189189189189</c:v>
                </c:pt>
                <c:pt idx="1">
                  <c:v>0.4189189189189189</c:v>
                </c:pt>
              </c:numCache>
            </c:numRef>
          </c:xVal>
          <c:yVal>
            <c:numRef>
              <c:f>Sheet1!$B$19:$B$20</c:f>
              <c:numCache>
                <c:formatCode>General</c:formatCode>
                <c:ptCount val="2"/>
                <c:pt idx="0">
                  <c:v>0.418918918918918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2</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3:$A$24</c:f>
              <c:numCache>
                <c:formatCode>General</c:formatCode>
                <c:ptCount val="2"/>
                <c:pt idx="0">
                  <c:v>0</c:v>
                </c:pt>
                <c:pt idx="1">
                  <c:v>0.4189189189189189</c:v>
                </c:pt>
              </c:numCache>
            </c:numRef>
          </c:xVal>
          <c:yVal>
            <c:numRef>
              <c:f>Sheet1!$B$23:$B$24</c:f>
              <c:numCache>
                <c:formatCode>General</c:formatCode>
                <c:ptCount val="2"/>
                <c:pt idx="0">
                  <c:v>0.4189189189189189</c:v>
                </c:pt>
                <c:pt idx="1">
                  <c:v>0.4189189189189189</c:v>
                </c:pt>
              </c:numCache>
            </c:numRef>
          </c:yVal>
          <c:smooth val="0"/>
          <c:extLst>
            <c:ext xmlns:c16="http://schemas.microsoft.com/office/drawing/2014/chart" uri="{C3380CC4-5D6E-409C-BE32-E72D297353CC}">
              <c16:uniqueId val="{00000015-096C-4121-9522-6AB7243CCAAE}"/>
            </c:ext>
          </c:extLst>
        </c:ser>
        <c:ser>
          <c:idx val="7"/>
          <c:order val="7"/>
          <c:tx>
            <c:strRef>
              <c:f>Sheet1!$B$26</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4189189189189189</c:v>
                </c:pt>
                <c:pt idx="1">
                  <c:v>0.4189189189189189</c:v>
                </c:pt>
              </c:numCache>
            </c:numRef>
          </c:xVal>
          <c:yVal>
            <c:numRef>
              <c:f>Sheet1!$B$27:$B$28</c:f>
              <c:numCache>
                <c:formatCode>General</c:formatCode>
                <c:ptCount val="2"/>
                <c:pt idx="0">
                  <c:v>0.418918918918918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0</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1:$A$34</c:f>
              <c:numCache>
                <c:formatCode>General</c:formatCode>
                <c:ptCount val="4"/>
                <c:pt idx="0">
                  <c:v>0.5529825855361604</c:v>
                </c:pt>
                <c:pt idx="1">
                  <c:v>0.4189189189189189</c:v>
                </c:pt>
                <c:pt idx="2">
                  <c:v>0.4189189189189189</c:v>
                </c:pt>
                <c:pt idx="3">
                  <c:v>0.4189189189189189</c:v>
                </c:pt>
              </c:numCache>
            </c:numRef>
          </c:xVal>
          <c:yVal>
            <c:numRef>
              <c:f>Sheet1!$B$31:$B$34</c:f>
              <c:numCache>
                <c:formatCode>General</c:formatCode>
                <c:ptCount val="4"/>
                <c:pt idx="0">
                  <c:v>0.5529825855361604</c:v>
                </c:pt>
                <c:pt idx="1">
                  <c:v>0.4189189189189189</c:v>
                </c:pt>
                <c:pt idx="2">
                  <c:v>0.4189189189189189</c:v>
                </c:pt>
                <c:pt idx="3">
                  <c:v>0.418918918918918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27027027027027"/>
          <c:min val="0.3351351351351351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4</c:f>
              <c:numCache>
                <c:formatCode>General</c:formatCode>
                <c:ptCount val="1"/>
                <c:pt idx="0">
                  <c:v>995.9677</c:v>
                </c:pt>
              </c:numCache>
            </c:numRef>
          </c:xVal>
          <c:yVal>
            <c:numRef>
              <c:f>Sheet1!$B$4:$B$4</c:f>
              <c:numCache>
                <c:formatCode>General</c:formatCode>
                <c:ptCount val="1"/>
                <c:pt idx="0">
                  <c:v>0.4189189189189189</c:v>
                </c:pt>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4189189189189189</c:v>
                </c:pt>
              </c:numCache>
            </c:numRef>
          </c:xVal>
          <c:yVal>
            <c:numRef>
              <c:f>Sheet1!$B$7:$B$8</c:f>
              <c:numCache>
                <c:formatCode>General</c:formatCode>
                <c:ptCount val="2"/>
                <c:pt idx="0">
                  <c:v>0.4189189189189189</c:v>
                </c:pt>
                <c:pt idx="1">
                  <c:v>0.4189189189189189</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4189189189189189</c:v>
                </c:pt>
                <c:pt idx="1">
                  <c:v>0.4189189189189189</c:v>
                </c:pt>
              </c:numCache>
            </c:numRef>
          </c:xVal>
          <c:yVal>
            <c:numRef>
              <c:f>Sheet1!$B$11:$B$12</c:f>
              <c:numCache>
                <c:formatCode>General</c:formatCode>
                <c:ptCount val="2"/>
                <c:pt idx="0">
                  <c:v>0.418918918918918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6</c:f>
              <c:numCache>
                <c:formatCode>General</c:formatCode>
                <c:ptCount val="2"/>
                <c:pt idx="0">
                  <c:v>0</c:v>
                </c:pt>
                <c:pt idx="1">
                  <c:v>0.4189189189189189</c:v>
                </c:pt>
              </c:numCache>
            </c:numRef>
          </c:xVal>
          <c:yVal>
            <c:numRef>
              <c:f>Sheet1!$B$15:$B$16</c:f>
              <c:numCache>
                <c:formatCode>General</c:formatCode>
                <c:ptCount val="2"/>
                <c:pt idx="0">
                  <c:v>0.4189189189189189</c:v>
                </c:pt>
                <c:pt idx="1">
                  <c:v>0.4189189189189189</c:v>
                </c:pt>
              </c:numCache>
            </c:numRef>
          </c:yVal>
          <c:smooth val="0"/>
          <c:extLst>
            <c:ext xmlns:c16="http://schemas.microsoft.com/office/drawing/2014/chart" uri="{C3380CC4-5D6E-409C-BE32-E72D297353CC}">
              <c16:uniqueId val="{0000000A-F32D-48B7-BC20-E66FC6253BAD}"/>
            </c:ext>
          </c:extLst>
        </c:ser>
        <c:ser>
          <c:idx val="5"/>
          <c:order val="5"/>
          <c:tx>
            <c:strRef>
              <c:f>Sheet1!$B$1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9:$A$20</c:f>
              <c:numCache>
                <c:formatCode>General</c:formatCode>
                <c:ptCount val="2"/>
                <c:pt idx="0">
                  <c:v>0.4189189189189189</c:v>
                </c:pt>
                <c:pt idx="1">
                  <c:v>0.4189189189189189</c:v>
                </c:pt>
              </c:numCache>
            </c:numRef>
          </c:xVal>
          <c:yVal>
            <c:numRef>
              <c:f>Sheet1!$B$19:$B$20</c:f>
              <c:numCache>
                <c:formatCode>General</c:formatCode>
                <c:ptCount val="2"/>
                <c:pt idx="0">
                  <c:v>0.418918918918918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2</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3:$A$24</c:f>
              <c:numCache>
                <c:formatCode>General</c:formatCode>
                <c:ptCount val="2"/>
                <c:pt idx="0">
                  <c:v>0</c:v>
                </c:pt>
                <c:pt idx="1">
                  <c:v>0.4189189189189189</c:v>
                </c:pt>
              </c:numCache>
            </c:numRef>
          </c:xVal>
          <c:yVal>
            <c:numRef>
              <c:f>Sheet1!$B$23:$B$24</c:f>
              <c:numCache>
                <c:formatCode>General</c:formatCode>
                <c:ptCount val="2"/>
                <c:pt idx="0">
                  <c:v>0.4189189189189189</c:v>
                </c:pt>
                <c:pt idx="1">
                  <c:v>0.4189189189189189</c:v>
                </c:pt>
              </c:numCache>
            </c:numRef>
          </c:yVal>
          <c:smooth val="0"/>
          <c:extLst>
            <c:ext xmlns:c16="http://schemas.microsoft.com/office/drawing/2014/chart" uri="{C3380CC4-5D6E-409C-BE32-E72D297353CC}">
              <c16:uniqueId val="{00000011-F32D-48B7-BC20-E66FC6253BAD}"/>
            </c:ext>
          </c:extLst>
        </c:ser>
        <c:ser>
          <c:idx val="7"/>
          <c:order val="7"/>
          <c:tx>
            <c:strRef>
              <c:f>Sheet1!$B$26</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0.4189189189189189</c:v>
                </c:pt>
                <c:pt idx="1">
                  <c:v>0.4189189189189189</c:v>
                </c:pt>
              </c:numCache>
            </c:numRef>
          </c:xVal>
          <c:yVal>
            <c:numRef>
              <c:f>Sheet1!$B$27:$B$28</c:f>
              <c:numCache>
                <c:formatCode>General</c:formatCode>
                <c:ptCount val="2"/>
                <c:pt idx="0">
                  <c:v>0.418918918918918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0</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1:$A$34</c:f>
              <c:numCache>
                <c:formatCode>General</c:formatCode>
                <c:ptCount val="4"/>
                <c:pt idx="0">
                  <c:v>995.9677</c:v>
                </c:pt>
                <c:pt idx="1">
                  <c:v>0.4189189189189189</c:v>
                </c:pt>
                <c:pt idx="2">
                  <c:v>0.4189189189189189</c:v>
                </c:pt>
                <c:pt idx="3">
                  <c:v>0.4189189189189189</c:v>
                </c:pt>
              </c:numCache>
            </c:numRef>
          </c:xVal>
          <c:yVal>
            <c:numRef>
              <c:f>Sheet1!$B$31:$B$34</c:f>
              <c:numCache>
                <c:formatCode>General</c:formatCode>
                <c:ptCount val="4"/>
                <c:pt idx="0">
                  <c:v>995.9677</c:v>
                </c:pt>
                <c:pt idx="1">
                  <c:v>0.4189189189189189</c:v>
                </c:pt>
                <c:pt idx="2">
                  <c:v>0.4189189189189189</c:v>
                </c:pt>
                <c:pt idx="3">
                  <c:v>0.418918918918918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19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27027027027027"/>
          <c:min val="0.3351351351351351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c:f>
              <c:numCache>
                <c:formatCode>General</c:formatCode>
                <c:ptCount val="6"/>
                <c:pt idx="0">
                  <c:v>1.5043598625405727</c:v>
                </c:pt>
                <c:pt idx="1">
                  <c:v>1.587003264957123</c:v>
                </c:pt>
                <c:pt idx="2">
                  <c:v>1.3293770860450165</c:v>
                </c:pt>
                <c:pt idx="3">
                  <c:v>1.4913036915067515</c:v>
                </c:pt>
                <c:pt idx="4">
                  <c:v>1.4468736481755233</c:v>
                </c:pt>
                <c:pt idx="5">
                  <c:v>1.273214611100477</c:v>
                </c:pt>
              </c:numCache>
            </c:numRef>
          </c:xVal>
          <c:yVal>
            <c:numRef>
              <c:f>Sheet1!$B$2:$B$7</c:f>
              <c:numCache>
                <c:formatCode>General</c:formatCode>
                <c:ptCount val="6"/>
                <c:pt idx="0">
                  <c:v>0.011682242990654205</c:v>
                </c:pt>
                <c:pt idx="1">
                  <c:v>0.022556390977443608</c:v>
                </c:pt>
                <c:pt idx="2">
                  <c:v>0.0379746835443038</c:v>
                </c:pt>
                <c:pt idx="3">
                  <c:v>0.030303030303030304</c:v>
                </c:pt>
                <c:pt idx="4">
                  <c:v>0.011363636363636364</c:v>
                </c:pt>
                <c:pt idx="5">
                  <c:v>0.030612244897959183</c:v>
                </c:pt>
              </c:numCache>
            </c:numRef>
          </c:yVal>
          <c:smooth val="0"/>
          <c:extLst>
            <c:ext xmlns:c16="http://schemas.microsoft.com/office/drawing/2014/chart" uri="{C3380CC4-5D6E-409C-BE32-E72D297353CC}">
              <c16:uniqueId val="{00000000-096C-4121-9522-6AB7243CCAAE}"/>
            </c:ext>
          </c:extLst>
        </c:ser>
        <c:ser>
          <c:idx val="1"/>
          <c:order val="1"/>
          <c:tx>
            <c:strRef>
              <c:f>Sheet1!$B$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A$11</c:f>
              <c:numCache>
                <c:formatCode>General</c:formatCode>
                <c:ptCount val="2"/>
                <c:pt idx="0">
                  <c:v>1.1144623869926067</c:v>
                </c:pt>
                <c:pt idx="1">
                  <c:v>0.7187469306364419</c:v>
                </c:pt>
              </c:numCache>
            </c:numRef>
          </c:xVal>
          <c:yVal>
            <c:numRef>
              <c:f>Sheet1!$B$10:$B$11</c:f>
              <c:numCache>
                <c:formatCode>General</c:formatCode>
                <c:ptCount val="2"/>
                <c:pt idx="0">
                  <c:v>0.01818181818181818</c:v>
                </c:pt>
                <c:pt idx="1">
                  <c:v>0.015</c:v>
                </c:pt>
              </c:numCache>
            </c:numRef>
          </c:yVal>
          <c:smooth val="0"/>
          <c:extLst>
            <c:ext xmlns:c16="http://schemas.microsoft.com/office/drawing/2014/chart" uri="{C3380CC4-5D6E-409C-BE32-E72D297353CC}">
              <c16:uniqueId val="{00000002-096C-4121-9522-6AB7243CCAAE}"/>
            </c:ext>
          </c:extLst>
        </c:ser>
        <c:ser>
          <c:idx val="2"/>
          <c:order val="2"/>
          <c:tx>
            <c:strRef>
              <c:f>Sheet1!$B$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A$15</c:f>
              <c:numCache>
                <c:formatCode>General</c:formatCode>
                <c:ptCount val="2"/>
                <c:pt idx="0">
                  <c:v>0</c:v>
                </c:pt>
                <c:pt idx="1">
                  <c:v>2.6188412237940146</c:v>
                </c:pt>
              </c:numCache>
            </c:numRef>
          </c:xVal>
          <c:yVal>
            <c:numRef>
              <c:f>Sheet1!$B$14:$B$15</c:f>
              <c:numCache>
                <c:formatCode>General</c:formatCode>
                <c:ptCount val="2"/>
                <c:pt idx="0">
                  <c:v>0.030278034941592574</c:v>
                </c:pt>
                <c:pt idx="1">
                  <c:v>0.030278034941592574</c:v>
                </c:pt>
              </c:numCache>
            </c:numRef>
          </c:yVal>
          <c:smooth val="0"/>
          <c:extLst>
            <c:ext xmlns:c16="http://schemas.microsoft.com/office/drawing/2014/chart" uri="{C3380CC4-5D6E-409C-BE32-E72D297353CC}">
              <c16:uniqueId val="{00000005-096C-4121-9522-6AB7243CCAAE}"/>
            </c:ext>
          </c:extLst>
        </c:ser>
        <c:ser>
          <c:idx val="3"/>
          <c:order val="3"/>
          <c:tx>
            <c:strRef>
              <c:f>Sheet1!$B$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A$19</c:f>
              <c:numCache>
                <c:formatCode>General</c:formatCode>
                <c:ptCount val="2"/>
                <c:pt idx="0">
                  <c:v>2.6188412237940146</c:v>
                </c:pt>
                <c:pt idx="1">
                  <c:v>2.6188412237940146</c:v>
                </c:pt>
              </c:numCache>
            </c:numRef>
          </c:xVal>
          <c:yVal>
            <c:numRef>
              <c:f>Sheet1!$B$18:$B$19</c:f>
              <c:numCache>
                <c:formatCode>General</c:formatCode>
                <c:ptCount val="2"/>
                <c:pt idx="0">
                  <c:v>0.0302780349415925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2:$A$23</c:f>
              <c:numCache>
                <c:formatCode>General</c:formatCode>
                <c:ptCount val="2"/>
                <c:pt idx="0">
                  <c:v>0</c:v>
                </c:pt>
                <c:pt idx="1">
                  <c:v>1.114462386992606</c:v>
                </c:pt>
              </c:numCache>
            </c:numRef>
          </c:xVal>
          <c:yVal>
            <c:numRef>
              <c:f>Sheet1!$B$22:$B$23</c:f>
              <c:numCache>
                <c:formatCode>General</c:formatCode>
                <c:ptCount val="2"/>
                <c:pt idx="0">
                  <c:v>0.01818181818181818</c:v>
                </c:pt>
                <c:pt idx="1">
                  <c:v>0.01818181818181818</c:v>
                </c:pt>
              </c:numCache>
            </c:numRef>
          </c:yVal>
          <c:smooth val="0"/>
          <c:extLst>
            <c:ext xmlns:c16="http://schemas.microsoft.com/office/drawing/2014/chart" uri="{C3380CC4-5D6E-409C-BE32-E72D297353CC}">
              <c16:uniqueId val="{0000000D-096C-4121-9522-6AB7243CCAAE}"/>
            </c:ext>
          </c:extLst>
        </c:ser>
        <c:ser>
          <c:idx val="5"/>
          <c:order val="5"/>
          <c:tx>
            <c:strRef>
              <c:f>Sheet1!$B$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1.114462386992606</c:v>
                </c:pt>
                <c:pt idx="1">
                  <c:v>1.114462386992606</c:v>
                </c:pt>
              </c:numCache>
            </c:numRef>
          </c:xVal>
          <c:yVal>
            <c:numRef>
              <c:f>Sheet1!$B$26:$B$27</c:f>
              <c:numCache>
                <c:formatCode>General</c:formatCode>
                <c:ptCount val="2"/>
                <c:pt idx="0">
                  <c:v>0.018181818181818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9</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0:$A$34</c:f>
              <c:numCache>
                <c:formatCode>General</c:formatCode>
                <c:ptCount val="5"/>
                <c:pt idx="0">
                  <c:v>1.1144623869926067</c:v>
                </c:pt>
                <c:pt idx="1">
                  <c:v>0.7187469306364419</c:v>
                </c:pt>
                <c:pt idx="2">
                  <c:v>1.114462386992606</c:v>
                </c:pt>
                <c:pt idx="3">
                  <c:v>2.6188412237940146</c:v>
                </c:pt>
                <c:pt idx="4">
                  <c:v>0</c:v>
                </c:pt>
              </c:numCache>
            </c:numRef>
          </c:xVal>
          <c:yVal>
            <c:numRef>
              <c:f>Sheet1!$B$30:$B$34</c:f>
              <c:numCache>
                <c:formatCode>General</c:formatCode>
                <c:ptCount val="5"/>
                <c:pt idx="0">
                  <c:v>0.018181818181818188</c:v>
                </c:pt>
                <c:pt idx="1">
                  <c:v>0.015000000000000003</c:v>
                </c:pt>
                <c:pt idx="2">
                  <c:v>0.01818181818181818</c:v>
                </c:pt>
                <c:pt idx="3">
                  <c:v>0.030278034941592574</c:v>
                </c:pt>
                <c:pt idx="4">
                  <c:v>0.009220791694407073</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556962025316456"/>
          <c:min val="0.00909090909090909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82.0378</c:v>
                </c:pt>
                <c:pt idx="1">
                  <c:v>927.6933</c:v>
                </c:pt>
                <c:pt idx="2">
                  <c:v>941.5266</c:v>
                </c:pt>
                <c:pt idx="3">
                  <c:v>948.004</c:v>
                </c:pt>
                <c:pt idx="4">
                  <c:v>913.6714</c:v>
                </c:pt>
                <c:pt idx="5">
                  <c:v>895.0646</c:v>
                </c:pt>
                <c:pt idx="6">
                  <c:v>894.7375</c:v>
                </c:pt>
                <c:pt idx="7">
                  <c:v>888.0266</c:v>
                </c:pt>
                <c:pt idx="8">
                  <c:v>893.3369</c:v>
                </c:pt>
                <c:pt idx="9">
                  <c:v>845.0579</c:v>
                </c:pt>
                <c:pt idx="10">
                  <c:v>807.3767</c:v>
                </c:pt>
                <c:pt idx="11">
                  <c:v>797.7624</c:v>
                </c:pt>
                <c:pt idx="12">
                  <c:v>816.9945</c:v>
                </c:pt>
                <c:pt idx="13">
                  <c:v>805.4152</c:v>
                </c:pt>
                <c:pt idx="14">
                  <c:v>933.3739</c:v>
                </c:pt>
                <c:pt idx="15">
                  <c:v>946.1685</c:v>
                </c:pt>
                <c:pt idx="16">
                  <c:v>944.0241</c:v>
                </c:pt>
                <c:pt idx="17">
                  <c:v>954.6969</c:v>
                </c:pt>
                <c:pt idx="18">
                  <c:v>983.6931</c:v>
                </c:pt>
                <c:pt idx="19">
                  <c:v>987.9647</c:v>
                </c:pt>
                <c:pt idx="20">
                  <c:v>998.0991</c:v>
                </c:pt>
                <c:pt idx="21">
                  <c:v>1004.0141</c:v>
                </c:pt>
                <c:pt idx="22">
                  <c:v>1016.0922</c:v>
                </c:pt>
                <c:pt idx="23">
                  <c:v>1025.019</c:v>
                </c:pt>
                <c:pt idx="24">
                  <c:v>1028.2318</c:v>
                </c:pt>
                <c:pt idx="25">
                  <c:v>1020.0103</c:v>
                </c:pt>
                <c:pt idx="26">
                  <c:v>1024.9627</c:v>
                </c:pt>
                <c:pt idx="27">
                  <c:v>1027.5</c:v>
                </c:pt>
                <c:pt idx="28">
                  <c:v>1031.9043</c:v>
                </c:pt>
                <c:pt idx="29">
                  <c:v>1058.1382</c:v>
                </c:pt>
                <c:pt idx="30">
                  <c:v>1054.2462</c:v>
                </c:pt>
                <c:pt idx="31">
                  <c:v>1054.9671</c:v>
                </c:pt>
                <c:pt idx="32">
                  <c:v>1042.1688</c:v>
                </c:pt>
                <c:pt idx="33">
                  <c:v>1054.2434</c:v>
                </c:pt>
                <c:pt idx="34">
                  <c:v>1019.7664</c:v>
                </c:pt>
                <c:pt idx="35">
                  <c:v>1023.0399</c:v>
                </c:pt>
                <c:pt idx="36">
                  <c:v>1050.6236</c:v>
                </c:pt>
                <c:pt idx="37">
                  <c:v>1066.4357</c:v>
                </c:pt>
                <c:pt idx="38">
                  <c:v>1076.2603</c:v>
                </c:pt>
                <c:pt idx="39">
                  <c:v>1133.355</c:v>
                </c:pt>
                <c:pt idx="40">
                  <c:v>1144.8118</c:v>
                </c:pt>
                <c:pt idx="41">
                  <c:v>1160.1727</c:v>
                </c:pt>
                <c:pt idx="42">
                  <c:v>1169.0579</c:v>
                </c:pt>
                <c:pt idx="43">
                  <c:v>1172.5528</c:v>
                </c:pt>
                <c:pt idx="44">
                  <c:v>1195.1173</c:v>
                </c:pt>
                <c:pt idx="45">
                  <c:v>1188.4443</c:v>
                </c:pt>
                <c:pt idx="46">
                  <c:v>1135.9512</c:v>
                </c:pt>
                <c:pt idx="47">
                  <c:v>1128.4079</c:v>
                </c:pt>
                <c:pt idx="48">
                  <c:v>1083.6215</c:v>
                </c:pt>
                <c:pt idx="49">
                  <c:v>997.1162</c:v>
                </c:pt>
                <c:pt idx="50">
                  <c:v>1023.5524</c:v>
                </c:pt>
                <c:pt idx="51">
                  <c:v>1010.6958</c:v>
                </c:pt>
                <c:pt idx="52">
                  <c:v>991.7953</c:v>
                </c:pt>
                <c:pt idx="53">
                  <c:v>1197.223</c:v>
                </c:pt>
                <c:pt idx="54">
                  <c:v>1193.0427</c:v>
                </c:pt>
                <c:pt idx="55">
                  <c:v>1194.2518</c:v>
                </c:pt>
                <c:pt idx="56">
                  <c:v>1186.2817</c:v>
                </c:pt>
                <c:pt idx="57">
                  <c:v>1193.4468</c:v>
                </c:pt>
                <c:pt idx="58">
                  <c:v>1188.1385</c:v>
                </c:pt>
                <c:pt idx="59">
                  <c:v>1195.9447</c:v>
                </c:pt>
                <c:pt idx="60">
                  <c:v>1208.2215</c:v>
                </c:pt>
                <c:pt idx="61">
                  <c:v>1146.8719</c:v>
                </c:pt>
                <c:pt idx="62">
                  <c:v>1042.9406</c:v>
                </c:pt>
                <c:pt idx="63">
                  <c:v>1048.4032</c:v>
                </c:pt>
                <c:pt idx="64">
                  <c:v>1054.7304</c:v>
                </c:pt>
                <c:pt idx="65">
                  <c:v>1057.4421</c:v>
                </c:pt>
                <c:pt idx="66">
                  <c:v>1167.2609</c:v>
                </c:pt>
                <c:pt idx="67">
                  <c:v>1190.5122</c:v>
                </c:pt>
                <c:pt idx="68">
                  <c:v>1172.8725</c:v>
                </c:pt>
                <c:pt idx="69">
                  <c:v>1209.7051</c:v>
                </c:pt>
                <c:pt idx="70">
                  <c:v>1213.4937</c:v>
                </c:pt>
                <c:pt idx="71">
                  <c:v>1208.903</c:v>
                </c:pt>
                <c:pt idx="72">
                  <c:v>1219.3944</c:v>
                </c:pt>
                <c:pt idx="73">
                  <c:v>1213.5641</c:v>
                </c:pt>
                <c:pt idx="74">
                  <c:v>1231.2269</c:v>
                </c:pt>
                <c:pt idx="75">
                  <c:v>1211.4179</c:v>
                </c:pt>
                <c:pt idx="76">
                  <c:v>1166.9235</c:v>
                </c:pt>
                <c:pt idx="77">
                  <c:v>1161.1444</c:v>
                </c:pt>
                <c:pt idx="78">
                  <c:v>1172.7847</c:v>
                </c:pt>
                <c:pt idx="79">
                  <c:v>1206.1037</c:v>
                </c:pt>
                <c:pt idx="80">
                  <c:v>1222.6691</c:v>
                </c:pt>
                <c:pt idx="81">
                  <c:v>1264.3381</c:v>
                </c:pt>
                <c:pt idx="82">
                  <c:v>1278.2992</c:v>
                </c:pt>
                <c:pt idx="83">
                  <c:v>1271.7508</c:v>
                </c:pt>
                <c:pt idx="84">
                  <c:v>1285.2774</c:v>
                </c:pt>
                <c:pt idx="85">
                  <c:v>1297.5208</c:v>
                </c:pt>
                <c:pt idx="86">
                  <c:v>1295.88</c:v>
                </c:pt>
                <c:pt idx="87">
                  <c:v>1277.3069</c:v>
                </c:pt>
                <c:pt idx="88">
                  <c:v>1283.2065</c:v>
                </c:pt>
                <c:pt idx="89">
                  <c:v>1307.5862</c:v>
                </c:pt>
                <c:pt idx="90">
                  <c:v>1304.2661</c:v>
                </c:pt>
                <c:pt idx="91">
                  <c:v>1295.8556</c:v>
                </c:pt>
                <c:pt idx="92">
                  <c:v>1282.5632</c:v>
                </c:pt>
                <c:pt idx="93">
                  <c:v>1276.3185</c:v>
                </c:pt>
                <c:pt idx="94">
                  <c:v>1282.8516</c:v>
                </c:pt>
                <c:pt idx="95">
                  <c:v>1276.6193</c:v>
                </c:pt>
                <c:pt idx="96">
                  <c:v>1183.1731</c:v>
                </c:pt>
                <c:pt idx="97">
                  <c:v>1214.2338</c:v>
                </c:pt>
                <c:pt idx="98">
                  <c:v>1176.7796</c:v>
                </c:pt>
                <c:pt idx="99">
                  <c:v>1163.592</c:v>
                </c:pt>
                <c:pt idx="100">
                  <c:v>1084.096</c:v>
                </c:pt>
                <c:pt idx="101">
                  <c:v>1237.3957</c:v>
                </c:pt>
                <c:pt idx="102">
                  <c:v>1233.3739</c:v>
                </c:pt>
                <c:pt idx="103">
                  <c:v>1168.2598</c:v>
                </c:pt>
                <c:pt idx="104">
                  <c:v>1158.6334</c:v>
                </c:pt>
              </c:numCache>
            </c:numRef>
          </c:xVal>
          <c:yVal>
            <c:numRef>
              <c:f>Sheet1!$B$2:$B$106</c:f>
              <c:numCache>
                <c:formatCode>General</c:formatCode>
                <c:ptCount val="105"/>
                <c:pt idx="0">
                  <c:v>0.19014989293361884</c:v>
                </c:pt>
                <c:pt idx="1">
                  <c:v>0.1874182090110301</c:v>
                </c:pt>
                <c:pt idx="2">
                  <c:v>0.18448132010753684</c:v>
                </c:pt>
                <c:pt idx="3">
                  <c:v>0.19202967471942173</c:v>
                </c:pt>
                <c:pt idx="4">
                  <c:v>0.21944354227563062</c:v>
                </c:pt>
                <c:pt idx="5">
                  <c:v>0.20732787248173568</c:v>
                </c:pt>
                <c:pt idx="6">
                  <c:v>0.2320424403183024</c:v>
                </c:pt>
                <c:pt idx="7">
                  <c:v>0.22241929762327067</c:v>
                </c:pt>
                <c:pt idx="8">
                  <c:v>0.23044594910109736</c:v>
                </c:pt>
                <c:pt idx="9">
                  <c:v>0.2308305912852727</c:v>
                </c:pt>
                <c:pt idx="10">
                  <c:v>0.22501406337896118</c:v>
                </c:pt>
                <c:pt idx="11">
                  <c:v>0.22715702624418502</c:v>
                </c:pt>
                <c:pt idx="12">
                  <c:v>0.21044108574953732</c:v>
                </c:pt>
                <c:pt idx="13">
                  <c:v>0.20045123221103783</c:v>
                </c:pt>
                <c:pt idx="14">
                  <c:v>0.17698123774852983</c:v>
                </c:pt>
                <c:pt idx="15">
                  <c:v>0.16688297642223665</c:v>
                </c:pt>
                <c:pt idx="16">
                  <c:v>0.16820361490225008</c:v>
                </c:pt>
                <c:pt idx="17">
                  <c:v>0.16568854920158319</c:v>
                </c:pt>
                <c:pt idx="18">
                  <c:v>0.15335360973267168</c:v>
                </c:pt>
                <c:pt idx="19">
                  <c:v>0.1468956879584899</c:v>
                </c:pt>
                <c:pt idx="20">
                  <c:v>0.18550137462017074</c:v>
                </c:pt>
                <c:pt idx="21">
                  <c:v>0.1703767123287671</c:v>
                </c:pt>
                <c:pt idx="22">
                  <c:v>0.14937759336099585</c:v>
                </c:pt>
                <c:pt idx="23">
                  <c:v>0.1632692681032809</c:v>
                </c:pt>
                <c:pt idx="24">
                  <c:v>0.16693914623069936</c:v>
                </c:pt>
                <c:pt idx="25">
                  <c:v>0.1607843137254902</c:v>
                </c:pt>
                <c:pt idx="26">
                  <c:v>0.168135593220339</c:v>
                </c:pt>
                <c:pt idx="27">
                  <c:v>0.18114667604642984</c:v>
                </c:pt>
                <c:pt idx="28">
                  <c:v>0.18936994016191483</c:v>
                </c:pt>
                <c:pt idx="29">
                  <c:v>0.18606127956818544</c:v>
                </c:pt>
                <c:pt idx="30">
                  <c:v>0.1950787401574803</c:v>
                </c:pt>
                <c:pt idx="31">
                  <c:v>0.17657657657657658</c:v>
                </c:pt>
                <c:pt idx="32">
                  <c:v>0.18993506493506493</c:v>
                </c:pt>
                <c:pt idx="33">
                  <c:v>0.1818020259463302</c:v>
                </c:pt>
                <c:pt idx="34">
                  <c:v>0.20025288446341077</c:v>
                </c:pt>
                <c:pt idx="35">
                  <c:v>0.2567105905319668</c:v>
                </c:pt>
                <c:pt idx="36">
                  <c:v>0.2090291536937447</c:v>
                </c:pt>
                <c:pt idx="37">
                  <c:v>0.19676739283204497</c:v>
                </c:pt>
                <c:pt idx="38">
                  <c:v>0.18666219839142092</c:v>
                </c:pt>
                <c:pt idx="39">
                  <c:v>0.18684603886397608</c:v>
                </c:pt>
                <c:pt idx="40">
                  <c:v>0.1901644336175396</c:v>
                </c:pt>
                <c:pt idx="41">
                  <c:v>0.17954735959765297</c:v>
                </c:pt>
                <c:pt idx="42">
                  <c:v>0.18690275435637999</c:v>
                </c:pt>
                <c:pt idx="43">
                  <c:v>0.18360136452241715</c:v>
                </c:pt>
                <c:pt idx="44">
                  <c:v>0.16826381059751974</c:v>
                </c:pt>
                <c:pt idx="45">
                  <c:v>0.16118853536681568</c:v>
                </c:pt>
                <c:pt idx="46">
                  <c:v>0.16547874624302275</c:v>
                </c:pt>
                <c:pt idx="47">
                  <c:v>0.16660851360781578</c:v>
                </c:pt>
                <c:pt idx="48">
                  <c:v>0.16566534577527803</c:v>
                </c:pt>
                <c:pt idx="49">
                  <c:v>0.18493237800483317</c:v>
                </c:pt>
                <c:pt idx="50">
                  <c:v>0.1706705661165657</c:v>
                </c:pt>
                <c:pt idx="51">
                  <c:v>0.1737982884107814</c:v>
                </c:pt>
                <c:pt idx="52">
                  <c:v>0.17529908028490424</c:v>
                </c:pt>
                <c:pt idx="53">
                  <c:v>0.16356603426045313</c:v>
                </c:pt>
                <c:pt idx="54">
                  <c:v>0.16656510257972781</c:v>
                </c:pt>
                <c:pt idx="55">
                  <c:v>0.16468982890731604</c:v>
                </c:pt>
                <c:pt idx="56">
                  <c:v>0.17314981049271894</c:v>
                </c:pt>
                <c:pt idx="57">
                  <c:v>0.15567353549896518</c:v>
                </c:pt>
                <c:pt idx="58">
                  <c:v>0.1553445337229121</c:v>
                </c:pt>
                <c:pt idx="59">
                  <c:v>0.14042185898473325</c:v>
                </c:pt>
                <c:pt idx="60">
                  <c:v>0.13943281566509116</c:v>
                </c:pt>
                <c:pt idx="61">
                  <c:v>0.1463888266487415</c:v>
                </c:pt>
                <c:pt idx="62">
                  <c:v>0.16681908245694255</c:v>
                </c:pt>
                <c:pt idx="63">
                  <c:v>0.16552175335296043</c:v>
                </c:pt>
                <c:pt idx="64">
                  <c:v>0.16559465254130407</c:v>
                </c:pt>
                <c:pt idx="65">
                  <c:v>0.16908012687905116</c:v>
                </c:pt>
                <c:pt idx="66">
                  <c:v>0.16127120527446479</c:v>
                </c:pt>
                <c:pt idx="67">
                  <c:v>0.1575673807878369</c:v>
                </c:pt>
                <c:pt idx="68">
                  <c:v>0.15084640609766906</c:v>
                </c:pt>
                <c:pt idx="69">
                  <c:v>0.13940273243864104</c:v>
                </c:pt>
                <c:pt idx="70">
                  <c:v>0.1383089168300842</c:v>
                </c:pt>
                <c:pt idx="71">
                  <c:v>0.1375188580712545</c:v>
                </c:pt>
                <c:pt idx="72">
                  <c:v>0.15128576199487923</c:v>
                </c:pt>
                <c:pt idx="73">
                  <c:v>0.14916875427009793</c:v>
                </c:pt>
                <c:pt idx="74">
                  <c:v>0.14144620811287478</c:v>
                </c:pt>
                <c:pt idx="75">
                  <c:v>0.15030504714364948</c:v>
                </c:pt>
                <c:pt idx="76">
                  <c:v>0.15098152424942263</c:v>
                </c:pt>
                <c:pt idx="77">
                  <c:v>0.14893926184248765</c:v>
                </c:pt>
                <c:pt idx="78">
                  <c:v>0.1562448711636304</c:v>
                </c:pt>
                <c:pt idx="79">
                  <c:v>0.1584241408214585</c:v>
                </c:pt>
                <c:pt idx="80">
                  <c:v>0.158530531193116</c:v>
                </c:pt>
                <c:pt idx="81">
                  <c:v>0.15322033898305085</c:v>
                </c:pt>
                <c:pt idx="82">
                  <c:v>0.15401558793629277</c:v>
                </c:pt>
                <c:pt idx="83">
                  <c:v>0.13964346349745332</c:v>
                </c:pt>
                <c:pt idx="84">
                  <c:v>0.14164366107453813</c:v>
                </c:pt>
                <c:pt idx="85">
                  <c:v>0.1314352574102964</c:v>
                </c:pt>
                <c:pt idx="86">
                  <c:v>0.14265335235378032</c:v>
                </c:pt>
                <c:pt idx="87">
                  <c:v>0.17739646497226164</c:v>
                </c:pt>
                <c:pt idx="88">
                  <c:v>0.18386639357176618</c:v>
                </c:pt>
                <c:pt idx="89">
                  <c:v>0.1434290687554395</c:v>
                </c:pt>
                <c:pt idx="90">
                  <c:v>0.14193663862538033</c:v>
                </c:pt>
                <c:pt idx="91">
                  <c:v>0.14365199797673242</c:v>
                </c:pt>
                <c:pt idx="92">
                  <c:v>0.15895232815964525</c:v>
                </c:pt>
                <c:pt idx="93">
                  <c:v>0.13890293225480282</c:v>
                </c:pt>
                <c:pt idx="94">
                  <c:v>0.13735046521931768</c:v>
                </c:pt>
                <c:pt idx="95">
                  <c:v>0.1478503270076123</c:v>
                </c:pt>
                <c:pt idx="96">
                  <c:v>0.14983572540204046</c:v>
                </c:pt>
                <c:pt idx="97">
                  <c:v>0.1448043382676242</c:v>
                </c:pt>
                <c:pt idx="98">
                  <c:v>0.15628408288958748</c:v>
                </c:pt>
                <c:pt idx="99">
                  <c:v>0.1556851648668938</c:v>
                </c:pt>
                <c:pt idx="100">
                  <c:v>0.17040760657781934</c:v>
                </c:pt>
                <c:pt idx="101">
                  <c:v>0.14546495356824832</c:v>
                </c:pt>
                <c:pt idx="102">
                  <c:v>0.13494876586969132</c:v>
                </c:pt>
                <c:pt idx="103">
                  <c:v>0.1509997222993613</c:v>
                </c:pt>
                <c:pt idx="104">
                  <c:v>0.155755176613885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7.5788</c:v>
                </c:pt>
                <c:pt idx="1">
                  <c:v>1241.7033</c:v>
                </c:pt>
                <c:pt idx="2">
                  <c:v>1269.042</c:v>
                </c:pt>
                <c:pt idx="3">
                  <c:v>1287.1211</c:v>
                </c:pt>
                <c:pt idx="4">
                  <c:v>1278.1937</c:v>
                </c:pt>
                <c:pt idx="5">
                  <c:v>1282.0273</c:v>
                </c:pt>
                <c:pt idx="6">
                  <c:v>1274.6663</c:v>
                </c:pt>
                <c:pt idx="7">
                  <c:v>1271.8084</c:v>
                </c:pt>
                <c:pt idx="8">
                  <c:v>1265.9886</c:v>
                </c:pt>
                <c:pt idx="9">
                  <c:v>1123.1292</c:v>
                </c:pt>
                <c:pt idx="10">
                  <c:v>1148.5366</c:v>
                </c:pt>
                <c:pt idx="11">
                  <c:v>1263.3856</c:v>
                </c:pt>
                <c:pt idx="12">
                  <c:v>1238.5731</c:v>
                </c:pt>
                <c:pt idx="13">
                  <c:v>1148.1709</c:v>
                </c:pt>
                <c:pt idx="14">
                  <c:v>1251.5951</c:v>
                </c:pt>
                <c:pt idx="15">
                  <c:v>1186.8718</c:v>
                </c:pt>
                <c:pt idx="16">
                  <c:v>1267.9952</c:v>
                </c:pt>
                <c:pt idx="17">
                  <c:v>1285.5505</c:v>
                </c:pt>
                <c:pt idx="18">
                  <c:v>1321.6302</c:v>
                </c:pt>
                <c:pt idx="19">
                  <c:v>1302.7162</c:v>
                </c:pt>
                <c:pt idx="20">
                  <c:v>1240.0478</c:v>
                </c:pt>
                <c:pt idx="21">
                  <c:v>1251.4536</c:v>
                </c:pt>
                <c:pt idx="22">
                  <c:v>1239.9622</c:v>
                </c:pt>
                <c:pt idx="23">
                  <c:v>1156.3292</c:v>
                </c:pt>
                <c:pt idx="24">
                  <c:v>1141.9894</c:v>
                </c:pt>
                <c:pt idx="25">
                  <c:v>1189.5876</c:v>
                </c:pt>
                <c:pt idx="26">
                  <c:v>1226.3852</c:v>
                </c:pt>
                <c:pt idx="27">
                  <c:v>1275.3042</c:v>
                </c:pt>
                <c:pt idx="28">
                  <c:v>1320.9276</c:v>
                </c:pt>
                <c:pt idx="29">
                  <c:v>1307.5571</c:v>
                </c:pt>
                <c:pt idx="30">
                  <c:v>1305.5342</c:v>
                </c:pt>
                <c:pt idx="31">
                  <c:v>1302.1792</c:v>
                </c:pt>
                <c:pt idx="32">
                  <c:v>1300.668</c:v>
                </c:pt>
                <c:pt idx="33">
                  <c:v>1308.3848</c:v>
                </c:pt>
                <c:pt idx="34">
                  <c:v>1307.6936</c:v>
                </c:pt>
                <c:pt idx="35">
                  <c:v>1297.1465</c:v>
                </c:pt>
                <c:pt idx="36">
                  <c:v>1293.6675</c:v>
                </c:pt>
                <c:pt idx="37">
                  <c:v>1292.8031</c:v>
                </c:pt>
                <c:pt idx="38">
                  <c:v>1290.5053</c:v>
                </c:pt>
                <c:pt idx="39">
                  <c:v>1306.224</c:v>
                </c:pt>
                <c:pt idx="40">
                  <c:v>1307.6326</c:v>
                </c:pt>
                <c:pt idx="41">
                  <c:v>1301.1517</c:v>
                </c:pt>
                <c:pt idx="42">
                  <c:v>1306.3297</c:v>
                </c:pt>
                <c:pt idx="43">
                  <c:v>1288.6247</c:v>
                </c:pt>
                <c:pt idx="44">
                  <c:v>1238.5819</c:v>
                </c:pt>
                <c:pt idx="45">
                  <c:v>1248.5237</c:v>
                </c:pt>
                <c:pt idx="46">
                  <c:v>1248.6564</c:v>
                </c:pt>
                <c:pt idx="47">
                  <c:v>1244.7582</c:v>
                </c:pt>
                <c:pt idx="48">
                  <c:v>1177.1123</c:v>
                </c:pt>
                <c:pt idx="49">
                  <c:v>1149.897</c:v>
                </c:pt>
                <c:pt idx="50">
                  <c:v>1111.9998</c:v>
                </c:pt>
                <c:pt idx="51">
                  <c:v>1135.3556</c:v>
                </c:pt>
              </c:numCache>
            </c:numRef>
          </c:xVal>
          <c:yVal>
            <c:numRef>
              <c:f>Sheet1!$B$109:$B$160</c:f>
              <c:numCache>
                <c:formatCode>General</c:formatCode>
                <c:ptCount val="52"/>
                <c:pt idx="0">
                  <c:v>0.17426059152677859</c:v>
                </c:pt>
                <c:pt idx="1">
                  <c:v>0.16431742076162292</c:v>
                </c:pt>
                <c:pt idx="2">
                  <c:v>0.17060423825887744</c:v>
                </c:pt>
                <c:pt idx="3">
                  <c:v>0.17236204897346702</c:v>
                </c:pt>
                <c:pt idx="4">
                  <c:v>0.16263736263736264</c:v>
                </c:pt>
                <c:pt idx="5">
                  <c:v>0.14951032198971323</c:v>
                </c:pt>
                <c:pt idx="6">
                  <c:v>0.13346288379323745</c:v>
                </c:pt>
                <c:pt idx="7">
                  <c:v>0.12609065758672058</c:v>
                </c:pt>
                <c:pt idx="8">
                  <c:v>0.13813025210084034</c:v>
                </c:pt>
                <c:pt idx="9">
                  <c:v>0.1473429951690821</c:v>
                </c:pt>
                <c:pt idx="10">
                  <c:v>0.15446789402784014</c:v>
                </c:pt>
                <c:pt idx="11">
                  <c:v>0.1449075140072147</c:v>
                </c:pt>
                <c:pt idx="12">
                  <c:v>0.15228900654001867</c:v>
                </c:pt>
                <c:pt idx="13">
                  <c:v>0.16745934335685794</c:v>
                </c:pt>
                <c:pt idx="14">
                  <c:v>0.15208279873406894</c:v>
                </c:pt>
                <c:pt idx="15">
                  <c:v>0.16133059841255684</c:v>
                </c:pt>
                <c:pt idx="16">
                  <c:v>0.14426034328802462</c:v>
                </c:pt>
                <c:pt idx="17">
                  <c:v>0.13033272096346193</c:v>
                </c:pt>
                <c:pt idx="18">
                  <c:v>0.14128664495114007</c:v>
                </c:pt>
                <c:pt idx="19">
                  <c:v>0.1602713824936047</c:v>
                </c:pt>
                <c:pt idx="20">
                  <c:v>0.14584607855132753</c:v>
                </c:pt>
                <c:pt idx="21">
                  <c:v>0.14382130805077936</c:v>
                </c:pt>
                <c:pt idx="22">
                  <c:v>0.14724121481952615</c:v>
                </c:pt>
                <c:pt idx="23">
                  <c:v>0.1690320523042577</c:v>
                </c:pt>
                <c:pt idx="24">
                  <c:v>0.16953979913056513</c:v>
                </c:pt>
                <c:pt idx="25">
                  <c:v>0.15811023622047243</c:v>
                </c:pt>
                <c:pt idx="26">
                  <c:v>0.14966740576496673</c:v>
                </c:pt>
                <c:pt idx="27">
                  <c:v>0.14160184384903485</c:v>
                </c:pt>
                <c:pt idx="28">
                  <c:v>0.13394495412844037</c:v>
                </c:pt>
                <c:pt idx="29">
                  <c:v>0.13297451321829984</c:v>
                </c:pt>
                <c:pt idx="30">
                  <c:v>0.1478966545213647</c:v>
                </c:pt>
                <c:pt idx="31">
                  <c:v>0.13251649387370407</c:v>
                </c:pt>
                <c:pt idx="32">
                  <c:v>0.12795010114632502</c:v>
                </c:pt>
                <c:pt idx="33">
                  <c:v>0.14974874371859295</c:v>
                </c:pt>
                <c:pt idx="34">
                  <c:v>0.17448064479509592</c:v>
                </c:pt>
                <c:pt idx="35">
                  <c:v>0.1884363006066609</c:v>
                </c:pt>
                <c:pt idx="36">
                  <c:v>0.1548663936024966</c:v>
                </c:pt>
                <c:pt idx="37">
                  <c:v>0.15599931728963987</c:v>
                </c:pt>
                <c:pt idx="38">
                  <c:v>0.14588601439408674</c:v>
                </c:pt>
                <c:pt idx="39">
                  <c:v>0.17300596082883907</c:v>
                </c:pt>
                <c:pt idx="40">
                  <c:v>0.16146916146916146</c:v>
                </c:pt>
                <c:pt idx="41">
                  <c:v>0.17017430600387345</c:v>
                </c:pt>
                <c:pt idx="42">
                  <c:v>0.15789473684210525</c:v>
                </c:pt>
                <c:pt idx="43">
                  <c:v>0.16773659142679645</c:v>
                </c:pt>
                <c:pt idx="44">
                  <c:v>0.1599419943700418</c:v>
                </c:pt>
                <c:pt idx="45">
                  <c:v>0.16267975192530498</c:v>
                </c:pt>
                <c:pt idx="46">
                  <c:v>0.16652705645836824</c:v>
                </c:pt>
                <c:pt idx="47">
                  <c:v>0.1659030624547866</c:v>
                </c:pt>
                <c:pt idx="48">
                  <c:v>0.17166175159454083</c:v>
                </c:pt>
                <c:pt idx="49">
                  <c:v>0.18768242848803268</c:v>
                </c:pt>
                <c:pt idx="50">
                  <c:v>0.21325828642901815</c:v>
                </c:pt>
                <c:pt idx="51">
                  <c:v>0.19118963767683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90.2961870634809</c:v>
                </c:pt>
              </c:numCache>
            </c:numRef>
          </c:xVal>
          <c:yVal>
            <c:numRef>
              <c:f>Sheet1!$B$163:$B$164</c:f>
              <c:numCache>
                <c:formatCode>General</c:formatCode>
                <c:ptCount val="2"/>
                <c:pt idx="0">
                  <c:v>0.20730646650796047</c:v>
                </c:pt>
                <c:pt idx="1">
                  <c:v>0.2073064665079604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90.2961870634809</c:v>
                </c:pt>
                <c:pt idx="1">
                  <c:v>890.2961870634809</c:v>
                </c:pt>
              </c:numCache>
            </c:numRef>
          </c:xVal>
          <c:yVal>
            <c:numRef>
              <c:f>Sheet1!$B$167:$B$168</c:f>
              <c:numCache>
                <c:formatCode>General</c:formatCode>
                <c:ptCount val="2"/>
                <c:pt idx="0">
                  <c:v>0.207306466507960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7.7275896646387</c:v>
                </c:pt>
              </c:numCache>
            </c:numRef>
          </c:xVal>
          <c:yVal>
            <c:numRef>
              <c:f>Sheet1!$B$171:$B$172</c:f>
              <c:numCache>
                <c:formatCode>General</c:formatCode>
                <c:ptCount val="2"/>
                <c:pt idx="0">
                  <c:v>0.19094802604710642</c:v>
                </c:pt>
                <c:pt idx="1">
                  <c:v>0.1909480260471064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7.7275896646387</c:v>
                </c:pt>
                <c:pt idx="1">
                  <c:v>1007.7275896646387</c:v>
                </c:pt>
              </c:numCache>
            </c:numRef>
          </c:xVal>
          <c:yVal>
            <c:numRef>
              <c:f>Sheet1!$B$175:$B$176</c:f>
              <c:numCache>
                <c:formatCode>General</c:formatCode>
                <c:ptCount val="2"/>
                <c:pt idx="0">
                  <c:v>0.1909480260471064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36.5011854702557</c:v>
                </c:pt>
              </c:numCache>
            </c:numRef>
          </c:xVal>
          <c:yVal>
            <c:numRef>
              <c:f>Sheet1!$B$179:$B$180</c:f>
              <c:numCache>
                <c:formatCode>General</c:formatCode>
                <c:ptCount val="2"/>
                <c:pt idx="0">
                  <c:v>0.17300959430520793</c:v>
                </c:pt>
                <c:pt idx="1">
                  <c:v>0.1730095943052079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36.5011854702557</c:v>
                </c:pt>
                <c:pt idx="1">
                  <c:v>1136.5011854702557</c:v>
                </c:pt>
              </c:numCache>
            </c:numRef>
          </c:xVal>
          <c:yVal>
            <c:numRef>
              <c:f>Sheet1!$B$183:$B$184</c:f>
              <c:numCache>
                <c:formatCode>General</c:formatCode>
                <c:ptCount val="2"/>
                <c:pt idx="0">
                  <c:v>0.173009594305207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7.5788</c:v>
                </c:pt>
                <c:pt idx="1">
                  <c:v>1241.7033</c:v>
                </c:pt>
                <c:pt idx="2">
                  <c:v>1269.042</c:v>
                </c:pt>
                <c:pt idx="3">
                  <c:v>1287.1211</c:v>
                </c:pt>
                <c:pt idx="4">
                  <c:v>1278.1937</c:v>
                </c:pt>
                <c:pt idx="5">
                  <c:v>1282.0273</c:v>
                </c:pt>
                <c:pt idx="6">
                  <c:v>1274.6663</c:v>
                </c:pt>
                <c:pt idx="7">
                  <c:v>1271.8084</c:v>
                </c:pt>
                <c:pt idx="8">
                  <c:v>1265.9886</c:v>
                </c:pt>
                <c:pt idx="9">
                  <c:v>1123.1292</c:v>
                </c:pt>
                <c:pt idx="10">
                  <c:v>1148.5366</c:v>
                </c:pt>
                <c:pt idx="11">
                  <c:v>1263.3856</c:v>
                </c:pt>
                <c:pt idx="12">
                  <c:v>1238.5731</c:v>
                </c:pt>
                <c:pt idx="13">
                  <c:v>1148.1709</c:v>
                </c:pt>
                <c:pt idx="14">
                  <c:v>1251.5951</c:v>
                </c:pt>
                <c:pt idx="15">
                  <c:v>1186.8718</c:v>
                </c:pt>
                <c:pt idx="16">
                  <c:v>1267.9952</c:v>
                </c:pt>
                <c:pt idx="17">
                  <c:v>1285.5505</c:v>
                </c:pt>
                <c:pt idx="18">
                  <c:v>1321.6302</c:v>
                </c:pt>
                <c:pt idx="19">
                  <c:v>1302.7162</c:v>
                </c:pt>
                <c:pt idx="20">
                  <c:v>1240.0478</c:v>
                </c:pt>
                <c:pt idx="21">
                  <c:v>1251.4536</c:v>
                </c:pt>
                <c:pt idx="22">
                  <c:v>1239.9622</c:v>
                </c:pt>
                <c:pt idx="23">
                  <c:v>1156.3292</c:v>
                </c:pt>
                <c:pt idx="24">
                  <c:v>1141.9894</c:v>
                </c:pt>
                <c:pt idx="25">
                  <c:v>1189.5876</c:v>
                </c:pt>
                <c:pt idx="26">
                  <c:v>1226.3852</c:v>
                </c:pt>
                <c:pt idx="27">
                  <c:v>1275.3042</c:v>
                </c:pt>
                <c:pt idx="28">
                  <c:v>1320.9276</c:v>
                </c:pt>
                <c:pt idx="29">
                  <c:v>1307.5571</c:v>
                </c:pt>
                <c:pt idx="30">
                  <c:v>1305.5342</c:v>
                </c:pt>
                <c:pt idx="31">
                  <c:v>1302.1792</c:v>
                </c:pt>
                <c:pt idx="32">
                  <c:v>1300.668</c:v>
                </c:pt>
                <c:pt idx="33">
                  <c:v>1308.3848</c:v>
                </c:pt>
                <c:pt idx="34">
                  <c:v>1307.6936</c:v>
                </c:pt>
                <c:pt idx="35">
                  <c:v>1297.1465</c:v>
                </c:pt>
                <c:pt idx="36">
                  <c:v>1293.6675</c:v>
                </c:pt>
                <c:pt idx="37">
                  <c:v>1292.8031</c:v>
                </c:pt>
                <c:pt idx="38">
                  <c:v>1290.5053</c:v>
                </c:pt>
                <c:pt idx="39">
                  <c:v>1306.224</c:v>
                </c:pt>
                <c:pt idx="40">
                  <c:v>1307.6326</c:v>
                </c:pt>
                <c:pt idx="41">
                  <c:v>1301.1517</c:v>
                </c:pt>
                <c:pt idx="42">
                  <c:v>1306.3297</c:v>
                </c:pt>
                <c:pt idx="43">
                  <c:v>1288.6247</c:v>
                </c:pt>
                <c:pt idx="44">
                  <c:v>1238.5819</c:v>
                </c:pt>
                <c:pt idx="45">
                  <c:v>1248.5237</c:v>
                </c:pt>
                <c:pt idx="46">
                  <c:v>1248.6564</c:v>
                </c:pt>
                <c:pt idx="47">
                  <c:v>1244.7582</c:v>
                </c:pt>
                <c:pt idx="48">
                  <c:v>1177.1123</c:v>
                </c:pt>
                <c:pt idx="49">
                  <c:v>1149.897</c:v>
                </c:pt>
                <c:pt idx="50">
                  <c:v>1111.9998</c:v>
                </c:pt>
                <c:pt idx="51">
                  <c:v>1135.3556</c:v>
                </c:pt>
                <c:pt idx="52">
                  <c:v>1007.7275896646387</c:v>
                </c:pt>
                <c:pt idx="53">
                  <c:v>890.2961870634809</c:v>
                </c:pt>
                <c:pt idx="54">
                  <c:v>1136.5011854702557</c:v>
                </c:pt>
              </c:numCache>
            </c:numRef>
          </c:xVal>
          <c:yVal>
            <c:numRef>
              <c:f>Sheet1!$B$187:$B$241</c:f>
              <c:numCache>
                <c:formatCode>General</c:formatCode>
                <c:ptCount val="55"/>
                <c:pt idx="0">
                  <c:v>0.15892927079220512</c:v>
                </c:pt>
                <c:pt idx="1">
                  <c:v>0.15835471929927997</c:v>
                </c:pt>
                <c:pt idx="2">
                  <c:v>0.1545463811007993</c:v>
                </c:pt>
                <c:pt idx="3">
                  <c:v>0.15202792458588996</c:v>
                </c:pt>
                <c:pt idx="4">
                  <c:v>0.15327153011333333</c:v>
                </c:pt>
                <c:pt idx="5">
                  <c:v>0.1527375015999916</c:v>
                </c:pt>
                <c:pt idx="6">
                  <c:v>0.15376290432503031</c:v>
                </c:pt>
                <c:pt idx="7">
                  <c:v>0.15416101578378436</c:v>
                </c:pt>
                <c:pt idx="8">
                  <c:v>0.15497172611922522</c:v>
                </c:pt>
                <c:pt idx="9">
                  <c:v>0.17487233990232492</c:v>
                </c:pt>
                <c:pt idx="10">
                  <c:v>0.17133303584090004</c:v>
                </c:pt>
                <c:pt idx="11">
                  <c:v>0.15533432947383408</c:v>
                </c:pt>
                <c:pt idx="12">
                  <c:v>0.15879076271864093</c:v>
                </c:pt>
                <c:pt idx="13">
                  <c:v>0.1713839786172275</c:v>
                </c:pt>
                <c:pt idx="14">
                  <c:v>0.1569767708309281</c:v>
                </c:pt>
                <c:pt idx="15">
                  <c:v>0.16599286214915918</c:v>
                </c:pt>
                <c:pt idx="16">
                  <c:v>0.15469220253437768</c:v>
                </c:pt>
                <c:pt idx="17">
                  <c:v>0.15224671245709573</c:v>
                </c:pt>
                <c:pt idx="18">
                  <c:v>0.1472207346417745</c:v>
                </c:pt>
                <c:pt idx="19">
                  <c:v>0.14985549447622395</c:v>
                </c:pt>
                <c:pt idx="20">
                  <c:v>0.1585853339183944</c:v>
                </c:pt>
                <c:pt idx="21">
                  <c:v>0.15699648207744255</c:v>
                </c:pt>
                <c:pt idx="22">
                  <c:v>0.15859725817776996</c:v>
                </c:pt>
                <c:pt idx="23">
                  <c:v>0.1702475103314398</c:v>
                </c:pt>
                <c:pt idx="24">
                  <c:v>0.17224507452061386</c:v>
                </c:pt>
                <c:pt idx="25">
                  <c:v>0.16561454551817692</c:v>
                </c:pt>
                <c:pt idx="26">
                  <c:v>0.16048856272849008</c:v>
                </c:pt>
                <c:pt idx="27">
                  <c:v>0.1536740435183054</c:v>
                </c:pt>
                <c:pt idx="28">
                  <c:v>0.14731860829407883</c:v>
                </c:pt>
                <c:pt idx="29">
                  <c:v>0.14918114696207643</c:v>
                </c:pt>
                <c:pt idx="30">
                  <c:v>0.14946294117108075</c:v>
                </c:pt>
                <c:pt idx="31">
                  <c:v>0.14993029970151206</c:v>
                </c:pt>
                <c:pt idx="32">
                  <c:v>0.15014081302824467</c:v>
                </c:pt>
                <c:pt idx="33">
                  <c:v>0.14906584661762395</c:v>
                </c:pt>
                <c:pt idx="34">
                  <c:v>0.1491621322260395</c:v>
                </c:pt>
                <c:pt idx="35">
                  <c:v>0.15063136535757815</c:v>
                </c:pt>
                <c:pt idx="36">
                  <c:v>0.15111599734785253</c:v>
                </c:pt>
                <c:pt idx="37">
                  <c:v>0.15123641007921015</c:v>
                </c:pt>
                <c:pt idx="38">
                  <c:v>0.1515564984342698</c:v>
                </c:pt>
                <c:pt idx="39">
                  <c:v>0.14936685058559895</c:v>
                </c:pt>
                <c:pt idx="40">
                  <c:v>0.14917062965386554</c:v>
                </c:pt>
                <c:pt idx="41">
                  <c:v>0.15007343260464717</c:v>
                </c:pt>
                <c:pt idx="42">
                  <c:v>0.14935212635410366</c:v>
                </c:pt>
                <c:pt idx="43">
                  <c:v>0.15181846995508325</c:v>
                </c:pt>
                <c:pt idx="44">
                  <c:v>0.15878953686020048</c:v>
                </c:pt>
                <c:pt idx="45">
                  <c:v>0.1574046232870732</c:v>
                </c:pt>
                <c:pt idx="46">
                  <c:v>0.15738613789899916</c:v>
                </c:pt>
                <c:pt idx="47">
                  <c:v>0.15792916532771076</c:v>
                </c:pt>
                <c:pt idx="48">
                  <c:v>0.16735238095027524</c:v>
                </c:pt>
                <c:pt idx="49">
                  <c:v>0.17114352927017015</c:v>
                </c:pt>
                <c:pt idx="50">
                  <c:v>0.17642268864407823</c:v>
                </c:pt>
                <c:pt idx="51">
                  <c:v>0.17316917676179872</c:v>
                </c:pt>
                <c:pt idx="52">
                  <c:v>0.19094802604710642</c:v>
                </c:pt>
                <c:pt idx="53">
                  <c:v>0.20730646650796047</c:v>
                </c:pt>
                <c:pt idx="54">
                  <c:v>0.173009594305207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86.0"/>
          <c:min val="63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805270863836015"/>
          <c:min val="0.1008725260693764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c:f>
              <c:numCache>
                <c:formatCode>General</c:formatCode>
                <c:ptCount val="6"/>
                <c:pt idx="0">
                  <c:v>2326.0</c:v>
                </c:pt>
                <c:pt idx="1">
                  <c:v>1970.0</c:v>
                </c:pt>
                <c:pt idx="2">
                  <c:v>1927.6667</c:v>
                </c:pt>
                <c:pt idx="3">
                  <c:v>2306.8</c:v>
                </c:pt>
                <c:pt idx="4">
                  <c:v>1859.6667</c:v>
                </c:pt>
                <c:pt idx="5">
                  <c:v>1772.0</c:v>
                </c:pt>
              </c:numCache>
            </c:numRef>
          </c:xVal>
          <c:yVal>
            <c:numRef>
              <c:f>Sheet1!$B$2:$B$7</c:f>
              <c:numCache>
                <c:formatCode>General</c:formatCode>
                <c:ptCount val="6"/>
                <c:pt idx="0">
                  <c:v>0.011682242990654205</c:v>
                </c:pt>
                <c:pt idx="1">
                  <c:v>0.022556390977443608</c:v>
                </c:pt>
                <c:pt idx="2">
                  <c:v>0.0379746835443038</c:v>
                </c:pt>
                <c:pt idx="3">
                  <c:v>0.030303030303030304</c:v>
                </c:pt>
                <c:pt idx="4">
                  <c:v>0.011363636363636364</c:v>
                </c:pt>
                <c:pt idx="5">
                  <c:v>0.030612244897959183</c:v>
                </c:pt>
              </c:numCache>
            </c:numRef>
          </c:yVal>
          <c:smooth val="0"/>
          <c:extLst>
            <c:ext xmlns:c16="http://schemas.microsoft.com/office/drawing/2014/chart" uri="{C3380CC4-5D6E-409C-BE32-E72D297353CC}">
              <c16:uniqueId val="{00000000-F32D-48B7-BC20-E66FC6253BAD}"/>
            </c:ext>
          </c:extLst>
        </c:ser>
        <c:ser>
          <c:idx val="1"/>
          <c:order val="1"/>
          <c:tx>
            <c:strRef>
              <c:f>Sheet1!$B$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A$11</c:f>
              <c:numCache>
                <c:formatCode>General</c:formatCode>
                <c:ptCount val="2"/>
                <c:pt idx="0">
                  <c:v>1715.6667</c:v>
                </c:pt>
                <c:pt idx="1">
                  <c:v>876.6667</c:v>
                </c:pt>
              </c:numCache>
            </c:numRef>
          </c:xVal>
          <c:yVal>
            <c:numRef>
              <c:f>Sheet1!$B$10:$B$11</c:f>
              <c:numCache>
                <c:formatCode>General</c:formatCode>
                <c:ptCount val="2"/>
                <c:pt idx="0">
                  <c:v>0.01818181818181818</c:v>
                </c:pt>
                <c:pt idx="1">
                  <c:v>0.015</c:v>
                </c:pt>
              </c:numCache>
            </c:numRef>
          </c:yVal>
          <c:smooth val="0"/>
          <c:extLst>
            <c:ext xmlns:c16="http://schemas.microsoft.com/office/drawing/2014/chart" uri="{C3380CC4-5D6E-409C-BE32-E72D297353CC}">
              <c16:uniqueId val="{00000002-F32D-48B7-BC20-E66FC6253BAD}"/>
            </c:ext>
          </c:extLst>
        </c:ser>
        <c:ser>
          <c:idx val="2"/>
          <c:order val="2"/>
          <c:tx>
            <c:strRef>
              <c:f>Sheet1!$B$13</c:f>
              <c:strCache>
                <c:ptCount val="1"/>
                <c:pt idx="0">
                  <c:v>Custom Linep3yQ</c:v>
                </c:pt>
              </c:strCache>
            </c:strRef>
          </c:tx>
          <c:spPr>
            <a:ln w="19050" cap="rnd">
              <a:solidFill>
                <a:srgbClr val="C00000"/>
              </a:solidFill>
              <a:prstDash val="sysDot"/>
              <a:round/>
            </a:ln>
            <a:effectLst/>
          </c:spPr>
          <c:marker>
            <c:symbol val="none"/>
          </c:marker>
          <c:xVal>
            <c:numRef>
              <c:f>Sheet1!$A$14:$A$15</c:f>
              <c:numCache>
                <c:formatCode>General</c:formatCode>
                <c:ptCount val="2"/>
                <c:pt idx="0">
                  <c:v>0</c:v>
                </c:pt>
                <c:pt idx="1">
                  <c:v>4905.266256455941</c:v>
                </c:pt>
              </c:numCache>
            </c:numRef>
          </c:xVal>
          <c:yVal>
            <c:numRef>
              <c:f>Sheet1!$B$14:$B$15</c:f>
              <c:numCache>
                <c:formatCode>General</c:formatCode>
                <c:ptCount val="2"/>
                <c:pt idx="0">
                  <c:v>0.030278034941592574</c:v>
                </c:pt>
                <c:pt idx="1">
                  <c:v>0.030278034941592574</c:v>
                </c:pt>
              </c:numCache>
            </c:numRef>
          </c:yVal>
          <c:smooth val="0"/>
          <c:extLst>
            <c:ext xmlns:c16="http://schemas.microsoft.com/office/drawing/2014/chart" uri="{C3380CC4-5D6E-409C-BE32-E72D297353CC}">
              <c16:uniqueId val="{00000003-F32D-48B7-BC20-E66FC6253BAD}"/>
            </c:ext>
          </c:extLst>
        </c:ser>
        <c:ser>
          <c:idx val="3"/>
          <c:order val="3"/>
          <c:tx>
            <c:strRef>
              <c:f>Sheet1!$B$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A$19</c:f>
              <c:numCache>
                <c:formatCode>General</c:formatCode>
                <c:ptCount val="2"/>
                <c:pt idx="0">
                  <c:v>4905.266256455941</c:v>
                </c:pt>
                <c:pt idx="1">
                  <c:v>4905.266256455941</c:v>
                </c:pt>
              </c:numCache>
            </c:numRef>
          </c:xVal>
          <c:yVal>
            <c:numRef>
              <c:f>Sheet1!$B$18:$B$19</c:f>
              <c:numCache>
                <c:formatCode>General</c:formatCode>
                <c:ptCount val="2"/>
                <c:pt idx="0">
                  <c:v>0.0302780349415925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2:$A$23</c:f>
              <c:numCache>
                <c:formatCode>General</c:formatCode>
                <c:ptCount val="2"/>
                <c:pt idx="0">
                  <c:v>0</c:v>
                </c:pt>
                <c:pt idx="1">
                  <c:v>1715.6667000000014</c:v>
                </c:pt>
              </c:numCache>
            </c:numRef>
          </c:xVal>
          <c:yVal>
            <c:numRef>
              <c:f>Sheet1!$B$22:$B$23</c:f>
              <c:numCache>
                <c:formatCode>General</c:formatCode>
                <c:ptCount val="2"/>
                <c:pt idx="0">
                  <c:v>0.01818181818181818</c:v>
                </c:pt>
                <c:pt idx="1">
                  <c:v>0.01818181818181818</c:v>
                </c:pt>
              </c:numCache>
            </c:numRef>
          </c:yVal>
          <c:smooth val="0"/>
          <c:extLst>
            <c:ext xmlns:c16="http://schemas.microsoft.com/office/drawing/2014/chart" uri="{C3380CC4-5D6E-409C-BE32-E72D297353CC}">
              <c16:uniqueId val="{0000000A-F32D-48B7-BC20-E66FC6253BAD}"/>
            </c:ext>
          </c:extLst>
        </c:ser>
        <c:ser>
          <c:idx val="5"/>
          <c:order val="5"/>
          <c:tx>
            <c:strRef>
              <c:f>Sheet1!$B$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1715.6667000000014</c:v>
                </c:pt>
                <c:pt idx="1">
                  <c:v>1715.6667000000014</c:v>
                </c:pt>
              </c:numCache>
            </c:numRef>
          </c:xVal>
          <c:yVal>
            <c:numRef>
              <c:f>Sheet1!$B$26:$B$27</c:f>
              <c:numCache>
                <c:formatCode>General</c:formatCode>
                <c:ptCount val="2"/>
                <c:pt idx="0">
                  <c:v>0.018181818181818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9</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0:$A$34</c:f>
              <c:numCache>
                <c:formatCode>General</c:formatCode>
                <c:ptCount val="5"/>
                <c:pt idx="0">
                  <c:v>1715.6667</c:v>
                </c:pt>
                <c:pt idx="1">
                  <c:v>876.6667</c:v>
                </c:pt>
                <c:pt idx="2">
                  <c:v>1715.6667000000014</c:v>
                </c:pt>
                <c:pt idx="3">
                  <c:v>4905.266256455941</c:v>
                </c:pt>
                <c:pt idx="4">
                  <c:v>0</c:v>
                </c:pt>
              </c:numCache>
            </c:numRef>
          </c:xVal>
          <c:yVal>
            <c:numRef>
              <c:f>Sheet1!$B$30:$B$34</c:f>
              <c:numCache>
                <c:formatCode>General</c:formatCode>
                <c:ptCount val="5"/>
                <c:pt idx="0">
                  <c:v>0.018181818181818174</c:v>
                </c:pt>
                <c:pt idx="1">
                  <c:v>0.014999999999999996</c:v>
                </c:pt>
                <c:pt idx="2">
                  <c:v>0.01818181818181818</c:v>
                </c:pt>
                <c:pt idx="3">
                  <c:v>0.03027803494159257</c:v>
                </c:pt>
                <c:pt idx="4">
                  <c:v>0.011675334868349764</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8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556962025316456"/>
          <c:min val="0.00909090909090909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0.2458121063332252</c:v>
                </c:pt>
                <c:pt idx="1">
                  <c:v>0.24074823890816577</c:v>
                </c:pt>
                <c:pt idx="2">
                  <c:v>0.23037500000000002</c:v>
                </c:pt>
                <c:pt idx="3">
                  <c:v>0.2206099903079864</c:v>
                </c:pt>
                <c:pt idx="4">
                  <c:v>0.22292549789583477</c:v>
                </c:pt>
                <c:pt idx="5">
                  <c:v>0.2260361822108708</c:v>
                </c:pt>
                <c:pt idx="6">
                  <c:v>0.2255825208225887</c:v>
                </c:pt>
                <c:pt idx="7">
                  <c:v>0.21763924826365244</c:v>
                </c:pt>
                <c:pt idx="8">
                  <c:v>0.19958145680689643</c:v>
                </c:pt>
                <c:pt idx="9">
                  <c:v>0.20765442328092534</c:v>
                </c:pt>
                <c:pt idx="10">
                  <c:v>0.1982614925612025</c:v>
                </c:pt>
                <c:pt idx="11">
                  <c:v>0.20200960925851316</c:v>
                </c:pt>
                <c:pt idx="12">
                  <c:v>0.19206250173865116</c:v>
                </c:pt>
                <c:pt idx="13">
                  <c:v>0.1938151930664926</c:v>
                </c:pt>
                <c:pt idx="14">
                  <c:v>0.20059248251443215</c:v>
                </c:pt>
                <c:pt idx="15">
                  <c:v>0.20785423393403893</c:v>
                </c:pt>
                <c:pt idx="16">
                  <c:v>0.2181160857462973</c:v>
                </c:pt>
                <c:pt idx="17">
                  <c:v>0.20211817331679516</c:v>
                </c:pt>
                <c:pt idx="18">
                  <c:v>0.18619202277965075</c:v>
                </c:pt>
                <c:pt idx="19">
                  <c:v>0.21617054651347756</c:v>
                </c:pt>
                <c:pt idx="20">
                  <c:v>0.19013957450443608</c:v>
                </c:pt>
                <c:pt idx="21">
                  <c:v>0.18180060674558324</c:v>
                </c:pt>
                <c:pt idx="22">
                  <c:v>0.18181406372367628</c:v>
                </c:pt>
                <c:pt idx="23">
                  <c:v>0.18230318917146746</c:v>
                </c:pt>
                <c:pt idx="24">
                  <c:v>0.17493625855602093</c:v>
                </c:pt>
                <c:pt idx="25">
                  <c:v>0.1673247205424226</c:v>
                </c:pt>
                <c:pt idx="26">
                  <c:v>0.17500238163284748</c:v>
                </c:pt>
                <c:pt idx="27">
                  <c:v>0.17442455743091115</c:v>
                </c:pt>
                <c:pt idx="28">
                  <c:v>0.18755337735627883</c:v>
                </c:pt>
                <c:pt idx="29">
                  <c:v>0.18915764401866178</c:v>
                </c:pt>
                <c:pt idx="30">
                  <c:v>0.16998099137300776</c:v>
                </c:pt>
                <c:pt idx="31">
                  <c:v>0.2298445958077746</c:v>
                </c:pt>
                <c:pt idx="32">
                  <c:v>0.163075543983634</c:v>
                </c:pt>
                <c:pt idx="33">
                  <c:v>0.19205943493105018</c:v>
                </c:pt>
                <c:pt idx="34">
                  <c:v>0.18187340875434552</c:v>
                </c:pt>
                <c:pt idx="35">
                  <c:v>0.16023081814085463</c:v>
                </c:pt>
                <c:pt idx="36">
                  <c:v>0.1729113057964332</c:v>
                </c:pt>
                <c:pt idx="37">
                  <c:v>0.11682008240081936</c:v>
                </c:pt>
                <c:pt idx="38">
                  <c:v>0.11842259424346932</c:v>
                </c:pt>
                <c:pt idx="39">
                  <c:v>0.09134784921645035</c:v>
                </c:pt>
                <c:pt idx="40">
                  <c:v>0.1169822568882192</c:v>
                </c:pt>
                <c:pt idx="41">
                  <c:v>0.0848716457810305</c:v>
                </c:pt>
                <c:pt idx="42">
                  <c:v>0.09003043734903474</c:v>
                </c:pt>
                <c:pt idx="43">
                  <c:v>0.05650811327239666</c:v>
                </c:pt>
                <c:pt idx="44">
                  <c:v>0.08428590998340918</c:v>
                </c:pt>
                <c:pt idx="45">
                  <c:v>0.06113745149612335</c:v>
                </c:pt>
                <c:pt idx="46">
                  <c:v>0.06089462078412212</c:v>
                </c:pt>
                <c:pt idx="47">
                  <c:v>0.02948688416287162</c:v>
                </c:pt>
                <c:pt idx="48">
                  <c:v>0.02957659816880947</c:v>
                </c:pt>
              </c:numCache>
            </c:numRef>
          </c:xVal>
          <c:yVal>
            <c:numRef>
              <c:f>Sheet1!$B$2:$B$50</c:f>
              <c:numCache>
                <c:formatCode>General</c:formatCode>
                <c:ptCount val="49"/>
                <c:pt idx="0">
                  <c:v>0.22926829268292684</c:v>
                </c:pt>
                <c:pt idx="1">
                  <c:v>0.2291220556745182</c:v>
                </c:pt>
                <c:pt idx="2">
                  <c:v>0.181640625</c:v>
                </c:pt>
                <c:pt idx="3">
                  <c:v>0.1814516129032258</c:v>
                </c:pt>
                <c:pt idx="4">
                  <c:v>0.1873479318734793</c:v>
                </c:pt>
                <c:pt idx="5">
                  <c:v>0.13123359580052493</c:v>
                </c:pt>
                <c:pt idx="6">
                  <c:v>0.11166253101736973</c:v>
                </c:pt>
                <c:pt idx="7">
                  <c:v>0.11658031088082901</c:v>
                </c:pt>
                <c:pt idx="8">
                  <c:v>0.12844036697247707</c:v>
                </c:pt>
                <c:pt idx="9">
                  <c:v>0.09536082474226804</c:v>
                </c:pt>
                <c:pt idx="10">
                  <c:v>0.0776255707762557</c:v>
                </c:pt>
                <c:pt idx="11">
                  <c:v>0.054502369668246446</c:v>
                </c:pt>
                <c:pt idx="12">
                  <c:v>0.04597701149425287</c:v>
                </c:pt>
                <c:pt idx="13">
                  <c:v>0.04597701149425287</c:v>
                </c:pt>
                <c:pt idx="14">
                  <c:v>0.3380530973451327</c:v>
                </c:pt>
                <c:pt idx="15">
                  <c:v>0.3766990291262136</c:v>
                </c:pt>
                <c:pt idx="16">
                  <c:v>0.31712962962962965</c:v>
                </c:pt>
                <c:pt idx="17">
                  <c:v>0.24922118380062305</c:v>
                </c:pt>
                <c:pt idx="18">
                  <c:v>0.21666666666666667</c:v>
                </c:pt>
                <c:pt idx="19">
                  <c:v>0.15444015444015444</c:v>
                </c:pt>
                <c:pt idx="20">
                  <c:v>0.1423728813559322</c:v>
                </c:pt>
                <c:pt idx="21">
                  <c:v>0.10267857142857142</c:v>
                </c:pt>
                <c:pt idx="22">
                  <c:v>0.09268292682926829</c:v>
                </c:pt>
                <c:pt idx="23">
                  <c:v>0.08762886597938144</c:v>
                </c:pt>
                <c:pt idx="24">
                  <c:v>0.1095890410958904</c:v>
                </c:pt>
                <c:pt idx="25">
                  <c:v>0.06179775280898876</c:v>
                </c:pt>
                <c:pt idx="26">
                  <c:v>0.06</c:v>
                </c:pt>
                <c:pt idx="27">
                  <c:v>0.07281553398058252</c:v>
                </c:pt>
                <c:pt idx="28">
                  <c:v>0.07211538461538461</c:v>
                </c:pt>
                <c:pt idx="29">
                  <c:v>0.056</c:v>
                </c:pt>
                <c:pt idx="30">
                  <c:v>0.041884816753926704</c:v>
                </c:pt>
                <c:pt idx="31">
                  <c:v>0.03184713375796178</c:v>
                </c:pt>
                <c:pt idx="32">
                  <c:v>0.042682926829268296</c:v>
                </c:pt>
                <c:pt idx="33">
                  <c:v>0.057971014492753624</c:v>
                </c:pt>
                <c:pt idx="34">
                  <c:v>0.02643171806167401</c:v>
                </c:pt>
                <c:pt idx="35">
                  <c:v>0.007874015748031496</c:v>
                </c:pt>
                <c:pt idx="36">
                  <c:v>0.017045454545454544</c:v>
                </c:pt>
                <c:pt idx="37">
                  <c:v>0.10588235294117647</c:v>
                </c:pt>
                <c:pt idx="38">
                  <c:v>0.07602339181286549</c:v>
                </c:pt>
                <c:pt idx="39">
                  <c:v>0.08620689655172414</c:v>
                </c:pt>
                <c:pt idx="40">
                  <c:v>0.005128205128205128</c:v>
                </c:pt>
                <c:pt idx="41">
                  <c:v>0.011363636363636364</c:v>
                </c:pt>
                <c:pt idx="42">
                  <c:v>0.009615384615384616</c:v>
                </c:pt>
                <c:pt idx="43">
                  <c:v>0.004484304932735426</c:v>
                </c:pt>
                <c:pt idx="44">
                  <c:v>0.008733624454148471</c:v>
                </c:pt>
                <c:pt idx="45">
                  <c:v>0.002544529262086514</c:v>
                </c:pt>
                <c:pt idx="46">
                  <c:v>0.0019157088122605363</c:v>
                </c:pt>
                <c:pt idx="47">
                  <c:v>0.0072992700729927005</c:v>
                </c:pt>
                <c:pt idx="48">
                  <c:v>0.006802721088435374</c:v>
                </c:pt>
              </c:numCache>
            </c:numRef>
          </c:yVal>
          <c:smooth val="0"/>
          <c:extLst>
            <c:ext xmlns:c16="http://schemas.microsoft.com/office/drawing/2014/chart" uri="{C3380CC4-5D6E-409C-BE32-E72D297353CC}">
              <c16:uniqueId val="{00000000-096C-4121-9522-6AB7243CCAAE}"/>
            </c:ext>
          </c:extLst>
        </c:ser>
        <c:ser>
          <c:idx val="1"/>
          <c:order val="1"/>
          <c:tx>
            <c:strRef>
              <c:f>Sheet1!$B$5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5:$A$56</c:f>
              <c:numCache>
                <c:formatCode>General</c:formatCode>
                <c:ptCount val="2"/>
                <c:pt idx="0">
                  <c:v>0</c:v>
                </c:pt>
                <c:pt idx="1">
                  <c:v>0.1705156924590923</c:v>
                </c:pt>
              </c:numCache>
            </c:numRef>
          </c:xVal>
          <c:yVal>
            <c:numRef>
              <c:f>Sheet1!$B$55:$B$56</c:f>
              <c:numCache>
                <c:formatCode>General</c:formatCode>
                <c:ptCount val="2"/>
                <c:pt idx="0">
                  <c:v>0.1705156924590923</c:v>
                </c:pt>
                <c:pt idx="1">
                  <c:v>0.1705156924590923</c:v>
                </c:pt>
              </c:numCache>
            </c:numRef>
          </c:yVal>
          <c:smooth val="0"/>
          <c:extLst>
            <c:ext xmlns:c16="http://schemas.microsoft.com/office/drawing/2014/chart" uri="{C3380CC4-5D6E-409C-BE32-E72D297353CC}">
              <c16:uniqueId val="{00000005-096C-4121-9522-6AB7243CCAAE}"/>
            </c:ext>
          </c:extLst>
        </c:ser>
        <c:ser>
          <c:idx val="3"/>
          <c:order val="3"/>
          <c:tx>
            <c:strRef>
              <c:f>Sheet1!$B$5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0.1705156924590923</c:v>
                </c:pt>
                <c:pt idx="1">
                  <c:v>0.1705156924590923</c:v>
                </c:pt>
              </c:numCache>
            </c:numRef>
          </c:xVal>
          <c:yVal>
            <c:numRef>
              <c:f>Sheet1!$B$59:$B$60</c:f>
              <c:numCache>
                <c:formatCode>General</c:formatCode>
                <c:ptCount val="2"/>
                <c:pt idx="0">
                  <c:v>0.17051569245909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2</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3:$A$65</c:f>
              <c:numCache>
                <c:formatCode>General</c:formatCode>
                <c:ptCount val="3"/>
                <c:pt idx="0">
                  <c:v>0</c:v>
                </c:pt>
                <c:pt idx="1">
                  <c:v>0.1705156924590923</c:v>
                </c:pt>
                <c:pt idx="2">
                  <c:v>0</c:v>
                </c:pt>
              </c:numCache>
            </c:numRef>
          </c:xVal>
          <c:yVal>
            <c:numRef>
              <c:f>Sheet1!$B$63:$B$65</c:f>
              <c:numCache>
                <c:formatCode>General</c:formatCode>
                <c:ptCount val="3"/>
                <c:pt idx="0">
                  <c:v>0</c:v>
                </c:pt>
                <c:pt idx="1">
                  <c:v>0.1705156924590923</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520388349514563"/>
          <c:min val="0.001532567049808429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556.5426</c:v>
                </c:pt>
                <c:pt idx="1">
                  <c:v>549.8131</c:v>
                </c:pt>
                <c:pt idx="2">
                  <c:v>551.9785</c:v>
                </c:pt>
                <c:pt idx="3">
                  <c:v>552.8444</c:v>
                </c:pt>
                <c:pt idx="4">
                  <c:v>545.3247</c:v>
                </c:pt>
                <c:pt idx="5">
                  <c:v>542.32</c:v>
                </c:pt>
                <c:pt idx="6">
                  <c:v>530.8222</c:v>
                </c:pt>
                <c:pt idx="7">
                  <c:v>511.4</c:v>
                </c:pt>
                <c:pt idx="8">
                  <c:v>500.7857</c:v>
                </c:pt>
                <c:pt idx="9">
                  <c:v>515.5676</c:v>
                </c:pt>
                <c:pt idx="10">
                  <c:v>499.4412</c:v>
                </c:pt>
                <c:pt idx="11">
                  <c:v>510.6087</c:v>
                </c:pt>
                <c:pt idx="12">
                  <c:v>482.6</c:v>
                </c:pt>
                <c:pt idx="13">
                  <c:v>483.4375</c:v>
                </c:pt>
                <c:pt idx="14">
                  <c:v>515.0419</c:v>
                </c:pt>
                <c:pt idx="15">
                  <c:v>513.933</c:v>
                </c:pt>
                <c:pt idx="16">
                  <c:v>512.2701</c:v>
                </c:pt>
                <c:pt idx="17">
                  <c:v>514.55</c:v>
                </c:pt>
                <c:pt idx="18">
                  <c:v>505.0769</c:v>
                </c:pt>
                <c:pt idx="19">
                  <c:v>502.4</c:v>
                </c:pt>
                <c:pt idx="20">
                  <c:v>506.5952</c:v>
                </c:pt>
                <c:pt idx="21">
                  <c:v>489.0</c:v>
                </c:pt>
                <c:pt idx="22">
                  <c:v>492.4737</c:v>
                </c:pt>
                <c:pt idx="23">
                  <c:v>491.9412</c:v>
                </c:pt>
                <c:pt idx="24">
                  <c:v>479.4583</c:v>
                </c:pt>
                <c:pt idx="25">
                  <c:v>456.5455</c:v>
                </c:pt>
                <c:pt idx="26">
                  <c:v>459.25</c:v>
                </c:pt>
                <c:pt idx="27">
                  <c:v>481.6667</c:v>
                </c:pt>
                <c:pt idx="28">
                  <c:v>520.8</c:v>
                </c:pt>
                <c:pt idx="29">
                  <c:v>496.0</c:v>
                </c:pt>
                <c:pt idx="30">
                  <c:v>418.5</c:v>
                </c:pt>
                <c:pt idx="31">
                  <c:v>558.0</c:v>
                </c:pt>
                <c:pt idx="32">
                  <c:v>438.4286</c:v>
                </c:pt>
                <c:pt idx="33">
                  <c:v>488.25</c:v>
                </c:pt>
                <c:pt idx="34">
                  <c:v>465.0</c:v>
                </c:pt>
                <c:pt idx="35">
                  <c:v>418.5</c:v>
                </c:pt>
                <c:pt idx="36">
                  <c:v>465.0</c:v>
                </c:pt>
                <c:pt idx="37">
                  <c:v>293.0</c:v>
                </c:pt>
                <c:pt idx="38">
                  <c:v>294.2308</c:v>
                </c:pt>
                <c:pt idx="39">
                  <c:v>234.2</c:v>
                </c:pt>
                <c:pt idx="40">
                  <c:v>306.0</c:v>
                </c:pt>
                <c:pt idx="41">
                  <c:v>229.5</c:v>
                </c:pt>
                <c:pt idx="42">
                  <c:v>229.5</c:v>
                </c:pt>
                <c:pt idx="43">
                  <c:v>153.0</c:v>
                </c:pt>
                <c:pt idx="44">
                  <c:v>221.5</c:v>
                </c:pt>
                <c:pt idx="45">
                  <c:v>153.0</c:v>
                </c:pt>
                <c:pt idx="46">
                  <c:v>153.0</c:v>
                </c:pt>
                <c:pt idx="47">
                  <c:v>83.0</c:v>
                </c:pt>
                <c:pt idx="48">
                  <c:v>83.0</c:v>
                </c:pt>
              </c:numCache>
            </c:numRef>
          </c:xVal>
          <c:yVal>
            <c:numRef>
              <c:f>Sheet1!$B$2:$B$50</c:f>
              <c:numCache>
                <c:formatCode>General</c:formatCode>
                <c:ptCount val="49"/>
                <c:pt idx="0">
                  <c:v>0.22926829268292684</c:v>
                </c:pt>
                <c:pt idx="1">
                  <c:v>0.2291220556745182</c:v>
                </c:pt>
                <c:pt idx="2">
                  <c:v>0.181640625</c:v>
                </c:pt>
                <c:pt idx="3">
                  <c:v>0.1814516129032258</c:v>
                </c:pt>
                <c:pt idx="4">
                  <c:v>0.1873479318734793</c:v>
                </c:pt>
                <c:pt idx="5">
                  <c:v>0.13123359580052493</c:v>
                </c:pt>
                <c:pt idx="6">
                  <c:v>0.11166253101736973</c:v>
                </c:pt>
                <c:pt idx="7">
                  <c:v>0.11658031088082901</c:v>
                </c:pt>
                <c:pt idx="8">
                  <c:v>0.12844036697247707</c:v>
                </c:pt>
                <c:pt idx="9">
                  <c:v>0.09536082474226804</c:v>
                </c:pt>
                <c:pt idx="10">
                  <c:v>0.0776255707762557</c:v>
                </c:pt>
                <c:pt idx="11">
                  <c:v>0.054502369668246446</c:v>
                </c:pt>
                <c:pt idx="12">
                  <c:v>0.04597701149425287</c:v>
                </c:pt>
                <c:pt idx="13">
                  <c:v>0.04597701149425287</c:v>
                </c:pt>
                <c:pt idx="14">
                  <c:v>0.3380530973451327</c:v>
                </c:pt>
                <c:pt idx="15">
                  <c:v>0.3766990291262136</c:v>
                </c:pt>
                <c:pt idx="16">
                  <c:v>0.31712962962962965</c:v>
                </c:pt>
                <c:pt idx="17">
                  <c:v>0.24922118380062305</c:v>
                </c:pt>
                <c:pt idx="18">
                  <c:v>0.21666666666666667</c:v>
                </c:pt>
                <c:pt idx="19">
                  <c:v>0.15444015444015444</c:v>
                </c:pt>
                <c:pt idx="20">
                  <c:v>0.1423728813559322</c:v>
                </c:pt>
                <c:pt idx="21">
                  <c:v>0.10267857142857142</c:v>
                </c:pt>
                <c:pt idx="22">
                  <c:v>0.09268292682926829</c:v>
                </c:pt>
                <c:pt idx="23">
                  <c:v>0.08762886597938144</c:v>
                </c:pt>
                <c:pt idx="24">
                  <c:v>0.1095890410958904</c:v>
                </c:pt>
                <c:pt idx="25">
                  <c:v>0.06179775280898876</c:v>
                </c:pt>
                <c:pt idx="26">
                  <c:v>0.06</c:v>
                </c:pt>
                <c:pt idx="27">
                  <c:v>0.07281553398058252</c:v>
                </c:pt>
                <c:pt idx="28">
                  <c:v>0.07211538461538461</c:v>
                </c:pt>
                <c:pt idx="29">
                  <c:v>0.056</c:v>
                </c:pt>
                <c:pt idx="30">
                  <c:v>0.041884816753926704</c:v>
                </c:pt>
                <c:pt idx="31">
                  <c:v>0.03184713375796178</c:v>
                </c:pt>
                <c:pt idx="32">
                  <c:v>0.042682926829268296</c:v>
                </c:pt>
                <c:pt idx="33">
                  <c:v>0.057971014492753624</c:v>
                </c:pt>
                <c:pt idx="34">
                  <c:v>0.02643171806167401</c:v>
                </c:pt>
                <c:pt idx="35">
                  <c:v>0.007874015748031496</c:v>
                </c:pt>
                <c:pt idx="36">
                  <c:v>0.017045454545454544</c:v>
                </c:pt>
                <c:pt idx="37">
                  <c:v>0.10588235294117647</c:v>
                </c:pt>
                <c:pt idx="38">
                  <c:v>0.07602339181286549</c:v>
                </c:pt>
                <c:pt idx="39">
                  <c:v>0.08620689655172414</c:v>
                </c:pt>
                <c:pt idx="40">
                  <c:v>0.005128205128205128</c:v>
                </c:pt>
                <c:pt idx="41">
                  <c:v>0.011363636363636364</c:v>
                </c:pt>
                <c:pt idx="42">
                  <c:v>0.009615384615384616</c:v>
                </c:pt>
                <c:pt idx="43">
                  <c:v>0.004484304932735426</c:v>
                </c:pt>
                <c:pt idx="44">
                  <c:v>0.008733624454148471</c:v>
                </c:pt>
                <c:pt idx="45">
                  <c:v>0.002544529262086514</c:v>
                </c:pt>
                <c:pt idx="46">
                  <c:v>0.0019157088122605363</c:v>
                </c:pt>
                <c:pt idx="47">
                  <c:v>0.0072992700729927005</c:v>
                </c:pt>
                <c:pt idx="48">
                  <c:v>0.006802721088435374</c:v>
                </c:pt>
              </c:numCache>
            </c:numRef>
          </c:yVal>
          <c:smooth val="0"/>
          <c:extLst>
            <c:ext xmlns:c16="http://schemas.microsoft.com/office/drawing/2014/chart" uri="{C3380CC4-5D6E-409C-BE32-E72D297353CC}">
              <c16:uniqueId val="{00000000-F32D-48B7-BC20-E66FC6253BAD}"/>
            </c:ext>
          </c:extLst>
        </c:ser>
        <c:ser>
          <c:idx val="1"/>
          <c:order val="1"/>
          <c:tx>
            <c:strRef>
              <c:f>Sheet1!$B$5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4</c:f>
              <c:strCache>
                <c:ptCount val="1"/>
                <c:pt idx="0">
                  <c:v>Custom Linep3yQ</c:v>
                </c:pt>
              </c:strCache>
            </c:strRef>
          </c:tx>
          <c:spPr>
            <a:ln w="19050" cap="rnd">
              <a:solidFill>
                <a:srgbClr val="C00000"/>
              </a:solidFill>
              <a:prstDash val="sysDot"/>
              <a:round/>
            </a:ln>
            <a:effectLst/>
          </c:spPr>
          <c:marker>
            <c:symbol val="none"/>
          </c:marker>
          <c:xVal>
            <c:numRef>
              <c:f>Sheet1!$A$55:$A$56</c:f>
              <c:numCache>
                <c:formatCode>General</c:formatCode>
                <c:ptCount val="2"/>
                <c:pt idx="0">
                  <c:v>0</c:v>
                </c:pt>
                <c:pt idx="1">
                  <c:v>0.1705156924590923</c:v>
                </c:pt>
              </c:numCache>
            </c:numRef>
          </c:xVal>
          <c:yVal>
            <c:numRef>
              <c:f>Sheet1!$B$55:$B$56</c:f>
              <c:numCache>
                <c:formatCode>General</c:formatCode>
                <c:ptCount val="2"/>
                <c:pt idx="0">
                  <c:v>0.1705156924590923</c:v>
                </c:pt>
                <c:pt idx="1">
                  <c:v>0.1705156924590923</c:v>
                </c:pt>
              </c:numCache>
            </c:numRef>
          </c:yVal>
          <c:smooth val="0"/>
          <c:extLst>
            <c:ext xmlns:c16="http://schemas.microsoft.com/office/drawing/2014/chart" uri="{C3380CC4-5D6E-409C-BE32-E72D297353CC}">
              <c16:uniqueId val="{00000003-F32D-48B7-BC20-E66FC6253BAD}"/>
            </c:ext>
          </c:extLst>
        </c:ser>
        <c:ser>
          <c:idx val="3"/>
          <c:order val="3"/>
          <c:tx>
            <c:strRef>
              <c:f>Sheet1!$B$5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0.1705156924590923</c:v>
                </c:pt>
                <c:pt idx="1">
                  <c:v>0.1705156924590923</c:v>
                </c:pt>
              </c:numCache>
            </c:numRef>
          </c:xVal>
          <c:yVal>
            <c:numRef>
              <c:f>Sheet1!$B$59:$B$60</c:f>
              <c:numCache>
                <c:formatCode>General</c:formatCode>
                <c:ptCount val="2"/>
                <c:pt idx="0">
                  <c:v>0.17051569245909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2</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3:$A$65</c:f>
              <c:numCache>
                <c:formatCode>General</c:formatCode>
                <c:ptCount val="3"/>
                <c:pt idx="0">
                  <c:v>0</c:v>
                </c:pt>
                <c:pt idx="1">
                  <c:v>0.1705156924590923</c:v>
                </c:pt>
                <c:pt idx="2">
                  <c:v>0</c:v>
                </c:pt>
              </c:numCache>
            </c:numRef>
          </c:xVal>
          <c:yVal>
            <c:numRef>
              <c:f>Sheet1!$B$63:$B$65</c:f>
              <c:numCache>
                <c:formatCode>General</c:formatCode>
                <c:ptCount val="3"/>
                <c:pt idx="0">
                  <c:v>0</c:v>
                </c:pt>
                <c:pt idx="1">
                  <c:v>0.1705156924590923</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520388349514563"/>
          <c:min val="0.001532567049808429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0.4908667408070079</c:v>
                </c:pt>
                <c:pt idx="1">
                  <c:v>0.47957799188958555</c:v>
                </c:pt>
                <c:pt idx="2">
                  <c:v>0.5078075227807004</c:v>
                </c:pt>
                <c:pt idx="3">
                  <c:v>0.49967137134676287</c:v>
                </c:pt>
                <c:pt idx="4">
                  <c:v>0.48280566354174903</c:v>
                </c:pt>
                <c:pt idx="5">
                  <c:v>0.49019439472580045</c:v>
                </c:pt>
                <c:pt idx="6">
                  <c:v>0.4836458814236998</c:v>
                </c:pt>
                <c:pt idx="7">
                  <c:v>0.4544748038866572</c:v>
                </c:pt>
                <c:pt idx="8">
                  <c:v>0.43507236933555743</c:v>
                </c:pt>
                <c:pt idx="9">
                  <c:v>0.46043390853382504</c:v>
                </c:pt>
                <c:pt idx="10">
                  <c:v>0.4332638699364835</c:v>
                </c:pt>
                <c:pt idx="11">
                  <c:v>0.45648704782536703</c:v>
                </c:pt>
                <c:pt idx="12">
                  <c:v>0.43252195882437555</c:v>
                </c:pt>
                <c:pt idx="13">
                  <c:v>0.42232028036257324</c:v>
                </c:pt>
                <c:pt idx="14">
                  <c:v>0.46222597277863076</c:v>
                </c:pt>
                <c:pt idx="15">
                  <c:v>0.46245192662432677</c:v>
                </c:pt>
                <c:pt idx="16">
                  <c:v>0.45338696645705323</c:v>
                </c:pt>
                <c:pt idx="17">
                  <c:v>0.44212543284556755</c:v>
                </c:pt>
                <c:pt idx="18">
                  <c:v>0.44262534139402254</c:v>
                </c:pt>
                <c:pt idx="19">
                  <c:v>0.4277144672205047</c:v>
                </c:pt>
                <c:pt idx="20">
                  <c:v>0.42392545468862564</c:v>
                </c:pt>
                <c:pt idx="21">
                  <c:v>0.44432470595290613</c:v>
                </c:pt>
                <c:pt idx="22">
                  <c:v>0.43063845363420117</c:v>
                </c:pt>
                <c:pt idx="23">
                  <c:v>0.43237140291231674</c:v>
                </c:pt>
                <c:pt idx="24">
                  <c:v>0.4082641033455278</c:v>
                </c:pt>
                <c:pt idx="25">
                  <c:v>0.3881725535195367</c:v>
                </c:pt>
                <c:pt idx="26">
                  <c:v>0.40203974437538303</c:v>
                </c:pt>
                <c:pt idx="27">
                  <c:v>0.4139120677243738</c:v>
                </c:pt>
                <c:pt idx="28">
                  <c:v>0.4350539181166375</c:v>
                </c:pt>
                <c:pt idx="29">
                  <c:v>0.43246776131581105</c:v>
                </c:pt>
                <c:pt idx="30">
                  <c:v>0.3431190447631384</c:v>
                </c:pt>
                <c:pt idx="31">
                  <c:v>0.449578954806277</c:v>
                </c:pt>
                <c:pt idx="32">
                  <c:v>0.38303884628956636</c:v>
                </c:pt>
                <c:pt idx="33">
                  <c:v>0.44071568436037467</c:v>
                </c:pt>
                <c:pt idx="34">
                  <c:v>0.44499310978410656</c:v>
                </c:pt>
                <c:pt idx="35">
                  <c:v>0.39912697530896574</c:v>
                </c:pt>
                <c:pt idx="36">
                  <c:v>0.4024055718546639</c:v>
                </c:pt>
                <c:pt idx="37">
                  <c:v>0.24859208219794768</c:v>
                </c:pt>
                <c:pt idx="38">
                  <c:v>0.2560872673544498</c:v>
                </c:pt>
                <c:pt idx="39">
                  <c:v>0.19422216428176442</c:v>
                </c:pt>
                <c:pt idx="40">
                  <c:v>0.25493501281631625</c:v>
                </c:pt>
                <c:pt idx="41">
                  <c:v>0.17979693522609758</c:v>
                </c:pt>
                <c:pt idx="42">
                  <c:v>0.17848211807490352</c:v>
                </c:pt>
                <c:pt idx="43">
                  <c:v>0.1264576203733971</c:v>
                </c:pt>
                <c:pt idx="44">
                  <c:v>0.186270509518381</c:v>
                </c:pt>
                <c:pt idx="45">
                  <c:v>0.13310353689155915</c:v>
                </c:pt>
                <c:pt idx="46">
                  <c:v>0.1338902116016656</c:v>
                </c:pt>
                <c:pt idx="47">
                  <c:v>0.06864514092888785</c:v>
                </c:pt>
                <c:pt idx="48">
                  <c:v>0.07231997423666267</c:v>
                </c:pt>
              </c:numCache>
            </c:numRef>
          </c:xVal>
          <c:yVal>
            <c:numRef>
              <c:f>Sheet1!$B$2:$B$50</c:f>
              <c:numCache>
                <c:formatCode>General</c:formatCode>
                <c:ptCount val="49"/>
                <c:pt idx="0">
                  <c:v>0.22926829268292684</c:v>
                </c:pt>
                <c:pt idx="1">
                  <c:v>0.2291220556745182</c:v>
                </c:pt>
                <c:pt idx="2">
                  <c:v>0.181640625</c:v>
                </c:pt>
                <c:pt idx="3">
                  <c:v>0.1814516129032258</c:v>
                </c:pt>
                <c:pt idx="4">
                  <c:v>0.1873479318734793</c:v>
                </c:pt>
                <c:pt idx="5">
                  <c:v>0.13123359580052493</c:v>
                </c:pt>
                <c:pt idx="6">
                  <c:v>0.11166253101736973</c:v>
                </c:pt>
                <c:pt idx="7">
                  <c:v>0.11658031088082901</c:v>
                </c:pt>
                <c:pt idx="8">
                  <c:v>0.12844036697247707</c:v>
                </c:pt>
                <c:pt idx="9">
                  <c:v>0.09536082474226804</c:v>
                </c:pt>
                <c:pt idx="10">
                  <c:v>0.0776255707762557</c:v>
                </c:pt>
                <c:pt idx="11">
                  <c:v>0.054502369668246446</c:v>
                </c:pt>
                <c:pt idx="12">
                  <c:v>0.04597701149425287</c:v>
                </c:pt>
                <c:pt idx="13">
                  <c:v>0.04597701149425287</c:v>
                </c:pt>
                <c:pt idx="14">
                  <c:v>0.3380530973451327</c:v>
                </c:pt>
                <c:pt idx="15">
                  <c:v>0.3766990291262136</c:v>
                </c:pt>
                <c:pt idx="16">
                  <c:v>0.31712962962962965</c:v>
                </c:pt>
                <c:pt idx="17">
                  <c:v>0.24922118380062305</c:v>
                </c:pt>
                <c:pt idx="18">
                  <c:v>0.21666666666666667</c:v>
                </c:pt>
                <c:pt idx="19">
                  <c:v>0.15444015444015444</c:v>
                </c:pt>
                <c:pt idx="20">
                  <c:v>0.1423728813559322</c:v>
                </c:pt>
                <c:pt idx="21">
                  <c:v>0.10267857142857142</c:v>
                </c:pt>
                <c:pt idx="22">
                  <c:v>0.09268292682926829</c:v>
                </c:pt>
                <c:pt idx="23">
                  <c:v>0.08762886597938144</c:v>
                </c:pt>
                <c:pt idx="24">
                  <c:v>0.1095890410958904</c:v>
                </c:pt>
                <c:pt idx="25">
                  <c:v>0.06179775280898876</c:v>
                </c:pt>
                <c:pt idx="26">
                  <c:v>0.06</c:v>
                </c:pt>
                <c:pt idx="27">
                  <c:v>0.07281553398058252</c:v>
                </c:pt>
                <c:pt idx="28">
                  <c:v>0.07211538461538461</c:v>
                </c:pt>
                <c:pt idx="29">
                  <c:v>0.056</c:v>
                </c:pt>
                <c:pt idx="30">
                  <c:v>0.041884816753926704</c:v>
                </c:pt>
                <c:pt idx="31">
                  <c:v>0.03184713375796178</c:v>
                </c:pt>
                <c:pt idx="32">
                  <c:v>0.042682926829268296</c:v>
                </c:pt>
                <c:pt idx="33">
                  <c:v>0.057971014492753624</c:v>
                </c:pt>
                <c:pt idx="34">
                  <c:v>0.02643171806167401</c:v>
                </c:pt>
                <c:pt idx="35">
                  <c:v>0.007874015748031496</c:v>
                </c:pt>
                <c:pt idx="36">
                  <c:v>0.017045454545454544</c:v>
                </c:pt>
                <c:pt idx="37">
                  <c:v>0.10588235294117647</c:v>
                </c:pt>
                <c:pt idx="38">
                  <c:v>0.07602339181286549</c:v>
                </c:pt>
                <c:pt idx="39">
                  <c:v>0.08620689655172414</c:v>
                </c:pt>
                <c:pt idx="40">
                  <c:v>0.005128205128205128</c:v>
                </c:pt>
                <c:pt idx="41">
                  <c:v>0.011363636363636364</c:v>
                </c:pt>
                <c:pt idx="42">
                  <c:v>0.009615384615384616</c:v>
                </c:pt>
                <c:pt idx="43">
                  <c:v>0.004484304932735426</c:v>
                </c:pt>
                <c:pt idx="44">
                  <c:v>0.008733624454148471</c:v>
                </c:pt>
                <c:pt idx="45">
                  <c:v>0.002544529262086514</c:v>
                </c:pt>
                <c:pt idx="46">
                  <c:v>0.0019157088122605363</c:v>
                </c:pt>
                <c:pt idx="47">
                  <c:v>0.0072992700729927005</c:v>
                </c:pt>
                <c:pt idx="48">
                  <c:v>0.006802721088435374</c:v>
                </c:pt>
              </c:numCache>
            </c:numRef>
          </c:yVal>
          <c:smooth val="0"/>
          <c:extLst>
            <c:ext xmlns:c16="http://schemas.microsoft.com/office/drawing/2014/chart" uri="{C3380CC4-5D6E-409C-BE32-E72D297353CC}">
              <c16:uniqueId val="{00000000-096C-4121-9522-6AB7243CCAAE}"/>
            </c:ext>
          </c:extLst>
        </c:ser>
        <c:ser>
          <c:idx val="1"/>
          <c:order val="1"/>
          <c:tx>
            <c:strRef>
              <c:f>Sheet1!$B$5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5:$A$56</c:f>
              <c:numCache>
                <c:formatCode>General</c:formatCode>
                <c:ptCount val="2"/>
                <c:pt idx="0">
                  <c:v>0</c:v>
                </c:pt>
                <c:pt idx="1">
                  <c:v>0.1705156924590923</c:v>
                </c:pt>
              </c:numCache>
            </c:numRef>
          </c:xVal>
          <c:yVal>
            <c:numRef>
              <c:f>Sheet1!$B$55:$B$56</c:f>
              <c:numCache>
                <c:formatCode>General</c:formatCode>
                <c:ptCount val="2"/>
                <c:pt idx="0">
                  <c:v>0.1705156924590923</c:v>
                </c:pt>
                <c:pt idx="1">
                  <c:v>0.1705156924590923</c:v>
                </c:pt>
              </c:numCache>
            </c:numRef>
          </c:yVal>
          <c:smooth val="0"/>
          <c:extLst>
            <c:ext xmlns:c16="http://schemas.microsoft.com/office/drawing/2014/chart" uri="{C3380CC4-5D6E-409C-BE32-E72D297353CC}">
              <c16:uniqueId val="{00000005-096C-4121-9522-6AB7243CCAAE}"/>
            </c:ext>
          </c:extLst>
        </c:ser>
        <c:ser>
          <c:idx val="3"/>
          <c:order val="3"/>
          <c:tx>
            <c:strRef>
              <c:f>Sheet1!$B$5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0.1705156924590923</c:v>
                </c:pt>
                <c:pt idx="1">
                  <c:v>0.1705156924590923</c:v>
                </c:pt>
              </c:numCache>
            </c:numRef>
          </c:xVal>
          <c:yVal>
            <c:numRef>
              <c:f>Sheet1!$B$59:$B$60</c:f>
              <c:numCache>
                <c:formatCode>General</c:formatCode>
                <c:ptCount val="2"/>
                <c:pt idx="0">
                  <c:v>0.17051569245909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2</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3:$A$65</c:f>
              <c:numCache>
                <c:formatCode>General</c:formatCode>
                <c:ptCount val="3"/>
                <c:pt idx="0">
                  <c:v>0</c:v>
                </c:pt>
                <c:pt idx="1">
                  <c:v>0.1705156924590923</c:v>
                </c:pt>
                <c:pt idx="2">
                  <c:v>0</c:v>
                </c:pt>
              </c:numCache>
            </c:numRef>
          </c:xVal>
          <c:yVal>
            <c:numRef>
              <c:f>Sheet1!$B$63:$B$65</c:f>
              <c:numCache>
                <c:formatCode>General</c:formatCode>
                <c:ptCount val="3"/>
                <c:pt idx="0">
                  <c:v>0</c:v>
                </c:pt>
                <c:pt idx="1">
                  <c:v>0.1705156924590923</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520388349514563"/>
          <c:min val="0.001532567049808429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556.5426</c:v>
                </c:pt>
                <c:pt idx="1">
                  <c:v>549.8131</c:v>
                </c:pt>
                <c:pt idx="2">
                  <c:v>551.9785</c:v>
                </c:pt>
                <c:pt idx="3">
                  <c:v>552.8444</c:v>
                </c:pt>
                <c:pt idx="4">
                  <c:v>545.3247</c:v>
                </c:pt>
                <c:pt idx="5">
                  <c:v>542.32</c:v>
                </c:pt>
                <c:pt idx="6">
                  <c:v>530.8222</c:v>
                </c:pt>
                <c:pt idx="7">
                  <c:v>511.4</c:v>
                </c:pt>
                <c:pt idx="8">
                  <c:v>500.7857</c:v>
                </c:pt>
                <c:pt idx="9">
                  <c:v>515.5676</c:v>
                </c:pt>
                <c:pt idx="10">
                  <c:v>499.4412</c:v>
                </c:pt>
                <c:pt idx="11">
                  <c:v>510.6087</c:v>
                </c:pt>
                <c:pt idx="12">
                  <c:v>482.6</c:v>
                </c:pt>
                <c:pt idx="13">
                  <c:v>483.4375</c:v>
                </c:pt>
                <c:pt idx="14">
                  <c:v>515.0419</c:v>
                </c:pt>
                <c:pt idx="15">
                  <c:v>513.933</c:v>
                </c:pt>
                <c:pt idx="16">
                  <c:v>512.2701</c:v>
                </c:pt>
                <c:pt idx="17">
                  <c:v>514.55</c:v>
                </c:pt>
                <c:pt idx="18">
                  <c:v>505.0769</c:v>
                </c:pt>
                <c:pt idx="19">
                  <c:v>502.4</c:v>
                </c:pt>
                <c:pt idx="20">
                  <c:v>506.5952</c:v>
                </c:pt>
                <c:pt idx="21">
                  <c:v>489.0</c:v>
                </c:pt>
                <c:pt idx="22">
                  <c:v>492.4737</c:v>
                </c:pt>
                <c:pt idx="23">
                  <c:v>491.9412</c:v>
                </c:pt>
                <c:pt idx="24">
                  <c:v>479.4583</c:v>
                </c:pt>
                <c:pt idx="25">
                  <c:v>456.5455</c:v>
                </c:pt>
                <c:pt idx="26">
                  <c:v>459.25</c:v>
                </c:pt>
                <c:pt idx="27">
                  <c:v>481.6667</c:v>
                </c:pt>
                <c:pt idx="28">
                  <c:v>520.8</c:v>
                </c:pt>
                <c:pt idx="29">
                  <c:v>496.0</c:v>
                </c:pt>
                <c:pt idx="30">
                  <c:v>418.5</c:v>
                </c:pt>
                <c:pt idx="31">
                  <c:v>558.0</c:v>
                </c:pt>
                <c:pt idx="32">
                  <c:v>438.4286</c:v>
                </c:pt>
                <c:pt idx="33">
                  <c:v>488.25</c:v>
                </c:pt>
                <c:pt idx="34">
                  <c:v>465.0</c:v>
                </c:pt>
                <c:pt idx="35">
                  <c:v>418.5</c:v>
                </c:pt>
                <c:pt idx="36">
                  <c:v>465.0</c:v>
                </c:pt>
                <c:pt idx="37">
                  <c:v>293.0</c:v>
                </c:pt>
                <c:pt idx="38">
                  <c:v>294.2308</c:v>
                </c:pt>
                <c:pt idx="39">
                  <c:v>234.2</c:v>
                </c:pt>
                <c:pt idx="40">
                  <c:v>306.0</c:v>
                </c:pt>
                <c:pt idx="41">
                  <c:v>229.5</c:v>
                </c:pt>
                <c:pt idx="42">
                  <c:v>229.5</c:v>
                </c:pt>
                <c:pt idx="43">
                  <c:v>153.0</c:v>
                </c:pt>
                <c:pt idx="44">
                  <c:v>221.5</c:v>
                </c:pt>
                <c:pt idx="45">
                  <c:v>153.0</c:v>
                </c:pt>
                <c:pt idx="46">
                  <c:v>153.0</c:v>
                </c:pt>
                <c:pt idx="47">
                  <c:v>83.0</c:v>
                </c:pt>
                <c:pt idx="48">
                  <c:v>83.0</c:v>
                </c:pt>
              </c:numCache>
            </c:numRef>
          </c:xVal>
          <c:yVal>
            <c:numRef>
              <c:f>Sheet1!$B$2:$B$50</c:f>
              <c:numCache>
                <c:formatCode>General</c:formatCode>
                <c:ptCount val="49"/>
                <c:pt idx="0">
                  <c:v>0.22926829268292684</c:v>
                </c:pt>
                <c:pt idx="1">
                  <c:v>0.2291220556745182</c:v>
                </c:pt>
                <c:pt idx="2">
                  <c:v>0.181640625</c:v>
                </c:pt>
                <c:pt idx="3">
                  <c:v>0.1814516129032258</c:v>
                </c:pt>
                <c:pt idx="4">
                  <c:v>0.1873479318734793</c:v>
                </c:pt>
                <c:pt idx="5">
                  <c:v>0.13123359580052493</c:v>
                </c:pt>
                <c:pt idx="6">
                  <c:v>0.11166253101736973</c:v>
                </c:pt>
                <c:pt idx="7">
                  <c:v>0.11658031088082901</c:v>
                </c:pt>
                <c:pt idx="8">
                  <c:v>0.12844036697247707</c:v>
                </c:pt>
                <c:pt idx="9">
                  <c:v>0.09536082474226804</c:v>
                </c:pt>
                <c:pt idx="10">
                  <c:v>0.0776255707762557</c:v>
                </c:pt>
                <c:pt idx="11">
                  <c:v>0.054502369668246446</c:v>
                </c:pt>
                <c:pt idx="12">
                  <c:v>0.04597701149425287</c:v>
                </c:pt>
                <c:pt idx="13">
                  <c:v>0.04597701149425287</c:v>
                </c:pt>
                <c:pt idx="14">
                  <c:v>0.3380530973451327</c:v>
                </c:pt>
                <c:pt idx="15">
                  <c:v>0.3766990291262136</c:v>
                </c:pt>
                <c:pt idx="16">
                  <c:v>0.31712962962962965</c:v>
                </c:pt>
                <c:pt idx="17">
                  <c:v>0.24922118380062305</c:v>
                </c:pt>
                <c:pt idx="18">
                  <c:v>0.21666666666666667</c:v>
                </c:pt>
                <c:pt idx="19">
                  <c:v>0.15444015444015444</c:v>
                </c:pt>
                <c:pt idx="20">
                  <c:v>0.1423728813559322</c:v>
                </c:pt>
                <c:pt idx="21">
                  <c:v>0.10267857142857142</c:v>
                </c:pt>
                <c:pt idx="22">
                  <c:v>0.09268292682926829</c:v>
                </c:pt>
                <c:pt idx="23">
                  <c:v>0.08762886597938144</c:v>
                </c:pt>
                <c:pt idx="24">
                  <c:v>0.1095890410958904</c:v>
                </c:pt>
                <c:pt idx="25">
                  <c:v>0.06179775280898876</c:v>
                </c:pt>
                <c:pt idx="26">
                  <c:v>0.06</c:v>
                </c:pt>
                <c:pt idx="27">
                  <c:v>0.07281553398058252</c:v>
                </c:pt>
                <c:pt idx="28">
                  <c:v>0.07211538461538461</c:v>
                </c:pt>
                <c:pt idx="29">
                  <c:v>0.056</c:v>
                </c:pt>
                <c:pt idx="30">
                  <c:v>0.041884816753926704</c:v>
                </c:pt>
                <c:pt idx="31">
                  <c:v>0.03184713375796178</c:v>
                </c:pt>
                <c:pt idx="32">
                  <c:v>0.042682926829268296</c:v>
                </c:pt>
                <c:pt idx="33">
                  <c:v>0.057971014492753624</c:v>
                </c:pt>
                <c:pt idx="34">
                  <c:v>0.02643171806167401</c:v>
                </c:pt>
                <c:pt idx="35">
                  <c:v>0.007874015748031496</c:v>
                </c:pt>
                <c:pt idx="36">
                  <c:v>0.017045454545454544</c:v>
                </c:pt>
                <c:pt idx="37">
                  <c:v>0.10588235294117647</c:v>
                </c:pt>
                <c:pt idx="38">
                  <c:v>0.07602339181286549</c:v>
                </c:pt>
                <c:pt idx="39">
                  <c:v>0.08620689655172414</c:v>
                </c:pt>
                <c:pt idx="40">
                  <c:v>0.005128205128205128</c:v>
                </c:pt>
                <c:pt idx="41">
                  <c:v>0.011363636363636364</c:v>
                </c:pt>
                <c:pt idx="42">
                  <c:v>0.009615384615384616</c:v>
                </c:pt>
                <c:pt idx="43">
                  <c:v>0.004484304932735426</c:v>
                </c:pt>
                <c:pt idx="44">
                  <c:v>0.008733624454148471</c:v>
                </c:pt>
                <c:pt idx="45">
                  <c:v>0.002544529262086514</c:v>
                </c:pt>
                <c:pt idx="46">
                  <c:v>0.0019157088122605363</c:v>
                </c:pt>
                <c:pt idx="47">
                  <c:v>0.0072992700729927005</c:v>
                </c:pt>
                <c:pt idx="48">
                  <c:v>0.006802721088435374</c:v>
                </c:pt>
              </c:numCache>
            </c:numRef>
          </c:yVal>
          <c:smooth val="0"/>
          <c:extLst>
            <c:ext xmlns:c16="http://schemas.microsoft.com/office/drawing/2014/chart" uri="{C3380CC4-5D6E-409C-BE32-E72D297353CC}">
              <c16:uniqueId val="{00000000-F32D-48B7-BC20-E66FC6253BAD}"/>
            </c:ext>
          </c:extLst>
        </c:ser>
        <c:ser>
          <c:idx val="1"/>
          <c:order val="1"/>
          <c:tx>
            <c:strRef>
              <c:f>Sheet1!$B$5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4</c:f>
              <c:strCache>
                <c:ptCount val="1"/>
                <c:pt idx="0">
                  <c:v>Custom Linep3yQ</c:v>
                </c:pt>
              </c:strCache>
            </c:strRef>
          </c:tx>
          <c:spPr>
            <a:ln w="19050" cap="rnd">
              <a:solidFill>
                <a:srgbClr val="C00000"/>
              </a:solidFill>
              <a:prstDash val="sysDot"/>
              <a:round/>
            </a:ln>
            <a:effectLst/>
          </c:spPr>
          <c:marker>
            <c:symbol val="none"/>
          </c:marker>
          <c:xVal>
            <c:numRef>
              <c:f>Sheet1!$A$55:$A$56</c:f>
              <c:numCache>
                <c:formatCode>General</c:formatCode>
                <c:ptCount val="2"/>
                <c:pt idx="0">
                  <c:v>0</c:v>
                </c:pt>
                <c:pt idx="1">
                  <c:v>0.1705156924590923</c:v>
                </c:pt>
              </c:numCache>
            </c:numRef>
          </c:xVal>
          <c:yVal>
            <c:numRef>
              <c:f>Sheet1!$B$55:$B$56</c:f>
              <c:numCache>
                <c:formatCode>General</c:formatCode>
                <c:ptCount val="2"/>
                <c:pt idx="0">
                  <c:v>0.1705156924590923</c:v>
                </c:pt>
                <c:pt idx="1">
                  <c:v>0.1705156924590923</c:v>
                </c:pt>
              </c:numCache>
            </c:numRef>
          </c:yVal>
          <c:smooth val="0"/>
          <c:extLst>
            <c:ext xmlns:c16="http://schemas.microsoft.com/office/drawing/2014/chart" uri="{C3380CC4-5D6E-409C-BE32-E72D297353CC}">
              <c16:uniqueId val="{00000003-F32D-48B7-BC20-E66FC6253BAD}"/>
            </c:ext>
          </c:extLst>
        </c:ser>
        <c:ser>
          <c:idx val="3"/>
          <c:order val="3"/>
          <c:tx>
            <c:strRef>
              <c:f>Sheet1!$B$5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0.1705156924590923</c:v>
                </c:pt>
                <c:pt idx="1">
                  <c:v>0.1705156924590923</c:v>
                </c:pt>
              </c:numCache>
            </c:numRef>
          </c:xVal>
          <c:yVal>
            <c:numRef>
              <c:f>Sheet1!$B$59:$B$60</c:f>
              <c:numCache>
                <c:formatCode>General</c:formatCode>
                <c:ptCount val="2"/>
                <c:pt idx="0">
                  <c:v>0.17051569245909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2</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3:$A$65</c:f>
              <c:numCache>
                <c:formatCode>General</c:formatCode>
                <c:ptCount val="3"/>
                <c:pt idx="0">
                  <c:v>0</c:v>
                </c:pt>
                <c:pt idx="1">
                  <c:v>0.1705156924590923</c:v>
                </c:pt>
                <c:pt idx="2">
                  <c:v>0</c:v>
                </c:pt>
              </c:numCache>
            </c:numRef>
          </c:xVal>
          <c:yVal>
            <c:numRef>
              <c:f>Sheet1!$B$63:$B$65</c:f>
              <c:numCache>
                <c:formatCode>General</c:formatCode>
                <c:ptCount val="3"/>
                <c:pt idx="0">
                  <c:v>0</c:v>
                </c:pt>
                <c:pt idx="1">
                  <c:v>0.1705156924590923</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520388349514563"/>
          <c:min val="0.001532567049808429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0.13733315237507712</c:v>
                </c:pt>
                <c:pt idx="1">
                  <c:v>0.153133630446719</c:v>
                </c:pt>
                <c:pt idx="2">
                  <c:v>0.13716496896869596</c:v>
                </c:pt>
                <c:pt idx="3">
                  <c:v>0.12551678714636957</c:v>
                </c:pt>
                <c:pt idx="4">
                  <c:v>0.12475971173644475</c:v>
                </c:pt>
                <c:pt idx="5">
                  <c:v>0.11679491343421261</c:v>
                </c:pt>
                <c:pt idx="6">
                  <c:v>0.14454276796156737</c:v>
                </c:pt>
                <c:pt idx="7">
                  <c:v>0.133738345555721</c:v>
                </c:pt>
                <c:pt idx="8">
                  <c:v>0.10783344261614503</c:v>
                </c:pt>
                <c:pt idx="9">
                  <c:v>0.13910846752437445</c:v>
                </c:pt>
                <c:pt idx="10">
                  <c:v>0.1407705738571487</c:v>
                </c:pt>
                <c:pt idx="11">
                  <c:v>0.12486842391320165</c:v>
                </c:pt>
                <c:pt idx="12">
                  <c:v>0.13673712245707487</c:v>
                </c:pt>
                <c:pt idx="13">
                  <c:v>0.1175255654798421</c:v>
                </c:pt>
                <c:pt idx="14">
                  <c:v>0.15896354938271606</c:v>
                </c:pt>
                <c:pt idx="15">
                  <c:v>0.17778082958022168</c:v>
                </c:pt>
                <c:pt idx="16">
                  <c:v>0.14726047195035957</c:v>
                </c:pt>
                <c:pt idx="17">
                  <c:v>0.0956368198503787</c:v>
                </c:pt>
                <c:pt idx="18">
                  <c:v>0.10717812201591513</c:v>
                </c:pt>
                <c:pt idx="19">
                  <c:v>0.1052675690399363</c:v>
                </c:pt>
                <c:pt idx="20">
                  <c:v>0.10633262318308233</c:v>
                </c:pt>
                <c:pt idx="21">
                  <c:v>0.12136576243051593</c:v>
                </c:pt>
                <c:pt idx="22">
                  <c:v>0.09180748294247046</c:v>
                </c:pt>
                <c:pt idx="23">
                  <c:v>0.09748359226379201</c:v>
                </c:pt>
                <c:pt idx="24">
                  <c:v>0.10426406436881593</c:v>
                </c:pt>
                <c:pt idx="25">
                  <c:v>0.07337010847730012</c:v>
                </c:pt>
                <c:pt idx="26">
                  <c:v>0.07966727960309475</c:v>
                </c:pt>
                <c:pt idx="27">
                  <c:v>0.07055024810225827</c:v>
                </c:pt>
                <c:pt idx="28">
                  <c:v>0.108021778584392</c:v>
                </c:pt>
                <c:pt idx="29">
                  <c:v>0.11902828095157063</c:v>
                </c:pt>
                <c:pt idx="30">
                  <c:v>0.08401365152578728</c:v>
                </c:pt>
                <c:pt idx="31">
                  <c:v>0.13264396505615975</c:v>
                </c:pt>
                <c:pt idx="32">
                  <c:v>0.11515708224227102</c:v>
                </c:pt>
                <c:pt idx="33">
                  <c:v>0.11423724847917642</c:v>
                </c:pt>
                <c:pt idx="34">
                  <c:v>0.13013181093107212</c:v>
                </c:pt>
                <c:pt idx="35">
                  <c:v>0.0786904450827469</c:v>
                </c:pt>
                <c:pt idx="36">
                  <c:v>0.09050566390283779</c:v>
                </c:pt>
                <c:pt idx="37">
                  <c:v>0.051678799014342434</c:v>
                </c:pt>
                <c:pt idx="38">
                  <c:v>0.056053876500898804</c:v>
                </c:pt>
                <c:pt idx="39">
                  <c:v>0.04792306118272969</c:v>
                </c:pt>
                <c:pt idx="40">
                  <c:v>0.0765904188189367</c:v>
                </c:pt>
                <c:pt idx="41">
                  <c:v>0.05213045825489441</c:v>
                </c:pt>
                <c:pt idx="42">
                  <c:v>0.05008897941620127</c:v>
                </c:pt>
                <c:pt idx="43">
                  <c:v>0.02493562371654878</c:v>
                </c:pt>
                <c:pt idx="44">
                  <c:v>0.045089058524173026</c:v>
                </c:pt>
                <c:pt idx="45">
                  <c:v>0.03267743247817276</c:v>
                </c:pt>
                <c:pt idx="46">
                  <c:v>0.03806754795279445</c:v>
                </c:pt>
                <c:pt idx="47">
                  <c:v>0.014348179740650256</c:v>
                </c:pt>
                <c:pt idx="48">
                  <c:v>0.013755252103277483</c:v>
                </c:pt>
              </c:numCache>
            </c:numRef>
          </c:xVal>
          <c:yVal>
            <c:numRef>
              <c:f>Sheet1!$B$2:$B$50</c:f>
              <c:numCache>
                <c:formatCode>General</c:formatCode>
                <c:ptCount val="49"/>
                <c:pt idx="0">
                  <c:v>0.22926829268292684</c:v>
                </c:pt>
                <c:pt idx="1">
                  <c:v>0.2291220556745182</c:v>
                </c:pt>
                <c:pt idx="2">
                  <c:v>0.181640625</c:v>
                </c:pt>
                <c:pt idx="3">
                  <c:v>0.1814516129032258</c:v>
                </c:pt>
                <c:pt idx="4">
                  <c:v>0.1873479318734793</c:v>
                </c:pt>
                <c:pt idx="5">
                  <c:v>0.13123359580052493</c:v>
                </c:pt>
                <c:pt idx="6">
                  <c:v>0.11166253101736973</c:v>
                </c:pt>
                <c:pt idx="7">
                  <c:v>0.11658031088082901</c:v>
                </c:pt>
                <c:pt idx="8">
                  <c:v>0.12844036697247707</c:v>
                </c:pt>
                <c:pt idx="9">
                  <c:v>0.09536082474226804</c:v>
                </c:pt>
                <c:pt idx="10">
                  <c:v>0.0776255707762557</c:v>
                </c:pt>
                <c:pt idx="11">
                  <c:v>0.054502369668246446</c:v>
                </c:pt>
                <c:pt idx="12">
                  <c:v>0.04597701149425287</c:v>
                </c:pt>
                <c:pt idx="13">
                  <c:v>0.04597701149425287</c:v>
                </c:pt>
                <c:pt idx="14">
                  <c:v>0.3380530973451327</c:v>
                </c:pt>
                <c:pt idx="15">
                  <c:v>0.3766990291262136</c:v>
                </c:pt>
                <c:pt idx="16">
                  <c:v>0.31712962962962965</c:v>
                </c:pt>
                <c:pt idx="17">
                  <c:v>0.24922118380062305</c:v>
                </c:pt>
                <c:pt idx="18">
                  <c:v>0.21666666666666667</c:v>
                </c:pt>
                <c:pt idx="19">
                  <c:v>0.15444015444015444</c:v>
                </c:pt>
                <c:pt idx="20">
                  <c:v>0.1423728813559322</c:v>
                </c:pt>
                <c:pt idx="21">
                  <c:v>0.10267857142857142</c:v>
                </c:pt>
                <c:pt idx="22">
                  <c:v>0.09268292682926829</c:v>
                </c:pt>
                <c:pt idx="23">
                  <c:v>0.08762886597938144</c:v>
                </c:pt>
                <c:pt idx="24">
                  <c:v>0.1095890410958904</c:v>
                </c:pt>
                <c:pt idx="25">
                  <c:v>0.06179775280898876</c:v>
                </c:pt>
                <c:pt idx="26">
                  <c:v>0.06</c:v>
                </c:pt>
                <c:pt idx="27">
                  <c:v>0.07281553398058252</c:v>
                </c:pt>
                <c:pt idx="28">
                  <c:v>0.07211538461538461</c:v>
                </c:pt>
                <c:pt idx="29">
                  <c:v>0.056</c:v>
                </c:pt>
                <c:pt idx="30">
                  <c:v>0.041884816753926704</c:v>
                </c:pt>
                <c:pt idx="31">
                  <c:v>0.03184713375796178</c:v>
                </c:pt>
                <c:pt idx="32">
                  <c:v>0.042682926829268296</c:v>
                </c:pt>
                <c:pt idx="33">
                  <c:v>0.057971014492753624</c:v>
                </c:pt>
                <c:pt idx="34">
                  <c:v>0.02643171806167401</c:v>
                </c:pt>
                <c:pt idx="35">
                  <c:v>0.007874015748031496</c:v>
                </c:pt>
                <c:pt idx="36">
                  <c:v>0.017045454545454544</c:v>
                </c:pt>
                <c:pt idx="37">
                  <c:v>0.10588235294117647</c:v>
                </c:pt>
                <c:pt idx="38">
                  <c:v>0.07602339181286549</c:v>
                </c:pt>
                <c:pt idx="39">
                  <c:v>0.08620689655172414</c:v>
                </c:pt>
                <c:pt idx="40">
                  <c:v>0.005128205128205128</c:v>
                </c:pt>
                <c:pt idx="41">
                  <c:v>0.011363636363636364</c:v>
                </c:pt>
                <c:pt idx="42">
                  <c:v>0.009615384615384616</c:v>
                </c:pt>
                <c:pt idx="43">
                  <c:v>0.004484304932735426</c:v>
                </c:pt>
                <c:pt idx="44">
                  <c:v>0.008733624454148471</c:v>
                </c:pt>
                <c:pt idx="45">
                  <c:v>0.002544529262086514</c:v>
                </c:pt>
                <c:pt idx="46">
                  <c:v>0.0019157088122605363</c:v>
                </c:pt>
                <c:pt idx="47">
                  <c:v>0.0072992700729927005</c:v>
                </c:pt>
                <c:pt idx="48">
                  <c:v>0.006802721088435374</c:v>
                </c:pt>
              </c:numCache>
            </c:numRef>
          </c:yVal>
          <c:smooth val="0"/>
          <c:extLst>
            <c:ext xmlns:c16="http://schemas.microsoft.com/office/drawing/2014/chart" uri="{C3380CC4-5D6E-409C-BE32-E72D297353CC}">
              <c16:uniqueId val="{00000000-096C-4121-9522-6AB7243CCAAE}"/>
            </c:ext>
          </c:extLst>
        </c:ser>
        <c:ser>
          <c:idx val="1"/>
          <c:order val="1"/>
          <c:tx>
            <c:strRef>
              <c:f>Sheet1!$B$5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5:$A$56</c:f>
              <c:numCache>
                <c:formatCode>General</c:formatCode>
                <c:ptCount val="2"/>
                <c:pt idx="0">
                  <c:v>0</c:v>
                </c:pt>
                <c:pt idx="1">
                  <c:v>0.1705156924590923</c:v>
                </c:pt>
              </c:numCache>
            </c:numRef>
          </c:xVal>
          <c:yVal>
            <c:numRef>
              <c:f>Sheet1!$B$55:$B$56</c:f>
              <c:numCache>
                <c:formatCode>General</c:formatCode>
                <c:ptCount val="2"/>
                <c:pt idx="0">
                  <c:v>0.1705156924590923</c:v>
                </c:pt>
                <c:pt idx="1">
                  <c:v>0.1705156924590923</c:v>
                </c:pt>
              </c:numCache>
            </c:numRef>
          </c:yVal>
          <c:smooth val="0"/>
          <c:extLst>
            <c:ext xmlns:c16="http://schemas.microsoft.com/office/drawing/2014/chart" uri="{C3380CC4-5D6E-409C-BE32-E72D297353CC}">
              <c16:uniqueId val="{00000005-096C-4121-9522-6AB7243CCAAE}"/>
            </c:ext>
          </c:extLst>
        </c:ser>
        <c:ser>
          <c:idx val="3"/>
          <c:order val="3"/>
          <c:tx>
            <c:strRef>
              <c:f>Sheet1!$B$5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0.1705156924590923</c:v>
                </c:pt>
                <c:pt idx="1">
                  <c:v>0.1705156924590923</c:v>
                </c:pt>
              </c:numCache>
            </c:numRef>
          </c:xVal>
          <c:yVal>
            <c:numRef>
              <c:f>Sheet1!$B$59:$B$60</c:f>
              <c:numCache>
                <c:formatCode>General</c:formatCode>
                <c:ptCount val="2"/>
                <c:pt idx="0">
                  <c:v>0.17051569245909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2</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3:$A$65</c:f>
              <c:numCache>
                <c:formatCode>General</c:formatCode>
                <c:ptCount val="3"/>
                <c:pt idx="0">
                  <c:v>0</c:v>
                </c:pt>
                <c:pt idx="1">
                  <c:v>0.1705156924590923</c:v>
                </c:pt>
                <c:pt idx="2">
                  <c:v>0</c:v>
                </c:pt>
              </c:numCache>
            </c:numRef>
          </c:xVal>
          <c:yVal>
            <c:numRef>
              <c:f>Sheet1!$B$63:$B$65</c:f>
              <c:numCache>
                <c:formatCode>General</c:formatCode>
                <c:ptCount val="3"/>
                <c:pt idx="0">
                  <c:v>0</c:v>
                </c:pt>
                <c:pt idx="1">
                  <c:v>0.1705156924590923</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520388349514563"/>
          <c:min val="0.001532567049808429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556.5426</c:v>
                </c:pt>
                <c:pt idx="1">
                  <c:v>549.8131</c:v>
                </c:pt>
                <c:pt idx="2">
                  <c:v>551.9785</c:v>
                </c:pt>
                <c:pt idx="3">
                  <c:v>552.8444</c:v>
                </c:pt>
                <c:pt idx="4">
                  <c:v>545.3247</c:v>
                </c:pt>
                <c:pt idx="5">
                  <c:v>542.32</c:v>
                </c:pt>
                <c:pt idx="6">
                  <c:v>530.8222</c:v>
                </c:pt>
                <c:pt idx="7">
                  <c:v>511.4</c:v>
                </c:pt>
                <c:pt idx="8">
                  <c:v>500.7857</c:v>
                </c:pt>
                <c:pt idx="9">
                  <c:v>515.5676</c:v>
                </c:pt>
                <c:pt idx="10">
                  <c:v>499.4412</c:v>
                </c:pt>
                <c:pt idx="11">
                  <c:v>510.6087</c:v>
                </c:pt>
                <c:pt idx="12">
                  <c:v>482.6</c:v>
                </c:pt>
                <c:pt idx="13">
                  <c:v>483.4375</c:v>
                </c:pt>
                <c:pt idx="14">
                  <c:v>515.0419</c:v>
                </c:pt>
                <c:pt idx="15">
                  <c:v>513.933</c:v>
                </c:pt>
                <c:pt idx="16">
                  <c:v>512.2701</c:v>
                </c:pt>
                <c:pt idx="17">
                  <c:v>514.55</c:v>
                </c:pt>
                <c:pt idx="18">
                  <c:v>505.0769</c:v>
                </c:pt>
                <c:pt idx="19">
                  <c:v>502.4</c:v>
                </c:pt>
                <c:pt idx="20">
                  <c:v>506.5952</c:v>
                </c:pt>
                <c:pt idx="21">
                  <c:v>489.0</c:v>
                </c:pt>
                <c:pt idx="22">
                  <c:v>492.4737</c:v>
                </c:pt>
                <c:pt idx="23">
                  <c:v>491.9412</c:v>
                </c:pt>
                <c:pt idx="24">
                  <c:v>479.4583</c:v>
                </c:pt>
                <c:pt idx="25">
                  <c:v>456.5455</c:v>
                </c:pt>
                <c:pt idx="26">
                  <c:v>459.25</c:v>
                </c:pt>
                <c:pt idx="27">
                  <c:v>481.6667</c:v>
                </c:pt>
                <c:pt idx="28">
                  <c:v>520.8</c:v>
                </c:pt>
                <c:pt idx="29">
                  <c:v>496.0</c:v>
                </c:pt>
                <c:pt idx="30">
                  <c:v>418.5</c:v>
                </c:pt>
                <c:pt idx="31">
                  <c:v>558.0</c:v>
                </c:pt>
                <c:pt idx="32">
                  <c:v>438.4286</c:v>
                </c:pt>
                <c:pt idx="33">
                  <c:v>488.25</c:v>
                </c:pt>
                <c:pt idx="34">
                  <c:v>465.0</c:v>
                </c:pt>
                <c:pt idx="35">
                  <c:v>418.5</c:v>
                </c:pt>
                <c:pt idx="36">
                  <c:v>465.0</c:v>
                </c:pt>
                <c:pt idx="37">
                  <c:v>293.0</c:v>
                </c:pt>
                <c:pt idx="38">
                  <c:v>294.2308</c:v>
                </c:pt>
                <c:pt idx="39">
                  <c:v>234.2</c:v>
                </c:pt>
                <c:pt idx="40">
                  <c:v>306.0</c:v>
                </c:pt>
                <c:pt idx="41">
                  <c:v>229.5</c:v>
                </c:pt>
                <c:pt idx="42">
                  <c:v>229.5</c:v>
                </c:pt>
                <c:pt idx="43">
                  <c:v>153.0</c:v>
                </c:pt>
                <c:pt idx="44">
                  <c:v>221.5</c:v>
                </c:pt>
                <c:pt idx="45">
                  <c:v>153.0</c:v>
                </c:pt>
                <c:pt idx="46">
                  <c:v>153.0</c:v>
                </c:pt>
                <c:pt idx="47">
                  <c:v>83.0</c:v>
                </c:pt>
                <c:pt idx="48">
                  <c:v>83.0</c:v>
                </c:pt>
              </c:numCache>
            </c:numRef>
          </c:xVal>
          <c:yVal>
            <c:numRef>
              <c:f>Sheet1!$B$2:$B$50</c:f>
              <c:numCache>
                <c:formatCode>General</c:formatCode>
                <c:ptCount val="49"/>
                <c:pt idx="0">
                  <c:v>0.22926829268292684</c:v>
                </c:pt>
                <c:pt idx="1">
                  <c:v>0.2291220556745182</c:v>
                </c:pt>
                <c:pt idx="2">
                  <c:v>0.181640625</c:v>
                </c:pt>
                <c:pt idx="3">
                  <c:v>0.1814516129032258</c:v>
                </c:pt>
                <c:pt idx="4">
                  <c:v>0.1873479318734793</c:v>
                </c:pt>
                <c:pt idx="5">
                  <c:v>0.13123359580052493</c:v>
                </c:pt>
                <c:pt idx="6">
                  <c:v>0.11166253101736973</c:v>
                </c:pt>
                <c:pt idx="7">
                  <c:v>0.11658031088082901</c:v>
                </c:pt>
                <c:pt idx="8">
                  <c:v>0.12844036697247707</c:v>
                </c:pt>
                <c:pt idx="9">
                  <c:v>0.09536082474226804</c:v>
                </c:pt>
                <c:pt idx="10">
                  <c:v>0.0776255707762557</c:v>
                </c:pt>
                <c:pt idx="11">
                  <c:v>0.054502369668246446</c:v>
                </c:pt>
                <c:pt idx="12">
                  <c:v>0.04597701149425287</c:v>
                </c:pt>
                <c:pt idx="13">
                  <c:v>0.04597701149425287</c:v>
                </c:pt>
                <c:pt idx="14">
                  <c:v>0.3380530973451327</c:v>
                </c:pt>
                <c:pt idx="15">
                  <c:v>0.3766990291262136</c:v>
                </c:pt>
                <c:pt idx="16">
                  <c:v>0.31712962962962965</c:v>
                </c:pt>
                <c:pt idx="17">
                  <c:v>0.24922118380062305</c:v>
                </c:pt>
                <c:pt idx="18">
                  <c:v>0.21666666666666667</c:v>
                </c:pt>
                <c:pt idx="19">
                  <c:v>0.15444015444015444</c:v>
                </c:pt>
                <c:pt idx="20">
                  <c:v>0.1423728813559322</c:v>
                </c:pt>
                <c:pt idx="21">
                  <c:v>0.10267857142857142</c:v>
                </c:pt>
                <c:pt idx="22">
                  <c:v>0.09268292682926829</c:v>
                </c:pt>
                <c:pt idx="23">
                  <c:v>0.08762886597938144</c:v>
                </c:pt>
                <c:pt idx="24">
                  <c:v>0.1095890410958904</c:v>
                </c:pt>
                <c:pt idx="25">
                  <c:v>0.06179775280898876</c:v>
                </c:pt>
                <c:pt idx="26">
                  <c:v>0.06</c:v>
                </c:pt>
                <c:pt idx="27">
                  <c:v>0.07281553398058252</c:v>
                </c:pt>
                <c:pt idx="28">
                  <c:v>0.07211538461538461</c:v>
                </c:pt>
                <c:pt idx="29">
                  <c:v>0.056</c:v>
                </c:pt>
                <c:pt idx="30">
                  <c:v>0.041884816753926704</c:v>
                </c:pt>
                <c:pt idx="31">
                  <c:v>0.03184713375796178</c:v>
                </c:pt>
                <c:pt idx="32">
                  <c:v>0.042682926829268296</c:v>
                </c:pt>
                <c:pt idx="33">
                  <c:v>0.057971014492753624</c:v>
                </c:pt>
                <c:pt idx="34">
                  <c:v>0.02643171806167401</c:v>
                </c:pt>
                <c:pt idx="35">
                  <c:v>0.007874015748031496</c:v>
                </c:pt>
                <c:pt idx="36">
                  <c:v>0.017045454545454544</c:v>
                </c:pt>
                <c:pt idx="37">
                  <c:v>0.10588235294117647</c:v>
                </c:pt>
                <c:pt idx="38">
                  <c:v>0.07602339181286549</c:v>
                </c:pt>
                <c:pt idx="39">
                  <c:v>0.08620689655172414</c:v>
                </c:pt>
                <c:pt idx="40">
                  <c:v>0.005128205128205128</c:v>
                </c:pt>
                <c:pt idx="41">
                  <c:v>0.011363636363636364</c:v>
                </c:pt>
                <c:pt idx="42">
                  <c:v>0.009615384615384616</c:v>
                </c:pt>
                <c:pt idx="43">
                  <c:v>0.004484304932735426</c:v>
                </c:pt>
                <c:pt idx="44">
                  <c:v>0.008733624454148471</c:v>
                </c:pt>
                <c:pt idx="45">
                  <c:v>0.002544529262086514</c:v>
                </c:pt>
                <c:pt idx="46">
                  <c:v>0.0019157088122605363</c:v>
                </c:pt>
                <c:pt idx="47">
                  <c:v>0.0072992700729927005</c:v>
                </c:pt>
                <c:pt idx="48">
                  <c:v>0.006802721088435374</c:v>
                </c:pt>
              </c:numCache>
            </c:numRef>
          </c:yVal>
          <c:smooth val="0"/>
          <c:extLst>
            <c:ext xmlns:c16="http://schemas.microsoft.com/office/drawing/2014/chart" uri="{C3380CC4-5D6E-409C-BE32-E72D297353CC}">
              <c16:uniqueId val="{00000000-F32D-48B7-BC20-E66FC6253BAD}"/>
            </c:ext>
          </c:extLst>
        </c:ser>
        <c:ser>
          <c:idx val="1"/>
          <c:order val="1"/>
          <c:tx>
            <c:strRef>
              <c:f>Sheet1!$B$5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4</c:f>
              <c:strCache>
                <c:ptCount val="1"/>
                <c:pt idx="0">
                  <c:v>Custom Linep3yQ</c:v>
                </c:pt>
              </c:strCache>
            </c:strRef>
          </c:tx>
          <c:spPr>
            <a:ln w="19050" cap="rnd">
              <a:solidFill>
                <a:srgbClr val="C00000"/>
              </a:solidFill>
              <a:prstDash val="sysDot"/>
              <a:round/>
            </a:ln>
            <a:effectLst/>
          </c:spPr>
          <c:marker>
            <c:symbol val="none"/>
          </c:marker>
          <c:xVal>
            <c:numRef>
              <c:f>Sheet1!$A$55:$A$56</c:f>
              <c:numCache>
                <c:formatCode>General</c:formatCode>
                <c:ptCount val="2"/>
                <c:pt idx="0">
                  <c:v>0</c:v>
                </c:pt>
                <c:pt idx="1">
                  <c:v>0.1705156924590923</c:v>
                </c:pt>
              </c:numCache>
            </c:numRef>
          </c:xVal>
          <c:yVal>
            <c:numRef>
              <c:f>Sheet1!$B$55:$B$56</c:f>
              <c:numCache>
                <c:formatCode>General</c:formatCode>
                <c:ptCount val="2"/>
                <c:pt idx="0">
                  <c:v>0.1705156924590923</c:v>
                </c:pt>
                <c:pt idx="1">
                  <c:v>0.1705156924590923</c:v>
                </c:pt>
              </c:numCache>
            </c:numRef>
          </c:yVal>
          <c:smooth val="0"/>
          <c:extLst>
            <c:ext xmlns:c16="http://schemas.microsoft.com/office/drawing/2014/chart" uri="{C3380CC4-5D6E-409C-BE32-E72D297353CC}">
              <c16:uniqueId val="{00000003-F32D-48B7-BC20-E66FC6253BAD}"/>
            </c:ext>
          </c:extLst>
        </c:ser>
        <c:ser>
          <c:idx val="3"/>
          <c:order val="3"/>
          <c:tx>
            <c:strRef>
              <c:f>Sheet1!$B$5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0.1705156924590923</c:v>
                </c:pt>
                <c:pt idx="1">
                  <c:v>0.1705156924590923</c:v>
                </c:pt>
              </c:numCache>
            </c:numRef>
          </c:xVal>
          <c:yVal>
            <c:numRef>
              <c:f>Sheet1!$B$59:$B$60</c:f>
              <c:numCache>
                <c:formatCode>General</c:formatCode>
                <c:ptCount val="2"/>
                <c:pt idx="0">
                  <c:v>0.17051569245909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2</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3:$A$65</c:f>
              <c:numCache>
                <c:formatCode>General</c:formatCode>
                <c:ptCount val="3"/>
                <c:pt idx="0">
                  <c:v>0</c:v>
                </c:pt>
                <c:pt idx="1">
                  <c:v>0.1705156924590923</c:v>
                </c:pt>
                <c:pt idx="2">
                  <c:v>0</c:v>
                </c:pt>
              </c:numCache>
            </c:numRef>
          </c:xVal>
          <c:yVal>
            <c:numRef>
              <c:f>Sheet1!$B$63:$B$65</c:f>
              <c:numCache>
                <c:formatCode>General</c:formatCode>
                <c:ptCount val="3"/>
                <c:pt idx="0">
                  <c:v>0</c:v>
                </c:pt>
                <c:pt idx="1">
                  <c:v>0.1705156924590923</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520388349514563"/>
          <c:min val="0.001532567049808429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0697704586001976</c:v>
                </c:pt>
                <c:pt idx="1">
                  <c:v>0.3953055570647371</c:v>
                </c:pt>
                <c:pt idx="2">
                  <c:v>0.4827818742363577</c:v>
                </c:pt>
                <c:pt idx="3">
                  <c:v>0.48235485812069895</c:v>
                </c:pt>
                <c:pt idx="4">
                  <c:v>0.45106057681872186</c:v>
                </c:pt>
                <c:pt idx="5">
                  <c:v>0.4758142793937301</c:v>
                </c:pt>
                <c:pt idx="6">
                  <c:v>0.4235861285285464</c:v>
                </c:pt>
                <c:pt idx="7">
                  <c:v>0.403622543024677</c:v>
                </c:pt>
                <c:pt idx="8">
                  <c:v>0.38358188328446585</c:v>
                </c:pt>
                <c:pt idx="9">
                  <c:v>0.40335438794205974</c:v>
                </c:pt>
                <c:pt idx="10">
                  <c:v>0.4290285701136315</c:v>
                </c:pt>
                <c:pt idx="11">
                  <c:v>0.4680244796236419</c:v>
                </c:pt>
                <c:pt idx="12">
                  <c:v>0.5008468159163539</c:v>
                </c:pt>
                <c:pt idx="13">
                  <c:v>0.5053594442976326</c:v>
                </c:pt>
                <c:pt idx="14">
                  <c:v>0.5172374221152392</c:v>
                </c:pt>
                <c:pt idx="15">
                  <c:v>0.5138887603435308</c:v>
                </c:pt>
                <c:pt idx="16">
                  <c:v>0.49428379427984764</c:v>
                </c:pt>
                <c:pt idx="17">
                  <c:v>0.4689378855874888</c:v>
                </c:pt>
                <c:pt idx="18">
                  <c:v>0.46992867058694304</c:v>
                </c:pt>
                <c:pt idx="19">
                  <c:v>0.4597301953201231</c:v>
                </c:pt>
                <c:pt idx="20">
                  <c:v>0.5020757923804986</c:v>
                </c:pt>
                <c:pt idx="21">
                  <c:v>0.46242118868896925</c:v>
                </c:pt>
                <c:pt idx="22">
                  <c:v>0.42354114263858483</c:v>
                </c:pt>
                <c:pt idx="23">
                  <c:v>0.41007259371186344</c:v>
                </c:pt>
                <c:pt idx="24">
                  <c:v>0.40813030392647254</c:v>
                </c:pt>
                <c:pt idx="25">
                  <c:v>0.37968093154645455</c:v>
                </c:pt>
                <c:pt idx="26">
                  <c:v>0.3731905432204047</c:v>
                </c:pt>
                <c:pt idx="27">
                  <c:v>0.39850592373638183</c:v>
                </c:pt>
                <c:pt idx="28">
                  <c:v>0.3976626058869784</c:v>
                </c:pt>
                <c:pt idx="29">
                  <c:v>0.39067468189368565</c:v>
                </c:pt>
                <c:pt idx="30">
                  <c:v>0.37819401891211835</c:v>
                </c:pt>
                <c:pt idx="31">
                  <c:v>0.37974389314200796</c:v>
                </c:pt>
                <c:pt idx="32">
                  <c:v>0.36711990585141385</c:v>
                </c:pt>
                <c:pt idx="33">
                  <c:v>0.381263878263526</c:v>
                </c:pt>
                <c:pt idx="34">
                  <c:v>0.38898666429713696</c:v>
                </c:pt>
                <c:pt idx="35">
                  <c:v>0.42021100493734836</c:v>
                </c:pt>
                <c:pt idx="36">
                  <c:v>0.4621889131796824</c:v>
                </c:pt>
                <c:pt idx="37">
                  <c:v>0.43817609573829075</c:v>
                </c:pt>
                <c:pt idx="38">
                  <c:v>0.45800949895733717</c:v>
                </c:pt>
                <c:pt idx="39">
                  <c:v>0.4649750740703344</c:v>
                </c:pt>
                <c:pt idx="40">
                  <c:v>0.4634431762627034</c:v>
                </c:pt>
                <c:pt idx="41">
                  <c:v>0.45676615245110963</c:v>
                </c:pt>
                <c:pt idx="42">
                  <c:v>0.4785807984810618</c:v>
                </c:pt>
                <c:pt idx="43">
                  <c:v>0.4762814085888855</c:v>
                </c:pt>
                <c:pt idx="44">
                  <c:v>0.4737837087449597</c:v>
                </c:pt>
                <c:pt idx="45">
                  <c:v>0.48192694832440236</c:v>
                </c:pt>
                <c:pt idx="46">
                  <c:v>0.48659808471585797</c:v>
                </c:pt>
                <c:pt idx="47">
                  <c:v>0.47042692221017246</c:v>
                </c:pt>
                <c:pt idx="48">
                  <c:v>0.4931620426355724</c:v>
                </c:pt>
                <c:pt idx="49">
                  <c:v>0.5367864794414249</c:v>
                </c:pt>
                <c:pt idx="50">
                  <c:v>0.4621275482519919</c:v>
                </c:pt>
                <c:pt idx="51">
                  <c:v>0.46047438045323896</c:v>
                </c:pt>
                <c:pt idx="52">
                  <c:v>0.4822956768241682</c:v>
                </c:pt>
                <c:pt idx="53">
                  <c:v>0.46086968901215936</c:v>
                </c:pt>
                <c:pt idx="54">
                  <c:v>0.4317741552325538</c:v>
                </c:pt>
                <c:pt idx="55">
                  <c:v>0.43183973265644127</c:v>
                </c:pt>
                <c:pt idx="56">
                  <c:v>0.4337086211714268</c:v>
                </c:pt>
                <c:pt idx="57">
                  <c:v>0.45071191042458086</c:v>
                </c:pt>
                <c:pt idx="58">
                  <c:v>0.4073200736307425</c:v>
                </c:pt>
                <c:pt idx="59">
                  <c:v>0.42172142678836205</c:v>
                </c:pt>
                <c:pt idx="60">
                  <c:v>0.40954155273905146</c:v>
                </c:pt>
                <c:pt idx="61">
                  <c:v>0.4125618156691324</c:v>
                </c:pt>
                <c:pt idx="62">
                  <c:v>0.3929079309318798</c:v>
                </c:pt>
                <c:pt idx="63">
                  <c:v>0.3930810250916363</c:v>
                </c:pt>
                <c:pt idx="64">
                  <c:v>0.40953996455418684</c:v>
                </c:pt>
                <c:pt idx="65">
                  <c:v>0.4638420589791857</c:v>
                </c:pt>
                <c:pt idx="66">
                  <c:v>0.4780619259794943</c:v>
                </c:pt>
                <c:pt idx="67">
                  <c:v>0.5007172410476722</c:v>
                </c:pt>
                <c:pt idx="68">
                  <c:v>0.5059213896646091</c:v>
                </c:pt>
                <c:pt idx="69">
                  <c:v>0.5067498336745526</c:v>
                </c:pt>
                <c:pt idx="70">
                  <c:v>0.4882345744840892</c:v>
                </c:pt>
                <c:pt idx="71">
                  <c:v>0.482570357202844</c:v>
                </c:pt>
                <c:pt idx="72">
                  <c:v>0.5053322553480062</c:v>
                </c:pt>
                <c:pt idx="73">
                  <c:v>0.49303986038623465</c:v>
                </c:pt>
                <c:pt idx="74">
                  <c:v>0.48158272329072493</c:v>
                </c:pt>
                <c:pt idx="75">
                  <c:v>0.45698859580271</c:v>
                </c:pt>
                <c:pt idx="76">
                  <c:v>0.45113795079701974</c:v>
                </c:pt>
                <c:pt idx="77">
                  <c:v>0.4539128994859996</c:v>
                </c:pt>
                <c:pt idx="78">
                  <c:v>0.465875324584962</c:v>
                </c:pt>
                <c:pt idx="79">
                  <c:v>0.4692722738166859</c:v>
                </c:pt>
                <c:pt idx="80">
                  <c:v>0.4878184318024246</c:v>
                </c:pt>
                <c:pt idx="81">
                  <c:v>0.5092091054399068</c:v>
                </c:pt>
                <c:pt idx="82">
                  <c:v>0.48952289827338763</c:v>
                </c:pt>
                <c:pt idx="83">
                  <c:v>0.4614555355258515</c:v>
                </c:pt>
                <c:pt idx="84">
                  <c:v>0.467517529878293</c:v>
                </c:pt>
                <c:pt idx="85">
                  <c:v>0.4592680168314906</c:v>
                </c:pt>
                <c:pt idx="86">
                  <c:v>0.465976927498438</c:v>
                </c:pt>
                <c:pt idx="87">
                  <c:v>0.48432204803010837</c:v>
                </c:pt>
                <c:pt idx="88">
                  <c:v>0.4573792312891852</c:v>
                </c:pt>
                <c:pt idx="89">
                  <c:v>0.4310701589405456</c:v>
                </c:pt>
                <c:pt idx="90">
                  <c:v>0.4552037095790945</c:v>
                </c:pt>
                <c:pt idx="91">
                  <c:v>0.4866770920041731</c:v>
                </c:pt>
                <c:pt idx="92">
                  <c:v>0.4797899542159686</c:v>
                </c:pt>
                <c:pt idx="93">
                  <c:v>0.5081480532726406</c:v>
                </c:pt>
                <c:pt idx="94">
                  <c:v>0.5093586829798109</c:v>
                </c:pt>
                <c:pt idx="95">
                  <c:v>0.5298098064098984</c:v>
                </c:pt>
                <c:pt idx="96">
                  <c:v>0.5400564804377591</c:v>
                </c:pt>
                <c:pt idx="97">
                  <c:v>0.5688216257133322</c:v>
                </c:pt>
                <c:pt idx="98">
                  <c:v>0.5830938774755964</c:v>
                </c:pt>
                <c:pt idx="99">
                  <c:v>0.5636247045456395</c:v>
                </c:pt>
                <c:pt idx="100">
                  <c:v>0.572679061419107</c:v>
                </c:pt>
                <c:pt idx="101">
                  <c:v>0.5153786128803265</c:v>
                </c:pt>
                <c:pt idx="102">
                  <c:v>0.5046290002951508</c:v>
                </c:pt>
                <c:pt idx="103">
                  <c:v>0.5149210434108767</c:v>
                </c:pt>
                <c:pt idx="104">
                  <c:v>0.5029697054246498</c:v>
                </c:pt>
              </c:numCache>
            </c:numRef>
          </c:xVal>
          <c:yVal>
            <c:numRef>
              <c:f>Sheet1!$B$2:$B$106</c:f>
              <c:numCache>
                <c:formatCode>General</c:formatCode>
                <c:ptCount val="105"/>
                <c:pt idx="0">
                  <c:v>0.11442865083776702</c:v>
                </c:pt>
                <c:pt idx="1">
                  <c:v>0.09743754518435216</c:v>
                </c:pt>
                <c:pt idx="2">
                  <c:v>0.09953818827708703</c:v>
                </c:pt>
                <c:pt idx="3">
                  <c:v>0.10040473225404732</c:v>
                </c:pt>
                <c:pt idx="4">
                  <c:v>0.09611865549455842</c:v>
                </c:pt>
                <c:pt idx="5">
                  <c:v>0.1103075982888572</c:v>
                </c:pt>
                <c:pt idx="6">
                  <c:v>0.1314075630252101</c:v>
                </c:pt>
                <c:pt idx="7">
                  <c:v>0.13787085514834205</c:v>
                </c:pt>
                <c:pt idx="8">
                  <c:v>0.13373118133731182</c:v>
                </c:pt>
                <c:pt idx="9">
                  <c:v>0.11350683890577508</c:v>
                </c:pt>
                <c:pt idx="10">
                  <c:v>0.12666291924302042</c:v>
                </c:pt>
                <c:pt idx="11">
                  <c:v>0.11759623692041854</c:v>
                </c:pt>
                <c:pt idx="12">
                  <c:v>0.10507695029188041</c:v>
                </c:pt>
                <c:pt idx="13">
                  <c:v>0.09638236070768419</c:v>
                </c:pt>
                <c:pt idx="14">
                  <c:v>0.07772963604852687</c:v>
                </c:pt>
                <c:pt idx="15">
                  <c:v>0.06701525984420019</c:v>
                </c:pt>
                <c:pt idx="16">
                  <c:v>0.0706832298136646</c:v>
                </c:pt>
                <c:pt idx="17">
                  <c:v>0.06622773044151821</c:v>
                </c:pt>
                <c:pt idx="18">
                  <c:v>0.06116907245962555</c:v>
                </c:pt>
                <c:pt idx="19">
                  <c:v>0.05707531239446133</c:v>
                </c:pt>
                <c:pt idx="20">
                  <c:v>0.05215141612200436</c:v>
                </c:pt>
                <c:pt idx="21">
                  <c:v>0.05249658002735978</c:v>
                </c:pt>
                <c:pt idx="22">
                  <c:v>0.06302931596091205</c:v>
                </c:pt>
                <c:pt idx="23">
                  <c:v>0.07139134966128191</c:v>
                </c:pt>
                <c:pt idx="24">
                  <c:v>0.0686456400742115</c:v>
                </c:pt>
                <c:pt idx="25">
                  <c:v>0.07831107903284013</c:v>
                </c:pt>
                <c:pt idx="26">
                  <c:v>0.09581050026515821</c:v>
                </c:pt>
                <c:pt idx="27">
                  <c:v>0.09501954784973653</c:v>
                </c:pt>
                <c:pt idx="28">
                  <c:v>0.1259420532574108</c:v>
                </c:pt>
                <c:pt idx="29">
                  <c:v>0.11884183232497839</c:v>
                </c:pt>
                <c:pt idx="30">
                  <c:v>0.11295938104448743</c:v>
                </c:pt>
                <c:pt idx="31">
                  <c:v>0.12624705242154907</c:v>
                </c:pt>
                <c:pt idx="32">
                  <c:v>0.13386494740413982</c:v>
                </c:pt>
                <c:pt idx="33">
                  <c:v>0.12249644656932421</c:v>
                </c:pt>
                <c:pt idx="34">
                  <c:v>0.12295776352414377</c:v>
                </c:pt>
                <c:pt idx="35">
                  <c:v>0.12253589681187636</c:v>
                </c:pt>
                <c:pt idx="36">
                  <c:v>0.10906063549327043</c:v>
                </c:pt>
                <c:pt idx="37">
                  <c:v>0.1065959059893859</c:v>
                </c:pt>
                <c:pt idx="38">
                  <c:v>0.10355839416058395</c:v>
                </c:pt>
                <c:pt idx="39">
                  <c:v>0.09640445909875962</c:v>
                </c:pt>
                <c:pt idx="40">
                  <c:v>0.09676180724433636</c:v>
                </c:pt>
                <c:pt idx="41">
                  <c:v>0.09957188233669383</c:v>
                </c:pt>
                <c:pt idx="42">
                  <c:v>0.09488527724665392</c:v>
                </c:pt>
                <c:pt idx="43">
                  <c:v>0.08785446762974852</c:v>
                </c:pt>
                <c:pt idx="44">
                  <c:v>0.09907453906306048</c:v>
                </c:pt>
                <c:pt idx="45">
                  <c:v>0.11837921937360482</c:v>
                </c:pt>
                <c:pt idx="46">
                  <c:v>0.12288985188538905</c:v>
                </c:pt>
                <c:pt idx="47">
                  <c:v>0.11924888688133187</c:v>
                </c:pt>
                <c:pt idx="48">
                  <c:v>0.11587757054041128</c:v>
                </c:pt>
                <c:pt idx="49">
                  <c:v>0.11834444054717642</c:v>
                </c:pt>
                <c:pt idx="50">
                  <c:v>0.11709765107688018</c:v>
                </c:pt>
                <c:pt idx="51">
                  <c:v>0.108970043756311</c:v>
                </c:pt>
                <c:pt idx="52">
                  <c:v>0.10820392824221797</c:v>
                </c:pt>
                <c:pt idx="53">
                  <c:v>0.09879579375848033</c:v>
                </c:pt>
                <c:pt idx="54">
                  <c:v>0.10079357840007297</c:v>
                </c:pt>
                <c:pt idx="55">
                  <c:v>0.09787273745101698</c:v>
                </c:pt>
                <c:pt idx="56">
                  <c:v>0.09971070395371263</c:v>
                </c:pt>
                <c:pt idx="57">
                  <c:v>0.0959442128887464</c:v>
                </c:pt>
                <c:pt idx="58">
                  <c:v>0.11341482283769147</c:v>
                </c:pt>
                <c:pt idx="59">
                  <c:v>0.10626689103054408</c:v>
                </c:pt>
                <c:pt idx="60">
                  <c:v>0.10875488686174624</c:v>
                </c:pt>
                <c:pt idx="61">
                  <c:v>0.11598173515981736</c:v>
                </c:pt>
                <c:pt idx="62">
                  <c:v>0.12879383550872778</c:v>
                </c:pt>
                <c:pt idx="63">
                  <c:v>0.13117330140676445</c:v>
                </c:pt>
                <c:pt idx="64">
                  <c:v>0.12549599315334942</c:v>
                </c:pt>
                <c:pt idx="65">
                  <c:v>0.12532938076416336</c:v>
                </c:pt>
                <c:pt idx="66">
                  <c:v>0.12645815722738799</c:v>
                </c:pt>
                <c:pt idx="67">
                  <c:v>0.11880046136101499</c:v>
                </c:pt>
                <c:pt idx="68">
                  <c:v>0.10874004492546457</c:v>
                </c:pt>
                <c:pt idx="69">
                  <c:v>0.10110032362459546</c:v>
                </c:pt>
                <c:pt idx="70">
                  <c:v>0.10213488597768074</c:v>
                </c:pt>
                <c:pt idx="71">
                  <c:v>0.10002670940170941</c:v>
                </c:pt>
                <c:pt idx="72">
                  <c:v>0.09430627446029542</c:v>
                </c:pt>
                <c:pt idx="73">
                  <c:v>0.09850826501814272</c:v>
                </c:pt>
                <c:pt idx="74">
                  <c:v>0.10236318407960199</c:v>
                </c:pt>
                <c:pt idx="75">
                  <c:v>0.11290322580645161</c:v>
                </c:pt>
                <c:pt idx="76">
                  <c:v>0.11961189756640687</c:v>
                </c:pt>
                <c:pt idx="77">
                  <c:v>0.11140065146579804</c:v>
                </c:pt>
                <c:pt idx="78">
                  <c:v>0.11964912280701755</c:v>
                </c:pt>
                <c:pt idx="79">
                  <c:v>0.10746552543984783</c:v>
                </c:pt>
                <c:pt idx="80">
                  <c:v>0.10299056452902607</c:v>
                </c:pt>
                <c:pt idx="81">
                  <c:v>0.10344377771980172</c:v>
                </c:pt>
                <c:pt idx="82">
                  <c:v>0.10872576177285319</c:v>
                </c:pt>
                <c:pt idx="83">
                  <c:v>0.10953729933899906</c:v>
                </c:pt>
                <c:pt idx="84">
                  <c:v>0.10926960878782038</c:v>
                </c:pt>
                <c:pt idx="85">
                  <c:v>0.11450509096978802</c:v>
                </c:pt>
                <c:pt idx="86">
                  <c:v>0.1290824261275272</c:v>
                </c:pt>
                <c:pt idx="87">
                  <c:v>0.1292243946652855</c:v>
                </c:pt>
                <c:pt idx="88">
                  <c:v>0.11802644308287649</c:v>
                </c:pt>
                <c:pt idx="89">
                  <c:v>0.13193377709506743</c:v>
                </c:pt>
                <c:pt idx="90">
                  <c:v>0.11248047214025343</c:v>
                </c:pt>
                <c:pt idx="91">
                  <c:v>0.1077593430534607</c:v>
                </c:pt>
                <c:pt idx="92">
                  <c:v>0.11562757484207635</c:v>
                </c:pt>
                <c:pt idx="93">
                  <c:v>0.11568123393316196</c:v>
                </c:pt>
                <c:pt idx="94">
                  <c:v>0.11905133406147606</c:v>
                </c:pt>
                <c:pt idx="95">
                  <c:v>0.11781349026708918</c:v>
                </c:pt>
                <c:pt idx="96">
                  <c:v>0.11486486486486487</c:v>
                </c:pt>
                <c:pt idx="97">
                  <c:v>0.11742006615214995</c:v>
                </c:pt>
                <c:pt idx="98">
                  <c:v>0.11301757521596664</c:v>
                </c:pt>
                <c:pt idx="99">
                  <c:v>0.11469950042892466</c:v>
                </c:pt>
                <c:pt idx="100">
                  <c:v>0.1166948631190403</c:v>
                </c:pt>
                <c:pt idx="101">
                  <c:v>0.11547114875595553</c:v>
                </c:pt>
                <c:pt idx="102">
                  <c:v>0.11611353323249399</c:v>
                </c:pt>
                <c:pt idx="103">
                  <c:v>0.1138481484482619</c:v>
                </c:pt>
                <c:pt idx="104">
                  <c:v>0.1121194379391100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9783502321738154</c:v>
                </c:pt>
                <c:pt idx="1">
                  <c:v>0.4832268803026377</c:v>
                </c:pt>
                <c:pt idx="2">
                  <c:v>0.48964347577961675</c:v>
                </c:pt>
                <c:pt idx="3">
                  <c:v>0.4402599729968783</c:v>
                </c:pt>
                <c:pt idx="4">
                  <c:v>0.46702789348920365</c:v>
                </c:pt>
                <c:pt idx="5">
                  <c:v>0.48312773025070194</c:v>
                </c:pt>
                <c:pt idx="6">
                  <c:v>0.5039962244542079</c:v>
                </c:pt>
                <c:pt idx="7">
                  <c:v>0.4736459535607782</c:v>
                </c:pt>
                <c:pt idx="8">
                  <c:v>0.5028611920202225</c:v>
                </c:pt>
                <c:pt idx="9">
                  <c:v>0.4976470630515227</c:v>
                </c:pt>
                <c:pt idx="10">
                  <c:v>0.4896530003309487</c:v>
                </c:pt>
                <c:pt idx="11">
                  <c:v>0.4861014498535397</c:v>
                </c:pt>
                <c:pt idx="12">
                  <c:v>0.48665007825861567</c:v>
                </c:pt>
                <c:pt idx="13">
                  <c:v>0.4648986751747814</c:v>
                </c:pt>
                <c:pt idx="14">
                  <c:v>0.45868574478220864</c:v>
                </c:pt>
                <c:pt idx="15">
                  <c:v>0.4556688882994169</c:v>
                </c:pt>
                <c:pt idx="16">
                  <c:v>0.46509579973384974</c:v>
                </c:pt>
                <c:pt idx="17">
                  <c:v>0.41091229323171413</c:v>
                </c:pt>
                <c:pt idx="18">
                  <c:v>0.44366712758859456</c:v>
                </c:pt>
                <c:pt idx="19">
                  <c:v>0.4892678647299589</c:v>
                </c:pt>
                <c:pt idx="20">
                  <c:v>0.46889312551988227</c:v>
                </c:pt>
                <c:pt idx="21">
                  <c:v>0.4521076987404042</c:v>
                </c:pt>
                <c:pt idx="22">
                  <c:v>0.44231953513673467</c:v>
                </c:pt>
                <c:pt idx="23">
                  <c:v>0.4484928338557941</c:v>
                </c:pt>
                <c:pt idx="24">
                  <c:v>0.4523159729232586</c:v>
                </c:pt>
                <c:pt idx="25">
                  <c:v>0.4617212768854849</c:v>
                </c:pt>
                <c:pt idx="26">
                  <c:v>0.44170344385929283</c:v>
                </c:pt>
                <c:pt idx="27">
                  <c:v>0.45676798410114344</c:v>
                </c:pt>
                <c:pt idx="28">
                  <c:v>0.46941079826559523</c:v>
                </c:pt>
                <c:pt idx="29">
                  <c:v>0.43205259482778224</c:v>
                </c:pt>
                <c:pt idx="30">
                  <c:v>0.44592253496646633</c:v>
                </c:pt>
                <c:pt idx="31">
                  <c:v>0.46560538698779336</c:v>
                </c:pt>
                <c:pt idx="32">
                  <c:v>0.46377211543748026</c:v>
                </c:pt>
                <c:pt idx="33">
                  <c:v>0.4727521692002975</c:v>
                </c:pt>
                <c:pt idx="34">
                  <c:v>0.4889161660109724</c:v>
                </c:pt>
                <c:pt idx="35">
                  <c:v>0.47958678021542633</c:v>
                </c:pt>
                <c:pt idx="36">
                  <c:v>0.44040494928090507</c:v>
                </c:pt>
                <c:pt idx="37">
                  <c:v>0.4346027472245967</c:v>
                </c:pt>
                <c:pt idx="38">
                  <c:v>0.4449608567453255</c:v>
                </c:pt>
                <c:pt idx="39">
                  <c:v>0.4748478352959018</c:v>
                </c:pt>
                <c:pt idx="40">
                  <c:v>0.48564897714097277</c:v>
                </c:pt>
                <c:pt idx="41">
                  <c:v>0.49209239625424545</c:v>
                </c:pt>
                <c:pt idx="42">
                  <c:v>0.4806438421961659</c:v>
                </c:pt>
                <c:pt idx="43">
                  <c:v>0.5499910750284288</c:v>
                </c:pt>
                <c:pt idx="44">
                  <c:v>0.5932389305708866</c:v>
                </c:pt>
                <c:pt idx="45">
                  <c:v>0.6077835221412312</c:v>
                </c:pt>
                <c:pt idx="46">
                  <c:v>0.5669147180002978</c:v>
                </c:pt>
                <c:pt idx="47">
                  <c:v>0.575084774120543</c:v>
                </c:pt>
                <c:pt idx="48">
                  <c:v>0.6132293706221089</c:v>
                </c:pt>
                <c:pt idx="49">
                  <c:v>0.6400455110048994</c:v>
                </c:pt>
                <c:pt idx="50">
                  <c:v>0.6545088643820971</c:v>
                </c:pt>
                <c:pt idx="51">
                  <c:v>0.6053391573753063</c:v>
                </c:pt>
              </c:numCache>
            </c:numRef>
          </c:xVal>
          <c:yVal>
            <c:numRef>
              <c:f>Sheet1!$B$109:$B$160</c:f>
              <c:numCache>
                <c:formatCode>General</c:formatCode>
                <c:ptCount val="52"/>
                <c:pt idx="0">
                  <c:v>0.11257718007273958</c:v>
                </c:pt>
                <c:pt idx="1">
                  <c:v>0.10940261576528809</c:v>
                </c:pt>
                <c:pt idx="2">
                  <c:v>0.1308103015075377</c:v>
                </c:pt>
                <c:pt idx="3">
                  <c:v>0.1488478136959531</c:v>
                </c:pt>
                <c:pt idx="4">
                  <c:v>0.12364760432766615</c:v>
                </c:pt>
                <c:pt idx="5">
                  <c:v>0.13022772534418564</c:v>
                </c:pt>
                <c:pt idx="6">
                  <c:v>0.14686032863849766</c:v>
                </c:pt>
                <c:pt idx="7">
                  <c:v>0.1579897682816732</c:v>
                </c:pt>
                <c:pt idx="8">
                  <c:v>0.13467244921250857</c:v>
                </c:pt>
                <c:pt idx="9">
                  <c:v>0.14012738853503184</c:v>
                </c:pt>
                <c:pt idx="10">
                  <c:v>0.14955798231929276</c:v>
                </c:pt>
                <c:pt idx="11">
                  <c:v>0.1430824695808923</c:v>
                </c:pt>
                <c:pt idx="12">
                  <c:v>0.1398525975193241</c:v>
                </c:pt>
                <c:pt idx="13">
                  <c:v>0.13342029255566942</c:v>
                </c:pt>
                <c:pt idx="14">
                  <c:v>0.13914294522659543</c:v>
                </c:pt>
                <c:pt idx="15">
                  <c:v>0.13644798602772623</c:v>
                </c:pt>
                <c:pt idx="16">
                  <c:v>0.13547396699501088</c:v>
                </c:pt>
                <c:pt idx="17">
                  <c:v>0.15477145148356056</c:v>
                </c:pt>
                <c:pt idx="18">
                  <c:v>0.13821138211382114</c:v>
                </c:pt>
                <c:pt idx="19">
                  <c:v>0.11728395061728394</c:v>
                </c:pt>
                <c:pt idx="20">
                  <c:v>0.10994679993551508</c:v>
                </c:pt>
                <c:pt idx="21">
                  <c:v>0.1154308617234469</c:v>
                </c:pt>
                <c:pt idx="22">
                  <c:v>0.11927144535840188</c:v>
                </c:pt>
                <c:pt idx="23">
                  <c:v>0.12002462043496102</c:v>
                </c:pt>
                <c:pt idx="24">
                  <c:v>0.12256628963471167</c:v>
                </c:pt>
                <c:pt idx="25">
                  <c:v>0.1303653423837093</c:v>
                </c:pt>
                <c:pt idx="26">
                  <c:v>0.12360939431396786</c:v>
                </c:pt>
                <c:pt idx="27">
                  <c:v>0.1276767026243761</c:v>
                </c:pt>
                <c:pt idx="28">
                  <c:v>0.117740308401787</c:v>
                </c:pt>
                <c:pt idx="29">
                  <c:v>0.121280276816609</c:v>
                </c:pt>
                <c:pt idx="30">
                  <c:v>0.1233591080740874</c:v>
                </c:pt>
                <c:pt idx="31">
                  <c:v>0.12526215443279315</c:v>
                </c:pt>
                <c:pt idx="32">
                  <c:v>0.12271152894606631</c:v>
                </c:pt>
                <c:pt idx="33">
                  <c:v>0.14164876476906552</c:v>
                </c:pt>
                <c:pt idx="34">
                  <c:v>0.15059890684963367</c:v>
                </c:pt>
                <c:pt idx="35">
                  <c:v>0.1454861614258803</c:v>
                </c:pt>
                <c:pt idx="36">
                  <c:v>0.13908974904296045</c:v>
                </c:pt>
                <c:pt idx="37">
                  <c:v>0.13500665525765354</c:v>
                </c:pt>
                <c:pt idx="38">
                  <c:v>0.12939698492462312</c:v>
                </c:pt>
                <c:pt idx="39">
                  <c:v>0.1296499764558154</c:v>
                </c:pt>
                <c:pt idx="40">
                  <c:v>0.1229709035222052</c:v>
                </c:pt>
                <c:pt idx="41">
                  <c:v>0.12968886304158186</c:v>
                </c:pt>
                <c:pt idx="42">
                  <c:v>0.12551406481329166</c:v>
                </c:pt>
                <c:pt idx="43">
                  <c:v>0.11495445635881471</c:v>
                </c:pt>
                <c:pt idx="44">
                  <c:v>0.1150932400932401</c:v>
                </c:pt>
                <c:pt idx="45">
                  <c:v>0.12943694192310531</c:v>
                </c:pt>
                <c:pt idx="46">
                  <c:v>0.15421835136799508</c:v>
                </c:pt>
                <c:pt idx="47">
                  <c:v>0.14894138804872067</c:v>
                </c:pt>
                <c:pt idx="48">
                  <c:v>0.14883913764510778</c:v>
                </c:pt>
                <c:pt idx="49">
                  <c:v>0.15145283269205254</c:v>
                </c:pt>
                <c:pt idx="50">
                  <c:v>0.1425160291841698</c:v>
                </c:pt>
                <c:pt idx="51">
                  <c:v>0.1365880416895227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33670084418361</c:v>
                </c:pt>
              </c:numCache>
            </c:numRef>
          </c:xVal>
          <c:yVal>
            <c:numRef>
              <c:f>Sheet1!$B$163:$B$164</c:f>
              <c:numCache>
                <c:formatCode>General</c:formatCode>
                <c:ptCount val="2"/>
                <c:pt idx="0">
                  <c:v>0.14484901030271322</c:v>
                </c:pt>
                <c:pt idx="1">
                  <c:v>0.144849010302713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33670084418361</c:v>
                </c:pt>
                <c:pt idx="1">
                  <c:v>0.733670084418361</c:v>
                </c:pt>
              </c:numCache>
            </c:numRef>
          </c:xVal>
          <c:yVal>
            <c:numRef>
              <c:f>Sheet1!$B$167:$B$168</c:f>
              <c:numCache>
                <c:formatCode>General</c:formatCode>
                <c:ptCount val="2"/>
                <c:pt idx="0">
                  <c:v>0.144849010302713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33670084418361</c:v>
                </c:pt>
              </c:numCache>
            </c:numRef>
          </c:xVal>
          <c:yVal>
            <c:numRef>
              <c:f>Sheet1!$B$171:$B$172</c:f>
              <c:numCache>
                <c:formatCode>General</c:formatCode>
                <c:ptCount val="2"/>
                <c:pt idx="0">
                  <c:v>0.14484901030271322</c:v>
                </c:pt>
                <c:pt idx="1">
                  <c:v>0.1448490103027132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33670084418361</c:v>
                </c:pt>
                <c:pt idx="1">
                  <c:v>0.733670084418361</c:v>
                </c:pt>
              </c:numCache>
            </c:numRef>
          </c:xVal>
          <c:yVal>
            <c:numRef>
              <c:f>Sheet1!$B$175:$B$176</c:f>
              <c:numCache>
                <c:formatCode>General</c:formatCode>
                <c:ptCount val="2"/>
                <c:pt idx="0">
                  <c:v>0.144849010302713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308520205103633</c:v>
                </c:pt>
              </c:numCache>
            </c:numRef>
          </c:xVal>
          <c:yVal>
            <c:numRef>
              <c:f>Sheet1!$B$179:$B$180</c:f>
              <c:numCache>
                <c:formatCode>General</c:formatCode>
                <c:ptCount val="2"/>
                <c:pt idx="0">
                  <c:v>0.13460494052581715</c:v>
                </c:pt>
                <c:pt idx="1">
                  <c:v>0.1346049405258171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308520205103633</c:v>
                </c:pt>
                <c:pt idx="1">
                  <c:v>0.5308520205103633</c:v>
                </c:pt>
              </c:numCache>
            </c:numRef>
          </c:xVal>
          <c:yVal>
            <c:numRef>
              <c:f>Sheet1!$B$183:$B$184</c:f>
              <c:numCache>
                <c:formatCode>General</c:formatCode>
                <c:ptCount val="2"/>
                <c:pt idx="0">
                  <c:v>0.134604940525817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9783502321738154</c:v>
                </c:pt>
                <c:pt idx="1">
                  <c:v>0.4832268803026377</c:v>
                </c:pt>
                <c:pt idx="2">
                  <c:v>0.48964347577961675</c:v>
                </c:pt>
                <c:pt idx="3">
                  <c:v>0.4402599729968783</c:v>
                </c:pt>
                <c:pt idx="4">
                  <c:v>0.46702789348920365</c:v>
                </c:pt>
                <c:pt idx="5">
                  <c:v>0.48312773025070194</c:v>
                </c:pt>
                <c:pt idx="6">
                  <c:v>0.5039962244542079</c:v>
                </c:pt>
                <c:pt idx="7">
                  <c:v>0.4736459535607782</c:v>
                </c:pt>
                <c:pt idx="8">
                  <c:v>0.5028611920202225</c:v>
                </c:pt>
                <c:pt idx="9">
                  <c:v>0.4976470630515227</c:v>
                </c:pt>
                <c:pt idx="10">
                  <c:v>0.4896530003309487</c:v>
                </c:pt>
                <c:pt idx="11">
                  <c:v>0.4861014498535397</c:v>
                </c:pt>
                <c:pt idx="12">
                  <c:v>0.48665007825861567</c:v>
                </c:pt>
                <c:pt idx="13">
                  <c:v>0.4648986751747814</c:v>
                </c:pt>
                <c:pt idx="14">
                  <c:v>0.45868574478220864</c:v>
                </c:pt>
                <c:pt idx="15">
                  <c:v>0.4556688882994169</c:v>
                </c:pt>
                <c:pt idx="16">
                  <c:v>0.46509579973384974</c:v>
                </c:pt>
                <c:pt idx="17">
                  <c:v>0.41091229323171413</c:v>
                </c:pt>
                <c:pt idx="18">
                  <c:v>0.44366712758859456</c:v>
                </c:pt>
                <c:pt idx="19">
                  <c:v>0.4892678647299589</c:v>
                </c:pt>
                <c:pt idx="20">
                  <c:v>0.46889312551988227</c:v>
                </c:pt>
                <c:pt idx="21">
                  <c:v>0.4521076987404042</c:v>
                </c:pt>
                <c:pt idx="22">
                  <c:v>0.44231953513673467</c:v>
                </c:pt>
                <c:pt idx="23">
                  <c:v>0.4484928338557941</c:v>
                </c:pt>
                <c:pt idx="24">
                  <c:v>0.4523159729232586</c:v>
                </c:pt>
                <c:pt idx="25">
                  <c:v>0.4617212768854849</c:v>
                </c:pt>
                <c:pt idx="26">
                  <c:v>0.44170344385929283</c:v>
                </c:pt>
                <c:pt idx="27">
                  <c:v>0.45676798410114344</c:v>
                </c:pt>
                <c:pt idx="28">
                  <c:v>0.46941079826559523</c:v>
                </c:pt>
                <c:pt idx="29">
                  <c:v>0.43205259482778224</c:v>
                </c:pt>
                <c:pt idx="30">
                  <c:v>0.44592253496646633</c:v>
                </c:pt>
                <c:pt idx="31">
                  <c:v>0.46560538698779336</c:v>
                </c:pt>
                <c:pt idx="32">
                  <c:v>0.46377211543748026</c:v>
                </c:pt>
                <c:pt idx="33">
                  <c:v>0.4727521692002975</c:v>
                </c:pt>
                <c:pt idx="34">
                  <c:v>0.4889161660109724</c:v>
                </c:pt>
                <c:pt idx="35">
                  <c:v>0.47958678021542633</c:v>
                </c:pt>
                <c:pt idx="36">
                  <c:v>0.44040494928090507</c:v>
                </c:pt>
                <c:pt idx="37">
                  <c:v>0.4346027472245967</c:v>
                </c:pt>
                <c:pt idx="38">
                  <c:v>0.4449608567453255</c:v>
                </c:pt>
                <c:pt idx="39">
                  <c:v>0.4748478352959018</c:v>
                </c:pt>
                <c:pt idx="40">
                  <c:v>0.48564897714097277</c:v>
                </c:pt>
                <c:pt idx="41">
                  <c:v>0.49209239625424545</c:v>
                </c:pt>
                <c:pt idx="42">
                  <c:v>0.4806438421961659</c:v>
                </c:pt>
                <c:pt idx="43">
                  <c:v>0.5499910750284288</c:v>
                </c:pt>
                <c:pt idx="44">
                  <c:v>0.5932389305708866</c:v>
                </c:pt>
                <c:pt idx="45">
                  <c:v>0.6077835221412312</c:v>
                </c:pt>
                <c:pt idx="46">
                  <c:v>0.5669147180002978</c:v>
                </c:pt>
                <c:pt idx="47">
                  <c:v>0.575084774120543</c:v>
                </c:pt>
                <c:pt idx="48">
                  <c:v>0.6132293706221089</c:v>
                </c:pt>
                <c:pt idx="49">
                  <c:v>0.6400455110048994</c:v>
                </c:pt>
                <c:pt idx="50">
                  <c:v>0.6545088643820971</c:v>
                </c:pt>
                <c:pt idx="51">
                  <c:v>0.6053391573753063</c:v>
                </c:pt>
                <c:pt idx="52">
                  <c:v>0.733670084418361</c:v>
                </c:pt>
                <c:pt idx="53">
                  <c:v>0.733670084418361</c:v>
                </c:pt>
                <c:pt idx="54">
                  <c:v>0.5308520205103633</c:v>
                </c:pt>
              </c:numCache>
            </c:numRef>
          </c:xVal>
          <c:yVal>
            <c:numRef>
              <c:f>Sheet1!$B$187:$B$241</c:f>
              <c:numCache>
                <c:formatCode>General</c:formatCode>
                <c:ptCount val="55"/>
                <c:pt idx="0">
                  <c:v>0.13293729604891139</c:v>
                </c:pt>
                <c:pt idx="1">
                  <c:v>0.13219945824272175</c:v>
                </c:pt>
                <c:pt idx="2">
                  <c:v>0.13252355191825405</c:v>
                </c:pt>
                <c:pt idx="3">
                  <c:v>0.1300292570877729</c:v>
                </c:pt>
                <c:pt idx="4">
                  <c:v>0.1313812690339582</c:v>
                </c:pt>
                <c:pt idx="5">
                  <c:v>0.13219445030589974</c:v>
                </c:pt>
                <c:pt idx="6">
                  <c:v>0.1332484901021599</c:v>
                </c:pt>
                <c:pt idx="7">
                  <c:v>0.13171553841733843</c:v>
                </c:pt>
                <c:pt idx="8">
                  <c:v>0.13319116112845436</c:v>
                </c:pt>
                <c:pt idx="9">
                  <c:v>0.13292780243173924</c:v>
                </c:pt>
                <c:pt idx="10">
                  <c:v>0.1325240329906327</c:v>
                </c:pt>
                <c:pt idx="11">
                  <c:v>0.13234464891504438</c:v>
                </c:pt>
                <c:pt idx="12">
                  <c:v>0.13237235940372027</c:v>
                </c:pt>
                <c:pt idx="13">
                  <c:v>0.13127372505802773</c:v>
                </c:pt>
                <c:pt idx="14">
                  <c:v>0.13095991823414746</c:v>
                </c:pt>
                <c:pt idx="15">
                  <c:v>0.1308075408387562</c:v>
                </c:pt>
                <c:pt idx="16">
                  <c:v>0.13128368155647233</c:v>
                </c:pt>
                <c:pt idx="17">
                  <c:v>0.12854694494302865</c:v>
                </c:pt>
                <c:pt idx="18">
                  <c:v>0.1302013479198501</c:v>
                </c:pt>
                <c:pt idx="19">
                  <c:v>0.13250458030533394</c:v>
                </c:pt>
                <c:pt idx="20">
                  <c:v>0.13147547941494794</c:v>
                </c:pt>
                <c:pt idx="21">
                  <c:v>0.13062766990601804</c:v>
                </c:pt>
                <c:pt idx="22">
                  <c:v>0.13013328282327205</c:v>
                </c:pt>
                <c:pt idx="23">
                  <c:v>0.13044508790420584</c:v>
                </c:pt>
                <c:pt idx="24">
                  <c:v>0.1306381895570825</c:v>
                </c:pt>
                <c:pt idx="25">
                  <c:v>0.1311132389102095</c:v>
                </c:pt>
                <c:pt idx="26">
                  <c:v>0.1301021648749323</c:v>
                </c:pt>
                <c:pt idx="27">
                  <c:v>0.13086305470111853</c:v>
                </c:pt>
                <c:pt idx="28">
                  <c:v>0.1315016263745752</c:v>
                </c:pt>
                <c:pt idx="29">
                  <c:v>0.12961471336799982</c:v>
                </c:pt>
                <c:pt idx="30">
                  <c:v>0.13031526553699452</c:v>
                </c:pt>
                <c:pt idx="31">
                  <c:v>0.13130942012869923</c:v>
                </c:pt>
                <c:pt idx="32">
                  <c:v>0.13121682402892615</c:v>
                </c:pt>
                <c:pt idx="33">
                  <c:v>0.13167039456191532</c:v>
                </c:pt>
                <c:pt idx="34">
                  <c:v>0.13248681647232852</c:v>
                </c:pt>
                <c:pt idx="35">
                  <c:v>0.13201560164449885</c:v>
                </c:pt>
                <c:pt idx="36">
                  <c:v>0.1300365796464294</c:v>
                </c:pt>
                <c:pt idx="37">
                  <c:v>0.12974351816275684</c:v>
                </c:pt>
                <c:pt idx="38">
                  <c:v>0.1302666924532639</c:v>
                </c:pt>
                <c:pt idx="39">
                  <c:v>0.13177624386004383</c:v>
                </c:pt>
                <c:pt idx="40">
                  <c:v>0.1323217951220914</c:v>
                </c:pt>
                <c:pt idx="41">
                  <c:v>0.13264724362370067</c:v>
                </c:pt>
                <c:pt idx="42">
                  <c:v>0.13206899243465112</c:v>
                </c:pt>
                <c:pt idx="43">
                  <c:v>0.1355716286312505</c:v>
                </c:pt>
                <c:pt idx="44">
                  <c:v>0.13775602010675056</c:v>
                </c:pt>
                <c:pt idx="45">
                  <c:v>0.13849064801933458</c:v>
                </c:pt>
                <c:pt idx="46">
                  <c:v>0.13642641925562873</c:v>
                </c:pt>
                <c:pt idx="47">
                  <c:v>0.13683907788851518</c:v>
                </c:pt>
                <c:pt idx="48">
                  <c:v>0.13876571055941395</c:v>
                </c:pt>
                <c:pt idx="49">
                  <c:v>0.14012015802792424</c:v>
                </c:pt>
                <c:pt idx="50">
                  <c:v>0.14085068270777293</c:v>
                </c:pt>
                <c:pt idx="51">
                  <c:v>0.13836718641665563</c:v>
                </c:pt>
                <c:pt idx="52">
                  <c:v>0.14484901030271322</c:v>
                </c:pt>
                <c:pt idx="53">
                  <c:v>0.14484901030271322</c:v>
                </c:pt>
                <c:pt idx="54">
                  <c:v>0.134604940525817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958772193800782"/>
          <c:min val="0.04172113289760348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0.4157</c:v>
                </c:pt>
                <c:pt idx="1">
                  <c:v>833.0948</c:v>
                </c:pt>
                <c:pt idx="2">
                  <c:v>877.0721</c:v>
                </c:pt>
                <c:pt idx="3">
                  <c:v>894.9039</c:v>
                </c:pt>
                <c:pt idx="4">
                  <c:v>903.5401</c:v>
                </c:pt>
                <c:pt idx="5">
                  <c:v>895.4072</c:v>
                </c:pt>
                <c:pt idx="6">
                  <c:v>841.8521</c:v>
                </c:pt>
                <c:pt idx="7">
                  <c:v>858.8852</c:v>
                </c:pt>
                <c:pt idx="8">
                  <c:v>850.4341</c:v>
                </c:pt>
                <c:pt idx="9">
                  <c:v>850.9649</c:v>
                </c:pt>
                <c:pt idx="10">
                  <c:v>827.7996</c:v>
                </c:pt>
                <c:pt idx="11">
                  <c:v>865.698</c:v>
                </c:pt>
                <c:pt idx="12">
                  <c:v>870.6397</c:v>
                </c:pt>
                <c:pt idx="13">
                  <c:v>877.0027</c:v>
                </c:pt>
                <c:pt idx="14">
                  <c:v>900.9844</c:v>
                </c:pt>
                <c:pt idx="15">
                  <c:v>916.1449</c:v>
                </c:pt>
                <c:pt idx="16">
                  <c:v>920.5272</c:v>
                </c:pt>
                <c:pt idx="17">
                  <c:v>917.2086</c:v>
                </c:pt>
                <c:pt idx="18">
                  <c:v>945.465</c:v>
                </c:pt>
                <c:pt idx="19">
                  <c:v>928.1686</c:v>
                </c:pt>
                <c:pt idx="20">
                  <c:v>980.1253</c:v>
                </c:pt>
                <c:pt idx="21">
                  <c:v>1007.3453</c:v>
                </c:pt>
                <c:pt idx="22">
                  <c:v>977.8036</c:v>
                </c:pt>
                <c:pt idx="23">
                  <c:v>972.1144</c:v>
                </c:pt>
                <c:pt idx="24">
                  <c:v>1006.0563</c:v>
                </c:pt>
                <c:pt idx="25">
                  <c:v>972.2673</c:v>
                </c:pt>
                <c:pt idx="26">
                  <c:v>944.7288</c:v>
                </c:pt>
                <c:pt idx="27">
                  <c:v>1002.3166</c:v>
                </c:pt>
                <c:pt idx="28">
                  <c:v>988.2793</c:v>
                </c:pt>
                <c:pt idx="29">
                  <c:v>947.8739</c:v>
                </c:pt>
                <c:pt idx="30">
                  <c:v>948.0548</c:v>
                </c:pt>
                <c:pt idx="31">
                  <c:v>961.7687</c:v>
                </c:pt>
                <c:pt idx="32">
                  <c:v>938.4373</c:v>
                </c:pt>
                <c:pt idx="33">
                  <c:v>924.5707</c:v>
                </c:pt>
                <c:pt idx="34">
                  <c:v>909.6762</c:v>
                </c:pt>
                <c:pt idx="35">
                  <c:v>965.3873</c:v>
                </c:pt>
                <c:pt idx="36">
                  <c:v>1073.4796</c:v>
                </c:pt>
                <c:pt idx="37">
                  <c:v>1104.4395</c:v>
                </c:pt>
                <c:pt idx="38">
                  <c:v>1131.7548</c:v>
                </c:pt>
                <c:pt idx="39">
                  <c:v>1138.3583</c:v>
                </c:pt>
                <c:pt idx="40">
                  <c:v>1124.7606</c:v>
                </c:pt>
                <c:pt idx="41">
                  <c:v>1155.3412</c:v>
                </c:pt>
                <c:pt idx="42">
                  <c:v>1175.1574</c:v>
                </c:pt>
                <c:pt idx="43">
                  <c:v>1179.9659</c:v>
                </c:pt>
                <c:pt idx="44">
                  <c:v>1092.4663</c:v>
                </c:pt>
                <c:pt idx="45">
                  <c:v>1060.7269</c:v>
                </c:pt>
                <c:pt idx="46">
                  <c:v>1056.8816</c:v>
                </c:pt>
                <c:pt idx="47">
                  <c:v>1032.0557</c:v>
                </c:pt>
                <c:pt idx="48">
                  <c:v>1044.1246</c:v>
                </c:pt>
                <c:pt idx="49">
                  <c:v>1013.8239</c:v>
                </c:pt>
                <c:pt idx="50">
                  <c:v>988.881</c:v>
                </c:pt>
                <c:pt idx="51">
                  <c:v>1005.217</c:v>
                </c:pt>
                <c:pt idx="52">
                  <c:v>1018.3611</c:v>
                </c:pt>
                <c:pt idx="53">
                  <c:v>1100.6695</c:v>
                </c:pt>
                <c:pt idx="54">
                  <c:v>1078.7167</c:v>
                </c:pt>
                <c:pt idx="55">
                  <c:v>1080.286</c:v>
                </c:pt>
                <c:pt idx="56">
                  <c:v>1095.8056</c:v>
                </c:pt>
                <c:pt idx="57">
                  <c:v>1086.4695</c:v>
                </c:pt>
                <c:pt idx="58">
                  <c:v>1015.0648</c:v>
                </c:pt>
                <c:pt idx="59">
                  <c:v>1023.2639</c:v>
                </c:pt>
                <c:pt idx="60">
                  <c:v>1033.1318</c:v>
                </c:pt>
                <c:pt idx="61">
                  <c:v>1048.796</c:v>
                </c:pt>
                <c:pt idx="62">
                  <c:v>981.119</c:v>
                </c:pt>
                <c:pt idx="63">
                  <c:v>1018.5602</c:v>
                </c:pt>
                <c:pt idx="64">
                  <c:v>1023.682</c:v>
                </c:pt>
                <c:pt idx="65">
                  <c:v>1012.5565</c:v>
                </c:pt>
                <c:pt idx="66">
                  <c:v>1010.6297</c:v>
                </c:pt>
                <c:pt idx="67">
                  <c:v>1032.932</c:v>
                </c:pt>
                <c:pt idx="68">
                  <c:v>1047.1183</c:v>
                </c:pt>
                <c:pt idx="69">
                  <c:v>1084.2574</c:v>
                </c:pt>
                <c:pt idx="70">
                  <c:v>1056.3848</c:v>
                </c:pt>
                <c:pt idx="71">
                  <c:v>1132.2764</c:v>
                </c:pt>
                <c:pt idx="72">
                  <c:v>1235.1901</c:v>
                </c:pt>
                <c:pt idx="73">
                  <c:v>1196.09</c:v>
                </c:pt>
                <c:pt idx="74">
                  <c:v>1184.045</c:v>
                </c:pt>
                <c:pt idx="75">
                  <c:v>1165.6574</c:v>
                </c:pt>
                <c:pt idx="76">
                  <c:v>1125.8896</c:v>
                </c:pt>
                <c:pt idx="77">
                  <c:v>1121.1374</c:v>
                </c:pt>
                <c:pt idx="78">
                  <c:v>1151.6452</c:v>
                </c:pt>
                <c:pt idx="79">
                  <c:v>1176.8083</c:v>
                </c:pt>
                <c:pt idx="80">
                  <c:v>1166.2966</c:v>
                </c:pt>
                <c:pt idx="81">
                  <c:v>1166.6583</c:v>
                </c:pt>
                <c:pt idx="82">
                  <c:v>1153.699</c:v>
                </c:pt>
                <c:pt idx="83">
                  <c:v>1131.0397</c:v>
                </c:pt>
                <c:pt idx="84">
                  <c:v>1142.2522</c:v>
                </c:pt>
                <c:pt idx="85">
                  <c:v>1115.0029</c:v>
                </c:pt>
                <c:pt idx="86">
                  <c:v>1085.4207</c:v>
                </c:pt>
                <c:pt idx="87">
                  <c:v>1097.8587</c:v>
                </c:pt>
                <c:pt idx="88">
                  <c:v>1154.7131</c:v>
                </c:pt>
                <c:pt idx="89">
                  <c:v>1140.1216</c:v>
                </c:pt>
                <c:pt idx="90">
                  <c:v>1232.591</c:v>
                </c:pt>
                <c:pt idx="91">
                  <c:v>1238.8507</c:v>
                </c:pt>
                <c:pt idx="92">
                  <c:v>1178.6829</c:v>
                </c:pt>
                <c:pt idx="93">
                  <c:v>1226.7099</c:v>
                </c:pt>
                <c:pt idx="94">
                  <c:v>1238.0328</c:v>
                </c:pt>
                <c:pt idx="95">
                  <c:v>1197.976</c:v>
                </c:pt>
                <c:pt idx="96">
                  <c:v>1121.4882</c:v>
                </c:pt>
                <c:pt idx="97">
                  <c:v>1112.1444</c:v>
                </c:pt>
                <c:pt idx="98">
                  <c:v>1110.7206</c:v>
                </c:pt>
                <c:pt idx="99">
                  <c:v>1066.4263</c:v>
                </c:pt>
                <c:pt idx="100">
                  <c:v>1083.0188</c:v>
                </c:pt>
                <c:pt idx="101">
                  <c:v>1097.3645</c:v>
                </c:pt>
                <c:pt idx="102">
                  <c:v>1094.7418</c:v>
                </c:pt>
                <c:pt idx="103">
                  <c:v>1076.4669</c:v>
                </c:pt>
                <c:pt idx="104">
                  <c:v>1102.8747</c:v>
                </c:pt>
              </c:numCache>
            </c:numRef>
          </c:xVal>
          <c:yVal>
            <c:numRef>
              <c:f>Sheet1!$B$2:$B$106</c:f>
              <c:numCache>
                <c:formatCode>General</c:formatCode>
                <c:ptCount val="105"/>
                <c:pt idx="0">
                  <c:v>0.11442865083776702</c:v>
                </c:pt>
                <c:pt idx="1">
                  <c:v>0.09743754518435216</c:v>
                </c:pt>
                <c:pt idx="2">
                  <c:v>0.09953818827708703</c:v>
                </c:pt>
                <c:pt idx="3">
                  <c:v>0.10040473225404732</c:v>
                </c:pt>
                <c:pt idx="4">
                  <c:v>0.09611865549455842</c:v>
                </c:pt>
                <c:pt idx="5">
                  <c:v>0.1103075982888572</c:v>
                </c:pt>
                <c:pt idx="6">
                  <c:v>0.1314075630252101</c:v>
                </c:pt>
                <c:pt idx="7">
                  <c:v>0.13787085514834205</c:v>
                </c:pt>
                <c:pt idx="8">
                  <c:v>0.13373118133731182</c:v>
                </c:pt>
                <c:pt idx="9">
                  <c:v>0.11350683890577508</c:v>
                </c:pt>
                <c:pt idx="10">
                  <c:v>0.12666291924302042</c:v>
                </c:pt>
                <c:pt idx="11">
                  <c:v>0.11759623692041854</c:v>
                </c:pt>
                <c:pt idx="12">
                  <c:v>0.10507695029188041</c:v>
                </c:pt>
                <c:pt idx="13">
                  <c:v>0.09638236070768419</c:v>
                </c:pt>
                <c:pt idx="14">
                  <c:v>0.07772963604852687</c:v>
                </c:pt>
                <c:pt idx="15">
                  <c:v>0.06701525984420019</c:v>
                </c:pt>
                <c:pt idx="16">
                  <c:v>0.0706832298136646</c:v>
                </c:pt>
                <c:pt idx="17">
                  <c:v>0.06622773044151821</c:v>
                </c:pt>
                <c:pt idx="18">
                  <c:v>0.06116907245962555</c:v>
                </c:pt>
                <c:pt idx="19">
                  <c:v>0.05707531239446133</c:v>
                </c:pt>
                <c:pt idx="20">
                  <c:v>0.05215141612200436</c:v>
                </c:pt>
                <c:pt idx="21">
                  <c:v>0.05249658002735978</c:v>
                </c:pt>
                <c:pt idx="22">
                  <c:v>0.06302931596091205</c:v>
                </c:pt>
                <c:pt idx="23">
                  <c:v>0.07139134966128191</c:v>
                </c:pt>
                <c:pt idx="24">
                  <c:v>0.0686456400742115</c:v>
                </c:pt>
                <c:pt idx="25">
                  <c:v>0.07831107903284013</c:v>
                </c:pt>
                <c:pt idx="26">
                  <c:v>0.09581050026515821</c:v>
                </c:pt>
                <c:pt idx="27">
                  <c:v>0.09501954784973653</c:v>
                </c:pt>
                <c:pt idx="28">
                  <c:v>0.1259420532574108</c:v>
                </c:pt>
                <c:pt idx="29">
                  <c:v>0.11884183232497839</c:v>
                </c:pt>
                <c:pt idx="30">
                  <c:v>0.11295938104448743</c:v>
                </c:pt>
                <c:pt idx="31">
                  <c:v>0.12624705242154907</c:v>
                </c:pt>
                <c:pt idx="32">
                  <c:v>0.13386494740413982</c:v>
                </c:pt>
                <c:pt idx="33">
                  <c:v>0.12249644656932421</c:v>
                </c:pt>
                <c:pt idx="34">
                  <c:v>0.12295776352414377</c:v>
                </c:pt>
                <c:pt idx="35">
                  <c:v>0.12253589681187636</c:v>
                </c:pt>
                <c:pt idx="36">
                  <c:v>0.10906063549327043</c:v>
                </c:pt>
                <c:pt idx="37">
                  <c:v>0.1065959059893859</c:v>
                </c:pt>
                <c:pt idx="38">
                  <c:v>0.10355839416058395</c:v>
                </c:pt>
                <c:pt idx="39">
                  <c:v>0.09640445909875962</c:v>
                </c:pt>
                <c:pt idx="40">
                  <c:v>0.09676180724433636</c:v>
                </c:pt>
                <c:pt idx="41">
                  <c:v>0.09957188233669383</c:v>
                </c:pt>
                <c:pt idx="42">
                  <c:v>0.09488527724665392</c:v>
                </c:pt>
                <c:pt idx="43">
                  <c:v>0.08785446762974852</c:v>
                </c:pt>
                <c:pt idx="44">
                  <c:v>0.09907453906306048</c:v>
                </c:pt>
                <c:pt idx="45">
                  <c:v>0.11837921937360482</c:v>
                </c:pt>
                <c:pt idx="46">
                  <c:v>0.12288985188538905</c:v>
                </c:pt>
                <c:pt idx="47">
                  <c:v>0.11924888688133187</c:v>
                </c:pt>
                <c:pt idx="48">
                  <c:v>0.11587757054041128</c:v>
                </c:pt>
                <c:pt idx="49">
                  <c:v>0.11834444054717642</c:v>
                </c:pt>
                <c:pt idx="50">
                  <c:v>0.11709765107688018</c:v>
                </c:pt>
                <c:pt idx="51">
                  <c:v>0.108970043756311</c:v>
                </c:pt>
                <c:pt idx="52">
                  <c:v>0.10820392824221797</c:v>
                </c:pt>
                <c:pt idx="53">
                  <c:v>0.09879579375848033</c:v>
                </c:pt>
                <c:pt idx="54">
                  <c:v>0.10079357840007297</c:v>
                </c:pt>
                <c:pt idx="55">
                  <c:v>0.09787273745101698</c:v>
                </c:pt>
                <c:pt idx="56">
                  <c:v>0.09971070395371263</c:v>
                </c:pt>
                <c:pt idx="57">
                  <c:v>0.0959442128887464</c:v>
                </c:pt>
                <c:pt idx="58">
                  <c:v>0.11341482283769147</c:v>
                </c:pt>
                <c:pt idx="59">
                  <c:v>0.10626689103054408</c:v>
                </c:pt>
                <c:pt idx="60">
                  <c:v>0.10875488686174624</c:v>
                </c:pt>
                <c:pt idx="61">
                  <c:v>0.11598173515981736</c:v>
                </c:pt>
                <c:pt idx="62">
                  <c:v>0.12879383550872778</c:v>
                </c:pt>
                <c:pt idx="63">
                  <c:v>0.13117330140676445</c:v>
                </c:pt>
                <c:pt idx="64">
                  <c:v>0.12549599315334942</c:v>
                </c:pt>
                <c:pt idx="65">
                  <c:v>0.12532938076416336</c:v>
                </c:pt>
                <c:pt idx="66">
                  <c:v>0.12645815722738799</c:v>
                </c:pt>
                <c:pt idx="67">
                  <c:v>0.11880046136101499</c:v>
                </c:pt>
                <c:pt idx="68">
                  <c:v>0.10874004492546457</c:v>
                </c:pt>
                <c:pt idx="69">
                  <c:v>0.10110032362459546</c:v>
                </c:pt>
                <c:pt idx="70">
                  <c:v>0.10213488597768074</c:v>
                </c:pt>
                <c:pt idx="71">
                  <c:v>0.10002670940170941</c:v>
                </c:pt>
                <c:pt idx="72">
                  <c:v>0.09430627446029542</c:v>
                </c:pt>
                <c:pt idx="73">
                  <c:v>0.09850826501814272</c:v>
                </c:pt>
                <c:pt idx="74">
                  <c:v>0.10236318407960199</c:v>
                </c:pt>
                <c:pt idx="75">
                  <c:v>0.11290322580645161</c:v>
                </c:pt>
                <c:pt idx="76">
                  <c:v>0.11961189756640687</c:v>
                </c:pt>
                <c:pt idx="77">
                  <c:v>0.11140065146579804</c:v>
                </c:pt>
                <c:pt idx="78">
                  <c:v>0.11964912280701755</c:v>
                </c:pt>
                <c:pt idx="79">
                  <c:v>0.10746552543984783</c:v>
                </c:pt>
                <c:pt idx="80">
                  <c:v>0.10299056452902607</c:v>
                </c:pt>
                <c:pt idx="81">
                  <c:v>0.10344377771980172</c:v>
                </c:pt>
                <c:pt idx="82">
                  <c:v>0.10872576177285319</c:v>
                </c:pt>
                <c:pt idx="83">
                  <c:v>0.10953729933899906</c:v>
                </c:pt>
                <c:pt idx="84">
                  <c:v>0.10926960878782038</c:v>
                </c:pt>
                <c:pt idx="85">
                  <c:v>0.11450509096978802</c:v>
                </c:pt>
                <c:pt idx="86">
                  <c:v>0.1290824261275272</c:v>
                </c:pt>
                <c:pt idx="87">
                  <c:v>0.1292243946652855</c:v>
                </c:pt>
                <c:pt idx="88">
                  <c:v>0.11802644308287649</c:v>
                </c:pt>
                <c:pt idx="89">
                  <c:v>0.13193377709506743</c:v>
                </c:pt>
                <c:pt idx="90">
                  <c:v>0.11248047214025343</c:v>
                </c:pt>
                <c:pt idx="91">
                  <c:v>0.1077593430534607</c:v>
                </c:pt>
                <c:pt idx="92">
                  <c:v>0.11562757484207635</c:v>
                </c:pt>
                <c:pt idx="93">
                  <c:v>0.11568123393316196</c:v>
                </c:pt>
                <c:pt idx="94">
                  <c:v>0.11905133406147606</c:v>
                </c:pt>
                <c:pt idx="95">
                  <c:v>0.11781349026708918</c:v>
                </c:pt>
                <c:pt idx="96">
                  <c:v>0.11486486486486487</c:v>
                </c:pt>
                <c:pt idx="97">
                  <c:v>0.11742006615214995</c:v>
                </c:pt>
                <c:pt idx="98">
                  <c:v>0.11301757521596664</c:v>
                </c:pt>
                <c:pt idx="99">
                  <c:v>0.11469950042892466</c:v>
                </c:pt>
                <c:pt idx="100">
                  <c:v>0.1166948631190403</c:v>
                </c:pt>
                <c:pt idx="101">
                  <c:v>0.11547114875595553</c:v>
                </c:pt>
                <c:pt idx="102">
                  <c:v>0.11611353323249399</c:v>
                </c:pt>
                <c:pt idx="103">
                  <c:v>0.1138481484482619</c:v>
                </c:pt>
                <c:pt idx="104">
                  <c:v>0.1121194379391100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8.8242</c:v>
                </c:pt>
                <c:pt idx="1">
                  <c:v>1159.4467</c:v>
                </c:pt>
                <c:pt idx="2">
                  <c:v>1156.0528</c:v>
                </c:pt>
                <c:pt idx="3">
                  <c:v>1075.5449</c:v>
                </c:pt>
                <c:pt idx="4">
                  <c:v>1149.6842</c:v>
                </c:pt>
                <c:pt idx="5">
                  <c:v>1165.0073</c:v>
                </c:pt>
                <c:pt idx="6">
                  <c:v>1084.2562</c:v>
                </c:pt>
                <c:pt idx="7">
                  <c:v>1077.3117</c:v>
                </c:pt>
                <c:pt idx="8">
                  <c:v>1157.7246</c:v>
                </c:pt>
                <c:pt idx="9">
                  <c:v>1121.6394</c:v>
                </c:pt>
                <c:pt idx="10">
                  <c:v>1120.3102</c:v>
                </c:pt>
                <c:pt idx="11">
                  <c:v>1005.242</c:v>
                </c:pt>
                <c:pt idx="12">
                  <c:v>1035.6266</c:v>
                </c:pt>
                <c:pt idx="13">
                  <c:v>1090.2277</c:v>
                </c:pt>
                <c:pt idx="14">
                  <c:v>1085.3301</c:v>
                </c:pt>
                <c:pt idx="15">
                  <c:v>1107.1248</c:v>
                </c:pt>
                <c:pt idx="16">
                  <c:v>1142.1265</c:v>
                </c:pt>
                <c:pt idx="17">
                  <c:v>1020.4231</c:v>
                </c:pt>
                <c:pt idx="18">
                  <c:v>1122.3824</c:v>
                </c:pt>
                <c:pt idx="19">
                  <c:v>1292.9602</c:v>
                </c:pt>
                <c:pt idx="20">
                  <c:v>1294.5396</c:v>
                </c:pt>
                <c:pt idx="21">
                  <c:v>1240.1094</c:v>
                </c:pt>
                <c:pt idx="22">
                  <c:v>1226.3448</c:v>
                </c:pt>
                <c:pt idx="23">
                  <c:v>1213.6256</c:v>
                </c:pt>
                <c:pt idx="24">
                  <c:v>1218.5068</c:v>
                </c:pt>
                <c:pt idx="25">
                  <c:v>1166.0184</c:v>
                </c:pt>
                <c:pt idx="26">
                  <c:v>1149.4314</c:v>
                </c:pt>
                <c:pt idx="27">
                  <c:v>1164.8134</c:v>
                </c:pt>
                <c:pt idx="28">
                  <c:v>1196.1065</c:v>
                </c:pt>
                <c:pt idx="29">
                  <c:v>1191.5178</c:v>
                </c:pt>
                <c:pt idx="30">
                  <c:v>1201.9796</c:v>
                </c:pt>
                <c:pt idx="31">
                  <c:v>1210.3866</c:v>
                </c:pt>
                <c:pt idx="32">
                  <c:v>1216.379</c:v>
                </c:pt>
                <c:pt idx="33">
                  <c:v>1193.2512</c:v>
                </c:pt>
                <c:pt idx="34">
                  <c:v>1199.5961</c:v>
                </c:pt>
                <c:pt idx="35">
                  <c:v>1254.2799</c:v>
                </c:pt>
                <c:pt idx="36">
                  <c:v>1302.3394</c:v>
                </c:pt>
                <c:pt idx="37">
                  <c:v>1289.369</c:v>
                </c:pt>
                <c:pt idx="38">
                  <c:v>1305.2104</c:v>
                </c:pt>
                <c:pt idx="39">
                  <c:v>1249.3002</c:v>
                </c:pt>
                <c:pt idx="40">
                  <c:v>1277.2453</c:v>
                </c:pt>
                <c:pt idx="41">
                  <c:v>1315.8935</c:v>
                </c:pt>
                <c:pt idx="42">
                  <c:v>1307.2805</c:v>
                </c:pt>
                <c:pt idx="43">
                  <c:v>1321.8315</c:v>
                </c:pt>
                <c:pt idx="44">
                  <c:v>1232.6608</c:v>
                </c:pt>
                <c:pt idx="45">
                  <c:v>1181.1152</c:v>
                </c:pt>
                <c:pt idx="46">
                  <c:v>1159.8625</c:v>
                </c:pt>
                <c:pt idx="47">
                  <c:v>1140.1246</c:v>
                </c:pt>
                <c:pt idx="48">
                  <c:v>1145.6402</c:v>
                </c:pt>
                <c:pt idx="49">
                  <c:v>1165.5856</c:v>
                </c:pt>
                <c:pt idx="50">
                  <c:v>1136.1855</c:v>
                </c:pt>
                <c:pt idx="51">
                  <c:v>1115.4624</c:v>
                </c:pt>
              </c:numCache>
            </c:numRef>
          </c:xVal>
          <c:yVal>
            <c:numRef>
              <c:f>Sheet1!$B$109:$B$160</c:f>
              <c:numCache>
                <c:formatCode>General</c:formatCode>
                <c:ptCount val="52"/>
                <c:pt idx="0">
                  <c:v>0.11257718007273958</c:v>
                </c:pt>
                <c:pt idx="1">
                  <c:v>0.10940261576528809</c:v>
                </c:pt>
                <c:pt idx="2">
                  <c:v>0.1308103015075377</c:v>
                </c:pt>
                <c:pt idx="3">
                  <c:v>0.1488478136959531</c:v>
                </c:pt>
                <c:pt idx="4">
                  <c:v>0.12364760432766615</c:v>
                </c:pt>
                <c:pt idx="5">
                  <c:v>0.13022772534418564</c:v>
                </c:pt>
                <c:pt idx="6">
                  <c:v>0.14686032863849766</c:v>
                </c:pt>
                <c:pt idx="7">
                  <c:v>0.1579897682816732</c:v>
                </c:pt>
                <c:pt idx="8">
                  <c:v>0.13467244921250857</c:v>
                </c:pt>
                <c:pt idx="9">
                  <c:v>0.14012738853503184</c:v>
                </c:pt>
                <c:pt idx="10">
                  <c:v>0.14955798231929276</c:v>
                </c:pt>
                <c:pt idx="11">
                  <c:v>0.1430824695808923</c:v>
                </c:pt>
                <c:pt idx="12">
                  <c:v>0.1398525975193241</c:v>
                </c:pt>
                <c:pt idx="13">
                  <c:v>0.13342029255566942</c:v>
                </c:pt>
                <c:pt idx="14">
                  <c:v>0.13914294522659543</c:v>
                </c:pt>
                <c:pt idx="15">
                  <c:v>0.13644798602772623</c:v>
                </c:pt>
                <c:pt idx="16">
                  <c:v>0.13547396699501088</c:v>
                </c:pt>
                <c:pt idx="17">
                  <c:v>0.15477145148356056</c:v>
                </c:pt>
                <c:pt idx="18">
                  <c:v>0.13821138211382114</c:v>
                </c:pt>
                <c:pt idx="19">
                  <c:v>0.11728395061728394</c:v>
                </c:pt>
                <c:pt idx="20">
                  <c:v>0.10994679993551508</c:v>
                </c:pt>
                <c:pt idx="21">
                  <c:v>0.1154308617234469</c:v>
                </c:pt>
                <c:pt idx="22">
                  <c:v>0.11927144535840188</c:v>
                </c:pt>
                <c:pt idx="23">
                  <c:v>0.12002462043496102</c:v>
                </c:pt>
                <c:pt idx="24">
                  <c:v>0.12256628963471167</c:v>
                </c:pt>
                <c:pt idx="25">
                  <c:v>0.1303653423837093</c:v>
                </c:pt>
                <c:pt idx="26">
                  <c:v>0.12360939431396786</c:v>
                </c:pt>
                <c:pt idx="27">
                  <c:v>0.1276767026243761</c:v>
                </c:pt>
                <c:pt idx="28">
                  <c:v>0.117740308401787</c:v>
                </c:pt>
                <c:pt idx="29">
                  <c:v>0.121280276816609</c:v>
                </c:pt>
                <c:pt idx="30">
                  <c:v>0.1233591080740874</c:v>
                </c:pt>
                <c:pt idx="31">
                  <c:v>0.12526215443279315</c:v>
                </c:pt>
                <c:pt idx="32">
                  <c:v>0.12271152894606631</c:v>
                </c:pt>
                <c:pt idx="33">
                  <c:v>0.14164876476906552</c:v>
                </c:pt>
                <c:pt idx="34">
                  <c:v>0.15059890684963367</c:v>
                </c:pt>
                <c:pt idx="35">
                  <c:v>0.1454861614258803</c:v>
                </c:pt>
                <c:pt idx="36">
                  <c:v>0.13908974904296045</c:v>
                </c:pt>
                <c:pt idx="37">
                  <c:v>0.13500665525765354</c:v>
                </c:pt>
                <c:pt idx="38">
                  <c:v>0.12939698492462312</c:v>
                </c:pt>
                <c:pt idx="39">
                  <c:v>0.1296499764558154</c:v>
                </c:pt>
                <c:pt idx="40">
                  <c:v>0.1229709035222052</c:v>
                </c:pt>
                <c:pt idx="41">
                  <c:v>0.12968886304158186</c:v>
                </c:pt>
                <c:pt idx="42">
                  <c:v>0.12551406481329166</c:v>
                </c:pt>
                <c:pt idx="43">
                  <c:v>0.11495445635881471</c:v>
                </c:pt>
                <c:pt idx="44">
                  <c:v>0.1150932400932401</c:v>
                </c:pt>
                <c:pt idx="45">
                  <c:v>0.12943694192310531</c:v>
                </c:pt>
                <c:pt idx="46">
                  <c:v>0.15421835136799508</c:v>
                </c:pt>
                <c:pt idx="47">
                  <c:v>0.14894138804872067</c:v>
                </c:pt>
                <c:pt idx="48">
                  <c:v>0.14883913764510778</c:v>
                </c:pt>
                <c:pt idx="49">
                  <c:v>0.15145283269205254</c:v>
                </c:pt>
                <c:pt idx="50">
                  <c:v>0.1425160291841698</c:v>
                </c:pt>
                <c:pt idx="51">
                  <c:v>0.1365880416895227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36.9471505398017</c:v>
                </c:pt>
              </c:numCache>
            </c:numRef>
          </c:xVal>
          <c:yVal>
            <c:numRef>
              <c:f>Sheet1!$B$163:$B$164</c:f>
              <c:numCache>
                <c:formatCode>General</c:formatCode>
                <c:ptCount val="2"/>
                <c:pt idx="0">
                  <c:v>0.14484901030271322</c:v>
                </c:pt>
                <c:pt idx="1">
                  <c:v>0.144849010302713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36.9471505398017</c:v>
                </c:pt>
                <c:pt idx="1">
                  <c:v>1036.9471505398017</c:v>
                </c:pt>
              </c:numCache>
            </c:numRef>
          </c:xVal>
          <c:yVal>
            <c:numRef>
              <c:f>Sheet1!$B$167:$B$168</c:f>
              <c:numCache>
                <c:formatCode>General</c:formatCode>
                <c:ptCount val="2"/>
                <c:pt idx="0">
                  <c:v>0.144849010302713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6.9471505398017</c:v>
                </c:pt>
              </c:numCache>
            </c:numRef>
          </c:xVal>
          <c:yVal>
            <c:numRef>
              <c:f>Sheet1!$B$171:$B$172</c:f>
              <c:numCache>
                <c:formatCode>General</c:formatCode>
                <c:ptCount val="2"/>
                <c:pt idx="0">
                  <c:v>0.14484901030271322</c:v>
                </c:pt>
                <c:pt idx="1">
                  <c:v>0.1448490103027132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6.9471505398017</c:v>
                </c:pt>
                <c:pt idx="1">
                  <c:v>1036.9471505398017</c:v>
                </c:pt>
              </c:numCache>
            </c:numRef>
          </c:xVal>
          <c:yVal>
            <c:numRef>
              <c:f>Sheet1!$B$175:$B$176</c:f>
              <c:numCache>
                <c:formatCode>General</c:formatCode>
                <c:ptCount val="2"/>
                <c:pt idx="0">
                  <c:v>0.144849010302713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4.9917063926907</c:v>
                </c:pt>
              </c:numCache>
            </c:numRef>
          </c:xVal>
          <c:yVal>
            <c:numRef>
              <c:f>Sheet1!$B$179:$B$180</c:f>
              <c:numCache>
                <c:formatCode>General</c:formatCode>
                <c:ptCount val="2"/>
                <c:pt idx="0">
                  <c:v>0.13460494052581715</c:v>
                </c:pt>
                <c:pt idx="1">
                  <c:v>0.1346049405258171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4.9917063926907</c:v>
                </c:pt>
                <c:pt idx="1">
                  <c:v>1154.9917063926907</c:v>
                </c:pt>
              </c:numCache>
            </c:numRef>
          </c:xVal>
          <c:yVal>
            <c:numRef>
              <c:f>Sheet1!$B$183:$B$184</c:f>
              <c:numCache>
                <c:formatCode>General</c:formatCode>
                <c:ptCount val="2"/>
                <c:pt idx="0">
                  <c:v>0.134604940525817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8.8242</c:v>
                </c:pt>
                <c:pt idx="1">
                  <c:v>1159.4467</c:v>
                </c:pt>
                <c:pt idx="2">
                  <c:v>1156.0528</c:v>
                </c:pt>
                <c:pt idx="3">
                  <c:v>1075.5449</c:v>
                </c:pt>
                <c:pt idx="4">
                  <c:v>1149.6842</c:v>
                </c:pt>
                <c:pt idx="5">
                  <c:v>1165.0073</c:v>
                </c:pt>
                <c:pt idx="6">
                  <c:v>1084.2562</c:v>
                </c:pt>
                <c:pt idx="7">
                  <c:v>1077.3117</c:v>
                </c:pt>
                <c:pt idx="8">
                  <c:v>1157.7246</c:v>
                </c:pt>
                <c:pt idx="9">
                  <c:v>1121.6394</c:v>
                </c:pt>
                <c:pt idx="10">
                  <c:v>1120.3102</c:v>
                </c:pt>
                <c:pt idx="11">
                  <c:v>1005.242</c:v>
                </c:pt>
                <c:pt idx="12">
                  <c:v>1035.6266</c:v>
                </c:pt>
                <c:pt idx="13">
                  <c:v>1090.2277</c:v>
                </c:pt>
                <c:pt idx="14">
                  <c:v>1085.3301</c:v>
                </c:pt>
                <c:pt idx="15">
                  <c:v>1107.1248</c:v>
                </c:pt>
                <c:pt idx="16">
                  <c:v>1142.1265</c:v>
                </c:pt>
                <c:pt idx="17">
                  <c:v>1020.4231</c:v>
                </c:pt>
                <c:pt idx="18">
                  <c:v>1122.3824</c:v>
                </c:pt>
                <c:pt idx="19">
                  <c:v>1292.9602</c:v>
                </c:pt>
                <c:pt idx="20">
                  <c:v>1294.5396</c:v>
                </c:pt>
                <c:pt idx="21">
                  <c:v>1240.1094</c:v>
                </c:pt>
                <c:pt idx="22">
                  <c:v>1226.3448</c:v>
                </c:pt>
                <c:pt idx="23">
                  <c:v>1213.6256</c:v>
                </c:pt>
                <c:pt idx="24">
                  <c:v>1218.5068</c:v>
                </c:pt>
                <c:pt idx="25">
                  <c:v>1166.0184</c:v>
                </c:pt>
                <c:pt idx="26">
                  <c:v>1149.4314</c:v>
                </c:pt>
                <c:pt idx="27">
                  <c:v>1164.8134</c:v>
                </c:pt>
                <c:pt idx="28">
                  <c:v>1196.1065</c:v>
                </c:pt>
                <c:pt idx="29">
                  <c:v>1191.5178</c:v>
                </c:pt>
                <c:pt idx="30">
                  <c:v>1201.9796</c:v>
                </c:pt>
                <c:pt idx="31">
                  <c:v>1210.3866</c:v>
                </c:pt>
                <c:pt idx="32">
                  <c:v>1216.379</c:v>
                </c:pt>
                <c:pt idx="33">
                  <c:v>1193.2512</c:v>
                </c:pt>
                <c:pt idx="34">
                  <c:v>1199.5961</c:v>
                </c:pt>
                <c:pt idx="35">
                  <c:v>1254.2799</c:v>
                </c:pt>
                <c:pt idx="36">
                  <c:v>1302.3394</c:v>
                </c:pt>
                <c:pt idx="37">
                  <c:v>1289.369</c:v>
                </c:pt>
                <c:pt idx="38">
                  <c:v>1305.2104</c:v>
                </c:pt>
                <c:pt idx="39">
                  <c:v>1249.3002</c:v>
                </c:pt>
                <c:pt idx="40">
                  <c:v>1277.2453</c:v>
                </c:pt>
                <c:pt idx="41">
                  <c:v>1315.8935</c:v>
                </c:pt>
                <c:pt idx="42">
                  <c:v>1307.2805</c:v>
                </c:pt>
                <c:pt idx="43">
                  <c:v>1321.8315</c:v>
                </c:pt>
                <c:pt idx="44">
                  <c:v>1232.6608</c:v>
                </c:pt>
                <c:pt idx="45">
                  <c:v>1181.1152</c:v>
                </c:pt>
                <c:pt idx="46">
                  <c:v>1159.8625</c:v>
                </c:pt>
                <c:pt idx="47">
                  <c:v>1140.1246</c:v>
                </c:pt>
                <c:pt idx="48">
                  <c:v>1145.6402</c:v>
                </c:pt>
                <c:pt idx="49">
                  <c:v>1165.5856</c:v>
                </c:pt>
                <c:pt idx="50">
                  <c:v>1136.1855</c:v>
                </c:pt>
                <c:pt idx="51">
                  <c:v>1115.4624</c:v>
                </c:pt>
                <c:pt idx="52">
                  <c:v>1036.9471505398017</c:v>
                </c:pt>
                <c:pt idx="53">
                  <c:v>1036.9471505398017</c:v>
                </c:pt>
                <c:pt idx="54">
                  <c:v>1154.9917063926907</c:v>
                </c:pt>
              </c:numCache>
            </c:numRef>
          </c:xVal>
          <c:yVal>
            <c:numRef>
              <c:f>Sheet1!$B$187:$B$241</c:f>
              <c:numCache>
                <c:formatCode>General</c:formatCode>
                <c:ptCount val="55"/>
                <c:pt idx="0">
                  <c:v>0.1360079790853551</c:v>
                </c:pt>
                <c:pt idx="1">
                  <c:v>0.1342183300206637</c:v>
                </c:pt>
                <c:pt idx="2">
                  <c:v>0.13451285735540275</c:v>
                </c:pt>
                <c:pt idx="3">
                  <c:v>0.14149944423552258</c:v>
                </c:pt>
                <c:pt idx="4">
                  <c:v>0.13506553326925383</c:v>
                </c:pt>
                <c:pt idx="5">
                  <c:v>0.13373577346403265</c:v>
                </c:pt>
                <c:pt idx="6">
                  <c:v>0.1407434655764247</c:v>
                </c:pt>
                <c:pt idx="7">
                  <c:v>0.14134611888857163</c:v>
                </c:pt>
                <c:pt idx="8">
                  <c:v>0.13436777623980806</c:v>
                </c:pt>
                <c:pt idx="9">
                  <c:v>0.13749929979074532</c:v>
                </c:pt>
                <c:pt idx="10">
                  <c:v>0.13761464960462763</c:v>
                </c:pt>
                <c:pt idx="11">
                  <c:v>0.14760042710520843</c:v>
                </c:pt>
                <c:pt idx="12">
                  <c:v>0.1449636095044799</c:v>
                </c:pt>
                <c:pt idx="13">
                  <c:v>0.14022525054964302</c:v>
                </c:pt>
                <c:pt idx="14">
                  <c:v>0.14065027104954522</c:v>
                </c:pt>
                <c:pt idx="15">
                  <c:v>0.13875889684805506</c:v>
                </c:pt>
                <c:pt idx="16">
                  <c:v>0.13572140092527119</c:v>
                </c:pt>
                <c:pt idx="17">
                  <c:v>0.14628299025633038</c:v>
                </c:pt>
                <c:pt idx="18">
                  <c:v>0.13743482122340064</c:v>
                </c:pt>
                <c:pt idx="19">
                  <c:v>0.12263184388180175</c:v>
                </c:pt>
                <c:pt idx="20">
                  <c:v>0.12249478136596836</c:v>
                </c:pt>
                <c:pt idx="21">
                  <c:v>0.12721830938250217</c:v>
                </c:pt>
                <c:pt idx="22">
                  <c:v>0.12841282040278834</c:v>
                </c:pt>
                <c:pt idx="23">
                  <c:v>0.12951661016560193</c:v>
                </c:pt>
                <c:pt idx="24">
                  <c:v>0.129093012880376</c:v>
                </c:pt>
                <c:pt idx="25">
                  <c:v>0.13364802880798662</c:v>
                </c:pt>
                <c:pt idx="26">
                  <c:v>0.1350874716027999</c:v>
                </c:pt>
                <c:pt idx="27">
                  <c:v>0.13375260037413783</c:v>
                </c:pt>
                <c:pt idx="28">
                  <c:v>0.1310369418872281</c:v>
                </c:pt>
                <c:pt idx="29">
                  <c:v>0.13143515561801483</c:v>
                </c:pt>
                <c:pt idx="30">
                  <c:v>0.13052726614850393</c:v>
                </c:pt>
                <c:pt idx="31">
                  <c:v>0.12979769506416106</c:v>
                </c:pt>
                <c:pt idx="32">
                  <c:v>0.12927766630648102</c:v>
                </c:pt>
                <c:pt idx="33">
                  <c:v>0.13128472876924596</c:v>
                </c:pt>
                <c:pt idx="34">
                  <c:v>0.13073410957416484</c:v>
                </c:pt>
                <c:pt idx="35">
                  <c:v>0.12598857379897882</c:v>
                </c:pt>
                <c:pt idx="36">
                  <c:v>0.12181790393719978</c:v>
                </c:pt>
                <c:pt idx="37">
                  <c:v>0.12294349318334714</c:v>
                </c:pt>
                <c:pt idx="38">
                  <c:v>0.12156875458747356</c:v>
                </c:pt>
                <c:pt idx="39">
                  <c:v>0.12642071905040053</c:v>
                </c:pt>
                <c:pt idx="40">
                  <c:v>0.12399560463276402</c:v>
                </c:pt>
                <c:pt idx="41">
                  <c:v>0.12064166039797156</c:v>
                </c:pt>
                <c:pt idx="42">
                  <c:v>0.12138910844715023</c:v>
                </c:pt>
                <c:pt idx="43">
                  <c:v>0.12012635254751027</c:v>
                </c:pt>
                <c:pt idx="44">
                  <c:v>0.12786470918966716</c:v>
                </c:pt>
                <c:pt idx="45">
                  <c:v>0.13233790762967004</c:v>
                </c:pt>
                <c:pt idx="46">
                  <c:v>0.1341822463217378</c:v>
                </c:pt>
                <c:pt idx="47">
                  <c:v>0.1358951285752945</c:v>
                </c:pt>
                <c:pt idx="48">
                  <c:v>0.1354164771808849</c:v>
                </c:pt>
                <c:pt idx="49">
                  <c:v>0.13368558779041834</c:v>
                </c:pt>
                <c:pt idx="50">
                  <c:v>0.1362369691198806</c:v>
                </c:pt>
                <c:pt idx="51">
                  <c:v>0.13803534839167145</c:v>
                </c:pt>
                <c:pt idx="52">
                  <c:v>0.14484901030271322</c:v>
                </c:pt>
                <c:pt idx="53">
                  <c:v>0.14484901030271322</c:v>
                </c:pt>
                <c:pt idx="54">
                  <c:v>0.134604940525817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86.0"/>
          <c:min val="59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958772193800782"/>
          <c:min val="0.04172113289760348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9353336759216033</c:v>
                </c:pt>
                <c:pt idx="1">
                  <c:v>2.1862763133551057</c:v>
                </c:pt>
                <c:pt idx="2">
                  <c:v>2.288959613753507</c:v>
                </c:pt>
                <c:pt idx="3">
                  <c:v>2.314389679041145</c:v>
                </c:pt>
                <c:pt idx="4">
                  <c:v>2.3610698163621278</c:v>
                </c:pt>
                <c:pt idx="5">
                  <c:v>1.928978653439819</c:v>
                </c:pt>
                <c:pt idx="6">
                  <c:v>1.6660421539178858</c:v>
                </c:pt>
                <c:pt idx="7">
                  <c:v>1.6896661823883348</c:v>
                </c:pt>
                <c:pt idx="8">
                  <c:v>1.6883393711942416</c:v>
                </c:pt>
                <c:pt idx="9">
                  <c:v>1.8129532436903535</c:v>
                </c:pt>
                <c:pt idx="10">
                  <c:v>1.6994863968140468</c:v>
                </c:pt>
                <c:pt idx="11">
                  <c:v>1.726117876756454</c:v>
                </c:pt>
                <c:pt idx="12">
                  <c:v>1.7305094016876565</c:v>
                </c:pt>
                <c:pt idx="13">
                  <c:v>1.7296495133428145</c:v>
                </c:pt>
                <c:pt idx="14">
                  <c:v>1.7639693717928386</c:v>
                </c:pt>
                <c:pt idx="15">
                  <c:v>1.774745797220095</c:v>
                </c:pt>
                <c:pt idx="16">
                  <c:v>1.737023703021313</c:v>
                </c:pt>
                <c:pt idx="17">
                  <c:v>2.0975128514907593</c:v>
                </c:pt>
                <c:pt idx="18">
                  <c:v>2.1551790950602516</c:v>
                </c:pt>
                <c:pt idx="19">
                  <c:v>2.1249183840733328</c:v>
                </c:pt>
                <c:pt idx="20">
                  <c:v>2.2780610786309397</c:v>
                </c:pt>
                <c:pt idx="21">
                  <c:v>2.357904323901984</c:v>
                </c:pt>
                <c:pt idx="22">
                  <c:v>2.305099465689435</c:v>
                </c:pt>
                <c:pt idx="23">
                  <c:v>2.3825469076121752</c:v>
                </c:pt>
                <c:pt idx="24">
                  <c:v>2.5846152067576456</c:v>
                </c:pt>
                <c:pt idx="25">
                  <c:v>2.5621460559332423</c:v>
                </c:pt>
                <c:pt idx="26">
                  <c:v>2.010576326361051</c:v>
                </c:pt>
                <c:pt idx="27">
                  <c:v>2.0071598127723176</c:v>
                </c:pt>
                <c:pt idx="28">
                  <c:v>1.9299514309142787</c:v>
                </c:pt>
                <c:pt idx="29">
                  <c:v>1.8754924812030076</c:v>
                </c:pt>
                <c:pt idx="30">
                  <c:v>1.8638090437482258</c:v>
                </c:pt>
                <c:pt idx="31">
                  <c:v>1.8457263749218686</c:v>
                </c:pt>
                <c:pt idx="32">
                  <c:v>1.7739376125797879</c:v>
                </c:pt>
                <c:pt idx="33">
                  <c:v>1.7430805277444397</c:v>
                </c:pt>
                <c:pt idx="34">
                  <c:v>1.7581015485304385</c:v>
                </c:pt>
                <c:pt idx="35">
                  <c:v>1.8994743026511927</c:v>
                </c:pt>
                <c:pt idx="36">
                  <c:v>2.1149111060456476</c:v>
                </c:pt>
                <c:pt idx="37">
                  <c:v>2.1814761689560416</c:v>
                </c:pt>
                <c:pt idx="38">
                  <c:v>2.248323076944471</c:v>
                </c:pt>
                <c:pt idx="39">
                  <c:v>2.2637615454278257</c:v>
                </c:pt>
                <c:pt idx="40">
                  <c:v>2.227180353870327</c:v>
                </c:pt>
                <c:pt idx="41">
                  <c:v>2.2943361725053686</c:v>
                </c:pt>
                <c:pt idx="42">
                  <c:v>2.3308401642595786</c:v>
                </c:pt>
                <c:pt idx="43">
                  <c:v>2.333936416196404</c:v>
                </c:pt>
                <c:pt idx="44">
                  <c:v>2.1645533303943374</c:v>
                </c:pt>
                <c:pt idx="45">
                  <c:v>2.10979549206992</c:v>
                </c:pt>
                <c:pt idx="46">
                  <c:v>2.1439387085348867</c:v>
                </c:pt>
                <c:pt idx="47">
                  <c:v>2.1077339039701273</c:v>
                </c:pt>
                <c:pt idx="48">
                  <c:v>2.1074506039426426</c:v>
                </c:pt>
                <c:pt idx="49">
                  <c:v>2.052933369728269</c:v>
                </c:pt>
                <c:pt idx="50">
                  <c:v>1.9792191011022315</c:v>
                </c:pt>
                <c:pt idx="51">
                  <c:v>2.0257519257618406</c:v>
                </c:pt>
                <c:pt idx="52">
                  <c:v>2.05529673874675</c:v>
                </c:pt>
                <c:pt idx="53">
                  <c:v>2.207199556261786</c:v>
                </c:pt>
                <c:pt idx="54">
                  <c:v>2.255857830666686</c:v>
                </c:pt>
                <c:pt idx="55">
                  <c:v>2.271260041094718</c:v>
                </c:pt>
                <c:pt idx="56">
                  <c:v>2.3148276224826536</c:v>
                </c:pt>
                <c:pt idx="57">
                  <c:v>2.2863078616266175</c:v>
                </c:pt>
                <c:pt idx="58">
                  <c:v>2.131961459958019</c:v>
                </c:pt>
                <c:pt idx="59">
                  <c:v>2.234058221615565</c:v>
                </c:pt>
                <c:pt idx="60">
                  <c:v>2.2565030542994333</c:v>
                </c:pt>
                <c:pt idx="61">
                  <c:v>2.1864529460522784</c:v>
                </c:pt>
                <c:pt idx="62">
                  <c:v>2.0910999428800396</c:v>
                </c:pt>
                <c:pt idx="63">
                  <c:v>2.1926579040161265</c:v>
                </c:pt>
                <c:pt idx="64">
                  <c:v>2.1465194613917458</c:v>
                </c:pt>
                <c:pt idx="65">
                  <c:v>2.1142060664827986</c:v>
                </c:pt>
                <c:pt idx="66">
                  <c:v>2.1081871229139604</c:v>
                </c:pt>
                <c:pt idx="67">
                  <c:v>2.1686324560046204</c:v>
                </c:pt>
                <c:pt idx="68">
                  <c:v>2.165579897251017</c:v>
                </c:pt>
                <c:pt idx="69">
                  <c:v>2.222406832237664</c:v>
                </c:pt>
                <c:pt idx="70">
                  <c:v>2.1668809511111475</c:v>
                </c:pt>
                <c:pt idx="71">
                  <c:v>2.3175870720034846</c:v>
                </c:pt>
                <c:pt idx="72">
                  <c:v>2.5333044423834745</c:v>
                </c:pt>
                <c:pt idx="73">
                  <c:v>2.425766188337242</c:v>
                </c:pt>
                <c:pt idx="74">
                  <c:v>2.41285030340847</c:v>
                </c:pt>
                <c:pt idx="75">
                  <c:v>2.406369463568708</c:v>
                </c:pt>
                <c:pt idx="76">
                  <c:v>2.409593605518553</c:v>
                </c:pt>
                <c:pt idx="77">
                  <c:v>2.475638375862282</c:v>
                </c:pt>
                <c:pt idx="78">
                  <c:v>2.5020307019011296</c:v>
                </c:pt>
                <c:pt idx="79">
                  <c:v>2.622914365392039</c:v>
                </c:pt>
                <c:pt idx="80">
                  <c:v>2.531482680900718</c:v>
                </c:pt>
                <c:pt idx="81">
                  <c:v>2.5427053329195233</c:v>
                </c:pt>
                <c:pt idx="82">
                  <c:v>2.4888162806736576</c:v>
                </c:pt>
                <c:pt idx="83">
                  <c:v>2.4517512931938</c:v>
                </c:pt>
                <c:pt idx="84">
                  <c:v>2.484522363594601</c:v>
                </c:pt>
                <c:pt idx="85">
                  <c:v>2.3725883978388436</c:v>
                </c:pt>
                <c:pt idx="86">
                  <c:v>2.315019914251625</c:v>
                </c:pt>
                <c:pt idx="87">
                  <c:v>2.3535315770755387</c:v>
                </c:pt>
                <c:pt idx="88">
                  <c:v>2.4473142477344</c:v>
                </c:pt>
                <c:pt idx="89">
                  <c:v>2.404280005482861</c:v>
                </c:pt>
                <c:pt idx="90">
                  <c:v>2.600376072061702</c:v>
                </c:pt>
                <c:pt idx="91">
                  <c:v>2.6344097934450366</c:v>
                </c:pt>
                <c:pt idx="92">
                  <c:v>2.445890907989217</c:v>
                </c:pt>
                <c:pt idx="93">
                  <c:v>2.2411128998783996</c:v>
                </c:pt>
                <c:pt idx="94">
                  <c:v>2.157325503041696</c:v>
                </c:pt>
                <c:pt idx="95">
                  <c:v>2.1064347596128234</c:v>
                </c:pt>
                <c:pt idx="96">
                  <c:v>1.9521919438291981</c:v>
                </c:pt>
                <c:pt idx="97">
                  <c:v>1.9412444833573863</c:v>
                </c:pt>
                <c:pt idx="98">
                  <c:v>2.0110099257712655</c:v>
                </c:pt>
                <c:pt idx="99">
                  <c:v>2.1872463546964034</c:v>
                </c:pt>
                <c:pt idx="100">
                  <c:v>1.92943658044925</c:v>
                </c:pt>
                <c:pt idx="101">
                  <c:v>1.7989083581127014</c:v>
                </c:pt>
                <c:pt idx="102">
                  <c:v>1.760362215228425</c:v>
                </c:pt>
                <c:pt idx="103">
                  <c:v>1.733652953718498</c:v>
                </c:pt>
                <c:pt idx="104">
                  <c:v>1.7644541289797722</c:v>
                </c:pt>
              </c:numCache>
            </c:numRef>
          </c:xVal>
          <c:yVal>
            <c:numRef>
              <c:f>Sheet1!$B$2:$B$106</c:f>
              <c:numCache>
                <c:formatCode>General</c:formatCode>
                <c:ptCount val="105"/>
                <c:pt idx="0">
                  <c:v>0.11442865083776702</c:v>
                </c:pt>
                <c:pt idx="1">
                  <c:v>0.09743754518435216</c:v>
                </c:pt>
                <c:pt idx="2">
                  <c:v>0.09953818827708703</c:v>
                </c:pt>
                <c:pt idx="3">
                  <c:v>0.10040473225404732</c:v>
                </c:pt>
                <c:pt idx="4">
                  <c:v>0.09611865549455842</c:v>
                </c:pt>
                <c:pt idx="5">
                  <c:v>0.1103075982888572</c:v>
                </c:pt>
                <c:pt idx="6">
                  <c:v>0.1314075630252101</c:v>
                </c:pt>
                <c:pt idx="7">
                  <c:v>0.13787085514834205</c:v>
                </c:pt>
                <c:pt idx="8">
                  <c:v>0.13373118133731182</c:v>
                </c:pt>
                <c:pt idx="9">
                  <c:v>0.11350683890577508</c:v>
                </c:pt>
                <c:pt idx="10">
                  <c:v>0.12666291924302042</c:v>
                </c:pt>
                <c:pt idx="11">
                  <c:v>0.11759623692041854</c:v>
                </c:pt>
                <c:pt idx="12">
                  <c:v>0.10507695029188041</c:v>
                </c:pt>
                <c:pt idx="13">
                  <c:v>0.09638236070768419</c:v>
                </c:pt>
                <c:pt idx="14">
                  <c:v>0.07772963604852687</c:v>
                </c:pt>
                <c:pt idx="15">
                  <c:v>0.06701525984420019</c:v>
                </c:pt>
                <c:pt idx="16">
                  <c:v>0.0706832298136646</c:v>
                </c:pt>
                <c:pt idx="17">
                  <c:v>0.06622773044151821</c:v>
                </c:pt>
                <c:pt idx="18">
                  <c:v>0.06116907245962555</c:v>
                </c:pt>
                <c:pt idx="19">
                  <c:v>0.05707531239446133</c:v>
                </c:pt>
                <c:pt idx="20">
                  <c:v>0.05215141612200436</c:v>
                </c:pt>
                <c:pt idx="21">
                  <c:v>0.05249658002735978</c:v>
                </c:pt>
                <c:pt idx="22">
                  <c:v>0.06302931596091205</c:v>
                </c:pt>
                <c:pt idx="23">
                  <c:v>0.07139134966128191</c:v>
                </c:pt>
                <c:pt idx="24">
                  <c:v>0.0686456400742115</c:v>
                </c:pt>
                <c:pt idx="25">
                  <c:v>0.07831107903284013</c:v>
                </c:pt>
                <c:pt idx="26">
                  <c:v>0.09581050026515821</c:v>
                </c:pt>
                <c:pt idx="27">
                  <c:v>0.09501954784973653</c:v>
                </c:pt>
                <c:pt idx="28">
                  <c:v>0.1259420532574108</c:v>
                </c:pt>
                <c:pt idx="29">
                  <c:v>0.11884183232497839</c:v>
                </c:pt>
                <c:pt idx="30">
                  <c:v>0.11295938104448743</c:v>
                </c:pt>
                <c:pt idx="31">
                  <c:v>0.12624705242154907</c:v>
                </c:pt>
                <c:pt idx="32">
                  <c:v>0.13386494740413982</c:v>
                </c:pt>
                <c:pt idx="33">
                  <c:v>0.12249644656932421</c:v>
                </c:pt>
                <c:pt idx="34">
                  <c:v>0.12295776352414377</c:v>
                </c:pt>
                <c:pt idx="35">
                  <c:v>0.12253589681187636</c:v>
                </c:pt>
                <c:pt idx="36">
                  <c:v>0.10906063549327043</c:v>
                </c:pt>
                <c:pt idx="37">
                  <c:v>0.1065959059893859</c:v>
                </c:pt>
                <c:pt idx="38">
                  <c:v>0.10355839416058395</c:v>
                </c:pt>
                <c:pt idx="39">
                  <c:v>0.09640445909875962</c:v>
                </c:pt>
                <c:pt idx="40">
                  <c:v>0.09676180724433636</c:v>
                </c:pt>
                <c:pt idx="41">
                  <c:v>0.09957188233669383</c:v>
                </c:pt>
                <c:pt idx="42">
                  <c:v>0.09488527724665392</c:v>
                </c:pt>
                <c:pt idx="43">
                  <c:v>0.08785446762974852</c:v>
                </c:pt>
                <c:pt idx="44">
                  <c:v>0.09907453906306048</c:v>
                </c:pt>
                <c:pt idx="45">
                  <c:v>0.11837921937360482</c:v>
                </c:pt>
                <c:pt idx="46">
                  <c:v>0.12288985188538905</c:v>
                </c:pt>
                <c:pt idx="47">
                  <c:v>0.11924888688133187</c:v>
                </c:pt>
                <c:pt idx="48">
                  <c:v>0.11587757054041128</c:v>
                </c:pt>
                <c:pt idx="49">
                  <c:v>0.11834444054717642</c:v>
                </c:pt>
                <c:pt idx="50">
                  <c:v>0.11709765107688018</c:v>
                </c:pt>
                <c:pt idx="51">
                  <c:v>0.108970043756311</c:v>
                </c:pt>
                <c:pt idx="52">
                  <c:v>0.10820392824221797</c:v>
                </c:pt>
                <c:pt idx="53">
                  <c:v>0.09879579375848033</c:v>
                </c:pt>
                <c:pt idx="54">
                  <c:v>0.10079357840007297</c:v>
                </c:pt>
                <c:pt idx="55">
                  <c:v>0.09787273745101698</c:v>
                </c:pt>
                <c:pt idx="56">
                  <c:v>0.09971070395371263</c:v>
                </c:pt>
                <c:pt idx="57">
                  <c:v>0.0959442128887464</c:v>
                </c:pt>
                <c:pt idx="58">
                  <c:v>0.11341482283769147</c:v>
                </c:pt>
                <c:pt idx="59">
                  <c:v>0.10626689103054408</c:v>
                </c:pt>
                <c:pt idx="60">
                  <c:v>0.10875488686174624</c:v>
                </c:pt>
                <c:pt idx="61">
                  <c:v>0.11598173515981736</c:v>
                </c:pt>
                <c:pt idx="62">
                  <c:v>0.12879383550872778</c:v>
                </c:pt>
                <c:pt idx="63">
                  <c:v>0.13117330140676445</c:v>
                </c:pt>
                <c:pt idx="64">
                  <c:v>0.12549599315334942</c:v>
                </c:pt>
                <c:pt idx="65">
                  <c:v>0.12532938076416336</c:v>
                </c:pt>
                <c:pt idx="66">
                  <c:v>0.12645815722738799</c:v>
                </c:pt>
                <c:pt idx="67">
                  <c:v>0.11880046136101499</c:v>
                </c:pt>
                <c:pt idx="68">
                  <c:v>0.10874004492546457</c:v>
                </c:pt>
                <c:pt idx="69">
                  <c:v>0.10110032362459546</c:v>
                </c:pt>
                <c:pt idx="70">
                  <c:v>0.10213488597768074</c:v>
                </c:pt>
                <c:pt idx="71">
                  <c:v>0.10002670940170941</c:v>
                </c:pt>
                <c:pt idx="72">
                  <c:v>0.09430627446029542</c:v>
                </c:pt>
                <c:pt idx="73">
                  <c:v>0.09850826501814272</c:v>
                </c:pt>
                <c:pt idx="74">
                  <c:v>0.10236318407960199</c:v>
                </c:pt>
                <c:pt idx="75">
                  <c:v>0.11290322580645161</c:v>
                </c:pt>
                <c:pt idx="76">
                  <c:v>0.11961189756640687</c:v>
                </c:pt>
                <c:pt idx="77">
                  <c:v>0.11140065146579804</c:v>
                </c:pt>
                <c:pt idx="78">
                  <c:v>0.11964912280701755</c:v>
                </c:pt>
                <c:pt idx="79">
                  <c:v>0.10746552543984783</c:v>
                </c:pt>
                <c:pt idx="80">
                  <c:v>0.10299056452902607</c:v>
                </c:pt>
                <c:pt idx="81">
                  <c:v>0.10344377771980172</c:v>
                </c:pt>
                <c:pt idx="82">
                  <c:v>0.10872576177285319</c:v>
                </c:pt>
                <c:pt idx="83">
                  <c:v>0.10953729933899906</c:v>
                </c:pt>
                <c:pt idx="84">
                  <c:v>0.10926960878782038</c:v>
                </c:pt>
                <c:pt idx="85">
                  <c:v>0.11450509096978802</c:v>
                </c:pt>
                <c:pt idx="86">
                  <c:v>0.1290824261275272</c:v>
                </c:pt>
                <c:pt idx="87">
                  <c:v>0.1292243946652855</c:v>
                </c:pt>
                <c:pt idx="88">
                  <c:v>0.11802644308287649</c:v>
                </c:pt>
                <c:pt idx="89">
                  <c:v>0.13193377709506743</c:v>
                </c:pt>
                <c:pt idx="90">
                  <c:v>0.11248047214025343</c:v>
                </c:pt>
                <c:pt idx="91">
                  <c:v>0.1077593430534607</c:v>
                </c:pt>
                <c:pt idx="92">
                  <c:v>0.11562757484207635</c:v>
                </c:pt>
                <c:pt idx="93">
                  <c:v>0.11568123393316196</c:v>
                </c:pt>
                <c:pt idx="94">
                  <c:v>0.11905133406147606</c:v>
                </c:pt>
                <c:pt idx="95">
                  <c:v>0.11781349026708918</c:v>
                </c:pt>
                <c:pt idx="96">
                  <c:v>0.11486486486486487</c:v>
                </c:pt>
                <c:pt idx="97">
                  <c:v>0.11742006615214995</c:v>
                </c:pt>
                <c:pt idx="98">
                  <c:v>0.11301757521596664</c:v>
                </c:pt>
                <c:pt idx="99">
                  <c:v>0.11469950042892466</c:v>
                </c:pt>
                <c:pt idx="100">
                  <c:v>0.1166948631190403</c:v>
                </c:pt>
                <c:pt idx="101">
                  <c:v>0.11547114875595553</c:v>
                </c:pt>
                <c:pt idx="102">
                  <c:v>0.11611353323249399</c:v>
                </c:pt>
                <c:pt idx="103">
                  <c:v>0.1138481484482619</c:v>
                </c:pt>
                <c:pt idx="104">
                  <c:v>0.1121194379391100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7494179483886587</c:v>
                </c:pt>
                <c:pt idx="1">
                  <c:v>1.7735734735247382</c:v>
                </c:pt>
                <c:pt idx="2">
                  <c:v>1.732978238924811</c:v>
                </c:pt>
                <c:pt idx="3">
                  <c:v>1.6149659880288796</c:v>
                </c:pt>
                <c:pt idx="4">
                  <c:v>1.7187573768026305</c:v>
                </c:pt>
                <c:pt idx="5">
                  <c:v>1.7026958256006095</c:v>
                </c:pt>
                <c:pt idx="6">
                  <c:v>1.7062400899372618</c:v>
                </c:pt>
                <c:pt idx="7">
                  <c:v>1.6000126241154766</c:v>
                </c:pt>
                <c:pt idx="8">
                  <c:v>1.7153927931919155</c:v>
                </c:pt>
                <c:pt idx="9">
                  <c:v>1.7196693922939255</c:v>
                </c:pt>
                <c:pt idx="10">
                  <c:v>1.6747373632701432</c:v>
                </c:pt>
                <c:pt idx="11">
                  <c:v>1.7572594051928934</c:v>
                </c:pt>
                <c:pt idx="12">
                  <c:v>1.7410194217193489</c:v>
                </c:pt>
                <c:pt idx="13">
                  <c:v>1.6797604638005563</c:v>
                </c:pt>
                <c:pt idx="14">
                  <c:v>1.6715268920010729</c:v>
                </c:pt>
                <c:pt idx="15">
                  <c:v>1.759116543190182</c:v>
                </c:pt>
                <c:pt idx="16">
                  <c:v>1.7333960342409485</c:v>
                </c:pt>
                <c:pt idx="17">
                  <c:v>1.6185946684343275</c:v>
                </c:pt>
                <c:pt idx="18">
                  <c:v>1.7177448704830056</c:v>
                </c:pt>
                <c:pt idx="19">
                  <c:v>1.9835932002234333</c:v>
                </c:pt>
                <c:pt idx="20">
                  <c:v>1.9207520037081471</c:v>
                </c:pt>
                <c:pt idx="21">
                  <c:v>1.875199543701375</c:v>
                </c:pt>
                <c:pt idx="22">
                  <c:v>1.8190630187451728</c:v>
                </c:pt>
                <c:pt idx="23">
                  <c:v>1.793610029580049</c:v>
                </c:pt>
                <c:pt idx="24">
                  <c:v>1.7969683388775803</c:v>
                </c:pt>
                <c:pt idx="25">
                  <c:v>1.7671178505032794</c:v>
                </c:pt>
                <c:pt idx="26">
                  <c:v>1.6923048609665396</c:v>
                </c:pt>
                <c:pt idx="27">
                  <c:v>1.7040641638317127</c:v>
                </c:pt>
                <c:pt idx="28">
                  <c:v>1.7624781478062934</c:v>
                </c:pt>
                <c:pt idx="29">
                  <c:v>1.7593512217969067</c:v>
                </c:pt>
                <c:pt idx="30">
                  <c:v>1.7768181023290162</c:v>
                </c:pt>
                <c:pt idx="31">
                  <c:v>1.7537417386750989</c:v>
                </c:pt>
                <c:pt idx="32">
                  <c:v>1.7451072239418381</c:v>
                </c:pt>
                <c:pt idx="33">
                  <c:v>1.6916270182015054</c:v>
                </c:pt>
                <c:pt idx="34">
                  <c:v>1.7249837006053566</c:v>
                </c:pt>
                <c:pt idx="35">
                  <c:v>1.7288110432865773</c:v>
                </c:pt>
                <c:pt idx="36">
                  <c:v>1.8130444763678621</c:v>
                </c:pt>
                <c:pt idx="37">
                  <c:v>1.815294995344798</c:v>
                </c:pt>
                <c:pt idx="38">
                  <c:v>1.8391588634787697</c:v>
                </c:pt>
                <c:pt idx="39">
                  <c:v>1.8495585073607765</c:v>
                </c:pt>
                <c:pt idx="40">
                  <c:v>1.8163256744711482</c:v>
                </c:pt>
                <c:pt idx="41">
                  <c:v>1.8629028924332838</c:v>
                </c:pt>
                <c:pt idx="42">
                  <c:v>1.8752659164726058</c:v>
                </c:pt>
                <c:pt idx="43">
                  <c:v>1.9179857885544334</c:v>
                </c:pt>
                <c:pt idx="44">
                  <c:v>1.8129220284899752</c:v>
                </c:pt>
                <c:pt idx="45">
                  <c:v>1.8071830432075058</c:v>
                </c:pt>
                <c:pt idx="46">
                  <c:v>1.7526366330881111</c:v>
                </c:pt>
                <c:pt idx="47">
                  <c:v>1.7754763129068942</c:v>
                </c:pt>
                <c:pt idx="48">
                  <c:v>1.7514022497758084</c:v>
                </c:pt>
                <c:pt idx="49">
                  <c:v>1.81583164278399</c:v>
                </c:pt>
                <c:pt idx="50">
                  <c:v>1.8020211379364708</c:v>
                </c:pt>
                <c:pt idx="51">
                  <c:v>1.8326412709282198</c:v>
                </c:pt>
              </c:numCache>
            </c:numRef>
          </c:xVal>
          <c:yVal>
            <c:numRef>
              <c:f>Sheet1!$B$109:$B$160</c:f>
              <c:numCache>
                <c:formatCode>General</c:formatCode>
                <c:ptCount val="52"/>
                <c:pt idx="0">
                  <c:v>0.11257718007273958</c:v>
                </c:pt>
                <c:pt idx="1">
                  <c:v>0.10940261576528809</c:v>
                </c:pt>
                <c:pt idx="2">
                  <c:v>0.1308103015075377</c:v>
                </c:pt>
                <c:pt idx="3">
                  <c:v>0.1488478136959531</c:v>
                </c:pt>
                <c:pt idx="4">
                  <c:v>0.12364760432766615</c:v>
                </c:pt>
                <c:pt idx="5">
                  <c:v>0.13022772534418564</c:v>
                </c:pt>
                <c:pt idx="6">
                  <c:v>0.14686032863849766</c:v>
                </c:pt>
                <c:pt idx="7">
                  <c:v>0.1579897682816732</c:v>
                </c:pt>
                <c:pt idx="8">
                  <c:v>0.13467244921250857</c:v>
                </c:pt>
                <c:pt idx="9">
                  <c:v>0.14012738853503184</c:v>
                </c:pt>
                <c:pt idx="10">
                  <c:v>0.14955798231929276</c:v>
                </c:pt>
                <c:pt idx="11">
                  <c:v>0.1430824695808923</c:v>
                </c:pt>
                <c:pt idx="12">
                  <c:v>0.1398525975193241</c:v>
                </c:pt>
                <c:pt idx="13">
                  <c:v>0.13342029255566942</c:v>
                </c:pt>
                <c:pt idx="14">
                  <c:v>0.13914294522659543</c:v>
                </c:pt>
                <c:pt idx="15">
                  <c:v>0.13644798602772623</c:v>
                </c:pt>
                <c:pt idx="16">
                  <c:v>0.13547396699501088</c:v>
                </c:pt>
                <c:pt idx="17">
                  <c:v>0.15477145148356056</c:v>
                </c:pt>
                <c:pt idx="18">
                  <c:v>0.13821138211382114</c:v>
                </c:pt>
                <c:pt idx="19">
                  <c:v>0.11728395061728394</c:v>
                </c:pt>
                <c:pt idx="20">
                  <c:v>0.10994679993551508</c:v>
                </c:pt>
                <c:pt idx="21">
                  <c:v>0.1154308617234469</c:v>
                </c:pt>
                <c:pt idx="22">
                  <c:v>0.11927144535840188</c:v>
                </c:pt>
                <c:pt idx="23">
                  <c:v>0.12002462043496102</c:v>
                </c:pt>
                <c:pt idx="24">
                  <c:v>0.12256628963471167</c:v>
                </c:pt>
                <c:pt idx="25">
                  <c:v>0.1303653423837093</c:v>
                </c:pt>
                <c:pt idx="26">
                  <c:v>0.12360939431396786</c:v>
                </c:pt>
                <c:pt idx="27">
                  <c:v>0.1276767026243761</c:v>
                </c:pt>
                <c:pt idx="28">
                  <c:v>0.117740308401787</c:v>
                </c:pt>
                <c:pt idx="29">
                  <c:v>0.121280276816609</c:v>
                </c:pt>
                <c:pt idx="30">
                  <c:v>0.1233591080740874</c:v>
                </c:pt>
                <c:pt idx="31">
                  <c:v>0.12526215443279315</c:v>
                </c:pt>
                <c:pt idx="32">
                  <c:v>0.12271152894606631</c:v>
                </c:pt>
                <c:pt idx="33">
                  <c:v>0.14164876476906552</c:v>
                </c:pt>
                <c:pt idx="34">
                  <c:v>0.15059890684963367</c:v>
                </c:pt>
                <c:pt idx="35">
                  <c:v>0.1454861614258803</c:v>
                </c:pt>
                <c:pt idx="36">
                  <c:v>0.13908974904296045</c:v>
                </c:pt>
                <c:pt idx="37">
                  <c:v>0.13500665525765354</c:v>
                </c:pt>
                <c:pt idx="38">
                  <c:v>0.12939698492462312</c:v>
                </c:pt>
                <c:pt idx="39">
                  <c:v>0.1296499764558154</c:v>
                </c:pt>
                <c:pt idx="40">
                  <c:v>0.1229709035222052</c:v>
                </c:pt>
                <c:pt idx="41">
                  <c:v>0.12968886304158186</c:v>
                </c:pt>
                <c:pt idx="42">
                  <c:v>0.12551406481329166</c:v>
                </c:pt>
                <c:pt idx="43">
                  <c:v>0.11495445635881471</c:v>
                </c:pt>
                <c:pt idx="44">
                  <c:v>0.1150932400932401</c:v>
                </c:pt>
                <c:pt idx="45">
                  <c:v>0.12943694192310531</c:v>
                </c:pt>
                <c:pt idx="46">
                  <c:v>0.15421835136799508</c:v>
                </c:pt>
                <c:pt idx="47">
                  <c:v>0.14894138804872067</c:v>
                </c:pt>
                <c:pt idx="48">
                  <c:v>0.14883913764510778</c:v>
                </c:pt>
                <c:pt idx="49">
                  <c:v>0.15145283269205254</c:v>
                </c:pt>
                <c:pt idx="50">
                  <c:v>0.1425160291841698</c:v>
                </c:pt>
                <c:pt idx="51">
                  <c:v>0.1365880416895227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6345079275049545</c:v>
                </c:pt>
              </c:numCache>
            </c:numRef>
          </c:xVal>
          <c:yVal>
            <c:numRef>
              <c:f>Sheet1!$B$163:$B$164</c:f>
              <c:numCache>
                <c:formatCode>General</c:formatCode>
                <c:ptCount val="2"/>
                <c:pt idx="0">
                  <c:v>0.14484901030271322</c:v>
                </c:pt>
                <c:pt idx="1">
                  <c:v>0.144849010302713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6345079275049545</c:v>
                </c:pt>
                <c:pt idx="1">
                  <c:v>1.6345079275049545</c:v>
                </c:pt>
              </c:numCache>
            </c:numRef>
          </c:xVal>
          <c:yVal>
            <c:numRef>
              <c:f>Sheet1!$B$167:$B$168</c:f>
              <c:numCache>
                <c:formatCode>General</c:formatCode>
                <c:ptCount val="2"/>
                <c:pt idx="0">
                  <c:v>0.144849010302713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6345079275049545</c:v>
                </c:pt>
              </c:numCache>
            </c:numRef>
          </c:xVal>
          <c:yVal>
            <c:numRef>
              <c:f>Sheet1!$B$171:$B$172</c:f>
              <c:numCache>
                <c:formatCode>General</c:formatCode>
                <c:ptCount val="2"/>
                <c:pt idx="0">
                  <c:v>0.14484901030271322</c:v>
                </c:pt>
                <c:pt idx="1">
                  <c:v>0.1448490103027132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6345079275049545</c:v>
                </c:pt>
                <c:pt idx="1">
                  <c:v>1.6345079275049545</c:v>
                </c:pt>
              </c:numCache>
            </c:numRef>
          </c:xVal>
          <c:yVal>
            <c:numRef>
              <c:f>Sheet1!$B$175:$B$176</c:f>
              <c:numCache>
                <c:formatCode>General</c:formatCode>
                <c:ptCount val="2"/>
                <c:pt idx="0">
                  <c:v>0.144849010302713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43896240819457</c:v>
                </c:pt>
              </c:numCache>
            </c:numRef>
          </c:xVal>
          <c:yVal>
            <c:numRef>
              <c:f>Sheet1!$B$179:$B$180</c:f>
              <c:numCache>
                <c:formatCode>General</c:formatCode>
                <c:ptCount val="2"/>
                <c:pt idx="0">
                  <c:v>0.13460494052581715</c:v>
                </c:pt>
                <c:pt idx="1">
                  <c:v>0.1346049405258171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43896240819457</c:v>
                </c:pt>
                <c:pt idx="1">
                  <c:v>1.743896240819457</c:v>
                </c:pt>
              </c:numCache>
            </c:numRef>
          </c:xVal>
          <c:yVal>
            <c:numRef>
              <c:f>Sheet1!$B$183:$B$184</c:f>
              <c:numCache>
                <c:formatCode>General</c:formatCode>
                <c:ptCount val="2"/>
                <c:pt idx="0">
                  <c:v>0.134604940525817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7494179483886587</c:v>
                </c:pt>
                <c:pt idx="1">
                  <c:v>1.7735734735247382</c:v>
                </c:pt>
                <c:pt idx="2">
                  <c:v>1.732978238924811</c:v>
                </c:pt>
                <c:pt idx="3">
                  <c:v>1.6149659880288796</c:v>
                </c:pt>
                <c:pt idx="4">
                  <c:v>1.7187573768026305</c:v>
                </c:pt>
                <c:pt idx="5">
                  <c:v>1.7026958256006095</c:v>
                </c:pt>
                <c:pt idx="6">
                  <c:v>1.7062400899372618</c:v>
                </c:pt>
                <c:pt idx="7">
                  <c:v>1.6000126241154766</c:v>
                </c:pt>
                <c:pt idx="8">
                  <c:v>1.7153927931919155</c:v>
                </c:pt>
                <c:pt idx="9">
                  <c:v>1.7196693922939255</c:v>
                </c:pt>
                <c:pt idx="10">
                  <c:v>1.6747373632701432</c:v>
                </c:pt>
                <c:pt idx="11">
                  <c:v>1.7572594051928934</c:v>
                </c:pt>
                <c:pt idx="12">
                  <c:v>1.7410194217193489</c:v>
                </c:pt>
                <c:pt idx="13">
                  <c:v>1.6797604638005563</c:v>
                </c:pt>
                <c:pt idx="14">
                  <c:v>1.6715268920010729</c:v>
                </c:pt>
                <c:pt idx="15">
                  <c:v>1.759116543190182</c:v>
                </c:pt>
                <c:pt idx="16">
                  <c:v>1.7333960342409485</c:v>
                </c:pt>
                <c:pt idx="17">
                  <c:v>1.6185946684343275</c:v>
                </c:pt>
                <c:pt idx="18">
                  <c:v>1.7177448704830056</c:v>
                </c:pt>
                <c:pt idx="19">
                  <c:v>1.9835932002234333</c:v>
                </c:pt>
                <c:pt idx="20">
                  <c:v>1.9207520037081471</c:v>
                </c:pt>
                <c:pt idx="21">
                  <c:v>1.875199543701375</c:v>
                </c:pt>
                <c:pt idx="22">
                  <c:v>1.8190630187451728</c:v>
                </c:pt>
                <c:pt idx="23">
                  <c:v>1.793610029580049</c:v>
                </c:pt>
                <c:pt idx="24">
                  <c:v>1.7969683388775803</c:v>
                </c:pt>
                <c:pt idx="25">
                  <c:v>1.7671178505032794</c:v>
                </c:pt>
                <c:pt idx="26">
                  <c:v>1.6923048609665396</c:v>
                </c:pt>
                <c:pt idx="27">
                  <c:v>1.7040641638317127</c:v>
                </c:pt>
                <c:pt idx="28">
                  <c:v>1.7624781478062934</c:v>
                </c:pt>
                <c:pt idx="29">
                  <c:v>1.7593512217969067</c:v>
                </c:pt>
                <c:pt idx="30">
                  <c:v>1.7768181023290162</c:v>
                </c:pt>
                <c:pt idx="31">
                  <c:v>1.7537417386750989</c:v>
                </c:pt>
                <c:pt idx="32">
                  <c:v>1.7451072239418381</c:v>
                </c:pt>
                <c:pt idx="33">
                  <c:v>1.6916270182015054</c:v>
                </c:pt>
                <c:pt idx="34">
                  <c:v>1.7249837006053566</c:v>
                </c:pt>
                <c:pt idx="35">
                  <c:v>1.7288110432865773</c:v>
                </c:pt>
                <c:pt idx="36">
                  <c:v>1.8130444763678621</c:v>
                </c:pt>
                <c:pt idx="37">
                  <c:v>1.815294995344798</c:v>
                </c:pt>
                <c:pt idx="38">
                  <c:v>1.8391588634787697</c:v>
                </c:pt>
                <c:pt idx="39">
                  <c:v>1.8495585073607765</c:v>
                </c:pt>
                <c:pt idx="40">
                  <c:v>1.8163256744711482</c:v>
                </c:pt>
                <c:pt idx="41">
                  <c:v>1.8629028924332838</c:v>
                </c:pt>
                <c:pt idx="42">
                  <c:v>1.8752659164726058</c:v>
                </c:pt>
                <c:pt idx="43">
                  <c:v>1.9179857885544334</c:v>
                </c:pt>
                <c:pt idx="44">
                  <c:v>1.8129220284899752</c:v>
                </c:pt>
                <c:pt idx="45">
                  <c:v>1.8071830432075058</c:v>
                </c:pt>
                <c:pt idx="46">
                  <c:v>1.7526366330881111</c:v>
                </c:pt>
                <c:pt idx="47">
                  <c:v>1.7754763129068942</c:v>
                </c:pt>
                <c:pt idx="48">
                  <c:v>1.7514022497758084</c:v>
                </c:pt>
                <c:pt idx="49">
                  <c:v>1.81583164278399</c:v>
                </c:pt>
                <c:pt idx="50">
                  <c:v>1.8020211379364708</c:v>
                </c:pt>
                <c:pt idx="51">
                  <c:v>1.8326412709282198</c:v>
                </c:pt>
                <c:pt idx="52">
                  <c:v>1.6345079275049545</c:v>
                </c:pt>
                <c:pt idx="53">
                  <c:v>1.6345079275049545</c:v>
                </c:pt>
                <c:pt idx="54">
                  <c:v>1.743896240819457</c:v>
                </c:pt>
              </c:numCache>
            </c:numRef>
          </c:xVal>
          <c:yVal>
            <c:numRef>
              <c:f>Sheet1!$B$187:$B$241</c:f>
              <c:numCache>
                <c:formatCode>General</c:formatCode>
                <c:ptCount val="55"/>
                <c:pt idx="0">
                  <c:v>0.13408783996989315</c:v>
                </c:pt>
                <c:pt idx="1">
                  <c:v>0.13182570722925824</c:v>
                </c:pt>
                <c:pt idx="2">
                  <c:v>0.13562739685450623</c:v>
                </c:pt>
                <c:pt idx="3">
                  <c:v>0.14667908689410583</c:v>
                </c:pt>
                <c:pt idx="4">
                  <c:v>0.13695916164228927</c:v>
                </c:pt>
                <c:pt idx="5">
                  <c:v>0.13846330450959574</c:v>
                </c:pt>
                <c:pt idx="6">
                  <c:v>0.13813138887736506</c:v>
                </c:pt>
                <c:pt idx="7">
                  <c:v>0.1480794494985442</c:v>
                </c:pt>
                <c:pt idx="8">
                  <c:v>0.13727425041396885</c:v>
                </c:pt>
                <c:pt idx="9">
                  <c:v>0.13687375260683252</c:v>
                </c:pt>
                <c:pt idx="10">
                  <c:v>0.14108157725089457</c:v>
                </c:pt>
                <c:pt idx="11">
                  <c:v>0.1333534979892819</c:v>
                </c:pt>
                <c:pt idx="12">
                  <c:v>0.13487435080104723</c:v>
                </c:pt>
                <c:pt idx="13">
                  <c:v>0.14061117057973607</c:v>
                </c:pt>
                <c:pt idx="14">
                  <c:v>0.14138223360714094</c:v>
                </c:pt>
                <c:pt idx="15">
                  <c:v>0.13317957949055842</c:v>
                </c:pt>
                <c:pt idx="16">
                  <c:v>0.1355882708798816</c:v>
                </c:pt>
                <c:pt idx="17">
                  <c:v>0.14633926580952075</c:v>
                </c:pt>
                <c:pt idx="18">
                  <c:v>0.13705398150991047</c:v>
                </c:pt>
                <c:pt idx="19">
                  <c:v>0.11215763968496381</c:v>
                </c:pt>
                <c:pt idx="20">
                  <c:v>0.11804263399980788</c:v>
                </c:pt>
                <c:pt idx="21">
                  <c:v>0.12230856117867384</c:v>
                </c:pt>
                <c:pt idx="22">
                  <c:v>0.12756567193629592</c:v>
                </c:pt>
                <c:pt idx="23">
                  <c:v>0.12994931045431976</c:v>
                </c:pt>
                <c:pt idx="24">
                  <c:v>0.12963480926370902</c:v>
                </c:pt>
                <c:pt idx="25">
                  <c:v>0.1324302677228004</c:v>
                </c:pt>
                <c:pt idx="26">
                  <c:v>0.13943640450113348</c:v>
                </c:pt>
                <c:pt idx="27">
                  <c:v>0.13833516145762714</c:v>
                </c:pt>
                <c:pt idx="28">
                  <c:v>0.13286476969775385</c:v>
                </c:pt>
                <c:pt idx="29">
                  <c:v>0.13315760215175879</c:v>
                </c:pt>
                <c:pt idx="30">
                  <c:v>0.13152185206535616</c:v>
                </c:pt>
                <c:pt idx="31">
                  <c:v>0.13368292277121938</c:v>
                </c:pt>
                <c:pt idx="32">
                  <c:v>0.13449153357009738</c:v>
                </c:pt>
                <c:pt idx="33">
                  <c:v>0.13949988357282198</c:v>
                </c:pt>
                <c:pt idx="34">
                  <c:v>0.13637607471502958</c:v>
                </c:pt>
                <c:pt idx="35">
                  <c:v>0.1360176491730451</c:v>
                </c:pt>
                <c:pt idx="36">
                  <c:v>0.12812930040994386</c:v>
                </c:pt>
                <c:pt idx="37">
                  <c:v>0.12791854230667485</c:v>
                </c:pt>
                <c:pt idx="38">
                  <c:v>0.12568372285564086</c:v>
                </c:pt>
                <c:pt idx="39">
                  <c:v>0.12470981006409931</c:v>
                </c:pt>
                <c:pt idx="40">
                  <c:v>0.12782202057991995</c:v>
                </c:pt>
                <c:pt idx="41">
                  <c:v>0.12346012618407176</c:v>
                </c:pt>
                <c:pt idx="42">
                  <c:v>0.1223023454570929</c:v>
                </c:pt>
                <c:pt idx="43">
                  <c:v>0.11830168636284305</c:v>
                </c:pt>
                <c:pt idx="44">
                  <c:v>0.12814076749054049</c:v>
                </c:pt>
                <c:pt idx="45">
                  <c:v>0.12867821581477937</c:v>
                </c:pt>
                <c:pt idx="46">
                  <c:v>0.13378641443683625</c:v>
                </c:pt>
                <c:pt idx="47">
                  <c:v>0.13164750885674117</c:v>
                </c:pt>
                <c:pt idx="48">
                  <c:v>0.1339020127891603</c:v>
                </c:pt>
                <c:pt idx="49">
                  <c:v>0.12786828598910216</c:v>
                </c:pt>
                <c:pt idx="50">
                  <c:v>0.1291616213649333</c:v>
                </c:pt>
                <c:pt idx="51">
                  <c:v>0.12629408671300513</c:v>
                </c:pt>
                <c:pt idx="52">
                  <c:v>0.14484901030271322</c:v>
                </c:pt>
                <c:pt idx="53">
                  <c:v>0.14484901030271322</c:v>
                </c:pt>
                <c:pt idx="54">
                  <c:v>0.134604940525817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958772193800782"/>
          <c:min val="0.04172113289760348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995490351098463</c:v>
                </c:pt>
                <c:pt idx="1">
                  <c:v>0.1053770920974039</c:v>
                </c:pt>
                <c:pt idx="2">
                  <c:v>0.10471634195433856</c:v>
                </c:pt>
                <c:pt idx="3">
                  <c:v>0.10622899906091944</c:v>
                </c:pt>
                <c:pt idx="4">
                  <c:v>0.098608929491286</c:v>
                </c:pt>
                <c:pt idx="5">
                  <c:v>0.09511271440564481</c:v>
                </c:pt>
                <c:pt idx="6">
                  <c:v>0.09685993301583327</c:v>
                </c:pt>
                <c:pt idx="7">
                  <c:v>0.09321103781703098</c:v>
                </c:pt>
                <c:pt idx="8">
                  <c:v>0.09431128893175578</c:v>
                </c:pt>
                <c:pt idx="9">
                  <c:v>0.09130415592903421</c:v>
                </c:pt>
                <c:pt idx="10">
                  <c:v>0.0851947374808371</c:v>
                </c:pt>
                <c:pt idx="11">
                  <c:v>0.08608831441409036</c:v>
                </c:pt>
                <c:pt idx="12">
                  <c:v>0.0863508490110679</c:v>
                </c:pt>
                <c:pt idx="13">
                  <c:v>0.08457922211056987</c:v>
                </c:pt>
                <c:pt idx="14">
                  <c:v>0.09347347054789304</c:v>
                </c:pt>
                <c:pt idx="15">
                  <c:v>0.0900855727179585</c:v>
                </c:pt>
                <c:pt idx="16">
                  <c:v>0.08928250898630574</c:v>
                </c:pt>
                <c:pt idx="17">
                  <c:v>0.08675706333102623</c:v>
                </c:pt>
                <c:pt idx="18">
                  <c:v>0.0896699632695143</c:v>
                </c:pt>
                <c:pt idx="19">
                  <c:v>0.09220866955234115</c:v>
                </c:pt>
                <c:pt idx="20">
                  <c:v>0.09349398639036947</c:v>
                </c:pt>
                <c:pt idx="21">
                  <c:v>0.09056697331365243</c:v>
                </c:pt>
                <c:pt idx="22">
                  <c:v>0.08929344719124695</c:v>
                </c:pt>
                <c:pt idx="23">
                  <c:v>0.09246026577945905</c:v>
                </c:pt>
                <c:pt idx="24">
                  <c:v>0.08916671761378442</c:v>
                </c:pt>
                <c:pt idx="25">
                  <c:v>0.0900415239066836</c:v>
                </c:pt>
                <c:pt idx="26">
                  <c:v>0.09856403704369404</c:v>
                </c:pt>
                <c:pt idx="27">
                  <c:v>0.09676463419592106</c:v>
                </c:pt>
                <c:pt idx="28">
                  <c:v>0.09767035915055858</c:v>
                </c:pt>
                <c:pt idx="29">
                  <c:v>0.09963545436886825</c:v>
                </c:pt>
                <c:pt idx="30">
                  <c:v>0.09471519216494778</c:v>
                </c:pt>
                <c:pt idx="31">
                  <c:v>0.09707491462455088</c:v>
                </c:pt>
                <c:pt idx="32">
                  <c:v>0.09324365605417054</c:v>
                </c:pt>
                <c:pt idx="33">
                  <c:v>0.10138718833943383</c:v>
                </c:pt>
                <c:pt idx="34">
                  <c:v>0.09506141362620223</c:v>
                </c:pt>
                <c:pt idx="35">
                  <c:v>0.10059800675036448</c:v>
                </c:pt>
                <c:pt idx="36">
                  <c:v>0.09853824710942677</c:v>
                </c:pt>
                <c:pt idx="37">
                  <c:v>0.10111565308270816</c:v>
                </c:pt>
                <c:pt idx="38">
                  <c:v>0.10322126879664094</c:v>
                </c:pt>
                <c:pt idx="39">
                  <c:v>0.10785162145135735</c:v>
                </c:pt>
                <c:pt idx="40">
                  <c:v>0.11121025183976123</c:v>
                </c:pt>
                <c:pt idx="41">
                  <c:v>0.11297027747494837</c:v>
                </c:pt>
                <c:pt idx="42">
                  <c:v>0.11026255070882954</c:v>
                </c:pt>
                <c:pt idx="43">
                  <c:v>0.1133606863332913</c:v>
                </c:pt>
                <c:pt idx="44">
                  <c:v>0.11364502600389914</c:v>
                </c:pt>
                <c:pt idx="45">
                  <c:v>0.11759664376411283</c:v>
                </c:pt>
                <c:pt idx="46">
                  <c:v>0.11444770389253263</c:v>
                </c:pt>
                <c:pt idx="47">
                  <c:v>0.11146502072060366</c:v>
                </c:pt>
                <c:pt idx="48">
                  <c:v>0.11335589785070456</c:v>
                </c:pt>
                <c:pt idx="49">
                  <c:v>0.11581434993024771</c:v>
                </c:pt>
                <c:pt idx="50">
                  <c:v>0.10566300996051287</c:v>
                </c:pt>
                <c:pt idx="51">
                  <c:v>0.1040438760417736</c:v>
                </c:pt>
                <c:pt idx="52">
                  <c:v>0.10386444592998464</c:v>
                </c:pt>
                <c:pt idx="53">
                  <c:v>0.12276963131445703</c:v>
                </c:pt>
                <c:pt idx="54">
                  <c:v>0.12122056222604358</c:v>
                </c:pt>
                <c:pt idx="55">
                  <c:v>0.11988293019117828</c:v>
                </c:pt>
                <c:pt idx="56">
                  <c:v>0.11868298967292994</c:v>
                </c:pt>
                <c:pt idx="57">
                  <c:v>0.11792541345075032</c:v>
                </c:pt>
                <c:pt idx="58">
                  <c:v>0.11723288714316886</c:v>
                </c:pt>
                <c:pt idx="59">
                  <c:v>0.12023816380756215</c:v>
                </c:pt>
                <c:pt idx="60">
                  <c:v>0.12084237780562089</c:v>
                </c:pt>
                <c:pt idx="61">
                  <c:v>0.11235482297122962</c:v>
                </c:pt>
                <c:pt idx="62">
                  <c:v>0.1007574396120863</c:v>
                </c:pt>
                <c:pt idx="63">
                  <c:v>0.10293710354019295</c:v>
                </c:pt>
                <c:pt idx="64">
                  <c:v>0.1069620262792252</c:v>
                </c:pt>
                <c:pt idx="65">
                  <c:v>0.10642365693841131</c:v>
                </c:pt>
                <c:pt idx="66">
                  <c:v>0.11640419282940115</c:v>
                </c:pt>
                <c:pt idx="67">
                  <c:v>0.11548774402877732</c:v>
                </c:pt>
                <c:pt idx="68">
                  <c:v>0.11411999337506668</c:v>
                </c:pt>
                <c:pt idx="69">
                  <c:v>0.11466913922002356</c:v>
                </c:pt>
                <c:pt idx="70">
                  <c:v>0.1127673401338789</c:v>
                </c:pt>
                <c:pt idx="71">
                  <c:v>0.11170149487349254</c:v>
                </c:pt>
                <c:pt idx="72">
                  <c:v>0.11363653858121714</c:v>
                </c:pt>
                <c:pt idx="73">
                  <c:v>0.11070398542488198</c:v>
                </c:pt>
                <c:pt idx="74">
                  <c:v>0.11255242573242538</c:v>
                </c:pt>
                <c:pt idx="75">
                  <c:v>0.10782332079296801</c:v>
                </c:pt>
                <c:pt idx="76">
                  <c:v>0.10343476271582432</c:v>
                </c:pt>
                <c:pt idx="77">
                  <c:v>0.10376470514220734</c:v>
                </c:pt>
                <c:pt idx="78">
                  <c:v>0.10296301268016401</c:v>
                </c:pt>
                <c:pt idx="79">
                  <c:v>0.10514758854191385</c:v>
                </c:pt>
                <c:pt idx="80">
                  <c:v>0.1064652789943642</c:v>
                </c:pt>
                <c:pt idx="81">
                  <c:v>0.11354735477122059</c:v>
                </c:pt>
                <c:pt idx="82">
                  <c:v>0.11078928108224563</c:v>
                </c:pt>
                <c:pt idx="83">
                  <c:v>0.11144783462492537</c:v>
                </c:pt>
                <c:pt idx="84">
                  <c:v>0.11270427900152934</c:v>
                </c:pt>
                <c:pt idx="85">
                  <c:v>0.1108539928259009</c:v>
                </c:pt>
                <c:pt idx="86">
                  <c:v>0.11184570933248306</c:v>
                </c:pt>
                <c:pt idx="87">
                  <c:v>0.11077292677810337</c:v>
                </c:pt>
                <c:pt idx="88">
                  <c:v>0.11130542236208114</c:v>
                </c:pt>
                <c:pt idx="89">
                  <c:v>0.11180613220867512</c:v>
                </c:pt>
                <c:pt idx="90">
                  <c:v>0.11303190615814837</c:v>
                </c:pt>
                <c:pt idx="91">
                  <c:v>0.11524726512489199</c:v>
                </c:pt>
                <c:pt idx="92">
                  <c:v>0.11090305215322864</c:v>
                </c:pt>
                <c:pt idx="93">
                  <c:v>0.11186428680854678</c:v>
                </c:pt>
                <c:pt idx="94">
                  <c:v>0.11129622044024526</c:v>
                </c:pt>
                <c:pt idx="95">
                  <c:v>0.1108095003778802</c:v>
                </c:pt>
                <c:pt idx="96">
                  <c:v>0.1054842031139873</c:v>
                </c:pt>
                <c:pt idx="97">
                  <c:v>0.10609890878011838</c:v>
                </c:pt>
                <c:pt idx="98">
                  <c:v>0.10447904679364513</c:v>
                </c:pt>
                <c:pt idx="99">
                  <c:v>0.10496325917887281</c:v>
                </c:pt>
                <c:pt idx="100">
                  <c:v>0.10116018214536072</c:v>
                </c:pt>
                <c:pt idx="101">
                  <c:v>0.11049433259168644</c:v>
                </c:pt>
                <c:pt idx="102">
                  <c:v>0.11170814028575048</c:v>
                </c:pt>
                <c:pt idx="103">
                  <c:v>0.1049200201821946</c:v>
                </c:pt>
                <c:pt idx="104">
                  <c:v>0.10442470388347397</c:v>
                </c:pt>
              </c:numCache>
            </c:numRef>
          </c:xVal>
          <c:yVal>
            <c:numRef>
              <c:f>Sheet1!$B$2:$B$106</c:f>
              <c:numCache>
                <c:formatCode>General</c:formatCode>
                <c:ptCount val="105"/>
                <c:pt idx="0">
                  <c:v>0.19014989293361884</c:v>
                </c:pt>
                <c:pt idx="1">
                  <c:v>0.1874182090110301</c:v>
                </c:pt>
                <c:pt idx="2">
                  <c:v>0.18448132010753684</c:v>
                </c:pt>
                <c:pt idx="3">
                  <c:v>0.19202967471942173</c:v>
                </c:pt>
                <c:pt idx="4">
                  <c:v>0.21944354227563062</c:v>
                </c:pt>
                <c:pt idx="5">
                  <c:v>0.20732787248173568</c:v>
                </c:pt>
                <c:pt idx="6">
                  <c:v>0.2320424403183024</c:v>
                </c:pt>
                <c:pt idx="7">
                  <c:v>0.22241929762327067</c:v>
                </c:pt>
                <c:pt idx="8">
                  <c:v>0.23044594910109736</c:v>
                </c:pt>
                <c:pt idx="9">
                  <c:v>0.2308305912852727</c:v>
                </c:pt>
                <c:pt idx="10">
                  <c:v>0.22501406337896118</c:v>
                </c:pt>
                <c:pt idx="11">
                  <c:v>0.22715702624418502</c:v>
                </c:pt>
                <c:pt idx="12">
                  <c:v>0.21044108574953732</c:v>
                </c:pt>
                <c:pt idx="13">
                  <c:v>0.20045123221103783</c:v>
                </c:pt>
                <c:pt idx="14">
                  <c:v>0.17698123774852983</c:v>
                </c:pt>
                <c:pt idx="15">
                  <c:v>0.16688297642223665</c:v>
                </c:pt>
                <c:pt idx="16">
                  <c:v>0.16820361490225008</c:v>
                </c:pt>
                <c:pt idx="17">
                  <c:v>0.16568854920158319</c:v>
                </c:pt>
                <c:pt idx="18">
                  <c:v>0.15335360973267168</c:v>
                </c:pt>
                <c:pt idx="19">
                  <c:v>0.1468956879584899</c:v>
                </c:pt>
                <c:pt idx="20">
                  <c:v>0.18550137462017074</c:v>
                </c:pt>
                <c:pt idx="21">
                  <c:v>0.1703767123287671</c:v>
                </c:pt>
                <c:pt idx="22">
                  <c:v>0.14937759336099585</c:v>
                </c:pt>
                <c:pt idx="23">
                  <c:v>0.1632692681032809</c:v>
                </c:pt>
                <c:pt idx="24">
                  <c:v>0.16693914623069936</c:v>
                </c:pt>
                <c:pt idx="25">
                  <c:v>0.1607843137254902</c:v>
                </c:pt>
                <c:pt idx="26">
                  <c:v>0.168135593220339</c:v>
                </c:pt>
                <c:pt idx="27">
                  <c:v>0.18114667604642984</c:v>
                </c:pt>
                <c:pt idx="28">
                  <c:v>0.18936994016191483</c:v>
                </c:pt>
                <c:pt idx="29">
                  <c:v>0.18606127956818544</c:v>
                </c:pt>
                <c:pt idx="30">
                  <c:v>0.1950787401574803</c:v>
                </c:pt>
                <c:pt idx="31">
                  <c:v>0.17657657657657658</c:v>
                </c:pt>
                <c:pt idx="32">
                  <c:v>0.18993506493506493</c:v>
                </c:pt>
                <c:pt idx="33">
                  <c:v>0.1818020259463302</c:v>
                </c:pt>
                <c:pt idx="34">
                  <c:v>0.20025288446341077</c:v>
                </c:pt>
                <c:pt idx="35">
                  <c:v>0.2567105905319668</c:v>
                </c:pt>
                <c:pt idx="36">
                  <c:v>0.2090291536937447</c:v>
                </c:pt>
                <c:pt idx="37">
                  <c:v>0.19676739283204497</c:v>
                </c:pt>
                <c:pt idx="38">
                  <c:v>0.18666219839142092</c:v>
                </c:pt>
                <c:pt idx="39">
                  <c:v>0.18684603886397608</c:v>
                </c:pt>
                <c:pt idx="40">
                  <c:v>0.1901644336175396</c:v>
                </c:pt>
                <c:pt idx="41">
                  <c:v>0.17954735959765297</c:v>
                </c:pt>
                <c:pt idx="42">
                  <c:v>0.18690275435637999</c:v>
                </c:pt>
                <c:pt idx="43">
                  <c:v>0.18360136452241715</c:v>
                </c:pt>
                <c:pt idx="44">
                  <c:v>0.16826381059751974</c:v>
                </c:pt>
                <c:pt idx="45">
                  <c:v>0.16118853536681568</c:v>
                </c:pt>
                <c:pt idx="46">
                  <c:v>0.16547874624302275</c:v>
                </c:pt>
                <c:pt idx="47">
                  <c:v>0.16660851360781578</c:v>
                </c:pt>
                <c:pt idx="48">
                  <c:v>0.16566534577527803</c:v>
                </c:pt>
                <c:pt idx="49">
                  <c:v>0.18493237800483317</c:v>
                </c:pt>
                <c:pt idx="50">
                  <c:v>0.1706705661165657</c:v>
                </c:pt>
                <c:pt idx="51">
                  <c:v>0.1737982884107814</c:v>
                </c:pt>
                <c:pt idx="52">
                  <c:v>0.17529908028490424</c:v>
                </c:pt>
                <c:pt idx="53">
                  <c:v>0.16356603426045313</c:v>
                </c:pt>
                <c:pt idx="54">
                  <c:v>0.16656510257972781</c:v>
                </c:pt>
                <c:pt idx="55">
                  <c:v>0.16468982890731604</c:v>
                </c:pt>
                <c:pt idx="56">
                  <c:v>0.17314981049271894</c:v>
                </c:pt>
                <c:pt idx="57">
                  <c:v>0.15567353549896518</c:v>
                </c:pt>
                <c:pt idx="58">
                  <c:v>0.1553445337229121</c:v>
                </c:pt>
                <c:pt idx="59">
                  <c:v>0.14042185898473325</c:v>
                </c:pt>
                <c:pt idx="60">
                  <c:v>0.13943281566509116</c:v>
                </c:pt>
                <c:pt idx="61">
                  <c:v>0.1463888266487415</c:v>
                </c:pt>
                <c:pt idx="62">
                  <c:v>0.16681908245694255</c:v>
                </c:pt>
                <c:pt idx="63">
                  <c:v>0.16552175335296043</c:v>
                </c:pt>
                <c:pt idx="64">
                  <c:v>0.16559465254130407</c:v>
                </c:pt>
                <c:pt idx="65">
                  <c:v>0.16908012687905116</c:v>
                </c:pt>
                <c:pt idx="66">
                  <c:v>0.16127120527446479</c:v>
                </c:pt>
                <c:pt idx="67">
                  <c:v>0.1575673807878369</c:v>
                </c:pt>
                <c:pt idx="68">
                  <c:v>0.15084640609766906</c:v>
                </c:pt>
                <c:pt idx="69">
                  <c:v>0.13940273243864104</c:v>
                </c:pt>
                <c:pt idx="70">
                  <c:v>0.1383089168300842</c:v>
                </c:pt>
                <c:pt idx="71">
                  <c:v>0.1375188580712545</c:v>
                </c:pt>
                <c:pt idx="72">
                  <c:v>0.15128576199487923</c:v>
                </c:pt>
                <c:pt idx="73">
                  <c:v>0.14916875427009793</c:v>
                </c:pt>
                <c:pt idx="74">
                  <c:v>0.14144620811287478</c:v>
                </c:pt>
                <c:pt idx="75">
                  <c:v>0.15030504714364948</c:v>
                </c:pt>
                <c:pt idx="76">
                  <c:v>0.15098152424942263</c:v>
                </c:pt>
                <c:pt idx="77">
                  <c:v>0.14893926184248765</c:v>
                </c:pt>
                <c:pt idx="78">
                  <c:v>0.1562448711636304</c:v>
                </c:pt>
                <c:pt idx="79">
                  <c:v>0.1584241408214585</c:v>
                </c:pt>
                <c:pt idx="80">
                  <c:v>0.158530531193116</c:v>
                </c:pt>
                <c:pt idx="81">
                  <c:v>0.15322033898305085</c:v>
                </c:pt>
                <c:pt idx="82">
                  <c:v>0.15401558793629277</c:v>
                </c:pt>
                <c:pt idx="83">
                  <c:v>0.13964346349745332</c:v>
                </c:pt>
                <c:pt idx="84">
                  <c:v>0.14164366107453813</c:v>
                </c:pt>
                <c:pt idx="85">
                  <c:v>0.1314352574102964</c:v>
                </c:pt>
                <c:pt idx="86">
                  <c:v>0.14265335235378032</c:v>
                </c:pt>
                <c:pt idx="87">
                  <c:v>0.17739646497226164</c:v>
                </c:pt>
                <c:pt idx="88">
                  <c:v>0.18386639357176618</c:v>
                </c:pt>
                <c:pt idx="89">
                  <c:v>0.1434290687554395</c:v>
                </c:pt>
                <c:pt idx="90">
                  <c:v>0.14193663862538033</c:v>
                </c:pt>
                <c:pt idx="91">
                  <c:v>0.14365199797673242</c:v>
                </c:pt>
                <c:pt idx="92">
                  <c:v>0.15895232815964525</c:v>
                </c:pt>
                <c:pt idx="93">
                  <c:v>0.13890293225480282</c:v>
                </c:pt>
                <c:pt idx="94">
                  <c:v>0.13735046521931768</c:v>
                </c:pt>
                <c:pt idx="95">
                  <c:v>0.1478503270076123</c:v>
                </c:pt>
                <c:pt idx="96">
                  <c:v>0.14983572540204046</c:v>
                </c:pt>
                <c:pt idx="97">
                  <c:v>0.1448043382676242</c:v>
                </c:pt>
                <c:pt idx="98">
                  <c:v>0.15628408288958748</c:v>
                </c:pt>
                <c:pt idx="99">
                  <c:v>0.1556851648668938</c:v>
                </c:pt>
                <c:pt idx="100">
                  <c:v>0.17040760657781934</c:v>
                </c:pt>
                <c:pt idx="101">
                  <c:v>0.14546495356824832</c:v>
                </c:pt>
                <c:pt idx="102">
                  <c:v>0.13494876586969132</c:v>
                </c:pt>
                <c:pt idx="103">
                  <c:v>0.1509997222993613</c:v>
                </c:pt>
                <c:pt idx="104">
                  <c:v>0.155755176613885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382075761795671</c:v>
                </c:pt>
                <c:pt idx="1">
                  <c:v>0.11275773921996605</c:v>
                </c:pt>
                <c:pt idx="2">
                  <c:v>0.11782298845213235</c:v>
                </c:pt>
                <c:pt idx="3">
                  <c:v>0.11952204224358447</c:v>
                </c:pt>
                <c:pt idx="4">
                  <c:v>0.11977400402533345</c:v>
                </c:pt>
                <c:pt idx="5">
                  <c:v>0.10986705743541486</c:v>
                </c:pt>
                <c:pt idx="6">
                  <c:v>0.10981898205166461</c:v>
                </c:pt>
                <c:pt idx="7">
                  <c:v>0.11161816091837812</c:v>
                </c:pt>
                <c:pt idx="8">
                  <c:v>0.11291477992412433</c:v>
                </c:pt>
                <c:pt idx="9">
                  <c:v>0.10126180779264864</c:v>
                </c:pt>
                <c:pt idx="10">
                  <c:v>0.10463463551337772</c:v>
                </c:pt>
                <c:pt idx="11">
                  <c:v>0.11714571083207663</c:v>
                </c:pt>
                <c:pt idx="12">
                  <c:v>0.116236355856107</c:v>
                </c:pt>
                <c:pt idx="13">
                  <c:v>0.10570086888371558</c:v>
                </c:pt>
                <c:pt idx="14">
                  <c:v>0.11229765124002897</c:v>
                </c:pt>
                <c:pt idx="15">
                  <c:v>0.10385635354610276</c:v>
                </c:pt>
                <c:pt idx="16">
                  <c:v>0.11117800521774034</c:v>
                </c:pt>
                <c:pt idx="17">
                  <c:v>0.11390046875799205</c:v>
                </c:pt>
                <c:pt idx="18">
                  <c:v>0.11463103933959598</c:v>
                </c:pt>
                <c:pt idx="19">
                  <c:v>0.11555007992787111</c:v>
                </c:pt>
                <c:pt idx="20">
                  <c:v>0.10691369652970398</c:v>
                </c:pt>
                <c:pt idx="21">
                  <c:v>0.10977289641170894</c:v>
                </c:pt>
                <c:pt idx="22">
                  <c:v>0.10971114148924337</c:v>
                </c:pt>
                <c:pt idx="23">
                  <c:v>0.10317336592255234</c:v>
                </c:pt>
                <c:pt idx="24">
                  <c:v>0.09913736840867976</c:v>
                </c:pt>
                <c:pt idx="25">
                  <c:v>0.10096803432955742</c:v>
                </c:pt>
                <c:pt idx="26">
                  <c:v>0.10541274685502379</c:v>
                </c:pt>
                <c:pt idx="27">
                  <c:v>0.11057744185822486</c:v>
                </c:pt>
                <c:pt idx="28">
                  <c:v>0.11286015587704738</c:v>
                </c:pt>
                <c:pt idx="29">
                  <c:v>0.1130576428466763</c:v>
                </c:pt>
                <c:pt idx="30">
                  <c:v>0.11332347912178316</c:v>
                </c:pt>
                <c:pt idx="31">
                  <c:v>0.11104915557417377</c:v>
                </c:pt>
                <c:pt idx="32">
                  <c:v>0.10992572685157145</c:v>
                </c:pt>
                <c:pt idx="33">
                  <c:v>0.11294228772820569</c:v>
                </c:pt>
                <c:pt idx="34">
                  <c:v>0.11432301260245814</c:v>
                </c:pt>
                <c:pt idx="35">
                  <c:v>0.11399816727117541</c:v>
                </c:pt>
                <c:pt idx="36">
                  <c:v>0.11559936708180962</c:v>
                </c:pt>
                <c:pt idx="37">
                  <c:v>0.11210030782247564</c:v>
                </c:pt>
                <c:pt idx="38">
                  <c:v>0.1143055647918836</c:v>
                </c:pt>
                <c:pt idx="39">
                  <c:v>0.11669982913732847</c:v>
                </c:pt>
                <c:pt idx="40">
                  <c:v>0.11704419504937776</c:v>
                </c:pt>
                <c:pt idx="41">
                  <c:v>0.11521009445063765</c:v>
                </c:pt>
                <c:pt idx="42">
                  <c:v>0.11628764267278278</c:v>
                </c:pt>
                <c:pt idx="43">
                  <c:v>0.11568722762884108</c:v>
                </c:pt>
                <c:pt idx="44">
                  <c:v>0.1131191964602106</c:v>
                </c:pt>
                <c:pt idx="45">
                  <c:v>0.11664686276907052</c:v>
                </c:pt>
                <c:pt idx="46">
                  <c:v>0.1167776950798269</c:v>
                </c:pt>
                <c:pt idx="47">
                  <c:v>0.11628638722823181</c:v>
                </c:pt>
                <c:pt idx="48">
                  <c:v>0.1120559734443731</c:v>
                </c:pt>
                <c:pt idx="49">
                  <c:v>0.11150021275661369</c:v>
                </c:pt>
                <c:pt idx="50">
                  <c:v>0.11128863252466915</c:v>
                </c:pt>
                <c:pt idx="51">
                  <c:v>0.10873959577860098</c:v>
                </c:pt>
              </c:numCache>
            </c:numRef>
          </c:xVal>
          <c:yVal>
            <c:numRef>
              <c:f>Sheet1!$B$109:$B$160</c:f>
              <c:numCache>
                <c:formatCode>General</c:formatCode>
                <c:ptCount val="52"/>
                <c:pt idx="0">
                  <c:v>0.17426059152677859</c:v>
                </c:pt>
                <c:pt idx="1">
                  <c:v>0.16431742076162292</c:v>
                </c:pt>
                <c:pt idx="2">
                  <c:v>0.17060423825887744</c:v>
                </c:pt>
                <c:pt idx="3">
                  <c:v>0.17236204897346702</c:v>
                </c:pt>
                <c:pt idx="4">
                  <c:v>0.16263736263736264</c:v>
                </c:pt>
                <c:pt idx="5">
                  <c:v>0.14951032198971323</c:v>
                </c:pt>
                <c:pt idx="6">
                  <c:v>0.13346288379323745</c:v>
                </c:pt>
                <c:pt idx="7">
                  <c:v>0.12609065758672058</c:v>
                </c:pt>
                <c:pt idx="8">
                  <c:v>0.13813025210084034</c:v>
                </c:pt>
                <c:pt idx="9">
                  <c:v>0.1473429951690821</c:v>
                </c:pt>
                <c:pt idx="10">
                  <c:v>0.15446789402784014</c:v>
                </c:pt>
                <c:pt idx="11">
                  <c:v>0.1449075140072147</c:v>
                </c:pt>
                <c:pt idx="12">
                  <c:v>0.15228900654001867</c:v>
                </c:pt>
                <c:pt idx="13">
                  <c:v>0.16745934335685794</c:v>
                </c:pt>
                <c:pt idx="14">
                  <c:v>0.15208279873406894</c:v>
                </c:pt>
                <c:pt idx="15">
                  <c:v>0.16133059841255684</c:v>
                </c:pt>
                <c:pt idx="16">
                  <c:v>0.14426034328802462</c:v>
                </c:pt>
                <c:pt idx="17">
                  <c:v>0.13033272096346193</c:v>
                </c:pt>
                <c:pt idx="18">
                  <c:v>0.14128664495114007</c:v>
                </c:pt>
                <c:pt idx="19">
                  <c:v>0.1602713824936047</c:v>
                </c:pt>
                <c:pt idx="20">
                  <c:v>0.14584607855132753</c:v>
                </c:pt>
                <c:pt idx="21">
                  <c:v>0.14382130805077936</c:v>
                </c:pt>
                <c:pt idx="22">
                  <c:v>0.14724121481952615</c:v>
                </c:pt>
                <c:pt idx="23">
                  <c:v>0.1690320523042577</c:v>
                </c:pt>
                <c:pt idx="24">
                  <c:v>0.16953979913056513</c:v>
                </c:pt>
                <c:pt idx="25">
                  <c:v>0.15811023622047243</c:v>
                </c:pt>
                <c:pt idx="26">
                  <c:v>0.14966740576496673</c:v>
                </c:pt>
                <c:pt idx="27">
                  <c:v>0.14160184384903485</c:v>
                </c:pt>
                <c:pt idx="28">
                  <c:v>0.13394495412844037</c:v>
                </c:pt>
                <c:pt idx="29">
                  <c:v>0.13297451321829984</c:v>
                </c:pt>
                <c:pt idx="30">
                  <c:v>0.1478966545213647</c:v>
                </c:pt>
                <c:pt idx="31">
                  <c:v>0.13251649387370407</c:v>
                </c:pt>
                <c:pt idx="32">
                  <c:v>0.12795010114632502</c:v>
                </c:pt>
                <c:pt idx="33">
                  <c:v>0.14974874371859295</c:v>
                </c:pt>
                <c:pt idx="34">
                  <c:v>0.17448064479509592</c:v>
                </c:pt>
                <c:pt idx="35">
                  <c:v>0.1884363006066609</c:v>
                </c:pt>
                <c:pt idx="36">
                  <c:v>0.1548663936024966</c:v>
                </c:pt>
                <c:pt idx="37">
                  <c:v>0.15599931728963987</c:v>
                </c:pt>
                <c:pt idx="38">
                  <c:v>0.14588601439408674</c:v>
                </c:pt>
                <c:pt idx="39">
                  <c:v>0.17300596082883907</c:v>
                </c:pt>
                <c:pt idx="40">
                  <c:v>0.16146916146916146</c:v>
                </c:pt>
                <c:pt idx="41">
                  <c:v>0.17017430600387345</c:v>
                </c:pt>
                <c:pt idx="42">
                  <c:v>0.15789473684210525</c:v>
                </c:pt>
                <c:pt idx="43">
                  <c:v>0.16773659142679645</c:v>
                </c:pt>
                <c:pt idx="44">
                  <c:v>0.1599419943700418</c:v>
                </c:pt>
                <c:pt idx="45">
                  <c:v>0.16267975192530498</c:v>
                </c:pt>
                <c:pt idx="46">
                  <c:v>0.16652705645836824</c:v>
                </c:pt>
                <c:pt idx="47">
                  <c:v>0.1659030624547866</c:v>
                </c:pt>
                <c:pt idx="48">
                  <c:v>0.17166175159454083</c:v>
                </c:pt>
                <c:pt idx="49">
                  <c:v>0.18768242848803268</c:v>
                </c:pt>
                <c:pt idx="50">
                  <c:v>0.21325828642901815</c:v>
                </c:pt>
                <c:pt idx="51">
                  <c:v>0.19118963767683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9141113228921056</c:v>
                </c:pt>
              </c:numCache>
            </c:numRef>
          </c:xVal>
          <c:yVal>
            <c:numRef>
              <c:f>Sheet1!$B$163:$B$164</c:f>
              <c:numCache>
                <c:formatCode>General</c:formatCode>
                <c:ptCount val="2"/>
                <c:pt idx="0">
                  <c:v>0.20730646650796047</c:v>
                </c:pt>
                <c:pt idx="1">
                  <c:v>0.2073064665079604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9141113228921056</c:v>
                </c:pt>
                <c:pt idx="1">
                  <c:v>0.29141113228921056</c:v>
                </c:pt>
              </c:numCache>
            </c:numRef>
          </c:xVal>
          <c:yVal>
            <c:numRef>
              <c:f>Sheet1!$B$167:$B$168</c:f>
              <c:numCache>
                <c:formatCode>General</c:formatCode>
                <c:ptCount val="2"/>
                <c:pt idx="0">
                  <c:v>0.207306466507960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3300430505142697</c:v>
                </c:pt>
              </c:numCache>
            </c:numRef>
          </c:xVal>
          <c:yVal>
            <c:numRef>
              <c:f>Sheet1!$B$171:$B$172</c:f>
              <c:numCache>
                <c:formatCode>General</c:formatCode>
                <c:ptCount val="2"/>
                <c:pt idx="0">
                  <c:v>0.19094802604710642</c:v>
                </c:pt>
                <c:pt idx="1">
                  <c:v>0.1909480260471064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3300430505142697</c:v>
                </c:pt>
                <c:pt idx="1">
                  <c:v>0.23300430505142697</c:v>
                </c:pt>
              </c:numCache>
            </c:numRef>
          </c:xVal>
          <c:yVal>
            <c:numRef>
              <c:f>Sheet1!$B$175:$B$176</c:f>
              <c:numCache>
                <c:formatCode>General</c:formatCode>
                <c:ptCount val="2"/>
                <c:pt idx="0">
                  <c:v>0.1909480260471064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6895621402630379</c:v>
                </c:pt>
              </c:numCache>
            </c:numRef>
          </c:xVal>
          <c:yVal>
            <c:numRef>
              <c:f>Sheet1!$B$179:$B$180</c:f>
              <c:numCache>
                <c:formatCode>General</c:formatCode>
                <c:ptCount val="2"/>
                <c:pt idx="0">
                  <c:v>0.17300959430520793</c:v>
                </c:pt>
                <c:pt idx="1">
                  <c:v>0.1730095943052079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6895621402630379</c:v>
                </c:pt>
                <c:pt idx="1">
                  <c:v>0.16895621402630379</c:v>
                </c:pt>
              </c:numCache>
            </c:numRef>
          </c:xVal>
          <c:yVal>
            <c:numRef>
              <c:f>Sheet1!$B$183:$B$184</c:f>
              <c:numCache>
                <c:formatCode>General</c:formatCode>
                <c:ptCount val="2"/>
                <c:pt idx="0">
                  <c:v>0.173009594305207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382075761795671</c:v>
                </c:pt>
                <c:pt idx="1">
                  <c:v>0.11275773921996605</c:v>
                </c:pt>
                <c:pt idx="2">
                  <c:v>0.11782298845213235</c:v>
                </c:pt>
                <c:pt idx="3">
                  <c:v>0.11952204224358447</c:v>
                </c:pt>
                <c:pt idx="4">
                  <c:v>0.11977400402533345</c:v>
                </c:pt>
                <c:pt idx="5">
                  <c:v>0.10986705743541486</c:v>
                </c:pt>
                <c:pt idx="6">
                  <c:v>0.10981898205166461</c:v>
                </c:pt>
                <c:pt idx="7">
                  <c:v>0.11161816091837812</c:v>
                </c:pt>
                <c:pt idx="8">
                  <c:v>0.11291477992412433</c:v>
                </c:pt>
                <c:pt idx="9">
                  <c:v>0.10126180779264864</c:v>
                </c:pt>
                <c:pt idx="10">
                  <c:v>0.10463463551337772</c:v>
                </c:pt>
                <c:pt idx="11">
                  <c:v>0.11714571083207663</c:v>
                </c:pt>
                <c:pt idx="12">
                  <c:v>0.116236355856107</c:v>
                </c:pt>
                <c:pt idx="13">
                  <c:v>0.10570086888371558</c:v>
                </c:pt>
                <c:pt idx="14">
                  <c:v>0.11229765124002897</c:v>
                </c:pt>
                <c:pt idx="15">
                  <c:v>0.10385635354610276</c:v>
                </c:pt>
                <c:pt idx="16">
                  <c:v>0.11117800521774034</c:v>
                </c:pt>
                <c:pt idx="17">
                  <c:v>0.11390046875799205</c:v>
                </c:pt>
                <c:pt idx="18">
                  <c:v>0.11463103933959598</c:v>
                </c:pt>
                <c:pt idx="19">
                  <c:v>0.11555007992787111</c:v>
                </c:pt>
                <c:pt idx="20">
                  <c:v>0.10691369652970398</c:v>
                </c:pt>
                <c:pt idx="21">
                  <c:v>0.10977289641170894</c:v>
                </c:pt>
                <c:pt idx="22">
                  <c:v>0.10971114148924337</c:v>
                </c:pt>
                <c:pt idx="23">
                  <c:v>0.10317336592255234</c:v>
                </c:pt>
                <c:pt idx="24">
                  <c:v>0.09913736840867976</c:v>
                </c:pt>
                <c:pt idx="25">
                  <c:v>0.10096803432955742</c:v>
                </c:pt>
                <c:pt idx="26">
                  <c:v>0.10541274685502379</c:v>
                </c:pt>
                <c:pt idx="27">
                  <c:v>0.11057744185822486</c:v>
                </c:pt>
                <c:pt idx="28">
                  <c:v>0.11286015587704738</c:v>
                </c:pt>
                <c:pt idx="29">
                  <c:v>0.1130576428466763</c:v>
                </c:pt>
                <c:pt idx="30">
                  <c:v>0.11332347912178316</c:v>
                </c:pt>
                <c:pt idx="31">
                  <c:v>0.11104915557417377</c:v>
                </c:pt>
                <c:pt idx="32">
                  <c:v>0.10992572685157145</c:v>
                </c:pt>
                <c:pt idx="33">
                  <c:v>0.11294228772820569</c:v>
                </c:pt>
                <c:pt idx="34">
                  <c:v>0.11432301260245814</c:v>
                </c:pt>
                <c:pt idx="35">
                  <c:v>0.11399816727117541</c:v>
                </c:pt>
                <c:pt idx="36">
                  <c:v>0.11559936708180962</c:v>
                </c:pt>
                <c:pt idx="37">
                  <c:v>0.11210030782247564</c:v>
                </c:pt>
                <c:pt idx="38">
                  <c:v>0.1143055647918836</c:v>
                </c:pt>
                <c:pt idx="39">
                  <c:v>0.11669982913732847</c:v>
                </c:pt>
                <c:pt idx="40">
                  <c:v>0.11704419504937776</c:v>
                </c:pt>
                <c:pt idx="41">
                  <c:v>0.11521009445063765</c:v>
                </c:pt>
                <c:pt idx="42">
                  <c:v>0.11628764267278278</c:v>
                </c:pt>
                <c:pt idx="43">
                  <c:v>0.11568722762884108</c:v>
                </c:pt>
                <c:pt idx="44">
                  <c:v>0.1131191964602106</c:v>
                </c:pt>
                <c:pt idx="45">
                  <c:v>0.11664686276907052</c:v>
                </c:pt>
                <c:pt idx="46">
                  <c:v>0.1167776950798269</c:v>
                </c:pt>
                <c:pt idx="47">
                  <c:v>0.11628638722823181</c:v>
                </c:pt>
                <c:pt idx="48">
                  <c:v>0.1120559734443731</c:v>
                </c:pt>
                <c:pt idx="49">
                  <c:v>0.11150021275661369</c:v>
                </c:pt>
                <c:pt idx="50">
                  <c:v>0.11128863252466915</c:v>
                </c:pt>
                <c:pt idx="51">
                  <c:v>0.10873959577860098</c:v>
                </c:pt>
                <c:pt idx="52">
                  <c:v>0.23300430505142697</c:v>
                </c:pt>
                <c:pt idx="53">
                  <c:v>0.29141113228921056</c:v>
                </c:pt>
                <c:pt idx="54">
                  <c:v>0.16895621402630379</c:v>
                </c:pt>
              </c:numCache>
            </c:numRef>
          </c:xVal>
          <c:yVal>
            <c:numRef>
              <c:f>Sheet1!$B$187:$B$241</c:f>
              <c:numCache>
                <c:formatCode>General</c:formatCode>
                <c:ptCount val="55"/>
                <c:pt idx="0">
                  <c:v>0.15756739133694778</c:v>
                </c:pt>
                <c:pt idx="1">
                  <c:v>0.15726966375963003</c:v>
                </c:pt>
                <c:pt idx="2">
                  <c:v>0.15868832630136412</c:v>
                </c:pt>
                <c:pt idx="3">
                  <c:v>0.15916419310669674</c:v>
                </c:pt>
                <c:pt idx="4">
                  <c:v>0.1592347619425688</c:v>
                </c:pt>
                <c:pt idx="5">
                  <c:v>0.15646004871802976</c:v>
                </c:pt>
                <c:pt idx="6">
                  <c:v>0.15644658388284005</c:v>
                </c:pt>
                <c:pt idx="7">
                  <c:v>0.15695049347289086</c:v>
                </c:pt>
                <c:pt idx="8">
                  <c:v>0.1573136473336469</c:v>
                </c:pt>
                <c:pt idx="9">
                  <c:v>0.15404991157158138</c:v>
                </c:pt>
                <c:pt idx="10">
                  <c:v>0.1549945648606505</c:v>
                </c:pt>
                <c:pt idx="11">
                  <c:v>0.1584986360520026</c:v>
                </c:pt>
                <c:pt idx="12">
                  <c:v>0.15824394614783063</c:v>
                </c:pt>
                <c:pt idx="13">
                  <c:v>0.15529319287951274</c:v>
                </c:pt>
                <c:pt idx="14">
                  <c:v>0.15714080345027073</c:v>
                </c:pt>
                <c:pt idx="15">
                  <c:v>0.1547765855622443</c:v>
                </c:pt>
                <c:pt idx="16">
                  <c:v>0.1568272157472737</c:v>
                </c:pt>
                <c:pt idx="17">
                  <c:v>0.157589716636917</c:v>
                </c:pt>
                <c:pt idx="18">
                  <c:v>0.1577943330478199</c:v>
                </c:pt>
                <c:pt idx="19">
                  <c:v>0.15805173567445463</c:v>
                </c:pt>
                <c:pt idx="20">
                  <c:v>0.15563287866239917</c:v>
                </c:pt>
                <c:pt idx="21">
                  <c:v>0.1564336763301965</c:v>
                </c:pt>
                <c:pt idx="22">
                  <c:v>0.15641638016346235</c:v>
                </c:pt>
                <c:pt idx="23">
                  <c:v>0.15458529606915364</c:v>
                </c:pt>
                <c:pt idx="24">
                  <c:v>0.1534549038161718</c:v>
                </c:pt>
                <c:pt idx="25">
                  <c:v>0.15396763222287796</c:v>
                </c:pt>
                <c:pt idx="26">
                  <c:v>0.15521249637065038</c:v>
                </c:pt>
                <c:pt idx="27">
                  <c:v>0.15665901143924635</c:v>
                </c:pt>
                <c:pt idx="28">
                  <c:v>0.15729834836494583</c:v>
                </c:pt>
                <c:pt idx="29">
                  <c:v>0.15735366002947637</c:v>
                </c:pt>
                <c:pt idx="30">
                  <c:v>0.15742811479930946</c:v>
                </c:pt>
                <c:pt idx="31">
                  <c:v>0.15679112785614233</c:v>
                </c:pt>
                <c:pt idx="32">
                  <c:v>0.1564764807037489</c:v>
                </c:pt>
                <c:pt idx="33">
                  <c:v>0.15732135165173014</c:v>
                </c:pt>
                <c:pt idx="34">
                  <c:v>0.15770806167719215</c:v>
                </c:pt>
                <c:pt idx="35">
                  <c:v>0.15761707979609904</c:v>
                </c:pt>
                <c:pt idx="36">
                  <c:v>0.1580655398992571</c:v>
                </c:pt>
                <c:pt idx="37">
                  <c:v>0.1570855319914523</c:v>
                </c:pt>
                <c:pt idx="38">
                  <c:v>0.15770317493733735</c:v>
                </c:pt>
                <c:pt idx="39">
                  <c:v>0.15837375460404401</c:v>
                </c:pt>
                <c:pt idx="40">
                  <c:v>0.1584702037613672</c:v>
                </c:pt>
                <c:pt idx="41">
                  <c:v>0.15795651337853645</c:v>
                </c:pt>
                <c:pt idx="42">
                  <c:v>0.15825831043325228</c:v>
                </c:pt>
                <c:pt idx="43">
                  <c:v>0.1580901476650859</c:v>
                </c:pt>
                <c:pt idx="44">
                  <c:v>0.15737089981410038</c:v>
                </c:pt>
                <c:pt idx="45">
                  <c:v>0.1583589199139478</c:v>
                </c:pt>
                <c:pt idx="46">
                  <c:v>0.15839556310562727</c:v>
                </c:pt>
                <c:pt idx="47">
                  <c:v>0.1582579588114315</c:v>
                </c:pt>
                <c:pt idx="48">
                  <c:v>0.15707311492791953</c:v>
                </c:pt>
                <c:pt idx="49">
                  <c:v>0.15691745884195918</c:v>
                </c:pt>
                <c:pt idx="50">
                  <c:v>0.1568581999711962</c:v>
                </c:pt>
                <c:pt idx="51">
                  <c:v>0.15614427203134554</c:v>
                </c:pt>
                <c:pt idx="52">
                  <c:v>0.19094802604710642</c:v>
                </c:pt>
                <c:pt idx="53">
                  <c:v>0.20730646650796047</c:v>
                </c:pt>
                <c:pt idx="54">
                  <c:v>0.173009594305207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805270863836015"/>
          <c:min val="0.1008725260693764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0.4157</c:v>
                </c:pt>
                <c:pt idx="1">
                  <c:v>833.0948</c:v>
                </c:pt>
                <c:pt idx="2">
                  <c:v>877.0721</c:v>
                </c:pt>
                <c:pt idx="3">
                  <c:v>894.9039</c:v>
                </c:pt>
                <c:pt idx="4">
                  <c:v>903.5401</c:v>
                </c:pt>
                <c:pt idx="5">
                  <c:v>895.4072</c:v>
                </c:pt>
                <c:pt idx="6">
                  <c:v>841.8521</c:v>
                </c:pt>
                <c:pt idx="7">
                  <c:v>858.8852</c:v>
                </c:pt>
                <c:pt idx="8">
                  <c:v>850.4341</c:v>
                </c:pt>
                <c:pt idx="9">
                  <c:v>850.9649</c:v>
                </c:pt>
                <c:pt idx="10">
                  <c:v>827.7996</c:v>
                </c:pt>
                <c:pt idx="11">
                  <c:v>865.698</c:v>
                </c:pt>
                <c:pt idx="12">
                  <c:v>870.6397</c:v>
                </c:pt>
                <c:pt idx="13">
                  <c:v>877.0027</c:v>
                </c:pt>
                <c:pt idx="14">
                  <c:v>900.9844</c:v>
                </c:pt>
                <c:pt idx="15">
                  <c:v>916.1449</c:v>
                </c:pt>
                <c:pt idx="16">
                  <c:v>920.5272</c:v>
                </c:pt>
                <c:pt idx="17">
                  <c:v>917.2086</c:v>
                </c:pt>
                <c:pt idx="18">
                  <c:v>945.465</c:v>
                </c:pt>
                <c:pt idx="19">
                  <c:v>928.1686</c:v>
                </c:pt>
                <c:pt idx="20">
                  <c:v>980.1253</c:v>
                </c:pt>
                <c:pt idx="21">
                  <c:v>1007.3453</c:v>
                </c:pt>
                <c:pt idx="22">
                  <c:v>977.8036</c:v>
                </c:pt>
                <c:pt idx="23">
                  <c:v>972.1144</c:v>
                </c:pt>
                <c:pt idx="24">
                  <c:v>1006.0563</c:v>
                </c:pt>
                <c:pt idx="25">
                  <c:v>972.2673</c:v>
                </c:pt>
                <c:pt idx="26">
                  <c:v>944.7288</c:v>
                </c:pt>
                <c:pt idx="27">
                  <c:v>1002.3166</c:v>
                </c:pt>
                <c:pt idx="28">
                  <c:v>988.2793</c:v>
                </c:pt>
                <c:pt idx="29">
                  <c:v>947.8739</c:v>
                </c:pt>
                <c:pt idx="30">
                  <c:v>948.0548</c:v>
                </c:pt>
                <c:pt idx="31">
                  <c:v>961.7687</c:v>
                </c:pt>
                <c:pt idx="32">
                  <c:v>938.4373</c:v>
                </c:pt>
                <c:pt idx="33">
                  <c:v>924.5707</c:v>
                </c:pt>
                <c:pt idx="34">
                  <c:v>909.6762</c:v>
                </c:pt>
                <c:pt idx="35">
                  <c:v>965.3873</c:v>
                </c:pt>
                <c:pt idx="36">
                  <c:v>1073.4796</c:v>
                </c:pt>
                <c:pt idx="37">
                  <c:v>1104.4395</c:v>
                </c:pt>
                <c:pt idx="38">
                  <c:v>1131.7548</c:v>
                </c:pt>
                <c:pt idx="39">
                  <c:v>1138.3583</c:v>
                </c:pt>
                <c:pt idx="40">
                  <c:v>1124.7606</c:v>
                </c:pt>
                <c:pt idx="41">
                  <c:v>1155.3412</c:v>
                </c:pt>
                <c:pt idx="42">
                  <c:v>1175.1574</c:v>
                </c:pt>
                <c:pt idx="43">
                  <c:v>1179.9659</c:v>
                </c:pt>
                <c:pt idx="44">
                  <c:v>1092.4663</c:v>
                </c:pt>
                <c:pt idx="45">
                  <c:v>1060.7269</c:v>
                </c:pt>
                <c:pt idx="46">
                  <c:v>1056.8816</c:v>
                </c:pt>
                <c:pt idx="47">
                  <c:v>1032.0557</c:v>
                </c:pt>
                <c:pt idx="48">
                  <c:v>1044.1246</c:v>
                </c:pt>
                <c:pt idx="49">
                  <c:v>1013.8239</c:v>
                </c:pt>
                <c:pt idx="50">
                  <c:v>988.881</c:v>
                </c:pt>
                <c:pt idx="51">
                  <c:v>1005.217</c:v>
                </c:pt>
                <c:pt idx="52">
                  <c:v>1018.3611</c:v>
                </c:pt>
                <c:pt idx="53">
                  <c:v>1100.6695</c:v>
                </c:pt>
                <c:pt idx="54">
                  <c:v>1078.7167</c:v>
                </c:pt>
                <c:pt idx="55">
                  <c:v>1080.286</c:v>
                </c:pt>
                <c:pt idx="56">
                  <c:v>1095.8056</c:v>
                </c:pt>
                <c:pt idx="57">
                  <c:v>1086.4695</c:v>
                </c:pt>
                <c:pt idx="58">
                  <c:v>1015.0648</c:v>
                </c:pt>
                <c:pt idx="59">
                  <c:v>1023.2639</c:v>
                </c:pt>
                <c:pt idx="60">
                  <c:v>1033.1318</c:v>
                </c:pt>
                <c:pt idx="61">
                  <c:v>1048.796</c:v>
                </c:pt>
                <c:pt idx="62">
                  <c:v>981.119</c:v>
                </c:pt>
                <c:pt idx="63">
                  <c:v>1018.5602</c:v>
                </c:pt>
                <c:pt idx="64">
                  <c:v>1023.682</c:v>
                </c:pt>
                <c:pt idx="65">
                  <c:v>1012.5565</c:v>
                </c:pt>
                <c:pt idx="66">
                  <c:v>1010.6297</c:v>
                </c:pt>
                <c:pt idx="67">
                  <c:v>1032.932</c:v>
                </c:pt>
                <c:pt idx="68">
                  <c:v>1047.1183</c:v>
                </c:pt>
                <c:pt idx="69">
                  <c:v>1084.2574</c:v>
                </c:pt>
                <c:pt idx="70">
                  <c:v>1056.3848</c:v>
                </c:pt>
                <c:pt idx="71">
                  <c:v>1132.2764</c:v>
                </c:pt>
                <c:pt idx="72">
                  <c:v>1235.1901</c:v>
                </c:pt>
                <c:pt idx="73">
                  <c:v>1196.09</c:v>
                </c:pt>
                <c:pt idx="74">
                  <c:v>1184.045</c:v>
                </c:pt>
                <c:pt idx="75">
                  <c:v>1165.6574</c:v>
                </c:pt>
                <c:pt idx="76">
                  <c:v>1125.8896</c:v>
                </c:pt>
                <c:pt idx="77">
                  <c:v>1121.1374</c:v>
                </c:pt>
                <c:pt idx="78">
                  <c:v>1151.6452</c:v>
                </c:pt>
                <c:pt idx="79">
                  <c:v>1176.8083</c:v>
                </c:pt>
                <c:pt idx="80">
                  <c:v>1166.2966</c:v>
                </c:pt>
                <c:pt idx="81">
                  <c:v>1166.6583</c:v>
                </c:pt>
                <c:pt idx="82">
                  <c:v>1153.699</c:v>
                </c:pt>
                <c:pt idx="83">
                  <c:v>1131.0397</c:v>
                </c:pt>
                <c:pt idx="84">
                  <c:v>1142.2522</c:v>
                </c:pt>
                <c:pt idx="85">
                  <c:v>1115.0029</c:v>
                </c:pt>
                <c:pt idx="86">
                  <c:v>1085.4207</c:v>
                </c:pt>
                <c:pt idx="87">
                  <c:v>1097.8587</c:v>
                </c:pt>
                <c:pt idx="88">
                  <c:v>1154.7131</c:v>
                </c:pt>
                <c:pt idx="89">
                  <c:v>1140.1216</c:v>
                </c:pt>
                <c:pt idx="90">
                  <c:v>1232.591</c:v>
                </c:pt>
                <c:pt idx="91">
                  <c:v>1238.8507</c:v>
                </c:pt>
                <c:pt idx="92">
                  <c:v>1178.6829</c:v>
                </c:pt>
                <c:pt idx="93">
                  <c:v>1226.7099</c:v>
                </c:pt>
                <c:pt idx="94">
                  <c:v>1238.0328</c:v>
                </c:pt>
                <c:pt idx="95">
                  <c:v>1197.976</c:v>
                </c:pt>
                <c:pt idx="96">
                  <c:v>1121.4882</c:v>
                </c:pt>
                <c:pt idx="97">
                  <c:v>1112.1444</c:v>
                </c:pt>
                <c:pt idx="98">
                  <c:v>1110.7206</c:v>
                </c:pt>
                <c:pt idx="99">
                  <c:v>1066.4263</c:v>
                </c:pt>
                <c:pt idx="100">
                  <c:v>1083.0188</c:v>
                </c:pt>
                <c:pt idx="101">
                  <c:v>1097.3645</c:v>
                </c:pt>
                <c:pt idx="102">
                  <c:v>1094.7418</c:v>
                </c:pt>
                <c:pt idx="103">
                  <c:v>1076.4669</c:v>
                </c:pt>
                <c:pt idx="104">
                  <c:v>1102.8747</c:v>
                </c:pt>
              </c:numCache>
            </c:numRef>
          </c:xVal>
          <c:yVal>
            <c:numRef>
              <c:f>Sheet1!$B$2:$B$106</c:f>
              <c:numCache>
                <c:formatCode>General</c:formatCode>
                <c:ptCount val="105"/>
                <c:pt idx="0">
                  <c:v>0.11442865083776702</c:v>
                </c:pt>
                <c:pt idx="1">
                  <c:v>0.09743754518435216</c:v>
                </c:pt>
                <c:pt idx="2">
                  <c:v>0.09953818827708703</c:v>
                </c:pt>
                <c:pt idx="3">
                  <c:v>0.10040473225404732</c:v>
                </c:pt>
                <c:pt idx="4">
                  <c:v>0.09611865549455842</c:v>
                </c:pt>
                <c:pt idx="5">
                  <c:v>0.1103075982888572</c:v>
                </c:pt>
                <c:pt idx="6">
                  <c:v>0.1314075630252101</c:v>
                </c:pt>
                <c:pt idx="7">
                  <c:v>0.13787085514834205</c:v>
                </c:pt>
                <c:pt idx="8">
                  <c:v>0.13373118133731182</c:v>
                </c:pt>
                <c:pt idx="9">
                  <c:v>0.11350683890577508</c:v>
                </c:pt>
                <c:pt idx="10">
                  <c:v>0.12666291924302042</c:v>
                </c:pt>
                <c:pt idx="11">
                  <c:v>0.11759623692041854</c:v>
                </c:pt>
                <c:pt idx="12">
                  <c:v>0.10507695029188041</c:v>
                </c:pt>
                <c:pt idx="13">
                  <c:v>0.09638236070768419</c:v>
                </c:pt>
                <c:pt idx="14">
                  <c:v>0.07772963604852687</c:v>
                </c:pt>
                <c:pt idx="15">
                  <c:v>0.06701525984420019</c:v>
                </c:pt>
                <c:pt idx="16">
                  <c:v>0.0706832298136646</c:v>
                </c:pt>
                <c:pt idx="17">
                  <c:v>0.06622773044151821</c:v>
                </c:pt>
                <c:pt idx="18">
                  <c:v>0.06116907245962555</c:v>
                </c:pt>
                <c:pt idx="19">
                  <c:v>0.05707531239446133</c:v>
                </c:pt>
                <c:pt idx="20">
                  <c:v>0.05215141612200436</c:v>
                </c:pt>
                <c:pt idx="21">
                  <c:v>0.05249658002735978</c:v>
                </c:pt>
                <c:pt idx="22">
                  <c:v>0.06302931596091205</c:v>
                </c:pt>
                <c:pt idx="23">
                  <c:v>0.07139134966128191</c:v>
                </c:pt>
                <c:pt idx="24">
                  <c:v>0.0686456400742115</c:v>
                </c:pt>
                <c:pt idx="25">
                  <c:v>0.07831107903284013</c:v>
                </c:pt>
                <c:pt idx="26">
                  <c:v>0.09581050026515821</c:v>
                </c:pt>
                <c:pt idx="27">
                  <c:v>0.09501954784973653</c:v>
                </c:pt>
                <c:pt idx="28">
                  <c:v>0.1259420532574108</c:v>
                </c:pt>
                <c:pt idx="29">
                  <c:v>0.11884183232497839</c:v>
                </c:pt>
                <c:pt idx="30">
                  <c:v>0.11295938104448743</c:v>
                </c:pt>
                <c:pt idx="31">
                  <c:v>0.12624705242154907</c:v>
                </c:pt>
                <c:pt idx="32">
                  <c:v>0.13386494740413982</c:v>
                </c:pt>
                <c:pt idx="33">
                  <c:v>0.12249644656932421</c:v>
                </c:pt>
                <c:pt idx="34">
                  <c:v>0.12295776352414377</c:v>
                </c:pt>
                <c:pt idx="35">
                  <c:v>0.12253589681187636</c:v>
                </c:pt>
                <c:pt idx="36">
                  <c:v>0.10906063549327043</c:v>
                </c:pt>
                <c:pt idx="37">
                  <c:v>0.1065959059893859</c:v>
                </c:pt>
                <c:pt idx="38">
                  <c:v>0.10355839416058395</c:v>
                </c:pt>
                <c:pt idx="39">
                  <c:v>0.09640445909875962</c:v>
                </c:pt>
                <c:pt idx="40">
                  <c:v>0.09676180724433636</c:v>
                </c:pt>
                <c:pt idx="41">
                  <c:v>0.09957188233669383</c:v>
                </c:pt>
                <c:pt idx="42">
                  <c:v>0.09488527724665392</c:v>
                </c:pt>
                <c:pt idx="43">
                  <c:v>0.08785446762974852</c:v>
                </c:pt>
                <c:pt idx="44">
                  <c:v>0.09907453906306048</c:v>
                </c:pt>
                <c:pt idx="45">
                  <c:v>0.11837921937360482</c:v>
                </c:pt>
                <c:pt idx="46">
                  <c:v>0.12288985188538905</c:v>
                </c:pt>
                <c:pt idx="47">
                  <c:v>0.11924888688133187</c:v>
                </c:pt>
                <c:pt idx="48">
                  <c:v>0.11587757054041128</c:v>
                </c:pt>
                <c:pt idx="49">
                  <c:v>0.11834444054717642</c:v>
                </c:pt>
                <c:pt idx="50">
                  <c:v>0.11709765107688018</c:v>
                </c:pt>
                <c:pt idx="51">
                  <c:v>0.108970043756311</c:v>
                </c:pt>
                <c:pt idx="52">
                  <c:v>0.10820392824221797</c:v>
                </c:pt>
                <c:pt idx="53">
                  <c:v>0.09879579375848033</c:v>
                </c:pt>
                <c:pt idx="54">
                  <c:v>0.10079357840007297</c:v>
                </c:pt>
                <c:pt idx="55">
                  <c:v>0.09787273745101698</c:v>
                </c:pt>
                <c:pt idx="56">
                  <c:v>0.09971070395371263</c:v>
                </c:pt>
                <c:pt idx="57">
                  <c:v>0.0959442128887464</c:v>
                </c:pt>
                <c:pt idx="58">
                  <c:v>0.11341482283769147</c:v>
                </c:pt>
                <c:pt idx="59">
                  <c:v>0.10626689103054408</c:v>
                </c:pt>
                <c:pt idx="60">
                  <c:v>0.10875488686174624</c:v>
                </c:pt>
                <c:pt idx="61">
                  <c:v>0.11598173515981736</c:v>
                </c:pt>
                <c:pt idx="62">
                  <c:v>0.12879383550872778</c:v>
                </c:pt>
                <c:pt idx="63">
                  <c:v>0.13117330140676445</c:v>
                </c:pt>
                <c:pt idx="64">
                  <c:v>0.12549599315334942</c:v>
                </c:pt>
                <c:pt idx="65">
                  <c:v>0.12532938076416336</c:v>
                </c:pt>
                <c:pt idx="66">
                  <c:v>0.12645815722738799</c:v>
                </c:pt>
                <c:pt idx="67">
                  <c:v>0.11880046136101499</c:v>
                </c:pt>
                <c:pt idx="68">
                  <c:v>0.10874004492546457</c:v>
                </c:pt>
                <c:pt idx="69">
                  <c:v>0.10110032362459546</c:v>
                </c:pt>
                <c:pt idx="70">
                  <c:v>0.10213488597768074</c:v>
                </c:pt>
                <c:pt idx="71">
                  <c:v>0.10002670940170941</c:v>
                </c:pt>
                <c:pt idx="72">
                  <c:v>0.09430627446029542</c:v>
                </c:pt>
                <c:pt idx="73">
                  <c:v>0.09850826501814272</c:v>
                </c:pt>
                <c:pt idx="74">
                  <c:v>0.10236318407960199</c:v>
                </c:pt>
                <c:pt idx="75">
                  <c:v>0.11290322580645161</c:v>
                </c:pt>
                <c:pt idx="76">
                  <c:v>0.11961189756640687</c:v>
                </c:pt>
                <c:pt idx="77">
                  <c:v>0.11140065146579804</c:v>
                </c:pt>
                <c:pt idx="78">
                  <c:v>0.11964912280701755</c:v>
                </c:pt>
                <c:pt idx="79">
                  <c:v>0.10746552543984783</c:v>
                </c:pt>
                <c:pt idx="80">
                  <c:v>0.10299056452902607</c:v>
                </c:pt>
                <c:pt idx="81">
                  <c:v>0.10344377771980172</c:v>
                </c:pt>
                <c:pt idx="82">
                  <c:v>0.10872576177285319</c:v>
                </c:pt>
                <c:pt idx="83">
                  <c:v>0.10953729933899906</c:v>
                </c:pt>
                <c:pt idx="84">
                  <c:v>0.10926960878782038</c:v>
                </c:pt>
                <c:pt idx="85">
                  <c:v>0.11450509096978802</c:v>
                </c:pt>
                <c:pt idx="86">
                  <c:v>0.1290824261275272</c:v>
                </c:pt>
                <c:pt idx="87">
                  <c:v>0.1292243946652855</c:v>
                </c:pt>
                <c:pt idx="88">
                  <c:v>0.11802644308287649</c:v>
                </c:pt>
                <c:pt idx="89">
                  <c:v>0.13193377709506743</c:v>
                </c:pt>
                <c:pt idx="90">
                  <c:v>0.11248047214025343</c:v>
                </c:pt>
                <c:pt idx="91">
                  <c:v>0.1077593430534607</c:v>
                </c:pt>
                <c:pt idx="92">
                  <c:v>0.11562757484207635</c:v>
                </c:pt>
                <c:pt idx="93">
                  <c:v>0.11568123393316196</c:v>
                </c:pt>
                <c:pt idx="94">
                  <c:v>0.11905133406147606</c:v>
                </c:pt>
                <c:pt idx="95">
                  <c:v>0.11781349026708918</c:v>
                </c:pt>
                <c:pt idx="96">
                  <c:v>0.11486486486486487</c:v>
                </c:pt>
                <c:pt idx="97">
                  <c:v>0.11742006615214995</c:v>
                </c:pt>
                <c:pt idx="98">
                  <c:v>0.11301757521596664</c:v>
                </c:pt>
                <c:pt idx="99">
                  <c:v>0.11469950042892466</c:v>
                </c:pt>
                <c:pt idx="100">
                  <c:v>0.1166948631190403</c:v>
                </c:pt>
                <c:pt idx="101">
                  <c:v>0.11547114875595553</c:v>
                </c:pt>
                <c:pt idx="102">
                  <c:v>0.11611353323249399</c:v>
                </c:pt>
                <c:pt idx="103">
                  <c:v>0.1138481484482619</c:v>
                </c:pt>
                <c:pt idx="104">
                  <c:v>0.1121194379391100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8.8242</c:v>
                </c:pt>
                <c:pt idx="1">
                  <c:v>1159.4467</c:v>
                </c:pt>
                <c:pt idx="2">
                  <c:v>1156.0528</c:v>
                </c:pt>
                <c:pt idx="3">
                  <c:v>1075.5449</c:v>
                </c:pt>
                <c:pt idx="4">
                  <c:v>1149.6842</c:v>
                </c:pt>
                <c:pt idx="5">
                  <c:v>1165.0073</c:v>
                </c:pt>
                <c:pt idx="6">
                  <c:v>1084.2562</c:v>
                </c:pt>
                <c:pt idx="7">
                  <c:v>1077.3117</c:v>
                </c:pt>
                <c:pt idx="8">
                  <c:v>1157.7246</c:v>
                </c:pt>
                <c:pt idx="9">
                  <c:v>1121.6394</c:v>
                </c:pt>
                <c:pt idx="10">
                  <c:v>1120.3102</c:v>
                </c:pt>
                <c:pt idx="11">
                  <c:v>1005.242</c:v>
                </c:pt>
                <c:pt idx="12">
                  <c:v>1035.6266</c:v>
                </c:pt>
                <c:pt idx="13">
                  <c:v>1090.2277</c:v>
                </c:pt>
                <c:pt idx="14">
                  <c:v>1085.3301</c:v>
                </c:pt>
                <c:pt idx="15">
                  <c:v>1107.1248</c:v>
                </c:pt>
                <c:pt idx="16">
                  <c:v>1142.1265</c:v>
                </c:pt>
                <c:pt idx="17">
                  <c:v>1020.4231</c:v>
                </c:pt>
                <c:pt idx="18">
                  <c:v>1122.3824</c:v>
                </c:pt>
                <c:pt idx="19">
                  <c:v>1292.9602</c:v>
                </c:pt>
                <c:pt idx="20">
                  <c:v>1294.5396</c:v>
                </c:pt>
                <c:pt idx="21">
                  <c:v>1240.1094</c:v>
                </c:pt>
                <c:pt idx="22">
                  <c:v>1226.3448</c:v>
                </c:pt>
                <c:pt idx="23">
                  <c:v>1213.6256</c:v>
                </c:pt>
                <c:pt idx="24">
                  <c:v>1218.5068</c:v>
                </c:pt>
                <c:pt idx="25">
                  <c:v>1166.0184</c:v>
                </c:pt>
                <c:pt idx="26">
                  <c:v>1149.4314</c:v>
                </c:pt>
                <c:pt idx="27">
                  <c:v>1164.8134</c:v>
                </c:pt>
                <c:pt idx="28">
                  <c:v>1196.1065</c:v>
                </c:pt>
                <c:pt idx="29">
                  <c:v>1191.5178</c:v>
                </c:pt>
                <c:pt idx="30">
                  <c:v>1201.9796</c:v>
                </c:pt>
                <c:pt idx="31">
                  <c:v>1210.3866</c:v>
                </c:pt>
                <c:pt idx="32">
                  <c:v>1216.379</c:v>
                </c:pt>
                <c:pt idx="33">
                  <c:v>1193.2512</c:v>
                </c:pt>
                <c:pt idx="34">
                  <c:v>1199.5961</c:v>
                </c:pt>
                <c:pt idx="35">
                  <c:v>1254.2799</c:v>
                </c:pt>
                <c:pt idx="36">
                  <c:v>1302.3394</c:v>
                </c:pt>
                <c:pt idx="37">
                  <c:v>1289.369</c:v>
                </c:pt>
                <c:pt idx="38">
                  <c:v>1305.2104</c:v>
                </c:pt>
                <c:pt idx="39">
                  <c:v>1249.3002</c:v>
                </c:pt>
                <c:pt idx="40">
                  <c:v>1277.2453</c:v>
                </c:pt>
                <c:pt idx="41">
                  <c:v>1315.8935</c:v>
                </c:pt>
                <c:pt idx="42">
                  <c:v>1307.2805</c:v>
                </c:pt>
                <c:pt idx="43">
                  <c:v>1321.8315</c:v>
                </c:pt>
                <c:pt idx="44">
                  <c:v>1232.6608</c:v>
                </c:pt>
                <c:pt idx="45">
                  <c:v>1181.1152</c:v>
                </c:pt>
                <c:pt idx="46">
                  <c:v>1159.8625</c:v>
                </c:pt>
                <c:pt idx="47">
                  <c:v>1140.1246</c:v>
                </c:pt>
                <c:pt idx="48">
                  <c:v>1145.6402</c:v>
                </c:pt>
                <c:pt idx="49">
                  <c:v>1165.5856</c:v>
                </c:pt>
                <c:pt idx="50">
                  <c:v>1136.1855</c:v>
                </c:pt>
                <c:pt idx="51">
                  <c:v>1115.4624</c:v>
                </c:pt>
              </c:numCache>
            </c:numRef>
          </c:xVal>
          <c:yVal>
            <c:numRef>
              <c:f>Sheet1!$B$109:$B$160</c:f>
              <c:numCache>
                <c:formatCode>General</c:formatCode>
                <c:ptCount val="52"/>
                <c:pt idx="0">
                  <c:v>0.11257718007273958</c:v>
                </c:pt>
                <c:pt idx="1">
                  <c:v>0.10940261576528809</c:v>
                </c:pt>
                <c:pt idx="2">
                  <c:v>0.1308103015075377</c:v>
                </c:pt>
                <c:pt idx="3">
                  <c:v>0.1488478136959531</c:v>
                </c:pt>
                <c:pt idx="4">
                  <c:v>0.12364760432766615</c:v>
                </c:pt>
                <c:pt idx="5">
                  <c:v>0.13022772534418564</c:v>
                </c:pt>
                <c:pt idx="6">
                  <c:v>0.14686032863849766</c:v>
                </c:pt>
                <c:pt idx="7">
                  <c:v>0.1579897682816732</c:v>
                </c:pt>
                <c:pt idx="8">
                  <c:v>0.13467244921250857</c:v>
                </c:pt>
                <c:pt idx="9">
                  <c:v>0.14012738853503184</c:v>
                </c:pt>
                <c:pt idx="10">
                  <c:v>0.14955798231929276</c:v>
                </c:pt>
                <c:pt idx="11">
                  <c:v>0.1430824695808923</c:v>
                </c:pt>
                <c:pt idx="12">
                  <c:v>0.1398525975193241</c:v>
                </c:pt>
                <c:pt idx="13">
                  <c:v>0.13342029255566942</c:v>
                </c:pt>
                <c:pt idx="14">
                  <c:v>0.13914294522659543</c:v>
                </c:pt>
                <c:pt idx="15">
                  <c:v>0.13644798602772623</c:v>
                </c:pt>
                <c:pt idx="16">
                  <c:v>0.13547396699501088</c:v>
                </c:pt>
                <c:pt idx="17">
                  <c:v>0.15477145148356056</c:v>
                </c:pt>
                <c:pt idx="18">
                  <c:v>0.13821138211382114</c:v>
                </c:pt>
                <c:pt idx="19">
                  <c:v>0.11728395061728394</c:v>
                </c:pt>
                <c:pt idx="20">
                  <c:v>0.10994679993551508</c:v>
                </c:pt>
                <c:pt idx="21">
                  <c:v>0.1154308617234469</c:v>
                </c:pt>
                <c:pt idx="22">
                  <c:v>0.11927144535840188</c:v>
                </c:pt>
                <c:pt idx="23">
                  <c:v>0.12002462043496102</c:v>
                </c:pt>
                <c:pt idx="24">
                  <c:v>0.12256628963471167</c:v>
                </c:pt>
                <c:pt idx="25">
                  <c:v>0.1303653423837093</c:v>
                </c:pt>
                <c:pt idx="26">
                  <c:v>0.12360939431396786</c:v>
                </c:pt>
                <c:pt idx="27">
                  <c:v>0.1276767026243761</c:v>
                </c:pt>
                <c:pt idx="28">
                  <c:v>0.117740308401787</c:v>
                </c:pt>
                <c:pt idx="29">
                  <c:v>0.121280276816609</c:v>
                </c:pt>
                <c:pt idx="30">
                  <c:v>0.1233591080740874</c:v>
                </c:pt>
                <c:pt idx="31">
                  <c:v>0.12526215443279315</c:v>
                </c:pt>
                <c:pt idx="32">
                  <c:v>0.12271152894606631</c:v>
                </c:pt>
                <c:pt idx="33">
                  <c:v>0.14164876476906552</c:v>
                </c:pt>
                <c:pt idx="34">
                  <c:v>0.15059890684963367</c:v>
                </c:pt>
                <c:pt idx="35">
                  <c:v>0.1454861614258803</c:v>
                </c:pt>
                <c:pt idx="36">
                  <c:v>0.13908974904296045</c:v>
                </c:pt>
                <c:pt idx="37">
                  <c:v>0.13500665525765354</c:v>
                </c:pt>
                <c:pt idx="38">
                  <c:v>0.12939698492462312</c:v>
                </c:pt>
                <c:pt idx="39">
                  <c:v>0.1296499764558154</c:v>
                </c:pt>
                <c:pt idx="40">
                  <c:v>0.1229709035222052</c:v>
                </c:pt>
                <c:pt idx="41">
                  <c:v>0.12968886304158186</c:v>
                </c:pt>
                <c:pt idx="42">
                  <c:v>0.12551406481329166</c:v>
                </c:pt>
                <c:pt idx="43">
                  <c:v>0.11495445635881471</c:v>
                </c:pt>
                <c:pt idx="44">
                  <c:v>0.1150932400932401</c:v>
                </c:pt>
                <c:pt idx="45">
                  <c:v>0.12943694192310531</c:v>
                </c:pt>
                <c:pt idx="46">
                  <c:v>0.15421835136799508</c:v>
                </c:pt>
                <c:pt idx="47">
                  <c:v>0.14894138804872067</c:v>
                </c:pt>
                <c:pt idx="48">
                  <c:v>0.14883913764510778</c:v>
                </c:pt>
                <c:pt idx="49">
                  <c:v>0.15145283269205254</c:v>
                </c:pt>
                <c:pt idx="50">
                  <c:v>0.1425160291841698</c:v>
                </c:pt>
                <c:pt idx="51">
                  <c:v>0.1365880416895227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36.9471505398017</c:v>
                </c:pt>
              </c:numCache>
            </c:numRef>
          </c:xVal>
          <c:yVal>
            <c:numRef>
              <c:f>Sheet1!$B$163:$B$164</c:f>
              <c:numCache>
                <c:formatCode>General</c:formatCode>
                <c:ptCount val="2"/>
                <c:pt idx="0">
                  <c:v>0.14484901030271322</c:v>
                </c:pt>
                <c:pt idx="1">
                  <c:v>0.144849010302713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36.9471505398017</c:v>
                </c:pt>
                <c:pt idx="1">
                  <c:v>1036.9471505398017</c:v>
                </c:pt>
              </c:numCache>
            </c:numRef>
          </c:xVal>
          <c:yVal>
            <c:numRef>
              <c:f>Sheet1!$B$167:$B$168</c:f>
              <c:numCache>
                <c:formatCode>General</c:formatCode>
                <c:ptCount val="2"/>
                <c:pt idx="0">
                  <c:v>0.144849010302713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6.9471505398017</c:v>
                </c:pt>
              </c:numCache>
            </c:numRef>
          </c:xVal>
          <c:yVal>
            <c:numRef>
              <c:f>Sheet1!$B$171:$B$172</c:f>
              <c:numCache>
                <c:formatCode>General</c:formatCode>
                <c:ptCount val="2"/>
                <c:pt idx="0">
                  <c:v>0.14484901030271322</c:v>
                </c:pt>
                <c:pt idx="1">
                  <c:v>0.1448490103027132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6.9471505398017</c:v>
                </c:pt>
                <c:pt idx="1">
                  <c:v>1036.9471505398017</c:v>
                </c:pt>
              </c:numCache>
            </c:numRef>
          </c:xVal>
          <c:yVal>
            <c:numRef>
              <c:f>Sheet1!$B$175:$B$176</c:f>
              <c:numCache>
                <c:formatCode>General</c:formatCode>
                <c:ptCount val="2"/>
                <c:pt idx="0">
                  <c:v>0.144849010302713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4.9917063926907</c:v>
                </c:pt>
              </c:numCache>
            </c:numRef>
          </c:xVal>
          <c:yVal>
            <c:numRef>
              <c:f>Sheet1!$B$179:$B$180</c:f>
              <c:numCache>
                <c:formatCode>General</c:formatCode>
                <c:ptCount val="2"/>
                <c:pt idx="0">
                  <c:v>0.13460494052581715</c:v>
                </c:pt>
                <c:pt idx="1">
                  <c:v>0.1346049405258171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4.9917063926907</c:v>
                </c:pt>
                <c:pt idx="1">
                  <c:v>1154.9917063926907</c:v>
                </c:pt>
              </c:numCache>
            </c:numRef>
          </c:xVal>
          <c:yVal>
            <c:numRef>
              <c:f>Sheet1!$B$183:$B$184</c:f>
              <c:numCache>
                <c:formatCode>General</c:formatCode>
                <c:ptCount val="2"/>
                <c:pt idx="0">
                  <c:v>0.134604940525817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8.8242</c:v>
                </c:pt>
                <c:pt idx="1">
                  <c:v>1159.4467</c:v>
                </c:pt>
                <c:pt idx="2">
                  <c:v>1156.0528</c:v>
                </c:pt>
                <c:pt idx="3">
                  <c:v>1075.5449</c:v>
                </c:pt>
                <c:pt idx="4">
                  <c:v>1149.6842</c:v>
                </c:pt>
                <c:pt idx="5">
                  <c:v>1165.0073</c:v>
                </c:pt>
                <c:pt idx="6">
                  <c:v>1084.2562</c:v>
                </c:pt>
                <c:pt idx="7">
                  <c:v>1077.3117</c:v>
                </c:pt>
                <c:pt idx="8">
                  <c:v>1157.7246</c:v>
                </c:pt>
                <c:pt idx="9">
                  <c:v>1121.6394</c:v>
                </c:pt>
                <c:pt idx="10">
                  <c:v>1120.3102</c:v>
                </c:pt>
                <c:pt idx="11">
                  <c:v>1005.242</c:v>
                </c:pt>
                <c:pt idx="12">
                  <c:v>1035.6266</c:v>
                </c:pt>
                <c:pt idx="13">
                  <c:v>1090.2277</c:v>
                </c:pt>
                <c:pt idx="14">
                  <c:v>1085.3301</c:v>
                </c:pt>
                <c:pt idx="15">
                  <c:v>1107.1248</c:v>
                </c:pt>
                <c:pt idx="16">
                  <c:v>1142.1265</c:v>
                </c:pt>
                <c:pt idx="17">
                  <c:v>1020.4231</c:v>
                </c:pt>
                <c:pt idx="18">
                  <c:v>1122.3824</c:v>
                </c:pt>
                <c:pt idx="19">
                  <c:v>1292.9602</c:v>
                </c:pt>
                <c:pt idx="20">
                  <c:v>1294.5396</c:v>
                </c:pt>
                <c:pt idx="21">
                  <c:v>1240.1094</c:v>
                </c:pt>
                <c:pt idx="22">
                  <c:v>1226.3448</c:v>
                </c:pt>
                <c:pt idx="23">
                  <c:v>1213.6256</c:v>
                </c:pt>
                <c:pt idx="24">
                  <c:v>1218.5068</c:v>
                </c:pt>
                <c:pt idx="25">
                  <c:v>1166.0184</c:v>
                </c:pt>
                <c:pt idx="26">
                  <c:v>1149.4314</c:v>
                </c:pt>
                <c:pt idx="27">
                  <c:v>1164.8134</c:v>
                </c:pt>
                <c:pt idx="28">
                  <c:v>1196.1065</c:v>
                </c:pt>
                <c:pt idx="29">
                  <c:v>1191.5178</c:v>
                </c:pt>
                <c:pt idx="30">
                  <c:v>1201.9796</c:v>
                </c:pt>
                <c:pt idx="31">
                  <c:v>1210.3866</c:v>
                </c:pt>
                <c:pt idx="32">
                  <c:v>1216.379</c:v>
                </c:pt>
                <c:pt idx="33">
                  <c:v>1193.2512</c:v>
                </c:pt>
                <c:pt idx="34">
                  <c:v>1199.5961</c:v>
                </c:pt>
                <c:pt idx="35">
                  <c:v>1254.2799</c:v>
                </c:pt>
                <c:pt idx="36">
                  <c:v>1302.3394</c:v>
                </c:pt>
                <c:pt idx="37">
                  <c:v>1289.369</c:v>
                </c:pt>
                <c:pt idx="38">
                  <c:v>1305.2104</c:v>
                </c:pt>
                <c:pt idx="39">
                  <c:v>1249.3002</c:v>
                </c:pt>
                <c:pt idx="40">
                  <c:v>1277.2453</c:v>
                </c:pt>
                <c:pt idx="41">
                  <c:v>1315.8935</c:v>
                </c:pt>
                <c:pt idx="42">
                  <c:v>1307.2805</c:v>
                </c:pt>
                <c:pt idx="43">
                  <c:v>1321.8315</c:v>
                </c:pt>
                <c:pt idx="44">
                  <c:v>1232.6608</c:v>
                </c:pt>
                <c:pt idx="45">
                  <c:v>1181.1152</c:v>
                </c:pt>
                <c:pt idx="46">
                  <c:v>1159.8625</c:v>
                </c:pt>
                <c:pt idx="47">
                  <c:v>1140.1246</c:v>
                </c:pt>
                <c:pt idx="48">
                  <c:v>1145.6402</c:v>
                </c:pt>
                <c:pt idx="49">
                  <c:v>1165.5856</c:v>
                </c:pt>
                <c:pt idx="50">
                  <c:v>1136.1855</c:v>
                </c:pt>
                <c:pt idx="51">
                  <c:v>1115.4624</c:v>
                </c:pt>
                <c:pt idx="52">
                  <c:v>1036.9471505398017</c:v>
                </c:pt>
                <c:pt idx="53">
                  <c:v>1036.9471505398017</c:v>
                </c:pt>
                <c:pt idx="54">
                  <c:v>1154.9917063926907</c:v>
                </c:pt>
              </c:numCache>
            </c:numRef>
          </c:xVal>
          <c:yVal>
            <c:numRef>
              <c:f>Sheet1!$B$187:$B$241</c:f>
              <c:numCache>
                <c:formatCode>General</c:formatCode>
                <c:ptCount val="55"/>
                <c:pt idx="0">
                  <c:v>0.1360079790853551</c:v>
                </c:pt>
                <c:pt idx="1">
                  <c:v>0.1342183300206637</c:v>
                </c:pt>
                <c:pt idx="2">
                  <c:v>0.13451285735540275</c:v>
                </c:pt>
                <c:pt idx="3">
                  <c:v>0.14149944423552258</c:v>
                </c:pt>
                <c:pt idx="4">
                  <c:v>0.13506553326925383</c:v>
                </c:pt>
                <c:pt idx="5">
                  <c:v>0.13373577346403265</c:v>
                </c:pt>
                <c:pt idx="6">
                  <c:v>0.1407434655764247</c:v>
                </c:pt>
                <c:pt idx="7">
                  <c:v>0.14134611888857163</c:v>
                </c:pt>
                <c:pt idx="8">
                  <c:v>0.13436777623980806</c:v>
                </c:pt>
                <c:pt idx="9">
                  <c:v>0.13749929979074532</c:v>
                </c:pt>
                <c:pt idx="10">
                  <c:v>0.13761464960462763</c:v>
                </c:pt>
                <c:pt idx="11">
                  <c:v>0.14760042710520843</c:v>
                </c:pt>
                <c:pt idx="12">
                  <c:v>0.1449636095044799</c:v>
                </c:pt>
                <c:pt idx="13">
                  <c:v>0.14022525054964302</c:v>
                </c:pt>
                <c:pt idx="14">
                  <c:v>0.14065027104954522</c:v>
                </c:pt>
                <c:pt idx="15">
                  <c:v>0.13875889684805506</c:v>
                </c:pt>
                <c:pt idx="16">
                  <c:v>0.13572140092527119</c:v>
                </c:pt>
                <c:pt idx="17">
                  <c:v>0.14628299025633038</c:v>
                </c:pt>
                <c:pt idx="18">
                  <c:v>0.13743482122340064</c:v>
                </c:pt>
                <c:pt idx="19">
                  <c:v>0.12263184388180175</c:v>
                </c:pt>
                <c:pt idx="20">
                  <c:v>0.12249478136596836</c:v>
                </c:pt>
                <c:pt idx="21">
                  <c:v>0.12721830938250217</c:v>
                </c:pt>
                <c:pt idx="22">
                  <c:v>0.12841282040278834</c:v>
                </c:pt>
                <c:pt idx="23">
                  <c:v>0.12951661016560193</c:v>
                </c:pt>
                <c:pt idx="24">
                  <c:v>0.129093012880376</c:v>
                </c:pt>
                <c:pt idx="25">
                  <c:v>0.13364802880798662</c:v>
                </c:pt>
                <c:pt idx="26">
                  <c:v>0.1350874716027999</c:v>
                </c:pt>
                <c:pt idx="27">
                  <c:v>0.13375260037413783</c:v>
                </c:pt>
                <c:pt idx="28">
                  <c:v>0.1310369418872281</c:v>
                </c:pt>
                <c:pt idx="29">
                  <c:v>0.13143515561801483</c:v>
                </c:pt>
                <c:pt idx="30">
                  <c:v>0.13052726614850393</c:v>
                </c:pt>
                <c:pt idx="31">
                  <c:v>0.12979769506416106</c:v>
                </c:pt>
                <c:pt idx="32">
                  <c:v>0.12927766630648102</c:v>
                </c:pt>
                <c:pt idx="33">
                  <c:v>0.13128472876924596</c:v>
                </c:pt>
                <c:pt idx="34">
                  <c:v>0.13073410957416484</c:v>
                </c:pt>
                <c:pt idx="35">
                  <c:v>0.12598857379897882</c:v>
                </c:pt>
                <c:pt idx="36">
                  <c:v>0.12181790393719978</c:v>
                </c:pt>
                <c:pt idx="37">
                  <c:v>0.12294349318334714</c:v>
                </c:pt>
                <c:pt idx="38">
                  <c:v>0.12156875458747356</c:v>
                </c:pt>
                <c:pt idx="39">
                  <c:v>0.12642071905040053</c:v>
                </c:pt>
                <c:pt idx="40">
                  <c:v>0.12399560463276402</c:v>
                </c:pt>
                <c:pt idx="41">
                  <c:v>0.12064166039797156</c:v>
                </c:pt>
                <c:pt idx="42">
                  <c:v>0.12138910844715023</c:v>
                </c:pt>
                <c:pt idx="43">
                  <c:v>0.12012635254751027</c:v>
                </c:pt>
                <c:pt idx="44">
                  <c:v>0.12786470918966716</c:v>
                </c:pt>
                <c:pt idx="45">
                  <c:v>0.13233790762967004</c:v>
                </c:pt>
                <c:pt idx="46">
                  <c:v>0.1341822463217378</c:v>
                </c:pt>
                <c:pt idx="47">
                  <c:v>0.1358951285752945</c:v>
                </c:pt>
                <c:pt idx="48">
                  <c:v>0.1354164771808849</c:v>
                </c:pt>
                <c:pt idx="49">
                  <c:v>0.13368558779041834</c:v>
                </c:pt>
                <c:pt idx="50">
                  <c:v>0.1362369691198806</c:v>
                </c:pt>
                <c:pt idx="51">
                  <c:v>0.13803534839167145</c:v>
                </c:pt>
                <c:pt idx="52">
                  <c:v>0.14484901030271322</c:v>
                </c:pt>
                <c:pt idx="53">
                  <c:v>0.14484901030271322</c:v>
                </c:pt>
                <c:pt idx="54">
                  <c:v>0.134604940525817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86.0"/>
          <c:min val="59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958772193800782"/>
          <c:min val="0.04172113289760348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34225636070397</c:v>
                </c:pt>
                <c:pt idx="1">
                  <c:v>0.3954238387621348</c:v>
                </c:pt>
                <c:pt idx="2">
                  <c:v>0.42135753504294343</c:v>
                </c:pt>
                <c:pt idx="3">
                  <c:v>0.4206473145929481</c:v>
                </c:pt>
                <c:pt idx="4">
                  <c:v>0.46508563784577983</c:v>
                </c:pt>
                <c:pt idx="5">
                  <c:v>0.446552009350686</c:v>
                </c:pt>
                <c:pt idx="6">
                  <c:v>0.40852104299090325</c:v>
                </c:pt>
                <c:pt idx="7">
                  <c:v>0.3842575440531419</c:v>
                </c:pt>
                <c:pt idx="8">
                  <c:v>0.38485886373981104</c:v>
                </c:pt>
                <c:pt idx="9">
                  <c:v>0.4247088216459308</c:v>
                </c:pt>
                <c:pt idx="10">
                  <c:v>0.43130828663039017</c:v>
                </c:pt>
                <c:pt idx="11">
                  <c:v>0.42004677246416006</c:v>
                </c:pt>
                <c:pt idx="12">
                  <c:v>0.3991588521107324</c:v>
                </c:pt>
                <c:pt idx="13">
                  <c:v>0.37080722751376083</c:v>
                </c:pt>
                <c:pt idx="14">
                  <c:v>0.306326131734009</c:v>
                </c:pt>
                <c:pt idx="15">
                  <c:v>0.3225386806529615</c:v>
                </c:pt>
                <c:pt idx="16">
                  <c:v>0.3461668503496671</c:v>
                </c:pt>
                <c:pt idx="17">
                  <c:v>0.35909277853262334</c:v>
                </c:pt>
                <c:pt idx="18">
                  <c:v>0.342381570520214</c:v>
                </c:pt>
                <c:pt idx="19">
                  <c:v>0.36282593186913276</c:v>
                </c:pt>
                <c:pt idx="20">
                  <c:v>0.4202827300717331</c:v>
                </c:pt>
                <c:pt idx="21">
                  <c:v>0.40830540892584466</c:v>
                </c:pt>
                <c:pt idx="22">
                  <c:v>0.3510861206630943</c:v>
                </c:pt>
                <c:pt idx="23">
                  <c:v>0.33225714510610865</c:v>
                </c:pt>
                <c:pt idx="24">
                  <c:v>0.3461488042776368</c:v>
                </c:pt>
                <c:pt idx="25">
                  <c:v>0.3246816114727767</c:v>
                </c:pt>
                <c:pt idx="26">
                  <c:v>0.3084653375297097</c:v>
                </c:pt>
                <c:pt idx="27">
                  <c:v>0.3132336575319353</c:v>
                </c:pt>
                <c:pt idx="28">
                  <c:v>0.3255258738047799</c:v>
                </c:pt>
                <c:pt idx="29">
                  <c:v>0.2955929891482983</c:v>
                </c:pt>
                <c:pt idx="30">
                  <c:v>0.2851638859130054</c:v>
                </c:pt>
                <c:pt idx="31">
                  <c:v>0.3054487277716333</c:v>
                </c:pt>
                <c:pt idx="32">
                  <c:v>0.3061038012053565</c:v>
                </c:pt>
                <c:pt idx="33">
                  <c:v>0.315947092528274</c:v>
                </c:pt>
                <c:pt idx="34">
                  <c:v>0.32382749983607073</c:v>
                </c:pt>
                <c:pt idx="35">
                  <c:v>0.36363286744974443</c:v>
                </c:pt>
                <c:pt idx="36">
                  <c:v>0.35476583836495146</c:v>
                </c:pt>
                <c:pt idx="37">
                  <c:v>0.4176845251300263</c:v>
                </c:pt>
                <c:pt idx="38">
                  <c:v>0.3913760214205145</c:v>
                </c:pt>
                <c:pt idx="39">
                  <c:v>0.38823623621602593</c:v>
                </c:pt>
                <c:pt idx="40">
                  <c:v>0.3905570362071695</c:v>
                </c:pt>
                <c:pt idx="41">
                  <c:v>0.418939722514638</c:v>
                </c:pt>
                <c:pt idx="42">
                  <c:v>0.419804337366166</c:v>
                </c:pt>
                <c:pt idx="43">
                  <c:v>0.4473989087170272</c:v>
                </c:pt>
                <c:pt idx="44">
                  <c:v>0.4308336977950494</c:v>
                </c:pt>
                <c:pt idx="45">
                  <c:v>0.4527422994465859</c:v>
                </c:pt>
                <c:pt idx="46">
                  <c:v>0.46773692024329294</c:v>
                </c:pt>
                <c:pt idx="47">
                  <c:v>0.4780649733981854</c:v>
                </c:pt>
                <c:pt idx="48">
                  <c:v>0.4717836766693807</c:v>
                </c:pt>
                <c:pt idx="49">
                  <c:v>0.40102924192940753</c:v>
                </c:pt>
                <c:pt idx="50">
                  <c:v>0.29698203216675423</c:v>
                </c:pt>
                <c:pt idx="51">
                  <c:v>0.27627598690794986</c:v>
                </c:pt>
                <c:pt idx="52">
                  <c:v>0.2640057496551254</c:v>
                </c:pt>
                <c:pt idx="53">
                  <c:v>0.2507834837126572</c:v>
                </c:pt>
                <c:pt idx="54">
                  <c:v>0.22407581892087527</c:v>
                </c:pt>
                <c:pt idx="55">
                  <c:v>0.26106423563567444</c:v>
                </c:pt>
                <c:pt idx="56">
                  <c:v>0.34453187199074575</c:v>
                </c:pt>
                <c:pt idx="57">
                  <c:v>0.4787160989319154</c:v>
                </c:pt>
                <c:pt idx="58">
                  <c:v>0.4138209830943517</c:v>
                </c:pt>
                <c:pt idx="59">
                  <c:v>0.37130834437627275</c:v>
                </c:pt>
                <c:pt idx="60">
                  <c:v>0.3300387655032544</c:v>
                </c:pt>
                <c:pt idx="61">
                  <c:v>0.3114667016384999</c:v>
                </c:pt>
                <c:pt idx="62">
                  <c:v>0.3720480421478925</c:v>
                </c:pt>
                <c:pt idx="63">
                  <c:v>0.3716126733994209</c:v>
                </c:pt>
                <c:pt idx="64">
                  <c:v>0.37223469430165457</c:v>
                </c:pt>
                <c:pt idx="65">
                  <c:v>0.3466463910098946</c:v>
                </c:pt>
                <c:pt idx="66">
                  <c:v>0.3533416639707646</c:v>
                </c:pt>
                <c:pt idx="67">
                  <c:v>0.39496743942500273</c:v>
                </c:pt>
                <c:pt idx="68">
                  <c:v>0.36397536884666526</c:v>
                </c:pt>
                <c:pt idx="69">
                  <c:v>0.3729026454394653</c:v>
                </c:pt>
                <c:pt idx="70">
                  <c:v>0.3599704386550297</c:v>
                </c:pt>
                <c:pt idx="71">
                  <c:v>0.366092701014075</c:v>
                </c:pt>
                <c:pt idx="72">
                  <c:v>0.4067145381066128</c:v>
                </c:pt>
                <c:pt idx="73">
                  <c:v>0.376883289981362</c:v>
                </c:pt>
                <c:pt idx="74">
                  <c:v>0.3668924270765493</c:v>
                </c:pt>
                <c:pt idx="75">
                  <c:v>0.34711606494109803</c:v>
                </c:pt>
                <c:pt idx="76">
                  <c:v>0.34606215953450015</c:v>
                </c:pt>
                <c:pt idx="77">
                  <c:v>0.35224041908016823</c:v>
                </c:pt>
                <c:pt idx="78">
                  <c:v>0.3753362893871311</c:v>
                </c:pt>
                <c:pt idx="79">
                  <c:v>0.37556055639886937</c:v>
                </c:pt>
                <c:pt idx="80">
                  <c:v>0.3687295908619796</c:v>
                </c:pt>
                <c:pt idx="81">
                  <c:v>0.3934675044661693</c:v>
                </c:pt>
                <c:pt idx="82">
                  <c:v>0.41311614274301267</c:v>
                </c:pt>
                <c:pt idx="83">
                  <c:v>0.3601520087449863</c:v>
                </c:pt>
                <c:pt idx="84">
                  <c:v>0.34060890646517245</c:v>
                </c:pt>
                <c:pt idx="85">
                  <c:v>0.3142498492309241</c:v>
                </c:pt>
                <c:pt idx="86">
                  <c:v>0.29805977332786066</c:v>
                </c:pt>
                <c:pt idx="87">
                  <c:v>0.29320819975464557</c:v>
                </c:pt>
                <c:pt idx="88">
                  <c:v>0.2797896922256226</c:v>
                </c:pt>
                <c:pt idx="89">
                  <c:v>0.278888671835537</c:v>
                </c:pt>
                <c:pt idx="90">
                  <c:v>0.28866715527635817</c:v>
                </c:pt>
                <c:pt idx="91">
                  <c:v>0.30280078530423327</c:v>
                </c:pt>
                <c:pt idx="92">
                  <c:v>0.2975564046960116</c:v>
                </c:pt>
                <c:pt idx="93">
                  <c:v>0.31551550604605855</c:v>
                </c:pt>
                <c:pt idx="94">
                  <c:v>0.3093492872711288</c:v>
                </c:pt>
                <c:pt idx="95">
                  <c:v>0.3943334140668723</c:v>
                </c:pt>
                <c:pt idx="96">
                  <c:v>0.36062556379488325</c:v>
                </c:pt>
                <c:pt idx="97">
                  <c:v>0.3472598076605309</c:v>
                </c:pt>
                <c:pt idx="98">
                  <c:v>0.38301609772284656</c:v>
                </c:pt>
                <c:pt idx="99">
                  <c:v>0.42360084088889793</c:v>
                </c:pt>
                <c:pt idx="100">
                  <c:v>0.4113207481243834</c:v>
                </c:pt>
                <c:pt idx="101">
                  <c:v>0.38104388080642376</c:v>
                </c:pt>
                <c:pt idx="102">
                  <c:v>0.3684993459866022</c:v>
                </c:pt>
                <c:pt idx="103">
                  <c:v>0.34459056052763254</c:v>
                </c:pt>
                <c:pt idx="104">
                  <c:v>0.32936835889353944</c:v>
                </c:pt>
              </c:numCache>
            </c:numRef>
          </c:xVal>
          <c:yVal>
            <c:numRef>
              <c:f>Sheet1!$B$2:$B$106</c:f>
              <c:numCache>
                <c:formatCode>General</c:formatCode>
                <c:ptCount val="105"/>
                <c:pt idx="0">
                  <c:v>0.11442865083776702</c:v>
                </c:pt>
                <c:pt idx="1">
                  <c:v>0.09743754518435216</c:v>
                </c:pt>
                <c:pt idx="2">
                  <c:v>0.09953818827708703</c:v>
                </c:pt>
                <c:pt idx="3">
                  <c:v>0.10040473225404732</c:v>
                </c:pt>
                <c:pt idx="4">
                  <c:v>0.09611865549455842</c:v>
                </c:pt>
                <c:pt idx="5">
                  <c:v>0.1103075982888572</c:v>
                </c:pt>
                <c:pt idx="6">
                  <c:v>0.1314075630252101</c:v>
                </c:pt>
                <c:pt idx="7">
                  <c:v>0.13787085514834205</c:v>
                </c:pt>
                <c:pt idx="8">
                  <c:v>0.13373118133731182</c:v>
                </c:pt>
                <c:pt idx="9">
                  <c:v>0.11350683890577508</c:v>
                </c:pt>
                <c:pt idx="10">
                  <c:v>0.12666291924302042</c:v>
                </c:pt>
                <c:pt idx="11">
                  <c:v>0.11759623692041854</c:v>
                </c:pt>
                <c:pt idx="12">
                  <c:v>0.10507695029188041</c:v>
                </c:pt>
                <c:pt idx="13">
                  <c:v>0.09638236070768419</c:v>
                </c:pt>
                <c:pt idx="14">
                  <c:v>0.07772963604852687</c:v>
                </c:pt>
                <c:pt idx="15">
                  <c:v>0.06701525984420019</c:v>
                </c:pt>
                <c:pt idx="16">
                  <c:v>0.0706832298136646</c:v>
                </c:pt>
                <c:pt idx="17">
                  <c:v>0.06622773044151821</c:v>
                </c:pt>
                <c:pt idx="18">
                  <c:v>0.06116907245962555</c:v>
                </c:pt>
                <c:pt idx="19">
                  <c:v>0.05707531239446133</c:v>
                </c:pt>
                <c:pt idx="20">
                  <c:v>0.05215141612200436</c:v>
                </c:pt>
                <c:pt idx="21">
                  <c:v>0.05249658002735978</c:v>
                </c:pt>
                <c:pt idx="22">
                  <c:v>0.06302931596091205</c:v>
                </c:pt>
                <c:pt idx="23">
                  <c:v>0.07139134966128191</c:v>
                </c:pt>
                <c:pt idx="24">
                  <c:v>0.0686456400742115</c:v>
                </c:pt>
                <c:pt idx="25">
                  <c:v>0.07831107903284013</c:v>
                </c:pt>
                <c:pt idx="26">
                  <c:v>0.09581050026515821</c:v>
                </c:pt>
                <c:pt idx="27">
                  <c:v>0.09501954784973653</c:v>
                </c:pt>
                <c:pt idx="28">
                  <c:v>0.1259420532574108</c:v>
                </c:pt>
                <c:pt idx="29">
                  <c:v>0.11884183232497839</c:v>
                </c:pt>
                <c:pt idx="30">
                  <c:v>0.11295938104448743</c:v>
                </c:pt>
                <c:pt idx="31">
                  <c:v>0.12624705242154907</c:v>
                </c:pt>
                <c:pt idx="32">
                  <c:v>0.13386494740413982</c:v>
                </c:pt>
                <c:pt idx="33">
                  <c:v>0.12249644656932421</c:v>
                </c:pt>
                <c:pt idx="34">
                  <c:v>0.12295776352414377</c:v>
                </c:pt>
                <c:pt idx="35">
                  <c:v>0.12253589681187636</c:v>
                </c:pt>
                <c:pt idx="36">
                  <c:v>0.10906063549327043</c:v>
                </c:pt>
                <c:pt idx="37">
                  <c:v>0.1065959059893859</c:v>
                </c:pt>
                <c:pt idx="38">
                  <c:v>0.10355839416058395</c:v>
                </c:pt>
                <c:pt idx="39">
                  <c:v>0.09640445909875962</c:v>
                </c:pt>
                <c:pt idx="40">
                  <c:v>0.09676180724433636</c:v>
                </c:pt>
                <c:pt idx="41">
                  <c:v>0.09957188233669383</c:v>
                </c:pt>
                <c:pt idx="42">
                  <c:v>0.09488527724665392</c:v>
                </c:pt>
                <c:pt idx="43">
                  <c:v>0.08785446762974852</c:v>
                </c:pt>
                <c:pt idx="44">
                  <c:v>0.09907453906306048</c:v>
                </c:pt>
                <c:pt idx="45">
                  <c:v>0.11837921937360482</c:v>
                </c:pt>
                <c:pt idx="46">
                  <c:v>0.12288985188538905</c:v>
                </c:pt>
                <c:pt idx="47">
                  <c:v>0.11924888688133187</c:v>
                </c:pt>
                <c:pt idx="48">
                  <c:v>0.11587757054041128</c:v>
                </c:pt>
                <c:pt idx="49">
                  <c:v>0.11834444054717642</c:v>
                </c:pt>
                <c:pt idx="50">
                  <c:v>0.11709765107688018</c:v>
                </c:pt>
                <c:pt idx="51">
                  <c:v>0.108970043756311</c:v>
                </c:pt>
                <c:pt idx="52">
                  <c:v>0.10820392824221797</c:v>
                </c:pt>
                <c:pt idx="53">
                  <c:v>0.09879579375848033</c:v>
                </c:pt>
                <c:pt idx="54">
                  <c:v>0.10079357840007297</c:v>
                </c:pt>
                <c:pt idx="55">
                  <c:v>0.09787273745101698</c:v>
                </c:pt>
                <c:pt idx="56">
                  <c:v>0.09971070395371263</c:v>
                </c:pt>
                <c:pt idx="57">
                  <c:v>0.0959442128887464</c:v>
                </c:pt>
                <c:pt idx="58">
                  <c:v>0.11341482283769147</c:v>
                </c:pt>
                <c:pt idx="59">
                  <c:v>0.10626689103054408</c:v>
                </c:pt>
                <c:pt idx="60">
                  <c:v>0.10875488686174624</c:v>
                </c:pt>
                <c:pt idx="61">
                  <c:v>0.11598173515981736</c:v>
                </c:pt>
                <c:pt idx="62">
                  <c:v>0.12879383550872778</c:v>
                </c:pt>
                <c:pt idx="63">
                  <c:v>0.13117330140676445</c:v>
                </c:pt>
                <c:pt idx="64">
                  <c:v>0.12549599315334942</c:v>
                </c:pt>
                <c:pt idx="65">
                  <c:v>0.12532938076416336</c:v>
                </c:pt>
                <c:pt idx="66">
                  <c:v>0.12645815722738799</c:v>
                </c:pt>
                <c:pt idx="67">
                  <c:v>0.11880046136101499</c:v>
                </c:pt>
                <c:pt idx="68">
                  <c:v>0.10874004492546457</c:v>
                </c:pt>
                <c:pt idx="69">
                  <c:v>0.10110032362459546</c:v>
                </c:pt>
                <c:pt idx="70">
                  <c:v>0.10213488597768074</c:v>
                </c:pt>
                <c:pt idx="71">
                  <c:v>0.10002670940170941</c:v>
                </c:pt>
                <c:pt idx="72">
                  <c:v>0.09430627446029542</c:v>
                </c:pt>
                <c:pt idx="73">
                  <c:v>0.09850826501814272</c:v>
                </c:pt>
                <c:pt idx="74">
                  <c:v>0.10236318407960199</c:v>
                </c:pt>
                <c:pt idx="75">
                  <c:v>0.11290322580645161</c:v>
                </c:pt>
                <c:pt idx="76">
                  <c:v>0.11961189756640687</c:v>
                </c:pt>
                <c:pt idx="77">
                  <c:v>0.11140065146579804</c:v>
                </c:pt>
                <c:pt idx="78">
                  <c:v>0.11964912280701755</c:v>
                </c:pt>
                <c:pt idx="79">
                  <c:v>0.10746552543984783</c:v>
                </c:pt>
                <c:pt idx="80">
                  <c:v>0.10299056452902607</c:v>
                </c:pt>
                <c:pt idx="81">
                  <c:v>0.10344377771980172</c:v>
                </c:pt>
                <c:pt idx="82">
                  <c:v>0.10872576177285319</c:v>
                </c:pt>
                <c:pt idx="83">
                  <c:v>0.10953729933899906</c:v>
                </c:pt>
                <c:pt idx="84">
                  <c:v>0.10926960878782038</c:v>
                </c:pt>
                <c:pt idx="85">
                  <c:v>0.11450509096978802</c:v>
                </c:pt>
                <c:pt idx="86">
                  <c:v>0.1290824261275272</c:v>
                </c:pt>
                <c:pt idx="87">
                  <c:v>0.1292243946652855</c:v>
                </c:pt>
                <c:pt idx="88">
                  <c:v>0.11802644308287649</c:v>
                </c:pt>
                <c:pt idx="89">
                  <c:v>0.13193377709506743</c:v>
                </c:pt>
                <c:pt idx="90">
                  <c:v>0.11248047214025343</c:v>
                </c:pt>
                <c:pt idx="91">
                  <c:v>0.1077593430534607</c:v>
                </c:pt>
                <c:pt idx="92">
                  <c:v>0.11562757484207635</c:v>
                </c:pt>
                <c:pt idx="93">
                  <c:v>0.11568123393316196</c:v>
                </c:pt>
                <c:pt idx="94">
                  <c:v>0.11905133406147606</c:v>
                </c:pt>
                <c:pt idx="95">
                  <c:v>0.11781349026708918</c:v>
                </c:pt>
                <c:pt idx="96">
                  <c:v>0.11486486486486487</c:v>
                </c:pt>
                <c:pt idx="97">
                  <c:v>0.11742006615214995</c:v>
                </c:pt>
                <c:pt idx="98">
                  <c:v>0.11301757521596664</c:v>
                </c:pt>
                <c:pt idx="99">
                  <c:v>0.11469950042892466</c:v>
                </c:pt>
                <c:pt idx="100">
                  <c:v>0.1166948631190403</c:v>
                </c:pt>
                <c:pt idx="101">
                  <c:v>0.11547114875595553</c:v>
                </c:pt>
                <c:pt idx="102">
                  <c:v>0.11611353323249399</c:v>
                </c:pt>
                <c:pt idx="103">
                  <c:v>0.1138481484482619</c:v>
                </c:pt>
                <c:pt idx="104">
                  <c:v>0.1121194379391100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362496792733996</c:v>
                </c:pt>
                <c:pt idx="1">
                  <c:v>0.3670673208352905</c:v>
                </c:pt>
                <c:pt idx="2">
                  <c:v>0.3608854951385075</c:v>
                </c:pt>
                <c:pt idx="3">
                  <c:v>0.35162184239276734</c:v>
                </c:pt>
                <c:pt idx="4">
                  <c:v>0.35200590552597466</c:v>
                </c:pt>
                <c:pt idx="5">
                  <c:v>0.3272279717548696</c:v>
                </c:pt>
                <c:pt idx="6">
                  <c:v>0.3669554799330566</c:v>
                </c:pt>
                <c:pt idx="7">
                  <c:v>0.37397735331884374</c:v>
                </c:pt>
                <c:pt idx="8">
                  <c:v>0.3619356345368732</c:v>
                </c:pt>
                <c:pt idx="9">
                  <c:v>0.35443123653036396</c:v>
                </c:pt>
                <c:pt idx="10">
                  <c:v>0.37633019823986025</c:v>
                </c:pt>
                <c:pt idx="11">
                  <c:v>0.37244996181547024</c:v>
                </c:pt>
                <c:pt idx="12">
                  <c:v>0.4029821312600028</c:v>
                </c:pt>
                <c:pt idx="13">
                  <c:v>0.4316876415783274</c:v>
                </c:pt>
                <c:pt idx="14">
                  <c:v>0.4345809969363149</c:v>
                </c:pt>
                <c:pt idx="15">
                  <c:v>0.39177584285211237</c:v>
                </c:pt>
                <c:pt idx="16">
                  <c:v>0.38428773058747656</c:v>
                </c:pt>
                <c:pt idx="17">
                  <c:v>0.32035472926305764</c:v>
                </c:pt>
                <c:pt idx="18">
                  <c:v>0.3301139561010377</c:v>
                </c:pt>
                <c:pt idx="19">
                  <c:v>0.3730407472862254</c:v>
                </c:pt>
                <c:pt idx="20">
                  <c:v>0.36788225036223005</c:v>
                </c:pt>
                <c:pt idx="21">
                  <c:v>0.341800736284085</c:v>
                </c:pt>
                <c:pt idx="22">
                  <c:v>0.34872249613285633</c:v>
                </c:pt>
                <c:pt idx="23">
                  <c:v>0.34364855665270716</c:v>
                </c:pt>
                <c:pt idx="24">
                  <c:v>0.35053190222374936</c:v>
                </c:pt>
                <c:pt idx="25">
                  <c:v>0.33469179892596623</c:v>
                </c:pt>
                <c:pt idx="26">
                  <c:v>0.32064232717372276</c:v>
                </c:pt>
                <c:pt idx="27">
                  <c:v>0.33511270725114506</c:v>
                </c:pt>
                <c:pt idx="28">
                  <c:v>0.3897945427952552</c:v>
                </c:pt>
                <c:pt idx="29">
                  <c:v>0.3878531986994499</c:v>
                </c:pt>
                <c:pt idx="30">
                  <c:v>0.3859724815574594</c:v>
                </c:pt>
                <c:pt idx="31">
                  <c:v>0.3145427067785821</c:v>
                </c:pt>
                <c:pt idx="32">
                  <c:v>0.29699164536651584</c:v>
                </c:pt>
                <c:pt idx="33">
                  <c:v>0.2830356802733497</c:v>
                </c:pt>
                <c:pt idx="34">
                  <c:v>0.29883158364165285</c:v>
                </c:pt>
                <c:pt idx="35">
                  <c:v>0.31428514656526657</c:v>
                </c:pt>
                <c:pt idx="36">
                  <c:v>0.31749471168985627</c:v>
                </c:pt>
                <c:pt idx="37">
                  <c:v>0.3163423041456338</c:v>
                </c:pt>
                <c:pt idx="38">
                  <c:v>0.33125183364651256</c:v>
                </c:pt>
                <c:pt idx="39">
                  <c:v>0.33662889909999677</c:v>
                </c:pt>
                <c:pt idx="40">
                  <c:v>0.33642853997088673</c:v>
                </c:pt>
                <c:pt idx="41">
                  <c:v>0.3514108337405418</c:v>
                </c:pt>
                <c:pt idx="42">
                  <c:v>0.3350774898438454</c:v>
                </c:pt>
                <c:pt idx="43">
                  <c:v>0.37514189876705906</c:v>
                </c:pt>
                <c:pt idx="44">
                  <c:v>0.39921037582284097</c:v>
                </c:pt>
                <c:pt idx="45">
                  <c:v>0.41175793449176284</c:v>
                </c:pt>
                <c:pt idx="46">
                  <c:v>0.37438556368556297</c:v>
                </c:pt>
                <c:pt idx="47">
                  <c:v>0.4067018568013006</c:v>
                </c:pt>
                <c:pt idx="48">
                  <c:v>0.4214079032396656</c:v>
                </c:pt>
                <c:pt idx="49">
                  <c:v>0.45544190640897053</c:v>
                </c:pt>
                <c:pt idx="50">
                  <c:v>0.46526722719757113</c:v>
                </c:pt>
                <c:pt idx="51">
                  <c:v>0.3998768388008968</c:v>
                </c:pt>
              </c:numCache>
            </c:numRef>
          </c:xVal>
          <c:yVal>
            <c:numRef>
              <c:f>Sheet1!$B$109:$B$160</c:f>
              <c:numCache>
                <c:formatCode>General</c:formatCode>
                <c:ptCount val="52"/>
                <c:pt idx="0">
                  <c:v>0.11257718007273958</c:v>
                </c:pt>
                <c:pt idx="1">
                  <c:v>0.10940261576528809</c:v>
                </c:pt>
                <c:pt idx="2">
                  <c:v>0.1308103015075377</c:v>
                </c:pt>
                <c:pt idx="3">
                  <c:v>0.1488478136959531</c:v>
                </c:pt>
                <c:pt idx="4">
                  <c:v>0.12364760432766615</c:v>
                </c:pt>
                <c:pt idx="5">
                  <c:v>0.13022772534418564</c:v>
                </c:pt>
                <c:pt idx="6">
                  <c:v>0.14686032863849766</c:v>
                </c:pt>
                <c:pt idx="7">
                  <c:v>0.1579897682816732</c:v>
                </c:pt>
                <c:pt idx="8">
                  <c:v>0.13467244921250857</c:v>
                </c:pt>
                <c:pt idx="9">
                  <c:v>0.14012738853503184</c:v>
                </c:pt>
                <c:pt idx="10">
                  <c:v>0.14955798231929276</c:v>
                </c:pt>
                <c:pt idx="11">
                  <c:v>0.1430824695808923</c:v>
                </c:pt>
                <c:pt idx="12">
                  <c:v>0.1398525975193241</c:v>
                </c:pt>
                <c:pt idx="13">
                  <c:v>0.13342029255566942</c:v>
                </c:pt>
                <c:pt idx="14">
                  <c:v>0.13914294522659543</c:v>
                </c:pt>
                <c:pt idx="15">
                  <c:v>0.13644798602772623</c:v>
                </c:pt>
                <c:pt idx="16">
                  <c:v>0.13547396699501088</c:v>
                </c:pt>
                <c:pt idx="17">
                  <c:v>0.15477145148356056</c:v>
                </c:pt>
                <c:pt idx="18">
                  <c:v>0.13821138211382114</c:v>
                </c:pt>
                <c:pt idx="19">
                  <c:v>0.11728395061728394</c:v>
                </c:pt>
                <c:pt idx="20">
                  <c:v>0.10994679993551508</c:v>
                </c:pt>
                <c:pt idx="21">
                  <c:v>0.1154308617234469</c:v>
                </c:pt>
                <c:pt idx="22">
                  <c:v>0.11927144535840188</c:v>
                </c:pt>
                <c:pt idx="23">
                  <c:v>0.12002462043496102</c:v>
                </c:pt>
                <c:pt idx="24">
                  <c:v>0.12256628963471167</c:v>
                </c:pt>
                <c:pt idx="25">
                  <c:v>0.1303653423837093</c:v>
                </c:pt>
                <c:pt idx="26">
                  <c:v>0.12360939431396786</c:v>
                </c:pt>
                <c:pt idx="27">
                  <c:v>0.1276767026243761</c:v>
                </c:pt>
                <c:pt idx="28">
                  <c:v>0.117740308401787</c:v>
                </c:pt>
                <c:pt idx="29">
                  <c:v>0.121280276816609</c:v>
                </c:pt>
                <c:pt idx="30">
                  <c:v>0.1233591080740874</c:v>
                </c:pt>
                <c:pt idx="31">
                  <c:v>0.12526215443279315</c:v>
                </c:pt>
                <c:pt idx="32">
                  <c:v>0.12271152894606631</c:v>
                </c:pt>
                <c:pt idx="33">
                  <c:v>0.14164876476906552</c:v>
                </c:pt>
                <c:pt idx="34">
                  <c:v>0.15059890684963367</c:v>
                </c:pt>
                <c:pt idx="35">
                  <c:v>0.1454861614258803</c:v>
                </c:pt>
                <c:pt idx="36">
                  <c:v>0.13908974904296045</c:v>
                </c:pt>
                <c:pt idx="37">
                  <c:v>0.13500665525765354</c:v>
                </c:pt>
                <c:pt idx="38">
                  <c:v>0.12939698492462312</c:v>
                </c:pt>
                <c:pt idx="39">
                  <c:v>0.1296499764558154</c:v>
                </c:pt>
                <c:pt idx="40">
                  <c:v>0.1229709035222052</c:v>
                </c:pt>
                <c:pt idx="41">
                  <c:v>0.12968886304158186</c:v>
                </c:pt>
                <c:pt idx="42">
                  <c:v>0.12551406481329166</c:v>
                </c:pt>
                <c:pt idx="43">
                  <c:v>0.11495445635881471</c:v>
                </c:pt>
                <c:pt idx="44">
                  <c:v>0.1150932400932401</c:v>
                </c:pt>
                <c:pt idx="45">
                  <c:v>0.12943694192310531</c:v>
                </c:pt>
                <c:pt idx="46">
                  <c:v>0.15421835136799508</c:v>
                </c:pt>
                <c:pt idx="47">
                  <c:v>0.14894138804872067</c:v>
                </c:pt>
                <c:pt idx="48">
                  <c:v>0.14883913764510778</c:v>
                </c:pt>
                <c:pt idx="49">
                  <c:v>0.15145283269205254</c:v>
                </c:pt>
                <c:pt idx="50">
                  <c:v>0.1425160291841698</c:v>
                </c:pt>
                <c:pt idx="51">
                  <c:v>0.1365880416895227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254000631036677</c:v>
                </c:pt>
              </c:numCache>
            </c:numRef>
          </c:xVal>
          <c:yVal>
            <c:numRef>
              <c:f>Sheet1!$B$163:$B$164</c:f>
              <c:numCache>
                <c:formatCode>General</c:formatCode>
                <c:ptCount val="2"/>
                <c:pt idx="0">
                  <c:v>0.14484901030271322</c:v>
                </c:pt>
                <c:pt idx="1">
                  <c:v>0.144849010302713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254000631036677</c:v>
                </c:pt>
                <c:pt idx="1">
                  <c:v>0.6254000631036677</c:v>
                </c:pt>
              </c:numCache>
            </c:numRef>
          </c:xVal>
          <c:yVal>
            <c:numRef>
              <c:f>Sheet1!$B$167:$B$168</c:f>
              <c:numCache>
                <c:formatCode>General</c:formatCode>
                <c:ptCount val="2"/>
                <c:pt idx="0">
                  <c:v>0.144849010302713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254000631036677</c:v>
                </c:pt>
              </c:numCache>
            </c:numRef>
          </c:xVal>
          <c:yVal>
            <c:numRef>
              <c:f>Sheet1!$B$171:$B$172</c:f>
              <c:numCache>
                <c:formatCode>General</c:formatCode>
                <c:ptCount val="2"/>
                <c:pt idx="0">
                  <c:v>0.14484901030271322</c:v>
                </c:pt>
                <c:pt idx="1">
                  <c:v>0.1448490103027132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254000631036677</c:v>
                </c:pt>
                <c:pt idx="1">
                  <c:v>0.6254000631036677</c:v>
                </c:pt>
              </c:numCache>
            </c:numRef>
          </c:xVal>
          <c:yVal>
            <c:numRef>
              <c:f>Sheet1!$B$175:$B$176</c:f>
              <c:numCache>
                <c:formatCode>General</c:formatCode>
                <c:ptCount val="2"/>
                <c:pt idx="0">
                  <c:v>0.144849010302713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058656957096616</c:v>
                </c:pt>
              </c:numCache>
            </c:numRef>
          </c:xVal>
          <c:yVal>
            <c:numRef>
              <c:f>Sheet1!$B$179:$B$180</c:f>
              <c:numCache>
                <c:formatCode>General</c:formatCode>
                <c:ptCount val="2"/>
                <c:pt idx="0">
                  <c:v>0.13460494052581715</c:v>
                </c:pt>
                <c:pt idx="1">
                  <c:v>0.1346049405258171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058656957096616</c:v>
                </c:pt>
                <c:pt idx="1">
                  <c:v>0.4058656957096616</c:v>
                </c:pt>
              </c:numCache>
            </c:numRef>
          </c:xVal>
          <c:yVal>
            <c:numRef>
              <c:f>Sheet1!$B$183:$B$184</c:f>
              <c:numCache>
                <c:formatCode>General</c:formatCode>
                <c:ptCount val="2"/>
                <c:pt idx="0">
                  <c:v>0.134604940525817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362496792733996</c:v>
                </c:pt>
                <c:pt idx="1">
                  <c:v>0.3670673208352905</c:v>
                </c:pt>
                <c:pt idx="2">
                  <c:v>0.3608854951385075</c:v>
                </c:pt>
                <c:pt idx="3">
                  <c:v>0.35162184239276734</c:v>
                </c:pt>
                <c:pt idx="4">
                  <c:v>0.35200590552597466</c:v>
                </c:pt>
                <c:pt idx="5">
                  <c:v>0.3272279717548696</c:v>
                </c:pt>
                <c:pt idx="6">
                  <c:v>0.3669554799330566</c:v>
                </c:pt>
                <c:pt idx="7">
                  <c:v>0.37397735331884374</c:v>
                </c:pt>
                <c:pt idx="8">
                  <c:v>0.3619356345368732</c:v>
                </c:pt>
                <c:pt idx="9">
                  <c:v>0.35443123653036396</c:v>
                </c:pt>
                <c:pt idx="10">
                  <c:v>0.37633019823986025</c:v>
                </c:pt>
                <c:pt idx="11">
                  <c:v>0.37244996181547024</c:v>
                </c:pt>
                <c:pt idx="12">
                  <c:v>0.4029821312600028</c:v>
                </c:pt>
                <c:pt idx="13">
                  <c:v>0.4316876415783274</c:v>
                </c:pt>
                <c:pt idx="14">
                  <c:v>0.4345809969363149</c:v>
                </c:pt>
                <c:pt idx="15">
                  <c:v>0.39177584285211237</c:v>
                </c:pt>
                <c:pt idx="16">
                  <c:v>0.38428773058747656</c:v>
                </c:pt>
                <c:pt idx="17">
                  <c:v>0.32035472926305764</c:v>
                </c:pt>
                <c:pt idx="18">
                  <c:v>0.3301139561010377</c:v>
                </c:pt>
                <c:pt idx="19">
                  <c:v>0.3730407472862254</c:v>
                </c:pt>
                <c:pt idx="20">
                  <c:v>0.36788225036223005</c:v>
                </c:pt>
                <c:pt idx="21">
                  <c:v>0.341800736284085</c:v>
                </c:pt>
                <c:pt idx="22">
                  <c:v>0.34872249613285633</c:v>
                </c:pt>
                <c:pt idx="23">
                  <c:v>0.34364855665270716</c:v>
                </c:pt>
                <c:pt idx="24">
                  <c:v>0.35053190222374936</c:v>
                </c:pt>
                <c:pt idx="25">
                  <c:v>0.33469179892596623</c:v>
                </c:pt>
                <c:pt idx="26">
                  <c:v>0.32064232717372276</c:v>
                </c:pt>
                <c:pt idx="27">
                  <c:v>0.33511270725114506</c:v>
                </c:pt>
                <c:pt idx="28">
                  <c:v>0.3897945427952552</c:v>
                </c:pt>
                <c:pt idx="29">
                  <c:v>0.3878531986994499</c:v>
                </c:pt>
                <c:pt idx="30">
                  <c:v>0.3859724815574594</c:v>
                </c:pt>
                <c:pt idx="31">
                  <c:v>0.3145427067785821</c:v>
                </c:pt>
                <c:pt idx="32">
                  <c:v>0.29699164536651584</c:v>
                </c:pt>
                <c:pt idx="33">
                  <c:v>0.2830356802733497</c:v>
                </c:pt>
                <c:pt idx="34">
                  <c:v>0.29883158364165285</c:v>
                </c:pt>
                <c:pt idx="35">
                  <c:v>0.31428514656526657</c:v>
                </c:pt>
                <c:pt idx="36">
                  <c:v>0.31749471168985627</c:v>
                </c:pt>
                <c:pt idx="37">
                  <c:v>0.3163423041456338</c:v>
                </c:pt>
                <c:pt idx="38">
                  <c:v>0.33125183364651256</c:v>
                </c:pt>
                <c:pt idx="39">
                  <c:v>0.33662889909999677</c:v>
                </c:pt>
                <c:pt idx="40">
                  <c:v>0.33642853997088673</c:v>
                </c:pt>
                <c:pt idx="41">
                  <c:v>0.3514108337405418</c:v>
                </c:pt>
                <c:pt idx="42">
                  <c:v>0.3350774898438454</c:v>
                </c:pt>
                <c:pt idx="43">
                  <c:v>0.37514189876705906</c:v>
                </c:pt>
                <c:pt idx="44">
                  <c:v>0.39921037582284097</c:v>
                </c:pt>
                <c:pt idx="45">
                  <c:v>0.41175793449176284</c:v>
                </c:pt>
                <c:pt idx="46">
                  <c:v>0.37438556368556297</c:v>
                </c:pt>
                <c:pt idx="47">
                  <c:v>0.4067018568013006</c:v>
                </c:pt>
                <c:pt idx="48">
                  <c:v>0.4214079032396656</c:v>
                </c:pt>
                <c:pt idx="49">
                  <c:v>0.45544190640897053</c:v>
                </c:pt>
                <c:pt idx="50">
                  <c:v>0.46526722719757113</c:v>
                </c:pt>
                <c:pt idx="51">
                  <c:v>0.3998768388008968</c:v>
                </c:pt>
                <c:pt idx="52">
                  <c:v>0.6254000631036677</c:v>
                </c:pt>
                <c:pt idx="53">
                  <c:v>0.6254000631036677</c:v>
                </c:pt>
                <c:pt idx="54">
                  <c:v>0.4058656957096616</c:v>
                </c:pt>
              </c:numCache>
            </c:numRef>
          </c:xVal>
          <c:yVal>
            <c:numRef>
              <c:f>Sheet1!$B$187:$B$241</c:f>
              <c:numCache>
                <c:formatCode>General</c:formatCode>
                <c:ptCount val="55"/>
                <c:pt idx="0">
                  <c:v>0.13135646814115998</c:v>
                </c:pt>
                <c:pt idx="1">
                  <c:v>0.13279450298858222</c:v>
                </c:pt>
                <c:pt idx="2">
                  <c:v>0.13250604221345086</c:v>
                </c:pt>
                <c:pt idx="3">
                  <c:v>0.1320737750188299</c:v>
                </c:pt>
                <c:pt idx="4">
                  <c:v>0.132091696447634</c:v>
                </c:pt>
                <c:pt idx="5">
                  <c:v>0.13093549076789657</c:v>
                </c:pt>
                <c:pt idx="6">
                  <c:v>0.13278928418835523</c:v>
                </c:pt>
                <c:pt idx="7">
                  <c:v>0.13311694386999146</c:v>
                </c:pt>
                <c:pt idx="8">
                  <c:v>0.13255504456966516</c:v>
                </c:pt>
                <c:pt idx="9">
                  <c:v>0.13220486897882336</c:v>
                </c:pt>
                <c:pt idx="10">
                  <c:v>0.1332267340036786</c:v>
                </c:pt>
                <c:pt idx="11">
                  <c:v>0.13304567163447348</c:v>
                </c:pt>
                <c:pt idx="12">
                  <c:v>0.1344703855776369</c:v>
                </c:pt>
                <c:pt idx="13">
                  <c:v>0.13580986264527328</c:v>
                </c:pt>
                <c:pt idx="14">
                  <c:v>0.13594487446382553</c:v>
                </c:pt>
                <c:pt idx="15">
                  <c:v>0.13394746972736177</c:v>
                </c:pt>
                <c:pt idx="16">
                  <c:v>0.1335980540734633</c:v>
                </c:pt>
                <c:pt idx="17">
                  <c:v>0.1306147666074134</c:v>
                </c:pt>
                <c:pt idx="18">
                  <c:v>0.1310701586350197</c:v>
                </c:pt>
                <c:pt idx="19">
                  <c:v>0.13307323928894796</c:v>
                </c:pt>
                <c:pt idx="20">
                  <c:v>0.13283252981343122</c:v>
                </c:pt>
                <c:pt idx="21">
                  <c:v>0.1316154955364057</c:v>
                </c:pt>
                <c:pt idx="22">
                  <c:v>0.13193848364852426</c:v>
                </c:pt>
                <c:pt idx="23">
                  <c:v>0.13170171985297188</c:v>
                </c:pt>
                <c:pt idx="24">
                  <c:v>0.1320229154505691</c:v>
                </c:pt>
                <c:pt idx="25">
                  <c:v>0.13128377321337895</c:v>
                </c:pt>
                <c:pt idx="26">
                  <c:v>0.13062818670696097</c:v>
                </c:pt>
                <c:pt idx="27">
                  <c:v>0.13130341393890174</c:v>
                </c:pt>
                <c:pt idx="28">
                  <c:v>0.13385501688604884</c:v>
                </c:pt>
                <c:pt idx="29">
                  <c:v>0.13376442849838788</c:v>
                </c:pt>
                <c:pt idx="30">
                  <c:v>0.13367666912903783</c:v>
                </c:pt>
                <c:pt idx="31">
                  <c:v>0.13034356185445095</c:v>
                </c:pt>
                <c:pt idx="32">
                  <c:v>0.12952458166516193</c:v>
                </c:pt>
                <c:pt idx="33">
                  <c:v>0.1288733584333946</c:v>
                </c:pt>
                <c:pt idx="34">
                  <c:v>0.1296104381818405</c:v>
                </c:pt>
                <c:pt idx="35">
                  <c:v>0.13033154339543573</c:v>
                </c:pt>
                <c:pt idx="36">
                  <c:v>0.13048131042043543</c:v>
                </c:pt>
                <c:pt idx="37">
                  <c:v>0.1304275359548036</c:v>
                </c:pt>
                <c:pt idx="38">
                  <c:v>0.13112325509145054</c:v>
                </c:pt>
                <c:pt idx="39">
                  <c:v>0.1313741635681246</c:v>
                </c:pt>
                <c:pt idx="40">
                  <c:v>0.13136481426704064</c:v>
                </c:pt>
                <c:pt idx="41">
                  <c:v>0.1320639287820762</c:v>
                </c:pt>
                <c:pt idx="42">
                  <c:v>0.13130177059903647</c:v>
                </c:pt>
                <c:pt idx="43">
                  <c:v>0.13317128472318676</c:v>
                </c:pt>
                <c:pt idx="44">
                  <c:v>0.13429438522590006</c:v>
                </c:pt>
                <c:pt idx="45">
                  <c:v>0.13487988838907194</c:v>
                </c:pt>
                <c:pt idx="46">
                  <c:v>0.13313599207428842</c:v>
                </c:pt>
                <c:pt idx="47">
                  <c:v>0.134643958073134</c:v>
                </c:pt>
                <c:pt idx="48">
                  <c:v>0.13533018213748066</c:v>
                </c:pt>
                <c:pt idx="49">
                  <c:v>0.13691830115224857</c:v>
                </c:pt>
                <c:pt idx="50">
                  <c:v>0.13737677730308362</c:v>
                </c:pt>
                <c:pt idx="51">
                  <c:v>0.13432548419838425</c:v>
                </c:pt>
                <c:pt idx="52">
                  <c:v>0.14484901030271322</c:v>
                </c:pt>
                <c:pt idx="53">
                  <c:v>0.14484901030271322</c:v>
                </c:pt>
                <c:pt idx="54">
                  <c:v>0.134604940525817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958772193800782"/>
          <c:min val="0.04172113289760348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0.4157</c:v>
                </c:pt>
                <c:pt idx="1">
                  <c:v>833.0948</c:v>
                </c:pt>
                <c:pt idx="2">
                  <c:v>877.0721</c:v>
                </c:pt>
                <c:pt idx="3">
                  <c:v>894.9039</c:v>
                </c:pt>
                <c:pt idx="4">
                  <c:v>903.5401</c:v>
                </c:pt>
                <c:pt idx="5">
                  <c:v>895.4072</c:v>
                </c:pt>
                <c:pt idx="6">
                  <c:v>841.8521</c:v>
                </c:pt>
                <c:pt idx="7">
                  <c:v>858.8852</c:v>
                </c:pt>
                <c:pt idx="8">
                  <c:v>850.4341</c:v>
                </c:pt>
                <c:pt idx="9">
                  <c:v>850.9649</c:v>
                </c:pt>
                <c:pt idx="10">
                  <c:v>827.7996</c:v>
                </c:pt>
                <c:pt idx="11">
                  <c:v>865.698</c:v>
                </c:pt>
                <c:pt idx="12">
                  <c:v>870.6397</c:v>
                </c:pt>
                <c:pt idx="13">
                  <c:v>877.0027</c:v>
                </c:pt>
                <c:pt idx="14">
                  <c:v>900.9844</c:v>
                </c:pt>
                <c:pt idx="15">
                  <c:v>916.1449</c:v>
                </c:pt>
                <c:pt idx="16">
                  <c:v>920.5272</c:v>
                </c:pt>
                <c:pt idx="17">
                  <c:v>917.2086</c:v>
                </c:pt>
                <c:pt idx="18">
                  <c:v>945.465</c:v>
                </c:pt>
                <c:pt idx="19">
                  <c:v>928.1686</c:v>
                </c:pt>
                <c:pt idx="20">
                  <c:v>980.1253</c:v>
                </c:pt>
                <c:pt idx="21">
                  <c:v>1007.3453</c:v>
                </c:pt>
                <c:pt idx="22">
                  <c:v>977.8036</c:v>
                </c:pt>
                <c:pt idx="23">
                  <c:v>972.1144</c:v>
                </c:pt>
                <c:pt idx="24">
                  <c:v>1006.0563</c:v>
                </c:pt>
                <c:pt idx="25">
                  <c:v>972.2673</c:v>
                </c:pt>
                <c:pt idx="26">
                  <c:v>944.7288</c:v>
                </c:pt>
                <c:pt idx="27">
                  <c:v>1002.3166</c:v>
                </c:pt>
                <c:pt idx="28">
                  <c:v>988.2793</c:v>
                </c:pt>
                <c:pt idx="29">
                  <c:v>947.8739</c:v>
                </c:pt>
                <c:pt idx="30">
                  <c:v>948.0548</c:v>
                </c:pt>
                <c:pt idx="31">
                  <c:v>961.7687</c:v>
                </c:pt>
                <c:pt idx="32">
                  <c:v>938.4373</c:v>
                </c:pt>
                <c:pt idx="33">
                  <c:v>924.5707</c:v>
                </c:pt>
                <c:pt idx="34">
                  <c:v>909.6762</c:v>
                </c:pt>
                <c:pt idx="35">
                  <c:v>965.3873</c:v>
                </c:pt>
                <c:pt idx="36">
                  <c:v>1073.4796</c:v>
                </c:pt>
                <c:pt idx="37">
                  <c:v>1104.4395</c:v>
                </c:pt>
                <c:pt idx="38">
                  <c:v>1131.7548</c:v>
                </c:pt>
                <c:pt idx="39">
                  <c:v>1138.3583</c:v>
                </c:pt>
                <c:pt idx="40">
                  <c:v>1124.7606</c:v>
                </c:pt>
                <c:pt idx="41">
                  <c:v>1155.3412</c:v>
                </c:pt>
                <c:pt idx="42">
                  <c:v>1175.1574</c:v>
                </c:pt>
                <c:pt idx="43">
                  <c:v>1179.9659</c:v>
                </c:pt>
                <c:pt idx="44">
                  <c:v>1092.4663</c:v>
                </c:pt>
                <c:pt idx="45">
                  <c:v>1060.7269</c:v>
                </c:pt>
                <c:pt idx="46">
                  <c:v>1056.8816</c:v>
                </c:pt>
                <c:pt idx="47">
                  <c:v>1032.0557</c:v>
                </c:pt>
                <c:pt idx="48">
                  <c:v>1044.1246</c:v>
                </c:pt>
                <c:pt idx="49">
                  <c:v>1013.8239</c:v>
                </c:pt>
                <c:pt idx="50">
                  <c:v>988.881</c:v>
                </c:pt>
                <c:pt idx="51">
                  <c:v>1005.217</c:v>
                </c:pt>
                <c:pt idx="52">
                  <c:v>1018.3611</c:v>
                </c:pt>
                <c:pt idx="53">
                  <c:v>1100.6695</c:v>
                </c:pt>
                <c:pt idx="54">
                  <c:v>1078.7167</c:v>
                </c:pt>
                <c:pt idx="55">
                  <c:v>1080.286</c:v>
                </c:pt>
                <c:pt idx="56">
                  <c:v>1095.8056</c:v>
                </c:pt>
                <c:pt idx="57">
                  <c:v>1086.4695</c:v>
                </c:pt>
                <c:pt idx="58">
                  <c:v>1015.0648</c:v>
                </c:pt>
                <c:pt idx="59">
                  <c:v>1023.2639</c:v>
                </c:pt>
                <c:pt idx="60">
                  <c:v>1033.1318</c:v>
                </c:pt>
                <c:pt idx="61">
                  <c:v>1048.796</c:v>
                </c:pt>
                <c:pt idx="62">
                  <c:v>981.119</c:v>
                </c:pt>
                <c:pt idx="63">
                  <c:v>1018.5602</c:v>
                </c:pt>
                <c:pt idx="64">
                  <c:v>1023.682</c:v>
                </c:pt>
                <c:pt idx="65">
                  <c:v>1012.5565</c:v>
                </c:pt>
                <c:pt idx="66">
                  <c:v>1010.6297</c:v>
                </c:pt>
                <c:pt idx="67">
                  <c:v>1032.932</c:v>
                </c:pt>
                <c:pt idx="68">
                  <c:v>1047.1183</c:v>
                </c:pt>
                <c:pt idx="69">
                  <c:v>1084.2574</c:v>
                </c:pt>
                <c:pt idx="70">
                  <c:v>1056.3848</c:v>
                </c:pt>
                <c:pt idx="71">
                  <c:v>1132.2764</c:v>
                </c:pt>
                <c:pt idx="72">
                  <c:v>1235.1901</c:v>
                </c:pt>
                <c:pt idx="73">
                  <c:v>1196.09</c:v>
                </c:pt>
                <c:pt idx="74">
                  <c:v>1184.045</c:v>
                </c:pt>
                <c:pt idx="75">
                  <c:v>1165.6574</c:v>
                </c:pt>
                <c:pt idx="76">
                  <c:v>1125.8896</c:v>
                </c:pt>
                <c:pt idx="77">
                  <c:v>1121.1374</c:v>
                </c:pt>
                <c:pt idx="78">
                  <c:v>1151.6452</c:v>
                </c:pt>
                <c:pt idx="79">
                  <c:v>1176.8083</c:v>
                </c:pt>
                <c:pt idx="80">
                  <c:v>1166.2966</c:v>
                </c:pt>
                <c:pt idx="81">
                  <c:v>1166.6583</c:v>
                </c:pt>
                <c:pt idx="82">
                  <c:v>1153.699</c:v>
                </c:pt>
                <c:pt idx="83">
                  <c:v>1131.0397</c:v>
                </c:pt>
                <c:pt idx="84">
                  <c:v>1142.2522</c:v>
                </c:pt>
                <c:pt idx="85">
                  <c:v>1115.0029</c:v>
                </c:pt>
                <c:pt idx="86">
                  <c:v>1085.4207</c:v>
                </c:pt>
                <c:pt idx="87">
                  <c:v>1097.8587</c:v>
                </c:pt>
                <c:pt idx="88">
                  <c:v>1154.7131</c:v>
                </c:pt>
                <c:pt idx="89">
                  <c:v>1140.1216</c:v>
                </c:pt>
                <c:pt idx="90">
                  <c:v>1232.591</c:v>
                </c:pt>
                <c:pt idx="91">
                  <c:v>1238.8507</c:v>
                </c:pt>
                <c:pt idx="92">
                  <c:v>1178.6829</c:v>
                </c:pt>
                <c:pt idx="93">
                  <c:v>1226.7099</c:v>
                </c:pt>
                <c:pt idx="94">
                  <c:v>1238.0328</c:v>
                </c:pt>
                <c:pt idx="95">
                  <c:v>1197.976</c:v>
                </c:pt>
                <c:pt idx="96">
                  <c:v>1121.4882</c:v>
                </c:pt>
                <c:pt idx="97">
                  <c:v>1112.1444</c:v>
                </c:pt>
                <c:pt idx="98">
                  <c:v>1110.7206</c:v>
                </c:pt>
                <c:pt idx="99">
                  <c:v>1066.4263</c:v>
                </c:pt>
                <c:pt idx="100">
                  <c:v>1083.0188</c:v>
                </c:pt>
                <c:pt idx="101">
                  <c:v>1097.3645</c:v>
                </c:pt>
                <c:pt idx="102">
                  <c:v>1094.7418</c:v>
                </c:pt>
                <c:pt idx="103">
                  <c:v>1076.4669</c:v>
                </c:pt>
                <c:pt idx="104">
                  <c:v>1102.8747</c:v>
                </c:pt>
              </c:numCache>
            </c:numRef>
          </c:xVal>
          <c:yVal>
            <c:numRef>
              <c:f>Sheet1!$B$2:$B$106</c:f>
              <c:numCache>
                <c:formatCode>General</c:formatCode>
                <c:ptCount val="105"/>
                <c:pt idx="0">
                  <c:v>0.11442865083776702</c:v>
                </c:pt>
                <c:pt idx="1">
                  <c:v>0.09743754518435216</c:v>
                </c:pt>
                <c:pt idx="2">
                  <c:v>0.09953818827708703</c:v>
                </c:pt>
                <c:pt idx="3">
                  <c:v>0.10040473225404732</c:v>
                </c:pt>
                <c:pt idx="4">
                  <c:v>0.09611865549455842</c:v>
                </c:pt>
                <c:pt idx="5">
                  <c:v>0.1103075982888572</c:v>
                </c:pt>
                <c:pt idx="6">
                  <c:v>0.1314075630252101</c:v>
                </c:pt>
                <c:pt idx="7">
                  <c:v>0.13787085514834205</c:v>
                </c:pt>
                <c:pt idx="8">
                  <c:v>0.13373118133731182</c:v>
                </c:pt>
                <c:pt idx="9">
                  <c:v>0.11350683890577508</c:v>
                </c:pt>
                <c:pt idx="10">
                  <c:v>0.12666291924302042</c:v>
                </c:pt>
                <c:pt idx="11">
                  <c:v>0.11759623692041854</c:v>
                </c:pt>
                <c:pt idx="12">
                  <c:v>0.10507695029188041</c:v>
                </c:pt>
                <c:pt idx="13">
                  <c:v>0.09638236070768419</c:v>
                </c:pt>
                <c:pt idx="14">
                  <c:v>0.07772963604852687</c:v>
                </c:pt>
                <c:pt idx="15">
                  <c:v>0.06701525984420019</c:v>
                </c:pt>
                <c:pt idx="16">
                  <c:v>0.0706832298136646</c:v>
                </c:pt>
                <c:pt idx="17">
                  <c:v>0.06622773044151821</c:v>
                </c:pt>
                <c:pt idx="18">
                  <c:v>0.06116907245962555</c:v>
                </c:pt>
                <c:pt idx="19">
                  <c:v>0.05707531239446133</c:v>
                </c:pt>
                <c:pt idx="20">
                  <c:v>0.05215141612200436</c:v>
                </c:pt>
                <c:pt idx="21">
                  <c:v>0.05249658002735978</c:v>
                </c:pt>
                <c:pt idx="22">
                  <c:v>0.06302931596091205</c:v>
                </c:pt>
                <c:pt idx="23">
                  <c:v>0.07139134966128191</c:v>
                </c:pt>
                <c:pt idx="24">
                  <c:v>0.0686456400742115</c:v>
                </c:pt>
                <c:pt idx="25">
                  <c:v>0.07831107903284013</c:v>
                </c:pt>
                <c:pt idx="26">
                  <c:v>0.09581050026515821</c:v>
                </c:pt>
                <c:pt idx="27">
                  <c:v>0.09501954784973653</c:v>
                </c:pt>
                <c:pt idx="28">
                  <c:v>0.1259420532574108</c:v>
                </c:pt>
                <c:pt idx="29">
                  <c:v>0.11884183232497839</c:v>
                </c:pt>
                <c:pt idx="30">
                  <c:v>0.11295938104448743</c:v>
                </c:pt>
                <c:pt idx="31">
                  <c:v>0.12624705242154907</c:v>
                </c:pt>
                <c:pt idx="32">
                  <c:v>0.13386494740413982</c:v>
                </c:pt>
                <c:pt idx="33">
                  <c:v>0.12249644656932421</c:v>
                </c:pt>
                <c:pt idx="34">
                  <c:v>0.12295776352414377</c:v>
                </c:pt>
                <c:pt idx="35">
                  <c:v>0.12253589681187636</c:v>
                </c:pt>
                <c:pt idx="36">
                  <c:v>0.10906063549327043</c:v>
                </c:pt>
                <c:pt idx="37">
                  <c:v>0.1065959059893859</c:v>
                </c:pt>
                <c:pt idx="38">
                  <c:v>0.10355839416058395</c:v>
                </c:pt>
                <c:pt idx="39">
                  <c:v>0.09640445909875962</c:v>
                </c:pt>
                <c:pt idx="40">
                  <c:v>0.09676180724433636</c:v>
                </c:pt>
                <c:pt idx="41">
                  <c:v>0.09957188233669383</c:v>
                </c:pt>
                <c:pt idx="42">
                  <c:v>0.09488527724665392</c:v>
                </c:pt>
                <c:pt idx="43">
                  <c:v>0.08785446762974852</c:v>
                </c:pt>
                <c:pt idx="44">
                  <c:v>0.09907453906306048</c:v>
                </c:pt>
                <c:pt idx="45">
                  <c:v>0.11837921937360482</c:v>
                </c:pt>
                <c:pt idx="46">
                  <c:v>0.12288985188538905</c:v>
                </c:pt>
                <c:pt idx="47">
                  <c:v>0.11924888688133187</c:v>
                </c:pt>
                <c:pt idx="48">
                  <c:v>0.11587757054041128</c:v>
                </c:pt>
                <c:pt idx="49">
                  <c:v>0.11834444054717642</c:v>
                </c:pt>
                <c:pt idx="50">
                  <c:v>0.11709765107688018</c:v>
                </c:pt>
                <c:pt idx="51">
                  <c:v>0.108970043756311</c:v>
                </c:pt>
                <c:pt idx="52">
                  <c:v>0.10820392824221797</c:v>
                </c:pt>
                <c:pt idx="53">
                  <c:v>0.09879579375848033</c:v>
                </c:pt>
                <c:pt idx="54">
                  <c:v>0.10079357840007297</c:v>
                </c:pt>
                <c:pt idx="55">
                  <c:v>0.09787273745101698</c:v>
                </c:pt>
                <c:pt idx="56">
                  <c:v>0.09971070395371263</c:v>
                </c:pt>
                <c:pt idx="57">
                  <c:v>0.0959442128887464</c:v>
                </c:pt>
                <c:pt idx="58">
                  <c:v>0.11341482283769147</c:v>
                </c:pt>
                <c:pt idx="59">
                  <c:v>0.10626689103054408</c:v>
                </c:pt>
                <c:pt idx="60">
                  <c:v>0.10875488686174624</c:v>
                </c:pt>
                <c:pt idx="61">
                  <c:v>0.11598173515981736</c:v>
                </c:pt>
                <c:pt idx="62">
                  <c:v>0.12879383550872778</c:v>
                </c:pt>
                <c:pt idx="63">
                  <c:v>0.13117330140676445</c:v>
                </c:pt>
                <c:pt idx="64">
                  <c:v>0.12549599315334942</c:v>
                </c:pt>
                <c:pt idx="65">
                  <c:v>0.12532938076416336</c:v>
                </c:pt>
                <c:pt idx="66">
                  <c:v>0.12645815722738799</c:v>
                </c:pt>
                <c:pt idx="67">
                  <c:v>0.11880046136101499</c:v>
                </c:pt>
                <c:pt idx="68">
                  <c:v>0.10874004492546457</c:v>
                </c:pt>
                <c:pt idx="69">
                  <c:v>0.10110032362459546</c:v>
                </c:pt>
                <c:pt idx="70">
                  <c:v>0.10213488597768074</c:v>
                </c:pt>
                <c:pt idx="71">
                  <c:v>0.10002670940170941</c:v>
                </c:pt>
                <c:pt idx="72">
                  <c:v>0.09430627446029542</c:v>
                </c:pt>
                <c:pt idx="73">
                  <c:v>0.09850826501814272</c:v>
                </c:pt>
                <c:pt idx="74">
                  <c:v>0.10236318407960199</c:v>
                </c:pt>
                <c:pt idx="75">
                  <c:v>0.11290322580645161</c:v>
                </c:pt>
                <c:pt idx="76">
                  <c:v>0.11961189756640687</c:v>
                </c:pt>
                <c:pt idx="77">
                  <c:v>0.11140065146579804</c:v>
                </c:pt>
                <c:pt idx="78">
                  <c:v>0.11964912280701755</c:v>
                </c:pt>
                <c:pt idx="79">
                  <c:v>0.10746552543984783</c:v>
                </c:pt>
                <c:pt idx="80">
                  <c:v>0.10299056452902607</c:v>
                </c:pt>
                <c:pt idx="81">
                  <c:v>0.10344377771980172</c:v>
                </c:pt>
                <c:pt idx="82">
                  <c:v>0.10872576177285319</c:v>
                </c:pt>
                <c:pt idx="83">
                  <c:v>0.10953729933899906</c:v>
                </c:pt>
                <c:pt idx="84">
                  <c:v>0.10926960878782038</c:v>
                </c:pt>
                <c:pt idx="85">
                  <c:v>0.11450509096978802</c:v>
                </c:pt>
                <c:pt idx="86">
                  <c:v>0.1290824261275272</c:v>
                </c:pt>
                <c:pt idx="87">
                  <c:v>0.1292243946652855</c:v>
                </c:pt>
                <c:pt idx="88">
                  <c:v>0.11802644308287649</c:v>
                </c:pt>
                <c:pt idx="89">
                  <c:v>0.13193377709506743</c:v>
                </c:pt>
                <c:pt idx="90">
                  <c:v>0.11248047214025343</c:v>
                </c:pt>
                <c:pt idx="91">
                  <c:v>0.1077593430534607</c:v>
                </c:pt>
                <c:pt idx="92">
                  <c:v>0.11562757484207635</c:v>
                </c:pt>
                <c:pt idx="93">
                  <c:v>0.11568123393316196</c:v>
                </c:pt>
                <c:pt idx="94">
                  <c:v>0.11905133406147606</c:v>
                </c:pt>
                <c:pt idx="95">
                  <c:v>0.11781349026708918</c:v>
                </c:pt>
                <c:pt idx="96">
                  <c:v>0.11486486486486487</c:v>
                </c:pt>
                <c:pt idx="97">
                  <c:v>0.11742006615214995</c:v>
                </c:pt>
                <c:pt idx="98">
                  <c:v>0.11301757521596664</c:v>
                </c:pt>
                <c:pt idx="99">
                  <c:v>0.11469950042892466</c:v>
                </c:pt>
                <c:pt idx="100">
                  <c:v>0.1166948631190403</c:v>
                </c:pt>
                <c:pt idx="101">
                  <c:v>0.11547114875595553</c:v>
                </c:pt>
                <c:pt idx="102">
                  <c:v>0.11611353323249399</c:v>
                </c:pt>
                <c:pt idx="103">
                  <c:v>0.1138481484482619</c:v>
                </c:pt>
                <c:pt idx="104">
                  <c:v>0.1121194379391100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8.8242</c:v>
                </c:pt>
                <c:pt idx="1">
                  <c:v>1159.4467</c:v>
                </c:pt>
                <c:pt idx="2">
                  <c:v>1156.0528</c:v>
                </c:pt>
                <c:pt idx="3">
                  <c:v>1075.5449</c:v>
                </c:pt>
                <c:pt idx="4">
                  <c:v>1149.6842</c:v>
                </c:pt>
                <c:pt idx="5">
                  <c:v>1165.0073</c:v>
                </c:pt>
                <c:pt idx="6">
                  <c:v>1084.2562</c:v>
                </c:pt>
                <c:pt idx="7">
                  <c:v>1077.3117</c:v>
                </c:pt>
                <c:pt idx="8">
                  <c:v>1157.7246</c:v>
                </c:pt>
                <c:pt idx="9">
                  <c:v>1121.6394</c:v>
                </c:pt>
                <c:pt idx="10">
                  <c:v>1120.3102</c:v>
                </c:pt>
                <c:pt idx="11">
                  <c:v>1005.242</c:v>
                </c:pt>
                <c:pt idx="12">
                  <c:v>1035.6266</c:v>
                </c:pt>
                <c:pt idx="13">
                  <c:v>1090.2277</c:v>
                </c:pt>
                <c:pt idx="14">
                  <c:v>1085.3301</c:v>
                </c:pt>
                <c:pt idx="15">
                  <c:v>1107.1248</c:v>
                </c:pt>
                <c:pt idx="16">
                  <c:v>1142.1265</c:v>
                </c:pt>
                <c:pt idx="17">
                  <c:v>1020.4231</c:v>
                </c:pt>
                <c:pt idx="18">
                  <c:v>1122.3824</c:v>
                </c:pt>
                <c:pt idx="19">
                  <c:v>1292.9602</c:v>
                </c:pt>
                <c:pt idx="20">
                  <c:v>1294.5396</c:v>
                </c:pt>
                <c:pt idx="21">
                  <c:v>1240.1094</c:v>
                </c:pt>
                <c:pt idx="22">
                  <c:v>1226.3448</c:v>
                </c:pt>
                <c:pt idx="23">
                  <c:v>1213.6256</c:v>
                </c:pt>
                <c:pt idx="24">
                  <c:v>1218.5068</c:v>
                </c:pt>
                <c:pt idx="25">
                  <c:v>1166.0184</c:v>
                </c:pt>
                <c:pt idx="26">
                  <c:v>1149.4314</c:v>
                </c:pt>
                <c:pt idx="27">
                  <c:v>1164.8134</c:v>
                </c:pt>
                <c:pt idx="28">
                  <c:v>1196.1065</c:v>
                </c:pt>
                <c:pt idx="29">
                  <c:v>1191.5178</c:v>
                </c:pt>
                <c:pt idx="30">
                  <c:v>1201.9796</c:v>
                </c:pt>
                <c:pt idx="31">
                  <c:v>1210.3866</c:v>
                </c:pt>
                <c:pt idx="32">
                  <c:v>1216.379</c:v>
                </c:pt>
                <c:pt idx="33">
                  <c:v>1193.2512</c:v>
                </c:pt>
                <c:pt idx="34">
                  <c:v>1199.5961</c:v>
                </c:pt>
                <c:pt idx="35">
                  <c:v>1254.2799</c:v>
                </c:pt>
                <c:pt idx="36">
                  <c:v>1302.3394</c:v>
                </c:pt>
                <c:pt idx="37">
                  <c:v>1289.369</c:v>
                </c:pt>
                <c:pt idx="38">
                  <c:v>1305.2104</c:v>
                </c:pt>
                <c:pt idx="39">
                  <c:v>1249.3002</c:v>
                </c:pt>
                <c:pt idx="40">
                  <c:v>1277.2453</c:v>
                </c:pt>
                <c:pt idx="41">
                  <c:v>1315.8935</c:v>
                </c:pt>
                <c:pt idx="42">
                  <c:v>1307.2805</c:v>
                </c:pt>
                <c:pt idx="43">
                  <c:v>1321.8315</c:v>
                </c:pt>
                <c:pt idx="44">
                  <c:v>1232.6608</c:v>
                </c:pt>
                <c:pt idx="45">
                  <c:v>1181.1152</c:v>
                </c:pt>
                <c:pt idx="46">
                  <c:v>1159.8625</c:v>
                </c:pt>
                <c:pt idx="47">
                  <c:v>1140.1246</c:v>
                </c:pt>
                <c:pt idx="48">
                  <c:v>1145.6402</c:v>
                </c:pt>
                <c:pt idx="49">
                  <c:v>1165.5856</c:v>
                </c:pt>
                <c:pt idx="50">
                  <c:v>1136.1855</c:v>
                </c:pt>
                <c:pt idx="51">
                  <c:v>1115.4624</c:v>
                </c:pt>
              </c:numCache>
            </c:numRef>
          </c:xVal>
          <c:yVal>
            <c:numRef>
              <c:f>Sheet1!$B$109:$B$160</c:f>
              <c:numCache>
                <c:formatCode>General</c:formatCode>
                <c:ptCount val="52"/>
                <c:pt idx="0">
                  <c:v>0.11257718007273958</c:v>
                </c:pt>
                <c:pt idx="1">
                  <c:v>0.10940261576528809</c:v>
                </c:pt>
                <c:pt idx="2">
                  <c:v>0.1308103015075377</c:v>
                </c:pt>
                <c:pt idx="3">
                  <c:v>0.1488478136959531</c:v>
                </c:pt>
                <c:pt idx="4">
                  <c:v>0.12364760432766615</c:v>
                </c:pt>
                <c:pt idx="5">
                  <c:v>0.13022772534418564</c:v>
                </c:pt>
                <c:pt idx="6">
                  <c:v>0.14686032863849766</c:v>
                </c:pt>
                <c:pt idx="7">
                  <c:v>0.1579897682816732</c:v>
                </c:pt>
                <c:pt idx="8">
                  <c:v>0.13467244921250857</c:v>
                </c:pt>
                <c:pt idx="9">
                  <c:v>0.14012738853503184</c:v>
                </c:pt>
                <c:pt idx="10">
                  <c:v>0.14955798231929276</c:v>
                </c:pt>
                <c:pt idx="11">
                  <c:v>0.1430824695808923</c:v>
                </c:pt>
                <c:pt idx="12">
                  <c:v>0.1398525975193241</c:v>
                </c:pt>
                <c:pt idx="13">
                  <c:v>0.13342029255566942</c:v>
                </c:pt>
                <c:pt idx="14">
                  <c:v>0.13914294522659543</c:v>
                </c:pt>
                <c:pt idx="15">
                  <c:v>0.13644798602772623</c:v>
                </c:pt>
                <c:pt idx="16">
                  <c:v>0.13547396699501088</c:v>
                </c:pt>
                <c:pt idx="17">
                  <c:v>0.15477145148356056</c:v>
                </c:pt>
                <c:pt idx="18">
                  <c:v>0.13821138211382114</c:v>
                </c:pt>
                <c:pt idx="19">
                  <c:v>0.11728395061728394</c:v>
                </c:pt>
                <c:pt idx="20">
                  <c:v>0.10994679993551508</c:v>
                </c:pt>
                <c:pt idx="21">
                  <c:v>0.1154308617234469</c:v>
                </c:pt>
                <c:pt idx="22">
                  <c:v>0.11927144535840188</c:v>
                </c:pt>
                <c:pt idx="23">
                  <c:v>0.12002462043496102</c:v>
                </c:pt>
                <c:pt idx="24">
                  <c:v>0.12256628963471167</c:v>
                </c:pt>
                <c:pt idx="25">
                  <c:v>0.1303653423837093</c:v>
                </c:pt>
                <c:pt idx="26">
                  <c:v>0.12360939431396786</c:v>
                </c:pt>
                <c:pt idx="27">
                  <c:v>0.1276767026243761</c:v>
                </c:pt>
                <c:pt idx="28">
                  <c:v>0.117740308401787</c:v>
                </c:pt>
                <c:pt idx="29">
                  <c:v>0.121280276816609</c:v>
                </c:pt>
                <c:pt idx="30">
                  <c:v>0.1233591080740874</c:v>
                </c:pt>
                <c:pt idx="31">
                  <c:v>0.12526215443279315</c:v>
                </c:pt>
                <c:pt idx="32">
                  <c:v>0.12271152894606631</c:v>
                </c:pt>
                <c:pt idx="33">
                  <c:v>0.14164876476906552</c:v>
                </c:pt>
                <c:pt idx="34">
                  <c:v>0.15059890684963367</c:v>
                </c:pt>
                <c:pt idx="35">
                  <c:v>0.1454861614258803</c:v>
                </c:pt>
                <c:pt idx="36">
                  <c:v>0.13908974904296045</c:v>
                </c:pt>
                <c:pt idx="37">
                  <c:v>0.13500665525765354</c:v>
                </c:pt>
                <c:pt idx="38">
                  <c:v>0.12939698492462312</c:v>
                </c:pt>
                <c:pt idx="39">
                  <c:v>0.1296499764558154</c:v>
                </c:pt>
                <c:pt idx="40">
                  <c:v>0.1229709035222052</c:v>
                </c:pt>
                <c:pt idx="41">
                  <c:v>0.12968886304158186</c:v>
                </c:pt>
                <c:pt idx="42">
                  <c:v>0.12551406481329166</c:v>
                </c:pt>
                <c:pt idx="43">
                  <c:v>0.11495445635881471</c:v>
                </c:pt>
                <c:pt idx="44">
                  <c:v>0.1150932400932401</c:v>
                </c:pt>
                <c:pt idx="45">
                  <c:v>0.12943694192310531</c:v>
                </c:pt>
                <c:pt idx="46">
                  <c:v>0.15421835136799508</c:v>
                </c:pt>
                <c:pt idx="47">
                  <c:v>0.14894138804872067</c:v>
                </c:pt>
                <c:pt idx="48">
                  <c:v>0.14883913764510778</c:v>
                </c:pt>
                <c:pt idx="49">
                  <c:v>0.15145283269205254</c:v>
                </c:pt>
                <c:pt idx="50">
                  <c:v>0.1425160291841698</c:v>
                </c:pt>
                <c:pt idx="51">
                  <c:v>0.1365880416895227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36.9471505398017</c:v>
                </c:pt>
              </c:numCache>
            </c:numRef>
          </c:xVal>
          <c:yVal>
            <c:numRef>
              <c:f>Sheet1!$B$163:$B$164</c:f>
              <c:numCache>
                <c:formatCode>General</c:formatCode>
                <c:ptCount val="2"/>
                <c:pt idx="0">
                  <c:v>0.14484901030271322</c:v>
                </c:pt>
                <c:pt idx="1">
                  <c:v>0.144849010302713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36.9471505398017</c:v>
                </c:pt>
                <c:pt idx="1">
                  <c:v>1036.9471505398017</c:v>
                </c:pt>
              </c:numCache>
            </c:numRef>
          </c:xVal>
          <c:yVal>
            <c:numRef>
              <c:f>Sheet1!$B$167:$B$168</c:f>
              <c:numCache>
                <c:formatCode>General</c:formatCode>
                <c:ptCount val="2"/>
                <c:pt idx="0">
                  <c:v>0.144849010302713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6.9471505398017</c:v>
                </c:pt>
              </c:numCache>
            </c:numRef>
          </c:xVal>
          <c:yVal>
            <c:numRef>
              <c:f>Sheet1!$B$171:$B$172</c:f>
              <c:numCache>
                <c:formatCode>General</c:formatCode>
                <c:ptCount val="2"/>
                <c:pt idx="0">
                  <c:v>0.14484901030271322</c:v>
                </c:pt>
                <c:pt idx="1">
                  <c:v>0.1448490103027132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6.9471505398017</c:v>
                </c:pt>
                <c:pt idx="1">
                  <c:v>1036.9471505398017</c:v>
                </c:pt>
              </c:numCache>
            </c:numRef>
          </c:xVal>
          <c:yVal>
            <c:numRef>
              <c:f>Sheet1!$B$175:$B$176</c:f>
              <c:numCache>
                <c:formatCode>General</c:formatCode>
                <c:ptCount val="2"/>
                <c:pt idx="0">
                  <c:v>0.144849010302713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4.9917063926907</c:v>
                </c:pt>
              </c:numCache>
            </c:numRef>
          </c:xVal>
          <c:yVal>
            <c:numRef>
              <c:f>Sheet1!$B$179:$B$180</c:f>
              <c:numCache>
                <c:formatCode>General</c:formatCode>
                <c:ptCount val="2"/>
                <c:pt idx="0">
                  <c:v>0.13460494052581715</c:v>
                </c:pt>
                <c:pt idx="1">
                  <c:v>0.1346049405258171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4.9917063926907</c:v>
                </c:pt>
                <c:pt idx="1">
                  <c:v>1154.9917063926907</c:v>
                </c:pt>
              </c:numCache>
            </c:numRef>
          </c:xVal>
          <c:yVal>
            <c:numRef>
              <c:f>Sheet1!$B$183:$B$184</c:f>
              <c:numCache>
                <c:formatCode>General</c:formatCode>
                <c:ptCount val="2"/>
                <c:pt idx="0">
                  <c:v>0.134604940525817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8.8242</c:v>
                </c:pt>
                <c:pt idx="1">
                  <c:v>1159.4467</c:v>
                </c:pt>
                <c:pt idx="2">
                  <c:v>1156.0528</c:v>
                </c:pt>
                <c:pt idx="3">
                  <c:v>1075.5449</c:v>
                </c:pt>
                <c:pt idx="4">
                  <c:v>1149.6842</c:v>
                </c:pt>
                <c:pt idx="5">
                  <c:v>1165.0073</c:v>
                </c:pt>
                <c:pt idx="6">
                  <c:v>1084.2562</c:v>
                </c:pt>
                <c:pt idx="7">
                  <c:v>1077.3117</c:v>
                </c:pt>
                <c:pt idx="8">
                  <c:v>1157.7246</c:v>
                </c:pt>
                <c:pt idx="9">
                  <c:v>1121.6394</c:v>
                </c:pt>
                <c:pt idx="10">
                  <c:v>1120.3102</c:v>
                </c:pt>
                <c:pt idx="11">
                  <c:v>1005.242</c:v>
                </c:pt>
                <c:pt idx="12">
                  <c:v>1035.6266</c:v>
                </c:pt>
                <c:pt idx="13">
                  <c:v>1090.2277</c:v>
                </c:pt>
                <c:pt idx="14">
                  <c:v>1085.3301</c:v>
                </c:pt>
                <c:pt idx="15">
                  <c:v>1107.1248</c:v>
                </c:pt>
                <c:pt idx="16">
                  <c:v>1142.1265</c:v>
                </c:pt>
                <c:pt idx="17">
                  <c:v>1020.4231</c:v>
                </c:pt>
                <c:pt idx="18">
                  <c:v>1122.3824</c:v>
                </c:pt>
                <c:pt idx="19">
                  <c:v>1292.9602</c:v>
                </c:pt>
                <c:pt idx="20">
                  <c:v>1294.5396</c:v>
                </c:pt>
                <c:pt idx="21">
                  <c:v>1240.1094</c:v>
                </c:pt>
                <c:pt idx="22">
                  <c:v>1226.3448</c:v>
                </c:pt>
                <c:pt idx="23">
                  <c:v>1213.6256</c:v>
                </c:pt>
                <c:pt idx="24">
                  <c:v>1218.5068</c:v>
                </c:pt>
                <c:pt idx="25">
                  <c:v>1166.0184</c:v>
                </c:pt>
                <c:pt idx="26">
                  <c:v>1149.4314</c:v>
                </c:pt>
                <c:pt idx="27">
                  <c:v>1164.8134</c:v>
                </c:pt>
                <c:pt idx="28">
                  <c:v>1196.1065</c:v>
                </c:pt>
                <c:pt idx="29">
                  <c:v>1191.5178</c:v>
                </c:pt>
                <c:pt idx="30">
                  <c:v>1201.9796</c:v>
                </c:pt>
                <c:pt idx="31">
                  <c:v>1210.3866</c:v>
                </c:pt>
                <c:pt idx="32">
                  <c:v>1216.379</c:v>
                </c:pt>
                <c:pt idx="33">
                  <c:v>1193.2512</c:v>
                </c:pt>
                <c:pt idx="34">
                  <c:v>1199.5961</c:v>
                </c:pt>
                <c:pt idx="35">
                  <c:v>1254.2799</c:v>
                </c:pt>
                <c:pt idx="36">
                  <c:v>1302.3394</c:v>
                </c:pt>
                <c:pt idx="37">
                  <c:v>1289.369</c:v>
                </c:pt>
                <c:pt idx="38">
                  <c:v>1305.2104</c:v>
                </c:pt>
                <c:pt idx="39">
                  <c:v>1249.3002</c:v>
                </c:pt>
                <c:pt idx="40">
                  <c:v>1277.2453</c:v>
                </c:pt>
                <c:pt idx="41">
                  <c:v>1315.8935</c:v>
                </c:pt>
                <c:pt idx="42">
                  <c:v>1307.2805</c:v>
                </c:pt>
                <c:pt idx="43">
                  <c:v>1321.8315</c:v>
                </c:pt>
                <c:pt idx="44">
                  <c:v>1232.6608</c:v>
                </c:pt>
                <c:pt idx="45">
                  <c:v>1181.1152</c:v>
                </c:pt>
                <c:pt idx="46">
                  <c:v>1159.8625</c:v>
                </c:pt>
                <c:pt idx="47">
                  <c:v>1140.1246</c:v>
                </c:pt>
                <c:pt idx="48">
                  <c:v>1145.6402</c:v>
                </c:pt>
                <c:pt idx="49">
                  <c:v>1165.5856</c:v>
                </c:pt>
                <c:pt idx="50">
                  <c:v>1136.1855</c:v>
                </c:pt>
                <c:pt idx="51">
                  <c:v>1115.4624</c:v>
                </c:pt>
                <c:pt idx="52">
                  <c:v>1036.9471505398017</c:v>
                </c:pt>
                <c:pt idx="53">
                  <c:v>1036.9471505398017</c:v>
                </c:pt>
                <c:pt idx="54">
                  <c:v>1154.9917063926907</c:v>
                </c:pt>
              </c:numCache>
            </c:numRef>
          </c:xVal>
          <c:yVal>
            <c:numRef>
              <c:f>Sheet1!$B$187:$B$241</c:f>
              <c:numCache>
                <c:formatCode>General</c:formatCode>
                <c:ptCount val="55"/>
                <c:pt idx="0">
                  <c:v>0.1360079790853551</c:v>
                </c:pt>
                <c:pt idx="1">
                  <c:v>0.1342183300206637</c:v>
                </c:pt>
                <c:pt idx="2">
                  <c:v>0.13451285735540275</c:v>
                </c:pt>
                <c:pt idx="3">
                  <c:v>0.14149944423552258</c:v>
                </c:pt>
                <c:pt idx="4">
                  <c:v>0.13506553326925383</c:v>
                </c:pt>
                <c:pt idx="5">
                  <c:v>0.13373577346403265</c:v>
                </c:pt>
                <c:pt idx="6">
                  <c:v>0.1407434655764247</c:v>
                </c:pt>
                <c:pt idx="7">
                  <c:v>0.14134611888857163</c:v>
                </c:pt>
                <c:pt idx="8">
                  <c:v>0.13436777623980806</c:v>
                </c:pt>
                <c:pt idx="9">
                  <c:v>0.13749929979074532</c:v>
                </c:pt>
                <c:pt idx="10">
                  <c:v>0.13761464960462763</c:v>
                </c:pt>
                <c:pt idx="11">
                  <c:v>0.14760042710520843</c:v>
                </c:pt>
                <c:pt idx="12">
                  <c:v>0.1449636095044799</c:v>
                </c:pt>
                <c:pt idx="13">
                  <c:v>0.14022525054964302</c:v>
                </c:pt>
                <c:pt idx="14">
                  <c:v>0.14065027104954522</c:v>
                </c:pt>
                <c:pt idx="15">
                  <c:v>0.13875889684805506</c:v>
                </c:pt>
                <c:pt idx="16">
                  <c:v>0.13572140092527119</c:v>
                </c:pt>
                <c:pt idx="17">
                  <c:v>0.14628299025633038</c:v>
                </c:pt>
                <c:pt idx="18">
                  <c:v>0.13743482122340064</c:v>
                </c:pt>
                <c:pt idx="19">
                  <c:v>0.12263184388180175</c:v>
                </c:pt>
                <c:pt idx="20">
                  <c:v>0.12249478136596836</c:v>
                </c:pt>
                <c:pt idx="21">
                  <c:v>0.12721830938250217</c:v>
                </c:pt>
                <c:pt idx="22">
                  <c:v>0.12841282040278834</c:v>
                </c:pt>
                <c:pt idx="23">
                  <c:v>0.12951661016560193</c:v>
                </c:pt>
                <c:pt idx="24">
                  <c:v>0.129093012880376</c:v>
                </c:pt>
                <c:pt idx="25">
                  <c:v>0.13364802880798662</c:v>
                </c:pt>
                <c:pt idx="26">
                  <c:v>0.1350874716027999</c:v>
                </c:pt>
                <c:pt idx="27">
                  <c:v>0.13375260037413783</c:v>
                </c:pt>
                <c:pt idx="28">
                  <c:v>0.1310369418872281</c:v>
                </c:pt>
                <c:pt idx="29">
                  <c:v>0.13143515561801483</c:v>
                </c:pt>
                <c:pt idx="30">
                  <c:v>0.13052726614850393</c:v>
                </c:pt>
                <c:pt idx="31">
                  <c:v>0.12979769506416106</c:v>
                </c:pt>
                <c:pt idx="32">
                  <c:v>0.12927766630648102</c:v>
                </c:pt>
                <c:pt idx="33">
                  <c:v>0.13128472876924596</c:v>
                </c:pt>
                <c:pt idx="34">
                  <c:v>0.13073410957416484</c:v>
                </c:pt>
                <c:pt idx="35">
                  <c:v>0.12598857379897882</c:v>
                </c:pt>
                <c:pt idx="36">
                  <c:v>0.12181790393719978</c:v>
                </c:pt>
                <c:pt idx="37">
                  <c:v>0.12294349318334714</c:v>
                </c:pt>
                <c:pt idx="38">
                  <c:v>0.12156875458747356</c:v>
                </c:pt>
                <c:pt idx="39">
                  <c:v>0.12642071905040053</c:v>
                </c:pt>
                <c:pt idx="40">
                  <c:v>0.12399560463276402</c:v>
                </c:pt>
                <c:pt idx="41">
                  <c:v>0.12064166039797156</c:v>
                </c:pt>
                <c:pt idx="42">
                  <c:v>0.12138910844715023</c:v>
                </c:pt>
                <c:pt idx="43">
                  <c:v>0.12012635254751027</c:v>
                </c:pt>
                <c:pt idx="44">
                  <c:v>0.12786470918966716</c:v>
                </c:pt>
                <c:pt idx="45">
                  <c:v>0.13233790762967004</c:v>
                </c:pt>
                <c:pt idx="46">
                  <c:v>0.1341822463217378</c:v>
                </c:pt>
                <c:pt idx="47">
                  <c:v>0.1358951285752945</c:v>
                </c:pt>
                <c:pt idx="48">
                  <c:v>0.1354164771808849</c:v>
                </c:pt>
                <c:pt idx="49">
                  <c:v>0.13368558779041834</c:v>
                </c:pt>
                <c:pt idx="50">
                  <c:v>0.1362369691198806</c:v>
                </c:pt>
                <c:pt idx="51">
                  <c:v>0.13803534839167145</c:v>
                </c:pt>
                <c:pt idx="52">
                  <c:v>0.14484901030271322</c:v>
                </c:pt>
                <c:pt idx="53">
                  <c:v>0.14484901030271322</c:v>
                </c:pt>
                <c:pt idx="54">
                  <c:v>0.134604940525817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86.0"/>
          <c:min val="59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958772193800782"/>
          <c:min val="0.04172113289760348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07277435162357</c:v>
                </c:pt>
                <c:pt idx="1">
                  <c:v>0.38773596119139037</c:v>
                </c:pt>
                <c:pt idx="2">
                  <c:v>0.47177271022637857</c:v>
                </c:pt>
                <c:pt idx="3">
                  <c:v>0.46923156446580716</c:v>
                </c:pt>
                <c:pt idx="4">
                  <c:v>0.4348424862533721</c:v>
                </c:pt>
                <c:pt idx="5">
                  <c:v>0.46185651737569017</c:v>
                </c:pt>
                <c:pt idx="6">
                  <c:v>0.4158649905541812</c:v>
                </c:pt>
                <c:pt idx="7">
                  <c:v>0.3947612566059144</c:v>
                </c:pt>
                <c:pt idx="8">
                  <c:v>0.37334664750518043</c:v>
                </c:pt>
                <c:pt idx="9">
                  <c:v>0.3849653143577996</c:v>
                </c:pt>
                <c:pt idx="10">
                  <c:v>0.4250545861118751</c:v>
                </c:pt>
                <c:pt idx="11">
                  <c:v>0.4665684481571</c:v>
                </c:pt>
                <c:pt idx="12">
                  <c:v>0.4973775197454714</c:v>
                </c:pt>
                <c:pt idx="13">
                  <c:v>0.4929242980797898</c:v>
                </c:pt>
                <c:pt idx="14">
                  <c:v>0.49244260560135916</c:v>
                </c:pt>
                <c:pt idx="15">
                  <c:v>0.4866761474243801</c:v>
                </c:pt>
                <c:pt idx="16">
                  <c:v>0.46836674505348236</c:v>
                </c:pt>
                <c:pt idx="17">
                  <c:v>0.45053265516920693</c:v>
                </c:pt>
                <c:pt idx="18">
                  <c:v>0.4576528144823908</c:v>
                </c:pt>
                <c:pt idx="19">
                  <c:v>0.4687819660000138</c:v>
                </c:pt>
                <c:pt idx="20">
                  <c:v>0.4844223493313333</c:v>
                </c:pt>
                <c:pt idx="21">
                  <c:v>0.4386379345240491</c:v>
                </c:pt>
                <c:pt idx="22">
                  <c:v>0.4049351154511381</c:v>
                </c:pt>
                <c:pt idx="23">
                  <c:v>0.3892330646661529</c:v>
                </c:pt>
                <c:pt idx="24">
                  <c:v>0.3661855379858396</c:v>
                </c:pt>
                <c:pt idx="25">
                  <c:v>0.3456606024106313</c:v>
                </c:pt>
                <c:pt idx="26">
                  <c:v>0.3468661443027388</c:v>
                </c:pt>
                <c:pt idx="27">
                  <c:v>0.3658793531866547</c:v>
                </c:pt>
                <c:pt idx="28">
                  <c:v>0.37128233203925637</c:v>
                </c:pt>
                <c:pt idx="29">
                  <c:v>0.293562498088613</c:v>
                </c:pt>
                <c:pt idx="30">
                  <c:v>0.31177908937739934</c:v>
                </c:pt>
                <c:pt idx="31">
                  <c:v>0.33018408346709166</c:v>
                </c:pt>
                <c:pt idx="32">
                  <c:v>0.31790185699190293</c:v>
                </c:pt>
                <c:pt idx="33">
                  <c:v>0.2991843102674161</c:v>
                </c:pt>
                <c:pt idx="34">
                  <c:v>0.36770814794656964</c:v>
                </c:pt>
                <c:pt idx="35">
                  <c:v>0.3948909783157996</c:v>
                </c:pt>
                <c:pt idx="36">
                  <c:v>0.4234181256929736</c:v>
                </c:pt>
                <c:pt idx="37">
                  <c:v>0.3957693159158878</c:v>
                </c:pt>
                <c:pt idx="38">
                  <c:v>0.4200458424386827</c:v>
                </c:pt>
                <c:pt idx="39">
                  <c:v>0.4277006712159429</c:v>
                </c:pt>
                <c:pt idx="40">
                  <c:v>0.4315640663206791</c:v>
                </c:pt>
                <c:pt idx="41">
                  <c:v>0.4257859553034301</c:v>
                </c:pt>
                <c:pt idx="42">
                  <c:v>0.4447797636062354</c:v>
                </c:pt>
                <c:pt idx="43">
                  <c:v>0.4362825436245005</c:v>
                </c:pt>
                <c:pt idx="44">
                  <c:v>0.43430362314987714</c:v>
                </c:pt>
                <c:pt idx="45">
                  <c:v>0.44167196195858643</c:v>
                </c:pt>
                <c:pt idx="46">
                  <c:v>0.44820271414947266</c:v>
                </c:pt>
                <c:pt idx="47">
                  <c:v>0.4331976948136955</c:v>
                </c:pt>
                <c:pt idx="48">
                  <c:v>0.4601700856492849</c:v>
                </c:pt>
                <c:pt idx="49">
                  <c:v>0.5099985640850129</c:v>
                </c:pt>
                <c:pt idx="50">
                  <c:v>0.43843269344409774</c:v>
                </c:pt>
                <c:pt idx="51">
                  <c:v>0.42706485391614885</c:v>
                </c:pt>
                <c:pt idx="52">
                  <c:v>0.44711909440507597</c:v>
                </c:pt>
                <c:pt idx="53">
                  <c:v>0.4235880790262471</c:v>
                </c:pt>
                <c:pt idx="54">
                  <c:v>0.4050308695529483</c:v>
                </c:pt>
                <c:pt idx="55">
                  <c:v>0.408227151202749</c:v>
                </c:pt>
                <c:pt idx="56">
                  <c:v>0.41667078288003534</c:v>
                </c:pt>
                <c:pt idx="57">
                  <c:v>0.43311577282502994</c:v>
                </c:pt>
                <c:pt idx="58">
                  <c:v>0.4031616613569297</c:v>
                </c:pt>
                <c:pt idx="59">
                  <c:v>0.41023889035173416</c:v>
                </c:pt>
                <c:pt idx="60">
                  <c:v>0.40267755266040406</c:v>
                </c:pt>
                <c:pt idx="61">
                  <c:v>0.3939482363544502</c:v>
                </c:pt>
                <c:pt idx="62">
                  <c:v>0.38537674739725064</c:v>
                </c:pt>
                <c:pt idx="63">
                  <c:v>0.3931996949701724</c:v>
                </c:pt>
                <c:pt idx="64">
                  <c:v>0.40726503146516024</c:v>
                </c:pt>
                <c:pt idx="65">
                  <c:v>0.4616135883068666</c:v>
                </c:pt>
                <c:pt idx="66">
                  <c:v>0.47210425549648627</c:v>
                </c:pt>
                <c:pt idx="67">
                  <c:v>0.4915063458090747</c:v>
                </c:pt>
                <c:pt idx="68">
                  <c:v>0.4809938787528954</c:v>
                </c:pt>
                <c:pt idx="69">
                  <c:v>0.4651504079793216</c:v>
                </c:pt>
                <c:pt idx="70">
                  <c:v>0.45930773867094854</c:v>
                </c:pt>
                <c:pt idx="71">
                  <c:v>0.45592738355962786</c:v>
                </c:pt>
                <c:pt idx="72">
                  <c:v>0.4632410794559518</c:v>
                </c:pt>
                <c:pt idx="73">
                  <c:v>0.4864965677980407</c:v>
                </c:pt>
                <c:pt idx="74">
                  <c:v>0.4609334117610884</c:v>
                </c:pt>
                <c:pt idx="75">
                  <c:v>0.4332349447490907</c:v>
                </c:pt>
                <c:pt idx="76">
                  <c:v>0.4588763263544211</c:v>
                </c:pt>
                <c:pt idx="77">
                  <c:v>0.45598311213695725</c:v>
                </c:pt>
                <c:pt idx="78">
                  <c:v>0.45320685290430474</c:v>
                </c:pt>
                <c:pt idx="79">
                  <c:v>0.454759548903644</c:v>
                </c:pt>
                <c:pt idx="80">
                  <c:v>0.470656190690341</c:v>
                </c:pt>
                <c:pt idx="81">
                  <c:v>0.48220386524781367</c:v>
                </c:pt>
                <c:pt idx="82">
                  <c:v>0.4757824703806992</c:v>
                </c:pt>
                <c:pt idx="83">
                  <c:v>0.4587851440523039</c:v>
                </c:pt>
                <c:pt idx="84">
                  <c:v>0.4429944459556507</c:v>
                </c:pt>
                <c:pt idx="85">
                  <c:v>0.44604376849887634</c:v>
                </c:pt>
                <c:pt idx="86">
                  <c:v>0.46760232053286405</c:v>
                </c:pt>
                <c:pt idx="87">
                  <c:v>0.48874247461658193</c:v>
                </c:pt>
                <c:pt idx="88">
                  <c:v>0.44296638378027353</c:v>
                </c:pt>
                <c:pt idx="89">
                  <c:v>0.4153786857482837</c:v>
                </c:pt>
                <c:pt idx="90">
                  <c:v>0.43010350660461977</c:v>
                </c:pt>
                <c:pt idx="91">
                  <c:v>0.45691883860215937</c:v>
                </c:pt>
                <c:pt idx="92">
                  <c:v>0.4427894587473975</c:v>
                </c:pt>
                <c:pt idx="93">
                  <c:v>0.4699935134701642</c:v>
                </c:pt>
                <c:pt idx="94">
                  <c:v>0.47445076399103964</c:v>
                </c:pt>
                <c:pt idx="95">
                  <c:v>0.4988586969380758</c:v>
                </c:pt>
                <c:pt idx="96">
                  <c:v>0.5174811115485757</c:v>
                </c:pt>
                <c:pt idx="97">
                  <c:v>0.5503277588038907</c:v>
                </c:pt>
                <c:pt idx="98">
                  <c:v>0.5621696632596879</c:v>
                </c:pt>
                <c:pt idx="99">
                  <c:v>0.5341719175737168</c:v>
                </c:pt>
                <c:pt idx="100">
                  <c:v>0.5400701289652974</c:v>
                </c:pt>
                <c:pt idx="101">
                  <c:v>0.4822910715304689</c:v>
                </c:pt>
                <c:pt idx="102">
                  <c:v>0.4715288236702206</c:v>
                </c:pt>
                <c:pt idx="103">
                  <c:v>0.47808480792710994</c:v>
                </c:pt>
                <c:pt idx="104">
                  <c:v>0.48313024441404195</c:v>
                </c:pt>
              </c:numCache>
            </c:numRef>
          </c:xVal>
          <c:yVal>
            <c:numRef>
              <c:f>Sheet1!$B$2:$B$106</c:f>
              <c:numCache>
                <c:formatCode>General</c:formatCode>
                <c:ptCount val="105"/>
                <c:pt idx="0">
                  <c:v>0.2162312395775431</c:v>
                </c:pt>
                <c:pt idx="1">
                  <c:v>0.2006586874447747</c:v>
                </c:pt>
                <c:pt idx="2">
                  <c:v>0.16746003552397867</c:v>
                </c:pt>
                <c:pt idx="3">
                  <c:v>0.16197073474470736</c:v>
                </c:pt>
                <c:pt idx="4">
                  <c:v>0.15120870653953578</c:v>
                </c:pt>
                <c:pt idx="5">
                  <c:v>0.13729883886738645</c:v>
                </c:pt>
                <c:pt idx="6">
                  <c:v>0.16207983193277312</c:v>
                </c:pt>
                <c:pt idx="7">
                  <c:v>0.15956120668162552</c:v>
                </c:pt>
                <c:pt idx="8">
                  <c:v>0.17536959175369593</c:v>
                </c:pt>
                <c:pt idx="9">
                  <c:v>0.20725683890577506</c:v>
                </c:pt>
                <c:pt idx="10">
                  <c:v>0.21454000374742366</c:v>
                </c:pt>
                <c:pt idx="11">
                  <c:v>0.2016895459345301</c:v>
                </c:pt>
                <c:pt idx="12">
                  <c:v>0.20988855474969043</c:v>
                </c:pt>
                <c:pt idx="13">
                  <c:v>0.2230437461491066</c:v>
                </c:pt>
                <c:pt idx="14">
                  <c:v>0.22027729636048526</c:v>
                </c:pt>
                <c:pt idx="15">
                  <c:v>0.21929356525450858</c:v>
                </c:pt>
                <c:pt idx="16">
                  <c:v>0.21254658385093167</c:v>
                </c:pt>
                <c:pt idx="17">
                  <c:v>0.19493932352181773</c:v>
                </c:pt>
                <c:pt idx="18">
                  <c:v>0.1869372588252108</c:v>
                </c:pt>
                <c:pt idx="19">
                  <c:v>0.17359000337723743</c:v>
                </c:pt>
                <c:pt idx="20">
                  <c:v>0.19444444444444445</c:v>
                </c:pt>
                <c:pt idx="21">
                  <c:v>0.18519151846785226</c:v>
                </c:pt>
                <c:pt idx="22">
                  <c:v>0.18664495114006516</c:v>
                </c:pt>
                <c:pt idx="23">
                  <c:v>0.1950668751085635</c:v>
                </c:pt>
                <c:pt idx="24">
                  <c:v>0.18831168831168832</c:v>
                </c:pt>
                <c:pt idx="25">
                  <c:v>0.18675568386863947</c:v>
                </c:pt>
                <c:pt idx="26">
                  <c:v>0.19303517765600142</c:v>
                </c:pt>
                <c:pt idx="27">
                  <c:v>0.17015128335883054</c:v>
                </c:pt>
                <c:pt idx="28">
                  <c:v>0.16479651649639926</c:v>
                </c:pt>
                <c:pt idx="29">
                  <c:v>0.1989340247767214</c:v>
                </c:pt>
                <c:pt idx="30">
                  <c:v>0.17969052224371374</c:v>
                </c:pt>
                <c:pt idx="31">
                  <c:v>0.17431525485216762</c:v>
                </c:pt>
                <c:pt idx="32">
                  <c:v>0.18934509670851712</c:v>
                </c:pt>
                <c:pt idx="33">
                  <c:v>0.21914976095102726</c:v>
                </c:pt>
                <c:pt idx="34">
                  <c:v>0.19569163741982332</c:v>
                </c:pt>
                <c:pt idx="35">
                  <c:v>0.18861036748600632</c:v>
                </c:pt>
                <c:pt idx="36">
                  <c:v>0.13889274316636605</c:v>
                </c:pt>
                <c:pt idx="37">
                  <c:v>0.1291887793783169</c:v>
                </c:pt>
                <c:pt idx="38">
                  <c:v>0.12560827250608272</c:v>
                </c:pt>
                <c:pt idx="39">
                  <c:v>0.12089810017271158</c:v>
                </c:pt>
                <c:pt idx="40">
                  <c:v>0.11813643926788686</c:v>
                </c:pt>
                <c:pt idx="41">
                  <c:v>0.09736224278414583</c:v>
                </c:pt>
                <c:pt idx="42">
                  <c:v>0.10086042065009561</c:v>
                </c:pt>
                <c:pt idx="43">
                  <c:v>0.1090422685928304</c:v>
                </c:pt>
                <c:pt idx="44">
                  <c:v>0.12877537843460793</c:v>
                </c:pt>
                <c:pt idx="45">
                  <c:v>0.1496313332882365</c:v>
                </c:pt>
                <c:pt idx="46">
                  <c:v>0.15096048121078842</c:v>
                </c:pt>
                <c:pt idx="47">
                  <c:v>0.14789959346970383</c:v>
                </c:pt>
                <c:pt idx="48">
                  <c:v>0.1590626494500239</c:v>
                </c:pt>
                <c:pt idx="49">
                  <c:v>0.187127323746054</c:v>
                </c:pt>
                <c:pt idx="50">
                  <c:v>0.15020561789921238</c:v>
                </c:pt>
                <c:pt idx="51">
                  <c:v>0.1304274654998317</c:v>
                </c:pt>
                <c:pt idx="52">
                  <c:v>0.14316102956817697</c:v>
                </c:pt>
                <c:pt idx="53">
                  <c:v>0.12669606512890094</c:v>
                </c:pt>
                <c:pt idx="54">
                  <c:v>0.12414485086199033</c:v>
                </c:pt>
                <c:pt idx="55">
                  <c:v>0.11438701250233252</c:v>
                </c:pt>
                <c:pt idx="56">
                  <c:v>0.11668273866923819</c:v>
                </c:pt>
                <c:pt idx="57">
                  <c:v>0.10908945174735492</c:v>
                </c:pt>
                <c:pt idx="58">
                  <c:v>0.12997060188766826</c:v>
                </c:pt>
                <c:pt idx="59">
                  <c:v>0.13864667788486054</c:v>
                </c:pt>
                <c:pt idx="60">
                  <c:v>0.14897523990048572</c:v>
                </c:pt>
                <c:pt idx="61">
                  <c:v>0.14678289746782897</c:v>
                </c:pt>
                <c:pt idx="62">
                  <c:v>0.16551344551030037</c:v>
                </c:pt>
                <c:pt idx="63">
                  <c:v>0.1855731816821311</c:v>
                </c:pt>
                <c:pt idx="64">
                  <c:v>0.19271765346611686</c:v>
                </c:pt>
                <c:pt idx="65">
                  <c:v>0.17448945981554678</c:v>
                </c:pt>
                <c:pt idx="66">
                  <c:v>0.16863905325443787</c:v>
                </c:pt>
                <c:pt idx="67">
                  <c:v>0.15375743057403957</c:v>
                </c:pt>
                <c:pt idx="68">
                  <c:v>0.1376352869103533</c:v>
                </c:pt>
                <c:pt idx="69">
                  <c:v>0.12375404530744337</c:v>
                </c:pt>
                <c:pt idx="70">
                  <c:v>0.11256671518680253</c:v>
                </c:pt>
                <c:pt idx="71">
                  <c:v>0.11485042735042734</c:v>
                </c:pt>
                <c:pt idx="72">
                  <c:v>0.11879813154904684</c:v>
                </c:pt>
                <c:pt idx="73">
                  <c:v>0.11369439591452762</c:v>
                </c:pt>
                <c:pt idx="74">
                  <c:v>0.11106965174129353</c:v>
                </c:pt>
                <c:pt idx="75">
                  <c:v>0.11842891278375149</c:v>
                </c:pt>
                <c:pt idx="76">
                  <c:v>0.10943216160330842</c:v>
                </c:pt>
                <c:pt idx="77">
                  <c:v>0.11107491856677525</c:v>
                </c:pt>
                <c:pt idx="78">
                  <c:v>0.10087719298245613</c:v>
                </c:pt>
                <c:pt idx="79">
                  <c:v>0.09526073862735775</c:v>
                </c:pt>
                <c:pt idx="80">
                  <c:v>0.08891731968655045</c:v>
                </c:pt>
                <c:pt idx="81">
                  <c:v>0.10487868510305244</c:v>
                </c:pt>
                <c:pt idx="82">
                  <c:v>0.09210526315789473</c:v>
                </c:pt>
                <c:pt idx="83">
                  <c:v>0.08593012275731822</c:v>
                </c:pt>
                <c:pt idx="84">
                  <c:v>0.0944305261129312</c:v>
                </c:pt>
                <c:pt idx="85">
                  <c:v>0.11049908195626773</c:v>
                </c:pt>
                <c:pt idx="86">
                  <c:v>0.11845515811301192</c:v>
                </c:pt>
                <c:pt idx="87">
                  <c:v>0.13582804609607665</c:v>
                </c:pt>
                <c:pt idx="88">
                  <c:v>0.10931957433086101</c:v>
                </c:pt>
                <c:pt idx="89">
                  <c:v>0.09831029185867896</c:v>
                </c:pt>
                <c:pt idx="90">
                  <c:v>0.09772608922062143</c:v>
                </c:pt>
                <c:pt idx="91">
                  <c:v>0.09703368526897939</c:v>
                </c:pt>
                <c:pt idx="92">
                  <c:v>0.10670145564405382</c:v>
                </c:pt>
                <c:pt idx="93">
                  <c:v>0.10296306318495467</c:v>
                </c:pt>
                <c:pt idx="94">
                  <c:v>0.1070369792479326</c:v>
                </c:pt>
                <c:pt idx="95">
                  <c:v>0.11430511543684925</c:v>
                </c:pt>
                <c:pt idx="96">
                  <c:v>0.11659159159159159</c:v>
                </c:pt>
                <c:pt idx="97">
                  <c:v>0.1299614112458655</c:v>
                </c:pt>
                <c:pt idx="98">
                  <c:v>0.14781054512957997</c:v>
                </c:pt>
                <c:pt idx="99">
                  <c:v>0.15648180854821617</c:v>
                </c:pt>
                <c:pt idx="100">
                  <c:v>0.17798369732390035</c:v>
                </c:pt>
                <c:pt idx="101">
                  <c:v>0.15477766013763897</c:v>
                </c:pt>
                <c:pt idx="102">
                  <c:v>0.12323160423525224</c:v>
                </c:pt>
                <c:pt idx="103">
                  <c:v>0.130459444129325</c:v>
                </c:pt>
                <c:pt idx="104">
                  <c:v>0.1331967213114754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679529229787598</c:v>
                </c:pt>
                <c:pt idx="1">
                  <c:v>0.4454089606426851</c:v>
                </c:pt>
                <c:pt idx="2">
                  <c:v>0.453333368911338</c:v>
                </c:pt>
                <c:pt idx="3">
                  <c:v>0.4278144188679974</c:v>
                </c:pt>
                <c:pt idx="4">
                  <c:v>0.4296629143192915</c:v>
                </c:pt>
                <c:pt idx="5">
                  <c:v>0.4415808719442933</c:v>
                </c:pt>
                <c:pt idx="6">
                  <c:v>0.4571998441327668</c:v>
                </c:pt>
                <c:pt idx="7">
                  <c:v>0.45745164097877145</c:v>
                </c:pt>
                <c:pt idx="8">
                  <c:v>0.4796845050679661</c:v>
                </c:pt>
                <c:pt idx="9">
                  <c:v>0.46972594390672856</c:v>
                </c:pt>
                <c:pt idx="10">
                  <c:v>0.4749396800898754</c:v>
                </c:pt>
                <c:pt idx="11">
                  <c:v>0.45335166050723713</c:v>
                </c:pt>
                <c:pt idx="12">
                  <c:v>0.46109822203417516</c:v>
                </c:pt>
                <c:pt idx="13">
                  <c:v>0.44983513829147553</c:v>
                </c:pt>
                <c:pt idx="14">
                  <c:v>0.4416561405300101</c:v>
                </c:pt>
                <c:pt idx="15">
                  <c:v>0.4453171511598594</c:v>
                </c:pt>
                <c:pt idx="16">
                  <c:v>0.4571438274879533</c:v>
                </c:pt>
                <c:pt idx="17">
                  <c:v>0.44380426424203295</c:v>
                </c:pt>
                <c:pt idx="18">
                  <c:v>0.4085833937897249</c:v>
                </c:pt>
                <c:pt idx="19">
                  <c:v>0.44757233175819294</c:v>
                </c:pt>
                <c:pt idx="20">
                  <c:v>0.4310920420458762</c:v>
                </c:pt>
                <c:pt idx="21">
                  <c:v>0.40138977312502777</c:v>
                </c:pt>
                <c:pt idx="22">
                  <c:v>0.40715322466681536</c:v>
                </c:pt>
                <c:pt idx="23">
                  <c:v>0.4063676213333962</c:v>
                </c:pt>
                <c:pt idx="24">
                  <c:v>0.40613222705296204</c:v>
                </c:pt>
                <c:pt idx="25">
                  <c:v>0.4144067198947134</c:v>
                </c:pt>
                <c:pt idx="26">
                  <c:v>0.4212917224753239</c:v>
                </c:pt>
                <c:pt idx="27">
                  <c:v>0.43184449519150175</c:v>
                </c:pt>
                <c:pt idx="28">
                  <c:v>0.4158391552488209</c:v>
                </c:pt>
                <c:pt idx="29">
                  <c:v>0.3797929608787387</c:v>
                </c:pt>
                <c:pt idx="30">
                  <c:v>0.36908169228025617</c:v>
                </c:pt>
                <c:pt idx="31">
                  <c:v>0.376102185049801</c:v>
                </c:pt>
                <c:pt idx="32">
                  <c:v>0.37713872066077914</c:v>
                </c:pt>
                <c:pt idx="33">
                  <c:v>0.4051770242637207</c:v>
                </c:pt>
                <c:pt idx="34">
                  <c:v>0.4260937802618735</c:v>
                </c:pt>
                <c:pt idx="35">
                  <c:v>0.4026852242921422</c:v>
                </c:pt>
                <c:pt idx="36">
                  <c:v>0.35672641481009004</c:v>
                </c:pt>
                <c:pt idx="37">
                  <c:v>0.391165359299118</c:v>
                </c:pt>
                <c:pt idx="38">
                  <c:v>0.39613050776576986</c:v>
                </c:pt>
                <c:pt idx="39">
                  <c:v>0.4170386839575157</c:v>
                </c:pt>
                <c:pt idx="40">
                  <c:v>0.4336408658891718</c:v>
                </c:pt>
                <c:pt idx="41">
                  <c:v>0.4533672745010701</c:v>
                </c:pt>
                <c:pt idx="42">
                  <c:v>0.43949363730272456</c:v>
                </c:pt>
                <c:pt idx="43">
                  <c:v>0.49892517545162646</c:v>
                </c:pt>
                <c:pt idx="44">
                  <c:v>0.5359801444647945</c:v>
                </c:pt>
                <c:pt idx="45">
                  <c:v>0.5580935489840148</c:v>
                </c:pt>
                <c:pt idx="46">
                  <c:v>0.5361050179562198</c:v>
                </c:pt>
                <c:pt idx="47">
                  <c:v>0.5419712790671692</c:v>
                </c:pt>
                <c:pt idx="48">
                  <c:v>0.5699751467756566</c:v>
                </c:pt>
                <c:pt idx="49">
                  <c:v>0.5998579977573969</c:v>
                </c:pt>
                <c:pt idx="50">
                  <c:v>0.562000845653296</c:v>
                </c:pt>
                <c:pt idx="51">
                  <c:v>0.5099866419313114</c:v>
                </c:pt>
              </c:numCache>
            </c:numRef>
          </c:xVal>
          <c:yVal>
            <c:numRef>
              <c:f>Sheet1!$B$109:$B$160</c:f>
              <c:numCache>
                <c:formatCode>General</c:formatCode>
                <c:ptCount val="52"/>
                <c:pt idx="0">
                  <c:v>0.13321492007104796</c:v>
                </c:pt>
                <c:pt idx="1">
                  <c:v>0.13449982325910215</c:v>
                </c:pt>
                <c:pt idx="2">
                  <c:v>0.1396827889447236</c:v>
                </c:pt>
                <c:pt idx="3">
                  <c:v>0.1539776891132644</c:v>
                </c:pt>
                <c:pt idx="4">
                  <c:v>0.13462946392255756</c:v>
                </c:pt>
                <c:pt idx="5">
                  <c:v>0.1404450601783704</c:v>
                </c:pt>
                <c:pt idx="6">
                  <c:v>0.14612676056338028</c:v>
                </c:pt>
                <c:pt idx="7">
                  <c:v>0.13632260006018657</c:v>
                </c:pt>
                <c:pt idx="8">
                  <c:v>0.14083542570189456</c:v>
                </c:pt>
                <c:pt idx="9">
                  <c:v>0.15</c:v>
                </c:pt>
                <c:pt idx="10">
                  <c:v>0.1624544981799272</c:v>
                </c:pt>
                <c:pt idx="11">
                  <c:v>0.1800360522757999</c:v>
                </c:pt>
                <c:pt idx="12">
                  <c:v>0.17841092935466474</c:v>
                </c:pt>
                <c:pt idx="13">
                  <c:v>0.165191465573465</c:v>
                </c:pt>
                <c:pt idx="14">
                  <c:v>0.16082622546500874</c:v>
                </c:pt>
                <c:pt idx="15">
                  <c:v>0.1521667940181203</c:v>
                </c:pt>
                <c:pt idx="16">
                  <c:v>0.13368299859281055</c:v>
                </c:pt>
                <c:pt idx="17">
                  <c:v>0.11681368618016573</c:v>
                </c:pt>
                <c:pt idx="18">
                  <c:v>0.12445278298936835</c:v>
                </c:pt>
                <c:pt idx="19">
                  <c:v>0.12315567600120446</c:v>
                </c:pt>
                <c:pt idx="20">
                  <c:v>0.1030146703208125</c:v>
                </c:pt>
                <c:pt idx="21">
                  <c:v>0.10841683366733466</c:v>
                </c:pt>
                <c:pt idx="22">
                  <c:v>0.10497453975714845</c:v>
                </c:pt>
                <c:pt idx="23">
                  <c:v>0.1122281493639721</c:v>
                </c:pt>
                <c:pt idx="24">
                  <c:v>0.10383830891896903</c:v>
                </c:pt>
                <c:pt idx="25">
                  <c:v>0.1171890596925534</c:v>
                </c:pt>
                <c:pt idx="26">
                  <c:v>0.09765142150803462</c:v>
                </c:pt>
                <c:pt idx="27">
                  <c:v>0.10207696023184672</c:v>
                </c:pt>
                <c:pt idx="28">
                  <c:v>0.11831676034010664</c:v>
                </c:pt>
                <c:pt idx="29">
                  <c:v>0.11453287197231835</c:v>
                </c:pt>
                <c:pt idx="30">
                  <c:v>0.12228016543787089</c:v>
                </c:pt>
                <c:pt idx="31">
                  <c:v>0.12545281220209722</c:v>
                </c:pt>
                <c:pt idx="32">
                  <c:v>0.13310242454230578</c:v>
                </c:pt>
                <c:pt idx="33">
                  <c:v>0.14675080558539205</c:v>
                </c:pt>
                <c:pt idx="34">
                  <c:v>0.16978718455634376</c:v>
                </c:pt>
                <c:pt idx="35">
                  <c:v>0.15360092740182582</c:v>
                </c:pt>
                <c:pt idx="36">
                  <c:v>0.1220757124627818</c:v>
                </c:pt>
                <c:pt idx="37">
                  <c:v>0.10496292070735881</c:v>
                </c:pt>
                <c:pt idx="38">
                  <c:v>0.10301507537688442</c:v>
                </c:pt>
                <c:pt idx="39">
                  <c:v>0.12117407000470884</c:v>
                </c:pt>
                <c:pt idx="40">
                  <c:v>0.10336906584992343</c:v>
                </c:pt>
                <c:pt idx="41">
                  <c:v>0.10235533585344576</c:v>
                </c:pt>
                <c:pt idx="42">
                  <c:v>0.10429346932061194</c:v>
                </c:pt>
                <c:pt idx="43">
                  <c:v>0.10134901418194396</c:v>
                </c:pt>
                <c:pt idx="44">
                  <c:v>0.10198135198135198</c:v>
                </c:pt>
                <c:pt idx="45">
                  <c:v>0.12368090915799572</c:v>
                </c:pt>
                <c:pt idx="46">
                  <c:v>0.1137503299023489</c:v>
                </c:pt>
                <c:pt idx="47">
                  <c:v>0.1173056486552767</c:v>
                </c:pt>
                <c:pt idx="48">
                  <c:v>0.1158098396904367</c:v>
                </c:pt>
                <c:pt idx="49">
                  <c:v>0.13626111184821546</c:v>
                </c:pt>
                <c:pt idx="50">
                  <c:v>0.1701525536148574</c:v>
                </c:pt>
                <c:pt idx="51">
                  <c:v>0.1552386176631925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5311082653653052</c:v>
                </c:pt>
              </c:numCache>
            </c:numRef>
          </c:xVal>
          <c:yVal>
            <c:numRef>
              <c:f>Sheet1!$B$163:$B$164</c:f>
              <c:numCache>
                <c:formatCode>General</c:formatCode>
                <c:ptCount val="2"/>
                <c:pt idx="0">
                  <c:v>0.20335682181453954</c:v>
                </c:pt>
                <c:pt idx="1">
                  <c:v>0.2033568218145395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5311082653653052</c:v>
                </c:pt>
                <c:pt idx="1">
                  <c:v>1.5311082653653052</c:v>
                </c:pt>
              </c:numCache>
            </c:numRef>
          </c:xVal>
          <c:yVal>
            <c:numRef>
              <c:f>Sheet1!$B$167:$B$168</c:f>
              <c:numCache>
                <c:formatCode>General</c:formatCode>
                <c:ptCount val="2"/>
                <c:pt idx="0">
                  <c:v>0.203356821814539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651790168035961</c:v>
                </c:pt>
              </c:numCache>
            </c:numRef>
          </c:xVal>
          <c:yVal>
            <c:numRef>
              <c:f>Sheet1!$B$171:$B$172</c:f>
              <c:numCache>
                <c:formatCode>General</c:formatCode>
                <c:ptCount val="2"/>
                <c:pt idx="0">
                  <c:v>0.14436553070417552</c:v>
                </c:pt>
                <c:pt idx="1">
                  <c:v>0.1443655307041755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651790168035961</c:v>
                </c:pt>
                <c:pt idx="1">
                  <c:v>0.6651790168035961</c:v>
                </c:pt>
              </c:numCache>
            </c:numRef>
          </c:xVal>
          <c:yVal>
            <c:numRef>
              <c:f>Sheet1!$B$175:$B$176</c:f>
              <c:numCache>
                <c:formatCode>General</c:formatCode>
                <c:ptCount val="2"/>
                <c:pt idx="0">
                  <c:v>0.1443655307041755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1510837553326954</c:v>
                </c:pt>
              </c:numCache>
            </c:numRef>
          </c:xVal>
          <c:yVal>
            <c:numRef>
              <c:f>Sheet1!$B$179:$B$180</c:f>
              <c:numCache>
                <c:formatCode>General</c:formatCode>
                <c:ptCount val="2"/>
                <c:pt idx="0">
                  <c:v>0.12051702444033151</c:v>
                </c:pt>
                <c:pt idx="1">
                  <c:v>0.1205170244403315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1510837553326954</c:v>
                </c:pt>
                <c:pt idx="1">
                  <c:v>0.31510837553326954</c:v>
                </c:pt>
              </c:numCache>
            </c:numRef>
          </c:xVal>
          <c:yVal>
            <c:numRef>
              <c:f>Sheet1!$B$183:$B$184</c:f>
              <c:numCache>
                <c:formatCode>General</c:formatCode>
                <c:ptCount val="2"/>
                <c:pt idx="0">
                  <c:v>0.1205170244403315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679529229787598</c:v>
                </c:pt>
                <c:pt idx="1">
                  <c:v>0.4454089606426851</c:v>
                </c:pt>
                <c:pt idx="2">
                  <c:v>0.453333368911338</c:v>
                </c:pt>
                <c:pt idx="3">
                  <c:v>0.4278144188679974</c:v>
                </c:pt>
                <c:pt idx="4">
                  <c:v>0.4296629143192915</c:v>
                </c:pt>
                <c:pt idx="5">
                  <c:v>0.4415808719442933</c:v>
                </c:pt>
                <c:pt idx="6">
                  <c:v>0.4571998441327668</c:v>
                </c:pt>
                <c:pt idx="7">
                  <c:v>0.45745164097877145</c:v>
                </c:pt>
                <c:pt idx="8">
                  <c:v>0.4796845050679661</c:v>
                </c:pt>
                <c:pt idx="9">
                  <c:v>0.46972594390672856</c:v>
                </c:pt>
                <c:pt idx="10">
                  <c:v>0.4749396800898754</c:v>
                </c:pt>
                <c:pt idx="11">
                  <c:v>0.45335166050723713</c:v>
                </c:pt>
                <c:pt idx="12">
                  <c:v>0.46109822203417516</c:v>
                </c:pt>
                <c:pt idx="13">
                  <c:v>0.44983513829147553</c:v>
                </c:pt>
                <c:pt idx="14">
                  <c:v>0.4416561405300101</c:v>
                </c:pt>
                <c:pt idx="15">
                  <c:v>0.4453171511598594</c:v>
                </c:pt>
                <c:pt idx="16">
                  <c:v>0.4571438274879533</c:v>
                </c:pt>
                <c:pt idx="17">
                  <c:v>0.44380426424203295</c:v>
                </c:pt>
                <c:pt idx="18">
                  <c:v>0.4085833937897249</c:v>
                </c:pt>
                <c:pt idx="19">
                  <c:v>0.44757233175819294</c:v>
                </c:pt>
                <c:pt idx="20">
                  <c:v>0.4310920420458762</c:v>
                </c:pt>
                <c:pt idx="21">
                  <c:v>0.40138977312502777</c:v>
                </c:pt>
                <c:pt idx="22">
                  <c:v>0.40715322466681536</c:v>
                </c:pt>
                <c:pt idx="23">
                  <c:v>0.4063676213333962</c:v>
                </c:pt>
                <c:pt idx="24">
                  <c:v>0.40613222705296204</c:v>
                </c:pt>
                <c:pt idx="25">
                  <c:v>0.4144067198947134</c:v>
                </c:pt>
                <c:pt idx="26">
                  <c:v>0.4212917224753239</c:v>
                </c:pt>
                <c:pt idx="27">
                  <c:v>0.43184449519150175</c:v>
                </c:pt>
                <c:pt idx="28">
                  <c:v>0.4158391552488209</c:v>
                </c:pt>
                <c:pt idx="29">
                  <c:v>0.3797929608787387</c:v>
                </c:pt>
                <c:pt idx="30">
                  <c:v>0.36908169228025617</c:v>
                </c:pt>
                <c:pt idx="31">
                  <c:v>0.376102185049801</c:v>
                </c:pt>
                <c:pt idx="32">
                  <c:v>0.37713872066077914</c:v>
                </c:pt>
                <c:pt idx="33">
                  <c:v>0.4051770242637207</c:v>
                </c:pt>
                <c:pt idx="34">
                  <c:v>0.4260937802618735</c:v>
                </c:pt>
                <c:pt idx="35">
                  <c:v>0.4026852242921422</c:v>
                </c:pt>
                <c:pt idx="36">
                  <c:v>0.35672641481009004</c:v>
                </c:pt>
                <c:pt idx="37">
                  <c:v>0.391165359299118</c:v>
                </c:pt>
                <c:pt idx="38">
                  <c:v>0.39613050776576986</c:v>
                </c:pt>
                <c:pt idx="39">
                  <c:v>0.4170386839575157</c:v>
                </c:pt>
                <c:pt idx="40">
                  <c:v>0.4336408658891718</c:v>
                </c:pt>
                <c:pt idx="41">
                  <c:v>0.4533672745010701</c:v>
                </c:pt>
                <c:pt idx="42">
                  <c:v>0.43949363730272456</c:v>
                </c:pt>
                <c:pt idx="43">
                  <c:v>0.49892517545162646</c:v>
                </c:pt>
                <c:pt idx="44">
                  <c:v>0.5359801444647945</c:v>
                </c:pt>
                <c:pt idx="45">
                  <c:v>0.5580935489840148</c:v>
                </c:pt>
                <c:pt idx="46">
                  <c:v>0.5361050179562198</c:v>
                </c:pt>
                <c:pt idx="47">
                  <c:v>0.5419712790671692</c:v>
                </c:pt>
                <c:pt idx="48">
                  <c:v>0.5699751467756566</c:v>
                </c:pt>
                <c:pt idx="49">
                  <c:v>0.5998579977573969</c:v>
                </c:pt>
                <c:pt idx="50">
                  <c:v>0.562000845653296</c:v>
                </c:pt>
                <c:pt idx="51">
                  <c:v>0.5099866419313114</c:v>
                </c:pt>
                <c:pt idx="52">
                  <c:v>0.6651790168035961</c:v>
                </c:pt>
                <c:pt idx="53">
                  <c:v>1.5311082653653052</c:v>
                </c:pt>
                <c:pt idx="54">
                  <c:v>0.31510837553326954</c:v>
                </c:pt>
              </c:numCache>
            </c:numRef>
          </c:xVal>
          <c:yVal>
            <c:numRef>
              <c:f>Sheet1!$B$187:$B$241</c:f>
              <c:numCache>
                <c:formatCode>General</c:formatCode>
                <c:ptCount val="55"/>
                <c:pt idx="0">
                  <c:v>0.13092953470946145</c:v>
                </c:pt>
                <c:pt idx="1">
                  <c:v>0.12939373089274386</c:v>
                </c:pt>
                <c:pt idx="2">
                  <c:v>0.1299335799344871</c:v>
                </c:pt>
                <c:pt idx="3">
                  <c:v>0.12819510555758162</c:v>
                </c:pt>
                <c:pt idx="4">
                  <c:v>0.12832103401358955</c:v>
                </c:pt>
                <c:pt idx="5">
                  <c:v>0.12913294296442498</c:v>
                </c:pt>
                <c:pt idx="6">
                  <c:v>0.13019698293852833</c:v>
                </c:pt>
                <c:pt idx="7">
                  <c:v>0.1302141365582588</c:v>
                </c:pt>
                <c:pt idx="8">
                  <c:v>0.13172874685682684</c:v>
                </c:pt>
                <c:pt idx="9">
                  <c:v>0.13105032147567855</c:v>
                </c:pt>
                <c:pt idx="10">
                  <c:v>0.13140550641655394</c:v>
                </c:pt>
                <c:pt idx="11">
                  <c:v>0.12993482604652262</c:v>
                </c:pt>
                <c:pt idx="12">
                  <c:v>0.130462559307524</c:v>
                </c:pt>
                <c:pt idx="13">
                  <c:v>0.12969526353483868</c:v>
                </c:pt>
                <c:pt idx="14">
                  <c:v>0.12913807062474927</c:v>
                </c:pt>
                <c:pt idx="15">
                  <c:v>0.1293874763864582</c:v>
                </c:pt>
                <c:pt idx="16">
                  <c:v>0.1301931668135889</c:v>
                </c:pt>
                <c:pt idx="17">
                  <c:v>0.12928441120794068</c:v>
                </c:pt>
                <c:pt idx="18">
                  <c:v>0.12688499505995446</c:v>
                </c:pt>
                <c:pt idx="19">
                  <c:v>0.12954111020285106</c:v>
                </c:pt>
                <c:pt idx="20">
                  <c:v>0.12841839311064382</c:v>
                </c:pt>
                <c:pt idx="21">
                  <c:v>0.1263949308064678</c:v>
                </c:pt>
                <c:pt idx="22">
                  <c:v>0.12678756501794267</c:v>
                </c:pt>
                <c:pt idx="23">
                  <c:v>0.12673404591691223</c:v>
                </c:pt>
                <c:pt idx="24">
                  <c:v>0.12671800971932926</c:v>
                </c:pt>
                <c:pt idx="25">
                  <c:v>0.1272817082164399</c:v>
                </c:pt>
                <c:pt idx="26">
                  <c:v>0.12775074791246935</c:v>
                </c:pt>
                <c:pt idx="27">
                  <c:v>0.12846965386045014</c:v>
                </c:pt>
                <c:pt idx="28">
                  <c:v>0.1273792926450884</c:v>
                </c:pt>
                <c:pt idx="29">
                  <c:v>0.12492365143763616</c:v>
                </c:pt>
                <c:pt idx="30">
                  <c:v>0.12419394798310578</c:v>
                </c:pt>
                <c:pt idx="31">
                  <c:v>0.12467221792651548</c:v>
                </c:pt>
                <c:pt idx="32">
                  <c:v>0.1247428317486898</c:v>
                </c:pt>
                <c:pt idx="33">
                  <c:v>0.126652936682585</c:v>
                </c:pt>
                <c:pt idx="34">
                  <c:v>0.12807788732863487</c:v>
                </c:pt>
                <c:pt idx="35">
                  <c:v>0.12648318320935803</c:v>
                </c:pt>
                <c:pt idx="36">
                  <c:v>0.1233522466879913</c:v>
                </c:pt>
                <c:pt idx="37">
                  <c:v>0.1256983942551977</c:v>
                </c:pt>
                <c:pt idx="38">
                  <c:v>0.1260366441977755</c:v>
                </c:pt>
                <c:pt idx="39">
                  <c:v>0.1274610103458906</c:v>
                </c:pt>
                <c:pt idx="40">
                  <c:v>0.1285920313259814</c:v>
                </c:pt>
                <c:pt idx="41">
                  <c:v>0.12993588974734707</c:v>
                </c:pt>
                <c:pt idx="42">
                  <c:v>0.12899075043938796</c:v>
                </c:pt>
                <c:pt idx="43">
                  <c:v>0.13303951443933584</c:v>
                </c:pt>
                <c:pt idx="44">
                  <c:v>0.1355638782574793</c:v>
                </c:pt>
                <c:pt idx="45">
                  <c:v>0.1370703503920114</c:v>
                </c:pt>
                <c:pt idx="46">
                  <c:v>0.1355723852440453</c:v>
                </c:pt>
                <c:pt idx="47">
                  <c:v>0.1359720233409224</c:v>
                </c:pt>
                <c:pt idx="48">
                  <c:v>0.13787978233503353</c:v>
                </c:pt>
                <c:pt idx="49">
                  <c:v>0.13991554676313145</c:v>
                </c:pt>
                <c:pt idx="50">
                  <c:v>0.13733653435063733</c:v>
                </c:pt>
                <c:pt idx="51">
                  <c:v>0.13379307506833002</c:v>
                </c:pt>
                <c:pt idx="52">
                  <c:v>0.14436553070417552</c:v>
                </c:pt>
                <c:pt idx="53">
                  <c:v>0.20335682181453954</c:v>
                </c:pt>
                <c:pt idx="54">
                  <c:v>0.1205170244403315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765249537892793"/>
          <c:min val="0.0687440982058545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0.9622</c:v>
                </c:pt>
                <c:pt idx="1">
                  <c:v>817.1421</c:v>
                </c:pt>
                <c:pt idx="2">
                  <c:v>857.0717</c:v>
                </c:pt>
                <c:pt idx="3">
                  <c:v>870.5565</c:v>
                </c:pt>
                <c:pt idx="4">
                  <c:v>871.0529</c:v>
                </c:pt>
                <c:pt idx="5">
                  <c:v>869.1409</c:v>
                </c:pt>
                <c:pt idx="6">
                  <c:v>826.5068</c:v>
                </c:pt>
                <c:pt idx="7">
                  <c:v>840.0289</c:v>
                </c:pt>
                <c:pt idx="8">
                  <c:v>827.7417</c:v>
                </c:pt>
                <c:pt idx="9">
                  <c:v>812.1691</c:v>
                </c:pt>
                <c:pt idx="10">
                  <c:v>820.1319</c:v>
                </c:pt>
                <c:pt idx="11">
                  <c:v>863.0048</c:v>
                </c:pt>
                <c:pt idx="12">
                  <c:v>864.6089</c:v>
                </c:pt>
                <c:pt idx="13">
                  <c:v>855.4227</c:v>
                </c:pt>
                <c:pt idx="14">
                  <c:v>857.7939</c:v>
                </c:pt>
                <c:pt idx="15">
                  <c:v>867.6311</c:v>
                </c:pt>
                <c:pt idx="16">
                  <c:v>872.2607</c:v>
                </c:pt>
                <c:pt idx="17">
                  <c:v>881.2093</c:v>
                </c:pt>
                <c:pt idx="18">
                  <c:v>920.7668</c:v>
                </c:pt>
                <c:pt idx="19">
                  <c:v>946.4436</c:v>
                </c:pt>
                <c:pt idx="20">
                  <c:v>945.6632</c:v>
                </c:pt>
                <c:pt idx="21">
                  <c:v>955.5355</c:v>
                </c:pt>
                <c:pt idx="22">
                  <c:v>934.849</c:v>
                </c:pt>
                <c:pt idx="23">
                  <c:v>922.7124</c:v>
                </c:pt>
                <c:pt idx="24">
                  <c:v>902.6609</c:v>
                </c:pt>
                <c:pt idx="25">
                  <c:v>885.1498</c:v>
                </c:pt>
                <c:pt idx="26">
                  <c:v>878.0888</c:v>
                </c:pt>
                <c:pt idx="27">
                  <c:v>920.2547</c:v>
                </c:pt>
                <c:pt idx="28">
                  <c:v>922.7185</c:v>
                </c:pt>
                <c:pt idx="29">
                  <c:v>712.2556</c:v>
                </c:pt>
                <c:pt idx="30">
                  <c:v>781.5662</c:v>
                </c:pt>
                <c:pt idx="31">
                  <c:v>836.2497</c:v>
                </c:pt>
                <c:pt idx="32">
                  <c:v>812.6254</c:v>
                </c:pt>
                <c:pt idx="33">
                  <c:v>725.5265</c:v>
                </c:pt>
                <c:pt idx="34">
                  <c:v>859.9147</c:v>
                </c:pt>
                <c:pt idx="35">
                  <c:v>907.2174</c:v>
                </c:pt>
                <c:pt idx="36">
                  <c:v>983.4306</c:v>
                </c:pt>
                <c:pt idx="37">
                  <c:v>997.5516</c:v>
                </c:pt>
                <c:pt idx="38">
                  <c:v>1037.9455</c:v>
                </c:pt>
                <c:pt idx="39">
                  <c:v>1047.1026</c:v>
                </c:pt>
                <c:pt idx="40">
                  <c:v>1047.3911</c:v>
                </c:pt>
                <c:pt idx="41">
                  <c:v>1076.9801</c:v>
                </c:pt>
                <c:pt idx="42">
                  <c:v>1092.1588</c:v>
                </c:pt>
                <c:pt idx="43">
                  <c:v>1080.8705</c:v>
                </c:pt>
                <c:pt idx="44">
                  <c:v>1001.4318</c:v>
                </c:pt>
                <c:pt idx="45">
                  <c:v>972.1252</c:v>
                </c:pt>
                <c:pt idx="46">
                  <c:v>973.4876</c:v>
                </c:pt>
                <c:pt idx="47">
                  <c:v>950.3796</c:v>
                </c:pt>
                <c:pt idx="48">
                  <c:v>974.2739</c:v>
                </c:pt>
                <c:pt idx="49">
                  <c:v>963.2298</c:v>
                </c:pt>
                <c:pt idx="50">
                  <c:v>938.1777</c:v>
                </c:pt>
                <c:pt idx="51">
                  <c:v>932.2839</c:v>
                </c:pt>
                <c:pt idx="52">
                  <c:v>944.0862</c:v>
                </c:pt>
                <c:pt idx="53">
                  <c:v>1011.6319</c:v>
                </c:pt>
                <c:pt idx="54">
                  <c:v>1011.903</c:v>
                </c:pt>
                <c:pt idx="55">
                  <c:v>1021.217</c:v>
                </c:pt>
                <c:pt idx="56">
                  <c:v>1052.7579</c:v>
                </c:pt>
                <c:pt idx="57">
                  <c:v>1044.0529</c:v>
                </c:pt>
                <c:pt idx="58">
                  <c:v>1004.7018</c:v>
                </c:pt>
                <c:pt idx="59">
                  <c:v>995.4027</c:v>
                </c:pt>
                <c:pt idx="60">
                  <c:v>1015.8163</c:v>
                </c:pt>
                <c:pt idx="61">
                  <c:v>1001.4774</c:v>
                </c:pt>
                <c:pt idx="62">
                  <c:v>962.3131</c:v>
                </c:pt>
                <c:pt idx="63">
                  <c:v>1018.8677</c:v>
                </c:pt>
                <c:pt idx="64">
                  <c:v>1017.9956</c:v>
                </c:pt>
                <c:pt idx="65">
                  <c:v>1007.6918</c:v>
                </c:pt>
                <c:pt idx="66">
                  <c:v>998.0351</c:v>
                </c:pt>
                <c:pt idx="67">
                  <c:v>1013.9308</c:v>
                </c:pt>
                <c:pt idx="68">
                  <c:v>995.5252</c:v>
                </c:pt>
                <c:pt idx="69">
                  <c:v>995.25</c:v>
                </c:pt>
                <c:pt idx="70">
                  <c:v>993.7963</c:v>
                </c:pt>
                <c:pt idx="71">
                  <c:v>1069.7628</c:v>
                </c:pt>
                <c:pt idx="72">
                  <c:v>1132.3061</c:v>
                </c:pt>
                <c:pt idx="73">
                  <c:v>1180.2163</c:v>
                </c:pt>
                <c:pt idx="74">
                  <c:v>1133.2755</c:v>
                </c:pt>
                <c:pt idx="75">
                  <c:v>1105.0681</c:v>
                </c:pt>
                <c:pt idx="76">
                  <c:v>1145.202</c:v>
                </c:pt>
                <c:pt idx="77">
                  <c:v>1126.2507</c:v>
                </c:pt>
                <c:pt idx="78">
                  <c:v>1120.3287</c:v>
                </c:pt>
                <c:pt idx="79">
                  <c:v>1140.4143</c:v>
                </c:pt>
                <c:pt idx="80">
                  <c:v>1125.2644</c:v>
                </c:pt>
                <c:pt idx="81">
                  <c:v>1104.7861</c:v>
                </c:pt>
                <c:pt idx="82">
                  <c:v>1121.3158</c:v>
                </c:pt>
                <c:pt idx="83">
                  <c:v>1124.4945</c:v>
                </c:pt>
                <c:pt idx="84">
                  <c:v>1082.3367</c:v>
                </c:pt>
                <c:pt idx="85">
                  <c:v>1082.8973</c:v>
                </c:pt>
                <c:pt idx="86">
                  <c:v>1089.2068</c:v>
                </c:pt>
                <c:pt idx="87">
                  <c:v>1107.8789</c:v>
                </c:pt>
                <c:pt idx="88">
                  <c:v>1118.326</c:v>
                </c:pt>
                <c:pt idx="89">
                  <c:v>1098.6198</c:v>
                </c:pt>
                <c:pt idx="90">
                  <c:v>1164.6252</c:v>
                </c:pt>
                <c:pt idx="91">
                  <c:v>1163.1002</c:v>
                </c:pt>
                <c:pt idx="92">
                  <c:v>1087.7851</c:v>
                </c:pt>
                <c:pt idx="93">
                  <c:v>1134.6018</c:v>
                </c:pt>
                <c:pt idx="94">
                  <c:v>1153.1866</c:v>
                </c:pt>
                <c:pt idx="95">
                  <c:v>1127.9911</c:v>
                </c:pt>
                <c:pt idx="96">
                  <c:v>1074.6079</c:v>
                </c:pt>
                <c:pt idx="97">
                  <c:v>1075.9857</c:v>
                </c:pt>
                <c:pt idx="98">
                  <c:v>1070.8626</c:v>
                </c:pt>
                <c:pt idx="99">
                  <c:v>1010.6991</c:v>
                </c:pt>
                <c:pt idx="100">
                  <c:v>1021.3506</c:v>
                </c:pt>
                <c:pt idx="101">
                  <c:v>1026.9132</c:v>
                </c:pt>
                <c:pt idx="102">
                  <c:v>1022.9343</c:v>
                </c:pt>
                <c:pt idx="103">
                  <c:v>999.459</c:v>
                </c:pt>
                <c:pt idx="104">
                  <c:v>1059.3722</c:v>
                </c:pt>
              </c:numCache>
            </c:numRef>
          </c:xVal>
          <c:yVal>
            <c:numRef>
              <c:f>Sheet1!$B$2:$B$106</c:f>
              <c:numCache>
                <c:formatCode>General</c:formatCode>
                <c:ptCount val="105"/>
                <c:pt idx="0">
                  <c:v>0.2162312395775431</c:v>
                </c:pt>
                <c:pt idx="1">
                  <c:v>0.2006586874447747</c:v>
                </c:pt>
                <c:pt idx="2">
                  <c:v>0.16746003552397867</c:v>
                </c:pt>
                <c:pt idx="3">
                  <c:v>0.16197073474470736</c:v>
                </c:pt>
                <c:pt idx="4">
                  <c:v>0.15120870653953578</c:v>
                </c:pt>
                <c:pt idx="5">
                  <c:v>0.13729883886738645</c:v>
                </c:pt>
                <c:pt idx="6">
                  <c:v>0.16207983193277312</c:v>
                </c:pt>
                <c:pt idx="7">
                  <c:v>0.15956120668162552</c:v>
                </c:pt>
                <c:pt idx="8">
                  <c:v>0.17536959175369593</c:v>
                </c:pt>
                <c:pt idx="9">
                  <c:v>0.20725683890577506</c:v>
                </c:pt>
                <c:pt idx="10">
                  <c:v>0.21454000374742366</c:v>
                </c:pt>
                <c:pt idx="11">
                  <c:v>0.2016895459345301</c:v>
                </c:pt>
                <c:pt idx="12">
                  <c:v>0.20988855474969043</c:v>
                </c:pt>
                <c:pt idx="13">
                  <c:v>0.2230437461491066</c:v>
                </c:pt>
                <c:pt idx="14">
                  <c:v>0.22027729636048526</c:v>
                </c:pt>
                <c:pt idx="15">
                  <c:v>0.21929356525450858</c:v>
                </c:pt>
                <c:pt idx="16">
                  <c:v>0.21254658385093167</c:v>
                </c:pt>
                <c:pt idx="17">
                  <c:v>0.19493932352181773</c:v>
                </c:pt>
                <c:pt idx="18">
                  <c:v>0.1869372588252108</c:v>
                </c:pt>
                <c:pt idx="19">
                  <c:v>0.17359000337723743</c:v>
                </c:pt>
                <c:pt idx="20">
                  <c:v>0.19444444444444445</c:v>
                </c:pt>
                <c:pt idx="21">
                  <c:v>0.18519151846785226</c:v>
                </c:pt>
                <c:pt idx="22">
                  <c:v>0.18664495114006516</c:v>
                </c:pt>
                <c:pt idx="23">
                  <c:v>0.1950668751085635</c:v>
                </c:pt>
                <c:pt idx="24">
                  <c:v>0.18831168831168832</c:v>
                </c:pt>
                <c:pt idx="25">
                  <c:v>0.18675568386863947</c:v>
                </c:pt>
                <c:pt idx="26">
                  <c:v>0.19303517765600142</c:v>
                </c:pt>
                <c:pt idx="27">
                  <c:v>0.17015128335883054</c:v>
                </c:pt>
                <c:pt idx="28">
                  <c:v>0.16479651649639926</c:v>
                </c:pt>
                <c:pt idx="29">
                  <c:v>0.1989340247767214</c:v>
                </c:pt>
                <c:pt idx="30">
                  <c:v>0.17969052224371374</c:v>
                </c:pt>
                <c:pt idx="31">
                  <c:v>0.17431525485216762</c:v>
                </c:pt>
                <c:pt idx="32">
                  <c:v>0.18934509670851712</c:v>
                </c:pt>
                <c:pt idx="33">
                  <c:v>0.21914976095102726</c:v>
                </c:pt>
                <c:pt idx="34">
                  <c:v>0.19569163741982332</c:v>
                </c:pt>
                <c:pt idx="35">
                  <c:v>0.18861036748600632</c:v>
                </c:pt>
                <c:pt idx="36">
                  <c:v>0.13889274316636605</c:v>
                </c:pt>
                <c:pt idx="37">
                  <c:v>0.1291887793783169</c:v>
                </c:pt>
                <c:pt idx="38">
                  <c:v>0.12560827250608272</c:v>
                </c:pt>
                <c:pt idx="39">
                  <c:v>0.12089810017271158</c:v>
                </c:pt>
                <c:pt idx="40">
                  <c:v>0.11813643926788686</c:v>
                </c:pt>
                <c:pt idx="41">
                  <c:v>0.09736224278414583</c:v>
                </c:pt>
                <c:pt idx="42">
                  <c:v>0.10086042065009561</c:v>
                </c:pt>
                <c:pt idx="43">
                  <c:v>0.1090422685928304</c:v>
                </c:pt>
                <c:pt idx="44">
                  <c:v>0.12877537843460793</c:v>
                </c:pt>
                <c:pt idx="45">
                  <c:v>0.1496313332882365</c:v>
                </c:pt>
                <c:pt idx="46">
                  <c:v>0.15096048121078842</c:v>
                </c:pt>
                <c:pt idx="47">
                  <c:v>0.14789959346970383</c:v>
                </c:pt>
                <c:pt idx="48">
                  <c:v>0.1590626494500239</c:v>
                </c:pt>
                <c:pt idx="49">
                  <c:v>0.187127323746054</c:v>
                </c:pt>
                <c:pt idx="50">
                  <c:v>0.15020561789921238</c:v>
                </c:pt>
                <c:pt idx="51">
                  <c:v>0.1304274654998317</c:v>
                </c:pt>
                <c:pt idx="52">
                  <c:v>0.14316102956817697</c:v>
                </c:pt>
                <c:pt idx="53">
                  <c:v>0.12669606512890094</c:v>
                </c:pt>
                <c:pt idx="54">
                  <c:v>0.12414485086199033</c:v>
                </c:pt>
                <c:pt idx="55">
                  <c:v>0.11438701250233252</c:v>
                </c:pt>
                <c:pt idx="56">
                  <c:v>0.11668273866923819</c:v>
                </c:pt>
                <c:pt idx="57">
                  <c:v>0.10908945174735492</c:v>
                </c:pt>
                <c:pt idx="58">
                  <c:v>0.12997060188766826</c:v>
                </c:pt>
                <c:pt idx="59">
                  <c:v>0.13864667788486054</c:v>
                </c:pt>
                <c:pt idx="60">
                  <c:v>0.14897523990048572</c:v>
                </c:pt>
                <c:pt idx="61">
                  <c:v>0.14678289746782897</c:v>
                </c:pt>
                <c:pt idx="62">
                  <c:v>0.16551344551030037</c:v>
                </c:pt>
                <c:pt idx="63">
                  <c:v>0.1855731816821311</c:v>
                </c:pt>
                <c:pt idx="64">
                  <c:v>0.19271765346611686</c:v>
                </c:pt>
                <c:pt idx="65">
                  <c:v>0.17448945981554678</c:v>
                </c:pt>
                <c:pt idx="66">
                  <c:v>0.16863905325443787</c:v>
                </c:pt>
                <c:pt idx="67">
                  <c:v>0.15375743057403957</c:v>
                </c:pt>
                <c:pt idx="68">
                  <c:v>0.1376352869103533</c:v>
                </c:pt>
                <c:pt idx="69">
                  <c:v>0.12375404530744337</c:v>
                </c:pt>
                <c:pt idx="70">
                  <c:v>0.11256671518680253</c:v>
                </c:pt>
                <c:pt idx="71">
                  <c:v>0.11485042735042734</c:v>
                </c:pt>
                <c:pt idx="72">
                  <c:v>0.11879813154904684</c:v>
                </c:pt>
                <c:pt idx="73">
                  <c:v>0.11369439591452762</c:v>
                </c:pt>
                <c:pt idx="74">
                  <c:v>0.11106965174129353</c:v>
                </c:pt>
                <c:pt idx="75">
                  <c:v>0.11842891278375149</c:v>
                </c:pt>
                <c:pt idx="76">
                  <c:v>0.10943216160330842</c:v>
                </c:pt>
                <c:pt idx="77">
                  <c:v>0.11107491856677525</c:v>
                </c:pt>
                <c:pt idx="78">
                  <c:v>0.10087719298245613</c:v>
                </c:pt>
                <c:pt idx="79">
                  <c:v>0.09526073862735775</c:v>
                </c:pt>
                <c:pt idx="80">
                  <c:v>0.08891731968655045</c:v>
                </c:pt>
                <c:pt idx="81">
                  <c:v>0.10487868510305244</c:v>
                </c:pt>
                <c:pt idx="82">
                  <c:v>0.09210526315789473</c:v>
                </c:pt>
                <c:pt idx="83">
                  <c:v>0.08593012275731822</c:v>
                </c:pt>
                <c:pt idx="84">
                  <c:v>0.0944305261129312</c:v>
                </c:pt>
                <c:pt idx="85">
                  <c:v>0.11049908195626773</c:v>
                </c:pt>
                <c:pt idx="86">
                  <c:v>0.11845515811301192</c:v>
                </c:pt>
                <c:pt idx="87">
                  <c:v>0.13582804609607665</c:v>
                </c:pt>
                <c:pt idx="88">
                  <c:v>0.10931957433086101</c:v>
                </c:pt>
                <c:pt idx="89">
                  <c:v>0.09831029185867896</c:v>
                </c:pt>
                <c:pt idx="90">
                  <c:v>0.09772608922062143</c:v>
                </c:pt>
                <c:pt idx="91">
                  <c:v>0.09703368526897939</c:v>
                </c:pt>
                <c:pt idx="92">
                  <c:v>0.10670145564405382</c:v>
                </c:pt>
                <c:pt idx="93">
                  <c:v>0.10296306318495467</c:v>
                </c:pt>
                <c:pt idx="94">
                  <c:v>0.1070369792479326</c:v>
                </c:pt>
                <c:pt idx="95">
                  <c:v>0.11430511543684925</c:v>
                </c:pt>
                <c:pt idx="96">
                  <c:v>0.11659159159159159</c:v>
                </c:pt>
                <c:pt idx="97">
                  <c:v>0.1299614112458655</c:v>
                </c:pt>
                <c:pt idx="98">
                  <c:v>0.14781054512957997</c:v>
                </c:pt>
                <c:pt idx="99">
                  <c:v>0.15648180854821617</c:v>
                </c:pt>
                <c:pt idx="100">
                  <c:v>0.17798369732390035</c:v>
                </c:pt>
                <c:pt idx="101">
                  <c:v>0.15477766013763897</c:v>
                </c:pt>
                <c:pt idx="102">
                  <c:v>0.12323160423525224</c:v>
                </c:pt>
                <c:pt idx="103">
                  <c:v>0.130459444129325</c:v>
                </c:pt>
                <c:pt idx="104">
                  <c:v>0.1331967213114754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70.4673</c:v>
                </c:pt>
                <c:pt idx="1">
                  <c:v>1068.707</c:v>
                </c:pt>
                <c:pt idx="2">
                  <c:v>1070.3243</c:v>
                </c:pt>
                <c:pt idx="3">
                  <c:v>1045.1407</c:v>
                </c:pt>
                <c:pt idx="4">
                  <c:v>1057.7027</c:v>
                </c:pt>
                <c:pt idx="5">
                  <c:v>1064.8218</c:v>
                </c:pt>
                <c:pt idx="6">
                  <c:v>983.5823</c:v>
                </c:pt>
                <c:pt idx="7">
                  <c:v>1040.4776</c:v>
                </c:pt>
                <c:pt idx="8">
                  <c:v>1104.3655</c:v>
                </c:pt>
                <c:pt idx="9">
                  <c:v>1058.7084</c:v>
                </c:pt>
                <c:pt idx="10">
                  <c:v>1086.6466</c:v>
                </c:pt>
                <c:pt idx="11">
                  <c:v>937.5165</c:v>
                </c:pt>
                <c:pt idx="12">
                  <c:v>981.2504</c:v>
                </c:pt>
                <c:pt idx="13">
                  <c:v>1054.9024</c:v>
                </c:pt>
                <c:pt idx="14">
                  <c:v>1045.0351</c:v>
                </c:pt>
                <c:pt idx="15">
                  <c:v>1081.9735</c:v>
                </c:pt>
                <c:pt idx="16">
                  <c:v>1122.599</c:v>
                </c:pt>
                <c:pt idx="17">
                  <c:v>1102.1041</c:v>
                </c:pt>
                <c:pt idx="18">
                  <c:v>1033.6281</c:v>
                </c:pt>
                <c:pt idx="19">
                  <c:v>1182.7738</c:v>
                </c:pt>
                <c:pt idx="20">
                  <c:v>1190.1768</c:v>
                </c:pt>
                <c:pt idx="21">
                  <c:v>1100.9926</c:v>
                </c:pt>
                <c:pt idx="22">
                  <c:v>1128.8451</c:v>
                </c:pt>
                <c:pt idx="23">
                  <c:v>1099.6344</c:v>
                </c:pt>
                <c:pt idx="24">
                  <c:v>1094.0911</c:v>
                </c:pt>
                <c:pt idx="25">
                  <c:v>1046.5315</c:v>
                </c:pt>
                <c:pt idx="26">
                  <c:v>1096.3146</c:v>
                </c:pt>
                <c:pt idx="27">
                  <c:v>1101.2555</c:v>
                </c:pt>
                <c:pt idx="28">
                  <c:v>1059.6005</c:v>
                </c:pt>
                <c:pt idx="29">
                  <c:v>1047.3958</c:v>
                </c:pt>
                <c:pt idx="30">
                  <c:v>994.8559</c:v>
                </c:pt>
                <c:pt idx="31">
                  <c:v>977.7143</c:v>
                </c:pt>
                <c:pt idx="32">
                  <c:v>989.1574</c:v>
                </c:pt>
                <c:pt idx="33">
                  <c:v>1022.688</c:v>
                </c:pt>
                <c:pt idx="34">
                  <c:v>1045.4562</c:v>
                </c:pt>
                <c:pt idx="35">
                  <c:v>1053.1566</c:v>
                </c:pt>
                <c:pt idx="36">
                  <c:v>1054.8902</c:v>
                </c:pt>
                <c:pt idx="37">
                  <c:v>1160.5</c:v>
                </c:pt>
                <c:pt idx="38">
                  <c:v>1161.9756</c:v>
                </c:pt>
                <c:pt idx="39">
                  <c:v>1097.2073</c:v>
                </c:pt>
                <c:pt idx="40">
                  <c:v>1140.4652</c:v>
                </c:pt>
                <c:pt idx="41">
                  <c:v>1212.3395</c:v>
                </c:pt>
                <c:pt idx="42">
                  <c:v>1195.358</c:v>
                </c:pt>
                <c:pt idx="43">
                  <c:v>1199.1013</c:v>
                </c:pt>
                <c:pt idx="44">
                  <c:v>1113.6857</c:v>
                </c:pt>
                <c:pt idx="45">
                  <c:v>1084.5519</c:v>
                </c:pt>
                <c:pt idx="46">
                  <c:v>1096.8283</c:v>
                </c:pt>
                <c:pt idx="47">
                  <c:v>1074.476</c:v>
                </c:pt>
                <c:pt idx="48">
                  <c:v>1064.8323</c:v>
                </c:pt>
                <c:pt idx="49">
                  <c:v>1092.4002</c:v>
                </c:pt>
                <c:pt idx="50">
                  <c:v>975.5975</c:v>
                </c:pt>
                <c:pt idx="51">
                  <c:v>939.7557</c:v>
                </c:pt>
              </c:numCache>
            </c:numRef>
          </c:xVal>
          <c:yVal>
            <c:numRef>
              <c:f>Sheet1!$B$109:$B$160</c:f>
              <c:numCache>
                <c:formatCode>General</c:formatCode>
                <c:ptCount val="52"/>
                <c:pt idx="0">
                  <c:v>0.13321492007104796</c:v>
                </c:pt>
                <c:pt idx="1">
                  <c:v>0.13449982325910215</c:v>
                </c:pt>
                <c:pt idx="2">
                  <c:v>0.1396827889447236</c:v>
                </c:pt>
                <c:pt idx="3">
                  <c:v>0.1539776891132644</c:v>
                </c:pt>
                <c:pt idx="4">
                  <c:v>0.13462946392255756</c:v>
                </c:pt>
                <c:pt idx="5">
                  <c:v>0.1404450601783704</c:v>
                </c:pt>
                <c:pt idx="6">
                  <c:v>0.14612676056338028</c:v>
                </c:pt>
                <c:pt idx="7">
                  <c:v>0.13632260006018657</c:v>
                </c:pt>
                <c:pt idx="8">
                  <c:v>0.14083542570189456</c:v>
                </c:pt>
                <c:pt idx="9">
                  <c:v>0.15</c:v>
                </c:pt>
                <c:pt idx="10">
                  <c:v>0.1624544981799272</c:v>
                </c:pt>
                <c:pt idx="11">
                  <c:v>0.1800360522757999</c:v>
                </c:pt>
                <c:pt idx="12">
                  <c:v>0.17841092935466474</c:v>
                </c:pt>
                <c:pt idx="13">
                  <c:v>0.165191465573465</c:v>
                </c:pt>
                <c:pt idx="14">
                  <c:v>0.16082622546500874</c:v>
                </c:pt>
                <c:pt idx="15">
                  <c:v>0.1521667940181203</c:v>
                </c:pt>
                <c:pt idx="16">
                  <c:v>0.13368299859281055</c:v>
                </c:pt>
                <c:pt idx="17">
                  <c:v>0.11681368618016573</c:v>
                </c:pt>
                <c:pt idx="18">
                  <c:v>0.12445278298936835</c:v>
                </c:pt>
                <c:pt idx="19">
                  <c:v>0.12315567600120446</c:v>
                </c:pt>
                <c:pt idx="20">
                  <c:v>0.1030146703208125</c:v>
                </c:pt>
                <c:pt idx="21">
                  <c:v>0.10841683366733466</c:v>
                </c:pt>
                <c:pt idx="22">
                  <c:v>0.10497453975714845</c:v>
                </c:pt>
                <c:pt idx="23">
                  <c:v>0.1122281493639721</c:v>
                </c:pt>
                <c:pt idx="24">
                  <c:v>0.10383830891896903</c:v>
                </c:pt>
                <c:pt idx="25">
                  <c:v>0.1171890596925534</c:v>
                </c:pt>
                <c:pt idx="26">
                  <c:v>0.09765142150803462</c:v>
                </c:pt>
                <c:pt idx="27">
                  <c:v>0.10207696023184672</c:v>
                </c:pt>
                <c:pt idx="28">
                  <c:v>0.11831676034010664</c:v>
                </c:pt>
                <c:pt idx="29">
                  <c:v>0.11453287197231835</c:v>
                </c:pt>
                <c:pt idx="30">
                  <c:v>0.12228016543787089</c:v>
                </c:pt>
                <c:pt idx="31">
                  <c:v>0.12545281220209722</c:v>
                </c:pt>
                <c:pt idx="32">
                  <c:v>0.13310242454230578</c:v>
                </c:pt>
                <c:pt idx="33">
                  <c:v>0.14675080558539205</c:v>
                </c:pt>
                <c:pt idx="34">
                  <c:v>0.16978718455634376</c:v>
                </c:pt>
                <c:pt idx="35">
                  <c:v>0.15360092740182582</c:v>
                </c:pt>
                <c:pt idx="36">
                  <c:v>0.1220757124627818</c:v>
                </c:pt>
                <c:pt idx="37">
                  <c:v>0.10496292070735881</c:v>
                </c:pt>
                <c:pt idx="38">
                  <c:v>0.10301507537688442</c:v>
                </c:pt>
                <c:pt idx="39">
                  <c:v>0.12117407000470884</c:v>
                </c:pt>
                <c:pt idx="40">
                  <c:v>0.10336906584992343</c:v>
                </c:pt>
                <c:pt idx="41">
                  <c:v>0.10235533585344576</c:v>
                </c:pt>
                <c:pt idx="42">
                  <c:v>0.10429346932061194</c:v>
                </c:pt>
                <c:pt idx="43">
                  <c:v>0.10134901418194396</c:v>
                </c:pt>
                <c:pt idx="44">
                  <c:v>0.10198135198135198</c:v>
                </c:pt>
                <c:pt idx="45">
                  <c:v>0.12368090915799572</c:v>
                </c:pt>
                <c:pt idx="46">
                  <c:v>0.1137503299023489</c:v>
                </c:pt>
                <c:pt idx="47">
                  <c:v>0.1173056486552767</c:v>
                </c:pt>
                <c:pt idx="48">
                  <c:v>0.1158098396904367</c:v>
                </c:pt>
                <c:pt idx="49">
                  <c:v>0.13626111184821546</c:v>
                </c:pt>
                <c:pt idx="50">
                  <c:v>0.1701525536148574</c:v>
                </c:pt>
                <c:pt idx="51">
                  <c:v>0.1552386176631925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68.8444119214263</c:v>
                </c:pt>
              </c:numCache>
            </c:numRef>
          </c:xVal>
          <c:yVal>
            <c:numRef>
              <c:f>Sheet1!$B$163:$B$164</c:f>
              <c:numCache>
                <c:formatCode>General</c:formatCode>
                <c:ptCount val="2"/>
                <c:pt idx="0">
                  <c:v>0.20335682181453954</c:v>
                </c:pt>
                <c:pt idx="1">
                  <c:v>0.2033568218145395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68.8444119214263</c:v>
                </c:pt>
                <c:pt idx="1">
                  <c:v>768.8444119214263</c:v>
                </c:pt>
              </c:numCache>
            </c:numRef>
          </c:xVal>
          <c:yVal>
            <c:numRef>
              <c:f>Sheet1!$B$167:$B$168</c:f>
              <c:numCache>
                <c:formatCode>General</c:formatCode>
                <c:ptCount val="2"/>
                <c:pt idx="0">
                  <c:v>0.203356821814539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13.6343202971223</c:v>
                </c:pt>
              </c:numCache>
            </c:numRef>
          </c:xVal>
          <c:yVal>
            <c:numRef>
              <c:f>Sheet1!$B$171:$B$172</c:f>
              <c:numCache>
                <c:formatCode>General</c:formatCode>
                <c:ptCount val="2"/>
                <c:pt idx="0">
                  <c:v>0.14436553070417552</c:v>
                </c:pt>
                <c:pt idx="1">
                  <c:v>0.1443655307041755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13.6343202971223</c:v>
                </c:pt>
                <c:pt idx="1">
                  <c:v>1013.6343202971223</c:v>
                </c:pt>
              </c:numCache>
            </c:numRef>
          </c:xVal>
          <c:yVal>
            <c:numRef>
              <c:f>Sheet1!$B$175:$B$176</c:f>
              <c:numCache>
                <c:formatCode>General</c:formatCode>
                <c:ptCount val="2"/>
                <c:pt idx="0">
                  <c:v>0.1443655307041755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12.5959390944085</c:v>
                </c:pt>
              </c:numCache>
            </c:numRef>
          </c:xVal>
          <c:yVal>
            <c:numRef>
              <c:f>Sheet1!$B$179:$B$180</c:f>
              <c:numCache>
                <c:formatCode>General</c:formatCode>
                <c:ptCount val="2"/>
                <c:pt idx="0">
                  <c:v>0.12051702444033151</c:v>
                </c:pt>
                <c:pt idx="1">
                  <c:v>0.1205170244403315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12.5959390944085</c:v>
                </c:pt>
                <c:pt idx="1">
                  <c:v>1112.5959390944085</c:v>
                </c:pt>
              </c:numCache>
            </c:numRef>
          </c:xVal>
          <c:yVal>
            <c:numRef>
              <c:f>Sheet1!$B$183:$B$184</c:f>
              <c:numCache>
                <c:formatCode>General</c:formatCode>
                <c:ptCount val="2"/>
                <c:pt idx="0">
                  <c:v>0.1205170244403315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70.4673</c:v>
                </c:pt>
                <c:pt idx="1">
                  <c:v>1068.707</c:v>
                </c:pt>
                <c:pt idx="2">
                  <c:v>1070.3243</c:v>
                </c:pt>
                <c:pt idx="3">
                  <c:v>1045.1407</c:v>
                </c:pt>
                <c:pt idx="4">
                  <c:v>1057.7027</c:v>
                </c:pt>
                <c:pt idx="5">
                  <c:v>1064.8218</c:v>
                </c:pt>
                <c:pt idx="6">
                  <c:v>983.5823</c:v>
                </c:pt>
                <c:pt idx="7">
                  <c:v>1040.4776</c:v>
                </c:pt>
                <c:pt idx="8">
                  <c:v>1104.3655</c:v>
                </c:pt>
                <c:pt idx="9">
                  <c:v>1058.7084</c:v>
                </c:pt>
                <c:pt idx="10">
                  <c:v>1086.6466</c:v>
                </c:pt>
                <c:pt idx="11">
                  <c:v>937.5165</c:v>
                </c:pt>
                <c:pt idx="12">
                  <c:v>981.2504</c:v>
                </c:pt>
                <c:pt idx="13">
                  <c:v>1054.9024</c:v>
                </c:pt>
                <c:pt idx="14">
                  <c:v>1045.0351</c:v>
                </c:pt>
                <c:pt idx="15">
                  <c:v>1081.9735</c:v>
                </c:pt>
                <c:pt idx="16">
                  <c:v>1122.599</c:v>
                </c:pt>
                <c:pt idx="17">
                  <c:v>1102.1041</c:v>
                </c:pt>
                <c:pt idx="18">
                  <c:v>1033.6281</c:v>
                </c:pt>
                <c:pt idx="19">
                  <c:v>1182.7738</c:v>
                </c:pt>
                <c:pt idx="20">
                  <c:v>1190.1768</c:v>
                </c:pt>
                <c:pt idx="21">
                  <c:v>1100.9926</c:v>
                </c:pt>
                <c:pt idx="22">
                  <c:v>1128.8451</c:v>
                </c:pt>
                <c:pt idx="23">
                  <c:v>1099.6344</c:v>
                </c:pt>
                <c:pt idx="24">
                  <c:v>1094.0911</c:v>
                </c:pt>
                <c:pt idx="25">
                  <c:v>1046.5315</c:v>
                </c:pt>
                <c:pt idx="26">
                  <c:v>1096.3146</c:v>
                </c:pt>
                <c:pt idx="27">
                  <c:v>1101.2555</c:v>
                </c:pt>
                <c:pt idx="28">
                  <c:v>1059.6005</c:v>
                </c:pt>
                <c:pt idx="29">
                  <c:v>1047.3958</c:v>
                </c:pt>
                <c:pt idx="30">
                  <c:v>994.8559</c:v>
                </c:pt>
                <c:pt idx="31">
                  <c:v>977.7143</c:v>
                </c:pt>
                <c:pt idx="32">
                  <c:v>989.1574</c:v>
                </c:pt>
                <c:pt idx="33">
                  <c:v>1022.688</c:v>
                </c:pt>
                <c:pt idx="34">
                  <c:v>1045.4562</c:v>
                </c:pt>
                <c:pt idx="35">
                  <c:v>1053.1566</c:v>
                </c:pt>
                <c:pt idx="36">
                  <c:v>1054.8902</c:v>
                </c:pt>
                <c:pt idx="37">
                  <c:v>1160.5</c:v>
                </c:pt>
                <c:pt idx="38">
                  <c:v>1161.9756</c:v>
                </c:pt>
                <c:pt idx="39">
                  <c:v>1097.2073</c:v>
                </c:pt>
                <c:pt idx="40">
                  <c:v>1140.4652</c:v>
                </c:pt>
                <c:pt idx="41">
                  <c:v>1212.3395</c:v>
                </c:pt>
                <c:pt idx="42">
                  <c:v>1195.358</c:v>
                </c:pt>
                <c:pt idx="43">
                  <c:v>1199.1013</c:v>
                </c:pt>
                <c:pt idx="44">
                  <c:v>1113.6857</c:v>
                </c:pt>
                <c:pt idx="45">
                  <c:v>1084.5519</c:v>
                </c:pt>
                <c:pt idx="46">
                  <c:v>1096.8283</c:v>
                </c:pt>
                <c:pt idx="47">
                  <c:v>1074.476</c:v>
                </c:pt>
                <c:pt idx="48">
                  <c:v>1064.8323</c:v>
                </c:pt>
                <c:pt idx="49">
                  <c:v>1092.4002</c:v>
                </c:pt>
                <c:pt idx="50">
                  <c:v>975.5975</c:v>
                </c:pt>
                <c:pt idx="51">
                  <c:v>939.7557</c:v>
                </c:pt>
                <c:pt idx="52">
                  <c:v>1013.6343202971223</c:v>
                </c:pt>
                <c:pt idx="53">
                  <c:v>768.8444119214263</c:v>
                </c:pt>
                <c:pt idx="54">
                  <c:v>1112.5959390944085</c:v>
                </c:pt>
              </c:numCache>
            </c:numRef>
          </c:xVal>
          <c:yVal>
            <c:numRef>
              <c:f>Sheet1!$B$187:$B$241</c:f>
              <c:numCache>
                <c:formatCode>General</c:formatCode>
                <c:ptCount val="55"/>
                <c:pt idx="0">
                  <c:v>0.13066949693967767</c:v>
                </c:pt>
                <c:pt idx="1">
                  <c:v>0.1310937071141518</c:v>
                </c:pt>
                <c:pt idx="2">
                  <c:v>0.13070395814228508</c:v>
                </c:pt>
                <c:pt idx="3">
                  <c:v>0.1367728892051085</c:v>
                </c:pt>
                <c:pt idx="4">
                  <c:v>0.13374560509913525</c:v>
                </c:pt>
                <c:pt idx="5">
                  <c:v>0.13202999148037753</c:v>
                </c:pt>
                <c:pt idx="6">
                  <c:v>0.15160768986655918</c:v>
                </c:pt>
                <c:pt idx="7">
                  <c:v>0.13789663769376986</c:v>
                </c:pt>
                <c:pt idx="8">
                  <c:v>0.1225004568122216</c:v>
                </c:pt>
                <c:pt idx="9">
                  <c:v>0.13350324403995856</c:v>
                </c:pt>
                <c:pt idx="10">
                  <c:v>0.1267704890001956</c:v>
                </c:pt>
                <c:pt idx="11">
                  <c:v>0.16270896865727266</c:v>
                </c:pt>
                <c:pt idx="12">
                  <c:v>0.15216964845649064</c:v>
                </c:pt>
                <c:pt idx="13">
                  <c:v>0.13442044220166327</c:v>
                </c:pt>
                <c:pt idx="14">
                  <c:v>0.13679833747780318</c:v>
                </c:pt>
                <c:pt idx="15">
                  <c:v>0.1278966473631652</c:v>
                </c:pt>
                <c:pt idx="16">
                  <c:v>0.11810641249234716</c:v>
                </c:pt>
                <c:pt idx="17">
                  <c:v>0.1230454257882802</c:v>
                </c:pt>
                <c:pt idx="18">
                  <c:v>0.13954728110117823</c:v>
                </c:pt>
                <c:pt idx="19">
                  <c:v>0.1036050420401804</c:v>
                </c:pt>
                <c:pt idx="20">
                  <c:v>0.10182101208981259</c:v>
                </c:pt>
                <c:pt idx="21">
                  <c:v>0.12331328331763775</c:v>
                </c:pt>
                <c:pt idx="22">
                  <c:v>0.11660118090069616</c:v>
                </c:pt>
                <c:pt idx="23">
                  <c:v>0.12364059244617881</c:v>
                </c:pt>
                <c:pt idx="24">
                  <c:v>0.12497645807144875</c:v>
                </c:pt>
                <c:pt idx="25">
                  <c:v>0.13643772388632264</c:v>
                </c:pt>
                <c:pt idx="26">
                  <c:v>0.12444062251901833</c:v>
                </c:pt>
                <c:pt idx="27">
                  <c:v>0.12324992772207494</c:v>
                </c:pt>
                <c:pt idx="28">
                  <c:v>0.13328825915292314</c:v>
                </c:pt>
                <c:pt idx="29">
                  <c:v>0.13622943844986407</c:v>
                </c:pt>
                <c:pt idx="30">
                  <c:v>0.1488908939664557</c:v>
                </c:pt>
                <c:pt idx="31">
                  <c:v>0.15302180411061675</c:v>
                </c:pt>
                <c:pt idx="32">
                  <c:v>0.1502641608409891</c:v>
                </c:pt>
                <c:pt idx="33">
                  <c:v>0.14218370769310287</c:v>
                </c:pt>
                <c:pt idx="34">
                  <c:v>0.13669685767068446</c:v>
                </c:pt>
                <c:pt idx="35">
                  <c:v>0.13484115805839053</c:v>
                </c:pt>
                <c:pt idx="36">
                  <c:v>0.13442338224831923</c:v>
                </c:pt>
                <c:pt idx="37">
                  <c:v>0.10897274787680089</c:v>
                </c:pt>
                <c:pt idx="38">
                  <c:v>0.10861714682388146</c:v>
                </c:pt>
                <c:pt idx="39">
                  <c:v>0.1242254930395244</c:v>
                </c:pt>
                <c:pt idx="40">
                  <c:v>0.11380088285581319</c:v>
                </c:pt>
                <c:pt idx="41">
                  <c:v>0.09648007995675628</c:v>
                </c:pt>
                <c:pt idx="42">
                  <c:v>0.10057240801324291</c:v>
                </c:pt>
                <c:pt idx="43">
                  <c:v>0.0996703197634507</c:v>
                </c:pt>
                <c:pt idx="44">
                  <c:v>0.12025440575948387</c:v>
                </c:pt>
                <c:pt idx="45">
                  <c:v>0.12727528537153637</c:v>
                </c:pt>
                <c:pt idx="46">
                  <c:v>0.12431682727580562</c:v>
                </c:pt>
                <c:pt idx="47">
                  <c:v>0.1297034506257455</c:v>
                </c:pt>
                <c:pt idx="48">
                  <c:v>0.13202746111235392</c:v>
                </c:pt>
                <c:pt idx="49">
                  <c:v>0.12538394371822398</c:v>
                </c:pt>
                <c:pt idx="50">
                  <c:v>0.1535319263041786</c:v>
                </c:pt>
                <c:pt idx="51">
                  <c:v>0.1621693496021783</c:v>
                </c:pt>
                <c:pt idx="52">
                  <c:v>0.14436553070417552</c:v>
                </c:pt>
                <c:pt idx="53">
                  <c:v>0.20335682181453954</c:v>
                </c:pt>
                <c:pt idx="54">
                  <c:v>0.1205170244403315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5.0"/>
          <c:min val="57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765249537892793"/>
          <c:min val="0.0687440982058545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936762143543091</c:v>
                </c:pt>
                <c:pt idx="1">
                  <c:v>2.144411917917684</c:v>
                </c:pt>
                <c:pt idx="2">
                  <c:v>2.2367630978012656</c:v>
                </c:pt>
                <c:pt idx="3">
                  <c:v>2.2514227266438134</c:v>
                </c:pt>
                <c:pt idx="4">
                  <c:v>2.276176464823973</c:v>
                </c:pt>
                <c:pt idx="5">
                  <c:v>1.8723930776204083</c:v>
                </c:pt>
                <c:pt idx="6">
                  <c:v>1.635673498111817</c:v>
                </c:pt>
                <c:pt idx="7">
                  <c:v>1.652570593321287</c:v>
                </c:pt>
                <c:pt idx="8">
                  <c:v>1.643288881865453</c:v>
                </c:pt>
                <c:pt idx="9">
                  <c:v>1.7303000444202519</c:v>
                </c:pt>
                <c:pt idx="10">
                  <c:v>1.6837444807212494</c:v>
                </c:pt>
                <c:pt idx="11">
                  <c:v>1.7207478970803078</c:v>
                </c:pt>
                <c:pt idx="12">
                  <c:v>1.7185224039666729</c:v>
                </c:pt>
                <c:pt idx="13">
                  <c:v>1.687088827386046</c:v>
                </c:pt>
                <c:pt idx="14">
                  <c:v>1.6794099508390257</c:v>
                </c:pt>
                <c:pt idx="15">
                  <c:v>1.680765398860429</c:v>
                </c:pt>
                <c:pt idx="16">
                  <c:v>1.6459454007594372</c:v>
                </c:pt>
                <c:pt idx="17">
                  <c:v>2.015188073468975</c:v>
                </c:pt>
                <c:pt idx="18">
                  <c:v>2.0988797668718817</c:v>
                </c:pt>
                <c:pt idx="19">
                  <c:v>2.166756562469952</c:v>
                </c:pt>
                <c:pt idx="20">
                  <c:v>2.1979623721717885</c:v>
                </c:pt>
                <c:pt idx="21">
                  <c:v>2.2366325500221667</c:v>
                </c:pt>
                <c:pt idx="22">
                  <c:v>2.203837182027457</c:v>
                </c:pt>
                <c:pt idx="23">
                  <c:v>2.261467966358083</c:v>
                </c:pt>
                <c:pt idx="24">
                  <c:v>2.3189866100789214</c:v>
                </c:pt>
                <c:pt idx="25">
                  <c:v>2.332571576746537</c:v>
                </c:pt>
                <c:pt idx="26">
                  <c:v>1.8687527613456725</c:v>
                </c:pt>
                <c:pt idx="27">
                  <c:v>1.842829153338222</c:v>
                </c:pt>
                <c:pt idx="28">
                  <c:v>1.8019216727559475</c:v>
                </c:pt>
                <c:pt idx="29">
                  <c:v>1.4092908587257618</c:v>
                </c:pt>
                <c:pt idx="30">
                  <c:v>1.5365041681640497</c:v>
                </c:pt>
                <c:pt idx="31">
                  <c:v>1.6048433758662557</c:v>
                </c:pt>
                <c:pt idx="32">
                  <c:v>1.5361140930754724</c:v>
                </c:pt>
                <c:pt idx="33">
                  <c:v>1.3678252128394035</c:v>
                </c:pt>
                <c:pt idx="34">
                  <c:v>1.6619291190360785</c:v>
                </c:pt>
                <c:pt idx="35">
                  <c:v>1.7850205178978718</c:v>
                </c:pt>
                <c:pt idx="36">
                  <c:v>1.9375014652957867</c:v>
                </c:pt>
                <c:pt idx="37">
                  <c:v>1.9703524210280146</c:v>
                </c:pt>
                <c:pt idx="38">
                  <c:v>2.0619632629441176</c:v>
                </c:pt>
                <c:pt idx="39">
                  <c:v>2.0822886783515298</c:v>
                </c:pt>
                <c:pt idx="40">
                  <c:v>2.0739781254238734</c:v>
                </c:pt>
                <c:pt idx="41">
                  <c:v>2.138722656561065</c:v>
                </c:pt>
                <c:pt idx="42">
                  <c:v>2.166218411924687</c:v>
                </c:pt>
                <c:pt idx="43">
                  <c:v>2.1379287495870987</c:v>
                </c:pt>
                <c:pt idx="44">
                  <c:v>1.984182521559517</c:v>
                </c:pt>
                <c:pt idx="45">
                  <c:v>1.9335659015412632</c:v>
                </c:pt>
                <c:pt idx="46">
                  <c:v>1.9747696884104393</c:v>
                </c:pt>
                <c:pt idx="47">
                  <c:v>1.9409294523169323</c:v>
                </c:pt>
                <c:pt idx="48">
                  <c:v>1.966464652744082</c:v>
                </c:pt>
                <c:pt idx="49">
                  <c:v>1.9504833128679315</c:v>
                </c:pt>
                <c:pt idx="50">
                  <c:v>1.8777377905614114</c:v>
                </c:pt>
                <c:pt idx="51">
                  <c:v>1.87877434004972</c:v>
                </c:pt>
                <c:pt idx="52">
                  <c:v>1.9053921913904723</c:v>
                </c:pt>
                <c:pt idx="53">
                  <c:v>2.0286502722027526</c:v>
                </c:pt>
                <c:pt idx="54">
                  <c:v>2.116134205046711</c:v>
                </c:pt>
                <c:pt idx="55">
                  <c:v>2.1470697254121824</c:v>
                </c:pt>
                <c:pt idx="56">
                  <c:v>2.2238917803548652</c:v>
                </c:pt>
                <c:pt idx="57">
                  <c:v>2.197048654586317</c:v>
                </c:pt>
                <c:pt idx="58">
                  <c:v>2.110195838088809</c:v>
                </c:pt>
                <c:pt idx="59">
                  <c:v>2.1732297853499296</c:v>
                </c:pt>
                <c:pt idx="60">
                  <c:v>2.218683602186235</c:v>
                </c:pt>
                <c:pt idx="61">
                  <c:v>2.0878066007448313</c:v>
                </c:pt>
                <c:pt idx="62">
                  <c:v>2.0510181419814657</c:v>
                </c:pt>
                <c:pt idx="63">
                  <c:v>2.193319860280945</c:v>
                </c:pt>
                <c:pt idx="64">
                  <c:v>2.134595867672936</c:v>
                </c:pt>
                <c:pt idx="65">
                  <c:v>2.1040486300813543</c:v>
                </c:pt>
                <c:pt idx="66">
                  <c:v>2.0819146182188657</c:v>
                </c:pt>
                <c:pt idx="67">
                  <c:v>2.128739588881678</c:v>
                </c:pt>
                <c:pt idx="68">
                  <c:v>2.0588785052527476</c:v>
                </c:pt>
                <c:pt idx="69">
                  <c:v>2.039968000019677</c:v>
                </c:pt>
                <c:pt idx="70">
                  <c:v>2.03849797134031</c:v>
                </c:pt>
                <c:pt idx="71">
                  <c:v>2.1896318208082843</c:v>
                </c:pt>
                <c:pt idx="72">
                  <c:v>2.322295226676369</c:v>
                </c:pt>
                <c:pt idx="73">
                  <c:v>2.393573055091576</c:v>
                </c:pt>
                <c:pt idx="74">
                  <c:v>2.309392070419946</c:v>
                </c:pt>
                <c:pt idx="75">
                  <c:v>2.28128962335236</c:v>
                </c:pt>
                <c:pt idx="76">
                  <c:v>2.450925398215827</c:v>
                </c:pt>
                <c:pt idx="77">
                  <c:v>2.4869293039031244</c:v>
                </c:pt>
                <c:pt idx="78">
                  <c:v>2.433993389301653</c:v>
                </c:pt>
                <c:pt idx="79">
                  <c:v>2.541798056632084</c:v>
                </c:pt>
                <c:pt idx="80">
                  <c:v>2.4424210274077267</c:v>
                </c:pt>
                <c:pt idx="81">
                  <c:v>2.407856274802452</c:v>
                </c:pt>
                <c:pt idx="82">
                  <c:v>2.4189576473730208</c:v>
                </c:pt>
                <c:pt idx="83">
                  <c:v>2.4375632832024516</c:v>
                </c:pt>
                <c:pt idx="84">
                  <c:v>2.3541996558108456</c:v>
                </c:pt>
                <c:pt idx="85">
                  <c:v>2.3042716481105203</c:v>
                </c:pt>
                <c:pt idx="86">
                  <c:v>2.323095029179273</c:v>
                </c:pt>
                <c:pt idx="87">
                  <c:v>2.3750123533435703</c:v>
                </c:pt>
                <c:pt idx="88">
                  <c:v>2.3701949457504385</c:v>
                </c:pt>
                <c:pt idx="89">
                  <c:v>2.3167613163083476</c:v>
                </c:pt>
                <c:pt idx="90">
                  <c:v>2.456989790611869</c:v>
                </c:pt>
                <c:pt idx="91">
                  <c:v>2.4733267355282447</c:v>
                </c:pt>
                <c:pt idx="92">
                  <c:v>2.2572684187885828</c:v>
                </c:pt>
                <c:pt idx="93">
                  <c:v>2.0728378650936556</c:v>
                </c:pt>
                <c:pt idx="94">
                  <c:v>2.0094773433675934</c:v>
                </c:pt>
                <c:pt idx="95">
                  <c:v>1.983378349461011</c:v>
                </c:pt>
                <c:pt idx="96">
                  <c:v>1.8705866768417292</c:v>
                </c:pt>
                <c:pt idx="97">
                  <c:v>1.8781295884746942</c:v>
                </c:pt>
                <c:pt idx="98">
                  <c:v>1.9388452125018873</c:v>
                </c:pt>
                <c:pt idx="99">
                  <c:v>2.072949553260207</c:v>
                </c:pt>
                <c:pt idx="100">
                  <c:v>1.8195724848948047</c:v>
                </c:pt>
                <c:pt idx="101">
                  <c:v>1.6834176233478122</c:v>
                </c:pt>
                <c:pt idx="102">
                  <c:v>1.644894613854279</c:v>
                </c:pt>
                <c:pt idx="103">
                  <c:v>1.6096315153494607</c:v>
                </c:pt>
                <c:pt idx="104">
                  <c:v>1.6948558638768165</c:v>
                </c:pt>
              </c:numCache>
            </c:numRef>
          </c:xVal>
          <c:yVal>
            <c:numRef>
              <c:f>Sheet1!$B$2:$B$106</c:f>
              <c:numCache>
                <c:formatCode>General</c:formatCode>
                <c:ptCount val="105"/>
                <c:pt idx="0">
                  <c:v>0.2162312395775431</c:v>
                </c:pt>
                <c:pt idx="1">
                  <c:v>0.2006586874447747</c:v>
                </c:pt>
                <c:pt idx="2">
                  <c:v>0.16746003552397867</c:v>
                </c:pt>
                <c:pt idx="3">
                  <c:v>0.16197073474470736</c:v>
                </c:pt>
                <c:pt idx="4">
                  <c:v>0.15120870653953578</c:v>
                </c:pt>
                <c:pt idx="5">
                  <c:v>0.13729883886738645</c:v>
                </c:pt>
                <c:pt idx="6">
                  <c:v>0.16207983193277312</c:v>
                </c:pt>
                <c:pt idx="7">
                  <c:v>0.15956120668162552</c:v>
                </c:pt>
                <c:pt idx="8">
                  <c:v>0.17536959175369593</c:v>
                </c:pt>
                <c:pt idx="9">
                  <c:v>0.20725683890577506</c:v>
                </c:pt>
                <c:pt idx="10">
                  <c:v>0.21454000374742366</c:v>
                </c:pt>
                <c:pt idx="11">
                  <c:v>0.2016895459345301</c:v>
                </c:pt>
                <c:pt idx="12">
                  <c:v>0.20988855474969043</c:v>
                </c:pt>
                <c:pt idx="13">
                  <c:v>0.2230437461491066</c:v>
                </c:pt>
                <c:pt idx="14">
                  <c:v>0.22027729636048526</c:v>
                </c:pt>
                <c:pt idx="15">
                  <c:v>0.21929356525450858</c:v>
                </c:pt>
                <c:pt idx="16">
                  <c:v>0.21254658385093167</c:v>
                </c:pt>
                <c:pt idx="17">
                  <c:v>0.19493932352181773</c:v>
                </c:pt>
                <c:pt idx="18">
                  <c:v>0.1869372588252108</c:v>
                </c:pt>
                <c:pt idx="19">
                  <c:v>0.17359000337723743</c:v>
                </c:pt>
                <c:pt idx="20">
                  <c:v>0.19444444444444445</c:v>
                </c:pt>
                <c:pt idx="21">
                  <c:v>0.18519151846785226</c:v>
                </c:pt>
                <c:pt idx="22">
                  <c:v>0.18664495114006516</c:v>
                </c:pt>
                <c:pt idx="23">
                  <c:v>0.1950668751085635</c:v>
                </c:pt>
                <c:pt idx="24">
                  <c:v>0.18831168831168832</c:v>
                </c:pt>
                <c:pt idx="25">
                  <c:v>0.18675568386863947</c:v>
                </c:pt>
                <c:pt idx="26">
                  <c:v>0.19303517765600142</c:v>
                </c:pt>
                <c:pt idx="27">
                  <c:v>0.17015128335883054</c:v>
                </c:pt>
                <c:pt idx="28">
                  <c:v>0.16479651649639926</c:v>
                </c:pt>
                <c:pt idx="29">
                  <c:v>0.1989340247767214</c:v>
                </c:pt>
                <c:pt idx="30">
                  <c:v>0.17969052224371374</c:v>
                </c:pt>
                <c:pt idx="31">
                  <c:v>0.17431525485216762</c:v>
                </c:pt>
                <c:pt idx="32">
                  <c:v>0.18934509670851712</c:v>
                </c:pt>
                <c:pt idx="33">
                  <c:v>0.21914976095102726</c:v>
                </c:pt>
                <c:pt idx="34">
                  <c:v>0.19569163741982332</c:v>
                </c:pt>
                <c:pt idx="35">
                  <c:v>0.18861036748600632</c:v>
                </c:pt>
                <c:pt idx="36">
                  <c:v>0.13889274316636605</c:v>
                </c:pt>
                <c:pt idx="37">
                  <c:v>0.1291887793783169</c:v>
                </c:pt>
                <c:pt idx="38">
                  <c:v>0.12560827250608272</c:v>
                </c:pt>
                <c:pt idx="39">
                  <c:v>0.12089810017271158</c:v>
                </c:pt>
                <c:pt idx="40">
                  <c:v>0.11813643926788686</c:v>
                </c:pt>
                <c:pt idx="41">
                  <c:v>0.09736224278414583</c:v>
                </c:pt>
                <c:pt idx="42">
                  <c:v>0.10086042065009561</c:v>
                </c:pt>
                <c:pt idx="43">
                  <c:v>0.1090422685928304</c:v>
                </c:pt>
                <c:pt idx="44">
                  <c:v>0.12877537843460793</c:v>
                </c:pt>
                <c:pt idx="45">
                  <c:v>0.1496313332882365</c:v>
                </c:pt>
                <c:pt idx="46">
                  <c:v>0.15096048121078842</c:v>
                </c:pt>
                <c:pt idx="47">
                  <c:v>0.14789959346970383</c:v>
                </c:pt>
                <c:pt idx="48">
                  <c:v>0.1590626494500239</c:v>
                </c:pt>
                <c:pt idx="49">
                  <c:v>0.187127323746054</c:v>
                </c:pt>
                <c:pt idx="50">
                  <c:v>0.15020561789921238</c:v>
                </c:pt>
                <c:pt idx="51">
                  <c:v>0.1304274654998317</c:v>
                </c:pt>
                <c:pt idx="52">
                  <c:v>0.14316102956817697</c:v>
                </c:pt>
                <c:pt idx="53">
                  <c:v>0.12669606512890094</c:v>
                </c:pt>
                <c:pt idx="54">
                  <c:v>0.12414485086199033</c:v>
                </c:pt>
                <c:pt idx="55">
                  <c:v>0.11438701250233252</c:v>
                </c:pt>
                <c:pt idx="56">
                  <c:v>0.11668273866923819</c:v>
                </c:pt>
                <c:pt idx="57">
                  <c:v>0.10908945174735492</c:v>
                </c:pt>
                <c:pt idx="58">
                  <c:v>0.12997060188766826</c:v>
                </c:pt>
                <c:pt idx="59">
                  <c:v>0.13864667788486054</c:v>
                </c:pt>
                <c:pt idx="60">
                  <c:v>0.14897523990048572</c:v>
                </c:pt>
                <c:pt idx="61">
                  <c:v>0.14678289746782897</c:v>
                </c:pt>
                <c:pt idx="62">
                  <c:v>0.16551344551030037</c:v>
                </c:pt>
                <c:pt idx="63">
                  <c:v>0.1855731816821311</c:v>
                </c:pt>
                <c:pt idx="64">
                  <c:v>0.19271765346611686</c:v>
                </c:pt>
                <c:pt idx="65">
                  <c:v>0.17448945981554678</c:v>
                </c:pt>
                <c:pt idx="66">
                  <c:v>0.16863905325443787</c:v>
                </c:pt>
                <c:pt idx="67">
                  <c:v>0.15375743057403957</c:v>
                </c:pt>
                <c:pt idx="68">
                  <c:v>0.1376352869103533</c:v>
                </c:pt>
                <c:pt idx="69">
                  <c:v>0.12375404530744337</c:v>
                </c:pt>
                <c:pt idx="70">
                  <c:v>0.11256671518680253</c:v>
                </c:pt>
                <c:pt idx="71">
                  <c:v>0.11485042735042734</c:v>
                </c:pt>
                <c:pt idx="72">
                  <c:v>0.11879813154904684</c:v>
                </c:pt>
                <c:pt idx="73">
                  <c:v>0.11369439591452762</c:v>
                </c:pt>
                <c:pt idx="74">
                  <c:v>0.11106965174129353</c:v>
                </c:pt>
                <c:pt idx="75">
                  <c:v>0.11842891278375149</c:v>
                </c:pt>
                <c:pt idx="76">
                  <c:v>0.10943216160330842</c:v>
                </c:pt>
                <c:pt idx="77">
                  <c:v>0.11107491856677525</c:v>
                </c:pt>
                <c:pt idx="78">
                  <c:v>0.10087719298245613</c:v>
                </c:pt>
                <c:pt idx="79">
                  <c:v>0.09526073862735775</c:v>
                </c:pt>
                <c:pt idx="80">
                  <c:v>0.08891731968655045</c:v>
                </c:pt>
                <c:pt idx="81">
                  <c:v>0.10487868510305244</c:v>
                </c:pt>
                <c:pt idx="82">
                  <c:v>0.09210526315789473</c:v>
                </c:pt>
                <c:pt idx="83">
                  <c:v>0.08593012275731822</c:v>
                </c:pt>
                <c:pt idx="84">
                  <c:v>0.0944305261129312</c:v>
                </c:pt>
                <c:pt idx="85">
                  <c:v>0.11049908195626773</c:v>
                </c:pt>
                <c:pt idx="86">
                  <c:v>0.11845515811301192</c:v>
                </c:pt>
                <c:pt idx="87">
                  <c:v>0.13582804609607665</c:v>
                </c:pt>
                <c:pt idx="88">
                  <c:v>0.10931957433086101</c:v>
                </c:pt>
                <c:pt idx="89">
                  <c:v>0.09831029185867896</c:v>
                </c:pt>
                <c:pt idx="90">
                  <c:v>0.09772608922062143</c:v>
                </c:pt>
                <c:pt idx="91">
                  <c:v>0.09703368526897939</c:v>
                </c:pt>
                <c:pt idx="92">
                  <c:v>0.10670145564405382</c:v>
                </c:pt>
                <c:pt idx="93">
                  <c:v>0.10296306318495467</c:v>
                </c:pt>
                <c:pt idx="94">
                  <c:v>0.1070369792479326</c:v>
                </c:pt>
                <c:pt idx="95">
                  <c:v>0.11430511543684925</c:v>
                </c:pt>
                <c:pt idx="96">
                  <c:v>0.11659159159159159</c:v>
                </c:pt>
                <c:pt idx="97">
                  <c:v>0.1299614112458655</c:v>
                </c:pt>
                <c:pt idx="98">
                  <c:v>0.14781054512957997</c:v>
                </c:pt>
                <c:pt idx="99">
                  <c:v>0.15648180854821617</c:v>
                </c:pt>
                <c:pt idx="100">
                  <c:v>0.17798369732390035</c:v>
                </c:pt>
                <c:pt idx="101">
                  <c:v>0.15477766013763897</c:v>
                </c:pt>
                <c:pt idx="102">
                  <c:v>0.12323160423525224</c:v>
                </c:pt>
                <c:pt idx="103">
                  <c:v>0.130459444129325</c:v>
                </c:pt>
                <c:pt idx="104">
                  <c:v>0.1331967213114754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6444107069231113</c:v>
                </c:pt>
                <c:pt idx="1">
                  <c:v>1.634771470021177</c:v>
                </c:pt>
                <c:pt idx="2">
                  <c:v>1.6044671320310206</c:v>
                </c:pt>
                <c:pt idx="3">
                  <c:v>1.569313083261047</c:v>
                </c:pt>
                <c:pt idx="4">
                  <c:v>1.5812466745990421</c:v>
                </c:pt>
                <c:pt idx="5">
                  <c:v>1.5562714790444034</c:v>
                </c:pt>
                <c:pt idx="6">
                  <c:v>1.5478145774150969</c:v>
                </c:pt>
                <c:pt idx="7">
                  <c:v>1.5453069850716121</c:v>
                </c:pt>
                <c:pt idx="8">
                  <c:v>1.6363309717611483</c:v>
                </c:pt>
                <c:pt idx="9">
                  <c:v>1.6231851616878599</c:v>
                </c:pt>
                <c:pt idx="10">
                  <c:v>1.6244140789671166</c:v>
                </c:pt>
                <c:pt idx="11">
                  <c:v>1.6388687372279742</c:v>
                </c:pt>
                <c:pt idx="12">
                  <c:v>1.6496061456608777</c:v>
                </c:pt>
                <c:pt idx="13">
                  <c:v>1.6253332626645975</c:v>
                </c:pt>
                <c:pt idx="14">
                  <c:v>1.6094681910462363</c:v>
                </c:pt>
                <c:pt idx="15">
                  <c:v>1.7191535074847772</c:v>
                </c:pt>
                <c:pt idx="16">
                  <c:v>1.703759307434732</c:v>
                </c:pt>
                <c:pt idx="17">
                  <c:v>1.7481570343905513</c:v>
                </c:pt>
                <c:pt idx="18">
                  <c:v>1.5819112690666701</c:v>
                </c:pt>
                <c:pt idx="19">
                  <c:v>1.8145508787373585</c:v>
                </c:pt>
                <c:pt idx="20">
                  <c:v>1.7659054024820489</c:v>
                </c:pt>
                <c:pt idx="21">
                  <c:v>1.6648376515318652</c:v>
                </c:pt>
                <c:pt idx="22">
                  <c:v>1.674439664360053</c:v>
                </c:pt>
                <c:pt idx="23">
                  <c:v>1.6251431155631846</c:v>
                </c:pt>
                <c:pt idx="24">
                  <c:v>1.6134887934542055</c:v>
                </c:pt>
                <c:pt idx="25">
                  <c:v>1.5860337150459831</c:v>
                </c:pt>
                <c:pt idx="26">
                  <c:v>1.614101134464038</c:v>
                </c:pt>
                <c:pt idx="27">
                  <c:v>1.6110821121842989</c:v>
                </c:pt>
                <c:pt idx="28">
                  <c:v>1.56133481981297</c:v>
                </c:pt>
                <c:pt idx="29">
                  <c:v>1.5465459940547666</c:v>
                </c:pt>
                <c:pt idx="30">
                  <c:v>1.470638912947296</c:v>
                </c:pt>
                <c:pt idx="31">
                  <c:v>1.416620422276244</c:v>
                </c:pt>
                <c:pt idx="32">
                  <c:v>1.4191183211445828</c:v>
                </c:pt>
                <c:pt idx="33">
                  <c:v>1.4498260315937344</c:v>
                </c:pt>
                <c:pt idx="34">
                  <c:v>1.5033350847812976</c:v>
                </c:pt>
                <c:pt idx="35">
                  <c:v>1.4515968568021735</c:v>
                </c:pt>
                <c:pt idx="36">
                  <c:v>1.4685594632893617</c:v>
                </c:pt>
                <c:pt idx="37">
                  <c:v>1.6338610918190513</c:v>
                </c:pt>
                <c:pt idx="38">
                  <c:v>1.6373281456277557</c:v>
                </c:pt>
                <c:pt idx="39">
                  <c:v>1.6243886745982654</c:v>
                </c:pt>
                <c:pt idx="40">
                  <c:v>1.621815499028161</c:v>
                </c:pt>
                <c:pt idx="41">
                  <c:v>1.7163020876394035</c:v>
                </c:pt>
                <c:pt idx="42">
                  <c:v>1.7147154840777177</c:v>
                </c:pt>
                <c:pt idx="43">
                  <c:v>1.7399034993773006</c:v>
                </c:pt>
                <c:pt idx="44">
                  <c:v>1.6379407362871259</c:v>
                </c:pt>
                <c:pt idx="45">
                  <c:v>1.6594349163895972</c:v>
                </c:pt>
                <c:pt idx="46">
                  <c:v>1.6573873703027355</c:v>
                </c:pt>
                <c:pt idx="47">
                  <c:v>1.67324403559659</c:v>
                </c:pt>
                <c:pt idx="48">
                  <c:v>1.6278668345034928</c:v>
                </c:pt>
                <c:pt idx="49">
                  <c:v>1.7018182531969845</c:v>
                </c:pt>
                <c:pt idx="50">
                  <c:v>1.5473241976050354</c:v>
                </c:pt>
                <c:pt idx="51">
                  <c:v>1.5439651577767561</c:v>
                </c:pt>
              </c:numCache>
            </c:numRef>
          </c:xVal>
          <c:yVal>
            <c:numRef>
              <c:f>Sheet1!$B$109:$B$160</c:f>
              <c:numCache>
                <c:formatCode>General</c:formatCode>
                <c:ptCount val="52"/>
                <c:pt idx="0">
                  <c:v>0.13321492007104796</c:v>
                </c:pt>
                <c:pt idx="1">
                  <c:v>0.13449982325910215</c:v>
                </c:pt>
                <c:pt idx="2">
                  <c:v>0.1396827889447236</c:v>
                </c:pt>
                <c:pt idx="3">
                  <c:v>0.1539776891132644</c:v>
                </c:pt>
                <c:pt idx="4">
                  <c:v>0.13462946392255756</c:v>
                </c:pt>
                <c:pt idx="5">
                  <c:v>0.1404450601783704</c:v>
                </c:pt>
                <c:pt idx="6">
                  <c:v>0.14612676056338028</c:v>
                </c:pt>
                <c:pt idx="7">
                  <c:v>0.13632260006018657</c:v>
                </c:pt>
                <c:pt idx="8">
                  <c:v>0.14083542570189456</c:v>
                </c:pt>
                <c:pt idx="9">
                  <c:v>0.15</c:v>
                </c:pt>
                <c:pt idx="10">
                  <c:v>0.1624544981799272</c:v>
                </c:pt>
                <c:pt idx="11">
                  <c:v>0.1800360522757999</c:v>
                </c:pt>
                <c:pt idx="12">
                  <c:v>0.17841092935466474</c:v>
                </c:pt>
                <c:pt idx="13">
                  <c:v>0.165191465573465</c:v>
                </c:pt>
                <c:pt idx="14">
                  <c:v>0.16082622546500874</c:v>
                </c:pt>
                <c:pt idx="15">
                  <c:v>0.1521667940181203</c:v>
                </c:pt>
                <c:pt idx="16">
                  <c:v>0.13368299859281055</c:v>
                </c:pt>
                <c:pt idx="17">
                  <c:v>0.11681368618016573</c:v>
                </c:pt>
                <c:pt idx="18">
                  <c:v>0.12445278298936835</c:v>
                </c:pt>
                <c:pt idx="19">
                  <c:v>0.12315567600120446</c:v>
                </c:pt>
                <c:pt idx="20">
                  <c:v>0.1030146703208125</c:v>
                </c:pt>
                <c:pt idx="21">
                  <c:v>0.10841683366733466</c:v>
                </c:pt>
                <c:pt idx="22">
                  <c:v>0.10497453975714845</c:v>
                </c:pt>
                <c:pt idx="23">
                  <c:v>0.1122281493639721</c:v>
                </c:pt>
                <c:pt idx="24">
                  <c:v>0.10383830891896903</c:v>
                </c:pt>
                <c:pt idx="25">
                  <c:v>0.1171890596925534</c:v>
                </c:pt>
                <c:pt idx="26">
                  <c:v>0.09765142150803462</c:v>
                </c:pt>
                <c:pt idx="27">
                  <c:v>0.10207696023184672</c:v>
                </c:pt>
                <c:pt idx="28">
                  <c:v>0.11831676034010664</c:v>
                </c:pt>
                <c:pt idx="29">
                  <c:v>0.11453287197231835</c:v>
                </c:pt>
                <c:pt idx="30">
                  <c:v>0.12228016543787089</c:v>
                </c:pt>
                <c:pt idx="31">
                  <c:v>0.12545281220209722</c:v>
                </c:pt>
                <c:pt idx="32">
                  <c:v>0.13310242454230578</c:v>
                </c:pt>
                <c:pt idx="33">
                  <c:v>0.14675080558539205</c:v>
                </c:pt>
                <c:pt idx="34">
                  <c:v>0.16978718455634376</c:v>
                </c:pt>
                <c:pt idx="35">
                  <c:v>0.15360092740182582</c:v>
                </c:pt>
                <c:pt idx="36">
                  <c:v>0.1220757124627818</c:v>
                </c:pt>
                <c:pt idx="37">
                  <c:v>0.10496292070735881</c:v>
                </c:pt>
                <c:pt idx="38">
                  <c:v>0.10301507537688442</c:v>
                </c:pt>
                <c:pt idx="39">
                  <c:v>0.12117407000470884</c:v>
                </c:pt>
                <c:pt idx="40">
                  <c:v>0.10336906584992343</c:v>
                </c:pt>
                <c:pt idx="41">
                  <c:v>0.10235533585344576</c:v>
                </c:pt>
                <c:pt idx="42">
                  <c:v>0.10429346932061194</c:v>
                </c:pt>
                <c:pt idx="43">
                  <c:v>0.10134901418194396</c:v>
                </c:pt>
                <c:pt idx="44">
                  <c:v>0.10198135198135198</c:v>
                </c:pt>
                <c:pt idx="45">
                  <c:v>0.12368090915799572</c:v>
                </c:pt>
                <c:pt idx="46">
                  <c:v>0.1137503299023489</c:v>
                </c:pt>
                <c:pt idx="47">
                  <c:v>0.1173056486552767</c:v>
                </c:pt>
                <c:pt idx="48">
                  <c:v>0.1158098396904367</c:v>
                </c:pt>
                <c:pt idx="49">
                  <c:v>0.13626111184821546</c:v>
                </c:pt>
                <c:pt idx="50">
                  <c:v>0.1701525536148574</c:v>
                </c:pt>
                <c:pt idx="51">
                  <c:v>0.1552386176631925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640338205333762</c:v>
                </c:pt>
              </c:numCache>
            </c:numRef>
          </c:xVal>
          <c:yVal>
            <c:numRef>
              <c:f>Sheet1!$B$163:$B$164</c:f>
              <c:numCache>
                <c:formatCode>General</c:formatCode>
                <c:ptCount val="2"/>
                <c:pt idx="0">
                  <c:v>0.20335682181453954</c:v>
                </c:pt>
                <c:pt idx="1">
                  <c:v>0.2033568218145395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640338205333762</c:v>
                </c:pt>
                <c:pt idx="1">
                  <c:v>0.6640338205333762</c:v>
                </c:pt>
              </c:numCache>
            </c:numRef>
          </c:xVal>
          <c:yVal>
            <c:numRef>
              <c:f>Sheet1!$B$167:$B$168</c:f>
              <c:numCache>
                <c:formatCode>General</c:formatCode>
                <c:ptCount val="2"/>
                <c:pt idx="0">
                  <c:v>0.203356821814539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4219921203954229</c:v>
                </c:pt>
              </c:numCache>
            </c:numRef>
          </c:xVal>
          <c:yVal>
            <c:numRef>
              <c:f>Sheet1!$B$171:$B$172</c:f>
              <c:numCache>
                <c:formatCode>General</c:formatCode>
                <c:ptCount val="2"/>
                <c:pt idx="0">
                  <c:v>0.14436553070417552</c:v>
                </c:pt>
                <c:pt idx="1">
                  <c:v>0.1443655307041755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4219921203954229</c:v>
                </c:pt>
                <c:pt idx="1">
                  <c:v>1.4219921203954229</c:v>
                </c:pt>
              </c:numCache>
            </c:numRef>
          </c:xVal>
          <c:yVal>
            <c:numRef>
              <c:f>Sheet1!$B$175:$B$176</c:f>
              <c:numCache>
                <c:formatCode>General</c:formatCode>
                <c:ptCount val="2"/>
                <c:pt idx="0">
                  <c:v>0.1443655307041755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284131686849866</c:v>
                </c:pt>
              </c:numCache>
            </c:numRef>
          </c:xVal>
          <c:yVal>
            <c:numRef>
              <c:f>Sheet1!$B$179:$B$180</c:f>
              <c:numCache>
                <c:formatCode>General</c:formatCode>
                <c:ptCount val="2"/>
                <c:pt idx="0">
                  <c:v>0.12051702444033151</c:v>
                </c:pt>
                <c:pt idx="1">
                  <c:v>0.1205170244403315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284131686849866</c:v>
                </c:pt>
                <c:pt idx="1">
                  <c:v>1.7284131686849866</c:v>
                </c:pt>
              </c:numCache>
            </c:numRef>
          </c:xVal>
          <c:yVal>
            <c:numRef>
              <c:f>Sheet1!$B$183:$B$184</c:f>
              <c:numCache>
                <c:formatCode>General</c:formatCode>
                <c:ptCount val="2"/>
                <c:pt idx="0">
                  <c:v>0.1205170244403315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6444107069231113</c:v>
                </c:pt>
                <c:pt idx="1">
                  <c:v>1.634771470021177</c:v>
                </c:pt>
                <c:pt idx="2">
                  <c:v>1.6044671320310206</c:v>
                </c:pt>
                <c:pt idx="3">
                  <c:v>1.569313083261047</c:v>
                </c:pt>
                <c:pt idx="4">
                  <c:v>1.5812466745990421</c:v>
                </c:pt>
                <c:pt idx="5">
                  <c:v>1.5562714790444034</c:v>
                </c:pt>
                <c:pt idx="6">
                  <c:v>1.5478145774150969</c:v>
                </c:pt>
                <c:pt idx="7">
                  <c:v>1.5453069850716121</c:v>
                </c:pt>
                <c:pt idx="8">
                  <c:v>1.6363309717611483</c:v>
                </c:pt>
                <c:pt idx="9">
                  <c:v>1.6231851616878599</c:v>
                </c:pt>
                <c:pt idx="10">
                  <c:v>1.6244140789671166</c:v>
                </c:pt>
                <c:pt idx="11">
                  <c:v>1.6388687372279742</c:v>
                </c:pt>
                <c:pt idx="12">
                  <c:v>1.6496061456608777</c:v>
                </c:pt>
                <c:pt idx="13">
                  <c:v>1.6253332626645975</c:v>
                </c:pt>
                <c:pt idx="14">
                  <c:v>1.6094681910462363</c:v>
                </c:pt>
                <c:pt idx="15">
                  <c:v>1.7191535074847772</c:v>
                </c:pt>
                <c:pt idx="16">
                  <c:v>1.703759307434732</c:v>
                </c:pt>
                <c:pt idx="17">
                  <c:v>1.7481570343905513</c:v>
                </c:pt>
                <c:pt idx="18">
                  <c:v>1.5819112690666701</c:v>
                </c:pt>
                <c:pt idx="19">
                  <c:v>1.8145508787373585</c:v>
                </c:pt>
                <c:pt idx="20">
                  <c:v>1.7659054024820489</c:v>
                </c:pt>
                <c:pt idx="21">
                  <c:v>1.6648376515318652</c:v>
                </c:pt>
                <c:pt idx="22">
                  <c:v>1.674439664360053</c:v>
                </c:pt>
                <c:pt idx="23">
                  <c:v>1.6251431155631846</c:v>
                </c:pt>
                <c:pt idx="24">
                  <c:v>1.6134887934542055</c:v>
                </c:pt>
                <c:pt idx="25">
                  <c:v>1.5860337150459831</c:v>
                </c:pt>
                <c:pt idx="26">
                  <c:v>1.614101134464038</c:v>
                </c:pt>
                <c:pt idx="27">
                  <c:v>1.6110821121842989</c:v>
                </c:pt>
                <c:pt idx="28">
                  <c:v>1.56133481981297</c:v>
                </c:pt>
                <c:pt idx="29">
                  <c:v>1.5465459940547666</c:v>
                </c:pt>
                <c:pt idx="30">
                  <c:v>1.470638912947296</c:v>
                </c:pt>
                <c:pt idx="31">
                  <c:v>1.416620422276244</c:v>
                </c:pt>
                <c:pt idx="32">
                  <c:v>1.4191183211445828</c:v>
                </c:pt>
                <c:pt idx="33">
                  <c:v>1.4498260315937344</c:v>
                </c:pt>
                <c:pt idx="34">
                  <c:v>1.5033350847812976</c:v>
                </c:pt>
                <c:pt idx="35">
                  <c:v>1.4515968568021735</c:v>
                </c:pt>
                <c:pt idx="36">
                  <c:v>1.4685594632893617</c:v>
                </c:pt>
                <c:pt idx="37">
                  <c:v>1.6338610918190513</c:v>
                </c:pt>
                <c:pt idx="38">
                  <c:v>1.6373281456277557</c:v>
                </c:pt>
                <c:pt idx="39">
                  <c:v>1.6243886745982654</c:v>
                </c:pt>
                <c:pt idx="40">
                  <c:v>1.621815499028161</c:v>
                </c:pt>
                <c:pt idx="41">
                  <c:v>1.7163020876394035</c:v>
                </c:pt>
                <c:pt idx="42">
                  <c:v>1.7147154840777177</c:v>
                </c:pt>
                <c:pt idx="43">
                  <c:v>1.7399034993773006</c:v>
                </c:pt>
                <c:pt idx="44">
                  <c:v>1.6379407362871259</c:v>
                </c:pt>
                <c:pt idx="45">
                  <c:v>1.6594349163895972</c:v>
                </c:pt>
                <c:pt idx="46">
                  <c:v>1.6573873703027355</c:v>
                </c:pt>
                <c:pt idx="47">
                  <c:v>1.67324403559659</c:v>
                </c:pt>
                <c:pt idx="48">
                  <c:v>1.6278668345034928</c:v>
                </c:pt>
                <c:pt idx="49">
                  <c:v>1.7018182531969845</c:v>
                </c:pt>
                <c:pt idx="50">
                  <c:v>1.5473241976050354</c:v>
                </c:pt>
                <c:pt idx="51">
                  <c:v>1.5439651577767561</c:v>
                </c:pt>
                <c:pt idx="52">
                  <c:v>1.4219921203954229</c:v>
                </c:pt>
                <c:pt idx="53">
                  <c:v>0.6640338205333762</c:v>
                </c:pt>
                <c:pt idx="54">
                  <c:v>1.7284131686849866</c:v>
                </c:pt>
              </c:numCache>
            </c:numRef>
          </c:xVal>
          <c:yVal>
            <c:numRef>
              <c:f>Sheet1!$B$187:$B$241</c:f>
              <c:numCache>
                <c:formatCode>General</c:formatCode>
                <c:ptCount val="55"/>
                <c:pt idx="0">
                  <c:v>0.12705486916963118</c:v>
                </c:pt>
                <c:pt idx="1">
                  <c:v>0.1278050833044553</c:v>
                </c:pt>
                <c:pt idx="2">
                  <c:v>0.13016364580665304</c:v>
                </c:pt>
                <c:pt idx="3">
                  <c:v>0.13289965743826246</c:v>
                </c:pt>
                <c:pt idx="4">
                  <c:v>0.131970875524086</c:v>
                </c:pt>
                <c:pt idx="5">
                  <c:v>0.13391467511275745</c:v>
                </c:pt>
                <c:pt idx="6">
                  <c:v>0.13457286903450347</c:v>
                </c:pt>
                <c:pt idx="7">
                  <c:v>0.1347680329504439</c:v>
                </c:pt>
                <c:pt idx="8">
                  <c:v>0.12768370852546482</c:v>
                </c:pt>
                <c:pt idx="9">
                  <c:v>0.12870683645883008</c:v>
                </c:pt>
                <c:pt idx="10">
                  <c:v>0.12861119080525735</c:v>
                </c:pt>
                <c:pt idx="11">
                  <c:v>0.12748619625935387</c:v>
                </c:pt>
                <c:pt idx="12">
                  <c:v>0.12665051230846688</c:v>
                </c:pt>
                <c:pt idx="13">
                  <c:v>0.12853965146979277</c:v>
                </c:pt>
                <c:pt idx="14">
                  <c:v>0.12977441736456014</c:v>
                </c:pt>
                <c:pt idx="15">
                  <c:v>0.12123769650044922</c:v>
                </c:pt>
                <c:pt idx="16">
                  <c:v>0.12243581483588889</c:v>
                </c:pt>
                <c:pt idx="17">
                  <c:v>0.11898037508944653</c:v>
                </c:pt>
                <c:pt idx="18">
                  <c:v>0.13191915066571674</c:v>
                </c:pt>
                <c:pt idx="19">
                  <c:v>0.11381299503633338</c:v>
                </c:pt>
                <c:pt idx="20">
                  <c:v>0.11759903372936117</c:v>
                </c:pt>
                <c:pt idx="21">
                  <c:v>0.1254650563314716</c:v>
                </c:pt>
                <c:pt idx="22">
                  <c:v>0.12471773931667518</c:v>
                </c:pt>
                <c:pt idx="23">
                  <c:v>0.12855445046733033</c:v>
                </c:pt>
                <c:pt idx="24">
                  <c:v>0.12946149707972296</c:v>
                </c:pt>
                <c:pt idx="25">
                  <c:v>0.13159830397679378</c:v>
                </c:pt>
                <c:pt idx="26">
                  <c:v>0.12941383906637788</c:v>
                </c:pt>
                <c:pt idx="27">
                  <c:v>0.12964880716713642</c:v>
                </c:pt>
                <c:pt idx="28">
                  <c:v>0.13352059933138025</c:v>
                </c:pt>
                <c:pt idx="29">
                  <c:v>0.13467160186759025</c:v>
                </c:pt>
                <c:pt idx="30">
                  <c:v>0.140579389564834</c:v>
                </c:pt>
                <c:pt idx="31">
                  <c:v>0.14478360569268497</c:v>
                </c:pt>
                <c:pt idx="32">
                  <c:v>0.14458919621219873</c:v>
                </c:pt>
                <c:pt idx="33">
                  <c:v>0.14219923955261948</c:v>
                </c:pt>
                <c:pt idx="34">
                  <c:v>0.13803467253857396</c:v>
                </c:pt>
                <c:pt idx="35">
                  <c:v>0.1420614176363008</c:v>
                </c:pt>
                <c:pt idx="36">
                  <c:v>0.14074123147637832</c:v>
                </c:pt>
                <c:pt idx="37">
                  <c:v>0.12787593731522595</c:v>
                </c:pt>
                <c:pt idx="38">
                  <c:v>0.1276060992772207</c:v>
                </c:pt>
                <c:pt idx="39">
                  <c:v>0.12861316800706205</c:v>
                </c:pt>
                <c:pt idx="40">
                  <c:v>0.12881343621332317</c:v>
                </c:pt>
                <c:pt idx="41">
                  <c:v>0.12145962023715998</c:v>
                </c:pt>
                <c:pt idx="42">
                  <c:v>0.12158310432936029</c:v>
                </c:pt>
                <c:pt idx="43">
                  <c:v>0.11962274114935362</c:v>
                </c:pt>
                <c:pt idx="44">
                  <c:v>0.12755842183385083</c:v>
                </c:pt>
                <c:pt idx="45">
                  <c:v>0.12588554690678128</c:v>
                </c:pt>
                <c:pt idx="46">
                  <c:v>0.12604490578878563</c:v>
                </c:pt>
                <c:pt idx="47">
                  <c:v>0.12481079415156279</c:v>
                </c:pt>
                <c:pt idx="48">
                  <c:v>0.12834246559040532</c:v>
                </c:pt>
                <c:pt idx="49">
                  <c:v>0.12258688554204886</c:v>
                </c:pt>
                <c:pt idx="50">
                  <c:v>0.13461103490475682</c:v>
                </c:pt>
                <c:pt idx="51">
                  <c:v>0.13487246630064942</c:v>
                </c:pt>
                <c:pt idx="52">
                  <c:v>0.14436553070417552</c:v>
                </c:pt>
                <c:pt idx="53">
                  <c:v>0.20335682181453954</c:v>
                </c:pt>
                <c:pt idx="54">
                  <c:v>0.1205170244403315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765249537892793"/>
          <c:min val="0.0687440982058545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0.9622</c:v>
                </c:pt>
                <c:pt idx="1">
                  <c:v>817.1421</c:v>
                </c:pt>
                <c:pt idx="2">
                  <c:v>857.0717</c:v>
                </c:pt>
                <c:pt idx="3">
                  <c:v>870.5565</c:v>
                </c:pt>
                <c:pt idx="4">
                  <c:v>871.0529</c:v>
                </c:pt>
                <c:pt idx="5">
                  <c:v>869.1409</c:v>
                </c:pt>
                <c:pt idx="6">
                  <c:v>826.5068</c:v>
                </c:pt>
                <c:pt idx="7">
                  <c:v>840.0289</c:v>
                </c:pt>
                <c:pt idx="8">
                  <c:v>827.7417</c:v>
                </c:pt>
                <c:pt idx="9">
                  <c:v>812.1691</c:v>
                </c:pt>
                <c:pt idx="10">
                  <c:v>820.1319</c:v>
                </c:pt>
                <c:pt idx="11">
                  <c:v>863.0048</c:v>
                </c:pt>
                <c:pt idx="12">
                  <c:v>864.6089</c:v>
                </c:pt>
                <c:pt idx="13">
                  <c:v>855.4227</c:v>
                </c:pt>
                <c:pt idx="14">
                  <c:v>857.7939</c:v>
                </c:pt>
                <c:pt idx="15">
                  <c:v>867.6311</c:v>
                </c:pt>
                <c:pt idx="16">
                  <c:v>872.2607</c:v>
                </c:pt>
                <c:pt idx="17">
                  <c:v>881.2093</c:v>
                </c:pt>
                <c:pt idx="18">
                  <c:v>920.7668</c:v>
                </c:pt>
                <c:pt idx="19">
                  <c:v>946.4436</c:v>
                </c:pt>
                <c:pt idx="20">
                  <c:v>945.6632</c:v>
                </c:pt>
                <c:pt idx="21">
                  <c:v>955.5355</c:v>
                </c:pt>
                <c:pt idx="22">
                  <c:v>934.849</c:v>
                </c:pt>
                <c:pt idx="23">
                  <c:v>922.7124</c:v>
                </c:pt>
                <c:pt idx="24">
                  <c:v>902.6609</c:v>
                </c:pt>
                <c:pt idx="25">
                  <c:v>885.1498</c:v>
                </c:pt>
                <c:pt idx="26">
                  <c:v>878.0888</c:v>
                </c:pt>
                <c:pt idx="27">
                  <c:v>920.2547</c:v>
                </c:pt>
                <c:pt idx="28">
                  <c:v>922.7185</c:v>
                </c:pt>
                <c:pt idx="29">
                  <c:v>712.2556</c:v>
                </c:pt>
                <c:pt idx="30">
                  <c:v>781.5662</c:v>
                </c:pt>
                <c:pt idx="31">
                  <c:v>836.2497</c:v>
                </c:pt>
                <c:pt idx="32">
                  <c:v>812.6254</c:v>
                </c:pt>
                <c:pt idx="33">
                  <c:v>725.5265</c:v>
                </c:pt>
                <c:pt idx="34">
                  <c:v>859.9147</c:v>
                </c:pt>
                <c:pt idx="35">
                  <c:v>907.2174</c:v>
                </c:pt>
                <c:pt idx="36">
                  <c:v>983.4306</c:v>
                </c:pt>
                <c:pt idx="37">
                  <c:v>997.5516</c:v>
                </c:pt>
                <c:pt idx="38">
                  <c:v>1037.9455</c:v>
                </c:pt>
                <c:pt idx="39">
                  <c:v>1047.1026</c:v>
                </c:pt>
                <c:pt idx="40">
                  <c:v>1047.3911</c:v>
                </c:pt>
                <c:pt idx="41">
                  <c:v>1076.9801</c:v>
                </c:pt>
                <c:pt idx="42">
                  <c:v>1092.1588</c:v>
                </c:pt>
                <c:pt idx="43">
                  <c:v>1080.8705</c:v>
                </c:pt>
                <c:pt idx="44">
                  <c:v>1001.4318</c:v>
                </c:pt>
                <c:pt idx="45">
                  <c:v>972.1252</c:v>
                </c:pt>
                <c:pt idx="46">
                  <c:v>973.4876</c:v>
                </c:pt>
                <c:pt idx="47">
                  <c:v>950.3796</c:v>
                </c:pt>
                <c:pt idx="48">
                  <c:v>974.2739</c:v>
                </c:pt>
                <c:pt idx="49">
                  <c:v>963.2298</c:v>
                </c:pt>
                <c:pt idx="50">
                  <c:v>938.1777</c:v>
                </c:pt>
                <c:pt idx="51">
                  <c:v>932.2839</c:v>
                </c:pt>
                <c:pt idx="52">
                  <c:v>944.0862</c:v>
                </c:pt>
                <c:pt idx="53">
                  <c:v>1011.6319</c:v>
                </c:pt>
                <c:pt idx="54">
                  <c:v>1011.903</c:v>
                </c:pt>
                <c:pt idx="55">
                  <c:v>1021.217</c:v>
                </c:pt>
                <c:pt idx="56">
                  <c:v>1052.7579</c:v>
                </c:pt>
                <c:pt idx="57">
                  <c:v>1044.0529</c:v>
                </c:pt>
                <c:pt idx="58">
                  <c:v>1004.7018</c:v>
                </c:pt>
                <c:pt idx="59">
                  <c:v>995.4027</c:v>
                </c:pt>
                <c:pt idx="60">
                  <c:v>1015.8163</c:v>
                </c:pt>
                <c:pt idx="61">
                  <c:v>1001.4774</c:v>
                </c:pt>
                <c:pt idx="62">
                  <c:v>962.3131</c:v>
                </c:pt>
                <c:pt idx="63">
                  <c:v>1018.8677</c:v>
                </c:pt>
                <c:pt idx="64">
                  <c:v>1017.9956</c:v>
                </c:pt>
                <c:pt idx="65">
                  <c:v>1007.6918</c:v>
                </c:pt>
                <c:pt idx="66">
                  <c:v>998.0351</c:v>
                </c:pt>
                <c:pt idx="67">
                  <c:v>1013.9308</c:v>
                </c:pt>
                <c:pt idx="68">
                  <c:v>995.5252</c:v>
                </c:pt>
                <c:pt idx="69">
                  <c:v>995.25</c:v>
                </c:pt>
                <c:pt idx="70">
                  <c:v>993.7963</c:v>
                </c:pt>
                <c:pt idx="71">
                  <c:v>1069.7628</c:v>
                </c:pt>
                <c:pt idx="72">
                  <c:v>1132.3061</c:v>
                </c:pt>
                <c:pt idx="73">
                  <c:v>1180.2163</c:v>
                </c:pt>
                <c:pt idx="74">
                  <c:v>1133.2755</c:v>
                </c:pt>
                <c:pt idx="75">
                  <c:v>1105.0681</c:v>
                </c:pt>
                <c:pt idx="76">
                  <c:v>1145.202</c:v>
                </c:pt>
                <c:pt idx="77">
                  <c:v>1126.2507</c:v>
                </c:pt>
                <c:pt idx="78">
                  <c:v>1120.3287</c:v>
                </c:pt>
                <c:pt idx="79">
                  <c:v>1140.4143</c:v>
                </c:pt>
                <c:pt idx="80">
                  <c:v>1125.2644</c:v>
                </c:pt>
                <c:pt idx="81">
                  <c:v>1104.7861</c:v>
                </c:pt>
                <c:pt idx="82">
                  <c:v>1121.3158</c:v>
                </c:pt>
                <c:pt idx="83">
                  <c:v>1124.4945</c:v>
                </c:pt>
                <c:pt idx="84">
                  <c:v>1082.3367</c:v>
                </c:pt>
                <c:pt idx="85">
                  <c:v>1082.8973</c:v>
                </c:pt>
                <c:pt idx="86">
                  <c:v>1089.2068</c:v>
                </c:pt>
                <c:pt idx="87">
                  <c:v>1107.8789</c:v>
                </c:pt>
                <c:pt idx="88">
                  <c:v>1118.326</c:v>
                </c:pt>
                <c:pt idx="89">
                  <c:v>1098.6198</c:v>
                </c:pt>
                <c:pt idx="90">
                  <c:v>1164.6252</c:v>
                </c:pt>
                <c:pt idx="91">
                  <c:v>1163.1002</c:v>
                </c:pt>
                <c:pt idx="92">
                  <c:v>1087.7851</c:v>
                </c:pt>
                <c:pt idx="93">
                  <c:v>1134.6018</c:v>
                </c:pt>
                <c:pt idx="94">
                  <c:v>1153.1866</c:v>
                </c:pt>
                <c:pt idx="95">
                  <c:v>1127.9911</c:v>
                </c:pt>
                <c:pt idx="96">
                  <c:v>1074.6079</c:v>
                </c:pt>
                <c:pt idx="97">
                  <c:v>1075.9857</c:v>
                </c:pt>
                <c:pt idx="98">
                  <c:v>1070.8626</c:v>
                </c:pt>
                <c:pt idx="99">
                  <c:v>1010.6991</c:v>
                </c:pt>
                <c:pt idx="100">
                  <c:v>1021.3506</c:v>
                </c:pt>
                <c:pt idx="101">
                  <c:v>1026.9132</c:v>
                </c:pt>
                <c:pt idx="102">
                  <c:v>1022.9343</c:v>
                </c:pt>
                <c:pt idx="103">
                  <c:v>999.459</c:v>
                </c:pt>
                <c:pt idx="104">
                  <c:v>1059.3722</c:v>
                </c:pt>
              </c:numCache>
            </c:numRef>
          </c:xVal>
          <c:yVal>
            <c:numRef>
              <c:f>Sheet1!$B$2:$B$106</c:f>
              <c:numCache>
                <c:formatCode>General</c:formatCode>
                <c:ptCount val="105"/>
                <c:pt idx="0">
                  <c:v>0.2162312395775431</c:v>
                </c:pt>
                <c:pt idx="1">
                  <c:v>0.2006586874447747</c:v>
                </c:pt>
                <c:pt idx="2">
                  <c:v>0.16746003552397867</c:v>
                </c:pt>
                <c:pt idx="3">
                  <c:v>0.16197073474470736</c:v>
                </c:pt>
                <c:pt idx="4">
                  <c:v>0.15120870653953578</c:v>
                </c:pt>
                <c:pt idx="5">
                  <c:v>0.13729883886738645</c:v>
                </c:pt>
                <c:pt idx="6">
                  <c:v>0.16207983193277312</c:v>
                </c:pt>
                <c:pt idx="7">
                  <c:v>0.15956120668162552</c:v>
                </c:pt>
                <c:pt idx="8">
                  <c:v>0.17536959175369593</c:v>
                </c:pt>
                <c:pt idx="9">
                  <c:v>0.20725683890577506</c:v>
                </c:pt>
                <c:pt idx="10">
                  <c:v>0.21454000374742366</c:v>
                </c:pt>
                <c:pt idx="11">
                  <c:v>0.2016895459345301</c:v>
                </c:pt>
                <c:pt idx="12">
                  <c:v>0.20988855474969043</c:v>
                </c:pt>
                <c:pt idx="13">
                  <c:v>0.2230437461491066</c:v>
                </c:pt>
                <c:pt idx="14">
                  <c:v>0.22027729636048526</c:v>
                </c:pt>
                <c:pt idx="15">
                  <c:v>0.21929356525450858</c:v>
                </c:pt>
                <c:pt idx="16">
                  <c:v>0.21254658385093167</c:v>
                </c:pt>
                <c:pt idx="17">
                  <c:v>0.19493932352181773</c:v>
                </c:pt>
                <c:pt idx="18">
                  <c:v>0.1869372588252108</c:v>
                </c:pt>
                <c:pt idx="19">
                  <c:v>0.17359000337723743</c:v>
                </c:pt>
                <c:pt idx="20">
                  <c:v>0.19444444444444445</c:v>
                </c:pt>
                <c:pt idx="21">
                  <c:v>0.18519151846785226</c:v>
                </c:pt>
                <c:pt idx="22">
                  <c:v>0.18664495114006516</c:v>
                </c:pt>
                <c:pt idx="23">
                  <c:v>0.1950668751085635</c:v>
                </c:pt>
                <c:pt idx="24">
                  <c:v>0.18831168831168832</c:v>
                </c:pt>
                <c:pt idx="25">
                  <c:v>0.18675568386863947</c:v>
                </c:pt>
                <c:pt idx="26">
                  <c:v>0.19303517765600142</c:v>
                </c:pt>
                <c:pt idx="27">
                  <c:v>0.17015128335883054</c:v>
                </c:pt>
                <c:pt idx="28">
                  <c:v>0.16479651649639926</c:v>
                </c:pt>
                <c:pt idx="29">
                  <c:v>0.1989340247767214</c:v>
                </c:pt>
                <c:pt idx="30">
                  <c:v>0.17969052224371374</c:v>
                </c:pt>
                <c:pt idx="31">
                  <c:v>0.17431525485216762</c:v>
                </c:pt>
                <c:pt idx="32">
                  <c:v>0.18934509670851712</c:v>
                </c:pt>
                <c:pt idx="33">
                  <c:v>0.21914976095102726</c:v>
                </c:pt>
                <c:pt idx="34">
                  <c:v>0.19569163741982332</c:v>
                </c:pt>
                <c:pt idx="35">
                  <c:v>0.18861036748600632</c:v>
                </c:pt>
                <c:pt idx="36">
                  <c:v>0.13889274316636605</c:v>
                </c:pt>
                <c:pt idx="37">
                  <c:v>0.1291887793783169</c:v>
                </c:pt>
                <c:pt idx="38">
                  <c:v>0.12560827250608272</c:v>
                </c:pt>
                <c:pt idx="39">
                  <c:v>0.12089810017271158</c:v>
                </c:pt>
                <c:pt idx="40">
                  <c:v>0.11813643926788686</c:v>
                </c:pt>
                <c:pt idx="41">
                  <c:v>0.09736224278414583</c:v>
                </c:pt>
                <c:pt idx="42">
                  <c:v>0.10086042065009561</c:v>
                </c:pt>
                <c:pt idx="43">
                  <c:v>0.1090422685928304</c:v>
                </c:pt>
                <c:pt idx="44">
                  <c:v>0.12877537843460793</c:v>
                </c:pt>
                <c:pt idx="45">
                  <c:v>0.1496313332882365</c:v>
                </c:pt>
                <c:pt idx="46">
                  <c:v>0.15096048121078842</c:v>
                </c:pt>
                <c:pt idx="47">
                  <c:v>0.14789959346970383</c:v>
                </c:pt>
                <c:pt idx="48">
                  <c:v>0.1590626494500239</c:v>
                </c:pt>
                <c:pt idx="49">
                  <c:v>0.187127323746054</c:v>
                </c:pt>
                <c:pt idx="50">
                  <c:v>0.15020561789921238</c:v>
                </c:pt>
                <c:pt idx="51">
                  <c:v>0.1304274654998317</c:v>
                </c:pt>
                <c:pt idx="52">
                  <c:v>0.14316102956817697</c:v>
                </c:pt>
                <c:pt idx="53">
                  <c:v>0.12669606512890094</c:v>
                </c:pt>
                <c:pt idx="54">
                  <c:v>0.12414485086199033</c:v>
                </c:pt>
                <c:pt idx="55">
                  <c:v>0.11438701250233252</c:v>
                </c:pt>
                <c:pt idx="56">
                  <c:v>0.11668273866923819</c:v>
                </c:pt>
                <c:pt idx="57">
                  <c:v>0.10908945174735492</c:v>
                </c:pt>
                <c:pt idx="58">
                  <c:v>0.12997060188766826</c:v>
                </c:pt>
                <c:pt idx="59">
                  <c:v>0.13864667788486054</c:v>
                </c:pt>
                <c:pt idx="60">
                  <c:v>0.14897523990048572</c:v>
                </c:pt>
                <c:pt idx="61">
                  <c:v>0.14678289746782897</c:v>
                </c:pt>
                <c:pt idx="62">
                  <c:v>0.16551344551030037</c:v>
                </c:pt>
                <c:pt idx="63">
                  <c:v>0.1855731816821311</c:v>
                </c:pt>
                <c:pt idx="64">
                  <c:v>0.19271765346611686</c:v>
                </c:pt>
                <c:pt idx="65">
                  <c:v>0.17448945981554678</c:v>
                </c:pt>
                <c:pt idx="66">
                  <c:v>0.16863905325443787</c:v>
                </c:pt>
                <c:pt idx="67">
                  <c:v>0.15375743057403957</c:v>
                </c:pt>
                <c:pt idx="68">
                  <c:v>0.1376352869103533</c:v>
                </c:pt>
                <c:pt idx="69">
                  <c:v>0.12375404530744337</c:v>
                </c:pt>
                <c:pt idx="70">
                  <c:v>0.11256671518680253</c:v>
                </c:pt>
                <c:pt idx="71">
                  <c:v>0.11485042735042734</c:v>
                </c:pt>
                <c:pt idx="72">
                  <c:v>0.11879813154904684</c:v>
                </c:pt>
                <c:pt idx="73">
                  <c:v>0.11369439591452762</c:v>
                </c:pt>
                <c:pt idx="74">
                  <c:v>0.11106965174129353</c:v>
                </c:pt>
                <c:pt idx="75">
                  <c:v>0.11842891278375149</c:v>
                </c:pt>
                <c:pt idx="76">
                  <c:v>0.10943216160330842</c:v>
                </c:pt>
                <c:pt idx="77">
                  <c:v>0.11107491856677525</c:v>
                </c:pt>
                <c:pt idx="78">
                  <c:v>0.10087719298245613</c:v>
                </c:pt>
                <c:pt idx="79">
                  <c:v>0.09526073862735775</c:v>
                </c:pt>
                <c:pt idx="80">
                  <c:v>0.08891731968655045</c:v>
                </c:pt>
                <c:pt idx="81">
                  <c:v>0.10487868510305244</c:v>
                </c:pt>
                <c:pt idx="82">
                  <c:v>0.09210526315789473</c:v>
                </c:pt>
                <c:pt idx="83">
                  <c:v>0.08593012275731822</c:v>
                </c:pt>
                <c:pt idx="84">
                  <c:v>0.0944305261129312</c:v>
                </c:pt>
                <c:pt idx="85">
                  <c:v>0.11049908195626773</c:v>
                </c:pt>
                <c:pt idx="86">
                  <c:v>0.11845515811301192</c:v>
                </c:pt>
                <c:pt idx="87">
                  <c:v>0.13582804609607665</c:v>
                </c:pt>
                <c:pt idx="88">
                  <c:v>0.10931957433086101</c:v>
                </c:pt>
                <c:pt idx="89">
                  <c:v>0.09831029185867896</c:v>
                </c:pt>
                <c:pt idx="90">
                  <c:v>0.09772608922062143</c:v>
                </c:pt>
                <c:pt idx="91">
                  <c:v>0.09703368526897939</c:v>
                </c:pt>
                <c:pt idx="92">
                  <c:v>0.10670145564405382</c:v>
                </c:pt>
                <c:pt idx="93">
                  <c:v>0.10296306318495467</c:v>
                </c:pt>
                <c:pt idx="94">
                  <c:v>0.1070369792479326</c:v>
                </c:pt>
                <c:pt idx="95">
                  <c:v>0.11430511543684925</c:v>
                </c:pt>
                <c:pt idx="96">
                  <c:v>0.11659159159159159</c:v>
                </c:pt>
                <c:pt idx="97">
                  <c:v>0.1299614112458655</c:v>
                </c:pt>
                <c:pt idx="98">
                  <c:v>0.14781054512957997</c:v>
                </c:pt>
                <c:pt idx="99">
                  <c:v>0.15648180854821617</c:v>
                </c:pt>
                <c:pt idx="100">
                  <c:v>0.17798369732390035</c:v>
                </c:pt>
                <c:pt idx="101">
                  <c:v>0.15477766013763897</c:v>
                </c:pt>
                <c:pt idx="102">
                  <c:v>0.12323160423525224</c:v>
                </c:pt>
                <c:pt idx="103">
                  <c:v>0.130459444129325</c:v>
                </c:pt>
                <c:pt idx="104">
                  <c:v>0.1331967213114754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70.4673</c:v>
                </c:pt>
                <c:pt idx="1">
                  <c:v>1068.707</c:v>
                </c:pt>
                <c:pt idx="2">
                  <c:v>1070.3243</c:v>
                </c:pt>
                <c:pt idx="3">
                  <c:v>1045.1407</c:v>
                </c:pt>
                <c:pt idx="4">
                  <c:v>1057.7027</c:v>
                </c:pt>
                <c:pt idx="5">
                  <c:v>1064.8218</c:v>
                </c:pt>
                <c:pt idx="6">
                  <c:v>983.5823</c:v>
                </c:pt>
                <c:pt idx="7">
                  <c:v>1040.4776</c:v>
                </c:pt>
                <c:pt idx="8">
                  <c:v>1104.3655</c:v>
                </c:pt>
                <c:pt idx="9">
                  <c:v>1058.7084</c:v>
                </c:pt>
                <c:pt idx="10">
                  <c:v>1086.6466</c:v>
                </c:pt>
                <c:pt idx="11">
                  <c:v>937.5165</c:v>
                </c:pt>
                <c:pt idx="12">
                  <c:v>981.2504</c:v>
                </c:pt>
                <c:pt idx="13">
                  <c:v>1054.9024</c:v>
                </c:pt>
                <c:pt idx="14">
                  <c:v>1045.0351</c:v>
                </c:pt>
                <c:pt idx="15">
                  <c:v>1081.9735</c:v>
                </c:pt>
                <c:pt idx="16">
                  <c:v>1122.599</c:v>
                </c:pt>
                <c:pt idx="17">
                  <c:v>1102.1041</c:v>
                </c:pt>
                <c:pt idx="18">
                  <c:v>1033.6281</c:v>
                </c:pt>
                <c:pt idx="19">
                  <c:v>1182.7738</c:v>
                </c:pt>
                <c:pt idx="20">
                  <c:v>1190.1768</c:v>
                </c:pt>
                <c:pt idx="21">
                  <c:v>1100.9926</c:v>
                </c:pt>
                <c:pt idx="22">
                  <c:v>1128.8451</c:v>
                </c:pt>
                <c:pt idx="23">
                  <c:v>1099.6344</c:v>
                </c:pt>
                <c:pt idx="24">
                  <c:v>1094.0911</c:v>
                </c:pt>
                <c:pt idx="25">
                  <c:v>1046.5315</c:v>
                </c:pt>
                <c:pt idx="26">
                  <c:v>1096.3146</c:v>
                </c:pt>
                <c:pt idx="27">
                  <c:v>1101.2555</c:v>
                </c:pt>
                <c:pt idx="28">
                  <c:v>1059.6005</c:v>
                </c:pt>
                <c:pt idx="29">
                  <c:v>1047.3958</c:v>
                </c:pt>
                <c:pt idx="30">
                  <c:v>994.8559</c:v>
                </c:pt>
                <c:pt idx="31">
                  <c:v>977.7143</c:v>
                </c:pt>
                <c:pt idx="32">
                  <c:v>989.1574</c:v>
                </c:pt>
                <c:pt idx="33">
                  <c:v>1022.688</c:v>
                </c:pt>
                <c:pt idx="34">
                  <c:v>1045.4562</c:v>
                </c:pt>
                <c:pt idx="35">
                  <c:v>1053.1566</c:v>
                </c:pt>
                <c:pt idx="36">
                  <c:v>1054.8902</c:v>
                </c:pt>
                <c:pt idx="37">
                  <c:v>1160.5</c:v>
                </c:pt>
                <c:pt idx="38">
                  <c:v>1161.9756</c:v>
                </c:pt>
                <c:pt idx="39">
                  <c:v>1097.2073</c:v>
                </c:pt>
                <c:pt idx="40">
                  <c:v>1140.4652</c:v>
                </c:pt>
                <c:pt idx="41">
                  <c:v>1212.3395</c:v>
                </c:pt>
                <c:pt idx="42">
                  <c:v>1195.358</c:v>
                </c:pt>
                <c:pt idx="43">
                  <c:v>1199.1013</c:v>
                </c:pt>
                <c:pt idx="44">
                  <c:v>1113.6857</c:v>
                </c:pt>
                <c:pt idx="45">
                  <c:v>1084.5519</c:v>
                </c:pt>
                <c:pt idx="46">
                  <c:v>1096.8283</c:v>
                </c:pt>
                <c:pt idx="47">
                  <c:v>1074.476</c:v>
                </c:pt>
                <c:pt idx="48">
                  <c:v>1064.8323</c:v>
                </c:pt>
                <c:pt idx="49">
                  <c:v>1092.4002</c:v>
                </c:pt>
                <c:pt idx="50">
                  <c:v>975.5975</c:v>
                </c:pt>
                <c:pt idx="51">
                  <c:v>939.7557</c:v>
                </c:pt>
              </c:numCache>
            </c:numRef>
          </c:xVal>
          <c:yVal>
            <c:numRef>
              <c:f>Sheet1!$B$109:$B$160</c:f>
              <c:numCache>
                <c:formatCode>General</c:formatCode>
                <c:ptCount val="52"/>
                <c:pt idx="0">
                  <c:v>0.13321492007104796</c:v>
                </c:pt>
                <c:pt idx="1">
                  <c:v>0.13449982325910215</c:v>
                </c:pt>
                <c:pt idx="2">
                  <c:v>0.1396827889447236</c:v>
                </c:pt>
                <c:pt idx="3">
                  <c:v>0.1539776891132644</c:v>
                </c:pt>
                <c:pt idx="4">
                  <c:v>0.13462946392255756</c:v>
                </c:pt>
                <c:pt idx="5">
                  <c:v>0.1404450601783704</c:v>
                </c:pt>
                <c:pt idx="6">
                  <c:v>0.14612676056338028</c:v>
                </c:pt>
                <c:pt idx="7">
                  <c:v>0.13632260006018657</c:v>
                </c:pt>
                <c:pt idx="8">
                  <c:v>0.14083542570189456</c:v>
                </c:pt>
                <c:pt idx="9">
                  <c:v>0.15</c:v>
                </c:pt>
                <c:pt idx="10">
                  <c:v>0.1624544981799272</c:v>
                </c:pt>
                <c:pt idx="11">
                  <c:v>0.1800360522757999</c:v>
                </c:pt>
                <c:pt idx="12">
                  <c:v>0.17841092935466474</c:v>
                </c:pt>
                <c:pt idx="13">
                  <c:v>0.165191465573465</c:v>
                </c:pt>
                <c:pt idx="14">
                  <c:v>0.16082622546500874</c:v>
                </c:pt>
                <c:pt idx="15">
                  <c:v>0.1521667940181203</c:v>
                </c:pt>
                <c:pt idx="16">
                  <c:v>0.13368299859281055</c:v>
                </c:pt>
                <c:pt idx="17">
                  <c:v>0.11681368618016573</c:v>
                </c:pt>
                <c:pt idx="18">
                  <c:v>0.12445278298936835</c:v>
                </c:pt>
                <c:pt idx="19">
                  <c:v>0.12315567600120446</c:v>
                </c:pt>
                <c:pt idx="20">
                  <c:v>0.1030146703208125</c:v>
                </c:pt>
                <c:pt idx="21">
                  <c:v>0.10841683366733466</c:v>
                </c:pt>
                <c:pt idx="22">
                  <c:v>0.10497453975714845</c:v>
                </c:pt>
                <c:pt idx="23">
                  <c:v>0.1122281493639721</c:v>
                </c:pt>
                <c:pt idx="24">
                  <c:v>0.10383830891896903</c:v>
                </c:pt>
                <c:pt idx="25">
                  <c:v>0.1171890596925534</c:v>
                </c:pt>
                <c:pt idx="26">
                  <c:v>0.09765142150803462</c:v>
                </c:pt>
                <c:pt idx="27">
                  <c:v>0.10207696023184672</c:v>
                </c:pt>
                <c:pt idx="28">
                  <c:v>0.11831676034010664</c:v>
                </c:pt>
                <c:pt idx="29">
                  <c:v>0.11453287197231835</c:v>
                </c:pt>
                <c:pt idx="30">
                  <c:v>0.12228016543787089</c:v>
                </c:pt>
                <c:pt idx="31">
                  <c:v>0.12545281220209722</c:v>
                </c:pt>
                <c:pt idx="32">
                  <c:v>0.13310242454230578</c:v>
                </c:pt>
                <c:pt idx="33">
                  <c:v>0.14675080558539205</c:v>
                </c:pt>
                <c:pt idx="34">
                  <c:v>0.16978718455634376</c:v>
                </c:pt>
                <c:pt idx="35">
                  <c:v>0.15360092740182582</c:v>
                </c:pt>
                <c:pt idx="36">
                  <c:v>0.1220757124627818</c:v>
                </c:pt>
                <c:pt idx="37">
                  <c:v>0.10496292070735881</c:v>
                </c:pt>
                <c:pt idx="38">
                  <c:v>0.10301507537688442</c:v>
                </c:pt>
                <c:pt idx="39">
                  <c:v>0.12117407000470884</c:v>
                </c:pt>
                <c:pt idx="40">
                  <c:v>0.10336906584992343</c:v>
                </c:pt>
                <c:pt idx="41">
                  <c:v>0.10235533585344576</c:v>
                </c:pt>
                <c:pt idx="42">
                  <c:v>0.10429346932061194</c:v>
                </c:pt>
                <c:pt idx="43">
                  <c:v>0.10134901418194396</c:v>
                </c:pt>
                <c:pt idx="44">
                  <c:v>0.10198135198135198</c:v>
                </c:pt>
                <c:pt idx="45">
                  <c:v>0.12368090915799572</c:v>
                </c:pt>
                <c:pt idx="46">
                  <c:v>0.1137503299023489</c:v>
                </c:pt>
                <c:pt idx="47">
                  <c:v>0.1173056486552767</c:v>
                </c:pt>
                <c:pt idx="48">
                  <c:v>0.1158098396904367</c:v>
                </c:pt>
                <c:pt idx="49">
                  <c:v>0.13626111184821546</c:v>
                </c:pt>
                <c:pt idx="50">
                  <c:v>0.1701525536148574</c:v>
                </c:pt>
                <c:pt idx="51">
                  <c:v>0.1552386176631925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68.8444119214263</c:v>
                </c:pt>
              </c:numCache>
            </c:numRef>
          </c:xVal>
          <c:yVal>
            <c:numRef>
              <c:f>Sheet1!$B$163:$B$164</c:f>
              <c:numCache>
                <c:formatCode>General</c:formatCode>
                <c:ptCount val="2"/>
                <c:pt idx="0">
                  <c:v>0.20335682181453954</c:v>
                </c:pt>
                <c:pt idx="1">
                  <c:v>0.2033568218145395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68.8444119214263</c:v>
                </c:pt>
                <c:pt idx="1">
                  <c:v>768.8444119214263</c:v>
                </c:pt>
              </c:numCache>
            </c:numRef>
          </c:xVal>
          <c:yVal>
            <c:numRef>
              <c:f>Sheet1!$B$167:$B$168</c:f>
              <c:numCache>
                <c:formatCode>General</c:formatCode>
                <c:ptCount val="2"/>
                <c:pt idx="0">
                  <c:v>0.203356821814539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13.6343202971223</c:v>
                </c:pt>
              </c:numCache>
            </c:numRef>
          </c:xVal>
          <c:yVal>
            <c:numRef>
              <c:f>Sheet1!$B$171:$B$172</c:f>
              <c:numCache>
                <c:formatCode>General</c:formatCode>
                <c:ptCount val="2"/>
                <c:pt idx="0">
                  <c:v>0.14436553070417552</c:v>
                </c:pt>
                <c:pt idx="1">
                  <c:v>0.1443655307041755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13.6343202971223</c:v>
                </c:pt>
                <c:pt idx="1">
                  <c:v>1013.6343202971223</c:v>
                </c:pt>
              </c:numCache>
            </c:numRef>
          </c:xVal>
          <c:yVal>
            <c:numRef>
              <c:f>Sheet1!$B$175:$B$176</c:f>
              <c:numCache>
                <c:formatCode>General</c:formatCode>
                <c:ptCount val="2"/>
                <c:pt idx="0">
                  <c:v>0.1443655307041755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12.5959390944085</c:v>
                </c:pt>
              </c:numCache>
            </c:numRef>
          </c:xVal>
          <c:yVal>
            <c:numRef>
              <c:f>Sheet1!$B$179:$B$180</c:f>
              <c:numCache>
                <c:formatCode>General</c:formatCode>
                <c:ptCount val="2"/>
                <c:pt idx="0">
                  <c:v>0.12051702444033151</c:v>
                </c:pt>
                <c:pt idx="1">
                  <c:v>0.1205170244403315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12.5959390944085</c:v>
                </c:pt>
                <c:pt idx="1">
                  <c:v>1112.5959390944085</c:v>
                </c:pt>
              </c:numCache>
            </c:numRef>
          </c:xVal>
          <c:yVal>
            <c:numRef>
              <c:f>Sheet1!$B$183:$B$184</c:f>
              <c:numCache>
                <c:formatCode>General</c:formatCode>
                <c:ptCount val="2"/>
                <c:pt idx="0">
                  <c:v>0.1205170244403315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70.4673</c:v>
                </c:pt>
                <c:pt idx="1">
                  <c:v>1068.707</c:v>
                </c:pt>
                <c:pt idx="2">
                  <c:v>1070.3243</c:v>
                </c:pt>
                <c:pt idx="3">
                  <c:v>1045.1407</c:v>
                </c:pt>
                <c:pt idx="4">
                  <c:v>1057.7027</c:v>
                </c:pt>
                <c:pt idx="5">
                  <c:v>1064.8218</c:v>
                </c:pt>
                <c:pt idx="6">
                  <c:v>983.5823</c:v>
                </c:pt>
                <c:pt idx="7">
                  <c:v>1040.4776</c:v>
                </c:pt>
                <c:pt idx="8">
                  <c:v>1104.3655</c:v>
                </c:pt>
                <c:pt idx="9">
                  <c:v>1058.7084</c:v>
                </c:pt>
                <c:pt idx="10">
                  <c:v>1086.6466</c:v>
                </c:pt>
                <c:pt idx="11">
                  <c:v>937.5165</c:v>
                </c:pt>
                <c:pt idx="12">
                  <c:v>981.2504</c:v>
                </c:pt>
                <c:pt idx="13">
                  <c:v>1054.9024</c:v>
                </c:pt>
                <c:pt idx="14">
                  <c:v>1045.0351</c:v>
                </c:pt>
                <c:pt idx="15">
                  <c:v>1081.9735</c:v>
                </c:pt>
                <c:pt idx="16">
                  <c:v>1122.599</c:v>
                </c:pt>
                <c:pt idx="17">
                  <c:v>1102.1041</c:v>
                </c:pt>
                <c:pt idx="18">
                  <c:v>1033.6281</c:v>
                </c:pt>
                <c:pt idx="19">
                  <c:v>1182.7738</c:v>
                </c:pt>
                <c:pt idx="20">
                  <c:v>1190.1768</c:v>
                </c:pt>
                <c:pt idx="21">
                  <c:v>1100.9926</c:v>
                </c:pt>
                <c:pt idx="22">
                  <c:v>1128.8451</c:v>
                </c:pt>
                <c:pt idx="23">
                  <c:v>1099.6344</c:v>
                </c:pt>
                <c:pt idx="24">
                  <c:v>1094.0911</c:v>
                </c:pt>
                <c:pt idx="25">
                  <c:v>1046.5315</c:v>
                </c:pt>
                <c:pt idx="26">
                  <c:v>1096.3146</c:v>
                </c:pt>
                <c:pt idx="27">
                  <c:v>1101.2555</c:v>
                </c:pt>
                <c:pt idx="28">
                  <c:v>1059.6005</c:v>
                </c:pt>
                <c:pt idx="29">
                  <c:v>1047.3958</c:v>
                </c:pt>
                <c:pt idx="30">
                  <c:v>994.8559</c:v>
                </c:pt>
                <c:pt idx="31">
                  <c:v>977.7143</c:v>
                </c:pt>
                <c:pt idx="32">
                  <c:v>989.1574</c:v>
                </c:pt>
                <c:pt idx="33">
                  <c:v>1022.688</c:v>
                </c:pt>
                <c:pt idx="34">
                  <c:v>1045.4562</c:v>
                </c:pt>
                <c:pt idx="35">
                  <c:v>1053.1566</c:v>
                </c:pt>
                <c:pt idx="36">
                  <c:v>1054.8902</c:v>
                </c:pt>
                <c:pt idx="37">
                  <c:v>1160.5</c:v>
                </c:pt>
                <c:pt idx="38">
                  <c:v>1161.9756</c:v>
                </c:pt>
                <c:pt idx="39">
                  <c:v>1097.2073</c:v>
                </c:pt>
                <c:pt idx="40">
                  <c:v>1140.4652</c:v>
                </c:pt>
                <c:pt idx="41">
                  <c:v>1212.3395</c:v>
                </c:pt>
                <c:pt idx="42">
                  <c:v>1195.358</c:v>
                </c:pt>
                <c:pt idx="43">
                  <c:v>1199.1013</c:v>
                </c:pt>
                <c:pt idx="44">
                  <c:v>1113.6857</c:v>
                </c:pt>
                <c:pt idx="45">
                  <c:v>1084.5519</c:v>
                </c:pt>
                <c:pt idx="46">
                  <c:v>1096.8283</c:v>
                </c:pt>
                <c:pt idx="47">
                  <c:v>1074.476</c:v>
                </c:pt>
                <c:pt idx="48">
                  <c:v>1064.8323</c:v>
                </c:pt>
                <c:pt idx="49">
                  <c:v>1092.4002</c:v>
                </c:pt>
                <c:pt idx="50">
                  <c:v>975.5975</c:v>
                </c:pt>
                <c:pt idx="51">
                  <c:v>939.7557</c:v>
                </c:pt>
                <c:pt idx="52">
                  <c:v>1013.6343202971223</c:v>
                </c:pt>
                <c:pt idx="53">
                  <c:v>768.8444119214263</c:v>
                </c:pt>
                <c:pt idx="54">
                  <c:v>1112.5959390944085</c:v>
                </c:pt>
              </c:numCache>
            </c:numRef>
          </c:xVal>
          <c:yVal>
            <c:numRef>
              <c:f>Sheet1!$B$187:$B$241</c:f>
              <c:numCache>
                <c:formatCode>General</c:formatCode>
                <c:ptCount val="55"/>
                <c:pt idx="0">
                  <c:v>0.13066949693967767</c:v>
                </c:pt>
                <c:pt idx="1">
                  <c:v>0.1310937071141518</c:v>
                </c:pt>
                <c:pt idx="2">
                  <c:v>0.13070395814228508</c:v>
                </c:pt>
                <c:pt idx="3">
                  <c:v>0.1367728892051085</c:v>
                </c:pt>
                <c:pt idx="4">
                  <c:v>0.13374560509913525</c:v>
                </c:pt>
                <c:pt idx="5">
                  <c:v>0.13202999148037753</c:v>
                </c:pt>
                <c:pt idx="6">
                  <c:v>0.15160768986655918</c:v>
                </c:pt>
                <c:pt idx="7">
                  <c:v>0.13789663769376986</c:v>
                </c:pt>
                <c:pt idx="8">
                  <c:v>0.1225004568122216</c:v>
                </c:pt>
                <c:pt idx="9">
                  <c:v>0.13350324403995856</c:v>
                </c:pt>
                <c:pt idx="10">
                  <c:v>0.1267704890001956</c:v>
                </c:pt>
                <c:pt idx="11">
                  <c:v>0.16270896865727266</c:v>
                </c:pt>
                <c:pt idx="12">
                  <c:v>0.15216964845649064</c:v>
                </c:pt>
                <c:pt idx="13">
                  <c:v>0.13442044220166327</c:v>
                </c:pt>
                <c:pt idx="14">
                  <c:v>0.13679833747780318</c:v>
                </c:pt>
                <c:pt idx="15">
                  <c:v>0.1278966473631652</c:v>
                </c:pt>
                <c:pt idx="16">
                  <c:v>0.11810641249234716</c:v>
                </c:pt>
                <c:pt idx="17">
                  <c:v>0.1230454257882802</c:v>
                </c:pt>
                <c:pt idx="18">
                  <c:v>0.13954728110117823</c:v>
                </c:pt>
                <c:pt idx="19">
                  <c:v>0.1036050420401804</c:v>
                </c:pt>
                <c:pt idx="20">
                  <c:v>0.10182101208981259</c:v>
                </c:pt>
                <c:pt idx="21">
                  <c:v>0.12331328331763775</c:v>
                </c:pt>
                <c:pt idx="22">
                  <c:v>0.11660118090069616</c:v>
                </c:pt>
                <c:pt idx="23">
                  <c:v>0.12364059244617881</c:v>
                </c:pt>
                <c:pt idx="24">
                  <c:v>0.12497645807144875</c:v>
                </c:pt>
                <c:pt idx="25">
                  <c:v>0.13643772388632264</c:v>
                </c:pt>
                <c:pt idx="26">
                  <c:v>0.12444062251901833</c:v>
                </c:pt>
                <c:pt idx="27">
                  <c:v>0.12324992772207494</c:v>
                </c:pt>
                <c:pt idx="28">
                  <c:v>0.13328825915292314</c:v>
                </c:pt>
                <c:pt idx="29">
                  <c:v>0.13622943844986407</c:v>
                </c:pt>
                <c:pt idx="30">
                  <c:v>0.1488908939664557</c:v>
                </c:pt>
                <c:pt idx="31">
                  <c:v>0.15302180411061675</c:v>
                </c:pt>
                <c:pt idx="32">
                  <c:v>0.1502641608409891</c:v>
                </c:pt>
                <c:pt idx="33">
                  <c:v>0.14218370769310287</c:v>
                </c:pt>
                <c:pt idx="34">
                  <c:v>0.13669685767068446</c:v>
                </c:pt>
                <c:pt idx="35">
                  <c:v>0.13484115805839053</c:v>
                </c:pt>
                <c:pt idx="36">
                  <c:v>0.13442338224831923</c:v>
                </c:pt>
                <c:pt idx="37">
                  <c:v>0.10897274787680089</c:v>
                </c:pt>
                <c:pt idx="38">
                  <c:v>0.10861714682388146</c:v>
                </c:pt>
                <c:pt idx="39">
                  <c:v>0.1242254930395244</c:v>
                </c:pt>
                <c:pt idx="40">
                  <c:v>0.11380088285581319</c:v>
                </c:pt>
                <c:pt idx="41">
                  <c:v>0.09648007995675628</c:v>
                </c:pt>
                <c:pt idx="42">
                  <c:v>0.10057240801324291</c:v>
                </c:pt>
                <c:pt idx="43">
                  <c:v>0.0996703197634507</c:v>
                </c:pt>
                <c:pt idx="44">
                  <c:v>0.12025440575948387</c:v>
                </c:pt>
                <c:pt idx="45">
                  <c:v>0.12727528537153637</c:v>
                </c:pt>
                <c:pt idx="46">
                  <c:v>0.12431682727580562</c:v>
                </c:pt>
                <c:pt idx="47">
                  <c:v>0.1297034506257455</c:v>
                </c:pt>
                <c:pt idx="48">
                  <c:v>0.13202746111235392</c:v>
                </c:pt>
                <c:pt idx="49">
                  <c:v>0.12538394371822398</c:v>
                </c:pt>
                <c:pt idx="50">
                  <c:v>0.1535319263041786</c:v>
                </c:pt>
                <c:pt idx="51">
                  <c:v>0.1621693496021783</c:v>
                </c:pt>
                <c:pt idx="52">
                  <c:v>0.14436553070417552</c:v>
                </c:pt>
                <c:pt idx="53">
                  <c:v>0.20335682181453954</c:v>
                </c:pt>
                <c:pt idx="54">
                  <c:v>0.1205170244403315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5.0"/>
          <c:min val="57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765249537892793"/>
          <c:min val="0.0687440982058545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344723276385424</c:v>
                </c:pt>
                <c:pt idx="1">
                  <c:v>0.3878519779455499</c:v>
                </c:pt>
                <c:pt idx="2">
                  <c:v>0.4117490670003813</c:v>
                </c:pt>
                <c:pt idx="3">
                  <c:v>0.4092028808081357</c:v>
                </c:pt>
                <c:pt idx="4">
                  <c:v>0.4483632697584936</c:v>
                </c:pt>
                <c:pt idx="5">
                  <c:v>0.43345264065764005</c:v>
                </c:pt>
                <c:pt idx="6">
                  <c:v>0.4010745117522115</c:v>
                </c:pt>
                <c:pt idx="7">
                  <c:v>0.37582140435958417</c:v>
                </c:pt>
                <c:pt idx="8">
                  <c:v>0.3745895538902539</c:v>
                </c:pt>
                <c:pt idx="9">
                  <c:v>0.4053461916446097</c:v>
                </c:pt>
                <c:pt idx="10">
                  <c:v>0.4273131861865196</c:v>
                </c:pt>
                <c:pt idx="11">
                  <c:v>0.4187400003939919</c:v>
                </c:pt>
                <c:pt idx="12">
                  <c:v>0.39639393430913267</c:v>
                </c:pt>
                <c:pt idx="13">
                  <c:v>0.3616829454907443</c:v>
                </c:pt>
                <c:pt idx="14">
                  <c:v>0.29164177227933064</c:v>
                </c:pt>
                <c:pt idx="15">
                  <c:v>0.3054588747778628</c:v>
                </c:pt>
                <c:pt idx="16">
                  <c:v>0.3280160968657916</c:v>
                </c:pt>
                <c:pt idx="17">
                  <c:v>0.3449988323330026</c:v>
                </c:pt>
                <c:pt idx="18">
                  <c:v>0.3334376027318534</c:v>
                </c:pt>
                <c:pt idx="19">
                  <c:v>0.369969724392289</c:v>
                </c:pt>
                <c:pt idx="20">
                  <c:v>0.4055052057368291</c:v>
                </c:pt>
                <c:pt idx="21">
                  <c:v>0.38730543843373416</c:v>
                </c:pt>
                <c:pt idx="22">
                  <c:v>0.3356630194609358</c:v>
                </c:pt>
                <c:pt idx="23">
                  <c:v>0.3153721288132402</c:v>
                </c:pt>
                <c:pt idx="24">
                  <c:v>0.3105740615144257</c:v>
                </c:pt>
                <c:pt idx="25">
                  <c:v>0.2955893543460795</c:v>
                </c:pt>
                <c:pt idx="26">
                  <c:v>0.28670657449318554</c:v>
                </c:pt>
                <c:pt idx="27">
                  <c:v>0.28758851798119855</c:v>
                </c:pt>
                <c:pt idx="28">
                  <c:v>0.30393103041653885</c:v>
                </c:pt>
                <c:pt idx="29">
                  <c:v>0.22211579181747135</c:v>
                </c:pt>
                <c:pt idx="30">
                  <c:v>0.23508604638704553</c:v>
                </c:pt>
                <c:pt idx="31">
                  <c:v>0.2655850694292817</c:v>
                </c:pt>
                <c:pt idx="32">
                  <c:v>0.26506589614034237</c:v>
                </c:pt>
                <c:pt idx="33">
                  <c:v>0.24792910723562278</c:v>
                </c:pt>
                <c:pt idx="34">
                  <c:v>0.30611334821476566</c:v>
                </c:pt>
                <c:pt idx="35">
                  <c:v>0.3417219851165452</c:v>
                </c:pt>
                <c:pt idx="36">
                  <c:v>0.3250062518959348</c:v>
                </c:pt>
                <c:pt idx="37">
                  <c:v>0.37726092406030204</c:v>
                </c:pt>
                <c:pt idx="38">
                  <c:v>0.35893550461754314</c:v>
                </c:pt>
                <c:pt idx="39">
                  <c:v>0.35711354883257307</c:v>
                </c:pt>
                <c:pt idx="40">
                  <c:v>0.36369158358300163</c:v>
                </c:pt>
                <c:pt idx="41">
                  <c:v>0.3905251056984613</c:v>
                </c:pt>
                <c:pt idx="42">
                  <c:v>0.39015454553800794</c:v>
                </c:pt>
                <c:pt idx="43">
                  <c:v>0.4098256417108559</c:v>
                </c:pt>
                <c:pt idx="44">
                  <c:v>0.3949326084324544</c:v>
                </c:pt>
                <c:pt idx="45">
                  <c:v>0.4149250842964124</c:v>
                </c:pt>
                <c:pt idx="46">
                  <c:v>0.4308298033753589</c:v>
                </c:pt>
                <c:pt idx="47">
                  <c:v>0.44023127646325494</c:v>
                </c:pt>
                <c:pt idx="48">
                  <c:v>0.4402219070645558</c:v>
                </c:pt>
                <c:pt idx="49">
                  <c:v>0.38101618683265887</c:v>
                </c:pt>
                <c:pt idx="50">
                  <c:v>0.28175475095540464</c:v>
                </c:pt>
                <c:pt idx="51">
                  <c:v>0.25623089795625464</c:v>
                </c:pt>
                <c:pt idx="52">
                  <c:v>0.24475030023246044</c:v>
                </c:pt>
                <c:pt idx="53">
                  <c:v>0.23049659513310258</c:v>
                </c:pt>
                <c:pt idx="54">
                  <c:v>0.21019698072115736</c:v>
                </c:pt>
                <c:pt idx="55">
                  <c:v>0.2467894941924236</c:v>
                </c:pt>
                <c:pt idx="56">
                  <c:v>0.3309972590394194</c:v>
                </c:pt>
                <c:pt idx="57">
                  <c:v>0.4600266564008959</c:v>
                </c:pt>
                <c:pt idx="58">
                  <c:v>0.4095962017328004</c:v>
                </c:pt>
                <c:pt idx="59">
                  <c:v>0.36119844404231566</c:v>
                </c:pt>
                <c:pt idx="60">
                  <c:v>0.32450724837826445</c:v>
                </c:pt>
                <c:pt idx="61">
                  <c:v>0.2974142374146169</c:v>
                </c:pt>
                <c:pt idx="62">
                  <c:v>0.3649166969432546</c:v>
                </c:pt>
                <c:pt idx="63">
                  <c:v>0.37172486205264954</c:v>
                </c:pt>
                <c:pt idx="64">
                  <c:v>0.37016698639463175</c:v>
                </c:pt>
                <c:pt idx="65">
                  <c:v>0.34498097214354406</c:v>
                </c:pt>
                <c:pt idx="66">
                  <c:v>0.34893827376657194</c:v>
                </c:pt>
                <c:pt idx="67">
                  <c:v>0.38770185436228577</c:v>
                </c:pt>
                <c:pt idx="68">
                  <c:v>0.34604175274766014</c:v>
                </c:pt>
                <c:pt idx="69">
                  <c:v>0.3422908230772765</c:v>
                </c:pt>
                <c:pt idx="70">
                  <c:v>0.33864297370119817</c:v>
                </c:pt>
                <c:pt idx="71">
                  <c:v>0.3458805225441241</c:v>
                </c:pt>
                <c:pt idx="72">
                  <c:v>0.37283763240718987</c:v>
                </c:pt>
                <c:pt idx="73">
                  <c:v>0.37188154907542925</c:v>
                </c:pt>
                <c:pt idx="74">
                  <c:v>0.3511608078589833</c:v>
                </c:pt>
                <c:pt idx="75">
                  <c:v>0.32907343990089694</c:v>
                </c:pt>
                <c:pt idx="76">
                  <c:v>0.35199816857996435</c:v>
                </c:pt>
                <c:pt idx="77">
                  <c:v>0.3538469223819782</c:v>
                </c:pt>
                <c:pt idx="78">
                  <c:v>0.3651298309165952</c:v>
                </c:pt>
                <c:pt idx="79">
                  <c:v>0.36394596217007236</c:v>
                </c:pt>
                <c:pt idx="80">
                  <c:v>0.3557570877112657</c:v>
                </c:pt>
                <c:pt idx="81">
                  <c:v>0.37260046899414484</c:v>
                </c:pt>
                <c:pt idx="82">
                  <c:v>0.4015203775792433</c:v>
                </c:pt>
                <c:pt idx="83">
                  <c:v>0.358067849428883</c:v>
                </c:pt>
                <c:pt idx="84">
                  <c:v>0.32274266559882614</c:v>
                </c:pt>
                <c:pt idx="85">
                  <c:v>0.3052012808734173</c:v>
                </c:pt>
                <c:pt idx="86">
                  <c:v>0.29909944772120567</c:v>
                </c:pt>
                <c:pt idx="87">
                  <c:v>0.29588432265022535</c:v>
                </c:pt>
                <c:pt idx="88">
                  <c:v>0.2709730125586275</c:v>
                </c:pt>
                <c:pt idx="89">
                  <c:v>0.2687367881410398</c:v>
                </c:pt>
                <c:pt idx="90">
                  <c:v>0.27274987684248847</c:v>
                </c:pt>
                <c:pt idx="91">
                  <c:v>0.28428579323360825</c:v>
                </c:pt>
                <c:pt idx="92">
                  <c:v>0.2746094165257606</c:v>
                </c:pt>
                <c:pt idx="93">
                  <c:v>0.2918248732546863</c:v>
                </c:pt>
                <c:pt idx="94">
                  <c:v>0.2881486280497708</c:v>
                </c:pt>
                <c:pt idx="95">
                  <c:v>0.3712967384154997</c:v>
                </c:pt>
                <c:pt idx="96">
                  <c:v>0.34555074212634207</c:v>
                </c:pt>
                <c:pt idx="97">
                  <c:v>0.3359694903175179</c:v>
                </c:pt>
                <c:pt idx="98">
                  <c:v>0.36927163703395927</c:v>
                </c:pt>
                <c:pt idx="99">
                  <c:v>0.4014651445164587</c:v>
                </c:pt>
                <c:pt idx="100">
                  <c:v>0.38789972333747835</c:v>
                </c:pt>
                <c:pt idx="101">
                  <c:v>0.356580690353427</c:v>
                </c:pt>
                <c:pt idx="102">
                  <c:v>0.344328334349947</c:v>
                </c:pt>
                <c:pt idx="103">
                  <c:v>0.3199393655619017</c:v>
                </c:pt>
                <c:pt idx="104">
                  <c:v>0.3163765412076625</c:v>
                </c:pt>
              </c:numCache>
            </c:numRef>
          </c:xVal>
          <c:yVal>
            <c:numRef>
              <c:f>Sheet1!$B$2:$B$106</c:f>
              <c:numCache>
                <c:formatCode>General</c:formatCode>
                <c:ptCount val="105"/>
                <c:pt idx="0">
                  <c:v>0.2162312395775431</c:v>
                </c:pt>
                <c:pt idx="1">
                  <c:v>0.2006586874447747</c:v>
                </c:pt>
                <c:pt idx="2">
                  <c:v>0.16746003552397867</c:v>
                </c:pt>
                <c:pt idx="3">
                  <c:v>0.16197073474470736</c:v>
                </c:pt>
                <c:pt idx="4">
                  <c:v>0.15120870653953578</c:v>
                </c:pt>
                <c:pt idx="5">
                  <c:v>0.13729883886738645</c:v>
                </c:pt>
                <c:pt idx="6">
                  <c:v>0.16207983193277312</c:v>
                </c:pt>
                <c:pt idx="7">
                  <c:v>0.15956120668162552</c:v>
                </c:pt>
                <c:pt idx="8">
                  <c:v>0.17536959175369593</c:v>
                </c:pt>
                <c:pt idx="9">
                  <c:v>0.20725683890577506</c:v>
                </c:pt>
                <c:pt idx="10">
                  <c:v>0.21454000374742366</c:v>
                </c:pt>
                <c:pt idx="11">
                  <c:v>0.2016895459345301</c:v>
                </c:pt>
                <c:pt idx="12">
                  <c:v>0.20988855474969043</c:v>
                </c:pt>
                <c:pt idx="13">
                  <c:v>0.2230437461491066</c:v>
                </c:pt>
                <c:pt idx="14">
                  <c:v>0.22027729636048526</c:v>
                </c:pt>
                <c:pt idx="15">
                  <c:v>0.21929356525450858</c:v>
                </c:pt>
                <c:pt idx="16">
                  <c:v>0.21254658385093167</c:v>
                </c:pt>
                <c:pt idx="17">
                  <c:v>0.19493932352181773</c:v>
                </c:pt>
                <c:pt idx="18">
                  <c:v>0.1869372588252108</c:v>
                </c:pt>
                <c:pt idx="19">
                  <c:v>0.17359000337723743</c:v>
                </c:pt>
                <c:pt idx="20">
                  <c:v>0.19444444444444445</c:v>
                </c:pt>
                <c:pt idx="21">
                  <c:v>0.18519151846785226</c:v>
                </c:pt>
                <c:pt idx="22">
                  <c:v>0.18664495114006516</c:v>
                </c:pt>
                <c:pt idx="23">
                  <c:v>0.1950668751085635</c:v>
                </c:pt>
                <c:pt idx="24">
                  <c:v>0.18831168831168832</c:v>
                </c:pt>
                <c:pt idx="25">
                  <c:v>0.18675568386863947</c:v>
                </c:pt>
                <c:pt idx="26">
                  <c:v>0.19303517765600142</c:v>
                </c:pt>
                <c:pt idx="27">
                  <c:v>0.17015128335883054</c:v>
                </c:pt>
                <c:pt idx="28">
                  <c:v>0.16479651649639926</c:v>
                </c:pt>
                <c:pt idx="29">
                  <c:v>0.1989340247767214</c:v>
                </c:pt>
                <c:pt idx="30">
                  <c:v>0.17969052224371374</c:v>
                </c:pt>
                <c:pt idx="31">
                  <c:v>0.17431525485216762</c:v>
                </c:pt>
                <c:pt idx="32">
                  <c:v>0.18934509670851712</c:v>
                </c:pt>
                <c:pt idx="33">
                  <c:v>0.21914976095102726</c:v>
                </c:pt>
                <c:pt idx="34">
                  <c:v>0.19569163741982332</c:v>
                </c:pt>
                <c:pt idx="35">
                  <c:v>0.18861036748600632</c:v>
                </c:pt>
                <c:pt idx="36">
                  <c:v>0.13889274316636605</c:v>
                </c:pt>
                <c:pt idx="37">
                  <c:v>0.1291887793783169</c:v>
                </c:pt>
                <c:pt idx="38">
                  <c:v>0.12560827250608272</c:v>
                </c:pt>
                <c:pt idx="39">
                  <c:v>0.12089810017271158</c:v>
                </c:pt>
                <c:pt idx="40">
                  <c:v>0.11813643926788686</c:v>
                </c:pt>
                <c:pt idx="41">
                  <c:v>0.09736224278414583</c:v>
                </c:pt>
                <c:pt idx="42">
                  <c:v>0.10086042065009561</c:v>
                </c:pt>
                <c:pt idx="43">
                  <c:v>0.1090422685928304</c:v>
                </c:pt>
                <c:pt idx="44">
                  <c:v>0.12877537843460793</c:v>
                </c:pt>
                <c:pt idx="45">
                  <c:v>0.1496313332882365</c:v>
                </c:pt>
                <c:pt idx="46">
                  <c:v>0.15096048121078842</c:v>
                </c:pt>
                <c:pt idx="47">
                  <c:v>0.14789959346970383</c:v>
                </c:pt>
                <c:pt idx="48">
                  <c:v>0.1590626494500239</c:v>
                </c:pt>
                <c:pt idx="49">
                  <c:v>0.187127323746054</c:v>
                </c:pt>
                <c:pt idx="50">
                  <c:v>0.15020561789921238</c:v>
                </c:pt>
                <c:pt idx="51">
                  <c:v>0.1304274654998317</c:v>
                </c:pt>
                <c:pt idx="52">
                  <c:v>0.14316102956817697</c:v>
                </c:pt>
                <c:pt idx="53">
                  <c:v>0.12669606512890094</c:v>
                </c:pt>
                <c:pt idx="54">
                  <c:v>0.12414485086199033</c:v>
                </c:pt>
                <c:pt idx="55">
                  <c:v>0.11438701250233252</c:v>
                </c:pt>
                <c:pt idx="56">
                  <c:v>0.11668273866923819</c:v>
                </c:pt>
                <c:pt idx="57">
                  <c:v>0.10908945174735492</c:v>
                </c:pt>
                <c:pt idx="58">
                  <c:v>0.12997060188766826</c:v>
                </c:pt>
                <c:pt idx="59">
                  <c:v>0.13864667788486054</c:v>
                </c:pt>
                <c:pt idx="60">
                  <c:v>0.14897523990048572</c:v>
                </c:pt>
                <c:pt idx="61">
                  <c:v>0.14678289746782897</c:v>
                </c:pt>
                <c:pt idx="62">
                  <c:v>0.16551344551030037</c:v>
                </c:pt>
                <c:pt idx="63">
                  <c:v>0.1855731816821311</c:v>
                </c:pt>
                <c:pt idx="64">
                  <c:v>0.19271765346611686</c:v>
                </c:pt>
                <c:pt idx="65">
                  <c:v>0.17448945981554678</c:v>
                </c:pt>
                <c:pt idx="66">
                  <c:v>0.16863905325443787</c:v>
                </c:pt>
                <c:pt idx="67">
                  <c:v>0.15375743057403957</c:v>
                </c:pt>
                <c:pt idx="68">
                  <c:v>0.1376352869103533</c:v>
                </c:pt>
                <c:pt idx="69">
                  <c:v>0.12375404530744337</c:v>
                </c:pt>
                <c:pt idx="70">
                  <c:v>0.11256671518680253</c:v>
                </c:pt>
                <c:pt idx="71">
                  <c:v>0.11485042735042734</c:v>
                </c:pt>
                <c:pt idx="72">
                  <c:v>0.11879813154904684</c:v>
                </c:pt>
                <c:pt idx="73">
                  <c:v>0.11369439591452762</c:v>
                </c:pt>
                <c:pt idx="74">
                  <c:v>0.11106965174129353</c:v>
                </c:pt>
                <c:pt idx="75">
                  <c:v>0.11842891278375149</c:v>
                </c:pt>
                <c:pt idx="76">
                  <c:v>0.10943216160330842</c:v>
                </c:pt>
                <c:pt idx="77">
                  <c:v>0.11107491856677525</c:v>
                </c:pt>
                <c:pt idx="78">
                  <c:v>0.10087719298245613</c:v>
                </c:pt>
                <c:pt idx="79">
                  <c:v>0.09526073862735775</c:v>
                </c:pt>
                <c:pt idx="80">
                  <c:v>0.08891731968655045</c:v>
                </c:pt>
                <c:pt idx="81">
                  <c:v>0.10487868510305244</c:v>
                </c:pt>
                <c:pt idx="82">
                  <c:v>0.09210526315789473</c:v>
                </c:pt>
                <c:pt idx="83">
                  <c:v>0.08593012275731822</c:v>
                </c:pt>
                <c:pt idx="84">
                  <c:v>0.0944305261129312</c:v>
                </c:pt>
                <c:pt idx="85">
                  <c:v>0.11049908195626773</c:v>
                </c:pt>
                <c:pt idx="86">
                  <c:v>0.11845515811301192</c:v>
                </c:pt>
                <c:pt idx="87">
                  <c:v>0.13582804609607665</c:v>
                </c:pt>
                <c:pt idx="88">
                  <c:v>0.10931957433086101</c:v>
                </c:pt>
                <c:pt idx="89">
                  <c:v>0.09831029185867896</c:v>
                </c:pt>
                <c:pt idx="90">
                  <c:v>0.09772608922062143</c:v>
                </c:pt>
                <c:pt idx="91">
                  <c:v>0.09703368526897939</c:v>
                </c:pt>
                <c:pt idx="92">
                  <c:v>0.10670145564405382</c:v>
                </c:pt>
                <c:pt idx="93">
                  <c:v>0.10296306318495467</c:v>
                </c:pt>
                <c:pt idx="94">
                  <c:v>0.1070369792479326</c:v>
                </c:pt>
                <c:pt idx="95">
                  <c:v>0.11430511543684925</c:v>
                </c:pt>
                <c:pt idx="96">
                  <c:v>0.11659159159159159</c:v>
                </c:pt>
                <c:pt idx="97">
                  <c:v>0.1299614112458655</c:v>
                </c:pt>
                <c:pt idx="98">
                  <c:v>0.14781054512957997</c:v>
                </c:pt>
                <c:pt idx="99">
                  <c:v>0.15648180854821617</c:v>
                </c:pt>
                <c:pt idx="100">
                  <c:v>0.17798369732390035</c:v>
                </c:pt>
                <c:pt idx="101">
                  <c:v>0.15477766013763897</c:v>
                </c:pt>
                <c:pt idx="102">
                  <c:v>0.12323160423525224</c:v>
                </c:pt>
                <c:pt idx="103">
                  <c:v>0.130459444129325</c:v>
                </c:pt>
                <c:pt idx="104">
                  <c:v>0.1331967213114754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1606659420976657</c:v>
                </c:pt>
                <c:pt idx="1">
                  <c:v>0.33834018868475874</c:v>
                </c:pt>
                <c:pt idx="2">
                  <c:v>0.3341235927669363</c:v>
                </c:pt>
                <c:pt idx="3">
                  <c:v>0.34168196836195913</c:v>
                </c:pt>
                <c:pt idx="4">
                  <c:v>0.32384336210828013</c:v>
                </c:pt>
                <c:pt idx="5">
                  <c:v>0.2990878064835898</c:v>
                </c:pt>
                <c:pt idx="6">
                  <c:v>0.33288342270965077</c:v>
                </c:pt>
                <c:pt idx="7">
                  <c:v>0.36119078539251226</c:v>
                </c:pt>
                <c:pt idx="8">
                  <c:v>0.345254154574526</c:v>
                </c:pt>
                <c:pt idx="9">
                  <c:v>0.3345454228311551</c:v>
                </c:pt>
                <c:pt idx="10">
                  <c:v>0.3650220540656241</c:v>
                </c:pt>
                <c:pt idx="11">
                  <c:v>0.34735713850632316</c:v>
                </c:pt>
                <c:pt idx="12">
                  <c:v>0.38182331111592754</c:v>
                </c:pt>
                <c:pt idx="13">
                  <c:v>0.4177002007482633</c:v>
                </c:pt>
                <c:pt idx="14">
                  <c:v>0.41844632853308095</c:v>
                </c:pt>
                <c:pt idx="15">
                  <c:v>0.38287560707352053</c:v>
                </c:pt>
                <c:pt idx="16">
                  <c:v>0.3777173737495545</c:v>
                </c:pt>
                <c:pt idx="17">
                  <c:v>0.34599791064628566</c:v>
                </c:pt>
                <c:pt idx="18">
                  <c:v>0.3040096327492297</c:v>
                </c:pt>
                <c:pt idx="19">
                  <c:v>0.3412501190853117</c:v>
                </c:pt>
                <c:pt idx="20">
                  <c:v>0.33822443091962406</c:v>
                </c:pt>
                <c:pt idx="21">
                  <c:v>0.30345716379807225</c:v>
                </c:pt>
                <c:pt idx="22">
                  <c:v>0.3209975538847996</c:v>
                </c:pt>
                <c:pt idx="23">
                  <c:v>0.3113709651524042</c:v>
                </c:pt>
                <c:pt idx="24">
                  <c:v>0.3147408241702667</c:v>
                </c:pt>
                <c:pt idx="25">
                  <c:v>0.30039449666290846</c:v>
                </c:pt>
                <c:pt idx="26">
                  <c:v>0.30582500587553896</c:v>
                </c:pt>
                <c:pt idx="27">
                  <c:v>0.3168273235697781</c:v>
                </c:pt>
                <c:pt idx="28">
                  <c:v>0.34530912794397806</c:v>
                </c:pt>
                <c:pt idx="29">
                  <c:v>0.34093977558234484</c:v>
                </c:pt>
                <c:pt idx="30">
                  <c:v>0.3194621610176077</c:v>
                </c:pt>
                <c:pt idx="31">
                  <c:v>0.25407824440400006</c:v>
                </c:pt>
                <c:pt idx="32">
                  <c:v>0.24151311700749922</c:v>
                </c:pt>
                <c:pt idx="33">
                  <c:v>0.24257859014714708</c:v>
                </c:pt>
                <c:pt idx="34">
                  <c:v>0.2604337675605852</c:v>
                </c:pt>
                <c:pt idx="35">
                  <c:v>0.2638896440795853</c:v>
                </c:pt>
                <c:pt idx="36">
                  <c:v>0.25716956725217316</c:v>
                </c:pt>
                <c:pt idx="37">
                  <c:v>0.2847247327654132</c:v>
                </c:pt>
                <c:pt idx="38">
                  <c:v>0.2949000009136509</c:v>
                </c:pt>
                <c:pt idx="39">
                  <c:v>0.2956468633267488</c:v>
                </c:pt>
                <c:pt idx="40">
                  <c:v>0.30040043374879155</c:v>
                </c:pt>
                <c:pt idx="41">
                  <c:v>0.32375662199987426</c:v>
                </c:pt>
                <c:pt idx="42">
                  <c:v>0.3063899125740492</c:v>
                </c:pt>
                <c:pt idx="43">
                  <c:v>0.34031049986026884</c:v>
                </c:pt>
                <c:pt idx="44">
                  <c:v>0.36067901797925567</c:v>
                </c:pt>
                <c:pt idx="45">
                  <c:v>0.3780942368645471</c:v>
                </c:pt>
                <c:pt idx="46">
                  <c:v>0.35403910494716206</c:v>
                </c:pt>
                <c:pt idx="47">
                  <c:v>0.38328388343557734</c:v>
                </c:pt>
                <c:pt idx="48">
                  <c:v>0.391683834806836</c:v>
                </c:pt>
                <c:pt idx="49">
                  <c:v>0.42684538111104037</c:v>
                </c:pt>
                <c:pt idx="50">
                  <c:v>0.3995065450895847</c:v>
                </c:pt>
                <c:pt idx="51">
                  <c:v>0.33688857514258125</c:v>
                </c:pt>
              </c:numCache>
            </c:numRef>
          </c:xVal>
          <c:yVal>
            <c:numRef>
              <c:f>Sheet1!$B$109:$B$160</c:f>
              <c:numCache>
                <c:formatCode>General</c:formatCode>
                <c:ptCount val="52"/>
                <c:pt idx="0">
                  <c:v>0.13321492007104796</c:v>
                </c:pt>
                <c:pt idx="1">
                  <c:v>0.13449982325910215</c:v>
                </c:pt>
                <c:pt idx="2">
                  <c:v>0.1396827889447236</c:v>
                </c:pt>
                <c:pt idx="3">
                  <c:v>0.1539776891132644</c:v>
                </c:pt>
                <c:pt idx="4">
                  <c:v>0.13462946392255756</c:v>
                </c:pt>
                <c:pt idx="5">
                  <c:v>0.1404450601783704</c:v>
                </c:pt>
                <c:pt idx="6">
                  <c:v>0.14612676056338028</c:v>
                </c:pt>
                <c:pt idx="7">
                  <c:v>0.13632260006018657</c:v>
                </c:pt>
                <c:pt idx="8">
                  <c:v>0.14083542570189456</c:v>
                </c:pt>
                <c:pt idx="9">
                  <c:v>0.15</c:v>
                </c:pt>
                <c:pt idx="10">
                  <c:v>0.1624544981799272</c:v>
                </c:pt>
                <c:pt idx="11">
                  <c:v>0.1800360522757999</c:v>
                </c:pt>
                <c:pt idx="12">
                  <c:v>0.17841092935466474</c:v>
                </c:pt>
                <c:pt idx="13">
                  <c:v>0.165191465573465</c:v>
                </c:pt>
                <c:pt idx="14">
                  <c:v>0.16082622546500874</c:v>
                </c:pt>
                <c:pt idx="15">
                  <c:v>0.1521667940181203</c:v>
                </c:pt>
                <c:pt idx="16">
                  <c:v>0.13368299859281055</c:v>
                </c:pt>
                <c:pt idx="17">
                  <c:v>0.11681368618016573</c:v>
                </c:pt>
                <c:pt idx="18">
                  <c:v>0.12445278298936835</c:v>
                </c:pt>
                <c:pt idx="19">
                  <c:v>0.12315567600120446</c:v>
                </c:pt>
                <c:pt idx="20">
                  <c:v>0.1030146703208125</c:v>
                </c:pt>
                <c:pt idx="21">
                  <c:v>0.10841683366733466</c:v>
                </c:pt>
                <c:pt idx="22">
                  <c:v>0.10497453975714845</c:v>
                </c:pt>
                <c:pt idx="23">
                  <c:v>0.1122281493639721</c:v>
                </c:pt>
                <c:pt idx="24">
                  <c:v>0.10383830891896903</c:v>
                </c:pt>
                <c:pt idx="25">
                  <c:v>0.1171890596925534</c:v>
                </c:pt>
                <c:pt idx="26">
                  <c:v>0.09765142150803462</c:v>
                </c:pt>
                <c:pt idx="27">
                  <c:v>0.10207696023184672</c:v>
                </c:pt>
                <c:pt idx="28">
                  <c:v>0.11831676034010664</c:v>
                </c:pt>
                <c:pt idx="29">
                  <c:v>0.11453287197231835</c:v>
                </c:pt>
                <c:pt idx="30">
                  <c:v>0.12228016543787089</c:v>
                </c:pt>
                <c:pt idx="31">
                  <c:v>0.12545281220209722</c:v>
                </c:pt>
                <c:pt idx="32">
                  <c:v>0.13310242454230578</c:v>
                </c:pt>
                <c:pt idx="33">
                  <c:v>0.14675080558539205</c:v>
                </c:pt>
                <c:pt idx="34">
                  <c:v>0.16978718455634376</c:v>
                </c:pt>
                <c:pt idx="35">
                  <c:v>0.15360092740182582</c:v>
                </c:pt>
                <c:pt idx="36">
                  <c:v>0.1220757124627818</c:v>
                </c:pt>
                <c:pt idx="37">
                  <c:v>0.10496292070735881</c:v>
                </c:pt>
                <c:pt idx="38">
                  <c:v>0.10301507537688442</c:v>
                </c:pt>
                <c:pt idx="39">
                  <c:v>0.12117407000470884</c:v>
                </c:pt>
                <c:pt idx="40">
                  <c:v>0.10336906584992343</c:v>
                </c:pt>
                <c:pt idx="41">
                  <c:v>0.10235533585344576</c:v>
                </c:pt>
                <c:pt idx="42">
                  <c:v>0.10429346932061194</c:v>
                </c:pt>
                <c:pt idx="43">
                  <c:v>0.10134901418194396</c:v>
                </c:pt>
                <c:pt idx="44">
                  <c:v>0.10198135198135198</c:v>
                </c:pt>
                <c:pt idx="45">
                  <c:v>0.12368090915799572</c:v>
                </c:pt>
                <c:pt idx="46">
                  <c:v>0.1137503299023489</c:v>
                </c:pt>
                <c:pt idx="47">
                  <c:v>0.1173056486552767</c:v>
                </c:pt>
                <c:pt idx="48">
                  <c:v>0.1158098396904367</c:v>
                </c:pt>
                <c:pt idx="49">
                  <c:v>0.13626111184821546</c:v>
                </c:pt>
                <c:pt idx="50">
                  <c:v>0.1701525536148574</c:v>
                </c:pt>
                <c:pt idx="51">
                  <c:v>0.1552386176631925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669848552996061</c:v>
                </c:pt>
              </c:numCache>
            </c:numRef>
          </c:xVal>
          <c:yVal>
            <c:numRef>
              <c:f>Sheet1!$B$163:$B$164</c:f>
              <c:numCache>
                <c:formatCode>General</c:formatCode>
                <c:ptCount val="2"/>
                <c:pt idx="0">
                  <c:v>0.20335682181453954</c:v>
                </c:pt>
                <c:pt idx="1">
                  <c:v>0.2033568218145395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669848552996061</c:v>
                </c:pt>
                <c:pt idx="1">
                  <c:v>0.8669848552996061</c:v>
                </c:pt>
              </c:numCache>
            </c:numRef>
          </c:xVal>
          <c:yVal>
            <c:numRef>
              <c:f>Sheet1!$B$167:$B$168</c:f>
              <c:numCache>
                <c:formatCode>General</c:formatCode>
                <c:ptCount val="2"/>
                <c:pt idx="0">
                  <c:v>0.203356821814539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3873319241315073</c:v>
                </c:pt>
              </c:numCache>
            </c:numRef>
          </c:xVal>
          <c:yVal>
            <c:numRef>
              <c:f>Sheet1!$B$171:$B$172</c:f>
              <c:numCache>
                <c:formatCode>General</c:formatCode>
                <c:ptCount val="2"/>
                <c:pt idx="0">
                  <c:v>0.14436553070417552</c:v>
                </c:pt>
                <c:pt idx="1">
                  <c:v>0.1443655307041755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3873319241315073</c:v>
                </c:pt>
                <c:pt idx="1">
                  <c:v>0.43873319241315073</c:v>
                </c:pt>
              </c:numCache>
            </c:numRef>
          </c:xVal>
          <c:yVal>
            <c:numRef>
              <c:f>Sheet1!$B$175:$B$176</c:f>
              <c:numCache>
                <c:formatCode>General</c:formatCode>
                <c:ptCount val="2"/>
                <c:pt idx="0">
                  <c:v>0.1443655307041755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6560318843100494</c:v>
                </c:pt>
              </c:numCache>
            </c:numRef>
          </c:xVal>
          <c:yVal>
            <c:numRef>
              <c:f>Sheet1!$B$179:$B$180</c:f>
              <c:numCache>
                <c:formatCode>General</c:formatCode>
                <c:ptCount val="2"/>
                <c:pt idx="0">
                  <c:v>0.12051702444033151</c:v>
                </c:pt>
                <c:pt idx="1">
                  <c:v>0.1205170244403315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6560318843100494</c:v>
                </c:pt>
                <c:pt idx="1">
                  <c:v>0.26560318843100494</c:v>
                </c:pt>
              </c:numCache>
            </c:numRef>
          </c:xVal>
          <c:yVal>
            <c:numRef>
              <c:f>Sheet1!$B$183:$B$184</c:f>
              <c:numCache>
                <c:formatCode>General</c:formatCode>
                <c:ptCount val="2"/>
                <c:pt idx="0">
                  <c:v>0.1205170244403315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1606659420976657</c:v>
                </c:pt>
                <c:pt idx="1">
                  <c:v>0.33834018868475874</c:v>
                </c:pt>
                <c:pt idx="2">
                  <c:v>0.3341235927669363</c:v>
                </c:pt>
                <c:pt idx="3">
                  <c:v>0.34168196836195913</c:v>
                </c:pt>
                <c:pt idx="4">
                  <c:v>0.32384336210828013</c:v>
                </c:pt>
                <c:pt idx="5">
                  <c:v>0.2990878064835898</c:v>
                </c:pt>
                <c:pt idx="6">
                  <c:v>0.33288342270965077</c:v>
                </c:pt>
                <c:pt idx="7">
                  <c:v>0.36119078539251226</c:v>
                </c:pt>
                <c:pt idx="8">
                  <c:v>0.345254154574526</c:v>
                </c:pt>
                <c:pt idx="9">
                  <c:v>0.3345454228311551</c:v>
                </c:pt>
                <c:pt idx="10">
                  <c:v>0.3650220540656241</c:v>
                </c:pt>
                <c:pt idx="11">
                  <c:v>0.34735713850632316</c:v>
                </c:pt>
                <c:pt idx="12">
                  <c:v>0.38182331111592754</c:v>
                </c:pt>
                <c:pt idx="13">
                  <c:v>0.4177002007482633</c:v>
                </c:pt>
                <c:pt idx="14">
                  <c:v>0.41844632853308095</c:v>
                </c:pt>
                <c:pt idx="15">
                  <c:v>0.38287560707352053</c:v>
                </c:pt>
                <c:pt idx="16">
                  <c:v>0.3777173737495545</c:v>
                </c:pt>
                <c:pt idx="17">
                  <c:v>0.34599791064628566</c:v>
                </c:pt>
                <c:pt idx="18">
                  <c:v>0.3040096327492297</c:v>
                </c:pt>
                <c:pt idx="19">
                  <c:v>0.3412501190853117</c:v>
                </c:pt>
                <c:pt idx="20">
                  <c:v>0.33822443091962406</c:v>
                </c:pt>
                <c:pt idx="21">
                  <c:v>0.30345716379807225</c:v>
                </c:pt>
                <c:pt idx="22">
                  <c:v>0.3209975538847996</c:v>
                </c:pt>
                <c:pt idx="23">
                  <c:v>0.3113709651524042</c:v>
                </c:pt>
                <c:pt idx="24">
                  <c:v>0.3147408241702667</c:v>
                </c:pt>
                <c:pt idx="25">
                  <c:v>0.30039449666290846</c:v>
                </c:pt>
                <c:pt idx="26">
                  <c:v>0.30582500587553896</c:v>
                </c:pt>
                <c:pt idx="27">
                  <c:v>0.3168273235697781</c:v>
                </c:pt>
                <c:pt idx="28">
                  <c:v>0.34530912794397806</c:v>
                </c:pt>
                <c:pt idx="29">
                  <c:v>0.34093977558234484</c:v>
                </c:pt>
                <c:pt idx="30">
                  <c:v>0.3194621610176077</c:v>
                </c:pt>
                <c:pt idx="31">
                  <c:v>0.25407824440400006</c:v>
                </c:pt>
                <c:pt idx="32">
                  <c:v>0.24151311700749922</c:v>
                </c:pt>
                <c:pt idx="33">
                  <c:v>0.24257859014714708</c:v>
                </c:pt>
                <c:pt idx="34">
                  <c:v>0.2604337675605852</c:v>
                </c:pt>
                <c:pt idx="35">
                  <c:v>0.2638896440795853</c:v>
                </c:pt>
                <c:pt idx="36">
                  <c:v>0.25716956725217316</c:v>
                </c:pt>
                <c:pt idx="37">
                  <c:v>0.2847247327654132</c:v>
                </c:pt>
                <c:pt idx="38">
                  <c:v>0.2949000009136509</c:v>
                </c:pt>
                <c:pt idx="39">
                  <c:v>0.2956468633267488</c:v>
                </c:pt>
                <c:pt idx="40">
                  <c:v>0.30040043374879155</c:v>
                </c:pt>
                <c:pt idx="41">
                  <c:v>0.32375662199987426</c:v>
                </c:pt>
                <c:pt idx="42">
                  <c:v>0.3063899125740492</c:v>
                </c:pt>
                <c:pt idx="43">
                  <c:v>0.34031049986026884</c:v>
                </c:pt>
                <c:pt idx="44">
                  <c:v>0.36067901797925567</c:v>
                </c:pt>
                <c:pt idx="45">
                  <c:v>0.3780942368645471</c:v>
                </c:pt>
                <c:pt idx="46">
                  <c:v>0.35403910494716206</c:v>
                </c:pt>
                <c:pt idx="47">
                  <c:v>0.38328388343557734</c:v>
                </c:pt>
                <c:pt idx="48">
                  <c:v>0.391683834806836</c:v>
                </c:pt>
                <c:pt idx="49">
                  <c:v>0.42684538111104037</c:v>
                </c:pt>
                <c:pt idx="50">
                  <c:v>0.3995065450895847</c:v>
                </c:pt>
                <c:pt idx="51">
                  <c:v>0.33688857514258125</c:v>
                </c:pt>
                <c:pt idx="52">
                  <c:v>0.43873319241315073</c:v>
                </c:pt>
                <c:pt idx="53">
                  <c:v>0.8669848552996061</c:v>
                </c:pt>
                <c:pt idx="54">
                  <c:v>0.26560318843100494</c:v>
                </c:pt>
              </c:numCache>
            </c:numRef>
          </c:xVal>
          <c:yVal>
            <c:numRef>
              <c:f>Sheet1!$B$187:$B$241</c:f>
              <c:numCache>
                <c:formatCode>General</c:formatCode>
                <c:ptCount val="55"/>
                <c:pt idx="0">
                  <c:v>0.12746831434461528</c:v>
                </c:pt>
                <c:pt idx="1">
                  <c:v>0.1305364824560765</c:v>
                </c:pt>
                <c:pt idx="2">
                  <c:v>0.1299556500651256</c:v>
                </c:pt>
                <c:pt idx="3">
                  <c:v>0.1309968096768413</c:v>
                </c:pt>
                <c:pt idx="4">
                  <c:v>0.12853955730467023</c:v>
                </c:pt>
                <c:pt idx="5">
                  <c:v>0.1251295012207967</c:v>
                </c:pt>
                <c:pt idx="6">
                  <c:v>0.12978481772700323</c:v>
                </c:pt>
                <c:pt idx="7">
                  <c:v>0.1336841321192373</c:v>
                </c:pt>
                <c:pt idx="8">
                  <c:v>0.13148887519585326</c:v>
                </c:pt>
                <c:pt idx="9">
                  <c:v>0.13001375678664936</c:v>
                </c:pt>
                <c:pt idx="10">
                  <c:v>0.13421188602004933</c:v>
                </c:pt>
                <c:pt idx="11">
                  <c:v>0.1317785593887526</c:v>
                </c:pt>
                <c:pt idx="12">
                  <c:v>0.13652624444890915</c:v>
                </c:pt>
                <c:pt idx="13">
                  <c:v>0.1414682545421581</c:v>
                </c:pt>
                <c:pt idx="14">
                  <c:v>0.14157103299037954</c:v>
                </c:pt>
                <c:pt idx="15">
                  <c:v>0.13667119729450986</c:v>
                </c:pt>
                <c:pt idx="16">
                  <c:v>0.13596065517640502</c:v>
                </c:pt>
                <c:pt idx="17">
                  <c:v>0.13159132694268022</c:v>
                </c:pt>
                <c:pt idx="18">
                  <c:v>0.1258074784738774</c:v>
                </c:pt>
                <c:pt idx="19">
                  <c:v>0.1309373228175894</c:v>
                </c:pt>
                <c:pt idx="20">
                  <c:v>0.1305205369254151</c:v>
                </c:pt>
                <c:pt idx="21">
                  <c:v>0.12573137636021017</c:v>
                </c:pt>
                <c:pt idx="22">
                  <c:v>0.12814754971683254</c:v>
                </c:pt>
                <c:pt idx="23">
                  <c:v>0.1268214955586656</c:v>
                </c:pt>
                <c:pt idx="24">
                  <c:v>0.12728569068398918</c:v>
                </c:pt>
                <c:pt idx="25">
                  <c:v>0.1253094966474103</c:v>
                </c:pt>
                <c:pt idx="26">
                  <c:v>0.12605754453047185</c:v>
                </c:pt>
                <c:pt idx="27">
                  <c:v>0.1275731041470183</c:v>
                </c:pt>
                <c:pt idx="28">
                  <c:v>0.1314964477292996</c:v>
                </c:pt>
                <c:pt idx="29">
                  <c:v>0.13089457327213677</c:v>
                </c:pt>
                <c:pt idx="30">
                  <c:v>0.12793605069547015</c:v>
                </c:pt>
                <c:pt idx="31">
                  <c:v>0.11892947350463799</c:v>
                </c:pt>
                <c:pt idx="32">
                  <c:v>0.11719863822173492</c:v>
                </c:pt>
                <c:pt idx="33">
                  <c:v>0.11734540621261112</c:v>
                </c:pt>
                <c:pt idx="34">
                  <c:v>0.1198049412475109</c:v>
                </c:pt>
                <c:pt idx="35">
                  <c:v>0.12028098520820384</c:v>
                </c:pt>
                <c:pt idx="36">
                  <c:v>0.11935530051678213</c:v>
                </c:pt>
                <c:pt idx="37">
                  <c:v>0.12315100040835918</c:v>
                </c:pt>
                <c:pt idx="38">
                  <c:v>0.124552634675026</c:v>
                </c:pt>
                <c:pt idx="39">
                  <c:v>0.12465551431764896</c:v>
                </c:pt>
                <c:pt idx="40">
                  <c:v>0.1253103144757856</c:v>
                </c:pt>
                <c:pt idx="41">
                  <c:v>0.1285276089307832</c:v>
                </c:pt>
                <c:pt idx="42">
                  <c:v>0.12613535993293265</c:v>
                </c:pt>
                <c:pt idx="43">
                  <c:v>0.13080789109311275</c:v>
                </c:pt>
                <c:pt idx="44">
                  <c:v>0.1336136366067325</c:v>
                </c:pt>
                <c:pt idx="45">
                  <c:v>0.13601256774009582</c:v>
                </c:pt>
                <c:pt idx="46">
                  <c:v>0.13269899440783556</c:v>
                </c:pt>
                <c:pt idx="47">
                  <c:v>0.1367274370054435</c:v>
                </c:pt>
                <c:pt idx="48">
                  <c:v>0.1378845229425183</c:v>
                </c:pt>
                <c:pt idx="49">
                  <c:v>0.14272799511946535</c:v>
                </c:pt>
                <c:pt idx="50">
                  <c:v>0.13896209442572352</c:v>
                </c:pt>
                <c:pt idx="51">
                  <c:v>0.1303365239632847</c:v>
                </c:pt>
                <c:pt idx="52">
                  <c:v>0.14436553070417552</c:v>
                </c:pt>
                <c:pt idx="53">
                  <c:v>0.20335682181453954</c:v>
                </c:pt>
                <c:pt idx="54">
                  <c:v>0.1205170244403315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765249537892793"/>
          <c:min val="0.0687440982058545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0.9622</c:v>
                </c:pt>
                <c:pt idx="1">
                  <c:v>817.1421</c:v>
                </c:pt>
                <c:pt idx="2">
                  <c:v>857.0717</c:v>
                </c:pt>
                <c:pt idx="3">
                  <c:v>870.5565</c:v>
                </c:pt>
                <c:pt idx="4">
                  <c:v>871.0529</c:v>
                </c:pt>
                <c:pt idx="5">
                  <c:v>869.1409</c:v>
                </c:pt>
                <c:pt idx="6">
                  <c:v>826.5068</c:v>
                </c:pt>
                <c:pt idx="7">
                  <c:v>840.0289</c:v>
                </c:pt>
                <c:pt idx="8">
                  <c:v>827.7417</c:v>
                </c:pt>
                <c:pt idx="9">
                  <c:v>812.1691</c:v>
                </c:pt>
                <c:pt idx="10">
                  <c:v>820.1319</c:v>
                </c:pt>
                <c:pt idx="11">
                  <c:v>863.0048</c:v>
                </c:pt>
                <c:pt idx="12">
                  <c:v>864.6089</c:v>
                </c:pt>
                <c:pt idx="13">
                  <c:v>855.4227</c:v>
                </c:pt>
                <c:pt idx="14">
                  <c:v>857.7939</c:v>
                </c:pt>
                <c:pt idx="15">
                  <c:v>867.6311</c:v>
                </c:pt>
                <c:pt idx="16">
                  <c:v>872.2607</c:v>
                </c:pt>
                <c:pt idx="17">
                  <c:v>881.2093</c:v>
                </c:pt>
                <c:pt idx="18">
                  <c:v>920.7668</c:v>
                </c:pt>
                <c:pt idx="19">
                  <c:v>946.4436</c:v>
                </c:pt>
                <c:pt idx="20">
                  <c:v>945.6632</c:v>
                </c:pt>
                <c:pt idx="21">
                  <c:v>955.5355</c:v>
                </c:pt>
                <c:pt idx="22">
                  <c:v>934.849</c:v>
                </c:pt>
                <c:pt idx="23">
                  <c:v>922.7124</c:v>
                </c:pt>
                <c:pt idx="24">
                  <c:v>902.6609</c:v>
                </c:pt>
                <c:pt idx="25">
                  <c:v>885.1498</c:v>
                </c:pt>
                <c:pt idx="26">
                  <c:v>878.0888</c:v>
                </c:pt>
                <c:pt idx="27">
                  <c:v>920.2547</c:v>
                </c:pt>
                <c:pt idx="28">
                  <c:v>922.7185</c:v>
                </c:pt>
                <c:pt idx="29">
                  <c:v>712.2556</c:v>
                </c:pt>
                <c:pt idx="30">
                  <c:v>781.5662</c:v>
                </c:pt>
                <c:pt idx="31">
                  <c:v>836.2497</c:v>
                </c:pt>
                <c:pt idx="32">
                  <c:v>812.6254</c:v>
                </c:pt>
                <c:pt idx="33">
                  <c:v>725.5265</c:v>
                </c:pt>
                <c:pt idx="34">
                  <c:v>859.9147</c:v>
                </c:pt>
                <c:pt idx="35">
                  <c:v>907.2174</c:v>
                </c:pt>
                <c:pt idx="36">
                  <c:v>983.4306</c:v>
                </c:pt>
                <c:pt idx="37">
                  <c:v>997.5516</c:v>
                </c:pt>
                <c:pt idx="38">
                  <c:v>1037.9455</c:v>
                </c:pt>
                <c:pt idx="39">
                  <c:v>1047.1026</c:v>
                </c:pt>
                <c:pt idx="40">
                  <c:v>1047.3911</c:v>
                </c:pt>
                <c:pt idx="41">
                  <c:v>1076.9801</c:v>
                </c:pt>
                <c:pt idx="42">
                  <c:v>1092.1588</c:v>
                </c:pt>
                <c:pt idx="43">
                  <c:v>1080.8705</c:v>
                </c:pt>
                <c:pt idx="44">
                  <c:v>1001.4318</c:v>
                </c:pt>
                <c:pt idx="45">
                  <c:v>972.1252</c:v>
                </c:pt>
                <c:pt idx="46">
                  <c:v>973.4876</c:v>
                </c:pt>
                <c:pt idx="47">
                  <c:v>950.3796</c:v>
                </c:pt>
                <c:pt idx="48">
                  <c:v>974.2739</c:v>
                </c:pt>
                <c:pt idx="49">
                  <c:v>963.2298</c:v>
                </c:pt>
                <c:pt idx="50">
                  <c:v>938.1777</c:v>
                </c:pt>
                <c:pt idx="51">
                  <c:v>932.2839</c:v>
                </c:pt>
                <c:pt idx="52">
                  <c:v>944.0862</c:v>
                </c:pt>
                <c:pt idx="53">
                  <c:v>1011.6319</c:v>
                </c:pt>
                <c:pt idx="54">
                  <c:v>1011.903</c:v>
                </c:pt>
                <c:pt idx="55">
                  <c:v>1021.217</c:v>
                </c:pt>
                <c:pt idx="56">
                  <c:v>1052.7579</c:v>
                </c:pt>
                <c:pt idx="57">
                  <c:v>1044.0529</c:v>
                </c:pt>
                <c:pt idx="58">
                  <c:v>1004.7018</c:v>
                </c:pt>
                <c:pt idx="59">
                  <c:v>995.4027</c:v>
                </c:pt>
                <c:pt idx="60">
                  <c:v>1015.8163</c:v>
                </c:pt>
                <c:pt idx="61">
                  <c:v>1001.4774</c:v>
                </c:pt>
                <c:pt idx="62">
                  <c:v>962.3131</c:v>
                </c:pt>
                <c:pt idx="63">
                  <c:v>1018.8677</c:v>
                </c:pt>
                <c:pt idx="64">
                  <c:v>1017.9956</c:v>
                </c:pt>
                <c:pt idx="65">
                  <c:v>1007.6918</c:v>
                </c:pt>
                <c:pt idx="66">
                  <c:v>998.0351</c:v>
                </c:pt>
                <c:pt idx="67">
                  <c:v>1013.9308</c:v>
                </c:pt>
                <c:pt idx="68">
                  <c:v>995.5252</c:v>
                </c:pt>
                <c:pt idx="69">
                  <c:v>995.25</c:v>
                </c:pt>
                <c:pt idx="70">
                  <c:v>993.7963</c:v>
                </c:pt>
                <c:pt idx="71">
                  <c:v>1069.7628</c:v>
                </c:pt>
                <c:pt idx="72">
                  <c:v>1132.3061</c:v>
                </c:pt>
                <c:pt idx="73">
                  <c:v>1180.2163</c:v>
                </c:pt>
                <c:pt idx="74">
                  <c:v>1133.2755</c:v>
                </c:pt>
                <c:pt idx="75">
                  <c:v>1105.0681</c:v>
                </c:pt>
                <c:pt idx="76">
                  <c:v>1145.202</c:v>
                </c:pt>
                <c:pt idx="77">
                  <c:v>1126.2507</c:v>
                </c:pt>
                <c:pt idx="78">
                  <c:v>1120.3287</c:v>
                </c:pt>
                <c:pt idx="79">
                  <c:v>1140.4143</c:v>
                </c:pt>
                <c:pt idx="80">
                  <c:v>1125.2644</c:v>
                </c:pt>
                <c:pt idx="81">
                  <c:v>1104.7861</c:v>
                </c:pt>
                <c:pt idx="82">
                  <c:v>1121.3158</c:v>
                </c:pt>
                <c:pt idx="83">
                  <c:v>1124.4945</c:v>
                </c:pt>
                <c:pt idx="84">
                  <c:v>1082.3367</c:v>
                </c:pt>
                <c:pt idx="85">
                  <c:v>1082.8973</c:v>
                </c:pt>
                <c:pt idx="86">
                  <c:v>1089.2068</c:v>
                </c:pt>
                <c:pt idx="87">
                  <c:v>1107.8789</c:v>
                </c:pt>
                <c:pt idx="88">
                  <c:v>1118.326</c:v>
                </c:pt>
                <c:pt idx="89">
                  <c:v>1098.6198</c:v>
                </c:pt>
                <c:pt idx="90">
                  <c:v>1164.6252</c:v>
                </c:pt>
                <c:pt idx="91">
                  <c:v>1163.1002</c:v>
                </c:pt>
                <c:pt idx="92">
                  <c:v>1087.7851</c:v>
                </c:pt>
                <c:pt idx="93">
                  <c:v>1134.6018</c:v>
                </c:pt>
                <c:pt idx="94">
                  <c:v>1153.1866</c:v>
                </c:pt>
                <c:pt idx="95">
                  <c:v>1127.9911</c:v>
                </c:pt>
                <c:pt idx="96">
                  <c:v>1074.6079</c:v>
                </c:pt>
                <c:pt idx="97">
                  <c:v>1075.9857</c:v>
                </c:pt>
                <c:pt idx="98">
                  <c:v>1070.8626</c:v>
                </c:pt>
                <c:pt idx="99">
                  <c:v>1010.6991</c:v>
                </c:pt>
                <c:pt idx="100">
                  <c:v>1021.3506</c:v>
                </c:pt>
                <c:pt idx="101">
                  <c:v>1026.9132</c:v>
                </c:pt>
                <c:pt idx="102">
                  <c:v>1022.9343</c:v>
                </c:pt>
                <c:pt idx="103">
                  <c:v>999.459</c:v>
                </c:pt>
                <c:pt idx="104">
                  <c:v>1059.3722</c:v>
                </c:pt>
              </c:numCache>
            </c:numRef>
          </c:xVal>
          <c:yVal>
            <c:numRef>
              <c:f>Sheet1!$B$2:$B$106</c:f>
              <c:numCache>
                <c:formatCode>General</c:formatCode>
                <c:ptCount val="105"/>
                <c:pt idx="0">
                  <c:v>0.2162312395775431</c:v>
                </c:pt>
                <c:pt idx="1">
                  <c:v>0.2006586874447747</c:v>
                </c:pt>
                <c:pt idx="2">
                  <c:v>0.16746003552397867</c:v>
                </c:pt>
                <c:pt idx="3">
                  <c:v>0.16197073474470736</c:v>
                </c:pt>
                <c:pt idx="4">
                  <c:v>0.15120870653953578</c:v>
                </c:pt>
                <c:pt idx="5">
                  <c:v>0.13729883886738645</c:v>
                </c:pt>
                <c:pt idx="6">
                  <c:v>0.16207983193277312</c:v>
                </c:pt>
                <c:pt idx="7">
                  <c:v>0.15956120668162552</c:v>
                </c:pt>
                <c:pt idx="8">
                  <c:v>0.17536959175369593</c:v>
                </c:pt>
                <c:pt idx="9">
                  <c:v>0.20725683890577506</c:v>
                </c:pt>
                <c:pt idx="10">
                  <c:v>0.21454000374742366</c:v>
                </c:pt>
                <c:pt idx="11">
                  <c:v>0.2016895459345301</c:v>
                </c:pt>
                <c:pt idx="12">
                  <c:v>0.20988855474969043</c:v>
                </c:pt>
                <c:pt idx="13">
                  <c:v>0.2230437461491066</c:v>
                </c:pt>
                <c:pt idx="14">
                  <c:v>0.22027729636048526</c:v>
                </c:pt>
                <c:pt idx="15">
                  <c:v>0.21929356525450858</c:v>
                </c:pt>
                <c:pt idx="16">
                  <c:v>0.21254658385093167</c:v>
                </c:pt>
                <c:pt idx="17">
                  <c:v>0.19493932352181773</c:v>
                </c:pt>
                <c:pt idx="18">
                  <c:v>0.1869372588252108</c:v>
                </c:pt>
                <c:pt idx="19">
                  <c:v>0.17359000337723743</c:v>
                </c:pt>
                <c:pt idx="20">
                  <c:v>0.19444444444444445</c:v>
                </c:pt>
                <c:pt idx="21">
                  <c:v>0.18519151846785226</c:v>
                </c:pt>
                <c:pt idx="22">
                  <c:v>0.18664495114006516</c:v>
                </c:pt>
                <c:pt idx="23">
                  <c:v>0.1950668751085635</c:v>
                </c:pt>
                <c:pt idx="24">
                  <c:v>0.18831168831168832</c:v>
                </c:pt>
                <c:pt idx="25">
                  <c:v>0.18675568386863947</c:v>
                </c:pt>
                <c:pt idx="26">
                  <c:v>0.19303517765600142</c:v>
                </c:pt>
                <c:pt idx="27">
                  <c:v>0.17015128335883054</c:v>
                </c:pt>
                <c:pt idx="28">
                  <c:v>0.16479651649639926</c:v>
                </c:pt>
                <c:pt idx="29">
                  <c:v>0.1989340247767214</c:v>
                </c:pt>
                <c:pt idx="30">
                  <c:v>0.17969052224371374</c:v>
                </c:pt>
                <c:pt idx="31">
                  <c:v>0.17431525485216762</c:v>
                </c:pt>
                <c:pt idx="32">
                  <c:v>0.18934509670851712</c:v>
                </c:pt>
                <c:pt idx="33">
                  <c:v>0.21914976095102726</c:v>
                </c:pt>
                <c:pt idx="34">
                  <c:v>0.19569163741982332</c:v>
                </c:pt>
                <c:pt idx="35">
                  <c:v>0.18861036748600632</c:v>
                </c:pt>
                <c:pt idx="36">
                  <c:v>0.13889274316636605</c:v>
                </c:pt>
                <c:pt idx="37">
                  <c:v>0.1291887793783169</c:v>
                </c:pt>
                <c:pt idx="38">
                  <c:v>0.12560827250608272</c:v>
                </c:pt>
                <c:pt idx="39">
                  <c:v>0.12089810017271158</c:v>
                </c:pt>
                <c:pt idx="40">
                  <c:v>0.11813643926788686</c:v>
                </c:pt>
                <c:pt idx="41">
                  <c:v>0.09736224278414583</c:v>
                </c:pt>
                <c:pt idx="42">
                  <c:v>0.10086042065009561</c:v>
                </c:pt>
                <c:pt idx="43">
                  <c:v>0.1090422685928304</c:v>
                </c:pt>
                <c:pt idx="44">
                  <c:v>0.12877537843460793</c:v>
                </c:pt>
                <c:pt idx="45">
                  <c:v>0.1496313332882365</c:v>
                </c:pt>
                <c:pt idx="46">
                  <c:v>0.15096048121078842</c:v>
                </c:pt>
                <c:pt idx="47">
                  <c:v>0.14789959346970383</c:v>
                </c:pt>
                <c:pt idx="48">
                  <c:v>0.1590626494500239</c:v>
                </c:pt>
                <c:pt idx="49">
                  <c:v>0.187127323746054</c:v>
                </c:pt>
                <c:pt idx="50">
                  <c:v>0.15020561789921238</c:v>
                </c:pt>
                <c:pt idx="51">
                  <c:v>0.1304274654998317</c:v>
                </c:pt>
                <c:pt idx="52">
                  <c:v>0.14316102956817697</c:v>
                </c:pt>
                <c:pt idx="53">
                  <c:v>0.12669606512890094</c:v>
                </c:pt>
                <c:pt idx="54">
                  <c:v>0.12414485086199033</c:v>
                </c:pt>
                <c:pt idx="55">
                  <c:v>0.11438701250233252</c:v>
                </c:pt>
                <c:pt idx="56">
                  <c:v>0.11668273866923819</c:v>
                </c:pt>
                <c:pt idx="57">
                  <c:v>0.10908945174735492</c:v>
                </c:pt>
                <c:pt idx="58">
                  <c:v>0.12997060188766826</c:v>
                </c:pt>
                <c:pt idx="59">
                  <c:v>0.13864667788486054</c:v>
                </c:pt>
                <c:pt idx="60">
                  <c:v>0.14897523990048572</c:v>
                </c:pt>
                <c:pt idx="61">
                  <c:v>0.14678289746782897</c:v>
                </c:pt>
                <c:pt idx="62">
                  <c:v>0.16551344551030037</c:v>
                </c:pt>
                <c:pt idx="63">
                  <c:v>0.1855731816821311</c:v>
                </c:pt>
                <c:pt idx="64">
                  <c:v>0.19271765346611686</c:v>
                </c:pt>
                <c:pt idx="65">
                  <c:v>0.17448945981554678</c:v>
                </c:pt>
                <c:pt idx="66">
                  <c:v>0.16863905325443787</c:v>
                </c:pt>
                <c:pt idx="67">
                  <c:v>0.15375743057403957</c:v>
                </c:pt>
                <c:pt idx="68">
                  <c:v>0.1376352869103533</c:v>
                </c:pt>
                <c:pt idx="69">
                  <c:v>0.12375404530744337</c:v>
                </c:pt>
                <c:pt idx="70">
                  <c:v>0.11256671518680253</c:v>
                </c:pt>
                <c:pt idx="71">
                  <c:v>0.11485042735042734</c:v>
                </c:pt>
                <c:pt idx="72">
                  <c:v>0.11879813154904684</c:v>
                </c:pt>
                <c:pt idx="73">
                  <c:v>0.11369439591452762</c:v>
                </c:pt>
                <c:pt idx="74">
                  <c:v>0.11106965174129353</c:v>
                </c:pt>
                <c:pt idx="75">
                  <c:v>0.11842891278375149</c:v>
                </c:pt>
                <c:pt idx="76">
                  <c:v>0.10943216160330842</c:v>
                </c:pt>
                <c:pt idx="77">
                  <c:v>0.11107491856677525</c:v>
                </c:pt>
                <c:pt idx="78">
                  <c:v>0.10087719298245613</c:v>
                </c:pt>
                <c:pt idx="79">
                  <c:v>0.09526073862735775</c:v>
                </c:pt>
                <c:pt idx="80">
                  <c:v>0.08891731968655045</c:v>
                </c:pt>
                <c:pt idx="81">
                  <c:v>0.10487868510305244</c:v>
                </c:pt>
                <c:pt idx="82">
                  <c:v>0.09210526315789473</c:v>
                </c:pt>
                <c:pt idx="83">
                  <c:v>0.08593012275731822</c:v>
                </c:pt>
                <c:pt idx="84">
                  <c:v>0.0944305261129312</c:v>
                </c:pt>
                <c:pt idx="85">
                  <c:v>0.11049908195626773</c:v>
                </c:pt>
                <c:pt idx="86">
                  <c:v>0.11845515811301192</c:v>
                </c:pt>
                <c:pt idx="87">
                  <c:v>0.13582804609607665</c:v>
                </c:pt>
                <c:pt idx="88">
                  <c:v>0.10931957433086101</c:v>
                </c:pt>
                <c:pt idx="89">
                  <c:v>0.09831029185867896</c:v>
                </c:pt>
                <c:pt idx="90">
                  <c:v>0.09772608922062143</c:v>
                </c:pt>
                <c:pt idx="91">
                  <c:v>0.09703368526897939</c:v>
                </c:pt>
                <c:pt idx="92">
                  <c:v>0.10670145564405382</c:v>
                </c:pt>
                <c:pt idx="93">
                  <c:v>0.10296306318495467</c:v>
                </c:pt>
                <c:pt idx="94">
                  <c:v>0.1070369792479326</c:v>
                </c:pt>
                <c:pt idx="95">
                  <c:v>0.11430511543684925</c:v>
                </c:pt>
                <c:pt idx="96">
                  <c:v>0.11659159159159159</c:v>
                </c:pt>
                <c:pt idx="97">
                  <c:v>0.1299614112458655</c:v>
                </c:pt>
                <c:pt idx="98">
                  <c:v>0.14781054512957997</c:v>
                </c:pt>
                <c:pt idx="99">
                  <c:v>0.15648180854821617</c:v>
                </c:pt>
                <c:pt idx="100">
                  <c:v>0.17798369732390035</c:v>
                </c:pt>
                <c:pt idx="101">
                  <c:v>0.15477766013763897</c:v>
                </c:pt>
                <c:pt idx="102">
                  <c:v>0.12323160423525224</c:v>
                </c:pt>
                <c:pt idx="103">
                  <c:v>0.130459444129325</c:v>
                </c:pt>
                <c:pt idx="104">
                  <c:v>0.1331967213114754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70.4673</c:v>
                </c:pt>
                <c:pt idx="1">
                  <c:v>1068.707</c:v>
                </c:pt>
                <c:pt idx="2">
                  <c:v>1070.3243</c:v>
                </c:pt>
                <c:pt idx="3">
                  <c:v>1045.1407</c:v>
                </c:pt>
                <c:pt idx="4">
                  <c:v>1057.7027</c:v>
                </c:pt>
                <c:pt idx="5">
                  <c:v>1064.8218</c:v>
                </c:pt>
                <c:pt idx="6">
                  <c:v>983.5823</c:v>
                </c:pt>
                <c:pt idx="7">
                  <c:v>1040.4776</c:v>
                </c:pt>
                <c:pt idx="8">
                  <c:v>1104.3655</c:v>
                </c:pt>
                <c:pt idx="9">
                  <c:v>1058.7084</c:v>
                </c:pt>
                <c:pt idx="10">
                  <c:v>1086.6466</c:v>
                </c:pt>
                <c:pt idx="11">
                  <c:v>937.5165</c:v>
                </c:pt>
                <c:pt idx="12">
                  <c:v>981.2504</c:v>
                </c:pt>
                <c:pt idx="13">
                  <c:v>1054.9024</c:v>
                </c:pt>
                <c:pt idx="14">
                  <c:v>1045.0351</c:v>
                </c:pt>
                <c:pt idx="15">
                  <c:v>1081.9735</c:v>
                </c:pt>
                <c:pt idx="16">
                  <c:v>1122.599</c:v>
                </c:pt>
                <c:pt idx="17">
                  <c:v>1102.1041</c:v>
                </c:pt>
                <c:pt idx="18">
                  <c:v>1033.6281</c:v>
                </c:pt>
                <c:pt idx="19">
                  <c:v>1182.7738</c:v>
                </c:pt>
                <c:pt idx="20">
                  <c:v>1190.1768</c:v>
                </c:pt>
                <c:pt idx="21">
                  <c:v>1100.9926</c:v>
                </c:pt>
                <c:pt idx="22">
                  <c:v>1128.8451</c:v>
                </c:pt>
                <c:pt idx="23">
                  <c:v>1099.6344</c:v>
                </c:pt>
                <c:pt idx="24">
                  <c:v>1094.0911</c:v>
                </c:pt>
                <c:pt idx="25">
                  <c:v>1046.5315</c:v>
                </c:pt>
                <c:pt idx="26">
                  <c:v>1096.3146</c:v>
                </c:pt>
                <c:pt idx="27">
                  <c:v>1101.2555</c:v>
                </c:pt>
                <c:pt idx="28">
                  <c:v>1059.6005</c:v>
                </c:pt>
                <c:pt idx="29">
                  <c:v>1047.3958</c:v>
                </c:pt>
                <c:pt idx="30">
                  <c:v>994.8559</c:v>
                </c:pt>
                <c:pt idx="31">
                  <c:v>977.7143</c:v>
                </c:pt>
                <c:pt idx="32">
                  <c:v>989.1574</c:v>
                </c:pt>
                <c:pt idx="33">
                  <c:v>1022.688</c:v>
                </c:pt>
                <c:pt idx="34">
                  <c:v>1045.4562</c:v>
                </c:pt>
                <c:pt idx="35">
                  <c:v>1053.1566</c:v>
                </c:pt>
                <c:pt idx="36">
                  <c:v>1054.8902</c:v>
                </c:pt>
                <c:pt idx="37">
                  <c:v>1160.5</c:v>
                </c:pt>
                <c:pt idx="38">
                  <c:v>1161.9756</c:v>
                </c:pt>
                <c:pt idx="39">
                  <c:v>1097.2073</c:v>
                </c:pt>
                <c:pt idx="40">
                  <c:v>1140.4652</c:v>
                </c:pt>
                <c:pt idx="41">
                  <c:v>1212.3395</c:v>
                </c:pt>
                <c:pt idx="42">
                  <c:v>1195.358</c:v>
                </c:pt>
                <c:pt idx="43">
                  <c:v>1199.1013</c:v>
                </c:pt>
                <c:pt idx="44">
                  <c:v>1113.6857</c:v>
                </c:pt>
                <c:pt idx="45">
                  <c:v>1084.5519</c:v>
                </c:pt>
                <c:pt idx="46">
                  <c:v>1096.8283</c:v>
                </c:pt>
                <c:pt idx="47">
                  <c:v>1074.476</c:v>
                </c:pt>
                <c:pt idx="48">
                  <c:v>1064.8323</c:v>
                </c:pt>
                <c:pt idx="49">
                  <c:v>1092.4002</c:v>
                </c:pt>
                <c:pt idx="50">
                  <c:v>975.5975</c:v>
                </c:pt>
                <c:pt idx="51">
                  <c:v>939.7557</c:v>
                </c:pt>
              </c:numCache>
            </c:numRef>
          </c:xVal>
          <c:yVal>
            <c:numRef>
              <c:f>Sheet1!$B$109:$B$160</c:f>
              <c:numCache>
                <c:formatCode>General</c:formatCode>
                <c:ptCount val="52"/>
                <c:pt idx="0">
                  <c:v>0.13321492007104796</c:v>
                </c:pt>
                <c:pt idx="1">
                  <c:v>0.13449982325910215</c:v>
                </c:pt>
                <c:pt idx="2">
                  <c:v>0.1396827889447236</c:v>
                </c:pt>
                <c:pt idx="3">
                  <c:v>0.1539776891132644</c:v>
                </c:pt>
                <c:pt idx="4">
                  <c:v>0.13462946392255756</c:v>
                </c:pt>
                <c:pt idx="5">
                  <c:v>0.1404450601783704</c:v>
                </c:pt>
                <c:pt idx="6">
                  <c:v>0.14612676056338028</c:v>
                </c:pt>
                <c:pt idx="7">
                  <c:v>0.13632260006018657</c:v>
                </c:pt>
                <c:pt idx="8">
                  <c:v>0.14083542570189456</c:v>
                </c:pt>
                <c:pt idx="9">
                  <c:v>0.15</c:v>
                </c:pt>
                <c:pt idx="10">
                  <c:v>0.1624544981799272</c:v>
                </c:pt>
                <c:pt idx="11">
                  <c:v>0.1800360522757999</c:v>
                </c:pt>
                <c:pt idx="12">
                  <c:v>0.17841092935466474</c:v>
                </c:pt>
                <c:pt idx="13">
                  <c:v>0.165191465573465</c:v>
                </c:pt>
                <c:pt idx="14">
                  <c:v>0.16082622546500874</c:v>
                </c:pt>
                <c:pt idx="15">
                  <c:v>0.1521667940181203</c:v>
                </c:pt>
                <c:pt idx="16">
                  <c:v>0.13368299859281055</c:v>
                </c:pt>
                <c:pt idx="17">
                  <c:v>0.11681368618016573</c:v>
                </c:pt>
                <c:pt idx="18">
                  <c:v>0.12445278298936835</c:v>
                </c:pt>
                <c:pt idx="19">
                  <c:v>0.12315567600120446</c:v>
                </c:pt>
                <c:pt idx="20">
                  <c:v>0.1030146703208125</c:v>
                </c:pt>
                <c:pt idx="21">
                  <c:v>0.10841683366733466</c:v>
                </c:pt>
                <c:pt idx="22">
                  <c:v>0.10497453975714845</c:v>
                </c:pt>
                <c:pt idx="23">
                  <c:v>0.1122281493639721</c:v>
                </c:pt>
                <c:pt idx="24">
                  <c:v>0.10383830891896903</c:v>
                </c:pt>
                <c:pt idx="25">
                  <c:v>0.1171890596925534</c:v>
                </c:pt>
                <c:pt idx="26">
                  <c:v>0.09765142150803462</c:v>
                </c:pt>
                <c:pt idx="27">
                  <c:v>0.10207696023184672</c:v>
                </c:pt>
                <c:pt idx="28">
                  <c:v>0.11831676034010664</c:v>
                </c:pt>
                <c:pt idx="29">
                  <c:v>0.11453287197231835</c:v>
                </c:pt>
                <c:pt idx="30">
                  <c:v>0.12228016543787089</c:v>
                </c:pt>
                <c:pt idx="31">
                  <c:v>0.12545281220209722</c:v>
                </c:pt>
                <c:pt idx="32">
                  <c:v>0.13310242454230578</c:v>
                </c:pt>
                <c:pt idx="33">
                  <c:v>0.14675080558539205</c:v>
                </c:pt>
                <c:pt idx="34">
                  <c:v>0.16978718455634376</c:v>
                </c:pt>
                <c:pt idx="35">
                  <c:v>0.15360092740182582</c:v>
                </c:pt>
                <c:pt idx="36">
                  <c:v>0.1220757124627818</c:v>
                </c:pt>
                <c:pt idx="37">
                  <c:v>0.10496292070735881</c:v>
                </c:pt>
                <c:pt idx="38">
                  <c:v>0.10301507537688442</c:v>
                </c:pt>
                <c:pt idx="39">
                  <c:v>0.12117407000470884</c:v>
                </c:pt>
                <c:pt idx="40">
                  <c:v>0.10336906584992343</c:v>
                </c:pt>
                <c:pt idx="41">
                  <c:v>0.10235533585344576</c:v>
                </c:pt>
                <c:pt idx="42">
                  <c:v>0.10429346932061194</c:v>
                </c:pt>
                <c:pt idx="43">
                  <c:v>0.10134901418194396</c:v>
                </c:pt>
                <c:pt idx="44">
                  <c:v>0.10198135198135198</c:v>
                </c:pt>
                <c:pt idx="45">
                  <c:v>0.12368090915799572</c:v>
                </c:pt>
                <c:pt idx="46">
                  <c:v>0.1137503299023489</c:v>
                </c:pt>
                <c:pt idx="47">
                  <c:v>0.1173056486552767</c:v>
                </c:pt>
                <c:pt idx="48">
                  <c:v>0.1158098396904367</c:v>
                </c:pt>
                <c:pt idx="49">
                  <c:v>0.13626111184821546</c:v>
                </c:pt>
                <c:pt idx="50">
                  <c:v>0.1701525536148574</c:v>
                </c:pt>
                <c:pt idx="51">
                  <c:v>0.1552386176631925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68.8444119214263</c:v>
                </c:pt>
              </c:numCache>
            </c:numRef>
          </c:xVal>
          <c:yVal>
            <c:numRef>
              <c:f>Sheet1!$B$163:$B$164</c:f>
              <c:numCache>
                <c:formatCode>General</c:formatCode>
                <c:ptCount val="2"/>
                <c:pt idx="0">
                  <c:v>0.20335682181453954</c:v>
                </c:pt>
                <c:pt idx="1">
                  <c:v>0.2033568218145395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68.8444119214263</c:v>
                </c:pt>
                <c:pt idx="1">
                  <c:v>768.8444119214263</c:v>
                </c:pt>
              </c:numCache>
            </c:numRef>
          </c:xVal>
          <c:yVal>
            <c:numRef>
              <c:f>Sheet1!$B$167:$B$168</c:f>
              <c:numCache>
                <c:formatCode>General</c:formatCode>
                <c:ptCount val="2"/>
                <c:pt idx="0">
                  <c:v>0.203356821814539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13.6343202971223</c:v>
                </c:pt>
              </c:numCache>
            </c:numRef>
          </c:xVal>
          <c:yVal>
            <c:numRef>
              <c:f>Sheet1!$B$171:$B$172</c:f>
              <c:numCache>
                <c:formatCode>General</c:formatCode>
                <c:ptCount val="2"/>
                <c:pt idx="0">
                  <c:v>0.14436553070417552</c:v>
                </c:pt>
                <c:pt idx="1">
                  <c:v>0.1443655307041755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13.6343202971223</c:v>
                </c:pt>
                <c:pt idx="1">
                  <c:v>1013.6343202971223</c:v>
                </c:pt>
              </c:numCache>
            </c:numRef>
          </c:xVal>
          <c:yVal>
            <c:numRef>
              <c:f>Sheet1!$B$175:$B$176</c:f>
              <c:numCache>
                <c:formatCode>General</c:formatCode>
                <c:ptCount val="2"/>
                <c:pt idx="0">
                  <c:v>0.1443655307041755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12.5959390944085</c:v>
                </c:pt>
              </c:numCache>
            </c:numRef>
          </c:xVal>
          <c:yVal>
            <c:numRef>
              <c:f>Sheet1!$B$179:$B$180</c:f>
              <c:numCache>
                <c:formatCode>General</c:formatCode>
                <c:ptCount val="2"/>
                <c:pt idx="0">
                  <c:v>0.12051702444033151</c:v>
                </c:pt>
                <c:pt idx="1">
                  <c:v>0.1205170244403315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12.5959390944085</c:v>
                </c:pt>
                <c:pt idx="1">
                  <c:v>1112.5959390944085</c:v>
                </c:pt>
              </c:numCache>
            </c:numRef>
          </c:xVal>
          <c:yVal>
            <c:numRef>
              <c:f>Sheet1!$B$183:$B$184</c:f>
              <c:numCache>
                <c:formatCode>General</c:formatCode>
                <c:ptCount val="2"/>
                <c:pt idx="0">
                  <c:v>0.1205170244403315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70.4673</c:v>
                </c:pt>
                <c:pt idx="1">
                  <c:v>1068.707</c:v>
                </c:pt>
                <c:pt idx="2">
                  <c:v>1070.3243</c:v>
                </c:pt>
                <c:pt idx="3">
                  <c:v>1045.1407</c:v>
                </c:pt>
                <c:pt idx="4">
                  <c:v>1057.7027</c:v>
                </c:pt>
                <c:pt idx="5">
                  <c:v>1064.8218</c:v>
                </c:pt>
                <c:pt idx="6">
                  <c:v>983.5823</c:v>
                </c:pt>
                <c:pt idx="7">
                  <c:v>1040.4776</c:v>
                </c:pt>
                <c:pt idx="8">
                  <c:v>1104.3655</c:v>
                </c:pt>
                <c:pt idx="9">
                  <c:v>1058.7084</c:v>
                </c:pt>
                <c:pt idx="10">
                  <c:v>1086.6466</c:v>
                </c:pt>
                <c:pt idx="11">
                  <c:v>937.5165</c:v>
                </c:pt>
                <c:pt idx="12">
                  <c:v>981.2504</c:v>
                </c:pt>
                <c:pt idx="13">
                  <c:v>1054.9024</c:v>
                </c:pt>
                <c:pt idx="14">
                  <c:v>1045.0351</c:v>
                </c:pt>
                <c:pt idx="15">
                  <c:v>1081.9735</c:v>
                </c:pt>
                <c:pt idx="16">
                  <c:v>1122.599</c:v>
                </c:pt>
                <c:pt idx="17">
                  <c:v>1102.1041</c:v>
                </c:pt>
                <c:pt idx="18">
                  <c:v>1033.6281</c:v>
                </c:pt>
                <c:pt idx="19">
                  <c:v>1182.7738</c:v>
                </c:pt>
                <c:pt idx="20">
                  <c:v>1190.1768</c:v>
                </c:pt>
                <c:pt idx="21">
                  <c:v>1100.9926</c:v>
                </c:pt>
                <c:pt idx="22">
                  <c:v>1128.8451</c:v>
                </c:pt>
                <c:pt idx="23">
                  <c:v>1099.6344</c:v>
                </c:pt>
                <c:pt idx="24">
                  <c:v>1094.0911</c:v>
                </c:pt>
                <c:pt idx="25">
                  <c:v>1046.5315</c:v>
                </c:pt>
                <c:pt idx="26">
                  <c:v>1096.3146</c:v>
                </c:pt>
                <c:pt idx="27">
                  <c:v>1101.2555</c:v>
                </c:pt>
                <c:pt idx="28">
                  <c:v>1059.6005</c:v>
                </c:pt>
                <c:pt idx="29">
                  <c:v>1047.3958</c:v>
                </c:pt>
                <c:pt idx="30">
                  <c:v>994.8559</c:v>
                </c:pt>
                <c:pt idx="31">
                  <c:v>977.7143</c:v>
                </c:pt>
                <c:pt idx="32">
                  <c:v>989.1574</c:v>
                </c:pt>
                <c:pt idx="33">
                  <c:v>1022.688</c:v>
                </c:pt>
                <c:pt idx="34">
                  <c:v>1045.4562</c:v>
                </c:pt>
                <c:pt idx="35">
                  <c:v>1053.1566</c:v>
                </c:pt>
                <c:pt idx="36">
                  <c:v>1054.8902</c:v>
                </c:pt>
                <c:pt idx="37">
                  <c:v>1160.5</c:v>
                </c:pt>
                <c:pt idx="38">
                  <c:v>1161.9756</c:v>
                </c:pt>
                <c:pt idx="39">
                  <c:v>1097.2073</c:v>
                </c:pt>
                <c:pt idx="40">
                  <c:v>1140.4652</c:v>
                </c:pt>
                <c:pt idx="41">
                  <c:v>1212.3395</c:v>
                </c:pt>
                <c:pt idx="42">
                  <c:v>1195.358</c:v>
                </c:pt>
                <c:pt idx="43">
                  <c:v>1199.1013</c:v>
                </c:pt>
                <c:pt idx="44">
                  <c:v>1113.6857</c:v>
                </c:pt>
                <c:pt idx="45">
                  <c:v>1084.5519</c:v>
                </c:pt>
                <c:pt idx="46">
                  <c:v>1096.8283</c:v>
                </c:pt>
                <c:pt idx="47">
                  <c:v>1074.476</c:v>
                </c:pt>
                <c:pt idx="48">
                  <c:v>1064.8323</c:v>
                </c:pt>
                <c:pt idx="49">
                  <c:v>1092.4002</c:v>
                </c:pt>
                <c:pt idx="50">
                  <c:v>975.5975</c:v>
                </c:pt>
                <c:pt idx="51">
                  <c:v>939.7557</c:v>
                </c:pt>
                <c:pt idx="52">
                  <c:v>1013.6343202971223</c:v>
                </c:pt>
                <c:pt idx="53">
                  <c:v>768.8444119214263</c:v>
                </c:pt>
                <c:pt idx="54">
                  <c:v>1112.5959390944085</c:v>
                </c:pt>
              </c:numCache>
            </c:numRef>
          </c:xVal>
          <c:yVal>
            <c:numRef>
              <c:f>Sheet1!$B$187:$B$241</c:f>
              <c:numCache>
                <c:formatCode>General</c:formatCode>
                <c:ptCount val="55"/>
                <c:pt idx="0">
                  <c:v>0.13066949693967767</c:v>
                </c:pt>
                <c:pt idx="1">
                  <c:v>0.1310937071141518</c:v>
                </c:pt>
                <c:pt idx="2">
                  <c:v>0.13070395814228508</c:v>
                </c:pt>
                <c:pt idx="3">
                  <c:v>0.1367728892051085</c:v>
                </c:pt>
                <c:pt idx="4">
                  <c:v>0.13374560509913525</c:v>
                </c:pt>
                <c:pt idx="5">
                  <c:v>0.13202999148037753</c:v>
                </c:pt>
                <c:pt idx="6">
                  <c:v>0.15160768986655918</c:v>
                </c:pt>
                <c:pt idx="7">
                  <c:v>0.13789663769376986</c:v>
                </c:pt>
                <c:pt idx="8">
                  <c:v>0.1225004568122216</c:v>
                </c:pt>
                <c:pt idx="9">
                  <c:v>0.13350324403995856</c:v>
                </c:pt>
                <c:pt idx="10">
                  <c:v>0.1267704890001956</c:v>
                </c:pt>
                <c:pt idx="11">
                  <c:v>0.16270896865727266</c:v>
                </c:pt>
                <c:pt idx="12">
                  <c:v>0.15216964845649064</c:v>
                </c:pt>
                <c:pt idx="13">
                  <c:v>0.13442044220166327</c:v>
                </c:pt>
                <c:pt idx="14">
                  <c:v>0.13679833747780318</c:v>
                </c:pt>
                <c:pt idx="15">
                  <c:v>0.1278966473631652</c:v>
                </c:pt>
                <c:pt idx="16">
                  <c:v>0.11810641249234716</c:v>
                </c:pt>
                <c:pt idx="17">
                  <c:v>0.1230454257882802</c:v>
                </c:pt>
                <c:pt idx="18">
                  <c:v>0.13954728110117823</c:v>
                </c:pt>
                <c:pt idx="19">
                  <c:v>0.1036050420401804</c:v>
                </c:pt>
                <c:pt idx="20">
                  <c:v>0.10182101208981259</c:v>
                </c:pt>
                <c:pt idx="21">
                  <c:v>0.12331328331763775</c:v>
                </c:pt>
                <c:pt idx="22">
                  <c:v>0.11660118090069616</c:v>
                </c:pt>
                <c:pt idx="23">
                  <c:v>0.12364059244617881</c:v>
                </c:pt>
                <c:pt idx="24">
                  <c:v>0.12497645807144875</c:v>
                </c:pt>
                <c:pt idx="25">
                  <c:v>0.13643772388632264</c:v>
                </c:pt>
                <c:pt idx="26">
                  <c:v>0.12444062251901833</c:v>
                </c:pt>
                <c:pt idx="27">
                  <c:v>0.12324992772207494</c:v>
                </c:pt>
                <c:pt idx="28">
                  <c:v>0.13328825915292314</c:v>
                </c:pt>
                <c:pt idx="29">
                  <c:v>0.13622943844986407</c:v>
                </c:pt>
                <c:pt idx="30">
                  <c:v>0.1488908939664557</c:v>
                </c:pt>
                <c:pt idx="31">
                  <c:v>0.15302180411061675</c:v>
                </c:pt>
                <c:pt idx="32">
                  <c:v>0.1502641608409891</c:v>
                </c:pt>
                <c:pt idx="33">
                  <c:v>0.14218370769310287</c:v>
                </c:pt>
                <c:pt idx="34">
                  <c:v>0.13669685767068446</c:v>
                </c:pt>
                <c:pt idx="35">
                  <c:v>0.13484115805839053</c:v>
                </c:pt>
                <c:pt idx="36">
                  <c:v>0.13442338224831923</c:v>
                </c:pt>
                <c:pt idx="37">
                  <c:v>0.10897274787680089</c:v>
                </c:pt>
                <c:pt idx="38">
                  <c:v>0.10861714682388146</c:v>
                </c:pt>
                <c:pt idx="39">
                  <c:v>0.1242254930395244</c:v>
                </c:pt>
                <c:pt idx="40">
                  <c:v>0.11380088285581319</c:v>
                </c:pt>
                <c:pt idx="41">
                  <c:v>0.09648007995675628</c:v>
                </c:pt>
                <c:pt idx="42">
                  <c:v>0.10057240801324291</c:v>
                </c:pt>
                <c:pt idx="43">
                  <c:v>0.0996703197634507</c:v>
                </c:pt>
                <c:pt idx="44">
                  <c:v>0.12025440575948387</c:v>
                </c:pt>
                <c:pt idx="45">
                  <c:v>0.12727528537153637</c:v>
                </c:pt>
                <c:pt idx="46">
                  <c:v>0.12431682727580562</c:v>
                </c:pt>
                <c:pt idx="47">
                  <c:v>0.1297034506257455</c:v>
                </c:pt>
                <c:pt idx="48">
                  <c:v>0.13202746111235392</c:v>
                </c:pt>
                <c:pt idx="49">
                  <c:v>0.12538394371822398</c:v>
                </c:pt>
                <c:pt idx="50">
                  <c:v>0.1535319263041786</c:v>
                </c:pt>
                <c:pt idx="51">
                  <c:v>0.1621693496021783</c:v>
                </c:pt>
                <c:pt idx="52">
                  <c:v>0.14436553070417552</c:v>
                </c:pt>
                <c:pt idx="53">
                  <c:v>0.20335682181453954</c:v>
                </c:pt>
                <c:pt idx="54">
                  <c:v>0.1205170244403315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5.0"/>
          <c:min val="57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765249537892793"/>
          <c:min val="0.0687440982058545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46575306157411017</c:v>
                </c:pt>
                <c:pt idx="2">
                  <c:v>0.8321742372211423</c:v>
                </c:pt>
                <c:pt idx="3">
                  <c:v>0.9675818540098144</c:v>
                </c:pt>
                <c:pt idx="4">
                  <c:v>0.42439574864361795</c:v>
                </c:pt>
                <c:pt idx="5">
                  <c:v>0.40800466835782084</c:v>
                </c:pt>
                <c:pt idx="6">
                  <c:v>0.4121048219694528</c:v>
                </c:pt>
                <c:pt idx="7">
                  <c:v>0.4876823150357995</c:v>
                </c:pt>
                <c:pt idx="8">
                  <c:v>0.5616799697602727</c:v>
                </c:pt>
                <c:pt idx="9">
                  <c:v>0.47130696074518674</c:v>
                </c:pt>
                <c:pt idx="10">
                  <c:v>0.40003188447233534</c:v>
                </c:pt>
                <c:pt idx="11">
                  <c:v>0.4438029934840727</c:v>
                </c:pt>
                <c:pt idx="12">
                  <c:v>0.3307365169754199</c:v>
                </c:pt>
                <c:pt idx="13">
                  <c:v>0.3033353007146848</c:v>
                </c:pt>
                <c:pt idx="14">
                  <c:v>0.36675716744885223</c:v>
                </c:pt>
                <c:pt idx="15">
                  <c:v>0.4627207637672357</c:v>
                </c:pt>
                <c:pt idx="16">
                  <c:v>0.37967311383024616</c:v>
                </c:pt>
              </c:numCache>
            </c:numRef>
          </c:xVal>
          <c:yVal>
            <c:numRef>
              <c:f>Sheet1!$B$4:$B$20</c:f>
              <c:numCache>
                <c:formatCode>General</c:formatCode>
                <c:ptCount val="17"/>
                <c:pt idx="0">
                  <c:v>0.0</c:v>
                </c:pt>
                <c:pt idx="1">
                  <c:v>0.014285714285714285</c:v>
                </c:pt>
                <c:pt idx="2">
                  <c:v>0.010869565217391304</c:v>
                </c:pt>
                <c:pt idx="3">
                  <c:v>0.011764705882352941</c:v>
                </c:pt>
                <c:pt idx="4">
                  <c:v>0.043478260869565216</c:v>
                </c:pt>
                <c:pt idx="5">
                  <c:v>0.04716981132075472</c:v>
                </c:pt>
                <c:pt idx="6">
                  <c:v>0.06306306306306306</c:v>
                </c:pt>
                <c:pt idx="7">
                  <c:v>0.05405405405405406</c:v>
                </c:pt>
                <c:pt idx="8">
                  <c:v>0.02531645569620253</c:v>
                </c:pt>
                <c:pt idx="9">
                  <c:v>0.05</c:v>
                </c:pt>
                <c:pt idx="10">
                  <c:v>0.04830917874396135</c:v>
                </c:pt>
                <c:pt idx="11">
                  <c:v>0.03608247422680412</c:v>
                </c:pt>
                <c:pt idx="12">
                  <c:v>0.06403940886699508</c:v>
                </c:pt>
                <c:pt idx="13">
                  <c:v>0.05747126436781609</c:v>
                </c:pt>
                <c:pt idx="14">
                  <c:v>0.06837606837606838</c:v>
                </c:pt>
                <c:pt idx="15">
                  <c:v>0.07079646017699115</c:v>
                </c:pt>
                <c:pt idx="16">
                  <c:v>0.046242774566473986</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23870601186408189</c:v>
                </c:pt>
              </c:numCache>
            </c:numRef>
          </c:xVal>
          <c:yVal>
            <c:numRef>
              <c:f>Sheet1!$B$23:$B$24</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23870601186408189</c:v>
                </c:pt>
                <c:pt idx="1">
                  <c:v>-0.23870601186408189</c:v>
                </c:pt>
              </c:numCache>
            </c:numRef>
          </c:xVal>
          <c:yVal>
            <c:numRef>
              <c:f>Sheet1!$B$27:$B$28</c:f>
              <c:numCache>
                <c:formatCode>General</c:formatCode>
                <c:ptCount val="2"/>
                <c:pt idx="0">
                  <c:v>0.06072164187183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23870601186408189</c:v>
                </c:pt>
              </c:numCache>
            </c:numRef>
          </c:xVal>
          <c:yVal>
            <c:numRef>
              <c:f>Sheet1!$B$31:$B$32</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23870601186408189</c:v>
                </c:pt>
                <c:pt idx="1">
                  <c:v>-0.23870601186408189</c:v>
                </c:pt>
              </c:numCache>
            </c:numRef>
          </c:xVal>
          <c:yVal>
            <c:numRef>
              <c:f>Sheet1!$B$35:$B$36</c:f>
              <c:numCache>
                <c:formatCode>General</c:formatCode>
                <c:ptCount val="2"/>
                <c:pt idx="0">
                  <c:v>0.060721641871837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08581255897859745</c:v>
                </c:pt>
              </c:numCache>
            </c:numRef>
          </c:xVal>
          <c:yVal>
            <c:numRef>
              <c:f>Sheet1!$B$39:$B$40</c:f>
              <c:numCache>
                <c:formatCode>General</c:formatCode>
                <c:ptCount val="2"/>
                <c:pt idx="0">
                  <c:v>0.05187686725605767</c:v>
                </c:pt>
                <c:pt idx="1">
                  <c:v>0.05187686725605767</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08581255897859745</c:v>
                </c:pt>
                <c:pt idx="1">
                  <c:v>0.08581255897859745</c:v>
                </c:pt>
              </c:numCache>
            </c:numRef>
          </c:xVal>
          <c:yVal>
            <c:numRef>
              <c:f>Sheet1!$B$43:$B$44</c:f>
              <c:numCache>
                <c:formatCode>General</c:formatCode>
                <c:ptCount val="2"/>
                <c:pt idx="0">
                  <c:v>0.0518768672560576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0</c:v>
                </c:pt>
                <c:pt idx="1">
                  <c:v>0.46575306157411017</c:v>
                </c:pt>
                <c:pt idx="2">
                  <c:v>0.8321742372211423</c:v>
                </c:pt>
                <c:pt idx="3">
                  <c:v>0.9675818540098144</c:v>
                </c:pt>
                <c:pt idx="4">
                  <c:v>0.42439574864361795</c:v>
                </c:pt>
                <c:pt idx="5">
                  <c:v>0.40800466835782084</c:v>
                </c:pt>
                <c:pt idx="6">
                  <c:v>0.4121048219694528</c:v>
                </c:pt>
                <c:pt idx="7">
                  <c:v>0.4876823150357995</c:v>
                </c:pt>
                <c:pt idx="8">
                  <c:v>0.5616799697602727</c:v>
                </c:pt>
                <c:pt idx="9">
                  <c:v>0.47130696074518674</c:v>
                </c:pt>
                <c:pt idx="10">
                  <c:v>0.40003188447233534</c:v>
                </c:pt>
                <c:pt idx="11">
                  <c:v>0.4438029934840727</c:v>
                </c:pt>
                <c:pt idx="12">
                  <c:v>0.3307365169754199</c:v>
                </c:pt>
                <c:pt idx="13">
                  <c:v>0.3033353007146848</c:v>
                </c:pt>
                <c:pt idx="14">
                  <c:v>0.36675716744885223</c:v>
                </c:pt>
                <c:pt idx="15">
                  <c:v>0.4627207637672357</c:v>
                </c:pt>
                <c:pt idx="16">
                  <c:v>0.37967311383024616</c:v>
                </c:pt>
                <c:pt idx="17">
                  <c:v>-0.23870601186408189</c:v>
                </c:pt>
                <c:pt idx="18">
                  <c:v>-0.23870601186408189</c:v>
                </c:pt>
                <c:pt idx="19">
                  <c:v>0.08581255897859745</c:v>
                </c:pt>
              </c:numCache>
            </c:numRef>
          </c:xVal>
          <c:yVal>
            <c:numRef>
              <c:f>Sheet1!$B$47:$B$66</c:f>
              <c:numCache>
                <c:formatCode>General</c:formatCode>
                <c:ptCount val="20"/>
                <c:pt idx="0">
                  <c:v>0.05421569409545277</c:v>
                </c:pt>
                <c:pt idx="1">
                  <c:v>0.0415215643094892</c:v>
                </c:pt>
                <c:pt idx="2">
                  <c:v>0.03153473149239852</c:v>
                </c:pt>
                <c:pt idx="3">
                  <c:v>0.027844188148004604</c:v>
                </c:pt>
                <c:pt idx="4">
                  <c:v>0.04264876054554624</c:v>
                </c:pt>
                <c:pt idx="5">
                  <c:v>0.04309550049777938</c:v>
                </c:pt>
                <c:pt idx="6">
                  <c:v>0.042983750546179415</c:v>
                </c:pt>
                <c:pt idx="7">
                  <c:v>0.04092388108952033</c:v>
                </c:pt>
                <c:pt idx="8">
                  <c:v>0.03890707022894391</c:v>
                </c:pt>
                <c:pt idx="9">
                  <c:v>0.04137019242873865</c:v>
                </c:pt>
                <c:pt idx="10">
                  <c:v>0.04331279923770766</c:v>
                </c:pt>
                <c:pt idx="11">
                  <c:v>0.04211981483349856</c:v>
                </c:pt>
                <c:pt idx="12">
                  <c:v>0.04520144895607761</c:v>
                </c:pt>
                <c:pt idx="13">
                  <c:v>0.04594827087568335</c:v>
                </c:pt>
                <c:pt idx="14">
                  <c:v>0.044219703800094726</c:v>
                </c:pt>
                <c:pt idx="15">
                  <c:v>0.0416042097821353</c:v>
                </c:pt>
                <c:pt idx="16">
                  <c:v>0.0438676788469579</c:v>
                </c:pt>
                <c:pt idx="17">
                  <c:v>0.0607216418718374</c:v>
                </c:pt>
                <c:pt idx="18">
                  <c:v>0.0607216418718374</c:v>
                </c:pt>
                <c:pt idx="19">
                  <c:v>0.0518768672560576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49557522123893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2.5666</c:v>
                </c:pt>
                <c:pt idx="1">
                  <c:v>872.0111</c:v>
                </c:pt>
                <c:pt idx="2">
                  <c:v>900.1709</c:v>
                </c:pt>
                <c:pt idx="3">
                  <c:v>925.0432</c:v>
                </c:pt>
                <c:pt idx="4">
                  <c:v>912.1921</c:v>
                </c:pt>
                <c:pt idx="5">
                  <c:v>901.0272</c:v>
                </c:pt>
                <c:pt idx="6">
                  <c:v>865.8392</c:v>
                </c:pt>
                <c:pt idx="7">
                  <c:v>870.6566</c:v>
                </c:pt>
                <c:pt idx="8">
                  <c:v>877.8398</c:v>
                </c:pt>
                <c:pt idx="9">
                  <c:v>847.7171</c:v>
                </c:pt>
                <c:pt idx="10">
                  <c:v>833.988</c:v>
                </c:pt>
                <c:pt idx="11">
                  <c:v>871.5871</c:v>
                </c:pt>
                <c:pt idx="12">
                  <c:v>871.9647</c:v>
                </c:pt>
                <c:pt idx="13">
                  <c:v>878.4732</c:v>
                </c:pt>
                <c:pt idx="14">
                  <c:v>903.0785</c:v>
                </c:pt>
                <c:pt idx="15">
                  <c:v>917.3083</c:v>
                </c:pt>
                <c:pt idx="16">
                  <c:v>938.2692</c:v>
                </c:pt>
                <c:pt idx="17">
                  <c:v>922.7628</c:v>
                </c:pt>
                <c:pt idx="18">
                  <c:v>979.7761</c:v>
                </c:pt>
                <c:pt idx="19">
                  <c:v>988.3479</c:v>
                </c:pt>
                <c:pt idx="20">
                  <c:v>1012.9016</c:v>
                </c:pt>
                <c:pt idx="21">
                  <c:v>1022.9061</c:v>
                </c:pt>
                <c:pt idx="22">
                  <c:v>998.707</c:v>
                </c:pt>
                <c:pt idx="23">
                  <c:v>1006.9474</c:v>
                </c:pt>
                <c:pt idx="24">
                  <c:v>1019.6003</c:v>
                </c:pt>
                <c:pt idx="25">
                  <c:v>1003.4215</c:v>
                </c:pt>
                <c:pt idx="26">
                  <c:v>986.5536</c:v>
                </c:pt>
                <c:pt idx="27">
                  <c:v>999.7904</c:v>
                </c:pt>
                <c:pt idx="28">
                  <c:v>1006.4917</c:v>
                </c:pt>
                <c:pt idx="29">
                  <c:v>993.4089</c:v>
                </c:pt>
                <c:pt idx="30">
                  <c:v>995.3143</c:v>
                </c:pt>
                <c:pt idx="31">
                  <c:v>981.2178</c:v>
                </c:pt>
                <c:pt idx="32">
                  <c:v>970.219</c:v>
                </c:pt>
                <c:pt idx="33">
                  <c:v>928.2519</c:v>
                </c:pt>
                <c:pt idx="34">
                  <c:v>940.4915</c:v>
                </c:pt>
                <c:pt idx="35">
                  <c:v>981.2692</c:v>
                </c:pt>
                <c:pt idx="36">
                  <c:v>1026.2341</c:v>
                </c:pt>
                <c:pt idx="37">
                  <c:v>1027.2868</c:v>
                </c:pt>
                <c:pt idx="38">
                  <c:v>1059.2012</c:v>
                </c:pt>
                <c:pt idx="39">
                  <c:v>1112.4994</c:v>
                </c:pt>
                <c:pt idx="40">
                  <c:v>1110.5343</c:v>
                </c:pt>
                <c:pt idx="41">
                  <c:v>1130.2013</c:v>
                </c:pt>
                <c:pt idx="42">
                  <c:v>1150.4098</c:v>
                </c:pt>
                <c:pt idx="43">
                  <c:v>1140.076</c:v>
                </c:pt>
                <c:pt idx="44">
                  <c:v>1111.1514</c:v>
                </c:pt>
                <c:pt idx="45">
                  <c:v>1077.0212</c:v>
                </c:pt>
                <c:pt idx="46">
                  <c:v>1061.1769</c:v>
                </c:pt>
                <c:pt idx="47">
                  <c:v>1045.8912</c:v>
                </c:pt>
                <c:pt idx="48">
                  <c:v>1043.8683</c:v>
                </c:pt>
                <c:pt idx="49">
                  <c:v>1001.6732</c:v>
                </c:pt>
                <c:pt idx="50">
                  <c:v>1006.6643</c:v>
                </c:pt>
                <c:pt idx="51">
                  <c:v>1007.4755</c:v>
                </c:pt>
                <c:pt idx="52">
                  <c:v>1022.2327</c:v>
                </c:pt>
                <c:pt idx="53">
                  <c:v>1115.2755</c:v>
                </c:pt>
                <c:pt idx="54">
                  <c:v>1104.3599</c:v>
                </c:pt>
                <c:pt idx="55">
                  <c:v>1123.1172</c:v>
                </c:pt>
                <c:pt idx="56">
                  <c:v>1121.0377</c:v>
                </c:pt>
                <c:pt idx="57">
                  <c:v>1098.7739</c:v>
                </c:pt>
                <c:pt idx="58">
                  <c:v>1083.7183</c:v>
                </c:pt>
                <c:pt idx="59">
                  <c:v>1072.0835</c:v>
                </c:pt>
                <c:pt idx="60">
                  <c:v>1087.6664</c:v>
                </c:pt>
                <c:pt idx="61">
                  <c:v>1099.122</c:v>
                </c:pt>
                <c:pt idx="62">
                  <c:v>1035.1867</c:v>
                </c:pt>
                <c:pt idx="63">
                  <c:v>1056.0471</c:v>
                </c:pt>
                <c:pt idx="64">
                  <c:v>1061.5768</c:v>
                </c:pt>
                <c:pt idx="65">
                  <c:v>1054.6548</c:v>
                </c:pt>
                <c:pt idx="66">
                  <c:v>1084.64</c:v>
                </c:pt>
                <c:pt idx="67">
                  <c:v>1105.461</c:v>
                </c:pt>
                <c:pt idx="68">
                  <c:v>1118.696</c:v>
                </c:pt>
                <c:pt idx="69">
                  <c:v>1149.0121</c:v>
                </c:pt>
                <c:pt idx="70">
                  <c:v>1139.1925</c:v>
                </c:pt>
                <c:pt idx="71">
                  <c:v>1186.6311</c:v>
                </c:pt>
                <c:pt idx="72">
                  <c:v>1254.1648</c:v>
                </c:pt>
                <c:pt idx="73">
                  <c:v>1235.9873</c:v>
                </c:pt>
                <c:pt idx="74">
                  <c:v>1231.8107</c:v>
                </c:pt>
                <c:pt idx="75">
                  <c:v>1199.4123</c:v>
                </c:pt>
                <c:pt idx="76">
                  <c:v>1167.563</c:v>
                </c:pt>
                <c:pt idx="77">
                  <c:v>1171.0387</c:v>
                </c:pt>
                <c:pt idx="78">
                  <c:v>1200.0509</c:v>
                </c:pt>
                <c:pt idx="79">
                  <c:v>1187.2492</c:v>
                </c:pt>
                <c:pt idx="80">
                  <c:v>1206.8508</c:v>
                </c:pt>
                <c:pt idx="81">
                  <c:v>1203.4817</c:v>
                </c:pt>
                <c:pt idx="82">
                  <c:v>1233.5346</c:v>
                </c:pt>
                <c:pt idx="83">
                  <c:v>1180.8858</c:v>
                </c:pt>
                <c:pt idx="84">
                  <c:v>1203.088</c:v>
                </c:pt>
                <c:pt idx="85">
                  <c:v>1186.1807</c:v>
                </c:pt>
                <c:pt idx="86">
                  <c:v>1179.256</c:v>
                </c:pt>
                <c:pt idx="87">
                  <c:v>1185.655</c:v>
                </c:pt>
                <c:pt idx="88">
                  <c:v>1225.303</c:v>
                </c:pt>
                <c:pt idx="89">
                  <c:v>1217.4435</c:v>
                </c:pt>
                <c:pt idx="90">
                  <c:v>1275.8005</c:v>
                </c:pt>
                <c:pt idx="91">
                  <c:v>1262.028</c:v>
                </c:pt>
                <c:pt idx="92">
                  <c:v>1217.7472</c:v>
                </c:pt>
                <c:pt idx="93">
                  <c:v>1247.006</c:v>
                </c:pt>
                <c:pt idx="94">
                  <c:v>1227.8971</c:v>
                </c:pt>
                <c:pt idx="95">
                  <c:v>1181.5481</c:v>
                </c:pt>
                <c:pt idx="96">
                  <c:v>1151.501</c:v>
                </c:pt>
                <c:pt idx="97">
                  <c:v>1146.4279</c:v>
                </c:pt>
                <c:pt idx="98">
                  <c:v>1128.289</c:v>
                </c:pt>
                <c:pt idx="99">
                  <c:v>1098.9471</c:v>
                </c:pt>
                <c:pt idx="100">
                  <c:v>1084.0729</c:v>
                </c:pt>
                <c:pt idx="101">
                  <c:v>1119.4264</c:v>
                </c:pt>
                <c:pt idx="102">
                  <c:v>1135.817</c:v>
                </c:pt>
                <c:pt idx="103">
                  <c:v>1118.4844</c:v>
                </c:pt>
                <c:pt idx="104">
                  <c:v>1151.7239</c:v>
                </c:pt>
              </c:numCache>
            </c:numRef>
          </c:xVal>
          <c:yVal>
            <c:numRef>
              <c:f>Sheet1!$B$2:$B$106</c:f>
              <c:numCache>
                <c:formatCode>General</c:formatCode>
                <c:ptCount val="105"/>
                <c:pt idx="0">
                  <c:v>0.2222146569528608</c:v>
                </c:pt>
                <c:pt idx="1">
                  <c:v>0.21436831795331712</c:v>
                </c:pt>
                <c:pt idx="2">
                  <c:v>0.21788056610286502</c:v>
                </c:pt>
                <c:pt idx="3">
                  <c:v>0.22284236976901517</c:v>
                </c:pt>
                <c:pt idx="4">
                  <c:v>0.23230982175644757</c:v>
                </c:pt>
                <c:pt idx="5">
                  <c:v>0.23256081761911618</c:v>
                </c:pt>
                <c:pt idx="6">
                  <c:v>0.2603693782602566</c:v>
                </c:pt>
                <c:pt idx="7">
                  <c:v>0.2640731387654637</c:v>
                </c:pt>
                <c:pt idx="8">
                  <c:v>0.25708272083389017</c:v>
                </c:pt>
                <c:pt idx="9">
                  <c:v>0.2529252451947096</c:v>
                </c:pt>
                <c:pt idx="10">
                  <c:v>0.24543585113852945</c:v>
                </c:pt>
                <c:pt idx="11">
                  <c:v>0.22978744913690702</c:v>
                </c:pt>
                <c:pt idx="12">
                  <c:v>0.2215695379614581</c:v>
                </c:pt>
                <c:pt idx="13">
                  <c:v>0.21050827538928607</c:v>
                </c:pt>
                <c:pt idx="14">
                  <c:v>0.19294339713960748</c:v>
                </c:pt>
                <c:pt idx="15">
                  <c:v>0.19069216547261383</c:v>
                </c:pt>
                <c:pt idx="16">
                  <c:v>0.1803606557377049</c:v>
                </c:pt>
                <c:pt idx="17">
                  <c:v>0.1780209562636341</c:v>
                </c:pt>
                <c:pt idx="18">
                  <c:v>0.16206610591162185</c:v>
                </c:pt>
                <c:pt idx="19">
                  <c:v>0.16453110492107706</c:v>
                </c:pt>
                <c:pt idx="20">
                  <c:v>0.17074384594770492</c:v>
                </c:pt>
                <c:pt idx="21">
                  <c:v>0.16795410398879704</c:v>
                </c:pt>
                <c:pt idx="22">
                  <c:v>0.1887250326675378</c:v>
                </c:pt>
                <c:pt idx="23">
                  <c:v>0.19064005505849965</c:v>
                </c:pt>
                <c:pt idx="24">
                  <c:v>0.19543311454192475</c:v>
                </c:pt>
                <c:pt idx="25">
                  <c:v>0.1965275598786738</c:v>
                </c:pt>
                <c:pt idx="26">
                  <c:v>0.2142091277795907</c:v>
                </c:pt>
                <c:pt idx="27">
                  <c:v>0.21903288905063004</c:v>
                </c:pt>
                <c:pt idx="28">
                  <c:v>0.21609717650331495</c:v>
                </c:pt>
                <c:pt idx="29">
                  <c:v>0.21403309077604782</c:v>
                </c:pt>
                <c:pt idx="30">
                  <c:v>0.21525529915422367</c:v>
                </c:pt>
                <c:pt idx="31">
                  <c:v>0.21580469979190986</c:v>
                </c:pt>
                <c:pt idx="32">
                  <c:v>0.22579515903180636</c:v>
                </c:pt>
                <c:pt idx="33">
                  <c:v>0.2243625609463672</c:v>
                </c:pt>
                <c:pt idx="34">
                  <c:v>0.22853110411464553</c:v>
                </c:pt>
                <c:pt idx="35">
                  <c:v>0.24465431218816822</c:v>
                </c:pt>
                <c:pt idx="36">
                  <c:v>0.21023367645953867</c:v>
                </c:pt>
                <c:pt idx="37">
                  <c:v>0.21509433962264152</c:v>
                </c:pt>
                <c:pt idx="38">
                  <c:v>0.2002953183357943</c:v>
                </c:pt>
                <c:pt idx="39">
                  <c:v>0.18644224973338897</c:v>
                </c:pt>
                <c:pt idx="40">
                  <c:v>0.1933965902954563</c:v>
                </c:pt>
                <c:pt idx="41">
                  <c:v>0.1845035313668467</c:v>
                </c:pt>
                <c:pt idx="42">
                  <c:v>0.1825368689733409</c:v>
                </c:pt>
                <c:pt idx="43">
                  <c:v>0.18491152406925856</c:v>
                </c:pt>
                <c:pt idx="44">
                  <c:v>0.179719027169339</c:v>
                </c:pt>
                <c:pt idx="45">
                  <c:v>0.19425275927214875</c:v>
                </c:pt>
                <c:pt idx="46">
                  <c:v>0.20227789562193046</c:v>
                </c:pt>
                <c:pt idx="47">
                  <c:v>0.19447760619247506</c:v>
                </c:pt>
                <c:pt idx="48">
                  <c:v>0.1946365151844604</c:v>
                </c:pt>
                <c:pt idx="49">
                  <c:v>0.2024177181681814</c:v>
                </c:pt>
                <c:pt idx="50">
                  <c:v>0.19343004525223934</c:v>
                </c:pt>
                <c:pt idx="51">
                  <c:v>0.1905886056027699</c:v>
                </c:pt>
                <c:pt idx="52">
                  <c:v>0.19163722255841645</c:v>
                </c:pt>
                <c:pt idx="53">
                  <c:v>0.1821459475050476</c:v>
                </c:pt>
                <c:pt idx="54">
                  <c:v>0.18893706477466823</c:v>
                </c:pt>
                <c:pt idx="55">
                  <c:v>0.18618821936357483</c:v>
                </c:pt>
                <c:pt idx="56">
                  <c:v>0.1827687615728134</c:v>
                </c:pt>
                <c:pt idx="57">
                  <c:v>0.17984808924756707</c:v>
                </c:pt>
                <c:pt idx="58">
                  <c:v>0.19077375079479927</c:v>
                </c:pt>
                <c:pt idx="59">
                  <c:v>0.18824739239018656</c:v>
                </c:pt>
                <c:pt idx="60">
                  <c:v>0.1917924831352393</c:v>
                </c:pt>
                <c:pt idx="61">
                  <c:v>0.18711292376081656</c:v>
                </c:pt>
                <c:pt idx="62">
                  <c:v>0.19957863689034025</c:v>
                </c:pt>
                <c:pt idx="63">
                  <c:v>0.2039075557604749</c:v>
                </c:pt>
                <c:pt idx="64">
                  <c:v>0.1943246991790681</c:v>
                </c:pt>
                <c:pt idx="65">
                  <c:v>0.19147112834115487</c:v>
                </c:pt>
                <c:pt idx="66">
                  <c:v>0.18685303480699092</c:v>
                </c:pt>
                <c:pt idx="67">
                  <c:v>0.1743600914933014</c:v>
                </c:pt>
                <c:pt idx="68">
                  <c:v>0.16798753104031278</c:v>
                </c:pt>
                <c:pt idx="69">
                  <c:v>0.1637571027589512</c:v>
                </c:pt>
                <c:pt idx="70">
                  <c:v>0.16157501697216564</c:v>
                </c:pt>
                <c:pt idx="71">
                  <c:v>0.15957227341493604</c:v>
                </c:pt>
                <c:pt idx="72">
                  <c:v>0.16045343380263072</c:v>
                </c:pt>
                <c:pt idx="73">
                  <c:v>0.16063700882811147</c:v>
                </c:pt>
                <c:pt idx="74">
                  <c:v>0.16004937942079275</c:v>
                </c:pt>
                <c:pt idx="75">
                  <c:v>0.1704176288700145</c:v>
                </c:pt>
                <c:pt idx="76">
                  <c:v>0.17403464829889376</c:v>
                </c:pt>
                <c:pt idx="77">
                  <c:v>0.16306754103838603</c:v>
                </c:pt>
                <c:pt idx="78">
                  <c:v>0.17122101414413549</c:v>
                </c:pt>
                <c:pt idx="79">
                  <c:v>0.16867216425445977</c:v>
                </c:pt>
                <c:pt idx="80">
                  <c:v>0.15128412624047022</c:v>
                </c:pt>
                <c:pt idx="81">
                  <c:v>0.15918572867213351</c:v>
                </c:pt>
                <c:pt idx="82">
                  <c:v>0.1604518736223365</c:v>
                </c:pt>
                <c:pt idx="83">
                  <c:v>0.15352127547249497</c:v>
                </c:pt>
                <c:pt idx="84">
                  <c:v>0.1606915980776667</c:v>
                </c:pt>
                <c:pt idx="85">
                  <c:v>0.16671613733056298</c:v>
                </c:pt>
                <c:pt idx="86">
                  <c:v>0.1759307231144993</c:v>
                </c:pt>
                <c:pt idx="87">
                  <c:v>0.19704711230134958</c:v>
                </c:pt>
                <c:pt idx="88">
                  <c:v>0.18048567053161235</c:v>
                </c:pt>
                <c:pt idx="89">
                  <c:v>0.17244673736505206</c:v>
                </c:pt>
                <c:pt idx="90">
                  <c:v>0.1624969158647915</c:v>
                </c:pt>
                <c:pt idx="91">
                  <c:v>0.1546732452057345</c:v>
                </c:pt>
                <c:pt idx="92">
                  <c:v>0.17381197362905376</c:v>
                </c:pt>
                <c:pt idx="93">
                  <c:v>0.16256891670391893</c:v>
                </c:pt>
                <c:pt idx="94">
                  <c:v>0.16598507525612377</c:v>
                </c:pt>
                <c:pt idx="95">
                  <c:v>0.17649211625850134</c:v>
                </c:pt>
                <c:pt idx="96">
                  <c:v>0.17222309294046526</c:v>
                </c:pt>
                <c:pt idx="97">
                  <c:v>0.17688563038294014</c:v>
                </c:pt>
                <c:pt idx="98">
                  <c:v>0.184845203101095</c:v>
                </c:pt>
                <c:pt idx="99">
                  <c:v>0.1852970193428802</c:v>
                </c:pt>
                <c:pt idx="100">
                  <c:v>0.18696157822191592</c:v>
                </c:pt>
                <c:pt idx="101">
                  <c:v>0.17836053875657837</c:v>
                </c:pt>
                <c:pt idx="102">
                  <c:v>0.16761097479366496</c:v>
                </c:pt>
                <c:pt idx="103">
                  <c:v>0.16980733033013978</c:v>
                </c:pt>
                <c:pt idx="104">
                  <c:v>0.1651442481502012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87.3113</c:v>
                </c:pt>
                <c:pt idx="1">
                  <c:v>1205.9892</c:v>
                </c:pt>
                <c:pt idx="2">
                  <c:v>1198.2105</c:v>
                </c:pt>
                <c:pt idx="3">
                  <c:v>1171.3652</c:v>
                </c:pt>
                <c:pt idx="4">
                  <c:v>1182.2029</c:v>
                </c:pt>
                <c:pt idx="5">
                  <c:v>1187.2975</c:v>
                </c:pt>
                <c:pt idx="6">
                  <c:v>1118.0794</c:v>
                </c:pt>
                <c:pt idx="7">
                  <c:v>1139.9863</c:v>
                </c:pt>
                <c:pt idx="8">
                  <c:v>1185.7356</c:v>
                </c:pt>
                <c:pt idx="9">
                  <c:v>1126.6432</c:v>
                </c:pt>
                <c:pt idx="10">
                  <c:v>1147.6971</c:v>
                </c:pt>
                <c:pt idx="11">
                  <c:v>1070.2266</c:v>
                </c:pt>
                <c:pt idx="12">
                  <c:v>1103.7668</c:v>
                </c:pt>
                <c:pt idx="13">
                  <c:v>1128.5695</c:v>
                </c:pt>
                <c:pt idx="14">
                  <c:v>1134.3797</c:v>
                </c:pt>
                <c:pt idx="15">
                  <c:v>1149.4107</c:v>
                </c:pt>
                <c:pt idx="16">
                  <c:v>1191.8027</c:v>
                </c:pt>
                <c:pt idx="17">
                  <c:v>1155.8286</c:v>
                </c:pt>
                <c:pt idx="18">
                  <c:v>1166.5389</c:v>
                </c:pt>
                <c:pt idx="19">
                  <c:v>1241.8705</c:v>
                </c:pt>
                <c:pt idx="20">
                  <c:v>1234.2292</c:v>
                </c:pt>
                <c:pt idx="21">
                  <c:v>1089.6954</c:v>
                </c:pt>
                <c:pt idx="22">
                  <c:v>1203.3258</c:v>
                </c:pt>
                <c:pt idx="23">
                  <c:v>1198.4213</c:v>
                </c:pt>
                <c:pt idx="24">
                  <c:v>1176.2103</c:v>
                </c:pt>
                <c:pt idx="25">
                  <c:v>1176.0433</c:v>
                </c:pt>
                <c:pt idx="26">
                  <c:v>1192.2911</c:v>
                </c:pt>
                <c:pt idx="27">
                  <c:v>1191.1064</c:v>
                </c:pt>
                <c:pt idx="28">
                  <c:v>1237.1884</c:v>
                </c:pt>
                <c:pt idx="29">
                  <c:v>1238.2347</c:v>
                </c:pt>
                <c:pt idx="30">
                  <c:v>1235.1392</c:v>
                </c:pt>
                <c:pt idx="31">
                  <c:v>1220.5075</c:v>
                </c:pt>
                <c:pt idx="32">
                  <c:v>1240.6515</c:v>
                </c:pt>
                <c:pt idx="33">
                  <c:v>1237.6143</c:v>
                </c:pt>
                <c:pt idx="34">
                  <c:v>1245.0728</c:v>
                </c:pt>
                <c:pt idx="35">
                  <c:v>1266.4226</c:v>
                </c:pt>
                <c:pt idx="36">
                  <c:v>1274.9988</c:v>
                </c:pt>
                <c:pt idx="37">
                  <c:v>1267.3615</c:v>
                </c:pt>
                <c:pt idx="38">
                  <c:v>1270.0503</c:v>
                </c:pt>
                <c:pt idx="39">
                  <c:v>1238.4698</c:v>
                </c:pt>
                <c:pt idx="40">
                  <c:v>1266.1894</c:v>
                </c:pt>
                <c:pt idx="41">
                  <c:v>1289.9675</c:v>
                </c:pt>
                <c:pt idx="42">
                  <c:v>1282.2537</c:v>
                </c:pt>
                <c:pt idx="43">
                  <c:v>1291.4705</c:v>
                </c:pt>
                <c:pt idx="44">
                  <c:v>1219.8948</c:v>
                </c:pt>
                <c:pt idx="45">
                  <c:v>1184.8793</c:v>
                </c:pt>
                <c:pt idx="46">
                  <c:v>1182.9872</c:v>
                </c:pt>
                <c:pt idx="47">
                  <c:v>1162.7617</c:v>
                </c:pt>
                <c:pt idx="48">
                  <c:v>1147.8243</c:v>
                </c:pt>
                <c:pt idx="49">
                  <c:v>1156.9224</c:v>
                </c:pt>
                <c:pt idx="50">
                  <c:v>1116.4614</c:v>
                </c:pt>
                <c:pt idx="51">
                  <c:v>1094.5253</c:v>
                </c:pt>
              </c:numCache>
            </c:numRef>
          </c:xVal>
          <c:yVal>
            <c:numRef>
              <c:f>Sheet1!$B$109:$B$160</c:f>
              <c:numCache>
                <c:formatCode>General</c:formatCode>
                <c:ptCount val="52"/>
                <c:pt idx="0">
                  <c:v>0.17802097185585664</c:v>
                </c:pt>
                <c:pt idx="1">
                  <c:v>0.17260350615442</c:v>
                </c:pt>
                <c:pt idx="2">
                  <c:v>0.1908182123655914</c:v>
                </c:pt>
                <c:pt idx="3">
                  <c:v>0.2053767718431356</c:v>
                </c:pt>
                <c:pt idx="4">
                  <c:v>0.1903469538408094</c:v>
                </c:pt>
                <c:pt idx="5">
                  <c:v>0.18622834490461904</c:v>
                </c:pt>
                <c:pt idx="6">
                  <c:v>0.1955257649123549</c:v>
                </c:pt>
                <c:pt idx="7">
                  <c:v>0.19260207710911936</c:v>
                </c:pt>
                <c:pt idx="8">
                  <c:v>0.18238248229826257</c:v>
                </c:pt>
                <c:pt idx="9">
                  <c:v>0.18989008472635677</c:v>
                </c:pt>
                <c:pt idx="10">
                  <c:v>0.19436705194339465</c:v>
                </c:pt>
                <c:pt idx="11">
                  <c:v>0.1953908232455593</c:v>
                </c:pt>
                <c:pt idx="12">
                  <c:v>0.19392331353166312</c:v>
                </c:pt>
                <c:pt idx="13">
                  <c:v>0.19547250296904917</c:v>
                </c:pt>
                <c:pt idx="14">
                  <c:v>0.19394758459866973</c:v>
                </c:pt>
                <c:pt idx="15">
                  <c:v>0.186550055192324</c:v>
                </c:pt>
                <c:pt idx="16">
                  <c:v>0.17574328415283133</c:v>
                </c:pt>
                <c:pt idx="17">
                  <c:v>0.17712701203841472</c:v>
                </c:pt>
                <c:pt idx="18">
                  <c:v>0.17935530898193894</c:v>
                </c:pt>
                <c:pt idx="19">
                  <c:v>0.18094147206621342</c:v>
                </c:pt>
                <c:pt idx="20">
                  <c:v>0.16802036610498242</c:v>
                </c:pt>
                <c:pt idx="21">
                  <c:v>0.18832418904610645</c:v>
                </c:pt>
                <c:pt idx="22">
                  <c:v>0.16631099039674072</c:v>
                </c:pt>
                <c:pt idx="23">
                  <c:v>0.1754661532225375</c:v>
                </c:pt>
                <c:pt idx="24">
                  <c:v>0.1894596397598399</c:v>
                </c:pt>
                <c:pt idx="25">
                  <c:v>0.1797612506867789</c:v>
                </c:pt>
                <c:pt idx="26">
                  <c:v>0.17359107520677053</c:v>
                </c:pt>
                <c:pt idx="27">
                  <c:v>0.17504155478839023</c:v>
                </c:pt>
                <c:pt idx="28">
                  <c:v>0.1650057115846693</c:v>
                </c:pt>
                <c:pt idx="29">
                  <c:v>0.16573712585982525</c:v>
                </c:pt>
                <c:pt idx="30">
                  <c:v>0.1741023903996903</c:v>
                </c:pt>
                <c:pt idx="31">
                  <c:v>0.16851621285118823</c:v>
                </c:pt>
                <c:pt idx="32">
                  <c:v>0.1653202538949798</c:v>
                </c:pt>
                <c:pt idx="33">
                  <c:v>0.18113479147506897</c:v>
                </c:pt>
                <c:pt idx="34">
                  <c:v>0.20092111034525972</c:v>
                </c:pt>
                <c:pt idx="35">
                  <c:v>0.19210507060803395</c:v>
                </c:pt>
                <c:pt idx="36">
                  <c:v>0.17825081976025373</c:v>
                </c:pt>
                <c:pt idx="37">
                  <c:v>0.16967456340905773</c:v>
                </c:pt>
                <c:pt idx="38">
                  <c:v>0.16960600375234522</c:v>
                </c:pt>
                <c:pt idx="39">
                  <c:v>0.18535355622597843</c:v>
                </c:pt>
                <c:pt idx="40">
                  <c:v>0.17469904101203837</c:v>
                </c:pt>
                <c:pt idx="41">
                  <c:v>0.1779274968418635</c:v>
                </c:pt>
                <c:pt idx="42">
                  <c:v>0.17411245116358076</c:v>
                </c:pt>
                <c:pt idx="43">
                  <c:v>0.17360419144354086</c:v>
                </c:pt>
                <c:pt idx="44">
                  <c:v>0.1737144383598237</c:v>
                </c:pt>
                <c:pt idx="45">
                  <c:v>0.19012611441684774</c:v>
                </c:pt>
                <c:pt idx="46">
                  <c:v>0.19959677419354838</c:v>
                </c:pt>
                <c:pt idx="47">
                  <c:v>0.19990393632350587</c:v>
                </c:pt>
                <c:pt idx="48">
                  <c:v>0.19524801357710406</c:v>
                </c:pt>
                <c:pt idx="49">
                  <c:v>0.20261610043016418</c:v>
                </c:pt>
                <c:pt idx="50">
                  <c:v>0.21060356975105685</c:v>
                </c:pt>
                <c:pt idx="51">
                  <c:v>0.1990467903334256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01.5548035807337</c:v>
                </c:pt>
              </c:numCache>
            </c:numRef>
          </c:xVal>
          <c:yVal>
            <c:numRef>
              <c:f>Sheet1!$B$163:$B$164</c:f>
              <c:numCache>
                <c:formatCode>General</c:formatCode>
                <c:ptCount val="2"/>
                <c:pt idx="0">
                  <c:v>0.23596686533480357</c:v>
                </c:pt>
                <c:pt idx="1">
                  <c:v>0.2359668653348035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01.5548035807337</c:v>
                </c:pt>
                <c:pt idx="1">
                  <c:v>801.5548035807337</c:v>
                </c:pt>
              </c:numCache>
            </c:numRef>
          </c:xVal>
          <c:yVal>
            <c:numRef>
              <c:f>Sheet1!$B$167:$B$168</c:f>
              <c:numCache>
                <c:formatCode>General</c:formatCode>
                <c:ptCount val="2"/>
                <c:pt idx="0">
                  <c:v>0.2359668653348035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57.3489651372704</c:v>
                </c:pt>
              </c:numCache>
            </c:numRef>
          </c:xVal>
          <c:yVal>
            <c:numRef>
              <c:f>Sheet1!$B$171:$B$172</c:f>
              <c:numCache>
                <c:formatCode>General</c:formatCode>
                <c:ptCount val="2"/>
                <c:pt idx="0">
                  <c:v>0.20187861852293768</c:v>
                </c:pt>
                <c:pt idx="1">
                  <c:v>0.2018786185229376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57.3489651372704</c:v>
                </c:pt>
                <c:pt idx="1">
                  <c:v>1057.3489651372704</c:v>
                </c:pt>
              </c:numCache>
            </c:numRef>
          </c:xVal>
          <c:yVal>
            <c:numRef>
              <c:f>Sheet1!$B$175:$B$176</c:f>
              <c:numCache>
                <c:formatCode>General</c:formatCode>
                <c:ptCount val="2"/>
                <c:pt idx="0">
                  <c:v>0.2018786185229376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4.2469129130268</c:v>
                </c:pt>
              </c:numCache>
            </c:numRef>
          </c:xVal>
          <c:yVal>
            <c:numRef>
              <c:f>Sheet1!$B$179:$B$180</c:f>
              <c:numCache>
                <c:formatCode>General</c:formatCode>
                <c:ptCount val="2"/>
                <c:pt idx="0">
                  <c:v>0.18896557492865215</c:v>
                </c:pt>
                <c:pt idx="1">
                  <c:v>0.1889655749286521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4.2469129130268</c:v>
                </c:pt>
                <c:pt idx="1">
                  <c:v>1154.2469129130268</c:v>
                </c:pt>
              </c:numCache>
            </c:numRef>
          </c:xVal>
          <c:yVal>
            <c:numRef>
              <c:f>Sheet1!$B$183:$B$184</c:f>
              <c:numCache>
                <c:formatCode>General</c:formatCode>
                <c:ptCount val="2"/>
                <c:pt idx="0">
                  <c:v>0.188965574928652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87.3113</c:v>
                </c:pt>
                <c:pt idx="1">
                  <c:v>1205.9892</c:v>
                </c:pt>
                <c:pt idx="2">
                  <c:v>1198.2105</c:v>
                </c:pt>
                <c:pt idx="3">
                  <c:v>1171.3652</c:v>
                </c:pt>
                <c:pt idx="4">
                  <c:v>1182.2029</c:v>
                </c:pt>
                <c:pt idx="5">
                  <c:v>1187.2975</c:v>
                </c:pt>
                <c:pt idx="6">
                  <c:v>1118.0794</c:v>
                </c:pt>
                <c:pt idx="7">
                  <c:v>1139.9863</c:v>
                </c:pt>
                <c:pt idx="8">
                  <c:v>1185.7356</c:v>
                </c:pt>
                <c:pt idx="9">
                  <c:v>1126.6432</c:v>
                </c:pt>
                <c:pt idx="10">
                  <c:v>1147.6971</c:v>
                </c:pt>
                <c:pt idx="11">
                  <c:v>1070.2266</c:v>
                </c:pt>
                <c:pt idx="12">
                  <c:v>1103.7668</c:v>
                </c:pt>
                <c:pt idx="13">
                  <c:v>1128.5695</c:v>
                </c:pt>
                <c:pt idx="14">
                  <c:v>1134.3797</c:v>
                </c:pt>
                <c:pt idx="15">
                  <c:v>1149.4107</c:v>
                </c:pt>
                <c:pt idx="16">
                  <c:v>1191.8027</c:v>
                </c:pt>
                <c:pt idx="17">
                  <c:v>1155.8286</c:v>
                </c:pt>
                <c:pt idx="18">
                  <c:v>1166.5389</c:v>
                </c:pt>
                <c:pt idx="19">
                  <c:v>1241.8705</c:v>
                </c:pt>
                <c:pt idx="20">
                  <c:v>1234.2292</c:v>
                </c:pt>
                <c:pt idx="21">
                  <c:v>1089.6954</c:v>
                </c:pt>
                <c:pt idx="22">
                  <c:v>1203.3258</c:v>
                </c:pt>
                <c:pt idx="23">
                  <c:v>1198.4213</c:v>
                </c:pt>
                <c:pt idx="24">
                  <c:v>1176.2103</c:v>
                </c:pt>
                <c:pt idx="25">
                  <c:v>1176.0433</c:v>
                </c:pt>
                <c:pt idx="26">
                  <c:v>1192.2911</c:v>
                </c:pt>
                <c:pt idx="27">
                  <c:v>1191.1064</c:v>
                </c:pt>
                <c:pt idx="28">
                  <c:v>1237.1884</c:v>
                </c:pt>
                <c:pt idx="29">
                  <c:v>1238.2347</c:v>
                </c:pt>
                <c:pt idx="30">
                  <c:v>1235.1392</c:v>
                </c:pt>
                <c:pt idx="31">
                  <c:v>1220.5075</c:v>
                </c:pt>
                <c:pt idx="32">
                  <c:v>1240.6515</c:v>
                </c:pt>
                <c:pt idx="33">
                  <c:v>1237.6143</c:v>
                </c:pt>
                <c:pt idx="34">
                  <c:v>1245.0728</c:v>
                </c:pt>
                <c:pt idx="35">
                  <c:v>1266.4226</c:v>
                </c:pt>
                <c:pt idx="36">
                  <c:v>1274.9988</c:v>
                </c:pt>
                <c:pt idx="37">
                  <c:v>1267.3615</c:v>
                </c:pt>
                <c:pt idx="38">
                  <c:v>1270.0503</c:v>
                </c:pt>
                <c:pt idx="39">
                  <c:v>1238.4698</c:v>
                </c:pt>
                <c:pt idx="40">
                  <c:v>1266.1894</c:v>
                </c:pt>
                <c:pt idx="41">
                  <c:v>1289.9675</c:v>
                </c:pt>
                <c:pt idx="42">
                  <c:v>1282.2537</c:v>
                </c:pt>
                <c:pt idx="43">
                  <c:v>1291.4705</c:v>
                </c:pt>
                <c:pt idx="44">
                  <c:v>1219.8948</c:v>
                </c:pt>
                <c:pt idx="45">
                  <c:v>1184.8793</c:v>
                </c:pt>
                <c:pt idx="46">
                  <c:v>1182.9872</c:v>
                </c:pt>
                <c:pt idx="47">
                  <c:v>1162.7617</c:v>
                </c:pt>
                <c:pt idx="48">
                  <c:v>1147.8243</c:v>
                </c:pt>
                <c:pt idx="49">
                  <c:v>1156.9224</c:v>
                </c:pt>
                <c:pt idx="50">
                  <c:v>1116.4614</c:v>
                </c:pt>
                <c:pt idx="51">
                  <c:v>1094.5253</c:v>
                </c:pt>
                <c:pt idx="52">
                  <c:v>1057.3489651372704</c:v>
                </c:pt>
                <c:pt idx="53">
                  <c:v>801.5548035807337</c:v>
                </c:pt>
                <c:pt idx="54">
                  <c:v>1154.2469129130268</c:v>
                </c:pt>
              </c:numCache>
            </c:numRef>
          </c:xVal>
          <c:yVal>
            <c:numRef>
              <c:f>Sheet1!$B$187:$B$241</c:f>
              <c:numCache>
                <c:formatCode>General</c:formatCode>
                <c:ptCount val="55"/>
                <c:pt idx="0">
                  <c:v>0.18455927034044248</c:v>
                </c:pt>
                <c:pt idx="1">
                  <c:v>0.18207017183540633</c:v>
                </c:pt>
                <c:pt idx="2">
                  <c:v>0.18310679536059518</c:v>
                </c:pt>
                <c:pt idx="3">
                  <c:v>0.18668431724995355</c:v>
                </c:pt>
                <c:pt idx="4">
                  <c:v>0.18524003802862618</c:v>
                </c:pt>
                <c:pt idx="5">
                  <c:v>0.18456110938869574</c:v>
                </c:pt>
                <c:pt idx="6">
                  <c:v>0.19378541561324145</c:v>
                </c:pt>
                <c:pt idx="7">
                  <c:v>0.19086600646981652</c:v>
                </c:pt>
                <c:pt idx="8">
                  <c:v>0.18476925500222915</c:v>
                </c:pt>
                <c:pt idx="9">
                  <c:v>0.19264416623416625</c:v>
                </c:pt>
                <c:pt idx="10">
                  <c:v>0.18983843159509117</c:v>
                </c:pt>
                <c:pt idx="11">
                  <c:v>0.20016248867508427</c:v>
                </c:pt>
                <c:pt idx="12">
                  <c:v>0.19569277518060074</c:v>
                </c:pt>
                <c:pt idx="13">
                  <c:v>0.19238745908559757</c:v>
                </c:pt>
                <c:pt idx="14">
                  <c:v>0.19161316646523013</c:v>
                </c:pt>
                <c:pt idx="15">
                  <c:v>0.18961006977720857</c:v>
                </c:pt>
                <c:pt idx="16">
                  <c:v>0.1839607267661906</c:v>
                </c:pt>
                <c:pt idx="17">
                  <c:v>0.18875479240151471</c:v>
                </c:pt>
                <c:pt idx="18">
                  <c:v>0.18732749106043844</c:v>
                </c:pt>
                <c:pt idx="19">
                  <c:v>0.1772884731332635</c:v>
                </c:pt>
                <c:pt idx="20">
                  <c:v>0.17830678613453949</c:v>
                </c:pt>
                <c:pt idx="21">
                  <c:v>0.19756799138283793</c:v>
                </c:pt>
                <c:pt idx="22">
                  <c:v>0.18242510814828483</c:v>
                </c:pt>
                <c:pt idx="23">
                  <c:v>0.18307870323220485</c:v>
                </c:pt>
                <c:pt idx="24">
                  <c:v>0.1860386380693845</c:v>
                </c:pt>
                <c:pt idx="25">
                  <c:v>0.18606089321853622</c:v>
                </c:pt>
                <c:pt idx="26">
                  <c:v>0.18389564044974926</c:v>
                </c:pt>
                <c:pt idx="27">
                  <c:v>0.18405351874436035</c:v>
                </c:pt>
                <c:pt idx="28">
                  <c:v>0.17791243022214553</c:v>
                </c:pt>
                <c:pt idx="29">
                  <c:v>0.1777729957158135</c:v>
                </c:pt>
                <c:pt idx="30">
                  <c:v>0.1781855155613175</c:v>
                </c:pt>
                <c:pt idx="31">
                  <c:v>0.18013539978792423</c:v>
                </c:pt>
                <c:pt idx="32">
                  <c:v>0.1774509223956345</c:v>
                </c:pt>
                <c:pt idx="33">
                  <c:v>0.17785567292859034</c:v>
                </c:pt>
                <c:pt idx="34">
                  <c:v>0.17686172065345168</c:v>
                </c:pt>
                <c:pt idx="35">
                  <c:v>0.1740165530884245</c:v>
                </c:pt>
                <c:pt idx="36">
                  <c:v>0.1728736512312087</c:v>
                </c:pt>
                <c:pt idx="37">
                  <c:v>0.17389143117502</c:v>
                </c:pt>
                <c:pt idx="38">
                  <c:v>0.17353310994724055</c:v>
                </c:pt>
                <c:pt idx="39">
                  <c:v>0.17774166526332502</c:v>
                </c:pt>
                <c:pt idx="40">
                  <c:v>0.17404763033861725</c:v>
                </c:pt>
                <c:pt idx="41">
                  <c:v>0.17087885691320004</c:v>
                </c:pt>
                <c:pt idx="42">
                  <c:v>0.17190683158102393</c:v>
                </c:pt>
                <c:pt idx="43">
                  <c:v>0.1706785605708345</c:v>
                </c:pt>
                <c:pt idx="44">
                  <c:v>0.18021705086508147</c:v>
                </c:pt>
                <c:pt idx="45">
                  <c:v>0.18488336927898738</c:v>
                </c:pt>
                <c:pt idx="46">
                  <c:v>0.18513551878623277</c:v>
                </c:pt>
                <c:pt idx="47">
                  <c:v>0.18783085722436602</c:v>
                </c:pt>
                <c:pt idx="48">
                  <c:v>0.18982148036771332</c:v>
                </c:pt>
                <c:pt idx="49">
                  <c:v>0.18860902783778924</c:v>
                </c:pt>
                <c:pt idx="50">
                  <c:v>0.19400103735771748</c:v>
                </c:pt>
                <c:pt idx="51">
                  <c:v>0.1969243378206348</c:v>
                </c:pt>
                <c:pt idx="52">
                  <c:v>0.20187861852293768</c:v>
                </c:pt>
                <c:pt idx="53">
                  <c:v>0.23596686533480357</c:v>
                </c:pt>
                <c:pt idx="54">
                  <c:v>0.188965574928652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50.0"/>
          <c:min val="64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8877665185564"/>
          <c:min val="0.1210273009923761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82.0378</c:v>
                </c:pt>
                <c:pt idx="1">
                  <c:v>927.6933</c:v>
                </c:pt>
                <c:pt idx="2">
                  <c:v>941.5266</c:v>
                </c:pt>
                <c:pt idx="3">
                  <c:v>948.004</c:v>
                </c:pt>
                <c:pt idx="4">
                  <c:v>913.6714</c:v>
                </c:pt>
                <c:pt idx="5">
                  <c:v>895.0646</c:v>
                </c:pt>
                <c:pt idx="6">
                  <c:v>894.7375</c:v>
                </c:pt>
                <c:pt idx="7">
                  <c:v>888.0266</c:v>
                </c:pt>
                <c:pt idx="8">
                  <c:v>893.3369</c:v>
                </c:pt>
                <c:pt idx="9">
                  <c:v>845.0579</c:v>
                </c:pt>
                <c:pt idx="10">
                  <c:v>807.3767</c:v>
                </c:pt>
                <c:pt idx="11">
                  <c:v>797.7624</c:v>
                </c:pt>
                <c:pt idx="12">
                  <c:v>816.9945</c:v>
                </c:pt>
                <c:pt idx="13">
                  <c:v>805.4152</c:v>
                </c:pt>
                <c:pt idx="14">
                  <c:v>933.3739</c:v>
                </c:pt>
                <c:pt idx="15">
                  <c:v>946.1685</c:v>
                </c:pt>
                <c:pt idx="16">
                  <c:v>944.0241</c:v>
                </c:pt>
                <c:pt idx="17">
                  <c:v>954.6969</c:v>
                </c:pt>
                <c:pt idx="18">
                  <c:v>983.6931</c:v>
                </c:pt>
                <c:pt idx="19">
                  <c:v>987.9647</c:v>
                </c:pt>
                <c:pt idx="20">
                  <c:v>998.0991</c:v>
                </c:pt>
                <c:pt idx="21">
                  <c:v>1004.0141</c:v>
                </c:pt>
                <c:pt idx="22">
                  <c:v>1016.0922</c:v>
                </c:pt>
                <c:pt idx="23">
                  <c:v>1025.019</c:v>
                </c:pt>
                <c:pt idx="24">
                  <c:v>1028.2318</c:v>
                </c:pt>
                <c:pt idx="25">
                  <c:v>1020.0103</c:v>
                </c:pt>
                <c:pt idx="26">
                  <c:v>1024.9627</c:v>
                </c:pt>
                <c:pt idx="27">
                  <c:v>1027.5</c:v>
                </c:pt>
                <c:pt idx="28">
                  <c:v>1031.9043</c:v>
                </c:pt>
                <c:pt idx="29">
                  <c:v>1058.1382</c:v>
                </c:pt>
                <c:pt idx="30">
                  <c:v>1054.2462</c:v>
                </c:pt>
                <c:pt idx="31">
                  <c:v>1054.9671</c:v>
                </c:pt>
                <c:pt idx="32">
                  <c:v>1042.1688</c:v>
                </c:pt>
                <c:pt idx="33">
                  <c:v>1054.2434</c:v>
                </c:pt>
                <c:pt idx="34">
                  <c:v>1019.7664</c:v>
                </c:pt>
                <c:pt idx="35">
                  <c:v>1023.0399</c:v>
                </c:pt>
                <c:pt idx="36">
                  <c:v>1050.6236</c:v>
                </c:pt>
                <c:pt idx="37">
                  <c:v>1066.4357</c:v>
                </c:pt>
                <c:pt idx="38">
                  <c:v>1076.2603</c:v>
                </c:pt>
                <c:pt idx="39">
                  <c:v>1133.355</c:v>
                </c:pt>
                <c:pt idx="40">
                  <c:v>1144.8118</c:v>
                </c:pt>
                <c:pt idx="41">
                  <c:v>1160.1727</c:v>
                </c:pt>
                <c:pt idx="42">
                  <c:v>1169.0579</c:v>
                </c:pt>
                <c:pt idx="43">
                  <c:v>1172.5528</c:v>
                </c:pt>
                <c:pt idx="44">
                  <c:v>1195.1173</c:v>
                </c:pt>
                <c:pt idx="45">
                  <c:v>1188.4443</c:v>
                </c:pt>
                <c:pt idx="46">
                  <c:v>1135.9512</c:v>
                </c:pt>
                <c:pt idx="47">
                  <c:v>1128.4079</c:v>
                </c:pt>
                <c:pt idx="48">
                  <c:v>1083.6215</c:v>
                </c:pt>
                <c:pt idx="49">
                  <c:v>997.1162</c:v>
                </c:pt>
                <c:pt idx="50">
                  <c:v>1023.5524</c:v>
                </c:pt>
                <c:pt idx="51">
                  <c:v>1010.6958</c:v>
                </c:pt>
                <c:pt idx="52">
                  <c:v>991.7953</c:v>
                </c:pt>
                <c:pt idx="53">
                  <c:v>1197.223</c:v>
                </c:pt>
                <c:pt idx="54">
                  <c:v>1193.0427</c:v>
                </c:pt>
                <c:pt idx="55">
                  <c:v>1194.2518</c:v>
                </c:pt>
                <c:pt idx="56">
                  <c:v>1186.2817</c:v>
                </c:pt>
                <c:pt idx="57">
                  <c:v>1193.4468</c:v>
                </c:pt>
                <c:pt idx="58">
                  <c:v>1188.1385</c:v>
                </c:pt>
                <c:pt idx="59">
                  <c:v>1195.9447</c:v>
                </c:pt>
                <c:pt idx="60">
                  <c:v>1208.2215</c:v>
                </c:pt>
                <c:pt idx="61">
                  <c:v>1146.8719</c:v>
                </c:pt>
                <c:pt idx="62">
                  <c:v>1042.9406</c:v>
                </c:pt>
                <c:pt idx="63">
                  <c:v>1048.4032</c:v>
                </c:pt>
                <c:pt idx="64">
                  <c:v>1054.7304</c:v>
                </c:pt>
                <c:pt idx="65">
                  <c:v>1057.4421</c:v>
                </c:pt>
                <c:pt idx="66">
                  <c:v>1167.2609</c:v>
                </c:pt>
                <c:pt idx="67">
                  <c:v>1190.5122</c:v>
                </c:pt>
                <c:pt idx="68">
                  <c:v>1172.8725</c:v>
                </c:pt>
                <c:pt idx="69">
                  <c:v>1209.7051</c:v>
                </c:pt>
                <c:pt idx="70">
                  <c:v>1213.4937</c:v>
                </c:pt>
                <c:pt idx="71">
                  <c:v>1208.903</c:v>
                </c:pt>
                <c:pt idx="72">
                  <c:v>1219.3944</c:v>
                </c:pt>
                <c:pt idx="73">
                  <c:v>1213.5641</c:v>
                </c:pt>
                <c:pt idx="74">
                  <c:v>1231.2269</c:v>
                </c:pt>
                <c:pt idx="75">
                  <c:v>1211.4179</c:v>
                </c:pt>
                <c:pt idx="76">
                  <c:v>1166.9235</c:v>
                </c:pt>
                <c:pt idx="77">
                  <c:v>1161.1444</c:v>
                </c:pt>
                <c:pt idx="78">
                  <c:v>1172.7847</c:v>
                </c:pt>
                <c:pt idx="79">
                  <c:v>1206.1037</c:v>
                </c:pt>
                <c:pt idx="80">
                  <c:v>1222.6691</c:v>
                </c:pt>
                <c:pt idx="81">
                  <c:v>1264.3381</c:v>
                </c:pt>
                <c:pt idx="82">
                  <c:v>1278.2992</c:v>
                </c:pt>
                <c:pt idx="83">
                  <c:v>1271.7508</c:v>
                </c:pt>
                <c:pt idx="84">
                  <c:v>1285.2774</c:v>
                </c:pt>
                <c:pt idx="85">
                  <c:v>1297.5208</c:v>
                </c:pt>
                <c:pt idx="86">
                  <c:v>1295.88</c:v>
                </c:pt>
                <c:pt idx="87">
                  <c:v>1277.3069</c:v>
                </c:pt>
                <c:pt idx="88">
                  <c:v>1283.2065</c:v>
                </c:pt>
                <c:pt idx="89">
                  <c:v>1307.5862</c:v>
                </c:pt>
                <c:pt idx="90">
                  <c:v>1304.2661</c:v>
                </c:pt>
                <c:pt idx="91">
                  <c:v>1295.8556</c:v>
                </c:pt>
                <c:pt idx="92">
                  <c:v>1282.5632</c:v>
                </c:pt>
                <c:pt idx="93">
                  <c:v>1276.3185</c:v>
                </c:pt>
                <c:pt idx="94">
                  <c:v>1282.8516</c:v>
                </c:pt>
                <c:pt idx="95">
                  <c:v>1276.6193</c:v>
                </c:pt>
                <c:pt idx="96">
                  <c:v>1183.1731</c:v>
                </c:pt>
                <c:pt idx="97">
                  <c:v>1214.2338</c:v>
                </c:pt>
                <c:pt idx="98">
                  <c:v>1176.7796</c:v>
                </c:pt>
                <c:pt idx="99">
                  <c:v>1163.592</c:v>
                </c:pt>
                <c:pt idx="100">
                  <c:v>1084.096</c:v>
                </c:pt>
                <c:pt idx="101">
                  <c:v>1237.3957</c:v>
                </c:pt>
                <c:pt idx="102">
                  <c:v>1233.3739</c:v>
                </c:pt>
                <c:pt idx="103">
                  <c:v>1168.2598</c:v>
                </c:pt>
                <c:pt idx="104">
                  <c:v>1158.6334</c:v>
                </c:pt>
              </c:numCache>
            </c:numRef>
          </c:xVal>
          <c:yVal>
            <c:numRef>
              <c:f>Sheet1!$B$2:$B$106</c:f>
              <c:numCache>
                <c:formatCode>General</c:formatCode>
                <c:ptCount val="105"/>
                <c:pt idx="0">
                  <c:v>0.19014989293361884</c:v>
                </c:pt>
                <c:pt idx="1">
                  <c:v>0.1874182090110301</c:v>
                </c:pt>
                <c:pt idx="2">
                  <c:v>0.18448132010753684</c:v>
                </c:pt>
                <c:pt idx="3">
                  <c:v>0.19202967471942173</c:v>
                </c:pt>
                <c:pt idx="4">
                  <c:v>0.21944354227563062</c:v>
                </c:pt>
                <c:pt idx="5">
                  <c:v>0.20732787248173568</c:v>
                </c:pt>
                <c:pt idx="6">
                  <c:v>0.2320424403183024</c:v>
                </c:pt>
                <c:pt idx="7">
                  <c:v>0.22241929762327067</c:v>
                </c:pt>
                <c:pt idx="8">
                  <c:v>0.23044594910109736</c:v>
                </c:pt>
                <c:pt idx="9">
                  <c:v>0.2308305912852727</c:v>
                </c:pt>
                <c:pt idx="10">
                  <c:v>0.22501406337896118</c:v>
                </c:pt>
                <c:pt idx="11">
                  <c:v>0.22715702624418502</c:v>
                </c:pt>
                <c:pt idx="12">
                  <c:v>0.21044108574953732</c:v>
                </c:pt>
                <c:pt idx="13">
                  <c:v>0.20045123221103783</c:v>
                </c:pt>
                <c:pt idx="14">
                  <c:v>0.17698123774852983</c:v>
                </c:pt>
                <c:pt idx="15">
                  <c:v>0.16688297642223665</c:v>
                </c:pt>
                <c:pt idx="16">
                  <c:v>0.16820361490225008</c:v>
                </c:pt>
                <c:pt idx="17">
                  <c:v>0.16568854920158319</c:v>
                </c:pt>
                <c:pt idx="18">
                  <c:v>0.15335360973267168</c:v>
                </c:pt>
                <c:pt idx="19">
                  <c:v>0.1468956879584899</c:v>
                </c:pt>
                <c:pt idx="20">
                  <c:v>0.18550137462017074</c:v>
                </c:pt>
                <c:pt idx="21">
                  <c:v>0.1703767123287671</c:v>
                </c:pt>
                <c:pt idx="22">
                  <c:v>0.14937759336099585</c:v>
                </c:pt>
                <c:pt idx="23">
                  <c:v>0.1632692681032809</c:v>
                </c:pt>
                <c:pt idx="24">
                  <c:v>0.16693914623069936</c:v>
                </c:pt>
                <c:pt idx="25">
                  <c:v>0.1607843137254902</c:v>
                </c:pt>
                <c:pt idx="26">
                  <c:v>0.168135593220339</c:v>
                </c:pt>
                <c:pt idx="27">
                  <c:v>0.18114667604642984</c:v>
                </c:pt>
                <c:pt idx="28">
                  <c:v>0.18936994016191483</c:v>
                </c:pt>
                <c:pt idx="29">
                  <c:v>0.18606127956818544</c:v>
                </c:pt>
                <c:pt idx="30">
                  <c:v>0.1950787401574803</c:v>
                </c:pt>
                <c:pt idx="31">
                  <c:v>0.17657657657657658</c:v>
                </c:pt>
                <c:pt idx="32">
                  <c:v>0.18993506493506493</c:v>
                </c:pt>
                <c:pt idx="33">
                  <c:v>0.1818020259463302</c:v>
                </c:pt>
                <c:pt idx="34">
                  <c:v>0.20025288446341077</c:v>
                </c:pt>
                <c:pt idx="35">
                  <c:v>0.2567105905319668</c:v>
                </c:pt>
                <c:pt idx="36">
                  <c:v>0.2090291536937447</c:v>
                </c:pt>
                <c:pt idx="37">
                  <c:v>0.19676739283204497</c:v>
                </c:pt>
                <c:pt idx="38">
                  <c:v>0.18666219839142092</c:v>
                </c:pt>
                <c:pt idx="39">
                  <c:v>0.18684603886397608</c:v>
                </c:pt>
                <c:pt idx="40">
                  <c:v>0.1901644336175396</c:v>
                </c:pt>
                <c:pt idx="41">
                  <c:v>0.17954735959765297</c:v>
                </c:pt>
                <c:pt idx="42">
                  <c:v>0.18690275435637999</c:v>
                </c:pt>
                <c:pt idx="43">
                  <c:v>0.18360136452241715</c:v>
                </c:pt>
                <c:pt idx="44">
                  <c:v>0.16826381059751974</c:v>
                </c:pt>
                <c:pt idx="45">
                  <c:v>0.16118853536681568</c:v>
                </c:pt>
                <c:pt idx="46">
                  <c:v>0.16547874624302275</c:v>
                </c:pt>
                <c:pt idx="47">
                  <c:v>0.16660851360781578</c:v>
                </c:pt>
                <c:pt idx="48">
                  <c:v>0.16566534577527803</c:v>
                </c:pt>
                <c:pt idx="49">
                  <c:v>0.18493237800483317</c:v>
                </c:pt>
                <c:pt idx="50">
                  <c:v>0.1706705661165657</c:v>
                </c:pt>
                <c:pt idx="51">
                  <c:v>0.1737982884107814</c:v>
                </c:pt>
                <c:pt idx="52">
                  <c:v>0.17529908028490424</c:v>
                </c:pt>
                <c:pt idx="53">
                  <c:v>0.16356603426045313</c:v>
                </c:pt>
                <c:pt idx="54">
                  <c:v>0.16656510257972781</c:v>
                </c:pt>
                <c:pt idx="55">
                  <c:v>0.16468982890731604</c:v>
                </c:pt>
                <c:pt idx="56">
                  <c:v>0.17314981049271894</c:v>
                </c:pt>
                <c:pt idx="57">
                  <c:v>0.15567353549896518</c:v>
                </c:pt>
                <c:pt idx="58">
                  <c:v>0.1553445337229121</c:v>
                </c:pt>
                <c:pt idx="59">
                  <c:v>0.14042185898473325</c:v>
                </c:pt>
                <c:pt idx="60">
                  <c:v>0.13943281566509116</c:v>
                </c:pt>
                <c:pt idx="61">
                  <c:v>0.1463888266487415</c:v>
                </c:pt>
                <c:pt idx="62">
                  <c:v>0.16681908245694255</c:v>
                </c:pt>
                <c:pt idx="63">
                  <c:v>0.16552175335296043</c:v>
                </c:pt>
                <c:pt idx="64">
                  <c:v>0.16559465254130407</c:v>
                </c:pt>
                <c:pt idx="65">
                  <c:v>0.16908012687905116</c:v>
                </c:pt>
                <c:pt idx="66">
                  <c:v>0.16127120527446479</c:v>
                </c:pt>
                <c:pt idx="67">
                  <c:v>0.1575673807878369</c:v>
                </c:pt>
                <c:pt idx="68">
                  <c:v>0.15084640609766906</c:v>
                </c:pt>
                <c:pt idx="69">
                  <c:v>0.13940273243864104</c:v>
                </c:pt>
                <c:pt idx="70">
                  <c:v>0.1383089168300842</c:v>
                </c:pt>
                <c:pt idx="71">
                  <c:v>0.1375188580712545</c:v>
                </c:pt>
                <c:pt idx="72">
                  <c:v>0.15128576199487923</c:v>
                </c:pt>
                <c:pt idx="73">
                  <c:v>0.14916875427009793</c:v>
                </c:pt>
                <c:pt idx="74">
                  <c:v>0.14144620811287478</c:v>
                </c:pt>
                <c:pt idx="75">
                  <c:v>0.15030504714364948</c:v>
                </c:pt>
                <c:pt idx="76">
                  <c:v>0.15098152424942263</c:v>
                </c:pt>
                <c:pt idx="77">
                  <c:v>0.14893926184248765</c:v>
                </c:pt>
                <c:pt idx="78">
                  <c:v>0.1562448711636304</c:v>
                </c:pt>
                <c:pt idx="79">
                  <c:v>0.1584241408214585</c:v>
                </c:pt>
                <c:pt idx="80">
                  <c:v>0.158530531193116</c:v>
                </c:pt>
                <c:pt idx="81">
                  <c:v>0.15322033898305085</c:v>
                </c:pt>
                <c:pt idx="82">
                  <c:v>0.15401558793629277</c:v>
                </c:pt>
                <c:pt idx="83">
                  <c:v>0.13964346349745332</c:v>
                </c:pt>
                <c:pt idx="84">
                  <c:v>0.14164366107453813</c:v>
                </c:pt>
                <c:pt idx="85">
                  <c:v>0.1314352574102964</c:v>
                </c:pt>
                <c:pt idx="86">
                  <c:v>0.14265335235378032</c:v>
                </c:pt>
                <c:pt idx="87">
                  <c:v>0.17739646497226164</c:v>
                </c:pt>
                <c:pt idx="88">
                  <c:v>0.18386639357176618</c:v>
                </c:pt>
                <c:pt idx="89">
                  <c:v>0.1434290687554395</c:v>
                </c:pt>
                <c:pt idx="90">
                  <c:v>0.14193663862538033</c:v>
                </c:pt>
                <c:pt idx="91">
                  <c:v>0.14365199797673242</c:v>
                </c:pt>
                <c:pt idx="92">
                  <c:v>0.15895232815964525</c:v>
                </c:pt>
                <c:pt idx="93">
                  <c:v>0.13890293225480282</c:v>
                </c:pt>
                <c:pt idx="94">
                  <c:v>0.13735046521931768</c:v>
                </c:pt>
                <c:pt idx="95">
                  <c:v>0.1478503270076123</c:v>
                </c:pt>
                <c:pt idx="96">
                  <c:v>0.14983572540204046</c:v>
                </c:pt>
                <c:pt idx="97">
                  <c:v>0.1448043382676242</c:v>
                </c:pt>
                <c:pt idx="98">
                  <c:v>0.15628408288958748</c:v>
                </c:pt>
                <c:pt idx="99">
                  <c:v>0.1556851648668938</c:v>
                </c:pt>
                <c:pt idx="100">
                  <c:v>0.17040760657781934</c:v>
                </c:pt>
                <c:pt idx="101">
                  <c:v>0.14546495356824832</c:v>
                </c:pt>
                <c:pt idx="102">
                  <c:v>0.13494876586969132</c:v>
                </c:pt>
                <c:pt idx="103">
                  <c:v>0.1509997222993613</c:v>
                </c:pt>
                <c:pt idx="104">
                  <c:v>0.155755176613885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7.5788</c:v>
                </c:pt>
                <c:pt idx="1">
                  <c:v>1241.7033</c:v>
                </c:pt>
                <c:pt idx="2">
                  <c:v>1269.042</c:v>
                </c:pt>
                <c:pt idx="3">
                  <c:v>1287.1211</c:v>
                </c:pt>
                <c:pt idx="4">
                  <c:v>1278.1937</c:v>
                </c:pt>
                <c:pt idx="5">
                  <c:v>1282.0273</c:v>
                </c:pt>
                <c:pt idx="6">
                  <c:v>1274.6663</c:v>
                </c:pt>
                <c:pt idx="7">
                  <c:v>1271.8084</c:v>
                </c:pt>
                <c:pt idx="8">
                  <c:v>1265.9886</c:v>
                </c:pt>
                <c:pt idx="9">
                  <c:v>1123.1292</c:v>
                </c:pt>
                <c:pt idx="10">
                  <c:v>1148.5366</c:v>
                </c:pt>
                <c:pt idx="11">
                  <c:v>1263.3856</c:v>
                </c:pt>
                <c:pt idx="12">
                  <c:v>1238.5731</c:v>
                </c:pt>
                <c:pt idx="13">
                  <c:v>1148.1709</c:v>
                </c:pt>
                <c:pt idx="14">
                  <c:v>1251.5951</c:v>
                </c:pt>
                <c:pt idx="15">
                  <c:v>1186.8718</c:v>
                </c:pt>
                <c:pt idx="16">
                  <c:v>1267.9952</c:v>
                </c:pt>
                <c:pt idx="17">
                  <c:v>1285.5505</c:v>
                </c:pt>
                <c:pt idx="18">
                  <c:v>1321.6302</c:v>
                </c:pt>
                <c:pt idx="19">
                  <c:v>1302.7162</c:v>
                </c:pt>
                <c:pt idx="20">
                  <c:v>1240.0478</c:v>
                </c:pt>
                <c:pt idx="21">
                  <c:v>1251.4536</c:v>
                </c:pt>
                <c:pt idx="22">
                  <c:v>1239.9622</c:v>
                </c:pt>
                <c:pt idx="23">
                  <c:v>1156.3292</c:v>
                </c:pt>
                <c:pt idx="24">
                  <c:v>1141.9894</c:v>
                </c:pt>
                <c:pt idx="25">
                  <c:v>1189.5876</c:v>
                </c:pt>
                <c:pt idx="26">
                  <c:v>1226.3852</c:v>
                </c:pt>
                <c:pt idx="27">
                  <c:v>1275.3042</c:v>
                </c:pt>
                <c:pt idx="28">
                  <c:v>1320.9276</c:v>
                </c:pt>
                <c:pt idx="29">
                  <c:v>1307.5571</c:v>
                </c:pt>
                <c:pt idx="30">
                  <c:v>1305.5342</c:v>
                </c:pt>
                <c:pt idx="31">
                  <c:v>1302.1792</c:v>
                </c:pt>
                <c:pt idx="32">
                  <c:v>1300.668</c:v>
                </c:pt>
                <c:pt idx="33">
                  <c:v>1308.3848</c:v>
                </c:pt>
                <c:pt idx="34">
                  <c:v>1307.6936</c:v>
                </c:pt>
                <c:pt idx="35">
                  <c:v>1297.1465</c:v>
                </c:pt>
                <c:pt idx="36">
                  <c:v>1293.6675</c:v>
                </c:pt>
                <c:pt idx="37">
                  <c:v>1292.8031</c:v>
                </c:pt>
                <c:pt idx="38">
                  <c:v>1290.5053</c:v>
                </c:pt>
                <c:pt idx="39">
                  <c:v>1306.224</c:v>
                </c:pt>
                <c:pt idx="40">
                  <c:v>1307.6326</c:v>
                </c:pt>
                <c:pt idx="41">
                  <c:v>1301.1517</c:v>
                </c:pt>
                <c:pt idx="42">
                  <c:v>1306.3297</c:v>
                </c:pt>
                <c:pt idx="43">
                  <c:v>1288.6247</c:v>
                </c:pt>
                <c:pt idx="44">
                  <c:v>1238.5819</c:v>
                </c:pt>
                <c:pt idx="45">
                  <c:v>1248.5237</c:v>
                </c:pt>
                <c:pt idx="46">
                  <c:v>1248.6564</c:v>
                </c:pt>
                <c:pt idx="47">
                  <c:v>1244.7582</c:v>
                </c:pt>
                <c:pt idx="48">
                  <c:v>1177.1123</c:v>
                </c:pt>
                <c:pt idx="49">
                  <c:v>1149.897</c:v>
                </c:pt>
                <c:pt idx="50">
                  <c:v>1111.9998</c:v>
                </c:pt>
                <c:pt idx="51">
                  <c:v>1135.3556</c:v>
                </c:pt>
              </c:numCache>
            </c:numRef>
          </c:xVal>
          <c:yVal>
            <c:numRef>
              <c:f>Sheet1!$B$109:$B$160</c:f>
              <c:numCache>
                <c:formatCode>General</c:formatCode>
                <c:ptCount val="52"/>
                <c:pt idx="0">
                  <c:v>0.17426059152677859</c:v>
                </c:pt>
                <c:pt idx="1">
                  <c:v>0.16431742076162292</c:v>
                </c:pt>
                <c:pt idx="2">
                  <c:v>0.17060423825887744</c:v>
                </c:pt>
                <c:pt idx="3">
                  <c:v>0.17236204897346702</c:v>
                </c:pt>
                <c:pt idx="4">
                  <c:v>0.16263736263736264</c:v>
                </c:pt>
                <c:pt idx="5">
                  <c:v>0.14951032198971323</c:v>
                </c:pt>
                <c:pt idx="6">
                  <c:v>0.13346288379323745</c:v>
                </c:pt>
                <c:pt idx="7">
                  <c:v>0.12609065758672058</c:v>
                </c:pt>
                <c:pt idx="8">
                  <c:v>0.13813025210084034</c:v>
                </c:pt>
                <c:pt idx="9">
                  <c:v>0.1473429951690821</c:v>
                </c:pt>
                <c:pt idx="10">
                  <c:v>0.15446789402784014</c:v>
                </c:pt>
                <c:pt idx="11">
                  <c:v>0.1449075140072147</c:v>
                </c:pt>
                <c:pt idx="12">
                  <c:v>0.15228900654001867</c:v>
                </c:pt>
                <c:pt idx="13">
                  <c:v>0.16745934335685794</c:v>
                </c:pt>
                <c:pt idx="14">
                  <c:v>0.15208279873406894</c:v>
                </c:pt>
                <c:pt idx="15">
                  <c:v>0.16133059841255684</c:v>
                </c:pt>
                <c:pt idx="16">
                  <c:v>0.14426034328802462</c:v>
                </c:pt>
                <c:pt idx="17">
                  <c:v>0.13033272096346193</c:v>
                </c:pt>
                <c:pt idx="18">
                  <c:v>0.14128664495114007</c:v>
                </c:pt>
                <c:pt idx="19">
                  <c:v>0.1602713824936047</c:v>
                </c:pt>
                <c:pt idx="20">
                  <c:v>0.14584607855132753</c:v>
                </c:pt>
                <c:pt idx="21">
                  <c:v>0.14382130805077936</c:v>
                </c:pt>
                <c:pt idx="22">
                  <c:v>0.14724121481952615</c:v>
                </c:pt>
                <c:pt idx="23">
                  <c:v>0.1690320523042577</c:v>
                </c:pt>
                <c:pt idx="24">
                  <c:v>0.16953979913056513</c:v>
                </c:pt>
                <c:pt idx="25">
                  <c:v>0.15811023622047243</c:v>
                </c:pt>
                <c:pt idx="26">
                  <c:v>0.14966740576496673</c:v>
                </c:pt>
                <c:pt idx="27">
                  <c:v>0.14160184384903485</c:v>
                </c:pt>
                <c:pt idx="28">
                  <c:v>0.13394495412844037</c:v>
                </c:pt>
                <c:pt idx="29">
                  <c:v>0.13297451321829984</c:v>
                </c:pt>
                <c:pt idx="30">
                  <c:v>0.1478966545213647</c:v>
                </c:pt>
                <c:pt idx="31">
                  <c:v>0.13251649387370407</c:v>
                </c:pt>
                <c:pt idx="32">
                  <c:v>0.12795010114632502</c:v>
                </c:pt>
                <c:pt idx="33">
                  <c:v>0.14974874371859295</c:v>
                </c:pt>
                <c:pt idx="34">
                  <c:v>0.17448064479509592</c:v>
                </c:pt>
                <c:pt idx="35">
                  <c:v>0.1884363006066609</c:v>
                </c:pt>
                <c:pt idx="36">
                  <c:v>0.1548663936024966</c:v>
                </c:pt>
                <c:pt idx="37">
                  <c:v>0.15599931728963987</c:v>
                </c:pt>
                <c:pt idx="38">
                  <c:v>0.14588601439408674</c:v>
                </c:pt>
                <c:pt idx="39">
                  <c:v>0.17300596082883907</c:v>
                </c:pt>
                <c:pt idx="40">
                  <c:v>0.16146916146916146</c:v>
                </c:pt>
                <c:pt idx="41">
                  <c:v>0.17017430600387345</c:v>
                </c:pt>
                <c:pt idx="42">
                  <c:v>0.15789473684210525</c:v>
                </c:pt>
                <c:pt idx="43">
                  <c:v>0.16773659142679645</c:v>
                </c:pt>
                <c:pt idx="44">
                  <c:v>0.1599419943700418</c:v>
                </c:pt>
                <c:pt idx="45">
                  <c:v>0.16267975192530498</c:v>
                </c:pt>
                <c:pt idx="46">
                  <c:v>0.16652705645836824</c:v>
                </c:pt>
                <c:pt idx="47">
                  <c:v>0.1659030624547866</c:v>
                </c:pt>
                <c:pt idx="48">
                  <c:v>0.17166175159454083</c:v>
                </c:pt>
                <c:pt idx="49">
                  <c:v>0.18768242848803268</c:v>
                </c:pt>
                <c:pt idx="50">
                  <c:v>0.21325828642901815</c:v>
                </c:pt>
                <c:pt idx="51">
                  <c:v>0.19118963767683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90.2961870634809</c:v>
                </c:pt>
              </c:numCache>
            </c:numRef>
          </c:xVal>
          <c:yVal>
            <c:numRef>
              <c:f>Sheet1!$B$163:$B$164</c:f>
              <c:numCache>
                <c:formatCode>General</c:formatCode>
                <c:ptCount val="2"/>
                <c:pt idx="0">
                  <c:v>0.20730646650796047</c:v>
                </c:pt>
                <c:pt idx="1">
                  <c:v>0.2073064665079604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90.2961870634809</c:v>
                </c:pt>
                <c:pt idx="1">
                  <c:v>890.2961870634809</c:v>
                </c:pt>
              </c:numCache>
            </c:numRef>
          </c:xVal>
          <c:yVal>
            <c:numRef>
              <c:f>Sheet1!$B$167:$B$168</c:f>
              <c:numCache>
                <c:formatCode>General</c:formatCode>
                <c:ptCount val="2"/>
                <c:pt idx="0">
                  <c:v>0.207306466507960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7.7275896646387</c:v>
                </c:pt>
              </c:numCache>
            </c:numRef>
          </c:xVal>
          <c:yVal>
            <c:numRef>
              <c:f>Sheet1!$B$171:$B$172</c:f>
              <c:numCache>
                <c:formatCode>General</c:formatCode>
                <c:ptCount val="2"/>
                <c:pt idx="0">
                  <c:v>0.19094802604710642</c:v>
                </c:pt>
                <c:pt idx="1">
                  <c:v>0.1909480260471064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7.7275896646387</c:v>
                </c:pt>
                <c:pt idx="1">
                  <c:v>1007.7275896646387</c:v>
                </c:pt>
              </c:numCache>
            </c:numRef>
          </c:xVal>
          <c:yVal>
            <c:numRef>
              <c:f>Sheet1!$B$175:$B$176</c:f>
              <c:numCache>
                <c:formatCode>General</c:formatCode>
                <c:ptCount val="2"/>
                <c:pt idx="0">
                  <c:v>0.1909480260471064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36.5011854702557</c:v>
                </c:pt>
              </c:numCache>
            </c:numRef>
          </c:xVal>
          <c:yVal>
            <c:numRef>
              <c:f>Sheet1!$B$179:$B$180</c:f>
              <c:numCache>
                <c:formatCode>General</c:formatCode>
                <c:ptCount val="2"/>
                <c:pt idx="0">
                  <c:v>0.17300959430520793</c:v>
                </c:pt>
                <c:pt idx="1">
                  <c:v>0.1730095943052079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36.5011854702557</c:v>
                </c:pt>
                <c:pt idx="1">
                  <c:v>1136.5011854702557</c:v>
                </c:pt>
              </c:numCache>
            </c:numRef>
          </c:xVal>
          <c:yVal>
            <c:numRef>
              <c:f>Sheet1!$B$183:$B$184</c:f>
              <c:numCache>
                <c:formatCode>General</c:formatCode>
                <c:ptCount val="2"/>
                <c:pt idx="0">
                  <c:v>0.173009594305207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7.5788</c:v>
                </c:pt>
                <c:pt idx="1">
                  <c:v>1241.7033</c:v>
                </c:pt>
                <c:pt idx="2">
                  <c:v>1269.042</c:v>
                </c:pt>
                <c:pt idx="3">
                  <c:v>1287.1211</c:v>
                </c:pt>
                <c:pt idx="4">
                  <c:v>1278.1937</c:v>
                </c:pt>
                <c:pt idx="5">
                  <c:v>1282.0273</c:v>
                </c:pt>
                <c:pt idx="6">
                  <c:v>1274.6663</c:v>
                </c:pt>
                <c:pt idx="7">
                  <c:v>1271.8084</c:v>
                </c:pt>
                <c:pt idx="8">
                  <c:v>1265.9886</c:v>
                </c:pt>
                <c:pt idx="9">
                  <c:v>1123.1292</c:v>
                </c:pt>
                <c:pt idx="10">
                  <c:v>1148.5366</c:v>
                </c:pt>
                <c:pt idx="11">
                  <c:v>1263.3856</c:v>
                </c:pt>
                <c:pt idx="12">
                  <c:v>1238.5731</c:v>
                </c:pt>
                <c:pt idx="13">
                  <c:v>1148.1709</c:v>
                </c:pt>
                <c:pt idx="14">
                  <c:v>1251.5951</c:v>
                </c:pt>
                <c:pt idx="15">
                  <c:v>1186.8718</c:v>
                </c:pt>
                <c:pt idx="16">
                  <c:v>1267.9952</c:v>
                </c:pt>
                <c:pt idx="17">
                  <c:v>1285.5505</c:v>
                </c:pt>
                <c:pt idx="18">
                  <c:v>1321.6302</c:v>
                </c:pt>
                <c:pt idx="19">
                  <c:v>1302.7162</c:v>
                </c:pt>
                <c:pt idx="20">
                  <c:v>1240.0478</c:v>
                </c:pt>
                <c:pt idx="21">
                  <c:v>1251.4536</c:v>
                </c:pt>
                <c:pt idx="22">
                  <c:v>1239.9622</c:v>
                </c:pt>
                <c:pt idx="23">
                  <c:v>1156.3292</c:v>
                </c:pt>
                <c:pt idx="24">
                  <c:v>1141.9894</c:v>
                </c:pt>
                <c:pt idx="25">
                  <c:v>1189.5876</c:v>
                </c:pt>
                <c:pt idx="26">
                  <c:v>1226.3852</c:v>
                </c:pt>
                <c:pt idx="27">
                  <c:v>1275.3042</c:v>
                </c:pt>
                <c:pt idx="28">
                  <c:v>1320.9276</c:v>
                </c:pt>
                <c:pt idx="29">
                  <c:v>1307.5571</c:v>
                </c:pt>
                <c:pt idx="30">
                  <c:v>1305.5342</c:v>
                </c:pt>
                <c:pt idx="31">
                  <c:v>1302.1792</c:v>
                </c:pt>
                <c:pt idx="32">
                  <c:v>1300.668</c:v>
                </c:pt>
                <c:pt idx="33">
                  <c:v>1308.3848</c:v>
                </c:pt>
                <c:pt idx="34">
                  <c:v>1307.6936</c:v>
                </c:pt>
                <c:pt idx="35">
                  <c:v>1297.1465</c:v>
                </c:pt>
                <c:pt idx="36">
                  <c:v>1293.6675</c:v>
                </c:pt>
                <c:pt idx="37">
                  <c:v>1292.8031</c:v>
                </c:pt>
                <c:pt idx="38">
                  <c:v>1290.5053</c:v>
                </c:pt>
                <c:pt idx="39">
                  <c:v>1306.224</c:v>
                </c:pt>
                <c:pt idx="40">
                  <c:v>1307.6326</c:v>
                </c:pt>
                <c:pt idx="41">
                  <c:v>1301.1517</c:v>
                </c:pt>
                <c:pt idx="42">
                  <c:v>1306.3297</c:v>
                </c:pt>
                <c:pt idx="43">
                  <c:v>1288.6247</c:v>
                </c:pt>
                <c:pt idx="44">
                  <c:v>1238.5819</c:v>
                </c:pt>
                <c:pt idx="45">
                  <c:v>1248.5237</c:v>
                </c:pt>
                <c:pt idx="46">
                  <c:v>1248.6564</c:v>
                </c:pt>
                <c:pt idx="47">
                  <c:v>1244.7582</c:v>
                </c:pt>
                <c:pt idx="48">
                  <c:v>1177.1123</c:v>
                </c:pt>
                <c:pt idx="49">
                  <c:v>1149.897</c:v>
                </c:pt>
                <c:pt idx="50">
                  <c:v>1111.9998</c:v>
                </c:pt>
                <c:pt idx="51">
                  <c:v>1135.3556</c:v>
                </c:pt>
                <c:pt idx="52">
                  <c:v>1007.7275896646387</c:v>
                </c:pt>
                <c:pt idx="53">
                  <c:v>890.2961870634809</c:v>
                </c:pt>
                <c:pt idx="54">
                  <c:v>1136.5011854702557</c:v>
                </c:pt>
              </c:numCache>
            </c:numRef>
          </c:xVal>
          <c:yVal>
            <c:numRef>
              <c:f>Sheet1!$B$187:$B$241</c:f>
              <c:numCache>
                <c:formatCode>General</c:formatCode>
                <c:ptCount val="55"/>
                <c:pt idx="0">
                  <c:v>0.15892927079220512</c:v>
                </c:pt>
                <c:pt idx="1">
                  <c:v>0.15835471929927997</c:v>
                </c:pt>
                <c:pt idx="2">
                  <c:v>0.1545463811007993</c:v>
                </c:pt>
                <c:pt idx="3">
                  <c:v>0.15202792458588996</c:v>
                </c:pt>
                <c:pt idx="4">
                  <c:v>0.15327153011333333</c:v>
                </c:pt>
                <c:pt idx="5">
                  <c:v>0.1527375015999916</c:v>
                </c:pt>
                <c:pt idx="6">
                  <c:v>0.15376290432503031</c:v>
                </c:pt>
                <c:pt idx="7">
                  <c:v>0.15416101578378436</c:v>
                </c:pt>
                <c:pt idx="8">
                  <c:v>0.15497172611922522</c:v>
                </c:pt>
                <c:pt idx="9">
                  <c:v>0.17487233990232492</c:v>
                </c:pt>
                <c:pt idx="10">
                  <c:v>0.17133303584090004</c:v>
                </c:pt>
                <c:pt idx="11">
                  <c:v>0.15533432947383408</c:v>
                </c:pt>
                <c:pt idx="12">
                  <c:v>0.15879076271864093</c:v>
                </c:pt>
                <c:pt idx="13">
                  <c:v>0.1713839786172275</c:v>
                </c:pt>
                <c:pt idx="14">
                  <c:v>0.1569767708309281</c:v>
                </c:pt>
                <c:pt idx="15">
                  <c:v>0.16599286214915918</c:v>
                </c:pt>
                <c:pt idx="16">
                  <c:v>0.15469220253437768</c:v>
                </c:pt>
                <c:pt idx="17">
                  <c:v>0.15224671245709573</c:v>
                </c:pt>
                <c:pt idx="18">
                  <c:v>0.1472207346417745</c:v>
                </c:pt>
                <c:pt idx="19">
                  <c:v>0.14985549447622395</c:v>
                </c:pt>
                <c:pt idx="20">
                  <c:v>0.1585853339183944</c:v>
                </c:pt>
                <c:pt idx="21">
                  <c:v>0.15699648207744255</c:v>
                </c:pt>
                <c:pt idx="22">
                  <c:v>0.15859725817776996</c:v>
                </c:pt>
                <c:pt idx="23">
                  <c:v>0.1702475103314398</c:v>
                </c:pt>
                <c:pt idx="24">
                  <c:v>0.17224507452061386</c:v>
                </c:pt>
                <c:pt idx="25">
                  <c:v>0.16561454551817692</c:v>
                </c:pt>
                <c:pt idx="26">
                  <c:v>0.16048856272849008</c:v>
                </c:pt>
                <c:pt idx="27">
                  <c:v>0.1536740435183054</c:v>
                </c:pt>
                <c:pt idx="28">
                  <c:v>0.14731860829407883</c:v>
                </c:pt>
                <c:pt idx="29">
                  <c:v>0.14918114696207643</c:v>
                </c:pt>
                <c:pt idx="30">
                  <c:v>0.14946294117108075</c:v>
                </c:pt>
                <c:pt idx="31">
                  <c:v>0.14993029970151206</c:v>
                </c:pt>
                <c:pt idx="32">
                  <c:v>0.15014081302824467</c:v>
                </c:pt>
                <c:pt idx="33">
                  <c:v>0.14906584661762395</c:v>
                </c:pt>
                <c:pt idx="34">
                  <c:v>0.1491621322260395</c:v>
                </c:pt>
                <c:pt idx="35">
                  <c:v>0.15063136535757815</c:v>
                </c:pt>
                <c:pt idx="36">
                  <c:v>0.15111599734785253</c:v>
                </c:pt>
                <c:pt idx="37">
                  <c:v>0.15123641007921015</c:v>
                </c:pt>
                <c:pt idx="38">
                  <c:v>0.1515564984342698</c:v>
                </c:pt>
                <c:pt idx="39">
                  <c:v>0.14936685058559895</c:v>
                </c:pt>
                <c:pt idx="40">
                  <c:v>0.14917062965386554</c:v>
                </c:pt>
                <c:pt idx="41">
                  <c:v>0.15007343260464717</c:v>
                </c:pt>
                <c:pt idx="42">
                  <c:v>0.14935212635410366</c:v>
                </c:pt>
                <c:pt idx="43">
                  <c:v>0.15181846995508325</c:v>
                </c:pt>
                <c:pt idx="44">
                  <c:v>0.15878953686020048</c:v>
                </c:pt>
                <c:pt idx="45">
                  <c:v>0.1574046232870732</c:v>
                </c:pt>
                <c:pt idx="46">
                  <c:v>0.15738613789899916</c:v>
                </c:pt>
                <c:pt idx="47">
                  <c:v>0.15792916532771076</c:v>
                </c:pt>
                <c:pt idx="48">
                  <c:v>0.16735238095027524</c:v>
                </c:pt>
                <c:pt idx="49">
                  <c:v>0.17114352927017015</c:v>
                </c:pt>
                <c:pt idx="50">
                  <c:v>0.17642268864407823</c:v>
                </c:pt>
                <c:pt idx="51">
                  <c:v>0.17316917676179872</c:v>
                </c:pt>
                <c:pt idx="52">
                  <c:v>0.19094802604710642</c:v>
                </c:pt>
                <c:pt idx="53">
                  <c:v>0.20730646650796047</c:v>
                </c:pt>
                <c:pt idx="54">
                  <c:v>0.173009594305207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86.0"/>
          <c:min val="63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805270863836015"/>
          <c:min val="0.1008725260693764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9612.0</c:v>
                </c:pt>
                <c:pt idx="2">
                  <c:v>13322.0</c:v>
                </c:pt>
                <c:pt idx="3">
                  <c:v>14209.0</c:v>
                </c:pt>
                <c:pt idx="4">
                  <c:v>6198.25</c:v>
                </c:pt>
                <c:pt idx="5">
                  <c:v>5093.2</c:v>
                </c:pt>
                <c:pt idx="6">
                  <c:v>5328.4286</c:v>
                </c:pt>
                <c:pt idx="7">
                  <c:v>6130.1667</c:v>
                </c:pt>
                <c:pt idx="8">
                  <c:v>7577.25</c:v>
                </c:pt>
                <c:pt idx="9">
                  <c:v>5611.0</c:v>
                </c:pt>
                <c:pt idx="10">
                  <c:v>4851.4</c:v>
                </c:pt>
                <c:pt idx="11">
                  <c:v>6303.7143</c:v>
                </c:pt>
                <c:pt idx="12">
                  <c:v>4588.3077</c:v>
                </c:pt>
                <c:pt idx="13">
                  <c:v>4326.2</c:v>
                </c:pt>
                <c:pt idx="14">
                  <c:v>4497.1875</c:v>
                </c:pt>
                <c:pt idx="15">
                  <c:v>5210.4375</c:v>
                </c:pt>
                <c:pt idx="16">
                  <c:v>5082.75</c:v>
                </c:pt>
              </c:numCache>
            </c:numRef>
          </c:xVal>
          <c:yVal>
            <c:numRef>
              <c:f>Sheet1!$B$4:$B$20</c:f>
              <c:numCache>
                <c:formatCode>General</c:formatCode>
                <c:ptCount val="17"/>
                <c:pt idx="0">
                  <c:v>0.0</c:v>
                </c:pt>
                <c:pt idx="1">
                  <c:v>0.014285714285714285</c:v>
                </c:pt>
                <c:pt idx="2">
                  <c:v>0.010869565217391304</c:v>
                </c:pt>
                <c:pt idx="3">
                  <c:v>0.011764705882352941</c:v>
                </c:pt>
                <c:pt idx="4">
                  <c:v>0.043478260869565216</c:v>
                </c:pt>
                <c:pt idx="5">
                  <c:v>0.04716981132075472</c:v>
                </c:pt>
                <c:pt idx="6">
                  <c:v>0.06306306306306306</c:v>
                </c:pt>
                <c:pt idx="7">
                  <c:v>0.05405405405405406</c:v>
                </c:pt>
                <c:pt idx="8">
                  <c:v>0.02531645569620253</c:v>
                </c:pt>
                <c:pt idx="9">
                  <c:v>0.05</c:v>
                </c:pt>
                <c:pt idx="10">
                  <c:v>0.04830917874396135</c:v>
                </c:pt>
                <c:pt idx="11">
                  <c:v>0.03608247422680412</c:v>
                </c:pt>
                <c:pt idx="12">
                  <c:v>0.06403940886699508</c:v>
                </c:pt>
                <c:pt idx="13">
                  <c:v>0.05747126436781609</c:v>
                </c:pt>
                <c:pt idx="14">
                  <c:v>0.06837606837606838</c:v>
                </c:pt>
                <c:pt idx="15">
                  <c:v>0.07079646017699115</c:v>
                </c:pt>
                <c:pt idx="16">
                  <c:v>0.046242774566473986</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489.9163122215866</c:v>
                </c:pt>
              </c:numCache>
            </c:numRef>
          </c:xVal>
          <c:yVal>
            <c:numRef>
              <c:f>Sheet1!$B$23:$B$24</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489.9163122215866</c:v>
                </c:pt>
                <c:pt idx="1">
                  <c:v>-489.9163122215866</c:v>
                </c:pt>
              </c:numCache>
            </c:numRef>
          </c:xVal>
          <c:yVal>
            <c:numRef>
              <c:f>Sheet1!$B$27:$B$28</c:f>
              <c:numCache>
                <c:formatCode>General</c:formatCode>
                <c:ptCount val="2"/>
                <c:pt idx="0">
                  <c:v>0.06072164187183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489.9163122215866</c:v>
                </c:pt>
              </c:numCache>
            </c:numRef>
          </c:xVal>
          <c:yVal>
            <c:numRef>
              <c:f>Sheet1!$B$31:$B$32</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489.9163122215866</c:v>
                </c:pt>
                <c:pt idx="1">
                  <c:v>-489.9163122215866</c:v>
                </c:pt>
              </c:numCache>
            </c:numRef>
          </c:xVal>
          <c:yVal>
            <c:numRef>
              <c:f>Sheet1!$B$35:$B$36</c:f>
              <c:numCache>
                <c:formatCode>General</c:formatCode>
                <c:ptCount val="2"/>
                <c:pt idx="0">
                  <c:v>0.060721641871837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2714.2747150205532</c:v>
                </c:pt>
              </c:numCache>
            </c:numRef>
          </c:xVal>
          <c:yVal>
            <c:numRef>
              <c:f>Sheet1!$B$39:$B$40</c:f>
              <c:numCache>
                <c:formatCode>General</c:formatCode>
                <c:ptCount val="2"/>
                <c:pt idx="0">
                  <c:v>0.05187686725605767</c:v>
                </c:pt>
                <c:pt idx="1">
                  <c:v>0.05187686725605767</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2714.2747150205532</c:v>
                </c:pt>
                <c:pt idx="1">
                  <c:v>2714.2747150205532</c:v>
                </c:pt>
              </c:numCache>
            </c:numRef>
          </c:xVal>
          <c:yVal>
            <c:numRef>
              <c:f>Sheet1!$B$43:$B$44</c:f>
              <c:numCache>
                <c:formatCode>General</c:formatCode>
                <c:ptCount val="2"/>
                <c:pt idx="0">
                  <c:v>0.0518768672560576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9612.0</c:v>
                </c:pt>
                <c:pt idx="2">
                  <c:v>13322.0</c:v>
                </c:pt>
                <c:pt idx="3">
                  <c:v>14209.0</c:v>
                </c:pt>
                <c:pt idx="4">
                  <c:v>6198.25</c:v>
                </c:pt>
                <c:pt idx="5">
                  <c:v>5093.2</c:v>
                </c:pt>
                <c:pt idx="6">
                  <c:v>5328.4286</c:v>
                </c:pt>
                <c:pt idx="7">
                  <c:v>6130.1667</c:v>
                </c:pt>
                <c:pt idx="8">
                  <c:v>7577.25</c:v>
                </c:pt>
                <c:pt idx="9">
                  <c:v>5611.0</c:v>
                </c:pt>
                <c:pt idx="10">
                  <c:v>4851.4</c:v>
                </c:pt>
                <c:pt idx="11">
                  <c:v>6303.7143</c:v>
                </c:pt>
                <c:pt idx="12">
                  <c:v>4588.3077</c:v>
                </c:pt>
                <c:pt idx="13">
                  <c:v>4326.2</c:v>
                </c:pt>
                <c:pt idx="14">
                  <c:v>4497.1875</c:v>
                </c:pt>
                <c:pt idx="15">
                  <c:v>5210.4375</c:v>
                </c:pt>
                <c:pt idx="16">
                  <c:v>5082.75</c:v>
                </c:pt>
                <c:pt idx="17">
                  <c:v>-489.9163122215866</c:v>
                </c:pt>
                <c:pt idx="18">
                  <c:v>-489.9163122215866</c:v>
                </c:pt>
                <c:pt idx="19">
                  <c:v>2714.2747150205532</c:v>
                </c:pt>
              </c:numCache>
            </c:numRef>
          </c:xVal>
          <c:yVal>
            <c:numRef>
              <c:f>Sheet1!$B$47:$B$66</c:f>
              <c:numCache>
                <c:formatCode>General</c:formatCode>
                <c:ptCount val="20"/>
                <c:pt idx="0">
                  <c:v>0.059369288243307484</c:v>
                </c:pt>
                <c:pt idx="1">
                  <c:v>0.0328365463174778</c:v>
                </c:pt>
                <c:pt idx="2">
                  <c:v>0.022595548341528146</c:v>
                </c:pt>
                <c:pt idx="3">
                  <c:v>0.020147094108464172</c:v>
                </c:pt>
                <c:pt idx="4">
                  <c:v>0.0422597826625986</c:v>
                </c:pt>
                <c:pt idx="5">
                  <c:v>0.04531013705972075</c:v>
                </c:pt>
                <c:pt idx="6">
                  <c:v>0.04466081748654407</c:v>
                </c:pt>
                <c:pt idx="7">
                  <c:v>0.04244771822526598</c:v>
                </c:pt>
                <c:pt idx="8">
                  <c:v>0.0384532230375758</c:v>
                </c:pt>
                <c:pt idx="9">
                  <c:v>0.04388081394598847</c:v>
                </c:pt>
                <c:pt idx="10">
                  <c:v>0.045977596173085875</c:v>
                </c:pt>
                <c:pt idx="11">
                  <c:v>0.04196866145428729</c:v>
                </c:pt>
                <c:pt idx="12">
                  <c:v>0.04670383005766483</c:v>
                </c:pt>
                <c:pt idx="13">
                  <c:v>0.04742734607523379</c:v>
                </c:pt>
                <c:pt idx="14">
                  <c:v>0.046955356144933874</c:v>
                </c:pt>
                <c:pt idx="15">
                  <c:v>0.044986517383115515</c:v>
                </c:pt>
                <c:pt idx="16">
                  <c:v>0.0453389829974158</c:v>
                </c:pt>
                <c:pt idx="17">
                  <c:v>0.0607216418718374</c:v>
                </c:pt>
                <c:pt idx="18">
                  <c:v>0.0607216418718374</c:v>
                </c:pt>
                <c:pt idx="19">
                  <c:v>0.051876867256057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5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49557522123893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6772503259108661</c:v>
                </c:pt>
                <c:pt idx="2">
                  <c:v>1.0839131872920462</c:v>
                </c:pt>
                <c:pt idx="3">
                  <c:v>1.0364962670888576</c:v>
                </c:pt>
                <c:pt idx="4">
                  <c:v>0.4731867821466606</c:v>
                </c:pt>
                <c:pt idx="5">
                  <c:v>0.40223763599637335</c:v>
                </c:pt>
                <c:pt idx="6">
                  <c:v>0.49632239597428474</c:v>
                </c:pt>
                <c:pt idx="7">
                  <c:v>0.519642847061503</c:v>
                </c:pt>
                <c:pt idx="8">
                  <c:v>0.7030804485484851</c:v>
                </c:pt>
                <c:pt idx="9">
                  <c:v>0.5479660376685195</c:v>
                </c:pt>
                <c:pt idx="10">
                  <c:v>0.5122400603952084</c:v>
                </c:pt>
                <c:pt idx="11">
                  <c:v>0.6815756086768204</c:v>
                </c:pt>
                <c:pt idx="12">
                  <c:v>0.40036715603935347</c:v>
                </c:pt>
                <c:pt idx="13">
                  <c:v>0.3880737026791743</c:v>
                </c:pt>
                <c:pt idx="14">
                  <c:v>0.38803623463646153</c:v>
                </c:pt>
                <c:pt idx="15">
                  <c:v>0.4722507975927201</c:v>
                </c:pt>
                <c:pt idx="16">
                  <c:v>0.3941418138647051</c:v>
                </c:pt>
              </c:numCache>
            </c:numRef>
          </c:xVal>
          <c:yVal>
            <c:numRef>
              <c:f>Sheet1!$B$4:$B$20</c:f>
              <c:numCache>
                <c:formatCode>General</c:formatCode>
                <c:ptCount val="17"/>
                <c:pt idx="0">
                  <c:v>0.0</c:v>
                </c:pt>
                <c:pt idx="1">
                  <c:v>0.014285714285714285</c:v>
                </c:pt>
                <c:pt idx="2">
                  <c:v>0.010869565217391304</c:v>
                </c:pt>
                <c:pt idx="3">
                  <c:v>0.011764705882352941</c:v>
                </c:pt>
                <c:pt idx="4">
                  <c:v>0.043478260869565216</c:v>
                </c:pt>
                <c:pt idx="5">
                  <c:v>0.04716981132075472</c:v>
                </c:pt>
                <c:pt idx="6">
                  <c:v>0.06306306306306306</c:v>
                </c:pt>
                <c:pt idx="7">
                  <c:v>0.05405405405405406</c:v>
                </c:pt>
                <c:pt idx="8">
                  <c:v>0.02531645569620253</c:v>
                </c:pt>
                <c:pt idx="9">
                  <c:v>0.05</c:v>
                </c:pt>
                <c:pt idx="10">
                  <c:v>0.04830917874396135</c:v>
                </c:pt>
                <c:pt idx="11">
                  <c:v>0.03608247422680412</c:v>
                </c:pt>
                <c:pt idx="12">
                  <c:v>0.06403940886699508</c:v>
                </c:pt>
                <c:pt idx="13">
                  <c:v>0.05747126436781609</c:v>
                </c:pt>
                <c:pt idx="14">
                  <c:v>0.06837606837606838</c:v>
                </c:pt>
                <c:pt idx="15">
                  <c:v>0.07079646017699115</c:v>
                </c:pt>
                <c:pt idx="16">
                  <c:v>0.046242774566473986</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0855338946256046</c:v>
                </c:pt>
              </c:numCache>
            </c:numRef>
          </c:xVal>
          <c:yVal>
            <c:numRef>
              <c:f>Sheet1!$B$23:$B$24</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0855338946256046</c:v>
                </c:pt>
                <c:pt idx="1">
                  <c:v>-0.0855338946256046</c:v>
                </c:pt>
              </c:numCache>
            </c:numRef>
          </c:xVal>
          <c:yVal>
            <c:numRef>
              <c:f>Sheet1!$B$27:$B$28</c:f>
              <c:numCache>
                <c:formatCode>General</c:formatCode>
                <c:ptCount val="2"/>
                <c:pt idx="0">
                  <c:v>0.06072164187183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0855338946256046</c:v>
                </c:pt>
              </c:numCache>
            </c:numRef>
          </c:xVal>
          <c:yVal>
            <c:numRef>
              <c:f>Sheet1!$B$31:$B$32</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0855338946256046</c:v>
                </c:pt>
                <c:pt idx="1">
                  <c:v>-0.0855338946256046</c:v>
                </c:pt>
              </c:numCache>
            </c:numRef>
          </c:xVal>
          <c:yVal>
            <c:numRef>
              <c:f>Sheet1!$B$35:$B$36</c:f>
              <c:numCache>
                <c:formatCode>General</c:formatCode>
                <c:ptCount val="2"/>
                <c:pt idx="0">
                  <c:v>0.060721641871837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20743365028527844</c:v>
                </c:pt>
              </c:numCache>
            </c:numRef>
          </c:xVal>
          <c:yVal>
            <c:numRef>
              <c:f>Sheet1!$B$39:$B$40</c:f>
              <c:numCache>
                <c:formatCode>General</c:formatCode>
                <c:ptCount val="2"/>
                <c:pt idx="0">
                  <c:v>0.05187686725605767</c:v>
                </c:pt>
                <c:pt idx="1">
                  <c:v>0.05187686725605767</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20743365028527844</c:v>
                </c:pt>
                <c:pt idx="1">
                  <c:v>0.20743365028527844</c:v>
                </c:pt>
              </c:numCache>
            </c:numRef>
          </c:xVal>
          <c:yVal>
            <c:numRef>
              <c:f>Sheet1!$B$43:$B$44</c:f>
              <c:numCache>
                <c:formatCode>General</c:formatCode>
                <c:ptCount val="2"/>
                <c:pt idx="0">
                  <c:v>0.0518768672560576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0</c:v>
                </c:pt>
                <c:pt idx="1">
                  <c:v>0.6772503259108661</c:v>
                </c:pt>
                <c:pt idx="2">
                  <c:v>1.0839131872920462</c:v>
                </c:pt>
                <c:pt idx="3">
                  <c:v>1.0364962670888576</c:v>
                </c:pt>
                <c:pt idx="4">
                  <c:v>0.4731867821466606</c:v>
                </c:pt>
                <c:pt idx="5">
                  <c:v>0.40223763599637335</c:v>
                </c:pt>
                <c:pt idx="6">
                  <c:v>0.49632239597428474</c:v>
                </c:pt>
                <c:pt idx="7">
                  <c:v>0.519642847061503</c:v>
                </c:pt>
                <c:pt idx="8">
                  <c:v>0.7030804485484851</c:v>
                </c:pt>
                <c:pt idx="9">
                  <c:v>0.5479660376685195</c:v>
                </c:pt>
                <c:pt idx="10">
                  <c:v>0.5122400603952084</c:v>
                </c:pt>
                <c:pt idx="11">
                  <c:v>0.6815756086768204</c:v>
                </c:pt>
                <c:pt idx="12">
                  <c:v>0.40036715603935347</c:v>
                </c:pt>
                <c:pt idx="13">
                  <c:v>0.3880737026791743</c:v>
                </c:pt>
                <c:pt idx="14">
                  <c:v>0.38803623463646153</c:v>
                </c:pt>
                <c:pt idx="15">
                  <c:v>0.4722507975927201</c:v>
                </c:pt>
                <c:pt idx="16">
                  <c:v>0.3941418138647051</c:v>
                </c:pt>
                <c:pt idx="17">
                  <c:v>-0.0855338946256046</c:v>
                </c:pt>
                <c:pt idx="18">
                  <c:v>-0.0855338946256046</c:v>
                </c:pt>
                <c:pt idx="19">
                  <c:v>0.20743365028527844</c:v>
                </c:pt>
              </c:numCache>
            </c:numRef>
          </c:xVal>
          <c:yVal>
            <c:numRef>
              <c:f>Sheet1!$B$47:$B$66</c:f>
              <c:numCache>
                <c:formatCode>General</c:formatCode>
                <c:ptCount val="20"/>
                <c:pt idx="0">
                  <c:v>0.05813934894173331</c:v>
                </c:pt>
                <c:pt idx="1">
                  <c:v>0.037692966415071194</c:v>
                </c:pt>
                <c:pt idx="2">
                  <c:v>0.02541569742741344</c:v>
                </c:pt>
                <c:pt idx="3">
                  <c:v>0.026847227914175</c:v>
                </c:pt>
                <c:pt idx="4">
                  <c:v>0.043853703613591685</c:v>
                </c:pt>
                <c:pt idx="5">
                  <c:v>0.04599567878381811</c:v>
                </c:pt>
                <c:pt idx="6">
                  <c:v>0.04315523276431964</c:v>
                </c:pt>
                <c:pt idx="7">
                  <c:v>0.04245118162490928</c:v>
                </c:pt>
                <c:pt idx="8">
                  <c:v>0.03691314756825256</c:v>
                </c:pt>
                <c:pt idx="9">
                  <c:v>0.0415960963375781</c:v>
                </c:pt>
                <c:pt idx="10">
                  <c:v>0.04267467388789012</c:v>
                </c:pt>
                <c:pt idx="11">
                  <c:v>0.03756238488179582</c:v>
                </c:pt>
                <c:pt idx="12">
                  <c:v>0.04605214911280355</c:v>
                </c:pt>
                <c:pt idx="13">
                  <c:v>0.04642329201279085</c:v>
                </c:pt>
                <c:pt idx="14">
                  <c:v>0.04642442318379886</c:v>
                </c:pt>
                <c:pt idx="15">
                  <c:v>0.04388196125703124</c:v>
                </c:pt>
                <c:pt idx="16">
                  <c:v>0.046240093987235366</c:v>
                </c:pt>
                <c:pt idx="17">
                  <c:v>0.0607216418718374</c:v>
                </c:pt>
                <c:pt idx="18">
                  <c:v>0.0607216418718374</c:v>
                </c:pt>
                <c:pt idx="19">
                  <c:v>0.0518768672560576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49557522123893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9612.0</c:v>
                </c:pt>
                <c:pt idx="2">
                  <c:v>13322.0</c:v>
                </c:pt>
                <c:pt idx="3">
                  <c:v>14209.0</c:v>
                </c:pt>
                <c:pt idx="4">
                  <c:v>6198.25</c:v>
                </c:pt>
                <c:pt idx="5">
                  <c:v>5093.2</c:v>
                </c:pt>
                <c:pt idx="6">
                  <c:v>5328.4286</c:v>
                </c:pt>
                <c:pt idx="7">
                  <c:v>6130.1667</c:v>
                </c:pt>
                <c:pt idx="8">
                  <c:v>7577.25</c:v>
                </c:pt>
                <c:pt idx="9">
                  <c:v>5611.0</c:v>
                </c:pt>
                <c:pt idx="10">
                  <c:v>4851.4</c:v>
                </c:pt>
                <c:pt idx="11">
                  <c:v>6303.7143</c:v>
                </c:pt>
                <c:pt idx="12">
                  <c:v>4588.3077</c:v>
                </c:pt>
                <c:pt idx="13">
                  <c:v>4326.2</c:v>
                </c:pt>
                <c:pt idx="14">
                  <c:v>4497.1875</c:v>
                </c:pt>
                <c:pt idx="15">
                  <c:v>5210.4375</c:v>
                </c:pt>
                <c:pt idx="16">
                  <c:v>5082.75</c:v>
                </c:pt>
              </c:numCache>
            </c:numRef>
          </c:xVal>
          <c:yVal>
            <c:numRef>
              <c:f>Sheet1!$B$4:$B$20</c:f>
              <c:numCache>
                <c:formatCode>General</c:formatCode>
                <c:ptCount val="17"/>
                <c:pt idx="0">
                  <c:v>0.0</c:v>
                </c:pt>
                <c:pt idx="1">
                  <c:v>0.014285714285714285</c:v>
                </c:pt>
                <c:pt idx="2">
                  <c:v>0.010869565217391304</c:v>
                </c:pt>
                <c:pt idx="3">
                  <c:v>0.011764705882352941</c:v>
                </c:pt>
                <c:pt idx="4">
                  <c:v>0.043478260869565216</c:v>
                </c:pt>
                <c:pt idx="5">
                  <c:v>0.04716981132075472</c:v>
                </c:pt>
                <c:pt idx="6">
                  <c:v>0.06306306306306306</c:v>
                </c:pt>
                <c:pt idx="7">
                  <c:v>0.05405405405405406</c:v>
                </c:pt>
                <c:pt idx="8">
                  <c:v>0.02531645569620253</c:v>
                </c:pt>
                <c:pt idx="9">
                  <c:v>0.05</c:v>
                </c:pt>
                <c:pt idx="10">
                  <c:v>0.04830917874396135</c:v>
                </c:pt>
                <c:pt idx="11">
                  <c:v>0.03608247422680412</c:v>
                </c:pt>
                <c:pt idx="12">
                  <c:v>0.06403940886699508</c:v>
                </c:pt>
                <c:pt idx="13">
                  <c:v>0.05747126436781609</c:v>
                </c:pt>
                <c:pt idx="14">
                  <c:v>0.06837606837606838</c:v>
                </c:pt>
                <c:pt idx="15">
                  <c:v>0.07079646017699115</c:v>
                </c:pt>
                <c:pt idx="16">
                  <c:v>0.046242774566473986</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489.9163122215866</c:v>
                </c:pt>
              </c:numCache>
            </c:numRef>
          </c:xVal>
          <c:yVal>
            <c:numRef>
              <c:f>Sheet1!$B$23:$B$24</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489.9163122215866</c:v>
                </c:pt>
                <c:pt idx="1">
                  <c:v>-489.9163122215866</c:v>
                </c:pt>
              </c:numCache>
            </c:numRef>
          </c:xVal>
          <c:yVal>
            <c:numRef>
              <c:f>Sheet1!$B$27:$B$28</c:f>
              <c:numCache>
                <c:formatCode>General</c:formatCode>
                <c:ptCount val="2"/>
                <c:pt idx="0">
                  <c:v>0.06072164187183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489.9163122215866</c:v>
                </c:pt>
              </c:numCache>
            </c:numRef>
          </c:xVal>
          <c:yVal>
            <c:numRef>
              <c:f>Sheet1!$B$31:$B$32</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489.9163122215866</c:v>
                </c:pt>
                <c:pt idx="1">
                  <c:v>-489.9163122215866</c:v>
                </c:pt>
              </c:numCache>
            </c:numRef>
          </c:xVal>
          <c:yVal>
            <c:numRef>
              <c:f>Sheet1!$B$35:$B$36</c:f>
              <c:numCache>
                <c:formatCode>General</c:formatCode>
                <c:ptCount val="2"/>
                <c:pt idx="0">
                  <c:v>0.060721641871837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2714.2747150205532</c:v>
                </c:pt>
              </c:numCache>
            </c:numRef>
          </c:xVal>
          <c:yVal>
            <c:numRef>
              <c:f>Sheet1!$B$39:$B$40</c:f>
              <c:numCache>
                <c:formatCode>General</c:formatCode>
                <c:ptCount val="2"/>
                <c:pt idx="0">
                  <c:v>0.05187686725605767</c:v>
                </c:pt>
                <c:pt idx="1">
                  <c:v>0.05187686725605767</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2714.2747150205532</c:v>
                </c:pt>
                <c:pt idx="1">
                  <c:v>2714.2747150205532</c:v>
                </c:pt>
              </c:numCache>
            </c:numRef>
          </c:xVal>
          <c:yVal>
            <c:numRef>
              <c:f>Sheet1!$B$43:$B$44</c:f>
              <c:numCache>
                <c:formatCode>General</c:formatCode>
                <c:ptCount val="2"/>
                <c:pt idx="0">
                  <c:v>0.0518768672560576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9612.0</c:v>
                </c:pt>
                <c:pt idx="2">
                  <c:v>13322.0</c:v>
                </c:pt>
                <c:pt idx="3">
                  <c:v>14209.0</c:v>
                </c:pt>
                <c:pt idx="4">
                  <c:v>6198.25</c:v>
                </c:pt>
                <c:pt idx="5">
                  <c:v>5093.2</c:v>
                </c:pt>
                <c:pt idx="6">
                  <c:v>5328.4286</c:v>
                </c:pt>
                <c:pt idx="7">
                  <c:v>6130.1667</c:v>
                </c:pt>
                <c:pt idx="8">
                  <c:v>7577.25</c:v>
                </c:pt>
                <c:pt idx="9">
                  <c:v>5611.0</c:v>
                </c:pt>
                <c:pt idx="10">
                  <c:v>4851.4</c:v>
                </c:pt>
                <c:pt idx="11">
                  <c:v>6303.7143</c:v>
                </c:pt>
                <c:pt idx="12">
                  <c:v>4588.3077</c:v>
                </c:pt>
                <c:pt idx="13">
                  <c:v>4326.2</c:v>
                </c:pt>
                <c:pt idx="14">
                  <c:v>4497.1875</c:v>
                </c:pt>
                <c:pt idx="15">
                  <c:v>5210.4375</c:v>
                </c:pt>
                <c:pt idx="16">
                  <c:v>5082.75</c:v>
                </c:pt>
                <c:pt idx="17">
                  <c:v>-489.9163122215866</c:v>
                </c:pt>
                <c:pt idx="18">
                  <c:v>-489.9163122215866</c:v>
                </c:pt>
                <c:pt idx="19">
                  <c:v>2714.2747150205532</c:v>
                </c:pt>
              </c:numCache>
            </c:numRef>
          </c:xVal>
          <c:yVal>
            <c:numRef>
              <c:f>Sheet1!$B$47:$B$66</c:f>
              <c:numCache>
                <c:formatCode>General</c:formatCode>
                <c:ptCount val="20"/>
                <c:pt idx="0">
                  <c:v>0.059369288243307484</c:v>
                </c:pt>
                <c:pt idx="1">
                  <c:v>0.0328365463174778</c:v>
                </c:pt>
                <c:pt idx="2">
                  <c:v>0.022595548341528146</c:v>
                </c:pt>
                <c:pt idx="3">
                  <c:v>0.020147094108464172</c:v>
                </c:pt>
                <c:pt idx="4">
                  <c:v>0.0422597826625986</c:v>
                </c:pt>
                <c:pt idx="5">
                  <c:v>0.04531013705972075</c:v>
                </c:pt>
                <c:pt idx="6">
                  <c:v>0.04466081748654407</c:v>
                </c:pt>
                <c:pt idx="7">
                  <c:v>0.04244771822526598</c:v>
                </c:pt>
                <c:pt idx="8">
                  <c:v>0.0384532230375758</c:v>
                </c:pt>
                <c:pt idx="9">
                  <c:v>0.04388081394598847</c:v>
                </c:pt>
                <c:pt idx="10">
                  <c:v>0.045977596173085875</c:v>
                </c:pt>
                <c:pt idx="11">
                  <c:v>0.04196866145428729</c:v>
                </c:pt>
                <c:pt idx="12">
                  <c:v>0.04670383005766483</c:v>
                </c:pt>
                <c:pt idx="13">
                  <c:v>0.04742734607523379</c:v>
                </c:pt>
                <c:pt idx="14">
                  <c:v>0.046955356144933874</c:v>
                </c:pt>
                <c:pt idx="15">
                  <c:v>0.044986517383115515</c:v>
                </c:pt>
                <c:pt idx="16">
                  <c:v>0.0453389829974158</c:v>
                </c:pt>
                <c:pt idx="17">
                  <c:v>0.0607216418718374</c:v>
                </c:pt>
                <c:pt idx="18">
                  <c:v>0.0607216418718374</c:v>
                </c:pt>
                <c:pt idx="19">
                  <c:v>0.051876867256057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5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49557522123893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1.4077328646748681</c:v>
                </c:pt>
                <c:pt idx="2">
                  <c:v>2.0368107134103055</c:v>
                </c:pt>
                <c:pt idx="3">
                  <c:v>1.9125778679918808</c:v>
                </c:pt>
                <c:pt idx="4">
                  <c:v>0.8292432295449346</c:v>
                </c:pt>
                <c:pt idx="5">
                  <c:v>0.6691189994482251</c:v>
                </c:pt>
                <c:pt idx="6">
                  <c:v>0.7409721997022</c:v>
                </c:pt>
                <c:pt idx="7">
                  <c:v>0.9715207929828376</c:v>
                </c:pt>
                <c:pt idx="8">
                  <c:v>1.289958056381139</c:v>
                </c:pt>
                <c:pt idx="9">
                  <c:v>1.0007332230178487</c:v>
                </c:pt>
                <c:pt idx="10">
                  <c:v>0.8980522776234005</c:v>
                </c:pt>
                <c:pt idx="11">
                  <c:v>1.164799081806989</c:v>
                </c:pt>
                <c:pt idx="12">
                  <c:v>0.8815693333432987</c:v>
                </c:pt>
                <c:pt idx="13">
                  <c:v>0.9421078001547677</c:v>
                </c:pt>
                <c:pt idx="14">
                  <c:v>0.887940412027452</c:v>
                </c:pt>
                <c:pt idx="15">
                  <c:v>0.9508082879798453</c:v>
                </c:pt>
                <c:pt idx="16">
                  <c:v>0.941404024158397</c:v>
                </c:pt>
              </c:numCache>
            </c:numRef>
          </c:xVal>
          <c:yVal>
            <c:numRef>
              <c:f>Sheet1!$B$4:$B$20</c:f>
              <c:numCache>
                <c:formatCode>General</c:formatCode>
                <c:ptCount val="17"/>
                <c:pt idx="0">
                  <c:v>0.0</c:v>
                </c:pt>
                <c:pt idx="1">
                  <c:v>0.014285714285714285</c:v>
                </c:pt>
                <c:pt idx="2">
                  <c:v>0.010869565217391304</c:v>
                </c:pt>
                <c:pt idx="3">
                  <c:v>0.011764705882352941</c:v>
                </c:pt>
                <c:pt idx="4">
                  <c:v>0.043478260869565216</c:v>
                </c:pt>
                <c:pt idx="5">
                  <c:v>0.04716981132075472</c:v>
                </c:pt>
                <c:pt idx="6">
                  <c:v>0.06306306306306306</c:v>
                </c:pt>
                <c:pt idx="7">
                  <c:v>0.05405405405405406</c:v>
                </c:pt>
                <c:pt idx="8">
                  <c:v>0.02531645569620253</c:v>
                </c:pt>
                <c:pt idx="9">
                  <c:v>0.05</c:v>
                </c:pt>
                <c:pt idx="10">
                  <c:v>0.04830917874396135</c:v>
                </c:pt>
                <c:pt idx="11">
                  <c:v>0.03608247422680412</c:v>
                </c:pt>
                <c:pt idx="12">
                  <c:v>0.06403940886699508</c:v>
                </c:pt>
                <c:pt idx="13">
                  <c:v>0.05747126436781609</c:v>
                </c:pt>
                <c:pt idx="14">
                  <c:v>0.06837606837606838</c:v>
                </c:pt>
                <c:pt idx="15">
                  <c:v>0.07079646017699115</c:v>
                </c:pt>
                <c:pt idx="16">
                  <c:v>0.046242774566473986</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22531268925019315</c:v>
                </c:pt>
              </c:numCache>
            </c:numRef>
          </c:xVal>
          <c:yVal>
            <c:numRef>
              <c:f>Sheet1!$B$23:$B$24</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22531268925019315</c:v>
                </c:pt>
                <c:pt idx="1">
                  <c:v>-0.22531268925019315</c:v>
                </c:pt>
              </c:numCache>
            </c:numRef>
          </c:xVal>
          <c:yVal>
            <c:numRef>
              <c:f>Sheet1!$B$27:$B$28</c:f>
              <c:numCache>
                <c:formatCode>General</c:formatCode>
                <c:ptCount val="2"/>
                <c:pt idx="0">
                  <c:v>0.06072164187183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22531268925019315</c:v>
                </c:pt>
              </c:numCache>
            </c:numRef>
          </c:xVal>
          <c:yVal>
            <c:numRef>
              <c:f>Sheet1!$B$31:$B$32</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22531268925019315</c:v>
                </c:pt>
                <c:pt idx="1">
                  <c:v>-0.22531268925019315</c:v>
                </c:pt>
              </c:numCache>
            </c:numRef>
          </c:xVal>
          <c:yVal>
            <c:numRef>
              <c:f>Sheet1!$B$35:$B$36</c:f>
              <c:numCache>
                <c:formatCode>General</c:formatCode>
                <c:ptCount val="2"/>
                <c:pt idx="0">
                  <c:v>0.060721641871837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36321149182041707</c:v>
                </c:pt>
              </c:numCache>
            </c:numRef>
          </c:xVal>
          <c:yVal>
            <c:numRef>
              <c:f>Sheet1!$B$39:$B$40</c:f>
              <c:numCache>
                <c:formatCode>General</c:formatCode>
                <c:ptCount val="2"/>
                <c:pt idx="0">
                  <c:v>0.05187686725605767</c:v>
                </c:pt>
                <c:pt idx="1">
                  <c:v>0.05187686725605767</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36321149182041707</c:v>
                </c:pt>
                <c:pt idx="1">
                  <c:v>0.36321149182041707</c:v>
                </c:pt>
              </c:numCache>
            </c:numRef>
          </c:xVal>
          <c:yVal>
            <c:numRef>
              <c:f>Sheet1!$B$43:$B$44</c:f>
              <c:numCache>
                <c:formatCode>General</c:formatCode>
                <c:ptCount val="2"/>
                <c:pt idx="0">
                  <c:v>0.0518768672560576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0</c:v>
                </c:pt>
                <c:pt idx="1">
                  <c:v>1.4077328646748681</c:v>
                </c:pt>
                <c:pt idx="2">
                  <c:v>2.0368107134103055</c:v>
                </c:pt>
                <c:pt idx="3">
                  <c:v>1.9125778679918808</c:v>
                </c:pt>
                <c:pt idx="4">
                  <c:v>0.8292432295449346</c:v>
                </c:pt>
                <c:pt idx="5">
                  <c:v>0.6691189994482251</c:v>
                </c:pt>
                <c:pt idx="6">
                  <c:v>0.7409721997022</c:v>
                </c:pt>
                <c:pt idx="7">
                  <c:v>0.9715207929828376</c:v>
                </c:pt>
                <c:pt idx="8">
                  <c:v>1.289958056381139</c:v>
                </c:pt>
                <c:pt idx="9">
                  <c:v>1.0007332230178487</c:v>
                </c:pt>
                <c:pt idx="10">
                  <c:v>0.8980522776234005</c:v>
                </c:pt>
                <c:pt idx="11">
                  <c:v>1.164799081806989</c:v>
                </c:pt>
                <c:pt idx="12">
                  <c:v>0.8815693333432987</c:v>
                </c:pt>
                <c:pt idx="13">
                  <c:v>0.9421078001547677</c:v>
                </c:pt>
                <c:pt idx="14">
                  <c:v>0.887940412027452</c:v>
                </c:pt>
                <c:pt idx="15">
                  <c:v>0.9508082879798453</c:v>
                </c:pt>
                <c:pt idx="16">
                  <c:v>0.941404024158397</c:v>
                </c:pt>
                <c:pt idx="17">
                  <c:v>-0.22531268925019315</c:v>
                </c:pt>
                <c:pt idx="18">
                  <c:v>-0.22531268925019315</c:v>
                </c:pt>
                <c:pt idx="19">
                  <c:v>0.36321149182041707</c:v>
                </c:pt>
              </c:numCache>
            </c:numRef>
          </c:xVal>
          <c:yVal>
            <c:numRef>
              <c:f>Sheet1!$B$47:$B$66</c:f>
              <c:numCache>
                <c:formatCode>General</c:formatCode>
                <c:ptCount val="20"/>
                <c:pt idx="0">
                  <c:v>0.057335476921286155</c:v>
                </c:pt>
                <c:pt idx="1">
                  <c:v>0.03617903117486865</c:v>
                </c:pt>
                <c:pt idx="2">
                  <c:v>0.026724786189177986</c:v>
                </c:pt>
                <c:pt idx="3">
                  <c:v>0.0285918488400347</c:v>
                </c:pt>
                <c:pt idx="4">
                  <c:v>0.044872999247652104</c:v>
                </c:pt>
                <c:pt idx="5">
                  <c:v>0.04727946404771226</c:v>
                </c:pt>
                <c:pt idx="6">
                  <c:v>0.046199601261933794</c:v>
                </c:pt>
                <c:pt idx="7">
                  <c:v>0.0427347472913751</c:v>
                </c:pt>
                <c:pt idx="8">
                  <c:v>0.037949037689944565</c:v>
                </c:pt>
                <c:pt idx="9">
                  <c:v>0.04229572138904279</c:v>
                </c:pt>
                <c:pt idx="10">
                  <c:v>0.04383888622161934</c:v>
                </c:pt>
                <c:pt idx="11">
                  <c:v>0.03983001889149293</c:v>
                </c:pt>
                <c:pt idx="12">
                  <c:v>0.04408660404163609</c:v>
                </c:pt>
                <c:pt idx="13">
                  <c:v>0.043176787398999175</c:v>
                </c:pt>
                <c:pt idx="14">
                  <c:v>0.04399085478131135</c:v>
                </c:pt>
                <c:pt idx="15">
                  <c:v>0.043046030063386975</c:v>
                </c:pt>
                <c:pt idx="16">
                  <c:v>0.043187364262734104</c:v>
                </c:pt>
                <c:pt idx="17">
                  <c:v>0.0607216418718374</c:v>
                </c:pt>
                <c:pt idx="18">
                  <c:v>0.0607216418718374</c:v>
                </c:pt>
                <c:pt idx="19">
                  <c:v>0.0518768672560576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49557522123893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9612.0</c:v>
                </c:pt>
                <c:pt idx="2">
                  <c:v>13322.0</c:v>
                </c:pt>
                <c:pt idx="3">
                  <c:v>14209.0</c:v>
                </c:pt>
                <c:pt idx="4">
                  <c:v>6198.25</c:v>
                </c:pt>
                <c:pt idx="5">
                  <c:v>5093.2</c:v>
                </c:pt>
                <c:pt idx="6">
                  <c:v>5328.4286</c:v>
                </c:pt>
                <c:pt idx="7">
                  <c:v>6130.1667</c:v>
                </c:pt>
                <c:pt idx="8">
                  <c:v>7577.25</c:v>
                </c:pt>
                <c:pt idx="9">
                  <c:v>5611.0</c:v>
                </c:pt>
                <c:pt idx="10">
                  <c:v>4851.4</c:v>
                </c:pt>
                <c:pt idx="11">
                  <c:v>6303.7143</c:v>
                </c:pt>
                <c:pt idx="12">
                  <c:v>4588.3077</c:v>
                </c:pt>
                <c:pt idx="13">
                  <c:v>4326.2</c:v>
                </c:pt>
                <c:pt idx="14">
                  <c:v>4497.1875</c:v>
                </c:pt>
                <c:pt idx="15">
                  <c:v>5210.4375</c:v>
                </c:pt>
                <c:pt idx="16">
                  <c:v>5082.75</c:v>
                </c:pt>
              </c:numCache>
            </c:numRef>
          </c:xVal>
          <c:yVal>
            <c:numRef>
              <c:f>Sheet1!$B$4:$B$20</c:f>
              <c:numCache>
                <c:formatCode>General</c:formatCode>
                <c:ptCount val="17"/>
                <c:pt idx="0">
                  <c:v>0.0</c:v>
                </c:pt>
                <c:pt idx="1">
                  <c:v>0.014285714285714285</c:v>
                </c:pt>
                <c:pt idx="2">
                  <c:v>0.010869565217391304</c:v>
                </c:pt>
                <c:pt idx="3">
                  <c:v>0.011764705882352941</c:v>
                </c:pt>
                <c:pt idx="4">
                  <c:v>0.043478260869565216</c:v>
                </c:pt>
                <c:pt idx="5">
                  <c:v>0.04716981132075472</c:v>
                </c:pt>
                <c:pt idx="6">
                  <c:v>0.06306306306306306</c:v>
                </c:pt>
                <c:pt idx="7">
                  <c:v>0.05405405405405406</c:v>
                </c:pt>
                <c:pt idx="8">
                  <c:v>0.02531645569620253</c:v>
                </c:pt>
                <c:pt idx="9">
                  <c:v>0.05</c:v>
                </c:pt>
                <c:pt idx="10">
                  <c:v>0.04830917874396135</c:v>
                </c:pt>
                <c:pt idx="11">
                  <c:v>0.03608247422680412</c:v>
                </c:pt>
                <c:pt idx="12">
                  <c:v>0.06403940886699508</c:v>
                </c:pt>
                <c:pt idx="13">
                  <c:v>0.05747126436781609</c:v>
                </c:pt>
                <c:pt idx="14">
                  <c:v>0.06837606837606838</c:v>
                </c:pt>
                <c:pt idx="15">
                  <c:v>0.07079646017699115</c:v>
                </c:pt>
                <c:pt idx="16">
                  <c:v>0.046242774566473986</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489.9163122215866</c:v>
                </c:pt>
              </c:numCache>
            </c:numRef>
          </c:xVal>
          <c:yVal>
            <c:numRef>
              <c:f>Sheet1!$B$23:$B$24</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489.9163122215866</c:v>
                </c:pt>
                <c:pt idx="1">
                  <c:v>-489.9163122215866</c:v>
                </c:pt>
              </c:numCache>
            </c:numRef>
          </c:xVal>
          <c:yVal>
            <c:numRef>
              <c:f>Sheet1!$B$27:$B$28</c:f>
              <c:numCache>
                <c:formatCode>General</c:formatCode>
                <c:ptCount val="2"/>
                <c:pt idx="0">
                  <c:v>0.06072164187183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489.9163122215866</c:v>
                </c:pt>
              </c:numCache>
            </c:numRef>
          </c:xVal>
          <c:yVal>
            <c:numRef>
              <c:f>Sheet1!$B$31:$B$32</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489.9163122215866</c:v>
                </c:pt>
                <c:pt idx="1">
                  <c:v>-489.9163122215866</c:v>
                </c:pt>
              </c:numCache>
            </c:numRef>
          </c:xVal>
          <c:yVal>
            <c:numRef>
              <c:f>Sheet1!$B$35:$B$36</c:f>
              <c:numCache>
                <c:formatCode>General</c:formatCode>
                <c:ptCount val="2"/>
                <c:pt idx="0">
                  <c:v>0.060721641871837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2714.2747150205532</c:v>
                </c:pt>
              </c:numCache>
            </c:numRef>
          </c:xVal>
          <c:yVal>
            <c:numRef>
              <c:f>Sheet1!$B$39:$B$40</c:f>
              <c:numCache>
                <c:formatCode>General</c:formatCode>
                <c:ptCount val="2"/>
                <c:pt idx="0">
                  <c:v>0.05187686725605767</c:v>
                </c:pt>
                <c:pt idx="1">
                  <c:v>0.05187686725605767</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2714.2747150205532</c:v>
                </c:pt>
                <c:pt idx="1">
                  <c:v>2714.2747150205532</c:v>
                </c:pt>
              </c:numCache>
            </c:numRef>
          </c:xVal>
          <c:yVal>
            <c:numRef>
              <c:f>Sheet1!$B$43:$B$44</c:f>
              <c:numCache>
                <c:formatCode>General</c:formatCode>
                <c:ptCount val="2"/>
                <c:pt idx="0">
                  <c:v>0.0518768672560576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9612.0</c:v>
                </c:pt>
                <c:pt idx="2">
                  <c:v>13322.0</c:v>
                </c:pt>
                <c:pt idx="3">
                  <c:v>14209.0</c:v>
                </c:pt>
                <c:pt idx="4">
                  <c:v>6198.25</c:v>
                </c:pt>
                <c:pt idx="5">
                  <c:v>5093.2</c:v>
                </c:pt>
                <c:pt idx="6">
                  <c:v>5328.4286</c:v>
                </c:pt>
                <c:pt idx="7">
                  <c:v>6130.1667</c:v>
                </c:pt>
                <c:pt idx="8">
                  <c:v>7577.25</c:v>
                </c:pt>
                <c:pt idx="9">
                  <c:v>5611.0</c:v>
                </c:pt>
                <c:pt idx="10">
                  <c:v>4851.4</c:v>
                </c:pt>
                <c:pt idx="11">
                  <c:v>6303.7143</c:v>
                </c:pt>
                <c:pt idx="12">
                  <c:v>4588.3077</c:v>
                </c:pt>
                <c:pt idx="13">
                  <c:v>4326.2</c:v>
                </c:pt>
                <c:pt idx="14">
                  <c:v>4497.1875</c:v>
                </c:pt>
                <c:pt idx="15">
                  <c:v>5210.4375</c:v>
                </c:pt>
                <c:pt idx="16">
                  <c:v>5082.75</c:v>
                </c:pt>
                <c:pt idx="17">
                  <c:v>-489.9163122215866</c:v>
                </c:pt>
                <c:pt idx="18">
                  <c:v>-489.9163122215866</c:v>
                </c:pt>
                <c:pt idx="19">
                  <c:v>2714.2747150205532</c:v>
                </c:pt>
              </c:numCache>
            </c:numRef>
          </c:xVal>
          <c:yVal>
            <c:numRef>
              <c:f>Sheet1!$B$47:$B$66</c:f>
              <c:numCache>
                <c:formatCode>General</c:formatCode>
                <c:ptCount val="20"/>
                <c:pt idx="0">
                  <c:v>0.059369288243307484</c:v>
                </c:pt>
                <c:pt idx="1">
                  <c:v>0.0328365463174778</c:v>
                </c:pt>
                <c:pt idx="2">
                  <c:v>0.022595548341528146</c:v>
                </c:pt>
                <c:pt idx="3">
                  <c:v>0.020147094108464172</c:v>
                </c:pt>
                <c:pt idx="4">
                  <c:v>0.0422597826625986</c:v>
                </c:pt>
                <c:pt idx="5">
                  <c:v>0.04531013705972075</c:v>
                </c:pt>
                <c:pt idx="6">
                  <c:v>0.04466081748654407</c:v>
                </c:pt>
                <c:pt idx="7">
                  <c:v>0.04244771822526598</c:v>
                </c:pt>
                <c:pt idx="8">
                  <c:v>0.0384532230375758</c:v>
                </c:pt>
                <c:pt idx="9">
                  <c:v>0.04388081394598847</c:v>
                </c:pt>
                <c:pt idx="10">
                  <c:v>0.045977596173085875</c:v>
                </c:pt>
                <c:pt idx="11">
                  <c:v>0.04196866145428729</c:v>
                </c:pt>
                <c:pt idx="12">
                  <c:v>0.04670383005766483</c:v>
                </c:pt>
                <c:pt idx="13">
                  <c:v>0.04742734607523379</c:v>
                </c:pt>
                <c:pt idx="14">
                  <c:v>0.046955356144933874</c:v>
                </c:pt>
                <c:pt idx="15">
                  <c:v>0.044986517383115515</c:v>
                </c:pt>
                <c:pt idx="16">
                  <c:v>0.0453389829974158</c:v>
                </c:pt>
                <c:pt idx="17">
                  <c:v>0.0607216418718374</c:v>
                </c:pt>
                <c:pt idx="18">
                  <c:v>0.0607216418718374</c:v>
                </c:pt>
                <c:pt idx="19">
                  <c:v>0.051876867256057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5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49557522123893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864720023527674</c:v>
                </c:pt>
                <c:pt idx="1">
                  <c:v>0.765821509684601</c:v>
                </c:pt>
                <c:pt idx="2">
                  <c:v>0.7286177973127205</c:v>
                </c:pt>
                <c:pt idx="3">
                  <c:v>0.7233900889071414</c:v>
                </c:pt>
                <c:pt idx="4">
                  <c:v>0.7336311510321554</c:v>
                </c:pt>
                <c:pt idx="5">
                  <c:v>0.7584929828785643</c:v>
                </c:pt>
                <c:pt idx="6">
                  <c:v>0.7278361600752346</c:v>
                </c:pt>
                <c:pt idx="7">
                  <c:v>0.7212303150855516</c:v>
                </c:pt>
                <c:pt idx="8">
                  <c:v>0.7371075444839278</c:v>
                </c:pt>
                <c:pt idx="9">
                  <c:v>0.769354991842554</c:v>
                </c:pt>
                <c:pt idx="10">
                  <c:v>0.7803842250747448</c:v>
                </c:pt>
                <c:pt idx="11">
                  <c:v>0.839314707693777</c:v>
                </c:pt>
                <c:pt idx="12">
                  <c:v>0.862348314816022</c:v>
                </c:pt>
                <c:pt idx="13">
                  <c:v>0.8699508295563878</c:v>
                </c:pt>
                <c:pt idx="14">
                  <c:v>0.888810242218521</c:v>
                </c:pt>
                <c:pt idx="15">
                  <c:v>0.9101099822065175</c:v>
                </c:pt>
                <c:pt idx="16">
                  <c:v>0.9255176674879497</c:v>
                </c:pt>
                <c:pt idx="17">
                  <c:v>0.9354832978904913</c:v>
                </c:pt>
                <c:pt idx="18">
                  <c:v>0.9713301048962443</c:v>
                </c:pt>
                <c:pt idx="19">
                  <c:v>0.9672235545649142</c:v>
                </c:pt>
                <c:pt idx="20">
                  <c:v>0.9922718213374879</c:v>
                </c:pt>
                <c:pt idx="21">
                  <c:v>0.9083462034779459</c:v>
                </c:pt>
                <c:pt idx="22">
                  <c:v>0.8431985092409328</c:v>
                </c:pt>
                <c:pt idx="23">
                  <c:v>0.8216289333023206</c:v>
                </c:pt>
                <c:pt idx="24">
                  <c:v>0.8045692794620937</c:v>
                </c:pt>
                <c:pt idx="25">
                  <c:v>0.7726456876603642</c:v>
                </c:pt>
                <c:pt idx="26">
                  <c:v>0.7657707267896039</c:v>
                </c:pt>
                <c:pt idx="27">
                  <c:v>0.7937598979572092</c:v>
                </c:pt>
                <c:pt idx="28">
                  <c:v>0.7802054230292115</c:v>
                </c:pt>
                <c:pt idx="29">
                  <c:v>0.7653963258174612</c:v>
                </c:pt>
                <c:pt idx="30">
                  <c:v>0.7671053467225268</c:v>
                </c:pt>
                <c:pt idx="31">
                  <c:v>0.7797702664428183</c:v>
                </c:pt>
                <c:pt idx="32">
                  <c:v>0.7503052659797395</c:v>
                </c:pt>
                <c:pt idx="33">
                  <c:v>0.7285769596288535</c:v>
                </c:pt>
                <c:pt idx="34">
                  <c:v>0.7836491127193352</c:v>
                </c:pt>
                <c:pt idx="35">
                  <c:v>0.8367500773734203</c:v>
                </c:pt>
                <c:pt idx="36">
                  <c:v>0.9260284809447479</c:v>
                </c:pt>
                <c:pt idx="37">
                  <c:v>0.9294233502031862</c:v>
                </c:pt>
                <c:pt idx="38">
                  <c:v>0.9880788319488845</c:v>
                </c:pt>
                <c:pt idx="39">
                  <c:v>1.0268271000860765</c:v>
                </c:pt>
                <c:pt idx="40">
                  <c:v>0.9705349469585068</c:v>
                </c:pt>
                <c:pt idx="41">
                  <c:v>0.9727127886071638</c:v>
                </c:pt>
                <c:pt idx="42">
                  <c:v>0.9709600990980544</c:v>
                </c:pt>
                <c:pt idx="43">
                  <c:v>0.9697461116925374</c:v>
                </c:pt>
                <c:pt idx="44">
                  <c:v>0.9561898640198532</c:v>
                </c:pt>
                <c:pt idx="45">
                  <c:v>0.9468586104553125</c:v>
                </c:pt>
                <c:pt idx="46">
                  <c:v>0.9545883960840096</c:v>
                </c:pt>
                <c:pt idx="47">
                  <c:v>0.9791304891878432</c:v>
                </c:pt>
                <c:pt idx="48">
                  <c:v>0.9563921925062984</c:v>
                </c:pt>
                <c:pt idx="49">
                  <c:v>0.9095157988280991</c:v>
                </c:pt>
                <c:pt idx="50">
                  <c:v>0.9142734786894181</c:v>
                </c:pt>
                <c:pt idx="51">
                  <c:v>0.9219368875690263</c:v>
                </c:pt>
                <c:pt idx="52">
                  <c:v>0.8991086485984039</c:v>
                </c:pt>
                <c:pt idx="53">
                  <c:v>0.8708670851139629</c:v>
                </c:pt>
                <c:pt idx="54">
                  <c:v>0.839755743050837</c:v>
                </c:pt>
                <c:pt idx="55">
                  <c:v>0.8783178462816905</c:v>
                </c:pt>
                <c:pt idx="56">
                  <c:v>0.8594624158368455</c:v>
                </c:pt>
                <c:pt idx="57">
                  <c:v>0.8513465990866483</c:v>
                </c:pt>
                <c:pt idx="58">
                  <c:v>0.8400005196511656</c:v>
                </c:pt>
                <c:pt idx="59">
                  <c:v>0.8187598190107637</c:v>
                </c:pt>
                <c:pt idx="60">
                  <c:v>0.8156455299753091</c:v>
                </c:pt>
                <c:pt idx="61">
                  <c:v>0.9291714878657032</c:v>
                </c:pt>
                <c:pt idx="62">
                  <c:v>0.950078956699833</c:v>
                </c:pt>
                <c:pt idx="63">
                  <c:v>0.9742132501721154</c:v>
                </c:pt>
                <c:pt idx="64">
                  <c:v>1.0170514560306863</c:v>
                </c:pt>
                <c:pt idx="65">
                  <c:v>0.9848679252546475</c:v>
                </c:pt>
                <c:pt idx="66">
                  <c:v>0.9666451732887777</c:v>
                </c:pt>
                <c:pt idx="67">
                  <c:v>1.0127386569684196</c:v>
                </c:pt>
                <c:pt idx="68">
                  <c:v>1.0494519683532546</c:v>
                </c:pt>
                <c:pt idx="69">
                  <c:v>1.07442633636865</c:v>
                </c:pt>
                <c:pt idx="70">
                  <c:v>1.036075758982421</c:v>
                </c:pt>
                <c:pt idx="71">
                  <c:v>0.9992211580749462</c:v>
                </c:pt>
                <c:pt idx="72">
                  <c:v>1.1400478467248125</c:v>
                </c:pt>
                <c:pt idx="73">
                  <c:v>1.031644563929685</c:v>
                </c:pt>
                <c:pt idx="74">
                  <c:v>1.0038464967061405</c:v>
                </c:pt>
                <c:pt idx="75">
                  <c:v>0.9553114289453604</c:v>
                </c:pt>
                <c:pt idx="76">
                  <c:v>0.9352098462306748</c:v>
                </c:pt>
                <c:pt idx="77">
                  <c:v>0.9805635521775243</c:v>
                </c:pt>
                <c:pt idx="78">
                  <c:v>1.0129745279140447</c:v>
                </c:pt>
                <c:pt idx="79">
                  <c:v>0.9901393502195693</c:v>
                </c:pt>
                <c:pt idx="80">
                  <c:v>1.0328408395972783</c:v>
                </c:pt>
                <c:pt idx="81">
                  <c:v>1.0001093667672185</c:v>
                </c:pt>
                <c:pt idx="82">
                  <c:v>0.9978161878699601</c:v>
                </c:pt>
                <c:pt idx="83">
                  <c:v>0.9653212037811603</c:v>
                </c:pt>
                <c:pt idx="84">
                  <c:v>0.9971326548077383</c:v>
                </c:pt>
                <c:pt idx="85">
                  <c:v>0.9693189804289759</c:v>
                </c:pt>
                <c:pt idx="86">
                  <c:v>0.980871154475505</c:v>
                </c:pt>
                <c:pt idx="87">
                  <c:v>0.9637521335156947</c:v>
                </c:pt>
                <c:pt idx="88">
                  <c:v>0.9560442660533811</c:v>
                </c:pt>
                <c:pt idx="89">
                  <c:v>0.952184530295842</c:v>
                </c:pt>
                <c:pt idx="90">
                  <c:v>0.9801281586521048</c:v>
                </c:pt>
                <c:pt idx="91">
                  <c:v>1.003506690927085</c:v>
                </c:pt>
                <c:pt idx="92">
                  <c:v>0.98501497904795</c:v>
                </c:pt>
                <c:pt idx="93">
                  <c:v>0.9860123405204408</c:v>
                </c:pt>
                <c:pt idx="94">
                  <c:v>0.9764489132773322</c:v>
                </c:pt>
                <c:pt idx="95">
                  <c:v>0.9562077013493613</c:v>
                </c:pt>
                <c:pt idx="96">
                  <c:v>0.9887771636761465</c:v>
                </c:pt>
                <c:pt idx="97">
                  <c:v>1.0205329282186586</c:v>
                </c:pt>
                <c:pt idx="98">
                  <c:v>1.0087328126207016</c:v>
                </c:pt>
                <c:pt idx="99">
                  <c:v>0.9868435261960944</c:v>
                </c:pt>
                <c:pt idx="100">
                  <c:v>0.9399851458127589</c:v>
                </c:pt>
                <c:pt idx="101">
                  <c:v>0.8947871799804641</c:v>
                </c:pt>
                <c:pt idx="102">
                  <c:v>0.9109327196085539</c:v>
                </c:pt>
                <c:pt idx="103">
                  <c:v>0.925335774457976</c:v>
                </c:pt>
                <c:pt idx="104">
                  <c:v>0.9137845888461016</c:v>
                </c:pt>
              </c:numCache>
            </c:numRef>
          </c:xVal>
          <c:yVal>
            <c:numRef>
              <c:f>Sheet1!$B$2:$B$106</c:f>
              <c:numCache>
                <c:formatCode>General</c:formatCode>
                <c:ptCount val="105"/>
                <c:pt idx="0">
                  <c:v>0.4656209924040643</c:v>
                </c:pt>
                <c:pt idx="1">
                  <c:v>0.5020080321285141</c:v>
                </c:pt>
                <c:pt idx="2">
                  <c:v>0.5358538267065043</c:v>
                </c:pt>
                <c:pt idx="3">
                  <c:v>0.5432300163132137</c:v>
                </c:pt>
                <c:pt idx="4">
                  <c:v>0.5310869871704498</c:v>
                </c:pt>
                <c:pt idx="5">
                  <c:v>0.5077170849550396</c:v>
                </c:pt>
                <c:pt idx="6">
                  <c:v>0.5198478725932969</c:v>
                </c:pt>
                <c:pt idx="7">
                  <c:v>0.5413985413985414</c:v>
                </c:pt>
                <c:pt idx="8">
                  <c:v>0.5266615737203972</c:v>
                </c:pt>
                <c:pt idx="9">
                  <c:v>0.5055350553505535</c:v>
                </c:pt>
                <c:pt idx="10">
                  <c:v>0.48268817204301073</c:v>
                </c:pt>
                <c:pt idx="11">
                  <c:v>0.4288003663003663</c:v>
                </c:pt>
                <c:pt idx="12">
                  <c:v>0.4078597981943707</c:v>
                </c:pt>
                <c:pt idx="13">
                  <c:v>0.3852669954964615</c:v>
                </c:pt>
                <c:pt idx="14">
                  <c:v>0.36181619256017505</c:v>
                </c:pt>
                <c:pt idx="15">
                  <c:v>0.3657587548638132</c:v>
                </c:pt>
                <c:pt idx="16">
                  <c:v>0.35026081620128874</c:v>
                </c:pt>
                <c:pt idx="17">
                  <c:v>0.3487881981032666</c:v>
                </c:pt>
                <c:pt idx="18">
                  <c:v>0.34431021044427124</c:v>
                </c:pt>
                <c:pt idx="19">
                  <c:v>0.3570285714285714</c:v>
                </c:pt>
                <c:pt idx="20">
                  <c:v>0.35496110794915575</c:v>
                </c:pt>
                <c:pt idx="21">
                  <c:v>0.4081329035457476</c:v>
                </c:pt>
                <c:pt idx="22">
                  <c:v>0.45787545787545786</c:v>
                </c:pt>
                <c:pt idx="23">
                  <c:v>0.46746411483253586</c:v>
                </c:pt>
                <c:pt idx="24">
                  <c:v>0.47975215755698164</c:v>
                </c:pt>
                <c:pt idx="25">
                  <c:v>0.48357391737182676</c:v>
                </c:pt>
                <c:pt idx="26">
                  <c:v>0.4870477413830015</c:v>
                </c:pt>
                <c:pt idx="27">
                  <c:v>0.46853569987898347</c:v>
                </c:pt>
                <c:pt idx="28">
                  <c:v>0.4591639871382637</c:v>
                </c:pt>
                <c:pt idx="29">
                  <c:v>0.4572017231691328</c:v>
                </c:pt>
                <c:pt idx="30">
                  <c:v>0.4680952380952381</c:v>
                </c:pt>
                <c:pt idx="31">
                  <c:v>0.480642970341861</c:v>
                </c:pt>
                <c:pt idx="32">
                  <c:v>0.49521422060164083</c:v>
                </c:pt>
                <c:pt idx="33">
                  <c:v>0.4971641261963843</c:v>
                </c:pt>
                <c:pt idx="34">
                  <c:v>0.46928968313560593</c:v>
                </c:pt>
                <c:pt idx="35">
                  <c:v>0.45300581771170007</c:v>
                </c:pt>
                <c:pt idx="36">
                  <c:v>0.42409598400266624</c:v>
                </c:pt>
                <c:pt idx="37">
                  <c:v>0.4296724470134875</c:v>
                </c:pt>
                <c:pt idx="38">
                  <c:v>0.41657966172478594</c:v>
                </c:pt>
                <c:pt idx="39">
                  <c:v>0.4021879021879022</c:v>
                </c:pt>
                <c:pt idx="40">
                  <c:v>0.41426827141112854</c:v>
                </c:pt>
                <c:pt idx="41">
                  <c:v>0.40322902132748656</c:v>
                </c:pt>
                <c:pt idx="42">
                  <c:v>0.4000685048809728</c:v>
                </c:pt>
                <c:pt idx="43">
                  <c:v>0.39660277388187626</c:v>
                </c:pt>
                <c:pt idx="44">
                  <c:v>0.3877005347593583</c:v>
                </c:pt>
                <c:pt idx="45">
                  <c:v>0.40102742563592675</c:v>
                </c:pt>
                <c:pt idx="46">
                  <c:v>0.40256994144437214</c:v>
                </c:pt>
                <c:pt idx="47">
                  <c:v>0.39088328602437805</c:v>
                </c:pt>
                <c:pt idx="48">
                  <c:v>0.39224559686888455</c:v>
                </c:pt>
                <c:pt idx="49">
                  <c:v>0.415524729097272</c:v>
                </c:pt>
                <c:pt idx="50">
                  <c:v>0.40365966776288054</c:v>
                </c:pt>
                <c:pt idx="51">
                  <c:v>0.3969124063094306</c:v>
                </c:pt>
                <c:pt idx="52">
                  <c:v>0.4093322157027103</c:v>
                </c:pt>
                <c:pt idx="53">
                  <c:v>0.4118544600938967</c:v>
                </c:pt>
                <c:pt idx="54">
                  <c:v>0.42954964445614957</c:v>
                </c:pt>
                <c:pt idx="55">
                  <c:v>0.4230409825123482</c:v>
                </c:pt>
                <c:pt idx="56">
                  <c:v>0.43329989969909727</c:v>
                </c:pt>
                <c:pt idx="57">
                  <c:v>0.435274302213667</c:v>
                </c:pt>
                <c:pt idx="58">
                  <c:v>0.43751990657182294</c:v>
                </c:pt>
                <c:pt idx="59">
                  <c:v>0.4555774590442526</c:v>
                </c:pt>
                <c:pt idx="60">
                  <c:v>0.46228456315750205</c:v>
                </c:pt>
                <c:pt idx="61">
                  <c:v>0.4435924369747899</c:v>
                </c:pt>
                <c:pt idx="62">
                  <c:v>0.446161369193154</c:v>
                </c:pt>
                <c:pt idx="63">
                  <c:v>0.4603357910633384</c:v>
                </c:pt>
                <c:pt idx="64">
                  <c:v>0.41445925426016533</c:v>
                </c:pt>
                <c:pt idx="65">
                  <c:v>0.3919057855874381</c:v>
                </c:pt>
                <c:pt idx="66">
                  <c:v>0.40365287978353304</c:v>
                </c:pt>
                <c:pt idx="67">
                  <c:v>0.3912951616311008</c:v>
                </c:pt>
                <c:pt idx="68">
                  <c:v>0.381054036024016</c:v>
                </c:pt>
                <c:pt idx="69">
                  <c:v>0.3703767123287671</c:v>
                </c:pt>
                <c:pt idx="70">
                  <c:v>0.3760556383507203</c:v>
                </c:pt>
                <c:pt idx="71">
                  <c:v>0.39188427578433216</c:v>
                </c:pt>
                <c:pt idx="72">
                  <c:v>0.36929460580912865</c:v>
                </c:pt>
                <c:pt idx="73">
                  <c:v>0.39154984423676015</c:v>
                </c:pt>
                <c:pt idx="74">
                  <c:v>0.3922312556458898</c:v>
                </c:pt>
                <c:pt idx="75">
                  <c:v>0.4071747061207945</c:v>
                </c:pt>
                <c:pt idx="76">
                  <c:v>0.4070307318151669</c:v>
                </c:pt>
                <c:pt idx="77">
                  <c:v>0.40476190476190477</c:v>
                </c:pt>
                <c:pt idx="78">
                  <c:v>0.38565488565488565</c:v>
                </c:pt>
                <c:pt idx="79">
                  <c:v>0.3820810618630007</c:v>
                </c:pt>
                <c:pt idx="80">
                  <c:v>0.36182994454713496</c:v>
                </c:pt>
                <c:pt idx="81">
                  <c:v>0.3755707762557078</c:v>
                </c:pt>
                <c:pt idx="82">
                  <c:v>0.37569199798691494</c:v>
                </c:pt>
                <c:pt idx="83">
                  <c:v>0.3840434658278524</c:v>
                </c:pt>
                <c:pt idx="84">
                  <c:v>0.3814636903079966</c:v>
                </c:pt>
                <c:pt idx="85">
                  <c:v>0.3962217860647694</c:v>
                </c:pt>
                <c:pt idx="86">
                  <c:v>0.38717128642501775</c:v>
                </c:pt>
                <c:pt idx="87">
                  <c:v>0.39503386004514673</c:v>
                </c:pt>
                <c:pt idx="88">
                  <c:v>0.39035836177474403</c:v>
                </c:pt>
                <c:pt idx="89">
                  <c:v>0.4000483442107808</c:v>
                </c:pt>
                <c:pt idx="90">
                  <c:v>0.38532799198798195</c:v>
                </c:pt>
                <c:pt idx="91">
                  <c:v>0.36058174523570713</c:v>
                </c:pt>
                <c:pt idx="92">
                  <c:v>0.3607016234372084</c:v>
                </c:pt>
                <c:pt idx="93">
                  <c:v>0.34939541598989354</c:v>
                </c:pt>
                <c:pt idx="94">
                  <c:v>0.35541930379746833</c:v>
                </c:pt>
                <c:pt idx="95">
                  <c:v>0.3566240557815224</c:v>
                </c:pt>
                <c:pt idx="96">
                  <c:v>0.3629177506503902</c:v>
                </c:pt>
                <c:pt idx="97">
                  <c:v>0.3668784413384159</c:v>
                </c:pt>
                <c:pt idx="98">
                  <c:v>0.37420626231661924</c:v>
                </c:pt>
                <c:pt idx="99">
                  <c:v>0.3795620437956204</c:v>
                </c:pt>
                <c:pt idx="100">
                  <c:v>0.38089468779123953</c:v>
                </c:pt>
                <c:pt idx="101">
                  <c:v>0.40074812967581047</c:v>
                </c:pt>
                <c:pt idx="102">
                  <c:v>0.39029662543533084</c:v>
                </c:pt>
                <c:pt idx="103">
                  <c:v>0.3605958958168903</c:v>
                </c:pt>
                <c:pt idx="104">
                  <c:v>0.360663621062755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080660418894728</c:v>
                </c:pt>
                <c:pt idx="1">
                  <c:v>0.863202023460514</c:v>
                </c:pt>
                <c:pt idx="2">
                  <c:v>0.8719208545744277</c:v>
                </c:pt>
                <c:pt idx="3">
                  <c:v>0.8375534602678223</c:v>
                </c:pt>
                <c:pt idx="4">
                  <c:v>0.853849514861926</c:v>
                </c:pt>
                <c:pt idx="5">
                  <c:v>0.8633903336120659</c:v>
                </c:pt>
                <c:pt idx="6">
                  <c:v>0.8649290186861139</c:v>
                </c:pt>
                <c:pt idx="7">
                  <c:v>0.9104037994814114</c:v>
                </c:pt>
                <c:pt idx="8">
                  <c:v>0.9272656466014068</c:v>
                </c:pt>
                <c:pt idx="9">
                  <c:v>0.9042807696926908</c:v>
                </c:pt>
                <c:pt idx="10">
                  <c:v>0.9339307215164196</c:v>
                </c:pt>
                <c:pt idx="11">
                  <c:v>0.8706630039611589</c:v>
                </c:pt>
                <c:pt idx="12">
                  <c:v>0.8844019570356383</c:v>
                </c:pt>
                <c:pt idx="13">
                  <c:v>0.8847671905264949</c:v>
                </c:pt>
                <c:pt idx="14">
                  <c:v>0.8675048571416843</c:v>
                </c:pt>
                <c:pt idx="15">
                  <c:v>0.8821525306773305</c:v>
                </c:pt>
                <c:pt idx="16">
                  <c:v>0.9124626713063694</c:v>
                </c:pt>
                <c:pt idx="17">
                  <c:v>0.9118215008721251</c:v>
                </c:pt>
                <c:pt idx="18">
                  <c:v>0.9251146997756867</c:v>
                </c:pt>
                <c:pt idx="19">
                  <c:v>0.9106032528491188</c:v>
                </c:pt>
                <c:pt idx="20">
                  <c:v>0.8758165246879908</c:v>
                </c:pt>
                <c:pt idx="21">
                  <c:v>0.8123666628628657</c:v>
                </c:pt>
                <c:pt idx="22">
                  <c:v>0.8638681687031475</c:v>
                </c:pt>
                <c:pt idx="23">
                  <c:v>0.8673110599291914</c:v>
                </c:pt>
                <c:pt idx="24">
                  <c:v>0.8848275714650766</c:v>
                </c:pt>
                <c:pt idx="25">
                  <c:v>0.916566506151045</c:v>
                </c:pt>
                <c:pt idx="26">
                  <c:v>0.9034106276797484</c:v>
                </c:pt>
                <c:pt idx="27">
                  <c:v>0.9076158749773117</c:v>
                </c:pt>
                <c:pt idx="28">
                  <c:v>0.9149746321202453</c:v>
                </c:pt>
                <c:pt idx="29">
                  <c:v>0.8929754424608423</c:v>
                </c:pt>
                <c:pt idx="30">
                  <c:v>0.8765899820423183</c:v>
                </c:pt>
                <c:pt idx="31">
                  <c:v>0.8825504413934065</c:v>
                </c:pt>
                <c:pt idx="32">
                  <c:v>0.9006393731890395</c:v>
                </c:pt>
                <c:pt idx="33">
                  <c:v>0.9074619577348843</c:v>
                </c:pt>
                <c:pt idx="34">
                  <c:v>0.9179859310997751</c:v>
                </c:pt>
                <c:pt idx="35">
                  <c:v>0.9206103262019043</c:v>
                </c:pt>
                <c:pt idx="36">
                  <c:v>0.9016449685066211</c:v>
                </c:pt>
                <c:pt idx="37">
                  <c:v>0.8700810076988125</c:v>
                </c:pt>
                <c:pt idx="38">
                  <c:v>0.9018907196381816</c:v>
                </c:pt>
                <c:pt idx="39">
                  <c:v>0.921640926989856</c:v>
                </c:pt>
                <c:pt idx="40">
                  <c:v>0.9630101885118831</c:v>
                </c:pt>
                <c:pt idx="41">
                  <c:v>0.9768988639089461</c:v>
                </c:pt>
                <c:pt idx="42">
                  <c:v>0.9397653753406053</c:v>
                </c:pt>
                <c:pt idx="43">
                  <c:v>1.001296393959312</c:v>
                </c:pt>
                <c:pt idx="44">
                  <c:v>1.0259954511182527</c:v>
                </c:pt>
                <c:pt idx="45">
                  <c:v>0.9814086258198056</c:v>
                </c:pt>
                <c:pt idx="46">
                  <c:v>0.9589297688856822</c:v>
                </c:pt>
                <c:pt idx="47">
                  <c:v>0.9551949350173716</c:v>
                </c:pt>
                <c:pt idx="48">
                  <c:v>1.0171456171461333</c:v>
                </c:pt>
                <c:pt idx="49">
                  <c:v>1.0341150502025884</c:v>
                </c:pt>
                <c:pt idx="50">
                  <c:v>0.9677248321877862</c:v>
                </c:pt>
                <c:pt idx="51">
                  <c:v>0.9756841020632092</c:v>
                </c:pt>
              </c:numCache>
            </c:numRef>
          </c:xVal>
          <c:yVal>
            <c:numRef>
              <c:f>Sheet1!$B$109:$B$160</c:f>
              <c:numCache>
                <c:formatCode>General</c:formatCode>
                <c:ptCount val="52"/>
                <c:pt idx="0">
                  <c:v>0.3707419248153456</c:v>
                </c:pt>
                <c:pt idx="1">
                  <c:v>0.3816919637604424</c:v>
                </c:pt>
                <c:pt idx="2">
                  <c:v>0.3902439024390244</c:v>
                </c:pt>
                <c:pt idx="3">
                  <c:v>0.4152976875588574</c:v>
                </c:pt>
                <c:pt idx="4">
                  <c:v>0.40379374250517824</c:v>
                </c:pt>
                <c:pt idx="5">
                  <c:v>0.3982499199658521</c:v>
                </c:pt>
                <c:pt idx="6">
                  <c:v>0.4154849688031764</c:v>
                </c:pt>
                <c:pt idx="7">
                  <c:v>0.3941946352209408</c:v>
                </c:pt>
                <c:pt idx="8">
                  <c:v>0.3924107815088089</c:v>
                </c:pt>
                <c:pt idx="9">
                  <c:v>0.401704776079015</c:v>
                </c:pt>
                <c:pt idx="10">
                  <c:v>0.39083949313621963</c:v>
                </c:pt>
                <c:pt idx="11">
                  <c:v>0.4021561877151658</c:v>
                </c:pt>
                <c:pt idx="12">
                  <c:v>0.4006640248473814</c:v>
                </c:pt>
                <c:pt idx="13">
                  <c:v>0.4100035642152786</c:v>
                </c:pt>
                <c:pt idx="14">
                  <c:v>0.41327319587628863</c:v>
                </c:pt>
                <c:pt idx="15">
                  <c:v>0.4025513819985826</c:v>
                </c:pt>
                <c:pt idx="16">
                  <c:v>0.3913188092466323</c:v>
                </c:pt>
                <c:pt idx="17">
                  <c:v>0.394107452339688</c:v>
                </c:pt>
                <c:pt idx="18">
                  <c:v>0.39829500396510703</c:v>
                </c:pt>
                <c:pt idx="19">
                  <c:v>0.4021695460024106</c:v>
                </c:pt>
                <c:pt idx="20">
                  <c:v>0.40716612377850164</c:v>
                </c:pt>
                <c:pt idx="21">
                  <c:v>0.4299947561615102</c:v>
                </c:pt>
                <c:pt idx="22">
                  <c:v>0.4081473793461339</c:v>
                </c:pt>
                <c:pt idx="23">
                  <c:v>0.4103194103194103</c:v>
                </c:pt>
                <c:pt idx="24">
                  <c:v>0.40828252032520324</c:v>
                </c:pt>
                <c:pt idx="25">
                  <c:v>0.4040934138021517</c:v>
                </c:pt>
                <c:pt idx="26">
                  <c:v>0.4019925280199253</c:v>
                </c:pt>
                <c:pt idx="27">
                  <c:v>0.4007540474606343</c:v>
                </c:pt>
                <c:pt idx="28">
                  <c:v>0.39095907147220527</c:v>
                </c:pt>
                <c:pt idx="29">
                  <c:v>0.4061799152753551</c:v>
                </c:pt>
                <c:pt idx="30">
                  <c:v>0.40456852791878173</c:v>
                </c:pt>
                <c:pt idx="31">
                  <c:v>0.3882063882063882</c:v>
                </c:pt>
                <c:pt idx="32">
                  <c:v>0.3827843231546045</c:v>
                </c:pt>
                <c:pt idx="33">
                  <c:v>0.37935390723696083</c:v>
                </c:pt>
                <c:pt idx="34">
                  <c:v>0.39390948822783023</c:v>
                </c:pt>
                <c:pt idx="35">
                  <c:v>0.37623937677053826</c:v>
                </c:pt>
                <c:pt idx="36">
                  <c:v>0.3827414147343704</c:v>
                </c:pt>
                <c:pt idx="37">
                  <c:v>0.39919678714859436</c:v>
                </c:pt>
                <c:pt idx="38">
                  <c:v>0.4107631498935847</c:v>
                </c:pt>
                <c:pt idx="39">
                  <c:v>0.4008420119654332</c:v>
                </c:pt>
                <c:pt idx="40">
                  <c:v>0.38873239436619716</c:v>
                </c:pt>
                <c:pt idx="41">
                  <c:v>0.3760305650512769</c:v>
                </c:pt>
                <c:pt idx="42">
                  <c:v>0.3951834862385321</c:v>
                </c:pt>
                <c:pt idx="43">
                  <c:v>0.38352524357838796</c:v>
                </c:pt>
                <c:pt idx="44">
                  <c:v>0.380720823798627</c:v>
                </c:pt>
                <c:pt idx="45">
                  <c:v>0.39650872817955113</c:v>
                </c:pt>
                <c:pt idx="46">
                  <c:v>0.4052691867124857</c:v>
                </c:pt>
                <c:pt idx="47">
                  <c:v>0.40348345872410596</c:v>
                </c:pt>
                <c:pt idx="48">
                  <c:v>0.3792432066367561</c:v>
                </c:pt>
                <c:pt idx="49">
                  <c:v>0.3886552955176517</c:v>
                </c:pt>
                <c:pt idx="50">
                  <c:v>0.3912084364575487</c:v>
                </c:pt>
                <c:pt idx="51">
                  <c:v>0.3980782429649965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2717481258491126</c:v>
                </c:pt>
              </c:numCache>
            </c:numRef>
          </c:xVal>
          <c:yVal>
            <c:numRef>
              <c:f>Sheet1!$B$163:$B$164</c:f>
              <c:numCache>
                <c:formatCode>General</c:formatCode>
                <c:ptCount val="2"/>
                <c:pt idx="0">
                  <c:v>0.519269436376669</c:v>
                </c:pt>
                <c:pt idx="1">
                  <c:v>0.51926943637666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2717481258491126</c:v>
                </c:pt>
                <c:pt idx="1">
                  <c:v>0.02717481258491126</c:v>
                </c:pt>
              </c:numCache>
            </c:numRef>
          </c:xVal>
          <c:yVal>
            <c:numRef>
              <c:f>Sheet1!$B$167:$B$168</c:f>
              <c:numCache>
                <c:formatCode>General</c:formatCode>
                <c:ptCount val="2"/>
                <c:pt idx="0">
                  <c:v>0.51926943637666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654814975679883</c:v>
                </c:pt>
              </c:numCache>
            </c:numRef>
          </c:xVal>
          <c:yVal>
            <c:numRef>
              <c:f>Sheet1!$B$171:$B$172</c:f>
              <c:numCache>
                <c:formatCode>General</c:formatCode>
                <c:ptCount val="2"/>
                <c:pt idx="0">
                  <c:v>0.4034034088739832</c:v>
                </c:pt>
                <c:pt idx="1">
                  <c:v>0.403403408873983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654814975679883</c:v>
                </c:pt>
                <c:pt idx="1">
                  <c:v>0.8654814975679883</c:v>
                </c:pt>
              </c:numCache>
            </c:numRef>
          </c:xVal>
          <c:yVal>
            <c:numRef>
              <c:f>Sheet1!$B$175:$B$176</c:f>
              <c:numCache>
                <c:formatCode>General</c:formatCode>
                <c:ptCount val="2"/>
                <c:pt idx="0">
                  <c:v>0.40340340887398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527279299913399</c:v>
                </c:pt>
              </c:numCache>
            </c:numRef>
          </c:xVal>
          <c:yVal>
            <c:numRef>
              <c:f>Sheet1!$B$179:$B$180</c:f>
              <c:numCache>
                <c:formatCode>General</c:formatCode>
                <c:ptCount val="2"/>
                <c:pt idx="0">
                  <c:v>0.3913446984762731</c:v>
                </c:pt>
                <c:pt idx="1">
                  <c:v>0.391344698476273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527279299913399</c:v>
                </c:pt>
                <c:pt idx="1">
                  <c:v>0.9527279299913399</c:v>
                </c:pt>
              </c:numCache>
            </c:numRef>
          </c:xVal>
          <c:yVal>
            <c:numRef>
              <c:f>Sheet1!$B$183:$B$184</c:f>
              <c:numCache>
                <c:formatCode>General</c:formatCode>
                <c:ptCount val="2"/>
                <c:pt idx="0">
                  <c:v>0.391344698476273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080660418894728</c:v>
                </c:pt>
                <c:pt idx="1">
                  <c:v>0.863202023460514</c:v>
                </c:pt>
                <c:pt idx="2">
                  <c:v>0.8719208545744277</c:v>
                </c:pt>
                <c:pt idx="3">
                  <c:v>0.8375534602678223</c:v>
                </c:pt>
                <c:pt idx="4">
                  <c:v>0.853849514861926</c:v>
                </c:pt>
                <c:pt idx="5">
                  <c:v>0.8633903336120659</c:v>
                </c:pt>
                <c:pt idx="6">
                  <c:v>0.8649290186861139</c:v>
                </c:pt>
                <c:pt idx="7">
                  <c:v>0.9104037994814114</c:v>
                </c:pt>
                <c:pt idx="8">
                  <c:v>0.9272656466014068</c:v>
                </c:pt>
                <c:pt idx="9">
                  <c:v>0.9042807696926908</c:v>
                </c:pt>
                <c:pt idx="10">
                  <c:v>0.9339307215164196</c:v>
                </c:pt>
                <c:pt idx="11">
                  <c:v>0.8706630039611589</c:v>
                </c:pt>
                <c:pt idx="12">
                  <c:v>0.8844019570356383</c:v>
                </c:pt>
                <c:pt idx="13">
                  <c:v>0.8847671905264949</c:v>
                </c:pt>
                <c:pt idx="14">
                  <c:v>0.8675048571416843</c:v>
                </c:pt>
                <c:pt idx="15">
                  <c:v>0.8821525306773305</c:v>
                </c:pt>
                <c:pt idx="16">
                  <c:v>0.9124626713063694</c:v>
                </c:pt>
                <c:pt idx="17">
                  <c:v>0.9118215008721251</c:v>
                </c:pt>
                <c:pt idx="18">
                  <c:v>0.9251146997756867</c:v>
                </c:pt>
                <c:pt idx="19">
                  <c:v>0.9106032528491188</c:v>
                </c:pt>
                <c:pt idx="20">
                  <c:v>0.8758165246879908</c:v>
                </c:pt>
                <c:pt idx="21">
                  <c:v>0.8123666628628657</c:v>
                </c:pt>
                <c:pt idx="22">
                  <c:v>0.8638681687031475</c:v>
                </c:pt>
                <c:pt idx="23">
                  <c:v>0.8673110599291914</c:v>
                </c:pt>
                <c:pt idx="24">
                  <c:v>0.8848275714650766</c:v>
                </c:pt>
                <c:pt idx="25">
                  <c:v>0.916566506151045</c:v>
                </c:pt>
                <c:pt idx="26">
                  <c:v>0.9034106276797484</c:v>
                </c:pt>
                <c:pt idx="27">
                  <c:v>0.9076158749773117</c:v>
                </c:pt>
                <c:pt idx="28">
                  <c:v>0.9149746321202453</c:v>
                </c:pt>
                <c:pt idx="29">
                  <c:v>0.8929754424608423</c:v>
                </c:pt>
                <c:pt idx="30">
                  <c:v>0.8765899820423183</c:v>
                </c:pt>
                <c:pt idx="31">
                  <c:v>0.8825504413934065</c:v>
                </c:pt>
                <c:pt idx="32">
                  <c:v>0.9006393731890395</c:v>
                </c:pt>
                <c:pt idx="33">
                  <c:v>0.9074619577348843</c:v>
                </c:pt>
                <c:pt idx="34">
                  <c:v>0.9179859310997751</c:v>
                </c:pt>
                <c:pt idx="35">
                  <c:v>0.9206103262019043</c:v>
                </c:pt>
                <c:pt idx="36">
                  <c:v>0.9016449685066211</c:v>
                </c:pt>
                <c:pt idx="37">
                  <c:v>0.8700810076988125</c:v>
                </c:pt>
                <c:pt idx="38">
                  <c:v>0.9018907196381816</c:v>
                </c:pt>
                <c:pt idx="39">
                  <c:v>0.921640926989856</c:v>
                </c:pt>
                <c:pt idx="40">
                  <c:v>0.9630101885118831</c:v>
                </c:pt>
                <c:pt idx="41">
                  <c:v>0.9768988639089461</c:v>
                </c:pt>
                <c:pt idx="42">
                  <c:v>0.9397653753406053</c:v>
                </c:pt>
                <c:pt idx="43">
                  <c:v>1.001296393959312</c:v>
                </c:pt>
                <c:pt idx="44">
                  <c:v>1.0259954511182527</c:v>
                </c:pt>
                <c:pt idx="45">
                  <c:v>0.9814086258198056</c:v>
                </c:pt>
                <c:pt idx="46">
                  <c:v>0.9589297688856822</c:v>
                </c:pt>
                <c:pt idx="47">
                  <c:v>0.9551949350173716</c:v>
                </c:pt>
                <c:pt idx="48">
                  <c:v>1.0171456171461333</c:v>
                </c:pt>
                <c:pt idx="49">
                  <c:v>1.0341150502025884</c:v>
                </c:pt>
                <c:pt idx="50">
                  <c:v>0.9677248321877862</c:v>
                </c:pt>
                <c:pt idx="51">
                  <c:v>0.9756841020632092</c:v>
                </c:pt>
                <c:pt idx="52">
                  <c:v>0.8654814975679883</c:v>
                </c:pt>
                <c:pt idx="53">
                  <c:v>0.02717481258491126</c:v>
                </c:pt>
                <c:pt idx="54">
                  <c:v>0.9527279299913399</c:v>
                </c:pt>
              </c:numCache>
            </c:numRef>
          </c:xVal>
          <c:yVal>
            <c:numRef>
              <c:f>Sheet1!$B$187:$B$241</c:f>
              <c:numCache>
                <c:formatCode>General</c:formatCode>
                <c:ptCount val="55"/>
                <c:pt idx="0">
                  <c:v>0.39751761305256245</c:v>
                </c:pt>
                <c:pt idx="1">
                  <c:v>0.4037184649439865</c:v>
                </c:pt>
                <c:pt idx="2">
                  <c:v>0.40251339722386403</c:v>
                </c:pt>
                <c:pt idx="3">
                  <c:v>0.40726346486051324</c:v>
                </c:pt>
                <c:pt idx="4">
                  <c:v>0.40501111599629797</c:v>
                </c:pt>
                <c:pt idx="5">
                  <c:v>0.40369243777566066</c:v>
                </c:pt>
                <c:pt idx="6">
                  <c:v>0.4034797693927153</c:v>
                </c:pt>
                <c:pt idx="7">
                  <c:v>0.3971945013676692</c:v>
                </c:pt>
                <c:pt idx="8">
                  <c:v>0.3948639518478465</c:v>
                </c:pt>
                <c:pt idx="9">
                  <c:v>0.39804079205174503</c:v>
                </c:pt>
                <c:pt idx="10">
                  <c:v>0.39394274273995783</c:v>
                </c:pt>
                <c:pt idx="11">
                  <c:v>0.4026872502496862</c:v>
                </c:pt>
                <c:pt idx="12">
                  <c:v>0.4007883295524024</c:v>
                </c:pt>
                <c:pt idx="13">
                  <c:v>0.4007378490367933</c:v>
                </c:pt>
                <c:pt idx="14">
                  <c:v>0.40312375151204954</c:v>
                </c:pt>
                <c:pt idx="15">
                  <c:v>0.40109923259178615</c:v>
                </c:pt>
                <c:pt idx="16">
                  <c:v>0.39690993570241995</c:v>
                </c:pt>
                <c:pt idx="17">
                  <c:v>0.3969985546678879</c:v>
                </c:pt>
                <c:pt idx="18">
                  <c:v>0.39516124360100807</c:v>
                </c:pt>
                <c:pt idx="19">
                  <c:v>0.3971669340467802</c:v>
                </c:pt>
                <c:pt idx="20">
                  <c:v>0.4019749596465368</c:v>
                </c:pt>
                <c:pt idx="21">
                  <c:v>0.4107446421111589</c:v>
                </c:pt>
                <c:pt idx="22">
                  <c:v>0.40362639410119544</c:v>
                </c:pt>
                <c:pt idx="23">
                  <c:v>0.403150537071028</c:v>
                </c:pt>
                <c:pt idx="24">
                  <c:v>0.400729503523611</c:v>
                </c:pt>
                <c:pt idx="25">
                  <c:v>0.3963427267686283</c:v>
                </c:pt>
                <c:pt idx="26">
                  <c:v>0.3981610581789379</c:v>
                </c:pt>
                <c:pt idx="27">
                  <c:v>0.3975798325872024</c:v>
                </c:pt>
                <c:pt idx="28">
                  <c:v>0.3965627466295425</c:v>
                </c:pt>
                <c:pt idx="29">
                  <c:v>0.39960335069458663</c:v>
                </c:pt>
                <c:pt idx="30">
                  <c:v>0.40186805672819675</c:v>
                </c:pt>
                <c:pt idx="31">
                  <c:v>0.4010442356141903</c:v>
                </c:pt>
                <c:pt idx="32">
                  <c:v>0.39854408536312874</c:v>
                </c:pt>
                <c:pt idx="33">
                  <c:v>0.3976011061613773</c:v>
                </c:pt>
                <c:pt idx="34">
                  <c:v>0.3961465418483674</c:v>
                </c:pt>
                <c:pt idx="35">
                  <c:v>0.3957838127415521</c:v>
                </c:pt>
                <c:pt idx="36">
                  <c:v>0.39840509764322785</c:v>
                </c:pt>
                <c:pt idx="37">
                  <c:v>0.4027676904944647</c:v>
                </c:pt>
                <c:pt idx="38">
                  <c:v>0.39837113130623175</c:v>
                </c:pt>
                <c:pt idx="39">
                  <c:v>0.39564136890640184</c:v>
                </c:pt>
                <c:pt idx="40">
                  <c:v>0.3899235426273787</c:v>
                </c:pt>
                <c:pt idx="41">
                  <c:v>0.38800392815410933</c:v>
                </c:pt>
                <c:pt idx="42">
                  <c:v>0.3931363097571702</c:v>
                </c:pt>
                <c:pt idx="43">
                  <c:v>0.3846318389909764</c:v>
                </c:pt>
                <c:pt idx="44">
                  <c:v>0.3812180744495115</c:v>
                </c:pt>
                <c:pt idx="45">
                  <c:v>0.387380614267969</c:v>
                </c:pt>
                <c:pt idx="46">
                  <c:v>0.39048751524157954</c:v>
                </c:pt>
                <c:pt idx="47">
                  <c:v>0.39100372293913876</c:v>
                </c:pt>
                <c:pt idx="48">
                  <c:v>0.38244124864670703</c:v>
                </c:pt>
                <c:pt idx="49">
                  <c:v>0.38009582920481877</c:v>
                </c:pt>
                <c:pt idx="50">
                  <c:v>0.38927191113784987</c:v>
                </c:pt>
                <c:pt idx="51">
                  <c:v>0.38817182569321845</c:v>
                </c:pt>
                <c:pt idx="52">
                  <c:v>0.4034034088739832</c:v>
                </c:pt>
                <c:pt idx="53">
                  <c:v>0.519269436376669</c:v>
                </c:pt>
                <c:pt idx="54">
                  <c:v>0.391344698476273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518760195758564"/>
          <c:min val="0.27544816835541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3.2386</c:v>
                </c:pt>
                <c:pt idx="1">
                  <c:v>896.6965</c:v>
                </c:pt>
                <c:pt idx="2">
                  <c:v>928.5589</c:v>
                </c:pt>
                <c:pt idx="3">
                  <c:v>942.7237</c:v>
                </c:pt>
                <c:pt idx="4">
                  <c:v>945.7975</c:v>
                </c:pt>
                <c:pt idx="5">
                  <c:v>935.5882</c:v>
                </c:pt>
                <c:pt idx="6">
                  <c:v>884.1472</c:v>
                </c:pt>
                <c:pt idx="7">
                  <c:v>897.8413</c:v>
                </c:pt>
                <c:pt idx="8">
                  <c:v>904.6086</c:v>
                </c:pt>
                <c:pt idx="9">
                  <c:v>880.8383</c:v>
                </c:pt>
                <c:pt idx="10">
                  <c:v>880.0421</c:v>
                </c:pt>
                <c:pt idx="11">
                  <c:v>956.1265</c:v>
                </c:pt>
                <c:pt idx="12">
                  <c:v>963.0023</c:v>
                </c:pt>
                <c:pt idx="13">
                  <c:v>968.2959</c:v>
                </c:pt>
                <c:pt idx="14">
                  <c:v>993.2594</c:v>
                </c:pt>
                <c:pt idx="15">
                  <c:v>1014.2748</c:v>
                </c:pt>
                <c:pt idx="16">
                  <c:v>1037.7775</c:v>
                </c:pt>
                <c:pt idx="17">
                  <c:v>1063.6838</c:v>
                </c:pt>
                <c:pt idx="18">
                  <c:v>1105.8466</c:v>
                </c:pt>
                <c:pt idx="19">
                  <c:v>1107.3668</c:v>
                </c:pt>
                <c:pt idx="20">
                  <c:v>1130.3009</c:v>
                </c:pt>
                <c:pt idx="21">
                  <c:v>1135.8317</c:v>
                </c:pt>
                <c:pt idx="22">
                  <c:v>1081.188</c:v>
                </c:pt>
                <c:pt idx="23">
                  <c:v>1072.0906</c:v>
                </c:pt>
                <c:pt idx="24">
                  <c:v>1068.6541</c:v>
                </c:pt>
                <c:pt idx="25">
                  <c:v>1043.0818</c:v>
                </c:pt>
                <c:pt idx="26">
                  <c:v>1030.1618</c:v>
                </c:pt>
                <c:pt idx="27">
                  <c:v>1037.8648</c:v>
                </c:pt>
                <c:pt idx="28">
                  <c:v>1039.0761</c:v>
                </c:pt>
                <c:pt idx="29">
                  <c:v>1027.6133</c:v>
                </c:pt>
                <c:pt idx="30">
                  <c:v>1029.1022</c:v>
                </c:pt>
                <c:pt idx="31">
                  <c:v>999.1074</c:v>
                </c:pt>
                <c:pt idx="32">
                  <c:v>993.5955</c:v>
                </c:pt>
                <c:pt idx="33">
                  <c:v>948.7943</c:v>
                </c:pt>
                <c:pt idx="34">
                  <c:v>968.185</c:v>
                </c:pt>
                <c:pt idx="35">
                  <c:v>994.3876</c:v>
                </c:pt>
                <c:pt idx="36">
                  <c:v>1078.8004</c:v>
                </c:pt>
                <c:pt idx="37">
                  <c:v>1081.1229</c:v>
                </c:pt>
                <c:pt idx="38">
                  <c:v>1154.6211</c:v>
                </c:pt>
                <c:pt idx="39">
                  <c:v>1172.5237</c:v>
                </c:pt>
                <c:pt idx="40">
                  <c:v>1156.4118</c:v>
                </c:pt>
                <c:pt idx="41">
                  <c:v>1198.1453</c:v>
                </c:pt>
                <c:pt idx="42">
                  <c:v>1220.7491</c:v>
                </c:pt>
                <c:pt idx="43">
                  <c:v>1228.2043</c:v>
                </c:pt>
                <c:pt idx="44">
                  <c:v>1146.632</c:v>
                </c:pt>
                <c:pt idx="45">
                  <c:v>1110.1814</c:v>
                </c:pt>
                <c:pt idx="46">
                  <c:v>1111.8008</c:v>
                </c:pt>
                <c:pt idx="47">
                  <c:v>1098.5989</c:v>
                </c:pt>
                <c:pt idx="48">
                  <c:v>1105.273</c:v>
                </c:pt>
                <c:pt idx="49">
                  <c:v>1066.4432</c:v>
                </c:pt>
                <c:pt idx="50">
                  <c:v>1063.8339</c:v>
                </c:pt>
                <c:pt idx="51">
                  <c:v>1086.7568</c:v>
                </c:pt>
                <c:pt idx="52">
                  <c:v>1083.3468</c:v>
                </c:pt>
                <c:pt idx="53">
                  <c:v>1156.7515</c:v>
                </c:pt>
                <c:pt idx="54">
                  <c:v>1145.6796</c:v>
                </c:pt>
                <c:pt idx="55">
                  <c:v>1165.1884</c:v>
                </c:pt>
                <c:pt idx="56">
                  <c:v>1183.7589</c:v>
                </c:pt>
                <c:pt idx="57">
                  <c:v>1141.9312</c:v>
                </c:pt>
                <c:pt idx="58">
                  <c:v>1131.529</c:v>
                </c:pt>
                <c:pt idx="59">
                  <c:v>1102.1434</c:v>
                </c:pt>
                <c:pt idx="60">
                  <c:v>1121.7126</c:v>
                </c:pt>
                <c:pt idx="61">
                  <c:v>1161.0952</c:v>
                </c:pt>
                <c:pt idx="62">
                  <c:v>1111.6605</c:v>
                </c:pt>
                <c:pt idx="63">
                  <c:v>1132.6137</c:v>
                </c:pt>
                <c:pt idx="64">
                  <c:v>1149.677</c:v>
                </c:pt>
                <c:pt idx="65">
                  <c:v>1141.021</c:v>
                </c:pt>
                <c:pt idx="66">
                  <c:v>1146.0898</c:v>
                </c:pt>
                <c:pt idx="67">
                  <c:v>1168.4452</c:v>
                </c:pt>
                <c:pt idx="68">
                  <c:v>1202.0893</c:v>
                </c:pt>
                <c:pt idx="69">
                  <c:v>1228.9542</c:v>
                </c:pt>
                <c:pt idx="70">
                  <c:v>1208.609</c:v>
                </c:pt>
                <c:pt idx="71">
                  <c:v>1270.5129</c:v>
                </c:pt>
                <c:pt idx="72">
                  <c:v>1354.2837</c:v>
                </c:pt>
                <c:pt idx="73">
                  <c:v>1330.9523</c:v>
                </c:pt>
                <c:pt idx="74">
                  <c:v>1318.6637</c:v>
                </c:pt>
                <c:pt idx="75">
                  <c:v>1258.4092</c:v>
                </c:pt>
                <c:pt idx="76">
                  <c:v>1240.4889</c:v>
                </c:pt>
                <c:pt idx="77">
                  <c:v>1242.4356</c:v>
                </c:pt>
                <c:pt idx="78">
                  <c:v>1325.8699</c:v>
                </c:pt>
                <c:pt idx="79">
                  <c:v>1275.5689</c:v>
                </c:pt>
                <c:pt idx="80">
                  <c:v>1288.9738</c:v>
                </c:pt>
                <c:pt idx="81">
                  <c:v>1249.1449</c:v>
                </c:pt>
                <c:pt idx="82">
                  <c:v>1262.5928</c:v>
                </c:pt>
                <c:pt idx="83">
                  <c:v>1211.8876</c:v>
                </c:pt>
                <c:pt idx="84">
                  <c:v>1238.563</c:v>
                </c:pt>
                <c:pt idx="85">
                  <c:v>1221.3424</c:v>
                </c:pt>
                <c:pt idx="86">
                  <c:v>1233.9468</c:v>
                </c:pt>
                <c:pt idx="87">
                  <c:v>1227.7755</c:v>
                </c:pt>
                <c:pt idx="88">
                  <c:v>1277.624</c:v>
                </c:pt>
                <c:pt idx="89">
                  <c:v>1267.4514</c:v>
                </c:pt>
                <c:pt idx="90">
                  <c:v>1334.2762</c:v>
                </c:pt>
                <c:pt idx="91">
                  <c:v>1338.041</c:v>
                </c:pt>
                <c:pt idx="92">
                  <c:v>1269.8163</c:v>
                </c:pt>
                <c:pt idx="93">
                  <c:v>1309.9029</c:v>
                </c:pt>
                <c:pt idx="94">
                  <c:v>1278.5086</c:v>
                </c:pt>
                <c:pt idx="95">
                  <c:v>1237.5853</c:v>
                </c:pt>
                <c:pt idx="96">
                  <c:v>1226.2672</c:v>
                </c:pt>
                <c:pt idx="97">
                  <c:v>1199.236</c:v>
                </c:pt>
                <c:pt idx="98">
                  <c:v>1181.7663</c:v>
                </c:pt>
                <c:pt idx="99">
                  <c:v>1141.3624</c:v>
                </c:pt>
                <c:pt idx="100">
                  <c:v>1136.2704</c:v>
                </c:pt>
                <c:pt idx="101">
                  <c:v>1141.85</c:v>
                </c:pt>
                <c:pt idx="102">
                  <c:v>1158.5215</c:v>
                </c:pt>
                <c:pt idx="103">
                  <c:v>1158.4112</c:v>
                </c:pt>
                <c:pt idx="104">
                  <c:v>1214.563</c:v>
                </c:pt>
              </c:numCache>
            </c:numRef>
          </c:xVal>
          <c:yVal>
            <c:numRef>
              <c:f>Sheet1!$B$2:$B$106</c:f>
              <c:numCache>
                <c:formatCode>General</c:formatCode>
                <c:ptCount val="105"/>
                <c:pt idx="0">
                  <c:v>0.4656209924040643</c:v>
                </c:pt>
                <c:pt idx="1">
                  <c:v>0.5020080321285141</c:v>
                </c:pt>
                <c:pt idx="2">
                  <c:v>0.5358538267065043</c:v>
                </c:pt>
                <c:pt idx="3">
                  <c:v>0.5432300163132137</c:v>
                </c:pt>
                <c:pt idx="4">
                  <c:v>0.5310869871704498</c:v>
                </c:pt>
                <c:pt idx="5">
                  <c:v>0.5077170849550396</c:v>
                </c:pt>
                <c:pt idx="6">
                  <c:v>0.5198478725932969</c:v>
                </c:pt>
                <c:pt idx="7">
                  <c:v>0.5413985413985414</c:v>
                </c:pt>
                <c:pt idx="8">
                  <c:v>0.5266615737203972</c:v>
                </c:pt>
                <c:pt idx="9">
                  <c:v>0.5055350553505535</c:v>
                </c:pt>
                <c:pt idx="10">
                  <c:v>0.48268817204301073</c:v>
                </c:pt>
                <c:pt idx="11">
                  <c:v>0.4288003663003663</c:v>
                </c:pt>
                <c:pt idx="12">
                  <c:v>0.4078597981943707</c:v>
                </c:pt>
                <c:pt idx="13">
                  <c:v>0.3852669954964615</c:v>
                </c:pt>
                <c:pt idx="14">
                  <c:v>0.36181619256017505</c:v>
                </c:pt>
                <c:pt idx="15">
                  <c:v>0.3657587548638132</c:v>
                </c:pt>
                <c:pt idx="16">
                  <c:v>0.35026081620128874</c:v>
                </c:pt>
                <c:pt idx="17">
                  <c:v>0.3487881981032666</c:v>
                </c:pt>
                <c:pt idx="18">
                  <c:v>0.34431021044427124</c:v>
                </c:pt>
                <c:pt idx="19">
                  <c:v>0.3570285714285714</c:v>
                </c:pt>
                <c:pt idx="20">
                  <c:v>0.35496110794915575</c:v>
                </c:pt>
                <c:pt idx="21">
                  <c:v>0.4081329035457476</c:v>
                </c:pt>
                <c:pt idx="22">
                  <c:v>0.45787545787545786</c:v>
                </c:pt>
                <c:pt idx="23">
                  <c:v>0.46746411483253586</c:v>
                </c:pt>
                <c:pt idx="24">
                  <c:v>0.47975215755698164</c:v>
                </c:pt>
                <c:pt idx="25">
                  <c:v>0.48357391737182676</c:v>
                </c:pt>
                <c:pt idx="26">
                  <c:v>0.4870477413830015</c:v>
                </c:pt>
                <c:pt idx="27">
                  <c:v>0.46853569987898347</c:v>
                </c:pt>
                <c:pt idx="28">
                  <c:v>0.4591639871382637</c:v>
                </c:pt>
                <c:pt idx="29">
                  <c:v>0.4572017231691328</c:v>
                </c:pt>
                <c:pt idx="30">
                  <c:v>0.4680952380952381</c:v>
                </c:pt>
                <c:pt idx="31">
                  <c:v>0.480642970341861</c:v>
                </c:pt>
                <c:pt idx="32">
                  <c:v>0.49521422060164083</c:v>
                </c:pt>
                <c:pt idx="33">
                  <c:v>0.4971641261963843</c:v>
                </c:pt>
                <c:pt idx="34">
                  <c:v>0.46928968313560593</c:v>
                </c:pt>
                <c:pt idx="35">
                  <c:v>0.45300581771170007</c:v>
                </c:pt>
                <c:pt idx="36">
                  <c:v>0.42409598400266624</c:v>
                </c:pt>
                <c:pt idx="37">
                  <c:v>0.4296724470134875</c:v>
                </c:pt>
                <c:pt idx="38">
                  <c:v>0.41657966172478594</c:v>
                </c:pt>
                <c:pt idx="39">
                  <c:v>0.4021879021879022</c:v>
                </c:pt>
                <c:pt idx="40">
                  <c:v>0.41426827141112854</c:v>
                </c:pt>
                <c:pt idx="41">
                  <c:v>0.40322902132748656</c:v>
                </c:pt>
                <c:pt idx="42">
                  <c:v>0.4000685048809728</c:v>
                </c:pt>
                <c:pt idx="43">
                  <c:v>0.39660277388187626</c:v>
                </c:pt>
                <c:pt idx="44">
                  <c:v>0.3877005347593583</c:v>
                </c:pt>
                <c:pt idx="45">
                  <c:v>0.40102742563592675</c:v>
                </c:pt>
                <c:pt idx="46">
                  <c:v>0.40256994144437214</c:v>
                </c:pt>
                <c:pt idx="47">
                  <c:v>0.39088328602437805</c:v>
                </c:pt>
                <c:pt idx="48">
                  <c:v>0.39224559686888455</c:v>
                </c:pt>
                <c:pt idx="49">
                  <c:v>0.415524729097272</c:v>
                </c:pt>
                <c:pt idx="50">
                  <c:v>0.40365966776288054</c:v>
                </c:pt>
                <c:pt idx="51">
                  <c:v>0.3969124063094306</c:v>
                </c:pt>
                <c:pt idx="52">
                  <c:v>0.4093322157027103</c:v>
                </c:pt>
                <c:pt idx="53">
                  <c:v>0.4118544600938967</c:v>
                </c:pt>
                <c:pt idx="54">
                  <c:v>0.42954964445614957</c:v>
                </c:pt>
                <c:pt idx="55">
                  <c:v>0.4230409825123482</c:v>
                </c:pt>
                <c:pt idx="56">
                  <c:v>0.43329989969909727</c:v>
                </c:pt>
                <c:pt idx="57">
                  <c:v>0.435274302213667</c:v>
                </c:pt>
                <c:pt idx="58">
                  <c:v>0.43751990657182294</c:v>
                </c:pt>
                <c:pt idx="59">
                  <c:v>0.4555774590442526</c:v>
                </c:pt>
                <c:pt idx="60">
                  <c:v>0.46228456315750205</c:v>
                </c:pt>
                <c:pt idx="61">
                  <c:v>0.4435924369747899</c:v>
                </c:pt>
                <c:pt idx="62">
                  <c:v>0.446161369193154</c:v>
                </c:pt>
                <c:pt idx="63">
                  <c:v>0.4603357910633384</c:v>
                </c:pt>
                <c:pt idx="64">
                  <c:v>0.41445925426016533</c:v>
                </c:pt>
                <c:pt idx="65">
                  <c:v>0.3919057855874381</c:v>
                </c:pt>
                <c:pt idx="66">
                  <c:v>0.40365287978353304</c:v>
                </c:pt>
                <c:pt idx="67">
                  <c:v>0.3912951616311008</c:v>
                </c:pt>
                <c:pt idx="68">
                  <c:v>0.381054036024016</c:v>
                </c:pt>
                <c:pt idx="69">
                  <c:v>0.3703767123287671</c:v>
                </c:pt>
                <c:pt idx="70">
                  <c:v>0.3760556383507203</c:v>
                </c:pt>
                <c:pt idx="71">
                  <c:v>0.39188427578433216</c:v>
                </c:pt>
                <c:pt idx="72">
                  <c:v>0.36929460580912865</c:v>
                </c:pt>
                <c:pt idx="73">
                  <c:v>0.39154984423676015</c:v>
                </c:pt>
                <c:pt idx="74">
                  <c:v>0.3922312556458898</c:v>
                </c:pt>
                <c:pt idx="75">
                  <c:v>0.4071747061207945</c:v>
                </c:pt>
                <c:pt idx="76">
                  <c:v>0.4070307318151669</c:v>
                </c:pt>
                <c:pt idx="77">
                  <c:v>0.40476190476190477</c:v>
                </c:pt>
                <c:pt idx="78">
                  <c:v>0.38565488565488565</c:v>
                </c:pt>
                <c:pt idx="79">
                  <c:v>0.3820810618630007</c:v>
                </c:pt>
                <c:pt idx="80">
                  <c:v>0.36182994454713496</c:v>
                </c:pt>
                <c:pt idx="81">
                  <c:v>0.3755707762557078</c:v>
                </c:pt>
                <c:pt idx="82">
                  <c:v>0.37569199798691494</c:v>
                </c:pt>
                <c:pt idx="83">
                  <c:v>0.3840434658278524</c:v>
                </c:pt>
                <c:pt idx="84">
                  <c:v>0.3814636903079966</c:v>
                </c:pt>
                <c:pt idx="85">
                  <c:v>0.3962217860647694</c:v>
                </c:pt>
                <c:pt idx="86">
                  <c:v>0.38717128642501775</c:v>
                </c:pt>
                <c:pt idx="87">
                  <c:v>0.39503386004514673</c:v>
                </c:pt>
                <c:pt idx="88">
                  <c:v>0.39035836177474403</c:v>
                </c:pt>
                <c:pt idx="89">
                  <c:v>0.4000483442107808</c:v>
                </c:pt>
                <c:pt idx="90">
                  <c:v>0.38532799198798195</c:v>
                </c:pt>
                <c:pt idx="91">
                  <c:v>0.36058174523570713</c:v>
                </c:pt>
                <c:pt idx="92">
                  <c:v>0.3607016234372084</c:v>
                </c:pt>
                <c:pt idx="93">
                  <c:v>0.34939541598989354</c:v>
                </c:pt>
                <c:pt idx="94">
                  <c:v>0.35541930379746833</c:v>
                </c:pt>
                <c:pt idx="95">
                  <c:v>0.3566240557815224</c:v>
                </c:pt>
                <c:pt idx="96">
                  <c:v>0.3629177506503902</c:v>
                </c:pt>
                <c:pt idx="97">
                  <c:v>0.3668784413384159</c:v>
                </c:pt>
                <c:pt idx="98">
                  <c:v>0.37420626231661924</c:v>
                </c:pt>
                <c:pt idx="99">
                  <c:v>0.3795620437956204</c:v>
                </c:pt>
                <c:pt idx="100">
                  <c:v>0.38089468779123953</c:v>
                </c:pt>
                <c:pt idx="101">
                  <c:v>0.40074812967581047</c:v>
                </c:pt>
                <c:pt idx="102">
                  <c:v>0.39029662543533084</c:v>
                </c:pt>
                <c:pt idx="103">
                  <c:v>0.3605958958168903</c:v>
                </c:pt>
                <c:pt idx="104">
                  <c:v>0.360663621062755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42.6289</c:v>
                </c:pt>
                <c:pt idx="1">
                  <c:v>1247.7448</c:v>
                </c:pt>
                <c:pt idx="2">
                  <c:v>1253.0651</c:v>
                </c:pt>
                <c:pt idx="3">
                  <c:v>1259.6531</c:v>
                </c:pt>
                <c:pt idx="4">
                  <c:v>1273.3521</c:v>
                </c:pt>
                <c:pt idx="5">
                  <c:v>1249.865</c:v>
                </c:pt>
                <c:pt idx="6">
                  <c:v>1147.9472</c:v>
                </c:pt>
                <c:pt idx="7">
                  <c:v>1210.0247</c:v>
                </c:pt>
                <c:pt idx="8">
                  <c:v>1260.2855</c:v>
                </c:pt>
                <c:pt idx="9">
                  <c:v>1209.9784</c:v>
                </c:pt>
                <c:pt idx="10">
                  <c:v>1250.9041</c:v>
                </c:pt>
                <c:pt idx="11">
                  <c:v>1085.7024</c:v>
                </c:pt>
                <c:pt idx="12">
                  <c:v>1136.1353</c:v>
                </c:pt>
                <c:pt idx="13">
                  <c:v>1213.7615</c:v>
                </c:pt>
                <c:pt idx="14">
                  <c:v>1183.43</c:v>
                </c:pt>
                <c:pt idx="15">
                  <c:v>1214.7475</c:v>
                </c:pt>
                <c:pt idx="16">
                  <c:v>1246.2469</c:v>
                </c:pt>
                <c:pt idx="17">
                  <c:v>1218.4978</c:v>
                </c:pt>
                <c:pt idx="18">
                  <c:v>1188.6376</c:v>
                </c:pt>
                <c:pt idx="19">
                  <c:v>1298.2507</c:v>
                </c:pt>
                <c:pt idx="20">
                  <c:v>1290.7177</c:v>
                </c:pt>
                <c:pt idx="21">
                  <c:v>1177.4665</c:v>
                </c:pt>
                <c:pt idx="22">
                  <c:v>1228.3884</c:v>
                </c:pt>
                <c:pt idx="23">
                  <c:v>1263.2043</c:v>
                </c:pt>
                <c:pt idx="24">
                  <c:v>1274.9415</c:v>
                </c:pt>
                <c:pt idx="25">
                  <c:v>1239.576</c:v>
                </c:pt>
                <c:pt idx="26">
                  <c:v>1241.5266</c:v>
                </c:pt>
                <c:pt idx="27">
                  <c:v>1237.6182</c:v>
                </c:pt>
                <c:pt idx="28">
                  <c:v>1266.9328</c:v>
                </c:pt>
                <c:pt idx="29">
                  <c:v>1280.4282</c:v>
                </c:pt>
                <c:pt idx="30">
                  <c:v>1259.6506</c:v>
                </c:pt>
                <c:pt idx="31">
                  <c:v>1236.9887</c:v>
                </c:pt>
                <c:pt idx="32">
                  <c:v>1265.9768</c:v>
                </c:pt>
                <c:pt idx="33">
                  <c:v>1274.0804</c:v>
                </c:pt>
                <c:pt idx="34">
                  <c:v>1291.5447</c:v>
                </c:pt>
                <c:pt idx="35">
                  <c:v>1319.7332</c:v>
                </c:pt>
                <c:pt idx="36">
                  <c:v>1354.7845</c:v>
                </c:pt>
                <c:pt idx="37">
                  <c:v>1328.6378</c:v>
                </c:pt>
                <c:pt idx="38">
                  <c:v>1360.6736</c:v>
                </c:pt>
                <c:pt idx="39">
                  <c:v>1300.2736</c:v>
                </c:pt>
                <c:pt idx="40">
                  <c:v>1325.3863</c:v>
                </c:pt>
                <c:pt idx="41">
                  <c:v>1364.7198</c:v>
                </c:pt>
                <c:pt idx="42">
                  <c:v>1344.5804</c:v>
                </c:pt>
                <c:pt idx="43">
                  <c:v>1364.1607</c:v>
                </c:pt>
                <c:pt idx="44">
                  <c:v>1281.7044</c:v>
                </c:pt>
                <c:pt idx="45">
                  <c:v>1231.0621</c:v>
                </c:pt>
                <c:pt idx="46">
                  <c:v>1223.2298</c:v>
                </c:pt>
                <c:pt idx="47">
                  <c:v>1187.7423</c:v>
                </c:pt>
                <c:pt idx="48">
                  <c:v>1182.4567</c:v>
                </c:pt>
                <c:pt idx="49">
                  <c:v>1204.8673</c:v>
                </c:pt>
                <c:pt idx="50">
                  <c:v>1155.5339</c:v>
                </c:pt>
                <c:pt idx="51">
                  <c:v>1109.1973</c:v>
                </c:pt>
              </c:numCache>
            </c:numRef>
          </c:xVal>
          <c:yVal>
            <c:numRef>
              <c:f>Sheet1!$B$109:$B$160</c:f>
              <c:numCache>
                <c:formatCode>General</c:formatCode>
                <c:ptCount val="52"/>
                <c:pt idx="0">
                  <c:v>0.3707419248153456</c:v>
                </c:pt>
                <c:pt idx="1">
                  <c:v>0.3816919637604424</c:v>
                </c:pt>
                <c:pt idx="2">
                  <c:v>0.3902439024390244</c:v>
                </c:pt>
                <c:pt idx="3">
                  <c:v>0.4152976875588574</c:v>
                </c:pt>
                <c:pt idx="4">
                  <c:v>0.40379374250517824</c:v>
                </c:pt>
                <c:pt idx="5">
                  <c:v>0.3982499199658521</c:v>
                </c:pt>
                <c:pt idx="6">
                  <c:v>0.4154849688031764</c:v>
                </c:pt>
                <c:pt idx="7">
                  <c:v>0.3941946352209408</c:v>
                </c:pt>
                <c:pt idx="8">
                  <c:v>0.3924107815088089</c:v>
                </c:pt>
                <c:pt idx="9">
                  <c:v>0.401704776079015</c:v>
                </c:pt>
                <c:pt idx="10">
                  <c:v>0.39083949313621963</c:v>
                </c:pt>
                <c:pt idx="11">
                  <c:v>0.4021561877151658</c:v>
                </c:pt>
                <c:pt idx="12">
                  <c:v>0.4006640248473814</c:v>
                </c:pt>
                <c:pt idx="13">
                  <c:v>0.4100035642152786</c:v>
                </c:pt>
                <c:pt idx="14">
                  <c:v>0.41327319587628863</c:v>
                </c:pt>
                <c:pt idx="15">
                  <c:v>0.4025513819985826</c:v>
                </c:pt>
                <c:pt idx="16">
                  <c:v>0.3913188092466323</c:v>
                </c:pt>
                <c:pt idx="17">
                  <c:v>0.394107452339688</c:v>
                </c:pt>
                <c:pt idx="18">
                  <c:v>0.39829500396510703</c:v>
                </c:pt>
                <c:pt idx="19">
                  <c:v>0.4021695460024106</c:v>
                </c:pt>
                <c:pt idx="20">
                  <c:v>0.40716612377850164</c:v>
                </c:pt>
                <c:pt idx="21">
                  <c:v>0.4299947561615102</c:v>
                </c:pt>
                <c:pt idx="22">
                  <c:v>0.4081473793461339</c:v>
                </c:pt>
                <c:pt idx="23">
                  <c:v>0.4103194103194103</c:v>
                </c:pt>
                <c:pt idx="24">
                  <c:v>0.40828252032520324</c:v>
                </c:pt>
                <c:pt idx="25">
                  <c:v>0.4040934138021517</c:v>
                </c:pt>
                <c:pt idx="26">
                  <c:v>0.4019925280199253</c:v>
                </c:pt>
                <c:pt idx="27">
                  <c:v>0.4007540474606343</c:v>
                </c:pt>
                <c:pt idx="28">
                  <c:v>0.39095907147220527</c:v>
                </c:pt>
                <c:pt idx="29">
                  <c:v>0.4061799152753551</c:v>
                </c:pt>
                <c:pt idx="30">
                  <c:v>0.40456852791878173</c:v>
                </c:pt>
                <c:pt idx="31">
                  <c:v>0.3882063882063882</c:v>
                </c:pt>
                <c:pt idx="32">
                  <c:v>0.3827843231546045</c:v>
                </c:pt>
                <c:pt idx="33">
                  <c:v>0.37935390723696083</c:v>
                </c:pt>
                <c:pt idx="34">
                  <c:v>0.39390948822783023</c:v>
                </c:pt>
                <c:pt idx="35">
                  <c:v>0.37623937677053826</c:v>
                </c:pt>
                <c:pt idx="36">
                  <c:v>0.3827414147343704</c:v>
                </c:pt>
                <c:pt idx="37">
                  <c:v>0.39919678714859436</c:v>
                </c:pt>
                <c:pt idx="38">
                  <c:v>0.4107631498935847</c:v>
                </c:pt>
                <c:pt idx="39">
                  <c:v>0.4008420119654332</c:v>
                </c:pt>
                <c:pt idx="40">
                  <c:v>0.38873239436619716</c:v>
                </c:pt>
                <c:pt idx="41">
                  <c:v>0.3760305650512769</c:v>
                </c:pt>
                <c:pt idx="42">
                  <c:v>0.3951834862385321</c:v>
                </c:pt>
                <c:pt idx="43">
                  <c:v>0.38352524357838796</c:v>
                </c:pt>
                <c:pt idx="44">
                  <c:v>0.380720823798627</c:v>
                </c:pt>
                <c:pt idx="45">
                  <c:v>0.39650872817955113</c:v>
                </c:pt>
                <c:pt idx="46">
                  <c:v>0.4052691867124857</c:v>
                </c:pt>
                <c:pt idx="47">
                  <c:v>0.40348345872410596</c:v>
                </c:pt>
                <c:pt idx="48">
                  <c:v>0.3792432066367561</c:v>
                </c:pt>
                <c:pt idx="49">
                  <c:v>0.3886552955176517</c:v>
                </c:pt>
                <c:pt idx="50">
                  <c:v>0.3912084364575487</c:v>
                </c:pt>
                <c:pt idx="51">
                  <c:v>0.3980782429649965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74.5233131819492</c:v>
                </c:pt>
              </c:numCache>
            </c:numRef>
          </c:xVal>
          <c:yVal>
            <c:numRef>
              <c:f>Sheet1!$B$163:$B$164</c:f>
              <c:numCache>
                <c:formatCode>General</c:formatCode>
                <c:ptCount val="2"/>
                <c:pt idx="0">
                  <c:v>0.519269436376669</c:v>
                </c:pt>
                <c:pt idx="1">
                  <c:v>0.51926943637666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74.5233131819492</c:v>
                </c:pt>
                <c:pt idx="1">
                  <c:v>-874.5233131819492</c:v>
                </c:pt>
              </c:numCache>
            </c:numRef>
          </c:xVal>
          <c:yVal>
            <c:numRef>
              <c:f>Sheet1!$B$167:$B$168</c:f>
              <c:numCache>
                <c:formatCode>General</c:formatCode>
                <c:ptCount val="2"/>
                <c:pt idx="0">
                  <c:v>0.51926943637666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35.6308628089596</c:v>
                </c:pt>
              </c:numCache>
            </c:numRef>
          </c:xVal>
          <c:yVal>
            <c:numRef>
              <c:f>Sheet1!$B$171:$B$172</c:f>
              <c:numCache>
                <c:formatCode>General</c:formatCode>
                <c:ptCount val="2"/>
                <c:pt idx="0">
                  <c:v>0.4034034088739832</c:v>
                </c:pt>
                <c:pt idx="1">
                  <c:v>0.403403408873983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35.6308628089596</c:v>
                </c:pt>
                <c:pt idx="1">
                  <c:v>1135.6308628089596</c:v>
                </c:pt>
              </c:numCache>
            </c:numRef>
          </c:xVal>
          <c:yVal>
            <c:numRef>
              <c:f>Sheet1!$B$175:$B$176</c:f>
              <c:numCache>
                <c:formatCode>General</c:formatCode>
                <c:ptCount val="2"/>
                <c:pt idx="0">
                  <c:v>0.40340340887398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44.836853429981</c:v>
                </c:pt>
              </c:numCache>
            </c:numRef>
          </c:xVal>
          <c:yVal>
            <c:numRef>
              <c:f>Sheet1!$B$179:$B$180</c:f>
              <c:numCache>
                <c:formatCode>General</c:formatCode>
                <c:ptCount val="2"/>
                <c:pt idx="0">
                  <c:v>0.3913446984762731</c:v>
                </c:pt>
                <c:pt idx="1">
                  <c:v>0.391344698476273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44.836853429981</c:v>
                </c:pt>
                <c:pt idx="1">
                  <c:v>1344.836853429981</c:v>
                </c:pt>
              </c:numCache>
            </c:numRef>
          </c:xVal>
          <c:yVal>
            <c:numRef>
              <c:f>Sheet1!$B$183:$B$184</c:f>
              <c:numCache>
                <c:formatCode>General</c:formatCode>
                <c:ptCount val="2"/>
                <c:pt idx="0">
                  <c:v>0.391344698476273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42.6289</c:v>
                </c:pt>
                <c:pt idx="1">
                  <c:v>1247.7448</c:v>
                </c:pt>
                <c:pt idx="2">
                  <c:v>1253.0651</c:v>
                </c:pt>
                <c:pt idx="3">
                  <c:v>1259.6531</c:v>
                </c:pt>
                <c:pt idx="4">
                  <c:v>1273.3521</c:v>
                </c:pt>
                <c:pt idx="5">
                  <c:v>1249.865</c:v>
                </c:pt>
                <c:pt idx="6">
                  <c:v>1147.9472</c:v>
                </c:pt>
                <c:pt idx="7">
                  <c:v>1210.0247</c:v>
                </c:pt>
                <c:pt idx="8">
                  <c:v>1260.2855</c:v>
                </c:pt>
                <c:pt idx="9">
                  <c:v>1209.9784</c:v>
                </c:pt>
                <c:pt idx="10">
                  <c:v>1250.9041</c:v>
                </c:pt>
                <c:pt idx="11">
                  <c:v>1085.7024</c:v>
                </c:pt>
                <c:pt idx="12">
                  <c:v>1136.1353</c:v>
                </c:pt>
                <c:pt idx="13">
                  <c:v>1213.7615</c:v>
                </c:pt>
                <c:pt idx="14">
                  <c:v>1183.43</c:v>
                </c:pt>
                <c:pt idx="15">
                  <c:v>1214.7475</c:v>
                </c:pt>
                <c:pt idx="16">
                  <c:v>1246.2469</c:v>
                </c:pt>
                <c:pt idx="17">
                  <c:v>1218.4978</c:v>
                </c:pt>
                <c:pt idx="18">
                  <c:v>1188.6376</c:v>
                </c:pt>
                <c:pt idx="19">
                  <c:v>1298.2507</c:v>
                </c:pt>
                <c:pt idx="20">
                  <c:v>1290.7177</c:v>
                </c:pt>
                <c:pt idx="21">
                  <c:v>1177.4665</c:v>
                </c:pt>
                <c:pt idx="22">
                  <c:v>1228.3884</c:v>
                </c:pt>
                <c:pt idx="23">
                  <c:v>1263.2043</c:v>
                </c:pt>
                <c:pt idx="24">
                  <c:v>1274.9415</c:v>
                </c:pt>
                <c:pt idx="25">
                  <c:v>1239.576</c:v>
                </c:pt>
                <c:pt idx="26">
                  <c:v>1241.5266</c:v>
                </c:pt>
                <c:pt idx="27">
                  <c:v>1237.6182</c:v>
                </c:pt>
                <c:pt idx="28">
                  <c:v>1266.9328</c:v>
                </c:pt>
                <c:pt idx="29">
                  <c:v>1280.4282</c:v>
                </c:pt>
                <c:pt idx="30">
                  <c:v>1259.6506</c:v>
                </c:pt>
                <c:pt idx="31">
                  <c:v>1236.9887</c:v>
                </c:pt>
                <c:pt idx="32">
                  <c:v>1265.9768</c:v>
                </c:pt>
                <c:pt idx="33">
                  <c:v>1274.0804</c:v>
                </c:pt>
                <c:pt idx="34">
                  <c:v>1291.5447</c:v>
                </c:pt>
                <c:pt idx="35">
                  <c:v>1319.7332</c:v>
                </c:pt>
                <c:pt idx="36">
                  <c:v>1354.7845</c:v>
                </c:pt>
                <c:pt idx="37">
                  <c:v>1328.6378</c:v>
                </c:pt>
                <c:pt idx="38">
                  <c:v>1360.6736</c:v>
                </c:pt>
                <c:pt idx="39">
                  <c:v>1300.2736</c:v>
                </c:pt>
                <c:pt idx="40">
                  <c:v>1325.3863</c:v>
                </c:pt>
                <c:pt idx="41">
                  <c:v>1364.7198</c:v>
                </c:pt>
                <c:pt idx="42">
                  <c:v>1344.5804</c:v>
                </c:pt>
                <c:pt idx="43">
                  <c:v>1364.1607</c:v>
                </c:pt>
                <c:pt idx="44">
                  <c:v>1281.7044</c:v>
                </c:pt>
                <c:pt idx="45">
                  <c:v>1231.0621</c:v>
                </c:pt>
                <c:pt idx="46">
                  <c:v>1223.2298</c:v>
                </c:pt>
                <c:pt idx="47">
                  <c:v>1187.7423</c:v>
                </c:pt>
                <c:pt idx="48">
                  <c:v>1182.4567</c:v>
                </c:pt>
                <c:pt idx="49">
                  <c:v>1204.8673</c:v>
                </c:pt>
                <c:pt idx="50">
                  <c:v>1155.5339</c:v>
                </c:pt>
                <c:pt idx="51">
                  <c:v>1109.1973</c:v>
                </c:pt>
                <c:pt idx="52">
                  <c:v>1135.6308628089596</c:v>
                </c:pt>
                <c:pt idx="53">
                  <c:v>-874.5233131819492</c:v>
                </c:pt>
                <c:pt idx="54">
                  <c:v>1344.836853429981</c:v>
                </c:pt>
              </c:numCache>
            </c:numRef>
          </c:xVal>
          <c:yVal>
            <c:numRef>
              <c:f>Sheet1!$B$187:$B$241</c:f>
              <c:numCache>
                <c:formatCode>General</c:formatCode>
                <c:ptCount val="55"/>
                <c:pt idx="0">
                  <c:v>0.3972360025784939</c:v>
                </c:pt>
                <c:pt idx="1">
                  <c:v>0.3969411202171403</c:v>
                </c:pt>
                <c:pt idx="2">
                  <c:v>0.39663445616445947</c:v>
                </c:pt>
                <c:pt idx="3">
                  <c:v>0.39625472141659546</c:v>
                </c:pt>
                <c:pt idx="4">
                  <c:v>0.39546510600812723</c:v>
                </c:pt>
                <c:pt idx="5">
                  <c:v>0.3968189111077867</c:v>
                </c:pt>
                <c:pt idx="6">
                  <c:v>0.4026934906593736</c:v>
                </c:pt>
                <c:pt idx="7">
                  <c:v>0.3991153206820621</c:v>
                </c:pt>
                <c:pt idx="8">
                  <c:v>0.39621826964753826</c:v>
                </c:pt>
                <c:pt idx="9">
                  <c:v>0.399117989431125</c:v>
                </c:pt>
                <c:pt idx="10">
                  <c:v>0.39675901700084903</c:v>
                </c:pt>
                <c:pt idx="11">
                  <c:v>0.4062813038703399</c:v>
                </c:pt>
                <c:pt idx="12">
                  <c:v>0.4033743329283923</c:v>
                </c:pt>
                <c:pt idx="13">
                  <c:v>0.39889993015294584</c:v>
                </c:pt>
                <c:pt idx="14">
                  <c:v>0.40064824899095997</c:v>
                </c:pt>
                <c:pt idx="15">
                  <c:v>0.39884309674957696</c:v>
                </c:pt>
                <c:pt idx="16">
                  <c:v>0.39702745972515874</c:v>
                </c:pt>
                <c:pt idx="17">
                  <c:v>0.39862692807548555</c:v>
                </c:pt>
                <c:pt idx="18">
                  <c:v>0.40034808100781233</c:v>
                </c:pt>
                <c:pt idx="19">
                  <c:v>0.3940299415282901</c:v>
                </c:pt>
                <c:pt idx="20">
                  <c:v>0.3944641464244133</c:v>
                </c:pt>
                <c:pt idx="21">
                  <c:v>0.40099198732867813</c:v>
                </c:pt>
                <c:pt idx="22">
                  <c:v>0.39805683024652017</c:v>
                </c:pt>
                <c:pt idx="23">
                  <c:v>0.396050028939878</c:v>
                </c:pt>
                <c:pt idx="24">
                  <c:v>0.3953734924063884</c:v>
                </c:pt>
                <c:pt idx="25">
                  <c:v>0.3974119728595737</c:v>
                </c:pt>
                <c:pt idx="26">
                  <c:v>0.39729953955672254</c:v>
                </c:pt>
                <c:pt idx="27">
                  <c:v>0.3975248211730783</c:v>
                </c:pt>
                <c:pt idx="28">
                  <c:v>0.3958351168258205</c:v>
                </c:pt>
                <c:pt idx="29">
                  <c:v>0.39505723699638456</c:v>
                </c:pt>
                <c:pt idx="30">
                  <c:v>0.3962548655175168</c:v>
                </c:pt>
                <c:pt idx="31">
                  <c:v>0.3975611057850668</c:v>
                </c:pt>
                <c:pt idx="32">
                  <c:v>0.3958902210181335</c:v>
                </c:pt>
                <c:pt idx="33">
                  <c:v>0.3954231265277281</c:v>
                </c:pt>
                <c:pt idx="34">
                  <c:v>0.39441647783964046</c:v>
                </c:pt>
                <c:pt idx="35">
                  <c:v>0.3927916823113823</c:v>
                </c:pt>
                <c:pt idx="36">
                  <c:v>0.3907713124619886</c:v>
                </c:pt>
                <c:pt idx="37">
                  <c:v>0.39227841788578577</c:v>
                </c:pt>
                <c:pt idx="38">
                  <c:v>0.39043186256768897</c:v>
                </c:pt>
                <c:pt idx="39">
                  <c:v>0.39391334082679436</c:v>
                </c:pt>
                <c:pt idx="40">
                  <c:v>0.39246583554405534</c:v>
                </c:pt>
                <c:pt idx="41">
                  <c:v>0.39019863810855004</c:v>
                </c:pt>
                <c:pt idx="42">
                  <c:v>0.39135948054648756</c:v>
                </c:pt>
                <c:pt idx="43">
                  <c:v>0.39023086483859415</c:v>
                </c:pt>
                <c:pt idx="44">
                  <c:v>0.39498367635806886</c:v>
                </c:pt>
                <c:pt idx="45">
                  <c:v>0.39790271719318626</c:v>
                </c:pt>
                <c:pt idx="46">
                  <c:v>0.3983541738516099</c:v>
                </c:pt>
                <c:pt idx="47">
                  <c:v>0.40039968642975565</c:v>
                </c:pt>
                <c:pt idx="48">
                  <c:v>0.40070435036164853</c:v>
                </c:pt>
                <c:pt idx="49">
                  <c:v>0.39941259511870963</c:v>
                </c:pt>
                <c:pt idx="50">
                  <c:v>0.40225619047546046</c:v>
                </c:pt>
                <c:pt idx="51">
                  <c:v>0.40492704917580585</c:v>
                </c:pt>
                <c:pt idx="52">
                  <c:v>0.4034034088739832</c:v>
                </c:pt>
                <c:pt idx="53">
                  <c:v>0.519269436376669</c:v>
                </c:pt>
                <c:pt idx="54">
                  <c:v>0.391344698476273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3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518760195758564"/>
          <c:min val="0.27544816835541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9</c:f>
              <c:numCache>
                <c:formatCode>General</c:formatCode>
                <c:ptCount val="68"/>
                <c:pt idx="0">
                  <c:v>0.0</c:v>
                </c:pt>
                <c:pt idx="1">
                  <c:v>0.1515409885552289</c:v>
                </c:pt>
                <c:pt idx="2">
                  <c:v>0.14761073098881453</c:v>
                </c:pt>
                <c:pt idx="3">
                  <c:v>0.15013248693264142</c:v>
                </c:pt>
                <c:pt idx="4">
                  <c:v>0.16874421754964775</c:v>
                </c:pt>
                <c:pt idx="5">
                  <c:v>0.16068254335532803</c:v>
                </c:pt>
                <c:pt idx="6">
                  <c:v>0.1555939647691499</c:v>
                </c:pt>
                <c:pt idx="7">
                  <c:v>0.15258328900854384</c:v>
                </c:pt>
                <c:pt idx="8">
                  <c:v>0.14853399295911388</c:v>
                </c:pt>
                <c:pt idx="9">
                  <c:v>0.1540900490899387</c:v>
                </c:pt>
                <c:pt idx="10">
                  <c:v>0.15278547914003968</c:v>
                </c:pt>
                <c:pt idx="11">
                  <c:v>0.1544198584457969</c:v>
                </c:pt>
                <c:pt idx="12">
                  <c:v>0.15175717558664065</c:v>
                </c:pt>
                <c:pt idx="13">
                  <c:v>0.14936181239209767</c:v>
                </c:pt>
                <c:pt idx="14">
                  <c:v>0.13894579369508783</c:v>
                </c:pt>
                <c:pt idx="15">
                  <c:v>0.14916715367989508</c:v>
                </c:pt>
                <c:pt idx="16">
                  <c:v>0.162516587769479</c:v>
                </c:pt>
                <c:pt idx="17">
                  <c:v>0.16228256093891616</c:v>
                </c:pt>
                <c:pt idx="18">
                  <c:v>0.15933856279534148</c:v>
                </c:pt>
                <c:pt idx="19">
                  <c:v>0.1581719535008017</c:v>
                </c:pt>
                <c:pt idx="20">
                  <c:v>0.1508852323808911</c:v>
                </c:pt>
                <c:pt idx="21">
                  <c:v>0.15085465336682224</c:v>
                </c:pt>
                <c:pt idx="22">
                  <c:v>0.15236127872818386</c:v>
                </c:pt>
                <c:pt idx="23">
                  <c:v>0.15628628064718708</c:v>
                </c:pt>
                <c:pt idx="24">
                  <c:v>0.15706771238582037</c:v>
                </c:pt>
                <c:pt idx="25">
                  <c:v>0.1521694256026319</c:v>
                </c:pt>
                <c:pt idx="26">
                  <c:v>0.1570839649404925</c:v>
                </c:pt>
                <c:pt idx="27">
                  <c:v>0.15849306570349334</c:v>
                </c:pt>
                <c:pt idx="28">
                  <c:v>0.15803166034715552</c:v>
                </c:pt>
                <c:pt idx="29">
                  <c:v>0.16121199301306263</c:v>
                </c:pt>
                <c:pt idx="30">
                  <c:v>0.1545261210126275</c:v>
                </c:pt>
                <c:pt idx="31">
                  <c:v>0.15200757371421325</c:v>
                </c:pt>
                <c:pt idx="32">
                  <c:v>0.1651047275880049</c:v>
                </c:pt>
                <c:pt idx="33">
                  <c:v>0.16642198346703677</c:v>
                </c:pt>
                <c:pt idx="34">
                  <c:v>0.17002313870313365</c:v>
                </c:pt>
                <c:pt idx="35">
                  <c:v>0.17996122581553395</c:v>
                </c:pt>
                <c:pt idx="36">
                  <c:v>0.17843655207630837</c:v>
                </c:pt>
                <c:pt idx="37">
                  <c:v>0.17098985402015254</c:v>
                </c:pt>
                <c:pt idx="38">
                  <c:v>0.1614707403017474</c:v>
                </c:pt>
                <c:pt idx="39">
                  <c:v>0.1608562463036285</c:v>
                </c:pt>
                <c:pt idx="40">
                  <c:v>0.16165807930436557</c:v>
                </c:pt>
                <c:pt idx="41">
                  <c:v>0.15716452823107774</c:v>
                </c:pt>
                <c:pt idx="42">
                  <c:v>0.16424973351582203</c:v>
                </c:pt>
                <c:pt idx="43">
                  <c:v>0.16939955940237197</c:v>
                </c:pt>
                <c:pt idx="44">
                  <c:v>0.1958451527746589</c:v>
                </c:pt>
                <c:pt idx="45">
                  <c:v>0.18333299839706857</c:v>
                </c:pt>
                <c:pt idx="46">
                  <c:v>0.18613272297435485</c:v>
                </c:pt>
                <c:pt idx="47">
                  <c:v>0.22910592708782945</c:v>
                </c:pt>
                <c:pt idx="48">
                  <c:v>0.20912362742877327</c:v>
                </c:pt>
                <c:pt idx="49">
                  <c:v>0.21945897118569777</c:v>
                </c:pt>
                <c:pt idx="50">
                  <c:v>0.22158079776201456</c:v>
                </c:pt>
                <c:pt idx="51">
                  <c:v>0.18851371897721309</c:v>
                </c:pt>
                <c:pt idx="52">
                  <c:v>0.1936762249612308</c:v>
                </c:pt>
                <c:pt idx="53">
                  <c:v>0.23014593268324415</c:v>
                </c:pt>
                <c:pt idx="54">
                  <c:v>0.21954698867961478</c:v>
                </c:pt>
                <c:pt idx="55">
                  <c:v>0.22417673967558696</c:v>
                </c:pt>
                <c:pt idx="56">
                  <c:v>0.2153682348028444</c:v>
                </c:pt>
                <c:pt idx="57">
                  <c:v>0.20750860578737848</c:v>
                </c:pt>
                <c:pt idx="58">
                  <c:v>0.2113399795218417</c:v>
                </c:pt>
                <c:pt idx="59">
                  <c:v>0.20332993468280172</c:v>
                </c:pt>
                <c:pt idx="60">
                  <c:v>0.1943090291878658</c:v>
                </c:pt>
                <c:pt idx="61">
                  <c:v>0.2057160186064635</c:v>
                </c:pt>
                <c:pt idx="62">
                  <c:v>0.19864198823267634</c:v>
                </c:pt>
                <c:pt idx="63">
                  <c:v>0.20261095886908223</c:v>
                </c:pt>
                <c:pt idx="64">
                  <c:v>0.1930604714902427</c:v>
                </c:pt>
                <c:pt idx="65">
                  <c:v>0.17503304565595987</c:v>
                </c:pt>
                <c:pt idx="66">
                  <c:v>0.19266440689557607</c:v>
                </c:pt>
                <c:pt idx="67">
                  <c:v>0.20527678824962983</c:v>
                </c:pt>
              </c:numCache>
            </c:numRef>
          </c:xVal>
          <c:yVal>
            <c:numRef>
              <c:f>Sheet1!$B$2:$B$69</c:f>
              <c:numCache>
                <c:formatCode>General</c:formatCode>
                <c:ptCount val="68"/>
                <c:pt idx="0">
                  <c:v>0.4296724470134875</c:v>
                </c:pt>
                <c:pt idx="1">
                  <c:v>0.41657966172478594</c:v>
                </c:pt>
                <c:pt idx="2">
                  <c:v>0.4021879021879022</c:v>
                </c:pt>
                <c:pt idx="3">
                  <c:v>0.41426827141112854</c:v>
                </c:pt>
                <c:pt idx="4">
                  <c:v>0.40322902132748656</c:v>
                </c:pt>
                <c:pt idx="5">
                  <c:v>0.4000685048809728</c:v>
                </c:pt>
                <c:pt idx="6">
                  <c:v>0.39660277388187626</c:v>
                </c:pt>
                <c:pt idx="7">
                  <c:v>0.3877005347593583</c:v>
                </c:pt>
                <c:pt idx="8">
                  <c:v>0.40102742563592675</c:v>
                </c:pt>
                <c:pt idx="9">
                  <c:v>0.40256994144437214</c:v>
                </c:pt>
                <c:pt idx="10">
                  <c:v>0.39088328602437805</c:v>
                </c:pt>
                <c:pt idx="11">
                  <c:v>0.39224559686888455</c:v>
                </c:pt>
                <c:pt idx="12">
                  <c:v>0.415524729097272</c:v>
                </c:pt>
                <c:pt idx="13">
                  <c:v>0.40365966776288054</c:v>
                </c:pt>
                <c:pt idx="14">
                  <c:v>0.3969124063094306</c:v>
                </c:pt>
                <c:pt idx="15">
                  <c:v>0.4093322157027103</c:v>
                </c:pt>
                <c:pt idx="16">
                  <c:v>0.4118544600938967</c:v>
                </c:pt>
                <c:pt idx="17">
                  <c:v>0.42954964445614957</c:v>
                </c:pt>
                <c:pt idx="18">
                  <c:v>0.4230409825123482</c:v>
                </c:pt>
                <c:pt idx="19">
                  <c:v>0.43329989969909727</c:v>
                </c:pt>
                <c:pt idx="20">
                  <c:v>0.435274302213667</c:v>
                </c:pt>
                <c:pt idx="21">
                  <c:v>0.43751990657182294</c:v>
                </c:pt>
                <c:pt idx="22">
                  <c:v>0.4555774590442526</c:v>
                </c:pt>
                <c:pt idx="23">
                  <c:v>0.46228456315750205</c:v>
                </c:pt>
                <c:pt idx="24">
                  <c:v>0.4435924369747899</c:v>
                </c:pt>
                <c:pt idx="25">
                  <c:v>0.446161369193154</c:v>
                </c:pt>
                <c:pt idx="26">
                  <c:v>0.4603357910633384</c:v>
                </c:pt>
                <c:pt idx="27">
                  <c:v>0.41445925426016533</c:v>
                </c:pt>
                <c:pt idx="28">
                  <c:v>0.3919057855874381</c:v>
                </c:pt>
                <c:pt idx="29">
                  <c:v>0.40365287978353304</c:v>
                </c:pt>
                <c:pt idx="30">
                  <c:v>0.3912951616311008</c:v>
                </c:pt>
                <c:pt idx="31">
                  <c:v>0.381054036024016</c:v>
                </c:pt>
                <c:pt idx="32">
                  <c:v>0.3703767123287671</c:v>
                </c:pt>
                <c:pt idx="33">
                  <c:v>0.3760556383507203</c:v>
                </c:pt>
                <c:pt idx="34">
                  <c:v>0.39188427578433216</c:v>
                </c:pt>
                <c:pt idx="35">
                  <c:v>0.36929460580912865</c:v>
                </c:pt>
                <c:pt idx="36">
                  <c:v>0.39154984423676015</c:v>
                </c:pt>
                <c:pt idx="37">
                  <c:v>0.3922312556458898</c:v>
                </c:pt>
                <c:pt idx="38">
                  <c:v>0.4071747061207945</c:v>
                </c:pt>
                <c:pt idx="39">
                  <c:v>0.4070307318151669</c:v>
                </c:pt>
                <c:pt idx="40">
                  <c:v>0.40476190476190477</c:v>
                </c:pt>
                <c:pt idx="41">
                  <c:v>0.38565488565488565</c:v>
                </c:pt>
                <c:pt idx="42">
                  <c:v>0.3820810618630007</c:v>
                </c:pt>
                <c:pt idx="43">
                  <c:v>0.36182994454713496</c:v>
                </c:pt>
                <c:pt idx="44">
                  <c:v>0.3755707762557078</c:v>
                </c:pt>
                <c:pt idx="45">
                  <c:v>0.37569199798691494</c:v>
                </c:pt>
                <c:pt idx="46">
                  <c:v>0.3840434658278524</c:v>
                </c:pt>
                <c:pt idx="47">
                  <c:v>0.3814636903079966</c:v>
                </c:pt>
                <c:pt idx="48">
                  <c:v>0.3962217860647694</c:v>
                </c:pt>
                <c:pt idx="49">
                  <c:v>0.38717128642501775</c:v>
                </c:pt>
                <c:pt idx="50">
                  <c:v>0.39503386004514673</c:v>
                </c:pt>
                <c:pt idx="51">
                  <c:v>0.39035836177474403</c:v>
                </c:pt>
                <c:pt idx="52">
                  <c:v>0.4000483442107808</c:v>
                </c:pt>
                <c:pt idx="53">
                  <c:v>0.38532799198798195</c:v>
                </c:pt>
                <c:pt idx="54">
                  <c:v>0.36058174523570713</c:v>
                </c:pt>
                <c:pt idx="55">
                  <c:v>0.3607016234372084</c:v>
                </c:pt>
                <c:pt idx="56">
                  <c:v>0.34939541598989354</c:v>
                </c:pt>
                <c:pt idx="57">
                  <c:v>0.35541930379746833</c:v>
                </c:pt>
                <c:pt idx="58">
                  <c:v>0.3566240557815224</c:v>
                </c:pt>
                <c:pt idx="59">
                  <c:v>0.3629177506503902</c:v>
                </c:pt>
                <c:pt idx="60">
                  <c:v>0.3668784413384159</c:v>
                </c:pt>
                <c:pt idx="61">
                  <c:v>0.37420626231661924</c:v>
                </c:pt>
                <c:pt idx="62">
                  <c:v>0.3795620437956204</c:v>
                </c:pt>
                <c:pt idx="63">
                  <c:v>0.38089468779123953</c:v>
                </c:pt>
                <c:pt idx="64">
                  <c:v>0.40074812967581047</c:v>
                </c:pt>
                <c:pt idx="65">
                  <c:v>0.39029662543533084</c:v>
                </c:pt>
                <c:pt idx="66">
                  <c:v>0.3605958958168903</c:v>
                </c:pt>
                <c:pt idx="67">
                  <c:v>0.36066362106275546</c:v>
                </c:pt>
              </c:numCache>
            </c:numRef>
          </c:yVal>
          <c:smooth val="0"/>
          <c:extLst>
            <c:ext xmlns:c16="http://schemas.microsoft.com/office/drawing/2014/chart" uri="{C3380CC4-5D6E-409C-BE32-E72D297353CC}">
              <c16:uniqueId val="{00000000-096C-4121-9522-6AB7243CCAAE}"/>
            </c:ext>
          </c:extLst>
        </c:ser>
        <c:ser>
          <c:idx val="1"/>
          <c:order val="1"/>
          <c:tx>
            <c:strRef>
              <c:f>Sheet1!$B$7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2:$A$123</c:f>
              <c:numCache>
                <c:formatCode>General</c:formatCode>
                <c:ptCount val="52"/>
                <c:pt idx="0">
                  <c:v>0.20216524582696122</c:v>
                </c:pt>
                <c:pt idx="1">
                  <c:v>0.19671089809718165</c:v>
                </c:pt>
                <c:pt idx="2">
                  <c:v>0.20597282263230804</c:v>
                </c:pt>
                <c:pt idx="3">
                  <c:v>0.23990991910847473</c:v>
                </c:pt>
                <c:pt idx="4">
                  <c:v>0.23176948570957412</c:v>
                </c:pt>
                <c:pt idx="5">
                  <c:v>0.2317409263025233</c:v>
                </c:pt>
                <c:pt idx="6">
                  <c:v>0.20033108503119412</c:v>
                </c:pt>
                <c:pt idx="7">
                  <c:v>0.1967099198023525</c:v>
                </c:pt>
                <c:pt idx="8">
                  <c:v>0.20118647268085185</c:v>
                </c:pt>
                <c:pt idx="9">
                  <c:v>0.20654250600311147</c:v>
                </c:pt>
                <c:pt idx="10">
                  <c:v>0.22728304011664238</c:v>
                </c:pt>
                <c:pt idx="11">
                  <c:v>0.19939512721039396</c:v>
                </c:pt>
                <c:pt idx="12">
                  <c:v>0.19090777903268263</c:v>
                </c:pt>
                <c:pt idx="13">
                  <c:v>0.20469977114487284</c:v>
                </c:pt>
                <c:pt idx="14">
                  <c:v>0.18794069120750326</c:v>
                </c:pt>
                <c:pt idx="15">
                  <c:v>0.19234410460424675</c:v>
                </c:pt>
                <c:pt idx="16">
                  <c:v>0.1873711740101816</c:v>
                </c:pt>
                <c:pt idx="17">
                  <c:v>0.17556182225864259</c:v>
                </c:pt>
                <c:pt idx="18">
                  <c:v>0.1712696338228124</c:v>
                </c:pt>
                <c:pt idx="19">
                  <c:v>0.18814079332057</c:v>
                </c:pt>
                <c:pt idx="20">
                  <c:v>0.1814302813065556</c:v>
                </c:pt>
                <c:pt idx="21">
                  <c:v>0.16800257842426533</c:v>
                </c:pt>
                <c:pt idx="22">
                  <c:v>0.2049761551943791</c:v>
                </c:pt>
                <c:pt idx="23">
                  <c:v>0.18367959698576877</c:v>
                </c:pt>
                <c:pt idx="24">
                  <c:v>0.1725918871620169</c:v>
                </c:pt>
                <c:pt idx="25">
                  <c:v>0.16807582270070914</c:v>
                </c:pt>
                <c:pt idx="26">
                  <c:v>0.20037032613747868</c:v>
                </c:pt>
                <c:pt idx="27">
                  <c:v>0.19110252926098636</c:v>
                </c:pt>
                <c:pt idx="28">
                  <c:v>0.192731413221988</c:v>
                </c:pt>
                <c:pt idx="29">
                  <c:v>0.18726582963238936</c:v>
                </c:pt>
                <c:pt idx="30">
                  <c:v>0.19022696717454138</c:v>
                </c:pt>
                <c:pt idx="31">
                  <c:v>0.1931368256693771</c:v>
                </c:pt>
                <c:pt idx="32">
                  <c:v>0.1793405733099051</c:v>
                </c:pt>
                <c:pt idx="33">
                  <c:v>0.15580935958934472</c:v>
                </c:pt>
                <c:pt idx="34">
                  <c:v>0.1671160118149713</c:v>
                </c:pt>
                <c:pt idx="35">
                  <c:v>0.18031974968745088</c:v>
                </c:pt>
                <c:pt idx="36">
                  <c:v>0.1626331882074416</c:v>
                </c:pt>
                <c:pt idx="37">
                  <c:v>0.16789014105390687</c:v>
                </c:pt>
                <c:pt idx="38">
                  <c:v>0.16982160485241674</c:v>
                </c:pt>
                <c:pt idx="39">
                  <c:v>0.17168425622085504</c:v>
                </c:pt>
                <c:pt idx="40">
                  <c:v>0.20204640642635557</c:v>
                </c:pt>
                <c:pt idx="41">
                  <c:v>0.20922074429073437</c:v>
                </c:pt>
                <c:pt idx="42">
                  <c:v>0.21051830280256772</c:v>
                </c:pt>
                <c:pt idx="43">
                  <c:v>0.20036587433795433</c:v>
                </c:pt>
                <c:pt idx="44">
                  <c:v>0.1909268994699663</c:v>
                </c:pt>
                <c:pt idx="45">
                  <c:v>0.19986239575615644</c:v>
                </c:pt>
                <c:pt idx="46">
                  <c:v>0.1876139525305932</c:v>
                </c:pt>
                <c:pt idx="47">
                  <c:v>0.2015574198005421</c:v>
                </c:pt>
                <c:pt idx="48">
                  <c:v>0.2845534404913798</c:v>
                </c:pt>
                <c:pt idx="49">
                  <c:v>0.22141681942434474</c:v>
                </c:pt>
                <c:pt idx="50">
                  <c:v>0.2107351250442385</c:v>
                </c:pt>
                <c:pt idx="51">
                  <c:v>0.2061741961324363</c:v>
                </c:pt>
              </c:numCache>
            </c:numRef>
          </c:xVal>
          <c:yVal>
            <c:numRef>
              <c:f>Sheet1!$B$72:$B$123</c:f>
              <c:numCache>
                <c:formatCode>General</c:formatCode>
                <c:ptCount val="52"/>
                <c:pt idx="0">
                  <c:v>0.3707419248153456</c:v>
                </c:pt>
                <c:pt idx="1">
                  <c:v>0.3816919637604424</c:v>
                </c:pt>
                <c:pt idx="2">
                  <c:v>0.3902439024390244</c:v>
                </c:pt>
                <c:pt idx="3">
                  <c:v>0.4152976875588574</c:v>
                </c:pt>
                <c:pt idx="4">
                  <c:v>0.40379374250517824</c:v>
                </c:pt>
                <c:pt idx="5">
                  <c:v>0.3982499199658521</c:v>
                </c:pt>
                <c:pt idx="6">
                  <c:v>0.4154849688031764</c:v>
                </c:pt>
                <c:pt idx="7">
                  <c:v>0.3941946352209408</c:v>
                </c:pt>
                <c:pt idx="8">
                  <c:v>0.3924107815088089</c:v>
                </c:pt>
                <c:pt idx="9">
                  <c:v>0.401704776079015</c:v>
                </c:pt>
                <c:pt idx="10">
                  <c:v>0.39083949313621963</c:v>
                </c:pt>
                <c:pt idx="11">
                  <c:v>0.4021561877151658</c:v>
                </c:pt>
                <c:pt idx="12">
                  <c:v>0.4006640248473814</c:v>
                </c:pt>
                <c:pt idx="13">
                  <c:v>0.4100035642152786</c:v>
                </c:pt>
                <c:pt idx="14">
                  <c:v>0.41327319587628863</c:v>
                </c:pt>
                <c:pt idx="15">
                  <c:v>0.4025513819985826</c:v>
                </c:pt>
                <c:pt idx="16">
                  <c:v>0.3913188092466323</c:v>
                </c:pt>
                <c:pt idx="17">
                  <c:v>0.394107452339688</c:v>
                </c:pt>
                <c:pt idx="18">
                  <c:v>0.39829500396510703</c:v>
                </c:pt>
                <c:pt idx="19">
                  <c:v>0.4021695460024106</c:v>
                </c:pt>
                <c:pt idx="20">
                  <c:v>0.40716612377850164</c:v>
                </c:pt>
                <c:pt idx="21">
                  <c:v>0.4299947561615102</c:v>
                </c:pt>
                <c:pt idx="22">
                  <c:v>0.4081473793461339</c:v>
                </c:pt>
                <c:pt idx="23">
                  <c:v>0.4103194103194103</c:v>
                </c:pt>
                <c:pt idx="24">
                  <c:v>0.40828252032520324</c:v>
                </c:pt>
                <c:pt idx="25">
                  <c:v>0.4040934138021517</c:v>
                </c:pt>
                <c:pt idx="26">
                  <c:v>0.4019925280199253</c:v>
                </c:pt>
                <c:pt idx="27">
                  <c:v>0.4007540474606343</c:v>
                </c:pt>
                <c:pt idx="28">
                  <c:v>0.39095907147220527</c:v>
                </c:pt>
                <c:pt idx="29">
                  <c:v>0.4061799152753551</c:v>
                </c:pt>
                <c:pt idx="30">
                  <c:v>0.40456852791878173</c:v>
                </c:pt>
                <c:pt idx="31">
                  <c:v>0.3882063882063882</c:v>
                </c:pt>
                <c:pt idx="32">
                  <c:v>0.3827843231546045</c:v>
                </c:pt>
                <c:pt idx="33">
                  <c:v>0.37935390723696083</c:v>
                </c:pt>
                <c:pt idx="34">
                  <c:v>0.39390948822783023</c:v>
                </c:pt>
                <c:pt idx="35">
                  <c:v>0.37623937677053826</c:v>
                </c:pt>
                <c:pt idx="36">
                  <c:v>0.3827414147343704</c:v>
                </c:pt>
                <c:pt idx="37">
                  <c:v>0.39919678714859436</c:v>
                </c:pt>
                <c:pt idx="38">
                  <c:v>0.4107631498935847</c:v>
                </c:pt>
                <c:pt idx="39">
                  <c:v>0.4008420119654332</c:v>
                </c:pt>
                <c:pt idx="40">
                  <c:v>0.38873239436619716</c:v>
                </c:pt>
                <c:pt idx="41">
                  <c:v>0.3760305650512769</c:v>
                </c:pt>
                <c:pt idx="42">
                  <c:v>0.3951834862385321</c:v>
                </c:pt>
                <c:pt idx="43">
                  <c:v>0.38352524357838796</c:v>
                </c:pt>
                <c:pt idx="44">
                  <c:v>0.380720823798627</c:v>
                </c:pt>
                <c:pt idx="45">
                  <c:v>0.39650872817955113</c:v>
                </c:pt>
                <c:pt idx="46">
                  <c:v>0.4052691867124857</c:v>
                </c:pt>
                <c:pt idx="47">
                  <c:v>0.40348345872410596</c:v>
                </c:pt>
                <c:pt idx="48">
                  <c:v>0.3792432066367561</c:v>
                </c:pt>
                <c:pt idx="49">
                  <c:v>0.3886552955176517</c:v>
                </c:pt>
                <c:pt idx="50">
                  <c:v>0.3912084364575487</c:v>
                </c:pt>
                <c:pt idx="51">
                  <c:v>0.39807824296499655</c:v>
                </c:pt>
              </c:numCache>
            </c:numRef>
          </c:yVal>
          <c:smooth val="0"/>
          <c:extLst>
            <c:ext xmlns:c16="http://schemas.microsoft.com/office/drawing/2014/chart" uri="{C3380CC4-5D6E-409C-BE32-E72D297353CC}">
              <c16:uniqueId val="{00000002-096C-4121-9522-6AB7243CCAAE}"/>
            </c:ext>
          </c:extLst>
        </c:ser>
        <c:ser>
          <c:idx val="2"/>
          <c:order val="2"/>
          <c:tx>
            <c:strRef>
              <c:f>Sheet1!$B$12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6:$A$127</c:f>
              <c:numCache>
                <c:formatCode>General</c:formatCode>
                <c:ptCount val="2"/>
                <c:pt idx="0">
                  <c:v>0</c:v>
                </c:pt>
                <c:pt idx="1">
                  <c:v>-0.175126509388928</c:v>
                </c:pt>
              </c:numCache>
            </c:numRef>
          </c:xVal>
          <c:yVal>
            <c:numRef>
              <c:f>Sheet1!$B$126:$B$127</c:f>
              <c:numCache>
                <c:formatCode>General</c:formatCode>
                <c:ptCount val="2"/>
                <c:pt idx="0">
                  <c:v>0.4235442948838396</c:v>
                </c:pt>
                <c:pt idx="1">
                  <c:v>0.4235442948838396</c:v>
                </c:pt>
              </c:numCache>
            </c:numRef>
          </c:yVal>
          <c:smooth val="0"/>
          <c:extLst>
            <c:ext xmlns:c16="http://schemas.microsoft.com/office/drawing/2014/chart" uri="{C3380CC4-5D6E-409C-BE32-E72D297353CC}">
              <c16:uniqueId val="{00000005-096C-4121-9522-6AB7243CCAAE}"/>
            </c:ext>
          </c:extLst>
        </c:ser>
        <c:ser>
          <c:idx val="3"/>
          <c:order val="3"/>
          <c:tx>
            <c:strRef>
              <c:f>Sheet1!$B$12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0:$A$131</c:f>
              <c:numCache>
                <c:formatCode>General</c:formatCode>
                <c:ptCount val="2"/>
                <c:pt idx="0">
                  <c:v>-0.175126509388928</c:v>
                </c:pt>
                <c:pt idx="1">
                  <c:v>-0.175126509388928</c:v>
                </c:pt>
              </c:numCache>
            </c:numRef>
          </c:xVal>
          <c:yVal>
            <c:numRef>
              <c:f>Sheet1!$B$130:$B$131</c:f>
              <c:numCache>
                <c:formatCode>General</c:formatCode>
                <c:ptCount val="2"/>
                <c:pt idx="0">
                  <c:v>0.423544294883839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4:$A$135</c:f>
              <c:numCache>
                <c:formatCode>General</c:formatCode>
                <c:ptCount val="2"/>
                <c:pt idx="0">
                  <c:v>0</c:v>
                </c:pt>
                <c:pt idx="1">
                  <c:v>0.10553502026622397</c:v>
                </c:pt>
              </c:numCache>
            </c:numRef>
          </c:xVal>
          <c:yVal>
            <c:numRef>
              <c:f>Sheet1!$B$134:$B$135</c:f>
              <c:numCache>
                <c:formatCode>General</c:formatCode>
                <c:ptCount val="2"/>
                <c:pt idx="0">
                  <c:v>0.4034034088739832</c:v>
                </c:pt>
                <c:pt idx="1">
                  <c:v>0.4034034088739832</c:v>
                </c:pt>
              </c:numCache>
            </c:numRef>
          </c:yVal>
          <c:smooth val="0"/>
          <c:extLst>
            <c:ext xmlns:c16="http://schemas.microsoft.com/office/drawing/2014/chart" uri="{C3380CC4-5D6E-409C-BE32-E72D297353CC}">
              <c16:uniqueId val="{0000000D-096C-4121-9522-6AB7243CCAAE}"/>
            </c:ext>
          </c:extLst>
        </c:ser>
        <c:ser>
          <c:idx val="5"/>
          <c:order val="5"/>
          <c:tx>
            <c:strRef>
              <c:f>Sheet1!$B$13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8:$A$139</c:f>
              <c:numCache>
                <c:formatCode>General</c:formatCode>
                <c:ptCount val="2"/>
                <c:pt idx="0">
                  <c:v>0.10553502026622397</c:v>
                </c:pt>
                <c:pt idx="1">
                  <c:v>0.10553502026622397</c:v>
                </c:pt>
              </c:numCache>
            </c:numRef>
          </c:xVal>
          <c:yVal>
            <c:numRef>
              <c:f>Sheet1!$B$138:$B$139</c:f>
              <c:numCache>
                <c:formatCode>General</c:formatCode>
                <c:ptCount val="2"/>
                <c:pt idx="0">
                  <c:v>0.40340340887398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4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42:$A$143</c:f>
              <c:numCache>
                <c:formatCode>General</c:formatCode>
                <c:ptCount val="2"/>
                <c:pt idx="0">
                  <c:v>0</c:v>
                </c:pt>
                <c:pt idx="1">
                  <c:v>0.2735721217241016</c:v>
                </c:pt>
              </c:numCache>
            </c:numRef>
          </c:xVal>
          <c:yVal>
            <c:numRef>
              <c:f>Sheet1!$B$142:$B$143</c:f>
              <c:numCache>
                <c:formatCode>General</c:formatCode>
                <c:ptCount val="2"/>
                <c:pt idx="0">
                  <c:v>0.3913446984762731</c:v>
                </c:pt>
                <c:pt idx="1">
                  <c:v>0.3913446984762731</c:v>
                </c:pt>
              </c:numCache>
            </c:numRef>
          </c:yVal>
          <c:smooth val="0"/>
          <c:extLst>
            <c:ext xmlns:c16="http://schemas.microsoft.com/office/drawing/2014/chart" uri="{C3380CC4-5D6E-409C-BE32-E72D297353CC}">
              <c16:uniqueId val="{00000015-096C-4121-9522-6AB7243CCAAE}"/>
            </c:ext>
          </c:extLst>
        </c:ser>
        <c:ser>
          <c:idx val="7"/>
          <c:order val="7"/>
          <c:tx>
            <c:strRef>
              <c:f>Sheet1!$B$14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6:$A$147</c:f>
              <c:numCache>
                <c:formatCode>General</c:formatCode>
                <c:ptCount val="2"/>
                <c:pt idx="0">
                  <c:v>0.2735721217241016</c:v>
                </c:pt>
                <c:pt idx="1">
                  <c:v>0.2735721217241016</c:v>
                </c:pt>
              </c:numCache>
            </c:numRef>
          </c:xVal>
          <c:yVal>
            <c:numRef>
              <c:f>Sheet1!$B$146:$B$147</c:f>
              <c:numCache>
                <c:formatCode>General</c:formatCode>
                <c:ptCount val="2"/>
                <c:pt idx="0">
                  <c:v>0.391344698476273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50:$A$204</c:f>
              <c:numCache>
                <c:formatCode>General</c:formatCode>
                <c:ptCount val="55"/>
                <c:pt idx="0">
                  <c:v>0.20216524582696122</c:v>
                </c:pt>
                <c:pt idx="1">
                  <c:v>0.19671089809718165</c:v>
                </c:pt>
                <c:pt idx="2">
                  <c:v>0.20597282263230804</c:v>
                </c:pt>
                <c:pt idx="3">
                  <c:v>0.23990991910847473</c:v>
                </c:pt>
                <c:pt idx="4">
                  <c:v>0.23176948570957412</c:v>
                </c:pt>
                <c:pt idx="5">
                  <c:v>0.2317409263025233</c:v>
                </c:pt>
                <c:pt idx="6">
                  <c:v>0.20033108503119412</c:v>
                </c:pt>
                <c:pt idx="7">
                  <c:v>0.1967099198023525</c:v>
                </c:pt>
                <c:pt idx="8">
                  <c:v>0.20118647268085185</c:v>
                </c:pt>
                <c:pt idx="9">
                  <c:v>0.20654250600311147</c:v>
                </c:pt>
                <c:pt idx="10">
                  <c:v>0.22728304011664238</c:v>
                </c:pt>
                <c:pt idx="11">
                  <c:v>0.19939512721039396</c:v>
                </c:pt>
                <c:pt idx="12">
                  <c:v>0.19090777903268263</c:v>
                </c:pt>
                <c:pt idx="13">
                  <c:v>0.20469977114487284</c:v>
                </c:pt>
                <c:pt idx="14">
                  <c:v>0.18794069120750326</c:v>
                </c:pt>
                <c:pt idx="15">
                  <c:v>0.19234410460424675</c:v>
                </c:pt>
                <c:pt idx="16">
                  <c:v>0.1873711740101816</c:v>
                </c:pt>
                <c:pt idx="17">
                  <c:v>0.17556182225864259</c:v>
                </c:pt>
                <c:pt idx="18">
                  <c:v>0.1712696338228124</c:v>
                </c:pt>
                <c:pt idx="19">
                  <c:v>0.18814079332057</c:v>
                </c:pt>
                <c:pt idx="20">
                  <c:v>0.1814302813065556</c:v>
                </c:pt>
                <c:pt idx="21">
                  <c:v>0.16800257842426533</c:v>
                </c:pt>
                <c:pt idx="22">
                  <c:v>0.2049761551943791</c:v>
                </c:pt>
                <c:pt idx="23">
                  <c:v>0.18367959698576877</c:v>
                </c:pt>
                <c:pt idx="24">
                  <c:v>0.1725918871620169</c:v>
                </c:pt>
                <c:pt idx="25">
                  <c:v>0.16807582270070914</c:v>
                </c:pt>
                <c:pt idx="26">
                  <c:v>0.20037032613747868</c:v>
                </c:pt>
                <c:pt idx="27">
                  <c:v>0.19110252926098636</c:v>
                </c:pt>
                <c:pt idx="28">
                  <c:v>0.192731413221988</c:v>
                </c:pt>
                <c:pt idx="29">
                  <c:v>0.18726582963238936</c:v>
                </c:pt>
                <c:pt idx="30">
                  <c:v>0.19022696717454138</c:v>
                </c:pt>
                <c:pt idx="31">
                  <c:v>0.1931368256693771</c:v>
                </c:pt>
                <c:pt idx="32">
                  <c:v>0.1793405733099051</c:v>
                </c:pt>
                <c:pt idx="33">
                  <c:v>0.15580935958934472</c:v>
                </c:pt>
                <c:pt idx="34">
                  <c:v>0.1671160118149713</c:v>
                </c:pt>
                <c:pt idx="35">
                  <c:v>0.18031974968745088</c:v>
                </c:pt>
                <c:pt idx="36">
                  <c:v>0.1626331882074416</c:v>
                </c:pt>
                <c:pt idx="37">
                  <c:v>0.16789014105390687</c:v>
                </c:pt>
                <c:pt idx="38">
                  <c:v>0.16982160485241674</c:v>
                </c:pt>
                <c:pt idx="39">
                  <c:v>0.17168425622085504</c:v>
                </c:pt>
                <c:pt idx="40">
                  <c:v>0.20204640642635557</c:v>
                </c:pt>
                <c:pt idx="41">
                  <c:v>0.20922074429073437</c:v>
                </c:pt>
                <c:pt idx="42">
                  <c:v>0.21051830280256772</c:v>
                </c:pt>
                <c:pt idx="43">
                  <c:v>0.20036587433795433</c:v>
                </c:pt>
                <c:pt idx="44">
                  <c:v>0.1909268994699663</c:v>
                </c:pt>
                <c:pt idx="45">
                  <c:v>0.19986239575615644</c:v>
                </c:pt>
                <c:pt idx="46">
                  <c:v>0.1876139525305932</c:v>
                </c:pt>
                <c:pt idx="47">
                  <c:v>0.2015574198005421</c:v>
                </c:pt>
                <c:pt idx="48">
                  <c:v>0.2845534404913798</c:v>
                </c:pt>
                <c:pt idx="49">
                  <c:v>0.22141681942434474</c:v>
                </c:pt>
                <c:pt idx="50">
                  <c:v>0.2107351250442385</c:v>
                </c:pt>
                <c:pt idx="51">
                  <c:v>0.2061741961324363</c:v>
                </c:pt>
                <c:pt idx="52">
                  <c:v>0.10553502026622397</c:v>
                </c:pt>
                <c:pt idx="53">
                  <c:v>-0.175126509388928</c:v>
                </c:pt>
                <c:pt idx="54">
                  <c:v>0.2735721217241016</c:v>
                </c:pt>
              </c:numCache>
            </c:numRef>
          </c:xVal>
          <c:yVal>
            <c:numRef>
              <c:f>Sheet1!$B$150:$B$204</c:f>
              <c:numCache>
                <c:formatCode>General</c:formatCode>
                <c:ptCount val="55"/>
                <c:pt idx="0">
                  <c:v>0.3964690122699426</c:v>
                </c:pt>
                <c:pt idx="1">
                  <c:v>0.3968604282079181</c:v>
                </c:pt>
                <c:pt idx="2">
                  <c:v>0.39619577221989194</c:v>
                </c:pt>
                <c:pt idx="3">
                  <c:v>0.393760371855361</c:v>
                </c:pt>
                <c:pt idx="4">
                  <c:v>0.3943445471834137</c:v>
                </c:pt>
                <c:pt idx="5">
                  <c:v>0.3943465966690081</c:v>
                </c:pt>
                <c:pt idx="6">
                  <c:v>0.3966006356654136</c:v>
                </c:pt>
                <c:pt idx="7">
                  <c:v>0.3968604984124975</c:v>
                </c:pt>
                <c:pt idx="8">
                  <c:v>0.39653925117439637</c:v>
                </c:pt>
                <c:pt idx="9">
                  <c:v>0.39615489049361063</c:v>
                </c:pt>
                <c:pt idx="10">
                  <c:v>0.39466650434436734</c:v>
                </c:pt>
                <c:pt idx="11">
                  <c:v>0.39666780204835866</c:v>
                </c:pt>
                <c:pt idx="12">
                  <c:v>0.39727687274067364</c:v>
                </c:pt>
                <c:pt idx="13">
                  <c:v>0.3962871291825815</c:v>
                </c:pt>
                <c:pt idx="14">
                  <c:v>0.3974897974608574</c:v>
                </c:pt>
                <c:pt idx="15">
                  <c:v>0.39717379887214077</c:v>
                </c:pt>
                <c:pt idx="16">
                  <c:v>0.3975306672621658</c:v>
                </c:pt>
                <c:pt idx="17">
                  <c:v>0.39837813220604423</c:v>
                </c:pt>
                <c:pt idx="18">
                  <c:v>0.3986861490479858</c:v>
                </c:pt>
                <c:pt idx="19">
                  <c:v>0.39747543769500504</c:v>
                </c:pt>
                <c:pt idx="20">
                  <c:v>0.39795699873298596</c:v>
                </c:pt>
                <c:pt idx="21">
                  <c:v>0.39892060009815605</c:v>
                </c:pt>
                <c:pt idx="22">
                  <c:v>0.39626729525791476</c:v>
                </c:pt>
                <c:pt idx="23">
                  <c:v>0.39779558291389994</c:v>
                </c:pt>
                <c:pt idx="24">
                  <c:v>0.3985912612526624</c:v>
                </c:pt>
                <c:pt idx="25">
                  <c:v>0.3989153439284753</c:v>
                </c:pt>
                <c:pt idx="26">
                  <c:v>0.39659781963768953</c:v>
                </c:pt>
                <c:pt idx="27">
                  <c:v>0.3972628970377924</c:v>
                </c:pt>
                <c:pt idx="28">
                  <c:v>0.39714600475753536</c:v>
                </c:pt>
                <c:pt idx="29">
                  <c:v>0.39753822700541774</c:v>
                </c:pt>
                <c:pt idx="30">
                  <c:v>0.39732572929057497</c:v>
                </c:pt>
                <c:pt idx="31">
                  <c:v>0.39711691147246747</c:v>
                </c:pt>
                <c:pt idx="32">
                  <c:v>0.3981069607552344</c:v>
                </c:pt>
                <c:pt idx="33">
                  <c:v>0.39979561218459736</c:v>
                </c:pt>
                <c:pt idx="34">
                  <c:v>0.3989842220595979</c:v>
                </c:pt>
                <c:pt idx="35">
                  <c:v>0.39803669291400967</c:v>
                </c:pt>
                <c:pt idx="36">
                  <c:v>0.399305919298947</c:v>
                </c:pt>
                <c:pt idx="37">
                  <c:v>0.398928668850088</c:v>
                </c:pt>
                <c:pt idx="38">
                  <c:v>0.398790062778049</c:v>
                </c:pt>
                <c:pt idx="39">
                  <c:v>0.3986563948366895</c:v>
                </c:pt>
                <c:pt idx="40">
                  <c:v>0.3964775404455854</c:v>
                </c:pt>
                <c:pt idx="41">
                  <c:v>0.39596269424881525</c:v>
                </c:pt>
                <c:pt idx="42">
                  <c:v>0.39586957860838506</c:v>
                </c:pt>
                <c:pt idx="43">
                  <c:v>0.3965981391085727</c:v>
                </c:pt>
                <c:pt idx="44">
                  <c:v>0.3972755006162209</c:v>
                </c:pt>
                <c:pt idx="45">
                  <c:v>0.3966342698342082</c:v>
                </c:pt>
                <c:pt idx="46">
                  <c:v>0.3975132449438621</c:v>
                </c:pt>
                <c:pt idx="47">
                  <c:v>0.39651263119672236</c:v>
                </c:pt>
                <c:pt idx="48">
                  <c:v>0.39055665499271697</c:v>
                </c:pt>
                <c:pt idx="49">
                  <c:v>0.3950874771881247</c:v>
                </c:pt>
                <c:pt idx="50">
                  <c:v>0.3958540189694874</c:v>
                </c:pt>
                <c:pt idx="51">
                  <c:v>0.3961813212165198</c:v>
                </c:pt>
                <c:pt idx="52">
                  <c:v>0.4034034088739832</c:v>
                </c:pt>
                <c:pt idx="53">
                  <c:v>0.4235442948838396</c:v>
                </c:pt>
                <c:pt idx="54">
                  <c:v>0.391344698476273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oreal Pari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547414757890025"/>
          <c:min val="0.2795163327919148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9</c:f>
              <c:numCache>
                <c:formatCode>General</c:formatCode>
                <c:ptCount val="68"/>
                <c:pt idx="0">
                  <c:v>1081.1229</c:v>
                </c:pt>
                <c:pt idx="1">
                  <c:v>1154.6211</c:v>
                </c:pt>
                <c:pt idx="2">
                  <c:v>1172.5237</c:v>
                </c:pt>
                <c:pt idx="3">
                  <c:v>1156.4118</c:v>
                </c:pt>
                <c:pt idx="4">
                  <c:v>1198.1453</c:v>
                </c:pt>
                <c:pt idx="5">
                  <c:v>1220.7491</c:v>
                </c:pt>
                <c:pt idx="6">
                  <c:v>1228.2043</c:v>
                </c:pt>
                <c:pt idx="7">
                  <c:v>1146.632</c:v>
                </c:pt>
                <c:pt idx="8">
                  <c:v>1110.1814</c:v>
                </c:pt>
                <c:pt idx="9">
                  <c:v>1111.8008</c:v>
                </c:pt>
                <c:pt idx="10">
                  <c:v>1098.5989</c:v>
                </c:pt>
                <c:pt idx="11">
                  <c:v>1105.273</c:v>
                </c:pt>
                <c:pt idx="12">
                  <c:v>1066.4432</c:v>
                </c:pt>
                <c:pt idx="13">
                  <c:v>1063.8339</c:v>
                </c:pt>
                <c:pt idx="14">
                  <c:v>1086.7568</c:v>
                </c:pt>
                <c:pt idx="15">
                  <c:v>1083.3468</c:v>
                </c:pt>
                <c:pt idx="16">
                  <c:v>1156.7515</c:v>
                </c:pt>
                <c:pt idx="17">
                  <c:v>1145.6796</c:v>
                </c:pt>
                <c:pt idx="18">
                  <c:v>1165.1884</c:v>
                </c:pt>
                <c:pt idx="19">
                  <c:v>1183.7589</c:v>
                </c:pt>
                <c:pt idx="20">
                  <c:v>1141.9312</c:v>
                </c:pt>
                <c:pt idx="21">
                  <c:v>1131.529</c:v>
                </c:pt>
                <c:pt idx="22">
                  <c:v>1102.1434</c:v>
                </c:pt>
                <c:pt idx="23">
                  <c:v>1121.7126</c:v>
                </c:pt>
                <c:pt idx="24">
                  <c:v>1161.0952</c:v>
                </c:pt>
                <c:pt idx="25">
                  <c:v>1111.6605</c:v>
                </c:pt>
                <c:pt idx="26">
                  <c:v>1132.6137</c:v>
                </c:pt>
                <c:pt idx="27">
                  <c:v>1149.677</c:v>
                </c:pt>
                <c:pt idx="28">
                  <c:v>1141.021</c:v>
                </c:pt>
                <c:pt idx="29">
                  <c:v>1146.0898</c:v>
                </c:pt>
                <c:pt idx="30">
                  <c:v>1168.4452</c:v>
                </c:pt>
                <c:pt idx="31">
                  <c:v>1202.0893</c:v>
                </c:pt>
                <c:pt idx="32">
                  <c:v>1228.9542</c:v>
                </c:pt>
                <c:pt idx="33">
                  <c:v>1208.609</c:v>
                </c:pt>
                <c:pt idx="34">
                  <c:v>1270.5129</c:v>
                </c:pt>
                <c:pt idx="35">
                  <c:v>1354.2837</c:v>
                </c:pt>
                <c:pt idx="36">
                  <c:v>1330.9523</c:v>
                </c:pt>
                <c:pt idx="37">
                  <c:v>1318.6637</c:v>
                </c:pt>
                <c:pt idx="38">
                  <c:v>1258.4092</c:v>
                </c:pt>
                <c:pt idx="39">
                  <c:v>1240.4889</c:v>
                </c:pt>
                <c:pt idx="40">
                  <c:v>1242.4356</c:v>
                </c:pt>
                <c:pt idx="41">
                  <c:v>1325.8699</c:v>
                </c:pt>
                <c:pt idx="42">
                  <c:v>1275.5689</c:v>
                </c:pt>
                <c:pt idx="43">
                  <c:v>1288.9738</c:v>
                </c:pt>
                <c:pt idx="44">
                  <c:v>1249.1449</c:v>
                </c:pt>
                <c:pt idx="45">
                  <c:v>1262.5928</c:v>
                </c:pt>
                <c:pt idx="46">
                  <c:v>1211.8876</c:v>
                </c:pt>
                <c:pt idx="47">
                  <c:v>1238.563</c:v>
                </c:pt>
                <c:pt idx="48">
                  <c:v>1221.3424</c:v>
                </c:pt>
                <c:pt idx="49">
                  <c:v>1233.9468</c:v>
                </c:pt>
                <c:pt idx="50">
                  <c:v>1227.7755</c:v>
                </c:pt>
                <c:pt idx="51">
                  <c:v>1277.624</c:v>
                </c:pt>
                <c:pt idx="52">
                  <c:v>1267.4514</c:v>
                </c:pt>
                <c:pt idx="53">
                  <c:v>1334.2762</c:v>
                </c:pt>
                <c:pt idx="54">
                  <c:v>1338.041</c:v>
                </c:pt>
                <c:pt idx="55">
                  <c:v>1269.8163</c:v>
                </c:pt>
                <c:pt idx="56">
                  <c:v>1309.9029</c:v>
                </c:pt>
                <c:pt idx="57">
                  <c:v>1278.5086</c:v>
                </c:pt>
                <c:pt idx="58">
                  <c:v>1237.5853</c:v>
                </c:pt>
                <c:pt idx="59">
                  <c:v>1226.2672</c:v>
                </c:pt>
                <c:pt idx="60">
                  <c:v>1199.236</c:v>
                </c:pt>
                <c:pt idx="61">
                  <c:v>1181.7663</c:v>
                </c:pt>
                <c:pt idx="62">
                  <c:v>1141.3624</c:v>
                </c:pt>
                <c:pt idx="63">
                  <c:v>1136.2704</c:v>
                </c:pt>
                <c:pt idx="64">
                  <c:v>1141.85</c:v>
                </c:pt>
                <c:pt idx="65">
                  <c:v>1158.5215</c:v>
                </c:pt>
                <c:pt idx="66">
                  <c:v>1158.4112</c:v>
                </c:pt>
                <c:pt idx="67">
                  <c:v>1214.563</c:v>
                </c:pt>
              </c:numCache>
            </c:numRef>
          </c:xVal>
          <c:yVal>
            <c:numRef>
              <c:f>Sheet1!$B$2:$B$69</c:f>
              <c:numCache>
                <c:formatCode>General</c:formatCode>
                <c:ptCount val="68"/>
                <c:pt idx="0">
                  <c:v>0.4296724470134875</c:v>
                </c:pt>
                <c:pt idx="1">
                  <c:v>0.41657966172478594</c:v>
                </c:pt>
                <c:pt idx="2">
                  <c:v>0.4021879021879022</c:v>
                </c:pt>
                <c:pt idx="3">
                  <c:v>0.41426827141112854</c:v>
                </c:pt>
                <c:pt idx="4">
                  <c:v>0.40322902132748656</c:v>
                </c:pt>
                <c:pt idx="5">
                  <c:v>0.4000685048809728</c:v>
                </c:pt>
                <c:pt idx="6">
                  <c:v>0.39660277388187626</c:v>
                </c:pt>
                <c:pt idx="7">
                  <c:v>0.3877005347593583</c:v>
                </c:pt>
                <c:pt idx="8">
                  <c:v>0.40102742563592675</c:v>
                </c:pt>
                <c:pt idx="9">
                  <c:v>0.40256994144437214</c:v>
                </c:pt>
                <c:pt idx="10">
                  <c:v>0.39088328602437805</c:v>
                </c:pt>
                <c:pt idx="11">
                  <c:v>0.39224559686888455</c:v>
                </c:pt>
                <c:pt idx="12">
                  <c:v>0.415524729097272</c:v>
                </c:pt>
                <c:pt idx="13">
                  <c:v>0.40365966776288054</c:v>
                </c:pt>
                <c:pt idx="14">
                  <c:v>0.3969124063094306</c:v>
                </c:pt>
                <c:pt idx="15">
                  <c:v>0.4093322157027103</c:v>
                </c:pt>
                <c:pt idx="16">
                  <c:v>0.4118544600938967</c:v>
                </c:pt>
                <c:pt idx="17">
                  <c:v>0.42954964445614957</c:v>
                </c:pt>
                <c:pt idx="18">
                  <c:v>0.4230409825123482</c:v>
                </c:pt>
                <c:pt idx="19">
                  <c:v>0.43329989969909727</c:v>
                </c:pt>
                <c:pt idx="20">
                  <c:v>0.435274302213667</c:v>
                </c:pt>
                <c:pt idx="21">
                  <c:v>0.43751990657182294</c:v>
                </c:pt>
                <c:pt idx="22">
                  <c:v>0.4555774590442526</c:v>
                </c:pt>
                <c:pt idx="23">
                  <c:v>0.46228456315750205</c:v>
                </c:pt>
                <c:pt idx="24">
                  <c:v>0.4435924369747899</c:v>
                </c:pt>
                <c:pt idx="25">
                  <c:v>0.446161369193154</c:v>
                </c:pt>
                <c:pt idx="26">
                  <c:v>0.4603357910633384</c:v>
                </c:pt>
                <c:pt idx="27">
                  <c:v>0.41445925426016533</c:v>
                </c:pt>
                <c:pt idx="28">
                  <c:v>0.3919057855874381</c:v>
                </c:pt>
                <c:pt idx="29">
                  <c:v>0.40365287978353304</c:v>
                </c:pt>
                <c:pt idx="30">
                  <c:v>0.3912951616311008</c:v>
                </c:pt>
                <c:pt idx="31">
                  <c:v>0.381054036024016</c:v>
                </c:pt>
                <c:pt idx="32">
                  <c:v>0.3703767123287671</c:v>
                </c:pt>
                <c:pt idx="33">
                  <c:v>0.3760556383507203</c:v>
                </c:pt>
                <c:pt idx="34">
                  <c:v>0.39188427578433216</c:v>
                </c:pt>
                <c:pt idx="35">
                  <c:v>0.36929460580912865</c:v>
                </c:pt>
                <c:pt idx="36">
                  <c:v>0.39154984423676015</c:v>
                </c:pt>
                <c:pt idx="37">
                  <c:v>0.3922312556458898</c:v>
                </c:pt>
                <c:pt idx="38">
                  <c:v>0.4071747061207945</c:v>
                </c:pt>
                <c:pt idx="39">
                  <c:v>0.4070307318151669</c:v>
                </c:pt>
                <c:pt idx="40">
                  <c:v>0.40476190476190477</c:v>
                </c:pt>
                <c:pt idx="41">
                  <c:v>0.38565488565488565</c:v>
                </c:pt>
                <c:pt idx="42">
                  <c:v>0.3820810618630007</c:v>
                </c:pt>
                <c:pt idx="43">
                  <c:v>0.36182994454713496</c:v>
                </c:pt>
                <c:pt idx="44">
                  <c:v>0.3755707762557078</c:v>
                </c:pt>
                <c:pt idx="45">
                  <c:v>0.37569199798691494</c:v>
                </c:pt>
                <c:pt idx="46">
                  <c:v>0.3840434658278524</c:v>
                </c:pt>
                <c:pt idx="47">
                  <c:v>0.3814636903079966</c:v>
                </c:pt>
                <c:pt idx="48">
                  <c:v>0.3962217860647694</c:v>
                </c:pt>
                <c:pt idx="49">
                  <c:v>0.38717128642501775</c:v>
                </c:pt>
                <c:pt idx="50">
                  <c:v>0.39503386004514673</c:v>
                </c:pt>
                <c:pt idx="51">
                  <c:v>0.39035836177474403</c:v>
                </c:pt>
                <c:pt idx="52">
                  <c:v>0.4000483442107808</c:v>
                </c:pt>
                <c:pt idx="53">
                  <c:v>0.38532799198798195</c:v>
                </c:pt>
                <c:pt idx="54">
                  <c:v>0.36058174523570713</c:v>
                </c:pt>
                <c:pt idx="55">
                  <c:v>0.3607016234372084</c:v>
                </c:pt>
                <c:pt idx="56">
                  <c:v>0.34939541598989354</c:v>
                </c:pt>
                <c:pt idx="57">
                  <c:v>0.35541930379746833</c:v>
                </c:pt>
                <c:pt idx="58">
                  <c:v>0.3566240557815224</c:v>
                </c:pt>
                <c:pt idx="59">
                  <c:v>0.3629177506503902</c:v>
                </c:pt>
                <c:pt idx="60">
                  <c:v>0.3668784413384159</c:v>
                </c:pt>
                <c:pt idx="61">
                  <c:v>0.37420626231661924</c:v>
                </c:pt>
                <c:pt idx="62">
                  <c:v>0.3795620437956204</c:v>
                </c:pt>
                <c:pt idx="63">
                  <c:v>0.38089468779123953</c:v>
                </c:pt>
                <c:pt idx="64">
                  <c:v>0.40074812967581047</c:v>
                </c:pt>
                <c:pt idx="65">
                  <c:v>0.39029662543533084</c:v>
                </c:pt>
                <c:pt idx="66">
                  <c:v>0.3605958958168903</c:v>
                </c:pt>
                <c:pt idx="67">
                  <c:v>0.36066362106275546</c:v>
                </c:pt>
              </c:numCache>
            </c:numRef>
          </c:yVal>
          <c:smooth val="0"/>
          <c:extLst>
            <c:ext xmlns:c16="http://schemas.microsoft.com/office/drawing/2014/chart" uri="{C3380CC4-5D6E-409C-BE32-E72D297353CC}">
              <c16:uniqueId val="{00000000-F32D-48B7-BC20-E66FC6253BAD}"/>
            </c:ext>
          </c:extLst>
        </c:ser>
        <c:ser>
          <c:idx val="1"/>
          <c:order val="1"/>
          <c:tx>
            <c:strRef>
              <c:f>Sheet1!$B$7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2:$A$123</c:f>
              <c:numCache>
                <c:formatCode>General</c:formatCode>
                <c:ptCount val="52"/>
                <c:pt idx="0">
                  <c:v>1242.6289</c:v>
                </c:pt>
                <c:pt idx="1">
                  <c:v>1247.7448</c:v>
                </c:pt>
                <c:pt idx="2">
                  <c:v>1253.0651</c:v>
                </c:pt>
                <c:pt idx="3">
                  <c:v>1259.6531</c:v>
                </c:pt>
                <c:pt idx="4">
                  <c:v>1273.3521</c:v>
                </c:pt>
                <c:pt idx="5">
                  <c:v>1249.865</c:v>
                </c:pt>
                <c:pt idx="6">
                  <c:v>1147.9472</c:v>
                </c:pt>
                <c:pt idx="7">
                  <c:v>1210.0247</c:v>
                </c:pt>
                <c:pt idx="8">
                  <c:v>1260.2855</c:v>
                </c:pt>
                <c:pt idx="9">
                  <c:v>1209.9784</c:v>
                </c:pt>
                <c:pt idx="10">
                  <c:v>1250.9041</c:v>
                </c:pt>
                <c:pt idx="11">
                  <c:v>1085.7024</c:v>
                </c:pt>
                <c:pt idx="12">
                  <c:v>1136.1353</c:v>
                </c:pt>
                <c:pt idx="13">
                  <c:v>1213.7615</c:v>
                </c:pt>
                <c:pt idx="14">
                  <c:v>1183.43</c:v>
                </c:pt>
                <c:pt idx="15">
                  <c:v>1214.7475</c:v>
                </c:pt>
                <c:pt idx="16">
                  <c:v>1246.2469</c:v>
                </c:pt>
                <c:pt idx="17">
                  <c:v>1218.4978</c:v>
                </c:pt>
                <c:pt idx="18">
                  <c:v>1188.6376</c:v>
                </c:pt>
                <c:pt idx="19">
                  <c:v>1298.2507</c:v>
                </c:pt>
                <c:pt idx="20">
                  <c:v>1290.7177</c:v>
                </c:pt>
                <c:pt idx="21">
                  <c:v>1177.4665</c:v>
                </c:pt>
                <c:pt idx="22">
                  <c:v>1228.3884</c:v>
                </c:pt>
                <c:pt idx="23">
                  <c:v>1263.2043</c:v>
                </c:pt>
                <c:pt idx="24">
                  <c:v>1274.9415</c:v>
                </c:pt>
                <c:pt idx="25">
                  <c:v>1239.576</c:v>
                </c:pt>
                <c:pt idx="26">
                  <c:v>1241.5266</c:v>
                </c:pt>
                <c:pt idx="27">
                  <c:v>1237.6182</c:v>
                </c:pt>
                <c:pt idx="28">
                  <c:v>1266.9328</c:v>
                </c:pt>
                <c:pt idx="29">
                  <c:v>1280.4282</c:v>
                </c:pt>
                <c:pt idx="30">
                  <c:v>1259.6506</c:v>
                </c:pt>
                <c:pt idx="31">
                  <c:v>1236.9887</c:v>
                </c:pt>
                <c:pt idx="32">
                  <c:v>1265.9768</c:v>
                </c:pt>
                <c:pt idx="33">
                  <c:v>1274.0804</c:v>
                </c:pt>
                <c:pt idx="34">
                  <c:v>1291.5447</c:v>
                </c:pt>
                <c:pt idx="35">
                  <c:v>1319.7332</c:v>
                </c:pt>
                <c:pt idx="36">
                  <c:v>1354.7845</c:v>
                </c:pt>
                <c:pt idx="37">
                  <c:v>1328.6378</c:v>
                </c:pt>
                <c:pt idx="38">
                  <c:v>1360.6736</c:v>
                </c:pt>
                <c:pt idx="39">
                  <c:v>1300.2736</c:v>
                </c:pt>
                <c:pt idx="40">
                  <c:v>1325.3863</c:v>
                </c:pt>
                <c:pt idx="41">
                  <c:v>1364.7198</c:v>
                </c:pt>
                <c:pt idx="42">
                  <c:v>1344.5804</c:v>
                </c:pt>
                <c:pt idx="43">
                  <c:v>1364.1607</c:v>
                </c:pt>
                <c:pt idx="44">
                  <c:v>1281.7044</c:v>
                </c:pt>
                <c:pt idx="45">
                  <c:v>1231.0621</c:v>
                </c:pt>
                <c:pt idx="46">
                  <c:v>1223.2298</c:v>
                </c:pt>
                <c:pt idx="47">
                  <c:v>1187.7423</c:v>
                </c:pt>
                <c:pt idx="48">
                  <c:v>1182.4567</c:v>
                </c:pt>
                <c:pt idx="49">
                  <c:v>1204.8673</c:v>
                </c:pt>
                <c:pt idx="50">
                  <c:v>1155.5339</c:v>
                </c:pt>
                <c:pt idx="51">
                  <c:v>1109.1973</c:v>
                </c:pt>
              </c:numCache>
            </c:numRef>
          </c:xVal>
          <c:yVal>
            <c:numRef>
              <c:f>Sheet1!$B$72:$B$123</c:f>
              <c:numCache>
                <c:formatCode>General</c:formatCode>
                <c:ptCount val="52"/>
                <c:pt idx="0">
                  <c:v>0.3707419248153456</c:v>
                </c:pt>
                <c:pt idx="1">
                  <c:v>0.3816919637604424</c:v>
                </c:pt>
                <c:pt idx="2">
                  <c:v>0.3902439024390244</c:v>
                </c:pt>
                <c:pt idx="3">
                  <c:v>0.4152976875588574</c:v>
                </c:pt>
                <c:pt idx="4">
                  <c:v>0.40379374250517824</c:v>
                </c:pt>
                <c:pt idx="5">
                  <c:v>0.3982499199658521</c:v>
                </c:pt>
                <c:pt idx="6">
                  <c:v>0.4154849688031764</c:v>
                </c:pt>
                <c:pt idx="7">
                  <c:v>0.3941946352209408</c:v>
                </c:pt>
                <c:pt idx="8">
                  <c:v>0.3924107815088089</c:v>
                </c:pt>
                <c:pt idx="9">
                  <c:v>0.401704776079015</c:v>
                </c:pt>
                <c:pt idx="10">
                  <c:v>0.39083949313621963</c:v>
                </c:pt>
                <c:pt idx="11">
                  <c:v>0.4021561877151658</c:v>
                </c:pt>
                <c:pt idx="12">
                  <c:v>0.4006640248473814</c:v>
                </c:pt>
                <c:pt idx="13">
                  <c:v>0.4100035642152786</c:v>
                </c:pt>
                <c:pt idx="14">
                  <c:v>0.41327319587628863</c:v>
                </c:pt>
                <c:pt idx="15">
                  <c:v>0.4025513819985826</c:v>
                </c:pt>
                <c:pt idx="16">
                  <c:v>0.3913188092466323</c:v>
                </c:pt>
                <c:pt idx="17">
                  <c:v>0.394107452339688</c:v>
                </c:pt>
                <c:pt idx="18">
                  <c:v>0.39829500396510703</c:v>
                </c:pt>
                <c:pt idx="19">
                  <c:v>0.4021695460024106</c:v>
                </c:pt>
                <c:pt idx="20">
                  <c:v>0.40716612377850164</c:v>
                </c:pt>
                <c:pt idx="21">
                  <c:v>0.4299947561615102</c:v>
                </c:pt>
                <c:pt idx="22">
                  <c:v>0.4081473793461339</c:v>
                </c:pt>
                <c:pt idx="23">
                  <c:v>0.4103194103194103</c:v>
                </c:pt>
                <c:pt idx="24">
                  <c:v>0.40828252032520324</c:v>
                </c:pt>
                <c:pt idx="25">
                  <c:v>0.4040934138021517</c:v>
                </c:pt>
                <c:pt idx="26">
                  <c:v>0.4019925280199253</c:v>
                </c:pt>
                <c:pt idx="27">
                  <c:v>0.4007540474606343</c:v>
                </c:pt>
                <c:pt idx="28">
                  <c:v>0.39095907147220527</c:v>
                </c:pt>
                <c:pt idx="29">
                  <c:v>0.4061799152753551</c:v>
                </c:pt>
                <c:pt idx="30">
                  <c:v>0.40456852791878173</c:v>
                </c:pt>
                <c:pt idx="31">
                  <c:v>0.3882063882063882</c:v>
                </c:pt>
                <c:pt idx="32">
                  <c:v>0.3827843231546045</c:v>
                </c:pt>
                <c:pt idx="33">
                  <c:v>0.37935390723696083</c:v>
                </c:pt>
                <c:pt idx="34">
                  <c:v>0.39390948822783023</c:v>
                </c:pt>
                <c:pt idx="35">
                  <c:v>0.37623937677053826</c:v>
                </c:pt>
                <c:pt idx="36">
                  <c:v>0.3827414147343704</c:v>
                </c:pt>
                <c:pt idx="37">
                  <c:v>0.39919678714859436</c:v>
                </c:pt>
                <c:pt idx="38">
                  <c:v>0.4107631498935847</c:v>
                </c:pt>
                <c:pt idx="39">
                  <c:v>0.4008420119654332</c:v>
                </c:pt>
                <c:pt idx="40">
                  <c:v>0.38873239436619716</c:v>
                </c:pt>
                <c:pt idx="41">
                  <c:v>0.3760305650512769</c:v>
                </c:pt>
                <c:pt idx="42">
                  <c:v>0.3951834862385321</c:v>
                </c:pt>
                <c:pt idx="43">
                  <c:v>0.38352524357838796</c:v>
                </c:pt>
                <c:pt idx="44">
                  <c:v>0.380720823798627</c:v>
                </c:pt>
                <c:pt idx="45">
                  <c:v>0.39650872817955113</c:v>
                </c:pt>
                <c:pt idx="46">
                  <c:v>0.4052691867124857</c:v>
                </c:pt>
                <c:pt idx="47">
                  <c:v>0.40348345872410596</c:v>
                </c:pt>
                <c:pt idx="48">
                  <c:v>0.3792432066367561</c:v>
                </c:pt>
                <c:pt idx="49">
                  <c:v>0.3886552955176517</c:v>
                </c:pt>
                <c:pt idx="50">
                  <c:v>0.3912084364575487</c:v>
                </c:pt>
                <c:pt idx="51">
                  <c:v>0.39807824296499655</c:v>
                </c:pt>
              </c:numCache>
            </c:numRef>
          </c:yVal>
          <c:smooth val="0"/>
          <c:extLst>
            <c:ext xmlns:c16="http://schemas.microsoft.com/office/drawing/2014/chart" uri="{C3380CC4-5D6E-409C-BE32-E72D297353CC}">
              <c16:uniqueId val="{00000002-F32D-48B7-BC20-E66FC6253BAD}"/>
            </c:ext>
          </c:extLst>
        </c:ser>
        <c:ser>
          <c:idx val="2"/>
          <c:order val="2"/>
          <c:tx>
            <c:strRef>
              <c:f>Sheet1!$B$125</c:f>
              <c:strCache>
                <c:ptCount val="1"/>
                <c:pt idx="0">
                  <c:v>Custom Linep3yQ</c:v>
                </c:pt>
              </c:strCache>
            </c:strRef>
          </c:tx>
          <c:spPr>
            <a:ln w="19050" cap="rnd">
              <a:solidFill>
                <a:srgbClr val="C00000"/>
              </a:solidFill>
              <a:prstDash val="sysDot"/>
              <a:round/>
            </a:ln>
            <a:effectLst/>
          </c:spPr>
          <c:marker>
            <c:symbol val="none"/>
          </c:marker>
          <c:xVal>
            <c:numRef>
              <c:f>Sheet1!$A$126:$A$127</c:f>
              <c:numCache>
                <c:formatCode>General</c:formatCode>
                <c:ptCount val="2"/>
                <c:pt idx="0">
                  <c:v>0</c:v>
                </c:pt>
                <c:pt idx="1">
                  <c:v>786.2075935945969</c:v>
                </c:pt>
              </c:numCache>
            </c:numRef>
          </c:xVal>
          <c:yVal>
            <c:numRef>
              <c:f>Sheet1!$B$126:$B$127</c:f>
              <c:numCache>
                <c:formatCode>General</c:formatCode>
                <c:ptCount val="2"/>
                <c:pt idx="0">
                  <c:v>0.4235442948838396</c:v>
                </c:pt>
                <c:pt idx="1">
                  <c:v>0.4235442948838396</c:v>
                </c:pt>
              </c:numCache>
            </c:numRef>
          </c:yVal>
          <c:smooth val="0"/>
          <c:extLst>
            <c:ext xmlns:c16="http://schemas.microsoft.com/office/drawing/2014/chart" uri="{C3380CC4-5D6E-409C-BE32-E72D297353CC}">
              <c16:uniqueId val="{00000003-F32D-48B7-BC20-E66FC6253BAD}"/>
            </c:ext>
          </c:extLst>
        </c:ser>
        <c:ser>
          <c:idx val="3"/>
          <c:order val="3"/>
          <c:tx>
            <c:strRef>
              <c:f>Sheet1!$B$12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0:$A$131</c:f>
              <c:numCache>
                <c:formatCode>General</c:formatCode>
                <c:ptCount val="2"/>
                <c:pt idx="0">
                  <c:v>786.2075935945969</c:v>
                </c:pt>
                <c:pt idx="1">
                  <c:v>786.2075935945969</c:v>
                </c:pt>
              </c:numCache>
            </c:numRef>
          </c:xVal>
          <c:yVal>
            <c:numRef>
              <c:f>Sheet1!$B$130:$B$131</c:f>
              <c:numCache>
                <c:formatCode>General</c:formatCode>
                <c:ptCount val="2"/>
                <c:pt idx="0">
                  <c:v>0.423544294883839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4:$A$135</c:f>
              <c:numCache>
                <c:formatCode>General</c:formatCode>
                <c:ptCount val="2"/>
                <c:pt idx="0">
                  <c:v>0</c:v>
                </c:pt>
                <c:pt idx="1">
                  <c:v>1135.6308628089596</c:v>
                </c:pt>
              </c:numCache>
            </c:numRef>
          </c:xVal>
          <c:yVal>
            <c:numRef>
              <c:f>Sheet1!$B$134:$B$135</c:f>
              <c:numCache>
                <c:formatCode>General</c:formatCode>
                <c:ptCount val="2"/>
                <c:pt idx="0">
                  <c:v>0.4034034088739832</c:v>
                </c:pt>
                <c:pt idx="1">
                  <c:v>0.4034034088739832</c:v>
                </c:pt>
              </c:numCache>
            </c:numRef>
          </c:yVal>
          <c:smooth val="0"/>
          <c:extLst>
            <c:ext xmlns:c16="http://schemas.microsoft.com/office/drawing/2014/chart" uri="{C3380CC4-5D6E-409C-BE32-E72D297353CC}">
              <c16:uniqueId val="{0000000A-F32D-48B7-BC20-E66FC6253BAD}"/>
            </c:ext>
          </c:extLst>
        </c:ser>
        <c:ser>
          <c:idx val="5"/>
          <c:order val="5"/>
          <c:tx>
            <c:strRef>
              <c:f>Sheet1!$B$13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8:$A$139</c:f>
              <c:numCache>
                <c:formatCode>General</c:formatCode>
                <c:ptCount val="2"/>
                <c:pt idx="0">
                  <c:v>1135.6308628089596</c:v>
                </c:pt>
                <c:pt idx="1">
                  <c:v>1135.6308628089596</c:v>
                </c:pt>
              </c:numCache>
            </c:numRef>
          </c:xVal>
          <c:yVal>
            <c:numRef>
              <c:f>Sheet1!$B$138:$B$139</c:f>
              <c:numCache>
                <c:formatCode>General</c:formatCode>
                <c:ptCount val="2"/>
                <c:pt idx="0">
                  <c:v>0.40340340887398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4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42:$A$143</c:f>
              <c:numCache>
                <c:formatCode>General</c:formatCode>
                <c:ptCount val="2"/>
                <c:pt idx="0">
                  <c:v>0</c:v>
                </c:pt>
                <c:pt idx="1">
                  <c:v>1344.836853429981</c:v>
                </c:pt>
              </c:numCache>
            </c:numRef>
          </c:xVal>
          <c:yVal>
            <c:numRef>
              <c:f>Sheet1!$B$142:$B$143</c:f>
              <c:numCache>
                <c:formatCode>General</c:formatCode>
                <c:ptCount val="2"/>
                <c:pt idx="0">
                  <c:v>0.3913446984762731</c:v>
                </c:pt>
                <c:pt idx="1">
                  <c:v>0.3913446984762731</c:v>
                </c:pt>
              </c:numCache>
            </c:numRef>
          </c:yVal>
          <c:smooth val="0"/>
          <c:extLst>
            <c:ext xmlns:c16="http://schemas.microsoft.com/office/drawing/2014/chart" uri="{C3380CC4-5D6E-409C-BE32-E72D297353CC}">
              <c16:uniqueId val="{00000011-F32D-48B7-BC20-E66FC6253BAD}"/>
            </c:ext>
          </c:extLst>
        </c:ser>
        <c:ser>
          <c:idx val="7"/>
          <c:order val="7"/>
          <c:tx>
            <c:strRef>
              <c:f>Sheet1!$B$14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6:$A$147</c:f>
              <c:numCache>
                <c:formatCode>General</c:formatCode>
                <c:ptCount val="2"/>
                <c:pt idx="0">
                  <c:v>1344.836853429981</c:v>
                </c:pt>
                <c:pt idx="1">
                  <c:v>1344.836853429981</c:v>
                </c:pt>
              </c:numCache>
            </c:numRef>
          </c:xVal>
          <c:yVal>
            <c:numRef>
              <c:f>Sheet1!$B$146:$B$147</c:f>
              <c:numCache>
                <c:formatCode>General</c:formatCode>
                <c:ptCount val="2"/>
                <c:pt idx="0">
                  <c:v>0.391344698476273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50:$A$204</c:f>
              <c:numCache>
                <c:formatCode>General</c:formatCode>
                <c:ptCount val="55"/>
                <c:pt idx="0">
                  <c:v>1242.6289</c:v>
                </c:pt>
                <c:pt idx="1">
                  <c:v>1247.7448</c:v>
                </c:pt>
                <c:pt idx="2">
                  <c:v>1253.0651</c:v>
                </c:pt>
                <c:pt idx="3">
                  <c:v>1259.6531</c:v>
                </c:pt>
                <c:pt idx="4">
                  <c:v>1273.3521</c:v>
                </c:pt>
                <c:pt idx="5">
                  <c:v>1249.865</c:v>
                </c:pt>
                <c:pt idx="6">
                  <c:v>1147.9472</c:v>
                </c:pt>
                <c:pt idx="7">
                  <c:v>1210.0247</c:v>
                </c:pt>
                <c:pt idx="8">
                  <c:v>1260.2855</c:v>
                </c:pt>
                <c:pt idx="9">
                  <c:v>1209.9784</c:v>
                </c:pt>
                <c:pt idx="10">
                  <c:v>1250.9041</c:v>
                </c:pt>
                <c:pt idx="11">
                  <c:v>1085.7024</c:v>
                </c:pt>
                <c:pt idx="12">
                  <c:v>1136.1353</c:v>
                </c:pt>
                <c:pt idx="13">
                  <c:v>1213.7615</c:v>
                </c:pt>
                <c:pt idx="14">
                  <c:v>1183.43</c:v>
                </c:pt>
                <c:pt idx="15">
                  <c:v>1214.7475</c:v>
                </c:pt>
                <c:pt idx="16">
                  <c:v>1246.2469</c:v>
                </c:pt>
                <c:pt idx="17">
                  <c:v>1218.4978</c:v>
                </c:pt>
                <c:pt idx="18">
                  <c:v>1188.6376</c:v>
                </c:pt>
                <c:pt idx="19">
                  <c:v>1298.2507</c:v>
                </c:pt>
                <c:pt idx="20">
                  <c:v>1290.7177</c:v>
                </c:pt>
                <c:pt idx="21">
                  <c:v>1177.4665</c:v>
                </c:pt>
                <c:pt idx="22">
                  <c:v>1228.3884</c:v>
                </c:pt>
                <c:pt idx="23">
                  <c:v>1263.2043</c:v>
                </c:pt>
                <c:pt idx="24">
                  <c:v>1274.9415</c:v>
                </c:pt>
                <c:pt idx="25">
                  <c:v>1239.576</c:v>
                </c:pt>
                <c:pt idx="26">
                  <c:v>1241.5266</c:v>
                </c:pt>
                <c:pt idx="27">
                  <c:v>1237.6182</c:v>
                </c:pt>
                <c:pt idx="28">
                  <c:v>1266.9328</c:v>
                </c:pt>
                <c:pt idx="29">
                  <c:v>1280.4282</c:v>
                </c:pt>
                <c:pt idx="30">
                  <c:v>1259.6506</c:v>
                </c:pt>
                <c:pt idx="31">
                  <c:v>1236.9887</c:v>
                </c:pt>
                <c:pt idx="32">
                  <c:v>1265.9768</c:v>
                </c:pt>
                <c:pt idx="33">
                  <c:v>1274.0804</c:v>
                </c:pt>
                <c:pt idx="34">
                  <c:v>1291.5447</c:v>
                </c:pt>
                <c:pt idx="35">
                  <c:v>1319.7332</c:v>
                </c:pt>
                <c:pt idx="36">
                  <c:v>1354.7845</c:v>
                </c:pt>
                <c:pt idx="37">
                  <c:v>1328.6378</c:v>
                </c:pt>
                <c:pt idx="38">
                  <c:v>1360.6736</c:v>
                </c:pt>
                <c:pt idx="39">
                  <c:v>1300.2736</c:v>
                </c:pt>
                <c:pt idx="40">
                  <c:v>1325.3863</c:v>
                </c:pt>
                <c:pt idx="41">
                  <c:v>1364.7198</c:v>
                </c:pt>
                <c:pt idx="42">
                  <c:v>1344.5804</c:v>
                </c:pt>
                <c:pt idx="43">
                  <c:v>1364.1607</c:v>
                </c:pt>
                <c:pt idx="44">
                  <c:v>1281.7044</c:v>
                </c:pt>
                <c:pt idx="45">
                  <c:v>1231.0621</c:v>
                </c:pt>
                <c:pt idx="46">
                  <c:v>1223.2298</c:v>
                </c:pt>
                <c:pt idx="47">
                  <c:v>1187.7423</c:v>
                </c:pt>
                <c:pt idx="48">
                  <c:v>1182.4567</c:v>
                </c:pt>
                <c:pt idx="49">
                  <c:v>1204.8673</c:v>
                </c:pt>
                <c:pt idx="50">
                  <c:v>1155.5339</c:v>
                </c:pt>
                <c:pt idx="51">
                  <c:v>1109.1973</c:v>
                </c:pt>
                <c:pt idx="52">
                  <c:v>1135.6308628089596</c:v>
                </c:pt>
                <c:pt idx="53">
                  <c:v>786.2075935945969</c:v>
                </c:pt>
                <c:pt idx="54">
                  <c:v>1344.836853429981</c:v>
                </c:pt>
              </c:numCache>
            </c:numRef>
          </c:xVal>
          <c:yVal>
            <c:numRef>
              <c:f>Sheet1!$B$150:$B$204</c:f>
              <c:numCache>
                <c:formatCode>General</c:formatCode>
                <c:ptCount val="55"/>
                <c:pt idx="0">
                  <c:v>0.3972360025784939</c:v>
                </c:pt>
                <c:pt idx="1">
                  <c:v>0.3969411202171403</c:v>
                </c:pt>
                <c:pt idx="2">
                  <c:v>0.39663445616445947</c:v>
                </c:pt>
                <c:pt idx="3">
                  <c:v>0.39625472141659546</c:v>
                </c:pt>
                <c:pt idx="4">
                  <c:v>0.39546510600812723</c:v>
                </c:pt>
                <c:pt idx="5">
                  <c:v>0.3968189111077867</c:v>
                </c:pt>
                <c:pt idx="6">
                  <c:v>0.4026934906593736</c:v>
                </c:pt>
                <c:pt idx="7">
                  <c:v>0.3991153206820621</c:v>
                </c:pt>
                <c:pt idx="8">
                  <c:v>0.39621826964753826</c:v>
                </c:pt>
                <c:pt idx="9">
                  <c:v>0.399117989431125</c:v>
                </c:pt>
                <c:pt idx="10">
                  <c:v>0.39675901700084903</c:v>
                </c:pt>
                <c:pt idx="11">
                  <c:v>0.4062813038703399</c:v>
                </c:pt>
                <c:pt idx="12">
                  <c:v>0.4033743329283923</c:v>
                </c:pt>
                <c:pt idx="13">
                  <c:v>0.39889993015294584</c:v>
                </c:pt>
                <c:pt idx="14">
                  <c:v>0.40064824899095997</c:v>
                </c:pt>
                <c:pt idx="15">
                  <c:v>0.39884309674957696</c:v>
                </c:pt>
                <c:pt idx="16">
                  <c:v>0.39702745972515874</c:v>
                </c:pt>
                <c:pt idx="17">
                  <c:v>0.39862692807548555</c:v>
                </c:pt>
                <c:pt idx="18">
                  <c:v>0.40034808100781233</c:v>
                </c:pt>
                <c:pt idx="19">
                  <c:v>0.3940299415282901</c:v>
                </c:pt>
                <c:pt idx="20">
                  <c:v>0.3944641464244133</c:v>
                </c:pt>
                <c:pt idx="21">
                  <c:v>0.40099198732867813</c:v>
                </c:pt>
                <c:pt idx="22">
                  <c:v>0.39805683024652017</c:v>
                </c:pt>
                <c:pt idx="23">
                  <c:v>0.396050028939878</c:v>
                </c:pt>
                <c:pt idx="24">
                  <c:v>0.3953734924063884</c:v>
                </c:pt>
                <c:pt idx="25">
                  <c:v>0.3974119728595737</c:v>
                </c:pt>
                <c:pt idx="26">
                  <c:v>0.39729953955672254</c:v>
                </c:pt>
                <c:pt idx="27">
                  <c:v>0.3975248211730783</c:v>
                </c:pt>
                <c:pt idx="28">
                  <c:v>0.3958351168258205</c:v>
                </c:pt>
                <c:pt idx="29">
                  <c:v>0.39505723699638456</c:v>
                </c:pt>
                <c:pt idx="30">
                  <c:v>0.3962548655175168</c:v>
                </c:pt>
                <c:pt idx="31">
                  <c:v>0.3975611057850668</c:v>
                </c:pt>
                <c:pt idx="32">
                  <c:v>0.3958902210181335</c:v>
                </c:pt>
                <c:pt idx="33">
                  <c:v>0.3954231265277281</c:v>
                </c:pt>
                <c:pt idx="34">
                  <c:v>0.39441647783964046</c:v>
                </c:pt>
                <c:pt idx="35">
                  <c:v>0.3927916823113823</c:v>
                </c:pt>
                <c:pt idx="36">
                  <c:v>0.3907713124619886</c:v>
                </c:pt>
                <c:pt idx="37">
                  <c:v>0.39227841788578577</c:v>
                </c:pt>
                <c:pt idx="38">
                  <c:v>0.39043186256768897</c:v>
                </c:pt>
                <c:pt idx="39">
                  <c:v>0.39391334082679436</c:v>
                </c:pt>
                <c:pt idx="40">
                  <c:v>0.39246583554405534</c:v>
                </c:pt>
                <c:pt idx="41">
                  <c:v>0.39019863810855004</c:v>
                </c:pt>
                <c:pt idx="42">
                  <c:v>0.39135948054648756</c:v>
                </c:pt>
                <c:pt idx="43">
                  <c:v>0.39023086483859415</c:v>
                </c:pt>
                <c:pt idx="44">
                  <c:v>0.39498367635806886</c:v>
                </c:pt>
                <c:pt idx="45">
                  <c:v>0.39790271719318626</c:v>
                </c:pt>
                <c:pt idx="46">
                  <c:v>0.3983541738516099</c:v>
                </c:pt>
                <c:pt idx="47">
                  <c:v>0.40039968642975565</c:v>
                </c:pt>
                <c:pt idx="48">
                  <c:v>0.40070435036164853</c:v>
                </c:pt>
                <c:pt idx="49">
                  <c:v>0.39941259511870963</c:v>
                </c:pt>
                <c:pt idx="50">
                  <c:v>0.40225619047546046</c:v>
                </c:pt>
                <c:pt idx="51">
                  <c:v>0.40492704917580585</c:v>
                </c:pt>
                <c:pt idx="52">
                  <c:v>0.4034034088739832</c:v>
                </c:pt>
                <c:pt idx="53">
                  <c:v>0.4235442948838396</c:v>
                </c:pt>
                <c:pt idx="54">
                  <c:v>0.391344698476273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38.0"/>
          <c:min val="62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547414757890025"/>
          <c:min val="0.2795163327919148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4996891870183907</c:v>
                </c:pt>
                <c:pt idx="1">
                  <c:v>0.17562999451582575</c:v>
                </c:pt>
                <c:pt idx="2">
                  <c:v>0.17463365649826001</c:v>
                </c:pt>
                <c:pt idx="3">
                  <c:v>0.1576513763002107</c:v>
                </c:pt>
                <c:pt idx="4">
                  <c:v>0.17608517570397952</c:v>
                </c:pt>
                <c:pt idx="5">
                  <c:v>0.1758872397424449</c:v>
                </c:pt>
                <c:pt idx="6">
                  <c:v>0.18761563150955252</c:v>
                </c:pt>
                <c:pt idx="7">
                  <c:v>0.18800334202552285</c:v>
                </c:pt>
                <c:pt idx="8">
                  <c:v>0.1476774232033276</c:v>
                </c:pt>
                <c:pt idx="9">
                  <c:v>0.17152707391761296</c:v>
                </c:pt>
                <c:pt idx="10">
                  <c:v>0.1703856921587609</c:v>
                </c:pt>
                <c:pt idx="11">
                  <c:v>0.19542237062001644</c:v>
                </c:pt>
                <c:pt idx="12">
                  <c:v>0.20879984973385018</c:v>
                </c:pt>
                <c:pt idx="13">
                  <c:v>0.17338679583139346</c:v>
                </c:pt>
                <c:pt idx="14">
                  <c:v>0.175496828453805</c:v>
                </c:pt>
                <c:pt idx="15">
                  <c:v>0.22396637545898185</c:v>
                </c:pt>
                <c:pt idx="16">
                  <c:v>0.18791563292418456</c:v>
                </c:pt>
                <c:pt idx="17">
                  <c:v>0.1993410419790105</c:v>
                </c:pt>
                <c:pt idx="18">
                  <c:v>0.21572759150430396</c:v>
                </c:pt>
                <c:pt idx="19">
                  <c:v>0.2271721366108208</c:v>
                </c:pt>
                <c:pt idx="20">
                  <c:v>0.19914689856746312</c:v>
                </c:pt>
                <c:pt idx="21">
                  <c:v>0.20379929562914742</c:v>
                </c:pt>
                <c:pt idx="22">
                  <c:v>0.18014795789976143</c:v>
                </c:pt>
                <c:pt idx="23">
                  <c:v>0.18692734038665199</c:v>
                </c:pt>
                <c:pt idx="24">
                  <c:v>0.19024788778299923</c:v>
                </c:pt>
                <c:pt idx="25">
                  <c:v>0.1975221978697945</c:v>
                </c:pt>
                <c:pt idx="26">
                  <c:v>0.21396749874765594</c:v>
                </c:pt>
                <c:pt idx="27">
                  <c:v>0.16834009817257942</c:v>
                </c:pt>
                <c:pt idx="28">
                  <c:v>0.16507420646268228</c:v>
                </c:pt>
                <c:pt idx="29">
                  <c:v>0.19886296212495289</c:v>
                </c:pt>
                <c:pt idx="30">
                  <c:v>0.20331960881161712</c:v>
                </c:pt>
                <c:pt idx="31">
                  <c:v>0.14912050746268657</c:v>
                </c:pt>
                <c:pt idx="32">
                  <c:v>0.2041746465559757</c:v>
                </c:pt>
                <c:pt idx="33">
                  <c:v>0.15647204025907296</c:v>
                </c:pt>
                <c:pt idx="34">
                  <c:v>0.1724941474102378</c:v>
                </c:pt>
                <c:pt idx="35">
                  <c:v>0.19680265713816436</c:v>
                </c:pt>
                <c:pt idx="36">
                  <c:v>0.19055268134972153</c:v>
                </c:pt>
                <c:pt idx="37">
                  <c:v>0.19150736414446956</c:v>
                </c:pt>
                <c:pt idx="38">
                  <c:v>0.2085982459459177</c:v>
                </c:pt>
                <c:pt idx="39">
                  <c:v>0.21555725710083648</c:v>
                </c:pt>
                <c:pt idx="40">
                  <c:v>0.23695344742130625</c:v>
                </c:pt>
                <c:pt idx="41">
                  <c:v>0.259878817456186</c:v>
                </c:pt>
                <c:pt idx="42">
                  <c:v>0.208766824446561</c:v>
                </c:pt>
                <c:pt idx="43">
                  <c:v>0.276667910038507</c:v>
                </c:pt>
                <c:pt idx="44">
                  <c:v>0.22665787971839624</c:v>
                </c:pt>
                <c:pt idx="45">
                  <c:v>0.254724084361478</c:v>
                </c:pt>
                <c:pt idx="46">
                  <c:v>0.2406123226445747</c:v>
                </c:pt>
                <c:pt idx="47">
                  <c:v>0.21034538858439153</c:v>
                </c:pt>
                <c:pt idx="48">
                  <c:v>0.24325573880672188</c:v>
                </c:pt>
                <c:pt idx="49">
                  <c:v>0.21390182380222086</c:v>
                </c:pt>
                <c:pt idx="50">
                  <c:v>0.2023302190598921</c:v>
                </c:pt>
                <c:pt idx="51">
                  <c:v>0.1833074924940121</c:v>
                </c:pt>
                <c:pt idx="52">
                  <c:v>0.19682005722850526</c:v>
                </c:pt>
                <c:pt idx="53">
                  <c:v>0.23660288402536309</c:v>
                </c:pt>
                <c:pt idx="54">
                  <c:v>0.21551534988713317</c:v>
                </c:pt>
                <c:pt idx="55">
                  <c:v>0.22076324365289882</c:v>
                </c:pt>
                <c:pt idx="56">
                  <c:v>0.22074986922008924</c:v>
                </c:pt>
                <c:pt idx="57">
                  <c:v>0.22012601142141153</c:v>
                </c:pt>
                <c:pt idx="58">
                  <c:v>0.2213827999853263</c:v>
                </c:pt>
                <c:pt idx="59">
                  <c:v>0.21053669346164797</c:v>
                </c:pt>
                <c:pt idx="60">
                  <c:v>0.2069492317559614</c:v>
                </c:pt>
                <c:pt idx="61">
                  <c:v>0.22842215665913734</c:v>
                </c:pt>
                <c:pt idx="62">
                  <c:v>0.2265817679435717</c:v>
                </c:pt>
                <c:pt idx="63">
                  <c:v>0.22288525267632242</c:v>
                </c:pt>
                <c:pt idx="64">
                  <c:v>0.21497708784943215</c:v>
                </c:pt>
                <c:pt idx="65">
                  <c:v>0.21412042879594662</c:v>
                </c:pt>
                <c:pt idx="66">
                  <c:v>0.22543903812345556</c:v>
                </c:pt>
                <c:pt idx="67">
                  <c:v>0.21788406543481903</c:v>
                </c:pt>
                <c:pt idx="68">
                  <c:v>0.21700773403601548</c:v>
                </c:pt>
                <c:pt idx="69">
                  <c:v>0.23466759595188083</c:v>
                </c:pt>
                <c:pt idx="70">
                  <c:v>0.2100193752986663</c:v>
                </c:pt>
                <c:pt idx="71">
                  <c:v>0.23080301557745583</c:v>
                </c:pt>
                <c:pt idx="72">
                  <c:v>0.24495396978613868</c:v>
                </c:pt>
                <c:pt idx="73">
                  <c:v>0.25026838532558615</c:v>
                </c:pt>
                <c:pt idx="74">
                  <c:v>0.24325848573871475</c:v>
                </c:pt>
                <c:pt idx="75">
                  <c:v>0.216392543935069</c:v>
                </c:pt>
                <c:pt idx="76">
                  <c:v>0.22968371075768695</c:v>
                </c:pt>
                <c:pt idx="77">
                  <c:v>0.23528192212096105</c:v>
                </c:pt>
                <c:pt idx="78">
                  <c:v>0.24058608238069315</c:v>
                </c:pt>
                <c:pt idx="79">
                  <c:v>0.24305230915803264</c:v>
                </c:pt>
                <c:pt idx="80">
                  <c:v>0.2540127939917915</c:v>
                </c:pt>
                <c:pt idx="81">
                  <c:v>0.21624865232472534</c:v>
                </c:pt>
                <c:pt idx="82">
                  <c:v>0.20961695744115635</c:v>
                </c:pt>
                <c:pt idx="83">
                  <c:v>0.2742802271377657</c:v>
                </c:pt>
                <c:pt idx="84">
                  <c:v>0.2896642640372617</c:v>
                </c:pt>
                <c:pt idx="85">
                  <c:v>0.21024278730289886</c:v>
                </c:pt>
                <c:pt idx="86">
                  <c:v>0.21812741735902422</c:v>
                </c:pt>
                <c:pt idx="87">
                  <c:v>0.24847886633737737</c:v>
                </c:pt>
                <c:pt idx="88">
                  <c:v>0.2161678428524496</c:v>
                </c:pt>
                <c:pt idx="89">
                  <c:v>0.23631050619931013</c:v>
                </c:pt>
                <c:pt idx="90">
                  <c:v>0.2380996117834625</c:v>
                </c:pt>
                <c:pt idx="91">
                  <c:v>0.24345170461006618</c:v>
                </c:pt>
                <c:pt idx="92">
                  <c:v>0.2243755991540558</c:v>
                </c:pt>
                <c:pt idx="93">
                  <c:v>0.25029194611636574</c:v>
                </c:pt>
                <c:pt idx="94">
                  <c:v>0.24341533115971345</c:v>
                </c:pt>
                <c:pt idx="95">
                  <c:v>0.1935238936669273</c:v>
                </c:pt>
                <c:pt idx="96">
                  <c:v>0.2219940168812654</c:v>
                </c:pt>
                <c:pt idx="97">
                  <c:v>0.2143286903099693</c:v>
                </c:pt>
                <c:pt idx="98">
                  <c:v>0.20936134818522045</c:v>
                </c:pt>
                <c:pt idx="99">
                  <c:v>0.20389099864649357</c:v>
                </c:pt>
                <c:pt idx="100">
                  <c:v>0.21214562048749394</c:v>
                </c:pt>
                <c:pt idx="101">
                  <c:v>0.20915876722993085</c:v>
                </c:pt>
                <c:pt idx="102">
                  <c:v>0.22445297408039586</c:v>
                </c:pt>
                <c:pt idx="103">
                  <c:v>0.19315169479552755</c:v>
                </c:pt>
                <c:pt idx="104">
                  <c:v>0.2144842447728645</c:v>
                </c:pt>
              </c:numCache>
            </c:numRef>
          </c:xVal>
          <c:yVal>
            <c:numRef>
              <c:f>Sheet1!$B$2:$B$106</c:f>
              <c:numCache>
                <c:formatCode>General</c:formatCode>
                <c:ptCount val="105"/>
                <c:pt idx="0">
                  <c:v>0.4656209924040643</c:v>
                </c:pt>
                <c:pt idx="1">
                  <c:v>0.5020080321285141</c:v>
                </c:pt>
                <c:pt idx="2">
                  <c:v>0.5358538267065043</c:v>
                </c:pt>
                <c:pt idx="3">
                  <c:v>0.5432300163132137</c:v>
                </c:pt>
                <c:pt idx="4">
                  <c:v>0.5310869871704498</c:v>
                </c:pt>
                <c:pt idx="5">
                  <c:v>0.5077170849550396</c:v>
                </c:pt>
                <c:pt idx="6">
                  <c:v>0.5198478725932969</c:v>
                </c:pt>
                <c:pt idx="7">
                  <c:v>0.5413985413985414</c:v>
                </c:pt>
                <c:pt idx="8">
                  <c:v>0.5266615737203972</c:v>
                </c:pt>
                <c:pt idx="9">
                  <c:v>0.5055350553505535</c:v>
                </c:pt>
                <c:pt idx="10">
                  <c:v>0.48268817204301073</c:v>
                </c:pt>
                <c:pt idx="11">
                  <c:v>0.4288003663003663</c:v>
                </c:pt>
                <c:pt idx="12">
                  <c:v>0.4078597981943707</c:v>
                </c:pt>
                <c:pt idx="13">
                  <c:v>0.3852669954964615</c:v>
                </c:pt>
                <c:pt idx="14">
                  <c:v>0.36181619256017505</c:v>
                </c:pt>
                <c:pt idx="15">
                  <c:v>0.3657587548638132</c:v>
                </c:pt>
                <c:pt idx="16">
                  <c:v>0.35026081620128874</c:v>
                </c:pt>
                <c:pt idx="17">
                  <c:v>0.3487881981032666</c:v>
                </c:pt>
                <c:pt idx="18">
                  <c:v>0.34431021044427124</c:v>
                </c:pt>
                <c:pt idx="19">
                  <c:v>0.3570285714285714</c:v>
                </c:pt>
                <c:pt idx="20">
                  <c:v>0.35496110794915575</c:v>
                </c:pt>
                <c:pt idx="21">
                  <c:v>0.4081329035457476</c:v>
                </c:pt>
                <c:pt idx="22">
                  <c:v>0.45787545787545786</c:v>
                </c:pt>
                <c:pt idx="23">
                  <c:v>0.46746411483253586</c:v>
                </c:pt>
                <c:pt idx="24">
                  <c:v>0.47975215755698164</c:v>
                </c:pt>
                <c:pt idx="25">
                  <c:v>0.48357391737182676</c:v>
                </c:pt>
                <c:pt idx="26">
                  <c:v>0.4870477413830015</c:v>
                </c:pt>
                <c:pt idx="27">
                  <c:v>0.46853569987898347</c:v>
                </c:pt>
                <c:pt idx="28">
                  <c:v>0.4591639871382637</c:v>
                </c:pt>
                <c:pt idx="29">
                  <c:v>0.4572017231691328</c:v>
                </c:pt>
                <c:pt idx="30">
                  <c:v>0.4680952380952381</c:v>
                </c:pt>
                <c:pt idx="31">
                  <c:v>0.480642970341861</c:v>
                </c:pt>
                <c:pt idx="32">
                  <c:v>0.49521422060164083</c:v>
                </c:pt>
                <c:pt idx="33">
                  <c:v>0.4971641261963843</c:v>
                </c:pt>
                <c:pt idx="34">
                  <c:v>0.46928968313560593</c:v>
                </c:pt>
                <c:pt idx="35">
                  <c:v>0.45300581771170007</c:v>
                </c:pt>
                <c:pt idx="36">
                  <c:v>0.42409598400266624</c:v>
                </c:pt>
                <c:pt idx="37">
                  <c:v>0.4296724470134875</c:v>
                </c:pt>
                <c:pt idx="38">
                  <c:v>0.41657966172478594</c:v>
                </c:pt>
                <c:pt idx="39">
                  <c:v>0.4021879021879022</c:v>
                </c:pt>
                <c:pt idx="40">
                  <c:v>0.41426827141112854</c:v>
                </c:pt>
                <c:pt idx="41">
                  <c:v>0.40322902132748656</c:v>
                </c:pt>
                <c:pt idx="42">
                  <c:v>0.4000685048809728</c:v>
                </c:pt>
                <c:pt idx="43">
                  <c:v>0.39660277388187626</c:v>
                </c:pt>
                <c:pt idx="44">
                  <c:v>0.3877005347593583</c:v>
                </c:pt>
                <c:pt idx="45">
                  <c:v>0.40102742563592675</c:v>
                </c:pt>
                <c:pt idx="46">
                  <c:v>0.40256994144437214</c:v>
                </c:pt>
                <c:pt idx="47">
                  <c:v>0.39088328602437805</c:v>
                </c:pt>
                <c:pt idx="48">
                  <c:v>0.39224559686888455</c:v>
                </c:pt>
                <c:pt idx="49">
                  <c:v>0.415524729097272</c:v>
                </c:pt>
                <c:pt idx="50">
                  <c:v>0.40365966776288054</c:v>
                </c:pt>
                <c:pt idx="51">
                  <c:v>0.3969124063094306</c:v>
                </c:pt>
                <c:pt idx="52">
                  <c:v>0.4093322157027103</c:v>
                </c:pt>
                <c:pt idx="53">
                  <c:v>0.4118544600938967</c:v>
                </c:pt>
                <c:pt idx="54">
                  <c:v>0.42954964445614957</c:v>
                </c:pt>
                <c:pt idx="55">
                  <c:v>0.4230409825123482</c:v>
                </c:pt>
                <c:pt idx="56">
                  <c:v>0.43329989969909727</c:v>
                </c:pt>
                <c:pt idx="57">
                  <c:v>0.435274302213667</c:v>
                </c:pt>
                <c:pt idx="58">
                  <c:v>0.43751990657182294</c:v>
                </c:pt>
                <c:pt idx="59">
                  <c:v>0.4555774590442526</c:v>
                </c:pt>
                <c:pt idx="60">
                  <c:v>0.46228456315750205</c:v>
                </c:pt>
                <c:pt idx="61">
                  <c:v>0.4435924369747899</c:v>
                </c:pt>
                <c:pt idx="62">
                  <c:v>0.446161369193154</c:v>
                </c:pt>
                <c:pt idx="63">
                  <c:v>0.4603357910633384</c:v>
                </c:pt>
                <c:pt idx="64">
                  <c:v>0.41445925426016533</c:v>
                </c:pt>
                <c:pt idx="65">
                  <c:v>0.3919057855874381</c:v>
                </c:pt>
                <c:pt idx="66">
                  <c:v>0.40365287978353304</c:v>
                </c:pt>
                <c:pt idx="67">
                  <c:v>0.3912951616311008</c:v>
                </c:pt>
                <c:pt idx="68">
                  <c:v>0.381054036024016</c:v>
                </c:pt>
                <c:pt idx="69">
                  <c:v>0.3703767123287671</c:v>
                </c:pt>
                <c:pt idx="70">
                  <c:v>0.3760556383507203</c:v>
                </c:pt>
                <c:pt idx="71">
                  <c:v>0.39188427578433216</c:v>
                </c:pt>
                <c:pt idx="72">
                  <c:v>0.36929460580912865</c:v>
                </c:pt>
                <c:pt idx="73">
                  <c:v>0.39154984423676015</c:v>
                </c:pt>
                <c:pt idx="74">
                  <c:v>0.3922312556458898</c:v>
                </c:pt>
                <c:pt idx="75">
                  <c:v>0.4071747061207945</c:v>
                </c:pt>
                <c:pt idx="76">
                  <c:v>0.4070307318151669</c:v>
                </c:pt>
                <c:pt idx="77">
                  <c:v>0.40476190476190477</c:v>
                </c:pt>
                <c:pt idx="78">
                  <c:v>0.38565488565488565</c:v>
                </c:pt>
                <c:pt idx="79">
                  <c:v>0.3820810618630007</c:v>
                </c:pt>
                <c:pt idx="80">
                  <c:v>0.36182994454713496</c:v>
                </c:pt>
                <c:pt idx="81">
                  <c:v>0.3755707762557078</c:v>
                </c:pt>
                <c:pt idx="82">
                  <c:v>0.37569199798691494</c:v>
                </c:pt>
                <c:pt idx="83">
                  <c:v>0.3840434658278524</c:v>
                </c:pt>
                <c:pt idx="84">
                  <c:v>0.3814636903079966</c:v>
                </c:pt>
                <c:pt idx="85">
                  <c:v>0.3962217860647694</c:v>
                </c:pt>
                <c:pt idx="86">
                  <c:v>0.38717128642501775</c:v>
                </c:pt>
                <c:pt idx="87">
                  <c:v>0.39503386004514673</c:v>
                </c:pt>
                <c:pt idx="88">
                  <c:v>0.39035836177474403</c:v>
                </c:pt>
                <c:pt idx="89">
                  <c:v>0.4000483442107808</c:v>
                </c:pt>
                <c:pt idx="90">
                  <c:v>0.38532799198798195</c:v>
                </c:pt>
                <c:pt idx="91">
                  <c:v>0.36058174523570713</c:v>
                </c:pt>
                <c:pt idx="92">
                  <c:v>0.3607016234372084</c:v>
                </c:pt>
                <c:pt idx="93">
                  <c:v>0.34939541598989354</c:v>
                </c:pt>
                <c:pt idx="94">
                  <c:v>0.35541930379746833</c:v>
                </c:pt>
                <c:pt idx="95">
                  <c:v>0.3566240557815224</c:v>
                </c:pt>
                <c:pt idx="96">
                  <c:v>0.3629177506503902</c:v>
                </c:pt>
                <c:pt idx="97">
                  <c:v>0.3668784413384159</c:v>
                </c:pt>
                <c:pt idx="98">
                  <c:v>0.37420626231661924</c:v>
                </c:pt>
                <c:pt idx="99">
                  <c:v>0.3795620437956204</c:v>
                </c:pt>
                <c:pt idx="100">
                  <c:v>0.38089468779123953</c:v>
                </c:pt>
                <c:pt idx="101">
                  <c:v>0.40074812967581047</c:v>
                </c:pt>
                <c:pt idx="102">
                  <c:v>0.39029662543533084</c:v>
                </c:pt>
                <c:pt idx="103">
                  <c:v>0.3605958958168903</c:v>
                </c:pt>
                <c:pt idx="104">
                  <c:v>0.360663621062755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66717863942631</c:v>
                </c:pt>
                <c:pt idx="1">
                  <c:v>0.24409347092483002</c:v>
                </c:pt>
                <c:pt idx="2">
                  <c:v>0.23246020276600285</c:v>
                </c:pt>
                <c:pt idx="3">
                  <c:v>0.21389730129224796</c:v>
                </c:pt>
                <c:pt idx="4">
                  <c:v>0.19249672626851935</c:v>
                </c:pt>
                <c:pt idx="5">
                  <c:v>0.20695984431097092</c:v>
                </c:pt>
                <c:pt idx="6">
                  <c:v>0.18962291732055583</c:v>
                </c:pt>
                <c:pt idx="7">
                  <c:v>0.18552021866162527</c:v>
                </c:pt>
                <c:pt idx="8">
                  <c:v>0.20098110141940728</c:v>
                </c:pt>
                <c:pt idx="9">
                  <c:v>0.19582107137077195</c:v>
                </c:pt>
                <c:pt idx="10">
                  <c:v>0.1791961167358955</c:v>
                </c:pt>
                <c:pt idx="11">
                  <c:v>0.17559298486793556</c:v>
                </c:pt>
                <c:pt idx="12">
                  <c:v>0.16204114727443877</c:v>
                </c:pt>
                <c:pt idx="13">
                  <c:v>0.15619690200166028</c:v>
                </c:pt>
                <c:pt idx="14">
                  <c:v>0.16444433667658417</c:v>
                </c:pt>
                <c:pt idx="15">
                  <c:v>0.18684290974111495</c:v>
                </c:pt>
                <c:pt idx="16">
                  <c:v>0.1484404807280004</c:v>
                </c:pt>
                <c:pt idx="17">
                  <c:v>0.15496960110307526</c:v>
                </c:pt>
                <c:pt idx="18">
                  <c:v>0.18120228869880003</c:v>
                </c:pt>
                <c:pt idx="19">
                  <c:v>0.15793804136253042</c:v>
                </c:pt>
                <c:pt idx="20">
                  <c:v>0.1903452721799784</c:v>
                </c:pt>
                <c:pt idx="21">
                  <c:v>0.13527877987132353</c:v>
                </c:pt>
                <c:pt idx="22">
                  <c:v>0.1453790540179415</c:v>
                </c:pt>
                <c:pt idx="23">
                  <c:v>0.17021188666729659</c:v>
                </c:pt>
                <c:pt idx="24">
                  <c:v>0.17002723694595998</c:v>
                </c:pt>
                <c:pt idx="25">
                  <c:v>0.16568649852779296</c:v>
                </c:pt>
                <c:pt idx="26">
                  <c:v>0.14318020867742506</c:v>
                </c:pt>
                <c:pt idx="27">
                  <c:v>0.1601983085062614</c:v>
                </c:pt>
                <c:pt idx="28">
                  <c:v>0.17523275242047026</c:v>
                </c:pt>
                <c:pt idx="29">
                  <c:v>0.17869915823301463</c:v>
                </c:pt>
                <c:pt idx="30">
                  <c:v>0.17167007035655268</c:v>
                </c:pt>
                <c:pt idx="31">
                  <c:v>0.11567560971048105</c:v>
                </c:pt>
                <c:pt idx="32">
                  <c:v>0.1777447079825572</c:v>
                </c:pt>
                <c:pt idx="33">
                  <c:v>0.1864202036899946</c:v>
                </c:pt>
                <c:pt idx="34">
                  <c:v>0.17486389114541023</c:v>
                </c:pt>
                <c:pt idx="35">
                  <c:v>0.16772479195506546</c:v>
                </c:pt>
                <c:pt idx="36">
                  <c:v>0.13807424582144312</c:v>
                </c:pt>
                <c:pt idx="37">
                  <c:v>0.17699699713141404</c:v>
                </c:pt>
                <c:pt idx="38">
                  <c:v>0.14565120959109398</c:v>
                </c:pt>
                <c:pt idx="39">
                  <c:v>0.1687598565843054</c:v>
                </c:pt>
                <c:pt idx="40">
                  <c:v>0.1860278320107241</c:v>
                </c:pt>
                <c:pt idx="41">
                  <c:v>0.16234853236712515</c:v>
                </c:pt>
                <c:pt idx="42">
                  <c:v>0.15040423040492126</c:v>
                </c:pt>
                <c:pt idx="43">
                  <c:v>0.18593739579310586</c:v>
                </c:pt>
                <c:pt idx="44">
                  <c:v>0.17031673475304032</c:v>
                </c:pt>
                <c:pt idx="45">
                  <c:v>0.17409310728316352</c:v>
                </c:pt>
                <c:pt idx="46">
                  <c:v>0.19455948150970473</c:v>
                </c:pt>
                <c:pt idx="47">
                  <c:v>0.11401804807727077</c:v>
                </c:pt>
                <c:pt idx="48">
                  <c:v>0.15826985453591041</c:v>
                </c:pt>
                <c:pt idx="49">
                  <c:v>0.17008410561904022</c:v>
                </c:pt>
                <c:pt idx="50">
                  <c:v>0.17923590817434465</c:v>
                </c:pt>
                <c:pt idx="51">
                  <c:v>0.15561633224599922</c:v>
                </c:pt>
              </c:numCache>
            </c:numRef>
          </c:xVal>
          <c:yVal>
            <c:numRef>
              <c:f>Sheet1!$B$109:$B$160</c:f>
              <c:numCache>
                <c:formatCode>General</c:formatCode>
                <c:ptCount val="52"/>
                <c:pt idx="0">
                  <c:v>0.3707419248153456</c:v>
                </c:pt>
                <c:pt idx="1">
                  <c:v>0.3816919637604424</c:v>
                </c:pt>
                <c:pt idx="2">
                  <c:v>0.3902439024390244</c:v>
                </c:pt>
                <c:pt idx="3">
                  <c:v>0.4152976875588574</c:v>
                </c:pt>
                <c:pt idx="4">
                  <c:v>0.40379374250517824</c:v>
                </c:pt>
                <c:pt idx="5">
                  <c:v>0.3982499199658521</c:v>
                </c:pt>
                <c:pt idx="6">
                  <c:v>0.4154849688031764</c:v>
                </c:pt>
                <c:pt idx="7">
                  <c:v>0.3941946352209408</c:v>
                </c:pt>
                <c:pt idx="8">
                  <c:v>0.3924107815088089</c:v>
                </c:pt>
                <c:pt idx="9">
                  <c:v>0.401704776079015</c:v>
                </c:pt>
                <c:pt idx="10">
                  <c:v>0.39083949313621963</c:v>
                </c:pt>
                <c:pt idx="11">
                  <c:v>0.4021561877151658</c:v>
                </c:pt>
                <c:pt idx="12">
                  <c:v>0.4006640248473814</c:v>
                </c:pt>
                <c:pt idx="13">
                  <c:v>0.4100035642152786</c:v>
                </c:pt>
                <c:pt idx="14">
                  <c:v>0.41327319587628863</c:v>
                </c:pt>
                <c:pt idx="15">
                  <c:v>0.4025513819985826</c:v>
                </c:pt>
                <c:pt idx="16">
                  <c:v>0.3913188092466323</c:v>
                </c:pt>
                <c:pt idx="17">
                  <c:v>0.394107452339688</c:v>
                </c:pt>
                <c:pt idx="18">
                  <c:v>0.39829500396510703</c:v>
                </c:pt>
                <c:pt idx="19">
                  <c:v>0.4021695460024106</c:v>
                </c:pt>
                <c:pt idx="20">
                  <c:v>0.40716612377850164</c:v>
                </c:pt>
                <c:pt idx="21">
                  <c:v>0.4299947561615102</c:v>
                </c:pt>
                <c:pt idx="22">
                  <c:v>0.4081473793461339</c:v>
                </c:pt>
                <c:pt idx="23">
                  <c:v>0.4103194103194103</c:v>
                </c:pt>
                <c:pt idx="24">
                  <c:v>0.40828252032520324</c:v>
                </c:pt>
                <c:pt idx="25">
                  <c:v>0.4040934138021517</c:v>
                </c:pt>
                <c:pt idx="26">
                  <c:v>0.4019925280199253</c:v>
                </c:pt>
                <c:pt idx="27">
                  <c:v>0.4007540474606343</c:v>
                </c:pt>
                <c:pt idx="28">
                  <c:v>0.39095907147220527</c:v>
                </c:pt>
                <c:pt idx="29">
                  <c:v>0.4061799152753551</c:v>
                </c:pt>
                <c:pt idx="30">
                  <c:v>0.40456852791878173</c:v>
                </c:pt>
                <c:pt idx="31">
                  <c:v>0.3882063882063882</c:v>
                </c:pt>
                <c:pt idx="32">
                  <c:v>0.3827843231546045</c:v>
                </c:pt>
                <c:pt idx="33">
                  <c:v>0.37935390723696083</c:v>
                </c:pt>
                <c:pt idx="34">
                  <c:v>0.39390948822783023</c:v>
                </c:pt>
                <c:pt idx="35">
                  <c:v>0.37623937677053826</c:v>
                </c:pt>
                <c:pt idx="36">
                  <c:v>0.3827414147343704</c:v>
                </c:pt>
                <c:pt idx="37">
                  <c:v>0.39919678714859436</c:v>
                </c:pt>
                <c:pt idx="38">
                  <c:v>0.4107631498935847</c:v>
                </c:pt>
                <c:pt idx="39">
                  <c:v>0.4008420119654332</c:v>
                </c:pt>
                <c:pt idx="40">
                  <c:v>0.38873239436619716</c:v>
                </c:pt>
                <c:pt idx="41">
                  <c:v>0.3760305650512769</c:v>
                </c:pt>
                <c:pt idx="42">
                  <c:v>0.3951834862385321</c:v>
                </c:pt>
                <c:pt idx="43">
                  <c:v>0.38352524357838796</c:v>
                </c:pt>
                <c:pt idx="44">
                  <c:v>0.380720823798627</c:v>
                </c:pt>
                <c:pt idx="45">
                  <c:v>0.39650872817955113</c:v>
                </c:pt>
                <c:pt idx="46">
                  <c:v>0.4052691867124857</c:v>
                </c:pt>
                <c:pt idx="47">
                  <c:v>0.40348345872410596</c:v>
                </c:pt>
                <c:pt idx="48">
                  <c:v>0.3792432066367561</c:v>
                </c:pt>
                <c:pt idx="49">
                  <c:v>0.3886552955176517</c:v>
                </c:pt>
                <c:pt idx="50">
                  <c:v>0.3912084364575487</c:v>
                </c:pt>
                <c:pt idx="51">
                  <c:v>0.3980782429649965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10608891245204</c:v>
                </c:pt>
              </c:numCache>
            </c:numRef>
          </c:xVal>
          <c:yVal>
            <c:numRef>
              <c:f>Sheet1!$B$163:$B$164</c:f>
              <c:numCache>
                <c:formatCode>General</c:formatCode>
                <c:ptCount val="2"/>
                <c:pt idx="0">
                  <c:v>0.519269436376669</c:v>
                </c:pt>
                <c:pt idx="1">
                  <c:v>0.51926943637666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10608891245204</c:v>
                </c:pt>
                <c:pt idx="1">
                  <c:v>-1.110608891245204</c:v>
                </c:pt>
              </c:numCache>
            </c:numRef>
          </c:xVal>
          <c:yVal>
            <c:numRef>
              <c:f>Sheet1!$B$167:$B$168</c:f>
              <c:numCache>
                <c:formatCode>General</c:formatCode>
                <c:ptCount val="2"/>
                <c:pt idx="0">
                  <c:v>0.51926943637666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0578582747559723</c:v>
                </c:pt>
              </c:numCache>
            </c:numRef>
          </c:xVal>
          <c:yVal>
            <c:numRef>
              <c:f>Sheet1!$B$171:$B$172</c:f>
              <c:numCache>
                <c:formatCode>General</c:formatCode>
                <c:ptCount val="2"/>
                <c:pt idx="0">
                  <c:v>0.4034034088739832</c:v>
                </c:pt>
                <c:pt idx="1">
                  <c:v>0.403403408873983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0578582747559723</c:v>
                </c:pt>
                <c:pt idx="1">
                  <c:v>0.10578582747559723</c:v>
                </c:pt>
              </c:numCache>
            </c:numRef>
          </c:xVal>
          <c:yVal>
            <c:numRef>
              <c:f>Sheet1!$B$175:$B$176</c:f>
              <c:numCache>
                <c:formatCode>General</c:formatCode>
                <c:ptCount val="2"/>
                <c:pt idx="0">
                  <c:v>0.40340340887398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3238162055237388</c:v>
                </c:pt>
              </c:numCache>
            </c:numRef>
          </c:xVal>
          <c:yVal>
            <c:numRef>
              <c:f>Sheet1!$B$179:$B$180</c:f>
              <c:numCache>
                <c:formatCode>General</c:formatCode>
                <c:ptCount val="2"/>
                <c:pt idx="0">
                  <c:v>0.3913446984762731</c:v>
                </c:pt>
                <c:pt idx="1">
                  <c:v>0.391344698476273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3238162055237388</c:v>
                </c:pt>
                <c:pt idx="1">
                  <c:v>0.23238162055237388</c:v>
                </c:pt>
              </c:numCache>
            </c:numRef>
          </c:xVal>
          <c:yVal>
            <c:numRef>
              <c:f>Sheet1!$B$183:$B$184</c:f>
              <c:numCache>
                <c:formatCode>General</c:formatCode>
                <c:ptCount val="2"/>
                <c:pt idx="0">
                  <c:v>0.391344698476273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66717863942631</c:v>
                </c:pt>
                <c:pt idx="1">
                  <c:v>0.24409347092483002</c:v>
                </c:pt>
                <c:pt idx="2">
                  <c:v>0.23246020276600285</c:v>
                </c:pt>
                <c:pt idx="3">
                  <c:v>0.21389730129224796</c:v>
                </c:pt>
                <c:pt idx="4">
                  <c:v>0.19249672626851935</c:v>
                </c:pt>
                <c:pt idx="5">
                  <c:v>0.20695984431097092</c:v>
                </c:pt>
                <c:pt idx="6">
                  <c:v>0.18962291732055583</c:v>
                </c:pt>
                <c:pt idx="7">
                  <c:v>0.18552021866162527</c:v>
                </c:pt>
                <c:pt idx="8">
                  <c:v>0.20098110141940728</c:v>
                </c:pt>
                <c:pt idx="9">
                  <c:v>0.19582107137077195</c:v>
                </c:pt>
                <c:pt idx="10">
                  <c:v>0.1791961167358955</c:v>
                </c:pt>
                <c:pt idx="11">
                  <c:v>0.17559298486793556</c:v>
                </c:pt>
                <c:pt idx="12">
                  <c:v>0.16204114727443877</c:v>
                </c:pt>
                <c:pt idx="13">
                  <c:v>0.15619690200166028</c:v>
                </c:pt>
                <c:pt idx="14">
                  <c:v>0.16444433667658417</c:v>
                </c:pt>
                <c:pt idx="15">
                  <c:v>0.18684290974111495</c:v>
                </c:pt>
                <c:pt idx="16">
                  <c:v>0.1484404807280004</c:v>
                </c:pt>
                <c:pt idx="17">
                  <c:v>0.15496960110307526</c:v>
                </c:pt>
                <c:pt idx="18">
                  <c:v>0.18120228869880003</c:v>
                </c:pt>
                <c:pt idx="19">
                  <c:v>0.15793804136253042</c:v>
                </c:pt>
                <c:pt idx="20">
                  <c:v>0.1903452721799784</c:v>
                </c:pt>
                <c:pt idx="21">
                  <c:v>0.13527877987132353</c:v>
                </c:pt>
                <c:pt idx="22">
                  <c:v>0.1453790540179415</c:v>
                </c:pt>
                <c:pt idx="23">
                  <c:v>0.17021188666729659</c:v>
                </c:pt>
                <c:pt idx="24">
                  <c:v>0.17002723694595998</c:v>
                </c:pt>
                <c:pt idx="25">
                  <c:v>0.16568649852779296</c:v>
                </c:pt>
                <c:pt idx="26">
                  <c:v>0.14318020867742506</c:v>
                </c:pt>
                <c:pt idx="27">
                  <c:v>0.1601983085062614</c:v>
                </c:pt>
                <c:pt idx="28">
                  <c:v>0.17523275242047026</c:v>
                </c:pt>
                <c:pt idx="29">
                  <c:v>0.17869915823301463</c:v>
                </c:pt>
                <c:pt idx="30">
                  <c:v>0.17167007035655268</c:v>
                </c:pt>
                <c:pt idx="31">
                  <c:v>0.11567560971048105</c:v>
                </c:pt>
                <c:pt idx="32">
                  <c:v>0.1777447079825572</c:v>
                </c:pt>
                <c:pt idx="33">
                  <c:v>0.1864202036899946</c:v>
                </c:pt>
                <c:pt idx="34">
                  <c:v>0.17486389114541023</c:v>
                </c:pt>
                <c:pt idx="35">
                  <c:v>0.16772479195506546</c:v>
                </c:pt>
                <c:pt idx="36">
                  <c:v>0.13807424582144312</c:v>
                </c:pt>
                <c:pt idx="37">
                  <c:v>0.17699699713141404</c:v>
                </c:pt>
                <c:pt idx="38">
                  <c:v>0.14565120959109398</c:v>
                </c:pt>
                <c:pt idx="39">
                  <c:v>0.1687598565843054</c:v>
                </c:pt>
                <c:pt idx="40">
                  <c:v>0.1860278320107241</c:v>
                </c:pt>
                <c:pt idx="41">
                  <c:v>0.16234853236712515</c:v>
                </c:pt>
                <c:pt idx="42">
                  <c:v>0.15040423040492126</c:v>
                </c:pt>
                <c:pt idx="43">
                  <c:v>0.18593739579310586</c:v>
                </c:pt>
                <c:pt idx="44">
                  <c:v>0.17031673475304032</c:v>
                </c:pt>
                <c:pt idx="45">
                  <c:v>0.17409310728316352</c:v>
                </c:pt>
                <c:pt idx="46">
                  <c:v>0.19455948150970473</c:v>
                </c:pt>
                <c:pt idx="47">
                  <c:v>0.11401804807727077</c:v>
                </c:pt>
                <c:pt idx="48">
                  <c:v>0.15826985453591041</c:v>
                </c:pt>
                <c:pt idx="49">
                  <c:v>0.17008410561904022</c:v>
                </c:pt>
                <c:pt idx="50">
                  <c:v>0.17923590817434465</c:v>
                </c:pt>
                <c:pt idx="51">
                  <c:v>0.15561633224599922</c:v>
                </c:pt>
                <c:pt idx="52">
                  <c:v>0.10578582747559723</c:v>
                </c:pt>
                <c:pt idx="53">
                  <c:v>-1.110608891245204</c:v>
                </c:pt>
                <c:pt idx="54">
                  <c:v>0.23238162055237388</c:v>
                </c:pt>
              </c:numCache>
            </c:numRef>
          </c:xVal>
          <c:yVal>
            <c:numRef>
              <c:f>Sheet1!$B$187:$B$241</c:f>
              <c:numCache>
                <c:formatCode>General</c:formatCode>
                <c:ptCount val="55"/>
                <c:pt idx="0">
                  <c:v>0.39188858097709095</c:v>
                </c:pt>
                <c:pt idx="1">
                  <c:v>0.39022910206954964</c:v>
                </c:pt>
                <c:pt idx="2">
                  <c:v>0.39133721323420045</c:v>
                </c:pt>
                <c:pt idx="3">
                  <c:v>0.3931053972123006</c:v>
                </c:pt>
                <c:pt idx="4">
                  <c:v>0.39514387993185746</c:v>
                </c:pt>
                <c:pt idx="5">
                  <c:v>0.3937662152584663</c:v>
                </c:pt>
                <c:pt idx="6">
                  <c:v>0.3954176207015908</c:v>
                </c:pt>
                <c:pt idx="7">
                  <c:v>0.39580841769234953</c:v>
                </c:pt>
                <c:pt idx="8">
                  <c:v>0.3943357122956072</c:v>
                </c:pt>
                <c:pt idx="9">
                  <c:v>0.3948272239524143</c:v>
                </c:pt>
                <c:pt idx="10">
                  <c:v>0.3964108114354159</c:v>
                </c:pt>
                <c:pt idx="11">
                  <c:v>0.39675402286973377</c:v>
                </c:pt>
                <c:pt idx="12">
                  <c:v>0.3980448847611528</c:v>
                </c:pt>
                <c:pt idx="13">
                  <c:v>0.39860157041021604</c:v>
                </c:pt>
                <c:pt idx="14">
                  <c:v>0.3978159722173233</c:v>
                </c:pt>
                <c:pt idx="15">
                  <c:v>0.39568242654931424</c:v>
                </c:pt>
                <c:pt idx="16">
                  <c:v>0.39934039778819197</c:v>
                </c:pt>
                <c:pt idx="17">
                  <c:v>0.398718475291075</c:v>
                </c:pt>
                <c:pt idx="18">
                  <c:v>0.3962197162487536</c:v>
                </c:pt>
                <c:pt idx="19">
                  <c:v>0.398435720544241</c:v>
                </c:pt>
                <c:pt idx="20">
                  <c:v>0.3953488137701561</c:v>
                </c:pt>
                <c:pt idx="21">
                  <c:v>0.4005940977344114</c:v>
                </c:pt>
                <c:pt idx="22">
                  <c:v>0.3996320098331359</c:v>
                </c:pt>
                <c:pt idx="23">
                  <c:v>0.39726659207322845</c:v>
                </c:pt>
                <c:pt idx="24">
                  <c:v>0.3972841806317461</c:v>
                </c:pt>
                <c:pt idx="25">
                  <c:v>0.397697651776598</c:v>
                </c:pt>
                <c:pt idx="26">
                  <c:v>0.3998414578608011</c:v>
                </c:pt>
                <c:pt idx="27">
                  <c:v>0.39822042186609946</c:v>
                </c:pt>
                <c:pt idx="28">
                  <c:v>0.39678833632245025</c:v>
                </c:pt>
                <c:pt idx="29">
                  <c:v>0.3964581485429159</c:v>
                </c:pt>
                <c:pt idx="30">
                  <c:v>0.3971276947656004</c:v>
                </c:pt>
                <c:pt idx="31">
                  <c:v>0.40246137109398716</c:v>
                </c:pt>
                <c:pt idx="32">
                  <c:v>0.39654906340572105</c:v>
                </c:pt>
                <c:pt idx="33">
                  <c:v>0.39572269084033007</c:v>
                </c:pt>
                <c:pt idx="34">
                  <c:v>0.3968234717024244</c:v>
                </c:pt>
                <c:pt idx="35">
                  <c:v>0.39750349690345677</c:v>
                </c:pt>
                <c:pt idx="36">
                  <c:v>0.4003278194205759</c:v>
                </c:pt>
                <c:pt idx="37">
                  <c:v>0.3966202855877227</c:v>
                </c:pt>
                <c:pt idx="38">
                  <c:v>0.3996060860235052</c:v>
                </c:pt>
                <c:pt idx="39">
                  <c:v>0.39740490322744615</c:v>
                </c:pt>
                <c:pt idx="40">
                  <c:v>0.39576006567193855</c:v>
                </c:pt>
                <c:pt idx="41">
                  <c:v>0.398015605211468</c:v>
                </c:pt>
                <c:pt idx="42">
                  <c:v>0.3991533434787867</c:v>
                </c:pt>
                <c:pt idx="43">
                  <c:v>0.3957686800510677</c:v>
                </c:pt>
                <c:pt idx="44">
                  <c:v>0.39725660491116715</c:v>
                </c:pt>
                <c:pt idx="45">
                  <c:v>0.3968968916727738</c:v>
                </c:pt>
                <c:pt idx="46">
                  <c:v>0.3949473949818424</c:v>
                </c:pt>
                <c:pt idx="47">
                  <c:v>0.4026192598769826</c:v>
                </c:pt>
                <c:pt idx="48">
                  <c:v>0.3984041141308943</c:v>
                </c:pt>
                <c:pt idx="49">
                  <c:v>0.3972787636834992</c:v>
                </c:pt>
                <c:pt idx="50">
                  <c:v>0.396407021155969</c:v>
                </c:pt>
                <c:pt idx="51">
                  <c:v>0.3986568717940854</c:v>
                </c:pt>
                <c:pt idx="52">
                  <c:v>0.4034034088739832</c:v>
                </c:pt>
                <c:pt idx="53">
                  <c:v>0.519269436376669</c:v>
                </c:pt>
                <c:pt idx="54">
                  <c:v>0.391344698476273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518760195758564"/>
          <c:min val="0.27544816835541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1561551132419165</c:v>
                </c:pt>
                <c:pt idx="1">
                  <c:v>0.12610653266462812</c:v>
                </c:pt>
                <c:pt idx="2">
                  <c:v>0.1250429237718436</c:v>
                </c:pt>
                <c:pt idx="3">
                  <c:v>0.12878649198419548</c:v>
                </c:pt>
                <c:pt idx="4">
                  <c:v>0.11873781533125112</c:v>
                </c:pt>
                <c:pt idx="5">
                  <c:v>0.1307378967245451</c:v>
                </c:pt>
                <c:pt idx="6">
                  <c:v>0.12468667810246561</c:v>
                </c:pt>
                <c:pt idx="7">
                  <c:v>0.1167376782076108</c:v>
                </c:pt>
                <c:pt idx="8">
                  <c:v>0.11784863427939685</c:v>
                </c:pt>
                <c:pt idx="9">
                  <c:v>0.10889542222382927</c:v>
                </c:pt>
                <c:pt idx="10">
                  <c:v>0.09702548810792987</c:v>
                </c:pt>
                <c:pt idx="11">
                  <c:v>0.09737488946245161</c:v>
                </c:pt>
                <c:pt idx="12">
                  <c:v>0.10133345303247175</c:v>
                </c:pt>
                <c:pt idx="13">
                  <c:v>0.09924896054264079</c:v>
                </c:pt>
                <c:pt idx="14">
                  <c:v>0.11876188431393601</c:v>
                </c:pt>
                <c:pt idx="15">
                  <c:v>0.11501655128930406</c:v>
                </c:pt>
                <c:pt idx="16">
                  <c:v>0.11387138295097489</c:v>
                </c:pt>
                <c:pt idx="17">
                  <c:v>0.1167934047026093</c:v>
                </c:pt>
                <c:pt idx="18">
                  <c:v>0.11769423214054968</c:v>
                </c:pt>
                <c:pt idx="19">
                  <c:v>0.11719387507267791</c:v>
                </c:pt>
                <c:pt idx="20">
                  <c:v>0.12145679359592468</c:v>
                </c:pt>
                <c:pt idx="21">
                  <c:v>0.11071146377730565</c:v>
                </c:pt>
                <c:pt idx="22">
                  <c:v>0.10832803105431661</c:v>
                </c:pt>
                <c:pt idx="23">
                  <c:v>0.11459978823022512</c:v>
                </c:pt>
                <c:pt idx="24">
                  <c:v>0.11160124633962869</c:v>
                </c:pt>
                <c:pt idx="25">
                  <c:v>0.10951861204384415</c:v>
                </c:pt>
                <c:pt idx="26">
                  <c:v>0.11723540661458001</c:v>
                </c:pt>
                <c:pt idx="27">
                  <c:v>0.11248970021314254</c:v>
                </c:pt>
                <c:pt idx="28">
                  <c:v>0.11017110946531905</c:v>
                </c:pt>
                <c:pt idx="29">
                  <c:v>0.11259180500216234</c:v>
                </c:pt>
                <c:pt idx="30">
                  <c:v>0.11085465922313721</c:v>
                </c:pt>
                <c:pt idx="31">
                  <c:v>0.11180241660776544</c:v>
                </c:pt>
                <c:pt idx="32">
                  <c:v>0.10943364649423144</c:v>
                </c:pt>
                <c:pt idx="33">
                  <c:v>0.10946418697192026</c:v>
                </c:pt>
                <c:pt idx="34">
                  <c:v>0.11165008241170898</c:v>
                </c:pt>
                <c:pt idx="35">
                  <c:v>0.11304614448729434</c:v>
                </c:pt>
                <c:pt idx="36">
                  <c:v>0.11626457761937013</c:v>
                </c:pt>
                <c:pt idx="37">
                  <c:v>0.11456806428007232</c:v>
                </c:pt>
                <c:pt idx="38">
                  <c:v>0.1156513550931671</c:v>
                </c:pt>
                <c:pt idx="39">
                  <c:v>0.11911233885091776</c:v>
                </c:pt>
                <c:pt idx="40">
                  <c:v>0.12607939362692194</c:v>
                </c:pt>
                <c:pt idx="41">
                  <c:v>0.12252350585658608</c:v>
                </c:pt>
                <c:pt idx="42">
                  <c:v>0.12817924847415316</c:v>
                </c:pt>
                <c:pt idx="43">
                  <c:v>0.13102224156881348</c:v>
                </c:pt>
                <c:pt idx="44">
                  <c:v>0.14148615732308417</c:v>
                </c:pt>
                <c:pt idx="45">
                  <c:v>0.14229367999909387</c:v>
                </c:pt>
                <c:pt idx="46">
                  <c:v>0.13862106410466038</c:v>
                </c:pt>
                <c:pt idx="47">
                  <c:v>0.13462976691507855</c:v>
                </c:pt>
                <c:pt idx="48">
                  <c:v>0.13735530746488342</c:v>
                </c:pt>
                <c:pt idx="49">
                  <c:v>0.1353377913139008</c:v>
                </c:pt>
                <c:pt idx="50">
                  <c:v>0.12551176842202924</c:v>
                </c:pt>
                <c:pt idx="51">
                  <c:v>0.12312335238689444</c:v>
                </c:pt>
                <c:pt idx="52">
                  <c:v>0.12181172450896427</c:v>
                </c:pt>
                <c:pt idx="53">
                  <c:v>0.14195618793537867</c:v>
                </c:pt>
                <c:pt idx="54">
                  <c:v>0.13796777047147846</c:v>
                </c:pt>
                <c:pt idx="55">
                  <c:v>0.13044527510831558</c:v>
                </c:pt>
                <c:pt idx="56">
                  <c:v>0.12959129129592667</c:v>
                </c:pt>
                <c:pt idx="57">
                  <c:v>0.13495140209958237</c:v>
                </c:pt>
                <c:pt idx="58">
                  <c:v>0.14036890460606324</c:v>
                </c:pt>
                <c:pt idx="59">
                  <c:v>0.14868650410402431</c:v>
                </c:pt>
                <c:pt idx="60">
                  <c:v>0.15337366812153683</c:v>
                </c:pt>
                <c:pt idx="61">
                  <c:v>0.14097466363000943</c:v>
                </c:pt>
                <c:pt idx="62">
                  <c:v>0.1245653282388985</c:v>
                </c:pt>
                <c:pt idx="63">
                  <c:v>0.12926405956584103</c:v>
                </c:pt>
                <c:pt idx="64">
                  <c:v>0.12827042766562696</c:v>
                </c:pt>
                <c:pt idx="65">
                  <c:v>0.12797145568367238</c:v>
                </c:pt>
                <c:pt idx="66">
                  <c:v>0.13317156205777342</c:v>
                </c:pt>
                <c:pt idx="67">
                  <c:v>0.1320576652921015</c:v>
                </c:pt>
                <c:pt idx="68">
                  <c:v>0.12445482357470498</c:v>
                </c:pt>
                <c:pt idx="69">
                  <c:v>0.12693042131110924</c:v>
                </c:pt>
                <c:pt idx="70">
                  <c:v>0.12315431596008147</c:v>
                </c:pt>
                <c:pt idx="71">
                  <c:v>0.12558720625558825</c:v>
                </c:pt>
                <c:pt idx="72">
                  <c:v>0.130388681312282</c:v>
                </c:pt>
                <c:pt idx="73">
                  <c:v>0.1247817373193723</c:v>
                </c:pt>
                <c:pt idx="74">
                  <c:v>0.1266063198638991</c:v>
                </c:pt>
                <c:pt idx="75">
                  <c:v>0.11933724497717459</c:v>
                </c:pt>
                <c:pt idx="76">
                  <c:v>0.11603796434350162</c:v>
                </c:pt>
                <c:pt idx="77">
                  <c:v>0.11480349090115534</c:v>
                </c:pt>
                <c:pt idx="78">
                  <c:v>0.1149785945652062</c:v>
                </c:pt>
                <c:pt idx="79">
                  <c:v>0.11275473519588201</c:v>
                </c:pt>
                <c:pt idx="80">
                  <c:v>0.11663126288483935</c:v>
                </c:pt>
                <c:pt idx="81">
                  <c:v>0.12106293056572708</c:v>
                </c:pt>
                <c:pt idx="82">
                  <c:v>0.11929538277584878</c:v>
                </c:pt>
                <c:pt idx="83">
                  <c:v>0.11817441765532774</c:v>
                </c:pt>
                <c:pt idx="84">
                  <c:v>0.11886399388543911</c:v>
                </c:pt>
                <c:pt idx="85">
                  <c:v>0.11853106202165604</c:v>
                </c:pt>
                <c:pt idx="86">
                  <c:v>0.12041202790420612</c:v>
                </c:pt>
                <c:pt idx="87">
                  <c:v>0.1204444601939103</c:v>
                </c:pt>
                <c:pt idx="88">
                  <c:v>0.12480051178843402</c:v>
                </c:pt>
                <c:pt idx="89">
                  <c:v>0.1285812963334159</c:v>
                </c:pt>
                <c:pt idx="90">
                  <c:v>0.12365532596279262</c:v>
                </c:pt>
                <c:pt idx="91">
                  <c:v>0.1273650471995124</c:v>
                </c:pt>
                <c:pt idx="92">
                  <c:v>0.12874771268247234</c:v>
                </c:pt>
                <c:pt idx="93">
                  <c:v>0.12634351757072032</c:v>
                </c:pt>
                <c:pt idx="94">
                  <c:v>0.12247561376903912</c:v>
                </c:pt>
                <c:pt idx="95">
                  <c:v>0.12507821066557698</c:v>
                </c:pt>
                <c:pt idx="96">
                  <c:v>0.12230023357787699</c:v>
                </c:pt>
                <c:pt idx="97">
                  <c:v>0.13014445772017202</c:v>
                </c:pt>
                <c:pt idx="98">
                  <c:v>0.12991580541489808</c:v>
                </c:pt>
                <c:pt idx="99">
                  <c:v>0.1322872007160566</c:v>
                </c:pt>
                <c:pt idx="100">
                  <c:v>0.13187871983816654</c:v>
                </c:pt>
                <c:pt idx="101">
                  <c:v>0.12949373279131773</c:v>
                </c:pt>
                <c:pt idx="102">
                  <c:v>0.1289798724814458</c:v>
                </c:pt>
                <c:pt idx="103">
                  <c:v>0.12282603164590233</c:v>
                </c:pt>
                <c:pt idx="104">
                  <c:v>0.1204096708189485</c:v>
                </c:pt>
              </c:numCache>
            </c:numRef>
          </c:xVal>
          <c:yVal>
            <c:numRef>
              <c:f>Sheet1!$B$2:$B$106</c:f>
              <c:numCache>
                <c:formatCode>General</c:formatCode>
                <c:ptCount val="105"/>
                <c:pt idx="0">
                  <c:v>0.19014989293361884</c:v>
                </c:pt>
                <c:pt idx="1">
                  <c:v>0.1874182090110301</c:v>
                </c:pt>
                <c:pt idx="2">
                  <c:v>0.18448132010753684</c:v>
                </c:pt>
                <c:pt idx="3">
                  <c:v>0.19202967471942173</c:v>
                </c:pt>
                <c:pt idx="4">
                  <c:v>0.21944354227563062</c:v>
                </c:pt>
                <c:pt idx="5">
                  <c:v>0.20732787248173568</c:v>
                </c:pt>
                <c:pt idx="6">
                  <c:v>0.2320424403183024</c:v>
                </c:pt>
                <c:pt idx="7">
                  <c:v>0.22241929762327067</c:v>
                </c:pt>
                <c:pt idx="8">
                  <c:v>0.23044594910109736</c:v>
                </c:pt>
                <c:pt idx="9">
                  <c:v>0.2308305912852727</c:v>
                </c:pt>
                <c:pt idx="10">
                  <c:v>0.22501406337896118</c:v>
                </c:pt>
                <c:pt idx="11">
                  <c:v>0.22715702624418502</c:v>
                </c:pt>
                <c:pt idx="12">
                  <c:v>0.21044108574953732</c:v>
                </c:pt>
                <c:pt idx="13">
                  <c:v>0.20045123221103783</c:v>
                </c:pt>
                <c:pt idx="14">
                  <c:v>0.17698123774852983</c:v>
                </c:pt>
                <c:pt idx="15">
                  <c:v>0.16688297642223665</c:v>
                </c:pt>
                <c:pt idx="16">
                  <c:v>0.16820361490225008</c:v>
                </c:pt>
                <c:pt idx="17">
                  <c:v>0.16568854920158319</c:v>
                </c:pt>
                <c:pt idx="18">
                  <c:v>0.15335360973267168</c:v>
                </c:pt>
                <c:pt idx="19">
                  <c:v>0.1468956879584899</c:v>
                </c:pt>
                <c:pt idx="20">
                  <c:v>0.18550137462017074</c:v>
                </c:pt>
                <c:pt idx="21">
                  <c:v>0.1703767123287671</c:v>
                </c:pt>
                <c:pt idx="22">
                  <c:v>0.14937759336099585</c:v>
                </c:pt>
                <c:pt idx="23">
                  <c:v>0.1632692681032809</c:v>
                </c:pt>
                <c:pt idx="24">
                  <c:v>0.16693914623069936</c:v>
                </c:pt>
                <c:pt idx="25">
                  <c:v>0.1607843137254902</c:v>
                </c:pt>
                <c:pt idx="26">
                  <c:v>0.168135593220339</c:v>
                </c:pt>
                <c:pt idx="27">
                  <c:v>0.18114667604642984</c:v>
                </c:pt>
                <c:pt idx="28">
                  <c:v>0.18936994016191483</c:v>
                </c:pt>
                <c:pt idx="29">
                  <c:v>0.18606127956818544</c:v>
                </c:pt>
                <c:pt idx="30">
                  <c:v>0.1950787401574803</c:v>
                </c:pt>
                <c:pt idx="31">
                  <c:v>0.17657657657657658</c:v>
                </c:pt>
                <c:pt idx="32">
                  <c:v>0.18993506493506493</c:v>
                </c:pt>
                <c:pt idx="33">
                  <c:v>0.1818020259463302</c:v>
                </c:pt>
                <c:pt idx="34">
                  <c:v>0.20025288446341077</c:v>
                </c:pt>
                <c:pt idx="35">
                  <c:v>0.2567105905319668</c:v>
                </c:pt>
                <c:pt idx="36">
                  <c:v>0.2090291536937447</c:v>
                </c:pt>
                <c:pt idx="37">
                  <c:v>0.19676739283204497</c:v>
                </c:pt>
                <c:pt idx="38">
                  <c:v>0.18666219839142092</c:v>
                </c:pt>
                <c:pt idx="39">
                  <c:v>0.18684603886397608</c:v>
                </c:pt>
                <c:pt idx="40">
                  <c:v>0.1901644336175396</c:v>
                </c:pt>
                <c:pt idx="41">
                  <c:v>0.17954735959765297</c:v>
                </c:pt>
                <c:pt idx="42">
                  <c:v>0.18690275435637999</c:v>
                </c:pt>
                <c:pt idx="43">
                  <c:v>0.18360136452241715</c:v>
                </c:pt>
                <c:pt idx="44">
                  <c:v>0.16826381059751974</c:v>
                </c:pt>
                <c:pt idx="45">
                  <c:v>0.16118853536681568</c:v>
                </c:pt>
                <c:pt idx="46">
                  <c:v>0.16547874624302275</c:v>
                </c:pt>
                <c:pt idx="47">
                  <c:v>0.16660851360781578</c:v>
                </c:pt>
                <c:pt idx="48">
                  <c:v>0.16566534577527803</c:v>
                </c:pt>
                <c:pt idx="49">
                  <c:v>0.18493237800483317</c:v>
                </c:pt>
                <c:pt idx="50">
                  <c:v>0.1706705661165657</c:v>
                </c:pt>
                <c:pt idx="51">
                  <c:v>0.1737982884107814</c:v>
                </c:pt>
                <c:pt idx="52">
                  <c:v>0.17529908028490424</c:v>
                </c:pt>
                <c:pt idx="53">
                  <c:v>0.16356603426045313</c:v>
                </c:pt>
                <c:pt idx="54">
                  <c:v>0.16656510257972781</c:v>
                </c:pt>
                <c:pt idx="55">
                  <c:v>0.16468982890731604</c:v>
                </c:pt>
                <c:pt idx="56">
                  <c:v>0.17314981049271894</c:v>
                </c:pt>
                <c:pt idx="57">
                  <c:v>0.15567353549896518</c:v>
                </c:pt>
                <c:pt idx="58">
                  <c:v>0.1553445337229121</c:v>
                </c:pt>
                <c:pt idx="59">
                  <c:v>0.14042185898473325</c:v>
                </c:pt>
                <c:pt idx="60">
                  <c:v>0.13943281566509116</c:v>
                </c:pt>
                <c:pt idx="61">
                  <c:v>0.1463888266487415</c:v>
                </c:pt>
                <c:pt idx="62">
                  <c:v>0.16681908245694255</c:v>
                </c:pt>
                <c:pt idx="63">
                  <c:v>0.16552175335296043</c:v>
                </c:pt>
                <c:pt idx="64">
                  <c:v>0.16559465254130407</c:v>
                </c:pt>
                <c:pt idx="65">
                  <c:v>0.16908012687905116</c:v>
                </c:pt>
                <c:pt idx="66">
                  <c:v>0.16127120527446479</c:v>
                </c:pt>
                <c:pt idx="67">
                  <c:v>0.1575673807878369</c:v>
                </c:pt>
                <c:pt idx="68">
                  <c:v>0.15084640609766906</c:v>
                </c:pt>
                <c:pt idx="69">
                  <c:v>0.13940273243864104</c:v>
                </c:pt>
                <c:pt idx="70">
                  <c:v>0.1383089168300842</c:v>
                </c:pt>
                <c:pt idx="71">
                  <c:v>0.1375188580712545</c:v>
                </c:pt>
                <c:pt idx="72">
                  <c:v>0.15128576199487923</c:v>
                </c:pt>
                <c:pt idx="73">
                  <c:v>0.14916875427009793</c:v>
                </c:pt>
                <c:pt idx="74">
                  <c:v>0.14144620811287478</c:v>
                </c:pt>
                <c:pt idx="75">
                  <c:v>0.15030504714364948</c:v>
                </c:pt>
                <c:pt idx="76">
                  <c:v>0.15098152424942263</c:v>
                </c:pt>
                <c:pt idx="77">
                  <c:v>0.14893926184248765</c:v>
                </c:pt>
                <c:pt idx="78">
                  <c:v>0.1562448711636304</c:v>
                </c:pt>
                <c:pt idx="79">
                  <c:v>0.1584241408214585</c:v>
                </c:pt>
                <c:pt idx="80">
                  <c:v>0.158530531193116</c:v>
                </c:pt>
                <c:pt idx="81">
                  <c:v>0.15322033898305085</c:v>
                </c:pt>
                <c:pt idx="82">
                  <c:v>0.15401558793629277</c:v>
                </c:pt>
                <c:pt idx="83">
                  <c:v>0.13964346349745332</c:v>
                </c:pt>
                <c:pt idx="84">
                  <c:v>0.14164366107453813</c:v>
                </c:pt>
                <c:pt idx="85">
                  <c:v>0.1314352574102964</c:v>
                </c:pt>
                <c:pt idx="86">
                  <c:v>0.14265335235378032</c:v>
                </c:pt>
                <c:pt idx="87">
                  <c:v>0.17739646497226164</c:v>
                </c:pt>
                <c:pt idx="88">
                  <c:v>0.18386639357176618</c:v>
                </c:pt>
                <c:pt idx="89">
                  <c:v>0.1434290687554395</c:v>
                </c:pt>
                <c:pt idx="90">
                  <c:v>0.14193663862538033</c:v>
                </c:pt>
                <c:pt idx="91">
                  <c:v>0.14365199797673242</c:v>
                </c:pt>
                <c:pt idx="92">
                  <c:v>0.15895232815964525</c:v>
                </c:pt>
                <c:pt idx="93">
                  <c:v>0.13890293225480282</c:v>
                </c:pt>
                <c:pt idx="94">
                  <c:v>0.13735046521931768</c:v>
                </c:pt>
                <c:pt idx="95">
                  <c:v>0.1478503270076123</c:v>
                </c:pt>
                <c:pt idx="96">
                  <c:v>0.14983572540204046</c:v>
                </c:pt>
                <c:pt idx="97">
                  <c:v>0.1448043382676242</c:v>
                </c:pt>
                <c:pt idx="98">
                  <c:v>0.15628408288958748</c:v>
                </c:pt>
                <c:pt idx="99">
                  <c:v>0.1556851648668938</c:v>
                </c:pt>
                <c:pt idx="100">
                  <c:v>0.17040760657781934</c:v>
                </c:pt>
                <c:pt idx="101">
                  <c:v>0.14546495356824832</c:v>
                </c:pt>
                <c:pt idx="102">
                  <c:v>0.13494876586969132</c:v>
                </c:pt>
                <c:pt idx="103">
                  <c:v>0.1509997222993613</c:v>
                </c:pt>
                <c:pt idx="104">
                  <c:v>0.155755176613885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3034150227094682</c:v>
                </c:pt>
                <c:pt idx="1">
                  <c:v>0.13821098339741775</c:v>
                </c:pt>
                <c:pt idx="2">
                  <c:v>0.1420877113010306</c:v>
                </c:pt>
                <c:pt idx="3">
                  <c:v>0.14404615122290282</c:v>
                </c:pt>
                <c:pt idx="4">
                  <c:v>0.14429329835718188</c:v>
                </c:pt>
                <c:pt idx="5">
                  <c:v>0.1357956270608229</c:v>
                </c:pt>
                <c:pt idx="6">
                  <c:v>0.1311438470802767</c:v>
                </c:pt>
                <c:pt idx="7">
                  <c:v>0.12703701250555158</c:v>
                </c:pt>
                <c:pt idx="8">
                  <c:v>0.12589158471118653</c:v>
                </c:pt>
                <c:pt idx="9">
                  <c:v>0.11365517626618604</c:v>
                </c:pt>
                <c:pt idx="10">
                  <c:v>0.11910181572061306</c:v>
                </c:pt>
                <c:pt idx="11">
                  <c:v>0.13593506735834743</c:v>
                </c:pt>
                <c:pt idx="12">
                  <c:v>0.13234420931235155</c:v>
                </c:pt>
                <c:pt idx="13">
                  <c:v>0.1181155676241365</c:v>
                </c:pt>
                <c:pt idx="14">
                  <c:v>0.13032762458408054</c:v>
                </c:pt>
                <c:pt idx="15">
                  <c:v>0.1204371156333272</c:v>
                </c:pt>
                <c:pt idx="16">
                  <c:v>0.13090870767962529</c:v>
                </c:pt>
                <c:pt idx="17">
                  <c:v>0.13128867987376522</c:v>
                </c:pt>
                <c:pt idx="18">
                  <c:v>0.13109982402512457</c:v>
                </c:pt>
                <c:pt idx="19">
                  <c:v>0.12931280049875785</c:v>
                </c:pt>
                <c:pt idx="20">
                  <c:v>0.12027860767087409</c:v>
                </c:pt>
                <c:pt idx="21">
                  <c:v>0.11862590224315349</c:v>
                </c:pt>
                <c:pt idx="22">
                  <c:v>0.15598235670033264</c:v>
                </c:pt>
                <c:pt idx="23">
                  <c:v>0.1179638105798573</c:v>
                </c:pt>
                <c:pt idx="24">
                  <c:v>0.11401253862035879</c:v>
                </c:pt>
                <c:pt idx="25">
                  <c:v>0.12264562105256711</c:v>
                </c:pt>
                <c:pt idx="26">
                  <c:v>0.1205913835846302</c:v>
                </c:pt>
                <c:pt idx="27">
                  <c:v>0.13164183950145183</c:v>
                </c:pt>
                <c:pt idx="28">
                  <c:v>0.13563320020665431</c:v>
                </c:pt>
                <c:pt idx="29">
                  <c:v>0.13099618099942245</c:v>
                </c:pt>
                <c:pt idx="30">
                  <c:v>0.1282802843811462</c:v>
                </c:pt>
                <c:pt idx="31">
                  <c:v>0.12176883817020126</c:v>
                </c:pt>
                <c:pt idx="32">
                  <c:v>0.12100111794126886</c:v>
                </c:pt>
                <c:pt idx="33">
                  <c:v>0.12937550822180327</c:v>
                </c:pt>
                <c:pt idx="34">
                  <c:v>0.13333122481974174</c:v>
                </c:pt>
                <c:pt idx="35">
                  <c:v>0.1292443968469603</c:v>
                </c:pt>
                <c:pt idx="36">
                  <c:v>0.11875648509133087</c:v>
                </c:pt>
                <c:pt idx="37">
                  <c:v>0.11963872227890786</c:v>
                </c:pt>
                <c:pt idx="38">
                  <c:v>0.11911886480714191</c:v>
                </c:pt>
                <c:pt idx="39">
                  <c:v>0.12539799836906876</c:v>
                </c:pt>
                <c:pt idx="40">
                  <c:v>0.12954947213076523</c:v>
                </c:pt>
                <c:pt idx="41">
                  <c:v>0.12747344100229427</c:v>
                </c:pt>
                <c:pt idx="42">
                  <c:v>0.12702858966095</c:v>
                </c:pt>
                <c:pt idx="43">
                  <c:v>0.1324778229065762</c:v>
                </c:pt>
                <c:pt idx="44">
                  <c:v>0.13333742631172124</c:v>
                </c:pt>
                <c:pt idx="45">
                  <c:v>0.14280506113490432</c:v>
                </c:pt>
                <c:pt idx="46">
                  <c:v>0.13620470631780435</c:v>
                </c:pt>
                <c:pt idx="47">
                  <c:v>0.13591350849956918</c:v>
                </c:pt>
                <c:pt idx="48">
                  <c:v>0.1333878762531981</c:v>
                </c:pt>
                <c:pt idx="49">
                  <c:v>0.13077264384729823</c:v>
                </c:pt>
                <c:pt idx="50">
                  <c:v>0.13668600565032024</c:v>
                </c:pt>
                <c:pt idx="51">
                  <c:v>0.12445966481506401</c:v>
                </c:pt>
              </c:numCache>
            </c:numRef>
          </c:xVal>
          <c:yVal>
            <c:numRef>
              <c:f>Sheet1!$B$109:$B$160</c:f>
              <c:numCache>
                <c:formatCode>General</c:formatCode>
                <c:ptCount val="52"/>
                <c:pt idx="0">
                  <c:v>0.17426059152677859</c:v>
                </c:pt>
                <c:pt idx="1">
                  <c:v>0.16431742076162292</c:v>
                </c:pt>
                <c:pt idx="2">
                  <c:v>0.17060423825887744</c:v>
                </c:pt>
                <c:pt idx="3">
                  <c:v>0.17236204897346702</c:v>
                </c:pt>
                <c:pt idx="4">
                  <c:v>0.16263736263736264</c:v>
                </c:pt>
                <c:pt idx="5">
                  <c:v>0.14951032198971323</c:v>
                </c:pt>
                <c:pt idx="6">
                  <c:v>0.13346288379323745</c:v>
                </c:pt>
                <c:pt idx="7">
                  <c:v>0.12609065758672058</c:v>
                </c:pt>
                <c:pt idx="8">
                  <c:v>0.13813025210084034</c:v>
                </c:pt>
                <c:pt idx="9">
                  <c:v>0.1473429951690821</c:v>
                </c:pt>
                <c:pt idx="10">
                  <c:v>0.15446789402784014</c:v>
                </c:pt>
                <c:pt idx="11">
                  <c:v>0.1449075140072147</c:v>
                </c:pt>
                <c:pt idx="12">
                  <c:v>0.15228900654001867</c:v>
                </c:pt>
                <c:pt idx="13">
                  <c:v>0.16745934335685794</c:v>
                </c:pt>
                <c:pt idx="14">
                  <c:v>0.15208279873406894</c:v>
                </c:pt>
                <c:pt idx="15">
                  <c:v>0.16133059841255684</c:v>
                </c:pt>
                <c:pt idx="16">
                  <c:v>0.14426034328802462</c:v>
                </c:pt>
                <c:pt idx="17">
                  <c:v>0.13033272096346193</c:v>
                </c:pt>
                <c:pt idx="18">
                  <c:v>0.14128664495114007</c:v>
                </c:pt>
                <c:pt idx="19">
                  <c:v>0.1602713824936047</c:v>
                </c:pt>
                <c:pt idx="20">
                  <c:v>0.14584607855132753</c:v>
                </c:pt>
                <c:pt idx="21">
                  <c:v>0.14382130805077936</c:v>
                </c:pt>
                <c:pt idx="22">
                  <c:v>0.14724121481952615</c:v>
                </c:pt>
                <c:pt idx="23">
                  <c:v>0.1690320523042577</c:v>
                </c:pt>
                <c:pt idx="24">
                  <c:v>0.16953979913056513</c:v>
                </c:pt>
                <c:pt idx="25">
                  <c:v>0.15811023622047243</c:v>
                </c:pt>
                <c:pt idx="26">
                  <c:v>0.14966740576496673</c:v>
                </c:pt>
                <c:pt idx="27">
                  <c:v>0.14160184384903485</c:v>
                </c:pt>
                <c:pt idx="28">
                  <c:v>0.13394495412844037</c:v>
                </c:pt>
                <c:pt idx="29">
                  <c:v>0.13297451321829984</c:v>
                </c:pt>
                <c:pt idx="30">
                  <c:v>0.1478966545213647</c:v>
                </c:pt>
                <c:pt idx="31">
                  <c:v>0.13251649387370407</c:v>
                </c:pt>
                <c:pt idx="32">
                  <c:v>0.12795010114632502</c:v>
                </c:pt>
                <c:pt idx="33">
                  <c:v>0.14974874371859295</c:v>
                </c:pt>
                <c:pt idx="34">
                  <c:v>0.17448064479509592</c:v>
                </c:pt>
                <c:pt idx="35">
                  <c:v>0.1884363006066609</c:v>
                </c:pt>
                <c:pt idx="36">
                  <c:v>0.1548663936024966</c:v>
                </c:pt>
                <c:pt idx="37">
                  <c:v>0.15599931728963987</c:v>
                </c:pt>
                <c:pt idx="38">
                  <c:v>0.14588601439408674</c:v>
                </c:pt>
                <c:pt idx="39">
                  <c:v>0.17300596082883907</c:v>
                </c:pt>
                <c:pt idx="40">
                  <c:v>0.16146916146916146</c:v>
                </c:pt>
                <c:pt idx="41">
                  <c:v>0.17017430600387345</c:v>
                </c:pt>
                <c:pt idx="42">
                  <c:v>0.15789473684210525</c:v>
                </c:pt>
                <c:pt idx="43">
                  <c:v>0.16773659142679645</c:v>
                </c:pt>
                <c:pt idx="44">
                  <c:v>0.1599419943700418</c:v>
                </c:pt>
                <c:pt idx="45">
                  <c:v>0.16267975192530498</c:v>
                </c:pt>
                <c:pt idx="46">
                  <c:v>0.16652705645836824</c:v>
                </c:pt>
                <c:pt idx="47">
                  <c:v>0.1659030624547866</c:v>
                </c:pt>
                <c:pt idx="48">
                  <c:v>0.17166175159454083</c:v>
                </c:pt>
                <c:pt idx="49">
                  <c:v>0.18768242848803268</c:v>
                </c:pt>
                <c:pt idx="50">
                  <c:v>0.21325828642901815</c:v>
                </c:pt>
                <c:pt idx="51">
                  <c:v>0.19118963767683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000395344178104</c:v>
                </c:pt>
              </c:numCache>
            </c:numRef>
          </c:xVal>
          <c:yVal>
            <c:numRef>
              <c:f>Sheet1!$B$163:$B$164</c:f>
              <c:numCache>
                <c:formatCode>General</c:formatCode>
                <c:ptCount val="2"/>
                <c:pt idx="0">
                  <c:v>0.20730646650796047</c:v>
                </c:pt>
                <c:pt idx="1">
                  <c:v>0.2073064665079604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000395344178104</c:v>
                </c:pt>
                <c:pt idx="1">
                  <c:v>0.3000395344178104</c:v>
                </c:pt>
              </c:numCache>
            </c:numRef>
          </c:xVal>
          <c:yVal>
            <c:numRef>
              <c:f>Sheet1!$B$167:$B$168</c:f>
              <c:numCache>
                <c:formatCode>General</c:formatCode>
                <c:ptCount val="2"/>
                <c:pt idx="0">
                  <c:v>0.207306466507960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4442566033209043</c:v>
                </c:pt>
              </c:numCache>
            </c:numRef>
          </c:xVal>
          <c:yVal>
            <c:numRef>
              <c:f>Sheet1!$B$171:$B$172</c:f>
              <c:numCache>
                <c:formatCode>General</c:formatCode>
                <c:ptCount val="2"/>
                <c:pt idx="0">
                  <c:v>0.19094802604710642</c:v>
                </c:pt>
                <c:pt idx="1">
                  <c:v>0.1909480260471064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4442566033209043</c:v>
                </c:pt>
                <c:pt idx="1">
                  <c:v>0.24442566033209043</c:v>
                </c:pt>
              </c:numCache>
            </c:numRef>
          </c:xVal>
          <c:yVal>
            <c:numRef>
              <c:f>Sheet1!$B$175:$B$176</c:f>
              <c:numCache>
                <c:formatCode>General</c:formatCode>
                <c:ptCount val="2"/>
                <c:pt idx="0">
                  <c:v>0.1909480260471064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834402817700841</c:v>
                </c:pt>
              </c:numCache>
            </c:numRef>
          </c:xVal>
          <c:yVal>
            <c:numRef>
              <c:f>Sheet1!$B$179:$B$180</c:f>
              <c:numCache>
                <c:formatCode>General</c:formatCode>
                <c:ptCount val="2"/>
                <c:pt idx="0">
                  <c:v>0.17300959430520793</c:v>
                </c:pt>
                <c:pt idx="1">
                  <c:v>0.1730095943052079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834402817700841</c:v>
                </c:pt>
                <c:pt idx="1">
                  <c:v>0.1834402817700841</c:v>
                </c:pt>
              </c:numCache>
            </c:numRef>
          </c:xVal>
          <c:yVal>
            <c:numRef>
              <c:f>Sheet1!$B$183:$B$184</c:f>
              <c:numCache>
                <c:formatCode>General</c:formatCode>
                <c:ptCount val="2"/>
                <c:pt idx="0">
                  <c:v>0.173009594305207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3034150227094682</c:v>
                </c:pt>
                <c:pt idx="1">
                  <c:v>0.13821098339741775</c:v>
                </c:pt>
                <c:pt idx="2">
                  <c:v>0.1420877113010306</c:v>
                </c:pt>
                <c:pt idx="3">
                  <c:v>0.14404615122290282</c:v>
                </c:pt>
                <c:pt idx="4">
                  <c:v>0.14429329835718188</c:v>
                </c:pt>
                <c:pt idx="5">
                  <c:v>0.1357956270608229</c:v>
                </c:pt>
                <c:pt idx="6">
                  <c:v>0.1311438470802767</c:v>
                </c:pt>
                <c:pt idx="7">
                  <c:v>0.12703701250555158</c:v>
                </c:pt>
                <c:pt idx="8">
                  <c:v>0.12589158471118653</c:v>
                </c:pt>
                <c:pt idx="9">
                  <c:v>0.11365517626618604</c:v>
                </c:pt>
                <c:pt idx="10">
                  <c:v>0.11910181572061306</c:v>
                </c:pt>
                <c:pt idx="11">
                  <c:v>0.13593506735834743</c:v>
                </c:pt>
                <c:pt idx="12">
                  <c:v>0.13234420931235155</c:v>
                </c:pt>
                <c:pt idx="13">
                  <c:v>0.1181155676241365</c:v>
                </c:pt>
                <c:pt idx="14">
                  <c:v>0.13032762458408054</c:v>
                </c:pt>
                <c:pt idx="15">
                  <c:v>0.1204371156333272</c:v>
                </c:pt>
                <c:pt idx="16">
                  <c:v>0.13090870767962529</c:v>
                </c:pt>
                <c:pt idx="17">
                  <c:v>0.13128867987376522</c:v>
                </c:pt>
                <c:pt idx="18">
                  <c:v>0.13109982402512457</c:v>
                </c:pt>
                <c:pt idx="19">
                  <c:v>0.12931280049875785</c:v>
                </c:pt>
                <c:pt idx="20">
                  <c:v>0.12027860767087409</c:v>
                </c:pt>
                <c:pt idx="21">
                  <c:v>0.11862590224315349</c:v>
                </c:pt>
                <c:pt idx="22">
                  <c:v>0.15598235670033264</c:v>
                </c:pt>
                <c:pt idx="23">
                  <c:v>0.1179638105798573</c:v>
                </c:pt>
                <c:pt idx="24">
                  <c:v>0.11401253862035879</c:v>
                </c:pt>
                <c:pt idx="25">
                  <c:v>0.12264562105256711</c:v>
                </c:pt>
                <c:pt idx="26">
                  <c:v>0.1205913835846302</c:v>
                </c:pt>
                <c:pt idx="27">
                  <c:v>0.13164183950145183</c:v>
                </c:pt>
                <c:pt idx="28">
                  <c:v>0.13563320020665431</c:v>
                </c:pt>
                <c:pt idx="29">
                  <c:v>0.13099618099942245</c:v>
                </c:pt>
                <c:pt idx="30">
                  <c:v>0.1282802843811462</c:v>
                </c:pt>
                <c:pt idx="31">
                  <c:v>0.12176883817020126</c:v>
                </c:pt>
                <c:pt idx="32">
                  <c:v>0.12100111794126886</c:v>
                </c:pt>
                <c:pt idx="33">
                  <c:v>0.12937550822180327</c:v>
                </c:pt>
                <c:pt idx="34">
                  <c:v>0.13333122481974174</c:v>
                </c:pt>
                <c:pt idx="35">
                  <c:v>0.1292443968469603</c:v>
                </c:pt>
                <c:pt idx="36">
                  <c:v>0.11875648509133087</c:v>
                </c:pt>
                <c:pt idx="37">
                  <c:v>0.11963872227890786</c:v>
                </c:pt>
                <c:pt idx="38">
                  <c:v>0.11911886480714191</c:v>
                </c:pt>
                <c:pt idx="39">
                  <c:v>0.12539799836906876</c:v>
                </c:pt>
                <c:pt idx="40">
                  <c:v>0.12954947213076523</c:v>
                </c:pt>
                <c:pt idx="41">
                  <c:v>0.12747344100229427</c:v>
                </c:pt>
                <c:pt idx="42">
                  <c:v>0.12702858966095</c:v>
                </c:pt>
                <c:pt idx="43">
                  <c:v>0.1324778229065762</c:v>
                </c:pt>
                <c:pt idx="44">
                  <c:v>0.13333742631172124</c:v>
                </c:pt>
                <c:pt idx="45">
                  <c:v>0.14280506113490432</c:v>
                </c:pt>
                <c:pt idx="46">
                  <c:v>0.13620470631780435</c:v>
                </c:pt>
                <c:pt idx="47">
                  <c:v>0.13591350849956918</c:v>
                </c:pt>
                <c:pt idx="48">
                  <c:v>0.1333878762531981</c:v>
                </c:pt>
                <c:pt idx="49">
                  <c:v>0.13077264384729823</c:v>
                </c:pt>
                <c:pt idx="50">
                  <c:v>0.13668600565032024</c:v>
                </c:pt>
                <c:pt idx="51">
                  <c:v>0.12445966481506401</c:v>
                </c:pt>
                <c:pt idx="52">
                  <c:v>0.24442566033209043</c:v>
                </c:pt>
                <c:pt idx="53">
                  <c:v>0.3000395344178104</c:v>
                </c:pt>
                <c:pt idx="54">
                  <c:v>0.1834402817700841</c:v>
                </c:pt>
              </c:numCache>
            </c:numRef>
          </c:xVal>
          <c:yVal>
            <c:numRef>
              <c:f>Sheet1!$B$187:$B$241</c:f>
              <c:numCache>
                <c:formatCode>General</c:formatCode>
                <c:ptCount val="55"/>
                <c:pt idx="0">
                  <c:v>0.15739095170458953</c:v>
                </c:pt>
                <c:pt idx="1">
                  <c:v>0.15970570572202714</c:v>
                </c:pt>
                <c:pt idx="2">
                  <c:v>0.16084601870393583</c:v>
                </c:pt>
                <c:pt idx="3">
                  <c:v>0.16142208040409228</c:v>
                </c:pt>
                <c:pt idx="4">
                  <c:v>0.16149477704225387</c:v>
                </c:pt>
                <c:pt idx="5">
                  <c:v>0.15899524518545252</c:v>
                </c:pt>
                <c:pt idx="6">
                  <c:v>0.15762695593929305</c:v>
                </c:pt>
                <c:pt idx="7">
                  <c:v>0.1564189586548444</c:v>
                </c:pt>
                <c:pt idx="8">
                  <c:v>0.15608203890803002</c:v>
                </c:pt>
                <c:pt idx="9">
                  <c:v>0.15248278310553542</c:v>
                </c:pt>
                <c:pt idx="10">
                  <c:v>0.15408487482620303</c:v>
                </c:pt>
                <c:pt idx="11">
                  <c:v>0.15903626059468984</c:v>
                </c:pt>
                <c:pt idx="12">
                  <c:v>0.15798003427500812</c:v>
                </c:pt>
                <c:pt idx="13">
                  <c:v>0.1537947766981536</c:v>
                </c:pt>
                <c:pt idx="14">
                  <c:v>0.15738686967797172</c:v>
                </c:pt>
                <c:pt idx="15">
                  <c:v>0.15447764415721293</c:v>
                </c:pt>
                <c:pt idx="16">
                  <c:v>0.15755779129380137</c:v>
                </c:pt>
                <c:pt idx="17">
                  <c:v>0.15766955751431386</c:v>
                </c:pt>
                <c:pt idx="18">
                  <c:v>0.1576140068588981</c:v>
                </c:pt>
                <c:pt idx="19">
                  <c:v>0.15708836611836707</c:v>
                </c:pt>
                <c:pt idx="20">
                  <c:v>0.15443102012482915</c:v>
                </c:pt>
                <c:pt idx="21">
                  <c:v>0.1539448881337899</c:v>
                </c:pt>
                <c:pt idx="22">
                  <c:v>0.1649330335581577</c:v>
                </c:pt>
                <c:pt idx="23">
                  <c:v>0.15375013840214982</c:v>
                </c:pt>
                <c:pt idx="24">
                  <c:v>0.1525878987963552</c:v>
                </c:pt>
                <c:pt idx="25">
                  <c:v>0.15512726091206128</c:v>
                </c:pt>
                <c:pt idx="26">
                  <c:v>0.15452302101933404</c:v>
                </c:pt>
                <c:pt idx="27">
                  <c:v>0.15777343700189972</c:v>
                </c:pt>
                <c:pt idx="28">
                  <c:v>0.15894746843789012</c:v>
                </c:pt>
                <c:pt idx="29">
                  <c:v>0.1575835209721836</c:v>
                </c:pt>
                <c:pt idx="30">
                  <c:v>0.15678465856854257</c:v>
                </c:pt>
                <c:pt idx="31">
                  <c:v>0.15486936122760178</c:v>
                </c:pt>
                <c:pt idx="32">
                  <c:v>0.15464354157626392</c:v>
                </c:pt>
                <c:pt idx="33">
                  <c:v>0.15710681116595165</c:v>
                </c:pt>
                <c:pt idx="34">
                  <c:v>0.15827035813172588</c:v>
                </c:pt>
                <c:pt idx="35">
                  <c:v>0.15706824565232097</c:v>
                </c:pt>
                <c:pt idx="36">
                  <c:v>0.15398329818491896</c:v>
                </c:pt>
                <c:pt idx="37">
                  <c:v>0.154242802215929</c:v>
                </c:pt>
                <c:pt idx="38">
                  <c:v>0.15408988969832765</c:v>
                </c:pt>
                <c:pt idx="39">
                  <c:v>0.15593685386342443</c:v>
                </c:pt>
                <c:pt idx="40">
                  <c:v>0.15715798145922608</c:v>
                </c:pt>
                <c:pt idx="41">
                  <c:v>0.15654733111040076</c:v>
                </c:pt>
                <c:pt idx="42">
                  <c:v>0.15641648113274778</c:v>
                </c:pt>
                <c:pt idx="43">
                  <c:v>0.15801933579934566</c:v>
                </c:pt>
                <c:pt idx="44">
                  <c:v>0.15827218225815087</c:v>
                </c:pt>
                <c:pt idx="45">
                  <c:v>0.1610570222482841</c:v>
                </c:pt>
                <c:pt idx="46">
                  <c:v>0.15911557304930152</c:v>
                </c:pt>
                <c:pt idx="47">
                  <c:v>0.15902991920392134</c:v>
                </c:pt>
                <c:pt idx="48">
                  <c:v>0.1582870217631749</c:v>
                </c:pt>
                <c:pt idx="49">
                  <c:v>0.15751776904869458</c:v>
                </c:pt>
                <c:pt idx="50">
                  <c:v>0.1592571439541206</c:v>
                </c:pt>
                <c:pt idx="51">
                  <c:v>0.15566084947013314</c:v>
                </c:pt>
                <c:pt idx="52">
                  <c:v>0.19094802604710642</c:v>
                </c:pt>
                <c:pt idx="53">
                  <c:v>0.20730646650796047</c:v>
                </c:pt>
                <c:pt idx="54">
                  <c:v>0.173009594305207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805270863836015"/>
          <c:min val="0.1008725260693764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3.2386</c:v>
                </c:pt>
                <c:pt idx="1">
                  <c:v>896.6965</c:v>
                </c:pt>
                <c:pt idx="2">
                  <c:v>928.5589</c:v>
                </c:pt>
                <c:pt idx="3">
                  <c:v>942.7237</c:v>
                </c:pt>
                <c:pt idx="4">
                  <c:v>945.7975</c:v>
                </c:pt>
                <c:pt idx="5">
                  <c:v>935.5882</c:v>
                </c:pt>
                <c:pt idx="6">
                  <c:v>884.1472</c:v>
                </c:pt>
                <c:pt idx="7">
                  <c:v>897.8413</c:v>
                </c:pt>
                <c:pt idx="8">
                  <c:v>904.6086</c:v>
                </c:pt>
                <c:pt idx="9">
                  <c:v>880.8383</c:v>
                </c:pt>
                <c:pt idx="10">
                  <c:v>880.0421</c:v>
                </c:pt>
                <c:pt idx="11">
                  <c:v>956.1265</c:v>
                </c:pt>
                <c:pt idx="12">
                  <c:v>963.0023</c:v>
                </c:pt>
                <c:pt idx="13">
                  <c:v>968.2959</c:v>
                </c:pt>
                <c:pt idx="14">
                  <c:v>993.2594</c:v>
                </c:pt>
                <c:pt idx="15">
                  <c:v>1014.2748</c:v>
                </c:pt>
                <c:pt idx="16">
                  <c:v>1037.7775</c:v>
                </c:pt>
                <c:pt idx="17">
                  <c:v>1063.6838</c:v>
                </c:pt>
                <c:pt idx="18">
                  <c:v>1105.8466</c:v>
                </c:pt>
                <c:pt idx="19">
                  <c:v>1107.3668</c:v>
                </c:pt>
                <c:pt idx="20">
                  <c:v>1130.3009</c:v>
                </c:pt>
                <c:pt idx="21">
                  <c:v>1135.8317</c:v>
                </c:pt>
                <c:pt idx="22">
                  <c:v>1081.188</c:v>
                </c:pt>
                <c:pt idx="23">
                  <c:v>1072.0906</c:v>
                </c:pt>
                <c:pt idx="24">
                  <c:v>1068.6541</c:v>
                </c:pt>
                <c:pt idx="25">
                  <c:v>1043.0818</c:v>
                </c:pt>
                <c:pt idx="26">
                  <c:v>1030.1618</c:v>
                </c:pt>
                <c:pt idx="27">
                  <c:v>1037.8648</c:v>
                </c:pt>
                <c:pt idx="28">
                  <c:v>1039.0761</c:v>
                </c:pt>
                <c:pt idx="29">
                  <c:v>1027.6133</c:v>
                </c:pt>
                <c:pt idx="30">
                  <c:v>1029.1022</c:v>
                </c:pt>
                <c:pt idx="31">
                  <c:v>999.1074</c:v>
                </c:pt>
                <c:pt idx="32">
                  <c:v>993.5955</c:v>
                </c:pt>
                <c:pt idx="33">
                  <c:v>948.7943</c:v>
                </c:pt>
                <c:pt idx="34">
                  <c:v>968.185</c:v>
                </c:pt>
                <c:pt idx="35">
                  <c:v>994.3876</c:v>
                </c:pt>
                <c:pt idx="36">
                  <c:v>1078.8004</c:v>
                </c:pt>
                <c:pt idx="37">
                  <c:v>1081.1229</c:v>
                </c:pt>
                <c:pt idx="38">
                  <c:v>1154.6211</c:v>
                </c:pt>
                <c:pt idx="39">
                  <c:v>1172.5237</c:v>
                </c:pt>
                <c:pt idx="40">
                  <c:v>1156.4118</c:v>
                </c:pt>
                <c:pt idx="41">
                  <c:v>1198.1453</c:v>
                </c:pt>
                <c:pt idx="42">
                  <c:v>1220.7491</c:v>
                </c:pt>
                <c:pt idx="43">
                  <c:v>1228.2043</c:v>
                </c:pt>
                <c:pt idx="44">
                  <c:v>1146.632</c:v>
                </c:pt>
                <c:pt idx="45">
                  <c:v>1110.1814</c:v>
                </c:pt>
                <c:pt idx="46">
                  <c:v>1111.8008</c:v>
                </c:pt>
                <c:pt idx="47">
                  <c:v>1098.5989</c:v>
                </c:pt>
                <c:pt idx="48">
                  <c:v>1105.273</c:v>
                </c:pt>
                <c:pt idx="49">
                  <c:v>1066.4432</c:v>
                </c:pt>
                <c:pt idx="50">
                  <c:v>1063.8339</c:v>
                </c:pt>
                <c:pt idx="51">
                  <c:v>1086.7568</c:v>
                </c:pt>
                <c:pt idx="52">
                  <c:v>1083.3468</c:v>
                </c:pt>
                <c:pt idx="53">
                  <c:v>1156.7515</c:v>
                </c:pt>
                <c:pt idx="54">
                  <c:v>1145.6796</c:v>
                </c:pt>
                <c:pt idx="55">
                  <c:v>1165.1884</c:v>
                </c:pt>
                <c:pt idx="56">
                  <c:v>1183.7589</c:v>
                </c:pt>
                <c:pt idx="57">
                  <c:v>1141.9312</c:v>
                </c:pt>
                <c:pt idx="58">
                  <c:v>1131.529</c:v>
                </c:pt>
                <c:pt idx="59">
                  <c:v>1102.1434</c:v>
                </c:pt>
                <c:pt idx="60">
                  <c:v>1121.7126</c:v>
                </c:pt>
                <c:pt idx="61">
                  <c:v>1161.0952</c:v>
                </c:pt>
                <c:pt idx="62">
                  <c:v>1111.6605</c:v>
                </c:pt>
                <c:pt idx="63">
                  <c:v>1132.6137</c:v>
                </c:pt>
                <c:pt idx="64">
                  <c:v>1149.677</c:v>
                </c:pt>
                <c:pt idx="65">
                  <c:v>1141.021</c:v>
                </c:pt>
                <c:pt idx="66">
                  <c:v>1146.0898</c:v>
                </c:pt>
                <c:pt idx="67">
                  <c:v>1168.4452</c:v>
                </c:pt>
                <c:pt idx="68">
                  <c:v>1202.0893</c:v>
                </c:pt>
                <c:pt idx="69">
                  <c:v>1228.9542</c:v>
                </c:pt>
                <c:pt idx="70">
                  <c:v>1208.609</c:v>
                </c:pt>
                <c:pt idx="71">
                  <c:v>1270.5129</c:v>
                </c:pt>
                <c:pt idx="72">
                  <c:v>1354.2837</c:v>
                </c:pt>
                <c:pt idx="73">
                  <c:v>1330.9523</c:v>
                </c:pt>
                <c:pt idx="74">
                  <c:v>1318.6637</c:v>
                </c:pt>
                <c:pt idx="75">
                  <c:v>1258.4092</c:v>
                </c:pt>
                <c:pt idx="76">
                  <c:v>1240.4889</c:v>
                </c:pt>
                <c:pt idx="77">
                  <c:v>1242.4356</c:v>
                </c:pt>
                <c:pt idx="78">
                  <c:v>1325.8699</c:v>
                </c:pt>
                <c:pt idx="79">
                  <c:v>1275.5689</c:v>
                </c:pt>
                <c:pt idx="80">
                  <c:v>1288.9738</c:v>
                </c:pt>
                <c:pt idx="81">
                  <c:v>1249.1449</c:v>
                </c:pt>
                <c:pt idx="82">
                  <c:v>1262.5928</c:v>
                </c:pt>
                <c:pt idx="83">
                  <c:v>1211.8876</c:v>
                </c:pt>
                <c:pt idx="84">
                  <c:v>1238.563</c:v>
                </c:pt>
                <c:pt idx="85">
                  <c:v>1221.3424</c:v>
                </c:pt>
                <c:pt idx="86">
                  <c:v>1233.9468</c:v>
                </c:pt>
                <c:pt idx="87">
                  <c:v>1227.7755</c:v>
                </c:pt>
                <c:pt idx="88">
                  <c:v>1277.624</c:v>
                </c:pt>
                <c:pt idx="89">
                  <c:v>1267.4514</c:v>
                </c:pt>
                <c:pt idx="90">
                  <c:v>1334.2762</c:v>
                </c:pt>
                <c:pt idx="91">
                  <c:v>1338.041</c:v>
                </c:pt>
                <c:pt idx="92">
                  <c:v>1269.8163</c:v>
                </c:pt>
                <c:pt idx="93">
                  <c:v>1309.9029</c:v>
                </c:pt>
                <c:pt idx="94">
                  <c:v>1278.5086</c:v>
                </c:pt>
                <c:pt idx="95">
                  <c:v>1237.5853</c:v>
                </c:pt>
                <c:pt idx="96">
                  <c:v>1226.2672</c:v>
                </c:pt>
                <c:pt idx="97">
                  <c:v>1199.236</c:v>
                </c:pt>
                <c:pt idx="98">
                  <c:v>1181.7663</c:v>
                </c:pt>
                <c:pt idx="99">
                  <c:v>1141.3624</c:v>
                </c:pt>
                <c:pt idx="100">
                  <c:v>1136.2704</c:v>
                </c:pt>
                <c:pt idx="101">
                  <c:v>1141.85</c:v>
                </c:pt>
                <c:pt idx="102">
                  <c:v>1158.5215</c:v>
                </c:pt>
                <c:pt idx="103">
                  <c:v>1158.4112</c:v>
                </c:pt>
                <c:pt idx="104">
                  <c:v>1214.563</c:v>
                </c:pt>
              </c:numCache>
            </c:numRef>
          </c:xVal>
          <c:yVal>
            <c:numRef>
              <c:f>Sheet1!$B$2:$B$106</c:f>
              <c:numCache>
                <c:formatCode>General</c:formatCode>
                <c:ptCount val="105"/>
                <c:pt idx="0">
                  <c:v>0.4656209924040643</c:v>
                </c:pt>
                <c:pt idx="1">
                  <c:v>0.5020080321285141</c:v>
                </c:pt>
                <c:pt idx="2">
                  <c:v>0.5358538267065043</c:v>
                </c:pt>
                <c:pt idx="3">
                  <c:v>0.5432300163132137</c:v>
                </c:pt>
                <c:pt idx="4">
                  <c:v>0.5310869871704498</c:v>
                </c:pt>
                <c:pt idx="5">
                  <c:v>0.5077170849550396</c:v>
                </c:pt>
                <c:pt idx="6">
                  <c:v>0.5198478725932969</c:v>
                </c:pt>
                <c:pt idx="7">
                  <c:v>0.5413985413985414</c:v>
                </c:pt>
                <c:pt idx="8">
                  <c:v>0.5266615737203972</c:v>
                </c:pt>
                <c:pt idx="9">
                  <c:v>0.5055350553505535</c:v>
                </c:pt>
                <c:pt idx="10">
                  <c:v>0.48268817204301073</c:v>
                </c:pt>
                <c:pt idx="11">
                  <c:v>0.4288003663003663</c:v>
                </c:pt>
                <c:pt idx="12">
                  <c:v>0.4078597981943707</c:v>
                </c:pt>
                <c:pt idx="13">
                  <c:v>0.3852669954964615</c:v>
                </c:pt>
                <c:pt idx="14">
                  <c:v>0.36181619256017505</c:v>
                </c:pt>
                <c:pt idx="15">
                  <c:v>0.3657587548638132</c:v>
                </c:pt>
                <c:pt idx="16">
                  <c:v>0.35026081620128874</c:v>
                </c:pt>
                <c:pt idx="17">
                  <c:v>0.3487881981032666</c:v>
                </c:pt>
                <c:pt idx="18">
                  <c:v>0.34431021044427124</c:v>
                </c:pt>
                <c:pt idx="19">
                  <c:v>0.3570285714285714</c:v>
                </c:pt>
                <c:pt idx="20">
                  <c:v>0.35496110794915575</c:v>
                </c:pt>
                <c:pt idx="21">
                  <c:v>0.4081329035457476</c:v>
                </c:pt>
                <c:pt idx="22">
                  <c:v>0.45787545787545786</c:v>
                </c:pt>
                <c:pt idx="23">
                  <c:v>0.46746411483253586</c:v>
                </c:pt>
                <c:pt idx="24">
                  <c:v>0.47975215755698164</c:v>
                </c:pt>
                <c:pt idx="25">
                  <c:v>0.48357391737182676</c:v>
                </c:pt>
                <c:pt idx="26">
                  <c:v>0.4870477413830015</c:v>
                </c:pt>
                <c:pt idx="27">
                  <c:v>0.46853569987898347</c:v>
                </c:pt>
                <c:pt idx="28">
                  <c:v>0.4591639871382637</c:v>
                </c:pt>
                <c:pt idx="29">
                  <c:v>0.4572017231691328</c:v>
                </c:pt>
                <c:pt idx="30">
                  <c:v>0.4680952380952381</c:v>
                </c:pt>
                <c:pt idx="31">
                  <c:v>0.480642970341861</c:v>
                </c:pt>
                <c:pt idx="32">
                  <c:v>0.49521422060164083</c:v>
                </c:pt>
                <c:pt idx="33">
                  <c:v>0.4971641261963843</c:v>
                </c:pt>
                <c:pt idx="34">
                  <c:v>0.46928968313560593</c:v>
                </c:pt>
                <c:pt idx="35">
                  <c:v>0.45300581771170007</c:v>
                </c:pt>
                <c:pt idx="36">
                  <c:v>0.42409598400266624</c:v>
                </c:pt>
                <c:pt idx="37">
                  <c:v>0.4296724470134875</c:v>
                </c:pt>
                <c:pt idx="38">
                  <c:v>0.41657966172478594</c:v>
                </c:pt>
                <c:pt idx="39">
                  <c:v>0.4021879021879022</c:v>
                </c:pt>
                <c:pt idx="40">
                  <c:v>0.41426827141112854</c:v>
                </c:pt>
                <c:pt idx="41">
                  <c:v>0.40322902132748656</c:v>
                </c:pt>
                <c:pt idx="42">
                  <c:v>0.4000685048809728</c:v>
                </c:pt>
                <c:pt idx="43">
                  <c:v>0.39660277388187626</c:v>
                </c:pt>
                <c:pt idx="44">
                  <c:v>0.3877005347593583</c:v>
                </c:pt>
                <c:pt idx="45">
                  <c:v>0.40102742563592675</c:v>
                </c:pt>
                <c:pt idx="46">
                  <c:v>0.40256994144437214</c:v>
                </c:pt>
                <c:pt idx="47">
                  <c:v>0.39088328602437805</c:v>
                </c:pt>
                <c:pt idx="48">
                  <c:v>0.39224559686888455</c:v>
                </c:pt>
                <c:pt idx="49">
                  <c:v>0.415524729097272</c:v>
                </c:pt>
                <c:pt idx="50">
                  <c:v>0.40365966776288054</c:v>
                </c:pt>
                <c:pt idx="51">
                  <c:v>0.3969124063094306</c:v>
                </c:pt>
                <c:pt idx="52">
                  <c:v>0.4093322157027103</c:v>
                </c:pt>
                <c:pt idx="53">
                  <c:v>0.4118544600938967</c:v>
                </c:pt>
                <c:pt idx="54">
                  <c:v>0.42954964445614957</c:v>
                </c:pt>
                <c:pt idx="55">
                  <c:v>0.4230409825123482</c:v>
                </c:pt>
                <c:pt idx="56">
                  <c:v>0.43329989969909727</c:v>
                </c:pt>
                <c:pt idx="57">
                  <c:v>0.435274302213667</c:v>
                </c:pt>
                <c:pt idx="58">
                  <c:v>0.43751990657182294</c:v>
                </c:pt>
                <c:pt idx="59">
                  <c:v>0.4555774590442526</c:v>
                </c:pt>
                <c:pt idx="60">
                  <c:v>0.46228456315750205</c:v>
                </c:pt>
                <c:pt idx="61">
                  <c:v>0.4435924369747899</c:v>
                </c:pt>
                <c:pt idx="62">
                  <c:v>0.446161369193154</c:v>
                </c:pt>
                <c:pt idx="63">
                  <c:v>0.4603357910633384</c:v>
                </c:pt>
                <c:pt idx="64">
                  <c:v>0.41445925426016533</c:v>
                </c:pt>
                <c:pt idx="65">
                  <c:v>0.3919057855874381</c:v>
                </c:pt>
                <c:pt idx="66">
                  <c:v>0.40365287978353304</c:v>
                </c:pt>
                <c:pt idx="67">
                  <c:v>0.3912951616311008</c:v>
                </c:pt>
                <c:pt idx="68">
                  <c:v>0.381054036024016</c:v>
                </c:pt>
                <c:pt idx="69">
                  <c:v>0.3703767123287671</c:v>
                </c:pt>
                <c:pt idx="70">
                  <c:v>0.3760556383507203</c:v>
                </c:pt>
                <c:pt idx="71">
                  <c:v>0.39188427578433216</c:v>
                </c:pt>
                <c:pt idx="72">
                  <c:v>0.36929460580912865</c:v>
                </c:pt>
                <c:pt idx="73">
                  <c:v>0.39154984423676015</c:v>
                </c:pt>
                <c:pt idx="74">
                  <c:v>0.3922312556458898</c:v>
                </c:pt>
                <c:pt idx="75">
                  <c:v>0.4071747061207945</c:v>
                </c:pt>
                <c:pt idx="76">
                  <c:v>0.4070307318151669</c:v>
                </c:pt>
                <c:pt idx="77">
                  <c:v>0.40476190476190477</c:v>
                </c:pt>
                <c:pt idx="78">
                  <c:v>0.38565488565488565</c:v>
                </c:pt>
                <c:pt idx="79">
                  <c:v>0.3820810618630007</c:v>
                </c:pt>
                <c:pt idx="80">
                  <c:v>0.36182994454713496</c:v>
                </c:pt>
                <c:pt idx="81">
                  <c:v>0.3755707762557078</c:v>
                </c:pt>
                <c:pt idx="82">
                  <c:v>0.37569199798691494</c:v>
                </c:pt>
                <c:pt idx="83">
                  <c:v>0.3840434658278524</c:v>
                </c:pt>
                <c:pt idx="84">
                  <c:v>0.3814636903079966</c:v>
                </c:pt>
                <c:pt idx="85">
                  <c:v>0.3962217860647694</c:v>
                </c:pt>
                <c:pt idx="86">
                  <c:v>0.38717128642501775</c:v>
                </c:pt>
                <c:pt idx="87">
                  <c:v>0.39503386004514673</c:v>
                </c:pt>
                <c:pt idx="88">
                  <c:v>0.39035836177474403</c:v>
                </c:pt>
                <c:pt idx="89">
                  <c:v>0.4000483442107808</c:v>
                </c:pt>
                <c:pt idx="90">
                  <c:v>0.38532799198798195</c:v>
                </c:pt>
                <c:pt idx="91">
                  <c:v>0.36058174523570713</c:v>
                </c:pt>
                <c:pt idx="92">
                  <c:v>0.3607016234372084</c:v>
                </c:pt>
                <c:pt idx="93">
                  <c:v>0.34939541598989354</c:v>
                </c:pt>
                <c:pt idx="94">
                  <c:v>0.35541930379746833</c:v>
                </c:pt>
                <c:pt idx="95">
                  <c:v>0.3566240557815224</c:v>
                </c:pt>
                <c:pt idx="96">
                  <c:v>0.3629177506503902</c:v>
                </c:pt>
                <c:pt idx="97">
                  <c:v>0.3668784413384159</c:v>
                </c:pt>
                <c:pt idx="98">
                  <c:v>0.37420626231661924</c:v>
                </c:pt>
                <c:pt idx="99">
                  <c:v>0.3795620437956204</c:v>
                </c:pt>
                <c:pt idx="100">
                  <c:v>0.38089468779123953</c:v>
                </c:pt>
                <c:pt idx="101">
                  <c:v>0.40074812967581047</c:v>
                </c:pt>
                <c:pt idx="102">
                  <c:v>0.39029662543533084</c:v>
                </c:pt>
                <c:pt idx="103">
                  <c:v>0.3605958958168903</c:v>
                </c:pt>
                <c:pt idx="104">
                  <c:v>0.360663621062755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42.6289</c:v>
                </c:pt>
                <c:pt idx="1">
                  <c:v>1247.7448</c:v>
                </c:pt>
                <c:pt idx="2">
                  <c:v>1253.0651</c:v>
                </c:pt>
                <c:pt idx="3">
                  <c:v>1259.6531</c:v>
                </c:pt>
                <c:pt idx="4">
                  <c:v>1273.3521</c:v>
                </c:pt>
                <c:pt idx="5">
                  <c:v>1249.865</c:v>
                </c:pt>
                <c:pt idx="6">
                  <c:v>1147.9472</c:v>
                </c:pt>
                <c:pt idx="7">
                  <c:v>1210.0247</c:v>
                </c:pt>
                <c:pt idx="8">
                  <c:v>1260.2855</c:v>
                </c:pt>
                <c:pt idx="9">
                  <c:v>1209.9784</c:v>
                </c:pt>
                <c:pt idx="10">
                  <c:v>1250.9041</c:v>
                </c:pt>
                <c:pt idx="11">
                  <c:v>1085.7024</c:v>
                </c:pt>
                <c:pt idx="12">
                  <c:v>1136.1353</c:v>
                </c:pt>
                <c:pt idx="13">
                  <c:v>1213.7615</c:v>
                </c:pt>
                <c:pt idx="14">
                  <c:v>1183.43</c:v>
                </c:pt>
                <c:pt idx="15">
                  <c:v>1214.7475</c:v>
                </c:pt>
                <c:pt idx="16">
                  <c:v>1246.2469</c:v>
                </c:pt>
                <c:pt idx="17">
                  <c:v>1218.4978</c:v>
                </c:pt>
                <c:pt idx="18">
                  <c:v>1188.6376</c:v>
                </c:pt>
                <c:pt idx="19">
                  <c:v>1298.2507</c:v>
                </c:pt>
                <c:pt idx="20">
                  <c:v>1290.7177</c:v>
                </c:pt>
                <c:pt idx="21">
                  <c:v>1177.4665</c:v>
                </c:pt>
                <c:pt idx="22">
                  <c:v>1228.3884</c:v>
                </c:pt>
                <c:pt idx="23">
                  <c:v>1263.2043</c:v>
                </c:pt>
                <c:pt idx="24">
                  <c:v>1274.9415</c:v>
                </c:pt>
                <c:pt idx="25">
                  <c:v>1239.576</c:v>
                </c:pt>
                <c:pt idx="26">
                  <c:v>1241.5266</c:v>
                </c:pt>
                <c:pt idx="27">
                  <c:v>1237.6182</c:v>
                </c:pt>
                <c:pt idx="28">
                  <c:v>1266.9328</c:v>
                </c:pt>
                <c:pt idx="29">
                  <c:v>1280.4282</c:v>
                </c:pt>
                <c:pt idx="30">
                  <c:v>1259.6506</c:v>
                </c:pt>
                <c:pt idx="31">
                  <c:v>1236.9887</c:v>
                </c:pt>
                <c:pt idx="32">
                  <c:v>1265.9768</c:v>
                </c:pt>
                <c:pt idx="33">
                  <c:v>1274.0804</c:v>
                </c:pt>
                <c:pt idx="34">
                  <c:v>1291.5447</c:v>
                </c:pt>
                <c:pt idx="35">
                  <c:v>1319.7332</c:v>
                </c:pt>
                <c:pt idx="36">
                  <c:v>1354.7845</c:v>
                </c:pt>
                <c:pt idx="37">
                  <c:v>1328.6378</c:v>
                </c:pt>
                <c:pt idx="38">
                  <c:v>1360.6736</c:v>
                </c:pt>
                <c:pt idx="39">
                  <c:v>1300.2736</c:v>
                </c:pt>
                <c:pt idx="40">
                  <c:v>1325.3863</c:v>
                </c:pt>
                <c:pt idx="41">
                  <c:v>1364.7198</c:v>
                </c:pt>
                <c:pt idx="42">
                  <c:v>1344.5804</c:v>
                </c:pt>
                <c:pt idx="43">
                  <c:v>1364.1607</c:v>
                </c:pt>
                <c:pt idx="44">
                  <c:v>1281.7044</c:v>
                </c:pt>
                <c:pt idx="45">
                  <c:v>1231.0621</c:v>
                </c:pt>
                <c:pt idx="46">
                  <c:v>1223.2298</c:v>
                </c:pt>
                <c:pt idx="47">
                  <c:v>1187.7423</c:v>
                </c:pt>
                <c:pt idx="48">
                  <c:v>1182.4567</c:v>
                </c:pt>
                <c:pt idx="49">
                  <c:v>1204.8673</c:v>
                </c:pt>
                <c:pt idx="50">
                  <c:v>1155.5339</c:v>
                </c:pt>
                <c:pt idx="51">
                  <c:v>1109.1973</c:v>
                </c:pt>
              </c:numCache>
            </c:numRef>
          </c:xVal>
          <c:yVal>
            <c:numRef>
              <c:f>Sheet1!$B$109:$B$160</c:f>
              <c:numCache>
                <c:formatCode>General</c:formatCode>
                <c:ptCount val="52"/>
                <c:pt idx="0">
                  <c:v>0.3707419248153456</c:v>
                </c:pt>
                <c:pt idx="1">
                  <c:v>0.3816919637604424</c:v>
                </c:pt>
                <c:pt idx="2">
                  <c:v>0.3902439024390244</c:v>
                </c:pt>
                <c:pt idx="3">
                  <c:v>0.4152976875588574</c:v>
                </c:pt>
                <c:pt idx="4">
                  <c:v>0.40379374250517824</c:v>
                </c:pt>
                <c:pt idx="5">
                  <c:v>0.3982499199658521</c:v>
                </c:pt>
                <c:pt idx="6">
                  <c:v>0.4154849688031764</c:v>
                </c:pt>
                <c:pt idx="7">
                  <c:v>0.3941946352209408</c:v>
                </c:pt>
                <c:pt idx="8">
                  <c:v>0.3924107815088089</c:v>
                </c:pt>
                <c:pt idx="9">
                  <c:v>0.401704776079015</c:v>
                </c:pt>
                <c:pt idx="10">
                  <c:v>0.39083949313621963</c:v>
                </c:pt>
                <c:pt idx="11">
                  <c:v>0.4021561877151658</c:v>
                </c:pt>
                <c:pt idx="12">
                  <c:v>0.4006640248473814</c:v>
                </c:pt>
                <c:pt idx="13">
                  <c:v>0.4100035642152786</c:v>
                </c:pt>
                <c:pt idx="14">
                  <c:v>0.41327319587628863</c:v>
                </c:pt>
                <c:pt idx="15">
                  <c:v>0.4025513819985826</c:v>
                </c:pt>
                <c:pt idx="16">
                  <c:v>0.3913188092466323</c:v>
                </c:pt>
                <c:pt idx="17">
                  <c:v>0.394107452339688</c:v>
                </c:pt>
                <c:pt idx="18">
                  <c:v>0.39829500396510703</c:v>
                </c:pt>
                <c:pt idx="19">
                  <c:v>0.4021695460024106</c:v>
                </c:pt>
                <c:pt idx="20">
                  <c:v>0.40716612377850164</c:v>
                </c:pt>
                <c:pt idx="21">
                  <c:v>0.4299947561615102</c:v>
                </c:pt>
                <c:pt idx="22">
                  <c:v>0.4081473793461339</c:v>
                </c:pt>
                <c:pt idx="23">
                  <c:v>0.4103194103194103</c:v>
                </c:pt>
                <c:pt idx="24">
                  <c:v>0.40828252032520324</c:v>
                </c:pt>
                <c:pt idx="25">
                  <c:v>0.4040934138021517</c:v>
                </c:pt>
                <c:pt idx="26">
                  <c:v>0.4019925280199253</c:v>
                </c:pt>
                <c:pt idx="27">
                  <c:v>0.4007540474606343</c:v>
                </c:pt>
                <c:pt idx="28">
                  <c:v>0.39095907147220527</c:v>
                </c:pt>
                <c:pt idx="29">
                  <c:v>0.4061799152753551</c:v>
                </c:pt>
                <c:pt idx="30">
                  <c:v>0.40456852791878173</c:v>
                </c:pt>
                <c:pt idx="31">
                  <c:v>0.3882063882063882</c:v>
                </c:pt>
                <c:pt idx="32">
                  <c:v>0.3827843231546045</c:v>
                </c:pt>
                <c:pt idx="33">
                  <c:v>0.37935390723696083</c:v>
                </c:pt>
                <c:pt idx="34">
                  <c:v>0.39390948822783023</c:v>
                </c:pt>
                <c:pt idx="35">
                  <c:v>0.37623937677053826</c:v>
                </c:pt>
                <c:pt idx="36">
                  <c:v>0.3827414147343704</c:v>
                </c:pt>
                <c:pt idx="37">
                  <c:v>0.39919678714859436</c:v>
                </c:pt>
                <c:pt idx="38">
                  <c:v>0.4107631498935847</c:v>
                </c:pt>
                <c:pt idx="39">
                  <c:v>0.4008420119654332</c:v>
                </c:pt>
                <c:pt idx="40">
                  <c:v>0.38873239436619716</c:v>
                </c:pt>
                <c:pt idx="41">
                  <c:v>0.3760305650512769</c:v>
                </c:pt>
                <c:pt idx="42">
                  <c:v>0.3951834862385321</c:v>
                </c:pt>
                <c:pt idx="43">
                  <c:v>0.38352524357838796</c:v>
                </c:pt>
                <c:pt idx="44">
                  <c:v>0.380720823798627</c:v>
                </c:pt>
                <c:pt idx="45">
                  <c:v>0.39650872817955113</c:v>
                </c:pt>
                <c:pt idx="46">
                  <c:v>0.4052691867124857</c:v>
                </c:pt>
                <c:pt idx="47">
                  <c:v>0.40348345872410596</c:v>
                </c:pt>
                <c:pt idx="48">
                  <c:v>0.3792432066367561</c:v>
                </c:pt>
                <c:pt idx="49">
                  <c:v>0.3886552955176517</c:v>
                </c:pt>
                <c:pt idx="50">
                  <c:v>0.3912084364575487</c:v>
                </c:pt>
                <c:pt idx="51">
                  <c:v>0.3980782429649965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74.5233131819492</c:v>
                </c:pt>
              </c:numCache>
            </c:numRef>
          </c:xVal>
          <c:yVal>
            <c:numRef>
              <c:f>Sheet1!$B$163:$B$164</c:f>
              <c:numCache>
                <c:formatCode>General</c:formatCode>
                <c:ptCount val="2"/>
                <c:pt idx="0">
                  <c:v>0.519269436376669</c:v>
                </c:pt>
                <c:pt idx="1">
                  <c:v>0.51926943637666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74.5233131819492</c:v>
                </c:pt>
                <c:pt idx="1">
                  <c:v>-874.5233131819492</c:v>
                </c:pt>
              </c:numCache>
            </c:numRef>
          </c:xVal>
          <c:yVal>
            <c:numRef>
              <c:f>Sheet1!$B$167:$B$168</c:f>
              <c:numCache>
                <c:formatCode>General</c:formatCode>
                <c:ptCount val="2"/>
                <c:pt idx="0">
                  <c:v>0.51926943637666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35.6308628089596</c:v>
                </c:pt>
              </c:numCache>
            </c:numRef>
          </c:xVal>
          <c:yVal>
            <c:numRef>
              <c:f>Sheet1!$B$171:$B$172</c:f>
              <c:numCache>
                <c:formatCode>General</c:formatCode>
                <c:ptCount val="2"/>
                <c:pt idx="0">
                  <c:v>0.4034034088739832</c:v>
                </c:pt>
                <c:pt idx="1">
                  <c:v>0.403403408873983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35.6308628089596</c:v>
                </c:pt>
                <c:pt idx="1">
                  <c:v>1135.6308628089596</c:v>
                </c:pt>
              </c:numCache>
            </c:numRef>
          </c:xVal>
          <c:yVal>
            <c:numRef>
              <c:f>Sheet1!$B$175:$B$176</c:f>
              <c:numCache>
                <c:formatCode>General</c:formatCode>
                <c:ptCount val="2"/>
                <c:pt idx="0">
                  <c:v>0.40340340887398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44.836853429981</c:v>
                </c:pt>
              </c:numCache>
            </c:numRef>
          </c:xVal>
          <c:yVal>
            <c:numRef>
              <c:f>Sheet1!$B$179:$B$180</c:f>
              <c:numCache>
                <c:formatCode>General</c:formatCode>
                <c:ptCount val="2"/>
                <c:pt idx="0">
                  <c:v>0.3913446984762731</c:v>
                </c:pt>
                <c:pt idx="1">
                  <c:v>0.391344698476273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44.836853429981</c:v>
                </c:pt>
                <c:pt idx="1">
                  <c:v>1344.836853429981</c:v>
                </c:pt>
              </c:numCache>
            </c:numRef>
          </c:xVal>
          <c:yVal>
            <c:numRef>
              <c:f>Sheet1!$B$183:$B$184</c:f>
              <c:numCache>
                <c:formatCode>General</c:formatCode>
                <c:ptCount val="2"/>
                <c:pt idx="0">
                  <c:v>0.391344698476273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42.6289</c:v>
                </c:pt>
                <c:pt idx="1">
                  <c:v>1247.7448</c:v>
                </c:pt>
                <c:pt idx="2">
                  <c:v>1253.0651</c:v>
                </c:pt>
                <c:pt idx="3">
                  <c:v>1259.6531</c:v>
                </c:pt>
                <c:pt idx="4">
                  <c:v>1273.3521</c:v>
                </c:pt>
                <c:pt idx="5">
                  <c:v>1249.865</c:v>
                </c:pt>
                <c:pt idx="6">
                  <c:v>1147.9472</c:v>
                </c:pt>
                <c:pt idx="7">
                  <c:v>1210.0247</c:v>
                </c:pt>
                <c:pt idx="8">
                  <c:v>1260.2855</c:v>
                </c:pt>
                <c:pt idx="9">
                  <c:v>1209.9784</c:v>
                </c:pt>
                <c:pt idx="10">
                  <c:v>1250.9041</c:v>
                </c:pt>
                <c:pt idx="11">
                  <c:v>1085.7024</c:v>
                </c:pt>
                <c:pt idx="12">
                  <c:v>1136.1353</c:v>
                </c:pt>
                <c:pt idx="13">
                  <c:v>1213.7615</c:v>
                </c:pt>
                <c:pt idx="14">
                  <c:v>1183.43</c:v>
                </c:pt>
                <c:pt idx="15">
                  <c:v>1214.7475</c:v>
                </c:pt>
                <c:pt idx="16">
                  <c:v>1246.2469</c:v>
                </c:pt>
                <c:pt idx="17">
                  <c:v>1218.4978</c:v>
                </c:pt>
                <c:pt idx="18">
                  <c:v>1188.6376</c:v>
                </c:pt>
                <c:pt idx="19">
                  <c:v>1298.2507</c:v>
                </c:pt>
                <c:pt idx="20">
                  <c:v>1290.7177</c:v>
                </c:pt>
                <c:pt idx="21">
                  <c:v>1177.4665</c:v>
                </c:pt>
                <c:pt idx="22">
                  <c:v>1228.3884</c:v>
                </c:pt>
                <c:pt idx="23">
                  <c:v>1263.2043</c:v>
                </c:pt>
                <c:pt idx="24">
                  <c:v>1274.9415</c:v>
                </c:pt>
                <c:pt idx="25">
                  <c:v>1239.576</c:v>
                </c:pt>
                <c:pt idx="26">
                  <c:v>1241.5266</c:v>
                </c:pt>
                <c:pt idx="27">
                  <c:v>1237.6182</c:v>
                </c:pt>
                <c:pt idx="28">
                  <c:v>1266.9328</c:v>
                </c:pt>
                <c:pt idx="29">
                  <c:v>1280.4282</c:v>
                </c:pt>
                <c:pt idx="30">
                  <c:v>1259.6506</c:v>
                </c:pt>
                <c:pt idx="31">
                  <c:v>1236.9887</c:v>
                </c:pt>
                <c:pt idx="32">
                  <c:v>1265.9768</c:v>
                </c:pt>
                <c:pt idx="33">
                  <c:v>1274.0804</c:v>
                </c:pt>
                <c:pt idx="34">
                  <c:v>1291.5447</c:v>
                </c:pt>
                <c:pt idx="35">
                  <c:v>1319.7332</c:v>
                </c:pt>
                <c:pt idx="36">
                  <c:v>1354.7845</c:v>
                </c:pt>
                <c:pt idx="37">
                  <c:v>1328.6378</c:v>
                </c:pt>
                <c:pt idx="38">
                  <c:v>1360.6736</c:v>
                </c:pt>
                <c:pt idx="39">
                  <c:v>1300.2736</c:v>
                </c:pt>
                <c:pt idx="40">
                  <c:v>1325.3863</c:v>
                </c:pt>
                <c:pt idx="41">
                  <c:v>1364.7198</c:v>
                </c:pt>
                <c:pt idx="42">
                  <c:v>1344.5804</c:v>
                </c:pt>
                <c:pt idx="43">
                  <c:v>1364.1607</c:v>
                </c:pt>
                <c:pt idx="44">
                  <c:v>1281.7044</c:v>
                </c:pt>
                <c:pt idx="45">
                  <c:v>1231.0621</c:v>
                </c:pt>
                <c:pt idx="46">
                  <c:v>1223.2298</c:v>
                </c:pt>
                <c:pt idx="47">
                  <c:v>1187.7423</c:v>
                </c:pt>
                <c:pt idx="48">
                  <c:v>1182.4567</c:v>
                </c:pt>
                <c:pt idx="49">
                  <c:v>1204.8673</c:v>
                </c:pt>
                <c:pt idx="50">
                  <c:v>1155.5339</c:v>
                </c:pt>
                <c:pt idx="51">
                  <c:v>1109.1973</c:v>
                </c:pt>
                <c:pt idx="52">
                  <c:v>1135.6308628089596</c:v>
                </c:pt>
                <c:pt idx="53">
                  <c:v>-874.5233131819492</c:v>
                </c:pt>
                <c:pt idx="54">
                  <c:v>1344.836853429981</c:v>
                </c:pt>
              </c:numCache>
            </c:numRef>
          </c:xVal>
          <c:yVal>
            <c:numRef>
              <c:f>Sheet1!$B$187:$B$241</c:f>
              <c:numCache>
                <c:formatCode>General</c:formatCode>
                <c:ptCount val="55"/>
                <c:pt idx="0">
                  <c:v>0.3972360025784939</c:v>
                </c:pt>
                <c:pt idx="1">
                  <c:v>0.3969411202171403</c:v>
                </c:pt>
                <c:pt idx="2">
                  <c:v>0.39663445616445947</c:v>
                </c:pt>
                <c:pt idx="3">
                  <c:v>0.39625472141659546</c:v>
                </c:pt>
                <c:pt idx="4">
                  <c:v>0.39546510600812723</c:v>
                </c:pt>
                <c:pt idx="5">
                  <c:v>0.3968189111077867</c:v>
                </c:pt>
                <c:pt idx="6">
                  <c:v>0.4026934906593736</c:v>
                </c:pt>
                <c:pt idx="7">
                  <c:v>0.3991153206820621</c:v>
                </c:pt>
                <c:pt idx="8">
                  <c:v>0.39621826964753826</c:v>
                </c:pt>
                <c:pt idx="9">
                  <c:v>0.399117989431125</c:v>
                </c:pt>
                <c:pt idx="10">
                  <c:v>0.39675901700084903</c:v>
                </c:pt>
                <c:pt idx="11">
                  <c:v>0.4062813038703399</c:v>
                </c:pt>
                <c:pt idx="12">
                  <c:v>0.4033743329283923</c:v>
                </c:pt>
                <c:pt idx="13">
                  <c:v>0.39889993015294584</c:v>
                </c:pt>
                <c:pt idx="14">
                  <c:v>0.40064824899095997</c:v>
                </c:pt>
                <c:pt idx="15">
                  <c:v>0.39884309674957696</c:v>
                </c:pt>
                <c:pt idx="16">
                  <c:v>0.39702745972515874</c:v>
                </c:pt>
                <c:pt idx="17">
                  <c:v>0.39862692807548555</c:v>
                </c:pt>
                <c:pt idx="18">
                  <c:v>0.40034808100781233</c:v>
                </c:pt>
                <c:pt idx="19">
                  <c:v>0.3940299415282901</c:v>
                </c:pt>
                <c:pt idx="20">
                  <c:v>0.3944641464244133</c:v>
                </c:pt>
                <c:pt idx="21">
                  <c:v>0.40099198732867813</c:v>
                </c:pt>
                <c:pt idx="22">
                  <c:v>0.39805683024652017</c:v>
                </c:pt>
                <c:pt idx="23">
                  <c:v>0.396050028939878</c:v>
                </c:pt>
                <c:pt idx="24">
                  <c:v>0.3953734924063884</c:v>
                </c:pt>
                <c:pt idx="25">
                  <c:v>0.3974119728595737</c:v>
                </c:pt>
                <c:pt idx="26">
                  <c:v>0.39729953955672254</c:v>
                </c:pt>
                <c:pt idx="27">
                  <c:v>0.3975248211730783</c:v>
                </c:pt>
                <c:pt idx="28">
                  <c:v>0.3958351168258205</c:v>
                </c:pt>
                <c:pt idx="29">
                  <c:v>0.39505723699638456</c:v>
                </c:pt>
                <c:pt idx="30">
                  <c:v>0.3962548655175168</c:v>
                </c:pt>
                <c:pt idx="31">
                  <c:v>0.3975611057850668</c:v>
                </c:pt>
                <c:pt idx="32">
                  <c:v>0.3958902210181335</c:v>
                </c:pt>
                <c:pt idx="33">
                  <c:v>0.3954231265277281</c:v>
                </c:pt>
                <c:pt idx="34">
                  <c:v>0.39441647783964046</c:v>
                </c:pt>
                <c:pt idx="35">
                  <c:v>0.3927916823113823</c:v>
                </c:pt>
                <c:pt idx="36">
                  <c:v>0.3907713124619886</c:v>
                </c:pt>
                <c:pt idx="37">
                  <c:v>0.39227841788578577</c:v>
                </c:pt>
                <c:pt idx="38">
                  <c:v>0.39043186256768897</c:v>
                </c:pt>
                <c:pt idx="39">
                  <c:v>0.39391334082679436</c:v>
                </c:pt>
                <c:pt idx="40">
                  <c:v>0.39246583554405534</c:v>
                </c:pt>
                <c:pt idx="41">
                  <c:v>0.39019863810855004</c:v>
                </c:pt>
                <c:pt idx="42">
                  <c:v>0.39135948054648756</c:v>
                </c:pt>
                <c:pt idx="43">
                  <c:v>0.39023086483859415</c:v>
                </c:pt>
                <c:pt idx="44">
                  <c:v>0.39498367635806886</c:v>
                </c:pt>
                <c:pt idx="45">
                  <c:v>0.39790271719318626</c:v>
                </c:pt>
                <c:pt idx="46">
                  <c:v>0.3983541738516099</c:v>
                </c:pt>
                <c:pt idx="47">
                  <c:v>0.40039968642975565</c:v>
                </c:pt>
                <c:pt idx="48">
                  <c:v>0.40070435036164853</c:v>
                </c:pt>
                <c:pt idx="49">
                  <c:v>0.39941259511870963</c:v>
                </c:pt>
                <c:pt idx="50">
                  <c:v>0.40225619047546046</c:v>
                </c:pt>
                <c:pt idx="51">
                  <c:v>0.40492704917580585</c:v>
                </c:pt>
                <c:pt idx="52">
                  <c:v>0.4034034088739832</c:v>
                </c:pt>
                <c:pt idx="53">
                  <c:v>0.519269436376669</c:v>
                </c:pt>
                <c:pt idx="54">
                  <c:v>0.391344698476273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3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518760195758564"/>
          <c:min val="0.27544816835541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9304151417753758</c:v>
                </c:pt>
                <c:pt idx="1">
                  <c:v>0.8274019299255637</c:v>
                </c:pt>
                <c:pt idx="2">
                  <c:v>0.8250140555071891</c:v>
                </c:pt>
                <c:pt idx="3">
                  <c:v>0.817052669639037</c:v>
                </c:pt>
                <c:pt idx="4">
                  <c:v>0.8086085614469684</c:v>
                </c:pt>
                <c:pt idx="5">
                  <c:v>0.836971081076918</c:v>
                </c:pt>
                <c:pt idx="6">
                  <c:v>0.8149640591941809</c:v>
                </c:pt>
                <c:pt idx="7">
                  <c:v>0.8168355270482665</c:v>
                </c:pt>
                <c:pt idx="8">
                  <c:v>0.8274742287782106</c:v>
                </c:pt>
                <c:pt idx="9">
                  <c:v>0.8935668805330469</c:v>
                </c:pt>
                <c:pt idx="10">
                  <c:v>0.9129679997474512</c:v>
                </c:pt>
                <c:pt idx="11">
                  <c:v>0.9284875583667904</c:v>
                </c:pt>
                <c:pt idx="12">
                  <c:v>0.9417361976243301</c:v>
                </c:pt>
                <c:pt idx="13">
                  <c:v>0.9241289696110684</c:v>
                </c:pt>
                <c:pt idx="14">
                  <c:v>0.9344972961006275</c:v>
                </c:pt>
                <c:pt idx="15">
                  <c:v>0.9319823267558165</c:v>
                </c:pt>
                <c:pt idx="16">
                  <c:v>0.9145961795393377</c:v>
                </c:pt>
                <c:pt idx="17">
                  <c:v>0.9291199445578968</c:v>
                </c:pt>
                <c:pt idx="18">
                  <c:v>0.9838930074645567</c:v>
                </c:pt>
                <c:pt idx="19">
                  <c:v>0.9935582587113216</c:v>
                </c:pt>
                <c:pt idx="20">
                  <c:v>1.0193970858326293</c:v>
                </c:pt>
                <c:pt idx="21">
                  <c:v>0.9232911124347348</c:v>
                </c:pt>
                <c:pt idx="22">
                  <c:v>0.9227814379782476</c:v>
                </c:pt>
                <c:pt idx="23">
                  <c:v>0.8841808795055011</c:v>
                </c:pt>
                <c:pt idx="24">
                  <c:v>0.8443755240521739</c:v>
                </c:pt>
                <c:pt idx="25">
                  <c:v>0.8267706439293071</c:v>
                </c:pt>
                <c:pt idx="26">
                  <c:v>0.8426133389391831</c:v>
                </c:pt>
                <c:pt idx="27">
                  <c:v>0.8415792250716408</c:v>
                </c:pt>
                <c:pt idx="28">
                  <c:v>0.8234604779808591</c:v>
                </c:pt>
                <c:pt idx="29">
                  <c:v>0.7926347273009224</c:v>
                </c:pt>
                <c:pt idx="30">
                  <c:v>0.8125860764751186</c:v>
                </c:pt>
                <c:pt idx="31">
                  <c:v>0.8494219432798795</c:v>
                </c:pt>
                <c:pt idx="32">
                  <c:v>0.8218007105882175</c:v>
                </c:pt>
                <c:pt idx="33">
                  <c:v>0.8181901603431826</c:v>
                </c:pt>
                <c:pt idx="34">
                  <c:v>0.8932080640863637</c:v>
                </c:pt>
                <c:pt idx="35">
                  <c:v>0.9729350384712933</c:v>
                </c:pt>
                <c:pt idx="36">
                  <c:v>1.0436557716154349</c:v>
                </c:pt>
                <c:pt idx="37">
                  <c:v>1.0251556241773903</c:v>
                </c:pt>
                <c:pt idx="38">
                  <c:v>1.1119287329716547</c:v>
                </c:pt>
                <c:pt idx="39">
                  <c:v>1.08723326351634</c:v>
                </c:pt>
                <c:pt idx="40">
                  <c:v>1.0920687021619444</c:v>
                </c:pt>
                <c:pt idx="41">
                  <c:v>1.0572037573984794</c:v>
                </c:pt>
                <c:pt idx="42">
                  <c:v>1.0740111948222633</c:v>
                </c:pt>
                <c:pt idx="43">
                  <c:v>1.0728637453055476</c:v>
                </c:pt>
                <c:pt idx="44">
                  <c:v>0.9832004314325679</c:v>
                </c:pt>
                <c:pt idx="45">
                  <c:v>0.9479997724499101</c:v>
                </c:pt>
                <c:pt idx="46">
                  <c:v>0.9787596936630333</c:v>
                </c:pt>
                <c:pt idx="47">
                  <c:v>1.0041417457238533</c:v>
                </c:pt>
                <c:pt idx="48">
                  <c:v>0.9694515523992505</c:v>
                </c:pt>
                <c:pt idx="49">
                  <c:v>0.9315929228823421</c:v>
                </c:pt>
                <c:pt idx="50">
                  <c:v>0.9345394861513637</c:v>
                </c:pt>
                <c:pt idx="51">
                  <c:v>0.9583395721510038</c:v>
                </c:pt>
                <c:pt idx="52">
                  <c:v>0.9454532779157316</c:v>
                </c:pt>
                <c:pt idx="53">
                  <c:v>0.9309773513870163</c:v>
                </c:pt>
                <c:pt idx="54">
                  <c:v>0.934468346794439</c:v>
                </c:pt>
                <c:pt idx="55">
                  <c:v>0.9604678408241858</c:v>
                </c:pt>
                <c:pt idx="56">
                  <c:v>0.9309179650290186</c:v>
                </c:pt>
                <c:pt idx="57">
                  <c:v>0.9320604611788282</c:v>
                </c:pt>
                <c:pt idx="58">
                  <c:v>0.8992847744064378</c:v>
                </c:pt>
                <c:pt idx="59">
                  <c:v>0.8856732851293636</c:v>
                </c:pt>
                <c:pt idx="60">
                  <c:v>0.8720218765351807</c:v>
                </c:pt>
                <c:pt idx="61">
                  <c:v>0.9523242067258658</c:v>
                </c:pt>
                <c:pt idx="62">
                  <c:v>0.9976031383375908</c:v>
                </c:pt>
                <c:pt idx="63">
                  <c:v>0.9951829238292464</c:v>
                </c:pt>
                <c:pt idx="64">
                  <c:v>1.0220771902385168</c:v>
                </c:pt>
                <c:pt idx="65">
                  <c:v>0.9831065028311625</c:v>
                </c:pt>
                <c:pt idx="66">
                  <c:v>0.9621679157144707</c:v>
                </c:pt>
                <c:pt idx="67">
                  <c:v>1.0251540197686149</c:v>
                </c:pt>
                <c:pt idx="68">
                  <c:v>1.0544355345626433</c:v>
                </c:pt>
                <c:pt idx="69">
                  <c:v>1.0561885591449591</c:v>
                </c:pt>
                <c:pt idx="70">
                  <c:v>0.9999240479656815</c:v>
                </c:pt>
                <c:pt idx="71">
                  <c:v>0.9872811173420563</c:v>
                </c:pt>
                <c:pt idx="72">
                  <c:v>1.0780998154502712</c:v>
                </c:pt>
                <c:pt idx="73">
                  <c:v>0.978669538529081</c:v>
                </c:pt>
                <c:pt idx="74">
                  <c:v>0.9600138823452212</c:v>
                </c:pt>
                <c:pt idx="75">
                  <c:v>0.9580196684613799</c:v>
                </c:pt>
                <c:pt idx="76">
                  <c:v>0.9914279579659181</c:v>
                </c:pt>
                <c:pt idx="77">
                  <c:v>1.031691641487699</c:v>
                </c:pt>
                <c:pt idx="78">
                  <c:v>1.008186569405458</c:v>
                </c:pt>
                <c:pt idx="79">
                  <c:v>1.0332102977313566</c:v>
                </c:pt>
                <c:pt idx="80">
                  <c:v>1.0533506390441965</c:v>
                </c:pt>
                <c:pt idx="81">
                  <c:v>1.0840184168511933</c:v>
                </c:pt>
                <c:pt idx="82">
                  <c:v>1.0727356512526394</c:v>
                </c:pt>
                <c:pt idx="83">
                  <c:v>1.0733964663099533</c:v>
                </c:pt>
                <c:pt idx="84">
                  <c:v>1.048759601089939</c:v>
                </c:pt>
                <c:pt idx="85">
                  <c:v>1.0487772028661893</c:v>
                </c:pt>
                <c:pt idx="86">
                  <c:v>1.037063504447616</c:v>
                </c:pt>
                <c:pt idx="87">
                  <c:v>1.0308160360000553</c:v>
                </c:pt>
                <c:pt idx="88">
                  <c:v>0.9805112361152256</c:v>
                </c:pt>
                <c:pt idx="89">
                  <c:v>0.9701214448066765</c:v>
                </c:pt>
                <c:pt idx="90">
                  <c:v>0.9969843424249684</c:v>
                </c:pt>
                <c:pt idx="91">
                  <c:v>1.0255365127621066</c:v>
                </c:pt>
                <c:pt idx="92">
                  <c:v>1.0149228086451836</c:v>
                </c:pt>
                <c:pt idx="93">
                  <c:v>0.9962123781121252</c:v>
                </c:pt>
                <c:pt idx="94">
                  <c:v>1.0310187130955772</c:v>
                </c:pt>
                <c:pt idx="95">
                  <c:v>0.9719780530109735</c:v>
                </c:pt>
                <c:pt idx="96">
                  <c:v>0.9570596530067756</c:v>
                </c:pt>
                <c:pt idx="97">
                  <c:v>1.041137339253018</c:v>
                </c:pt>
                <c:pt idx="98">
                  <c:v>1.0242748939319382</c:v>
                </c:pt>
                <c:pt idx="99">
                  <c:v>1.02366098845483</c:v>
                </c:pt>
                <c:pt idx="100">
                  <c:v>1.002821766132751</c:v>
                </c:pt>
                <c:pt idx="101">
                  <c:v>0.9448072604827079</c:v>
                </c:pt>
                <c:pt idx="102">
                  <c:v>0.970885762429067</c:v>
                </c:pt>
                <c:pt idx="103">
                  <c:v>0.7151120473015827</c:v>
                </c:pt>
                <c:pt idx="104">
                  <c:v>0.7644654114548411</c:v>
                </c:pt>
              </c:numCache>
            </c:numRef>
          </c:xVal>
          <c:yVal>
            <c:numRef>
              <c:f>Sheet1!$B$2:$B$106</c:f>
              <c:numCache>
                <c:formatCode>General</c:formatCode>
                <c:ptCount val="105"/>
                <c:pt idx="0">
                  <c:v>0.16079708000394594</c:v>
                </c:pt>
                <c:pt idx="1">
                  <c:v>0.17096959265633965</c:v>
                </c:pt>
                <c:pt idx="2">
                  <c:v>0.16387037462652262</c:v>
                </c:pt>
                <c:pt idx="3">
                  <c:v>0.17216714769732713</c:v>
                </c:pt>
                <c:pt idx="4">
                  <c:v>0.18144649654589032</c:v>
                </c:pt>
                <c:pt idx="5">
                  <c:v>0.16709166554824856</c:v>
                </c:pt>
                <c:pt idx="6">
                  <c:v>0.17090563346802948</c:v>
                </c:pt>
                <c:pt idx="7">
                  <c:v>0.17403117403117402</c:v>
                </c:pt>
                <c:pt idx="8">
                  <c:v>0.1781512605042017</c:v>
                </c:pt>
                <c:pt idx="9">
                  <c:v>0.15042326893857175</c:v>
                </c:pt>
                <c:pt idx="10">
                  <c:v>0.15494623655913978</c:v>
                </c:pt>
                <c:pt idx="11">
                  <c:v>0.15510531135531136</c:v>
                </c:pt>
                <c:pt idx="12">
                  <c:v>0.15825809877854488</c:v>
                </c:pt>
                <c:pt idx="13">
                  <c:v>0.15976838944885266</c:v>
                </c:pt>
                <c:pt idx="14">
                  <c:v>0.14671772428884025</c:v>
                </c:pt>
                <c:pt idx="15">
                  <c:v>0.1547028042399034</c:v>
                </c:pt>
                <c:pt idx="16">
                  <c:v>0.15219392451672292</c:v>
                </c:pt>
                <c:pt idx="17">
                  <c:v>0.15314365999297505</c:v>
                </c:pt>
                <c:pt idx="18">
                  <c:v>0.13445050662509742</c:v>
                </c:pt>
                <c:pt idx="19">
                  <c:v>0.11931428571428572</c:v>
                </c:pt>
                <c:pt idx="20">
                  <c:v>0.12084993359893759</c:v>
                </c:pt>
                <c:pt idx="21">
                  <c:v>0.12794445821968758</c:v>
                </c:pt>
                <c:pt idx="22">
                  <c:v>0.12385531135531136</c:v>
                </c:pt>
                <c:pt idx="23">
                  <c:v>0.130622009569378</c:v>
                </c:pt>
                <c:pt idx="24">
                  <c:v>0.14051781367559193</c:v>
                </c:pt>
                <c:pt idx="25">
                  <c:v>0.1366351418616227</c:v>
                </c:pt>
                <c:pt idx="26">
                  <c:v>0.14001284521515736</c:v>
                </c:pt>
                <c:pt idx="27">
                  <c:v>0.13755546591367487</c:v>
                </c:pt>
                <c:pt idx="28">
                  <c:v>0.14340836012861735</c:v>
                </c:pt>
                <c:pt idx="29">
                  <c:v>0.15733283386401947</c:v>
                </c:pt>
                <c:pt idx="30">
                  <c:v>0.13095238095238096</c:v>
                </c:pt>
                <c:pt idx="31">
                  <c:v>0.12383971021055015</c:v>
                </c:pt>
                <c:pt idx="32">
                  <c:v>0.12989972652689152</c:v>
                </c:pt>
                <c:pt idx="33">
                  <c:v>0.141439205955335</c:v>
                </c:pt>
                <c:pt idx="34">
                  <c:v>0.1374080192221054</c:v>
                </c:pt>
                <c:pt idx="35">
                  <c:v>0.13109243697478992</c:v>
                </c:pt>
                <c:pt idx="36">
                  <c:v>0.11298116980503249</c:v>
                </c:pt>
                <c:pt idx="37">
                  <c:v>0.1138728323699422</c:v>
                </c:pt>
                <c:pt idx="38">
                  <c:v>0.09835038630194196</c:v>
                </c:pt>
                <c:pt idx="39">
                  <c:v>0.11475761475761476</c:v>
                </c:pt>
                <c:pt idx="40">
                  <c:v>0.11250654107796965</c:v>
                </c:pt>
                <c:pt idx="41">
                  <c:v>0.11540761411201914</c:v>
                </c:pt>
                <c:pt idx="42">
                  <c:v>0.12056859051207398</c:v>
                </c:pt>
                <c:pt idx="43">
                  <c:v>0.11750038959015116</c:v>
                </c:pt>
                <c:pt idx="44">
                  <c:v>0.13330786860198626</c:v>
                </c:pt>
                <c:pt idx="45">
                  <c:v>0.14740243599304</c:v>
                </c:pt>
                <c:pt idx="46">
                  <c:v>0.1537085230969421</c:v>
                </c:pt>
                <c:pt idx="47">
                  <c:v>0.1516112873601603</c:v>
                </c:pt>
                <c:pt idx="48">
                  <c:v>0.16138698630136986</c:v>
                </c:pt>
                <c:pt idx="49">
                  <c:v>0.17430535059240207</c:v>
                </c:pt>
                <c:pt idx="50">
                  <c:v>0.15642128341344128</c:v>
                </c:pt>
                <c:pt idx="51">
                  <c:v>0.1456538762725137</c:v>
                </c:pt>
                <c:pt idx="52">
                  <c:v>0.14864487286951664</c:v>
                </c:pt>
                <c:pt idx="53">
                  <c:v>0.13720657276995304</c:v>
                </c:pt>
                <c:pt idx="54">
                  <c:v>0.1304977613905715</c:v>
                </c:pt>
                <c:pt idx="55">
                  <c:v>0.13215859030837004</c:v>
                </c:pt>
                <c:pt idx="56">
                  <c:v>0.1470124659693366</c:v>
                </c:pt>
                <c:pt idx="57">
                  <c:v>0.14220404234841194</c:v>
                </c:pt>
                <c:pt idx="58">
                  <c:v>0.15447499734579043</c:v>
                </c:pt>
                <c:pt idx="59">
                  <c:v>0.153218679899395</c:v>
                </c:pt>
                <c:pt idx="60">
                  <c:v>0.17220025367455047</c:v>
                </c:pt>
                <c:pt idx="61">
                  <c:v>0.1796218487394958</c:v>
                </c:pt>
                <c:pt idx="62">
                  <c:v>0.17017114914425427</c:v>
                </c:pt>
                <c:pt idx="63">
                  <c:v>0.17429155192324775</c:v>
                </c:pt>
                <c:pt idx="64">
                  <c:v>0.15572802429559643</c:v>
                </c:pt>
                <c:pt idx="65">
                  <c:v>0.14197588559678476</c:v>
                </c:pt>
                <c:pt idx="66">
                  <c:v>0.13703131039814456</c:v>
                </c:pt>
                <c:pt idx="67">
                  <c:v>0.13469258398478767</c:v>
                </c:pt>
                <c:pt idx="68">
                  <c:v>0.11407605070046697</c:v>
                </c:pt>
                <c:pt idx="69">
                  <c:v>0.10633561643835616</c:v>
                </c:pt>
                <c:pt idx="70">
                  <c:v>0.10001655903295248</c:v>
                </c:pt>
                <c:pt idx="71">
                  <c:v>0.11459703174901371</c:v>
                </c:pt>
                <c:pt idx="72">
                  <c:v>0.11376210235131397</c:v>
                </c:pt>
                <c:pt idx="73">
                  <c:v>0.12013239875389409</c:v>
                </c:pt>
                <c:pt idx="74">
                  <c:v>0.11942186088527552</c:v>
                </c:pt>
                <c:pt idx="75">
                  <c:v>0.11329550060802594</c:v>
                </c:pt>
                <c:pt idx="76">
                  <c:v>0.11784214017245191</c:v>
                </c:pt>
                <c:pt idx="77">
                  <c:v>0.10702498821310702</c:v>
                </c:pt>
                <c:pt idx="78">
                  <c:v>0.1198024948024948</c:v>
                </c:pt>
                <c:pt idx="79">
                  <c:v>0.10997866793078928</c:v>
                </c:pt>
                <c:pt idx="80">
                  <c:v>0.09935304990757855</c:v>
                </c:pt>
                <c:pt idx="81">
                  <c:v>0.09512937595129375</c:v>
                </c:pt>
                <c:pt idx="82">
                  <c:v>0.1019124308002013</c:v>
                </c:pt>
                <c:pt idx="83">
                  <c:v>0.09265084358021161</c:v>
                </c:pt>
                <c:pt idx="84">
                  <c:v>0.10031082226617688</c:v>
                </c:pt>
                <c:pt idx="85">
                  <c:v>0.09764474975466143</c:v>
                </c:pt>
                <c:pt idx="86">
                  <c:v>0.10536602700781805</c:v>
                </c:pt>
                <c:pt idx="87">
                  <c:v>0.11496291518864882</c:v>
                </c:pt>
                <c:pt idx="88">
                  <c:v>0.10772184300341298</c:v>
                </c:pt>
                <c:pt idx="89">
                  <c:v>0.10490693739424704</c:v>
                </c:pt>
                <c:pt idx="90">
                  <c:v>0.10665998998497747</c:v>
                </c:pt>
                <c:pt idx="91">
                  <c:v>0.09854563691073219</c:v>
                </c:pt>
                <c:pt idx="92">
                  <c:v>0.11252099272252286</c:v>
                </c:pt>
                <c:pt idx="93">
                  <c:v>0.10864464898032845</c:v>
                </c:pt>
                <c:pt idx="94">
                  <c:v>0.10680379746835443</c:v>
                </c:pt>
                <c:pt idx="95">
                  <c:v>0.11853573503776874</c:v>
                </c:pt>
                <c:pt idx="96">
                  <c:v>0.11556934160496297</c:v>
                </c:pt>
                <c:pt idx="97">
                  <c:v>0.12486234646336299</c:v>
                </c:pt>
                <c:pt idx="98">
                  <c:v>0.13415079191299906</c:v>
                </c:pt>
                <c:pt idx="99">
                  <c:v>0.13662736290473518</c:v>
                </c:pt>
                <c:pt idx="100">
                  <c:v>0.14058713886300092</c:v>
                </c:pt>
                <c:pt idx="101">
                  <c:v>0.1458021612635079</c:v>
                </c:pt>
                <c:pt idx="102">
                  <c:v>0.1329410351867419</c:v>
                </c:pt>
                <c:pt idx="103">
                  <c:v>0.17442778216258878</c:v>
                </c:pt>
                <c:pt idx="104">
                  <c:v>0.1681894686222649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772042797810198</c:v>
                </c:pt>
                <c:pt idx="1">
                  <c:v>0.8045895489268959</c:v>
                </c:pt>
                <c:pt idx="2">
                  <c:v>0.7968612062485297</c:v>
                </c:pt>
                <c:pt idx="3">
                  <c:v>0.8055346811373705</c:v>
                </c:pt>
                <c:pt idx="4">
                  <c:v>0.7984062843113365</c:v>
                </c:pt>
                <c:pt idx="5">
                  <c:v>0.8268136522972637</c:v>
                </c:pt>
                <c:pt idx="6">
                  <c:v>0.87163433519274</c:v>
                </c:pt>
                <c:pt idx="7">
                  <c:v>0.9347850441314877</c:v>
                </c:pt>
                <c:pt idx="8">
                  <c:v>0.9930101480213469</c:v>
                </c:pt>
                <c:pt idx="9">
                  <c:v>0.9902807513078115</c:v>
                </c:pt>
                <c:pt idx="10">
                  <c:v>1.0030951985785246</c:v>
                </c:pt>
                <c:pt idx="11">
                  <c:v>0.9688169891582366</c:v>
                </c:pt>
                <c:pt idx="12">
                  <c:v>0.9680410836743896</c:v>
                </c:pt>
                <c:pt idx="13">
                  <c:v>0.9456693580343172</c:v>
                </c:pt>
                <c:pt idx="14">
                  <c:v>0.9436735033171655</c:v>
                </c:pt>
                <c:pt idx="15">
                  <c:v>0.951468983968792</c:v>
                </c:pt>
                <c:pt idx="16">
                  <c:v>0.9805122382323871</c:v>
                </c:pt>
                <c:pt idx="17">
                  <c:v>0.9754015782135855</c:v>
                </c:pt>
                <c:pt idx="18">
                  <c:v>1.0871732304588935</c:v>
                </c:pt>
                <c:pt idx="19">
                  <c:v>1.0210229472597399</c:v>
                </c:pt>
                <c:pt idx="20">
                  <c:v>0.9588266703000758</c:v>
                </c:pt>
                <c:pt idx="21">
                  <c:v>0.8941528220040549</c:v>
                </c:pt>
                <c:pt idx="22">
                  <c:v>0.8711606238925519</c:v>
                </c:pt>
                <c:pt idx="23">
                  <c:v>0.8723884375855028</c:v>
                </c:pt>
                <c:pt idx="24">
                  <c:v>0.8695489865101674</c:v>
                </c:pt>
                <c:pt idx="25">
                  <c:v>0.8895200983427765</c:v>
                </c:pt>
                <c:pt idx="26">
                  <c:v>0.9238076235745026</c:v>
                </c:pt>
                <c:pt idx="27">
                  <c:v>0.9357558801474781</c:v>
                </c:pt>
                <c:pt idx="28">
                  <c:v>0.931447360096786</c:v>
                </c:pt>
                <c:pt idx="29">
                  <c:v>0.8975193069257216</c:v>
                </c:pt>
                <c:pt idx="30">
                  <c:v>0.9097207738817855</c:v>
                </c:pt>
                <c:pt idx="31">
                  <c:v>0.8636361495963062</c:v>
                </c:pt>
                <c:pt idx="32">
                  <c:v>0.8618378943206249</c:v>
                </c:pt>
                <c:pt idx="33">
                  <c:v>0.9084761997150721</c:v>
                </c:pt>
                <c:pt idx="34">
                  <c:v>0.9360798986163521</c:v>
                </c:pt>
                <c:pt idx="35">
                  <c:v>0.8753216509377892</c:v>
                </c:pt>
                <c:pt idx="36">
                  <c:v>0.8516207366872408</c:v>
                </c:pt>
                <c:pt idx="37">
                  <c:v>0.9120264812485064</c:v>
                </c:pt>
                <c:pt idx="38">
                  <c:v>0.9357962248178071</c:v>
                </c:pt>
                <c:pt idx="39">
                  <c:v>0.9490457530330668</c:v>
                </c:pt>
                <c:pt idx="40">
                  <c:v>0.976935108107621</c:v>
                </c:pt>
                <c:pt idx="41">
                  <c:v>0.9839012667145743</c:v>
                </c:pt>
                <c:pt idx="42">
                  <c:v>0.9528233840182203</c:v>
                </c:pt>
                <c:pt idx="43">
                  <c:v>1.0172270953824314</c:v>
                </c:pt>
                <c:pt idx="44">
                  <c:v>1.0513908526539666</c:v>
                </c:pt>
                <c:pt idx="45">
                  <c:v>1.0037872808842723</c:v>
                </c:pt>
                <c:pt idx="46">
                  <c:v>0.979007538139499</c:v>
                </c:pt>
                <c:pt idx="47">
                  <c:v>0.9693644018112753</c:v>
                </c:pt>
                <c:pt idx="48">
                  <c:v>1.0140942405944993</c:v>
                </c:pt>
                <c:pt idx="49">
                  <c:v>1.0251195757481295</c:v>
                </c:pt>
                <c:pt idx="50">
                  <c:v>0.9002565840206729</c:v>
                </c:pt>
                <c:pt idx="51">
                  <c:v>0.9351113076010832</c:v>
                </c:pt>
              </c:numCache>
            </c:numRef>
          </c:xVal>
          <c:yVal>
            <c:numRef>
              <c:f>Sheet1!$B$109:$B$160</c:f>
              <c:numCache>
                <c:formatCode>General</c:formatCode>
                <c:ptCount val="52"/>
                <c:pt idx="0">
                  <c:v>0.1498181016425973</c:v>
                </c:pt>
                <c:pt idx="1">
                  <c:v>0.17013766325450053</c:v>
                </c:pt>
                <c:pt idx="2">
                  <c:v>0.16942148760330578</c:v>
                </c:pt>
                <c:pt idx="3">
                  <c:v>0.17484566286491576</c:v>
                </c:pt>
                <c:pt idx="4">
                  <c:v>0.17497002071296194</c:v>
                </c:pt>
                <c:pt idx="5">
                  <c:v>0.1671113008216839</c:v>
                </c:pt>
                <c:pt idx="6">
                  <c:v>0.15220268481754584</c:v>
                </c:pt>
                <c:pt idx="7">
                  <c:v>0.1545937540495011</c:v>
                </c:pt>
                <c:pt idx="8">
                  <c:v>0.1499774130402048</c:v>
                </c:pt>
                <c:pt idx="9">
                  <c:v>0.1531592477337302</c:v>
                </c:pt>
                <c:pt idx="10">
                  <c:v>0.14955121436114044</c:v>
                </c:pt>
                <c:pt idx="11">
                  <c:v>0.14305127740532705</c:v>
                </c:pt>
                <c:pt idx="12">
                  <c:v>0.1431937453143408</c:v>
                </c:pt>
                <c:pt idx="13">
                  <c:v>0.13769751693002258</c:v>
                </c:pt>
                <c:pt idx="14">
                  <c:v>0.14355670103092782</c:v>
                </c:pt>
                <c:pt idx="15">
                  <c:v>0.13593196314670447</c:v>
                </c:pt>
                <c:pt idx="16">
                  <c:v>0.12206885082321636</c:v>
                </c:pt>
                <c:pt idx="17">
                  <c:v>0.12079722703639514</c:v>
                </c:pt>
                <c:pt idx="18">
                  <c:v>0.1084456780333069</c:v>
                </c:pt>
                <c:pt idx="19">
                  <c:v>0.12294094013660105</c:v>
                </c:pt>
                <c:pt idx="20">
                  <c:v>0.12447650069799907</c:v>
                </c:pt>
                <c:pt idx="21">
                  <c:v>0.1363398007341374</c:v>
                </c:pt>
                <c:pt idx="22">
                  <c:v>0.14582252205500779</c:v>
                </c:pt>
                <c:pt idx="23">
                  <c:v>0.1485121485121485</c:v>
                </c:pt>
                <c:pt idx="24">
                  <c:v>0.14557926829268292</c:v>
                </c:pt>
                <c:pt idx="25">
                  <c:v>0.14012070322749934</c:v>
                </c:pt>
                <c:pt idx="26">
                  <c:v>0.13001245330012454</c:v>
                </c:pt>
                <c:pt idx="27">
                  <c:v>0.12907518296739853</c:v>
                </c:pt>
                <c:pt idx="28">
                  <c:v>0.1333740582366117</c:v>
                </c:pt>
                <c:pt idx="29">
                  <c:v>0.14577622726140044</c:v>
                </c:pt>
                <c:pt idx="30">
                  <c:v>0.1449238578680203</c:v>
                </c:pt>
                <c:pt idx="31">
                  <c:v>0.14441714441714443</c:v>
                </c:pt>
                <c:pt idx="32">
                  <c:v>0.15171916326039914</c:v>
                </c:pt>
                <c:pt idx="33">
                  <c:v>0.16278650063165492</c:v>
                </c:pt>
                <c:pt idx="34">
                  <c:v>0.1708726913858734</c:v>
                </c:pt>
                <c:pt idx="35">
                  <c:v>0.17422096317280453</c:v>
                </c:pt>
                <c:pt idx="36">
                  <c:v>0.1620193718814206</c:v>
                </c:pt>
                <c:pt idx="37">
                  <c:v>0.135475234270415</c:v>
                </c:pt>
                <c:pt idx="38">
                  <c:v>0.1331711766494375</c:v>
                </c:pt>
                <c:pt idx="39">
                  <c:v>0.14779525814314204</c:v>
                </c:pt>
                <c:pt idx="40">
                  <c:v>0.13564463705308777</c:v>
                </c:pt>
                <c:pt idx="41">
                  <c:v>0.14297204906495073</c:v>
                </c:pt>
                <c:pt idx="42">
                  <c:v>0.14197247706422017</c:v>
                </c:pt>
                <c:pt idx="43">
                  <c:v>0.13604960141718334</c:v>
                </c:pt>
                <c:pt idx="44">
                  <c:v>0.12600114416475972</c:v>
                </c:pt>
                <c:pt idx="45">
                  <c:v>0.1277805486284289</c:v>
                </c:pt>
                <c:pt idx="46">
                  <c:v>0.1306987399770905</c:v>
                </c:pt>
                <c:pt idx="47">
                  <c:v>0.13088735442646604</c:v>
                </c:pt>
                <c:pt idx="48">
                  <c:v>0.1158892745280623</c:v>
                </c:pt>
                <c:pt idx="49">
                  <c:v>0.12376041253470844</c:v>
                </c:pt>
                <c:pt idx="50">
                  <c:v>0.1494135370709136</c:v>
                </c:pt>
                <c:pt idx="51">
                  <c:v>0.146092754191587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773854657066515</c:v>
                </c:pt>
              </c:numCache>
            </c:numRef>
          </c:xVal>
          <c:yVal>
            <c:numRef>
              <c:f>Sheet1!$B$163:$B$164</c:f>
              <c:numCache>
                <c:formatCode>General</c:formatCode>
                <c:ptCount val="2"/>
                <c:pt idx="0">
                  <c:v>0.1710478250090755</c:v>
                </c:pt>
                <c:pt idx="1">
                  <c:v>0.171047825009075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773854657066515</c:v>
                </c:pt>
                <c:pt idx="1">
                  <c:v>0.7773854657066515</c:v>
                </c:pt>
              </c:numCache>
            </c:numRef>
          </c:xVal>
          <c:yVal>
            <c:numRef>
              <c:f>Sheet1!$B$167:$B$168</c:f>
              <c:numCache>
                <c:formatCode>General</c:formatCode>
                <c:ptCount val="2"/>
                <c:pt idx="0">
                  <c:v>0.171047825009075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244652845465397</c:v>
                </c:pt>
              </c:numCache>
            </c:numRef>
          </c:xVal>
          <c:yVal>
            <c:numRef>
              <c:f>Sheet1!$B$171:$B$172</c:f>
              <c:numCache>
                <c:formatCode>General</c:formatCode>
                <c:ptCount val="2"/>
                <c:pt idx="0">
                  <c:v>0.16256423208969079</c:v>
                </c:pt>
                <c:pt idx="1">
                  <c:v>0.1625642320896907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244652845465397</c:v>
                </c:pt>
                <c:pt idx="1">
                  <c:v>0.8244652845465397</c:v>
                </c:pt>
              </c:numCache>
            </c:numRef>
          </c:xVal>
          <c:yVal>
            <c:numRef>
              <c:f>Sheet1!$B$175:$B$176</c:f>
              <c:numCache>
                <c:formatCode>General</c:formatCode>
                <c:ptCount val="2"/>
                <c:pt idx="0">
                  <c:v>0.1625642320896907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774513997940925</c:v>
                </c:pt>
              </c:numCache>
            </c:numRef>
          </c:xVal>
          <c:yVal>
            <c:numRef>
              <c:f>Sheet1!$B$179:$B$180</c:f>
              <c:numCache>
                <c:formatCode>General</c:formatCode>
                <c:ptCount val="2"/>
                <c:pt idx="0">
                  <c:v>0.13499675294343083</c:v>
                </c:pt>
                <c:pt idx="1">
                  <c:v>0.1349967529434308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774513997940925</c:v>
                </c:pt>
                <c:pt idx="1">
                  <c:v>0.9774513997940925</c:v>
                </c:pt>
              </c:numCache>
            </c:numRef>
          </c:xVal>
          <c:yVal>
            <c:numRef>
              <c:f>Sheet1!$B$183:$B$184</c:f>
              <c:numCache>
                <c:formatCode>General</c:formatCode>
                <c:ptCount val="2"/>
                <c:pt idx="0">
                  <c:v>0.1349967529434308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772042797810198</c:v>
                </c:pt>
                <c:pt idx="1">
                  <c:v>0.8045895489268959</c:v>
                </c:pt>
                <c:pt idx="2">
                  <c:v>0.7968612062485297</c:v>
                </c:pt>
                <c:pt idx="3">
                  <c:v>0.8055346811373705</c:v>
                </c:pt>
                <c:pt idx="4">
                  <c:v>0.7984062843113365</c:v>
                </c:pt>
                <c:pt idx="5">
                  <c:v>0.8268136522972637</c:v>
                </c:pt>
                <c:pt idx="6">
                  <c:v>0.87163433519274</c:v>
                </c:pt>
                <c:pt idx="7">
                  <c:v>0.9347850441314877</c:v>
                </c:pt>
                <c:pt idx="8">
                  <c:v>0.9930101480213469</c:v>
                </c:pt>
                <c:pt idx="9">
                  <c:v>0.9902807513078115</c:v>
                </c:pt>
                <c:pt idx="10">
                  <c:v>1.0030951985785246</c:v>
                </c:pt>
                <c:pt idx="11">
                  <c:v>0.9688169891582366</c:v>
                </c:pt>
                <c:pt idx="12">
                  <c:v>0.9680410836743896</c:v>
                </c:pt>
                <c:pt idx="13">
                  <c:v>0.9456693580343172</c:v>
                </c:pt>
                <c:pt idx="14">
                  <c:v>0.9436735033171655</c:v>
                </c:pt>
                <c:pt idx="15">
                  <c:v>0.951468983968792</c:v>
                </c:pt>
                <c:pt idx="16">
                  <c:v>0.9805122382323871</c:v>
                </c:pt>
                <c:pt idx="17">
                  <c:v>0.9754015782135855</c:v>
                </c:pt>
                <c:pt idx="18">
                  <c:v>1.0871732304588935</c:v>
                </c:pt>
                <c:pt idx="19">
                  <c:v>1.0210229472597399</c:v>
                </c:pt>
                <c:pt idx="20">
                  <c:v>0.9588266703000758</c:v>
                </c:pt>
                <c:pt idx="21">
                  <c:v>0.8941528220040549</c:v>
                </c:pt>
                <c:pt idx="22">
                  <c:v>0.8711606238925519</c:v>
                </c:pt>
                <c:pt idx="23">
                  <c:v>0.8723884375855028</c:v>
                </c:pt>
                <c:pt idx="24">
                  <c:v>0.8695489865101674</c:v>
                </c:pt>
                <c:pt idx="25">
                  <c:v>0.8895200983427765</c:v>
                </c:pt>
                <c:pt idx="26">
                  <c:v>0.9238076235745026</c:v>
                </c:pt>
                <c:pt idx="27">
                  <c:v>0.9357558801474781</c:v>
                </c:pt>
                <c:pt idx="28">
                  <c:v>0.931447360096786</c:v>
                </c:pt>
                <c:pt idx="29">
                  <c:v>0.8975193069257216</c:v>
                </c:pt>
                <c:pt idx="30">
                  <c:v>0.9097207738817855</c:v>
                </c:pt>
                <c:pt idx="31">
                  <c:v>0.8636361495963062</c:v>
                </c:pt>
                <c:pt idx="32">
                  <c:v>0.8618378943206249</c:v>
                </c:pt>
                <c:pt idx="33">
                  <c:v>0.9084761997150721</c:v>
                </c:pt>
                <c:pt idx="34">
                  <c:v>0.9360798986163521</c:v>
                </c:pt>
                <c:pt idx="35">
                  <c:v>0.8753216509377892</c:v>
                </c:pt>
                <c:pt idx="36">
                  <c:v>0.8516207366872408</c:v>
                </c:pt>
                <c:pt idx="37">
                  <c:v>0.9120264812485064</c:v>
                </c:pt>
                <c:pt idx="38">
                  <c:v>0.9357962248178071</c:v>
                </c:pt>
                <c:pt idx="39">
                  <c:v>0.9490457530330668</c:v>
                </c:pt>
                <c:pt idx="40">
                  <c:v>0.976935108107621</c:v>
                </c:pt>
                <c:pt idx="41">
                  <c:v>0.9839012667145743</c:v>
                </c:pt>
                <c:pt idx="42">
                  <c:v>0.9528233840182203</c:v>
                </c:pt>
                <c:pt idx="43">
                  <c:v>1.0172270953824314</c:v>
                </c:pt>
                <c:pt idx="44">
                  <c:v>1.0513908526539666</c:v>
                </c:pt>
                <c:pt idx="45">
                  <c:v>1.0037872808842723</c:v>
                </c:pt>
                <c:pt idx="46">
                  <c:v>0.979007538139499</c:v>
                </c:pt>
                <c:pt idx="47">
                  <c:v>0.9693644018112753</c:v>
                </c:pt>
                <c:pt idx="48">
                  <c:v>1.0140942405944993</c:v>
                </c:pt>
                <c:pt idx="49">
                  <c:v>1.0251195757481295</c:v>
                </c:pt>
                <c:pt idx="50">
                  <c:v>0.9002565840206729</c:v>
                </c:pt>
                <c:pt idx="51">
                  <c:v>0.9351113076010832</c:v>
                </c:pt>
                <c:pt idx="52">
                  <c:v>0.8244652845465397</c:v>
                </c:pt>
                <c:pt idx="53">
                  <c:v>0.7773854657066515</c:v>
                </c:pt>
                <c:pt idx="54">
                  <c:v>0.9774513997940925</c:v>
                </c:pt>
              </c:numCache>
            </c:numRef>
          </c:xVal>
          <c:yVal>
            <c:numRef>
              <c:f>Sheet1!$B$187:$B$241</c:f>
              <c:numCache>
                <c:formatCode>General</c:formatCode>
                <c:ptCount val="55"/>
                <c:pt idx="0">
                  <c:v>0.15306087847509214</c:v>
                </c:pt>
                <c:pt idx="1">
                  <c:v>0.1661457592519727</c:v>
                </c:pt>
                <c:pt idx="2">
                  <c:v>0.1675383753418464</c:v>
                </c:pt>
                <c:pt idx="3">
                  <c:v>0.16597545025065874</c:v>
                </c:pt>
                <c:pt idx="4">
                  <c:v>0.16725995852469375</c:v>
                </c:pt>
                <c:pt idx="5">
                  <c:v>0.16214106572004294</c:v>
                </c:pt>
                <c:pt idx="6">
                  <c:v>0.15406455995974688</c:v>
                </c:pt>
                <c:pt idx="7">
                  <c:v>0.14268505765051165</c:v>
                </c:pt>
                <c:pt idx="8">
                  <c:v>0.13219312944725473</c:v>
                </c:pt>
                <c:pt idx="9">
                  <c:v>0.1326849556947577</c:v>
                </c:pt>
                <c:pt idx="10">
                  <c:v>0.13037584413038725</c:v>
                </c:pt>
                <c:pt idx="11">
                  <c:v>0.13655263881424362</c:v>
                </c:pt>
                <c:pt idx="12">
                  <c:v>0.13669245384393314</c:v>
                </c:pt>
                <c:pt idx="13">
                  <c:v>0.14072374831173884</c:v>
                </c:pt>
                <c:pt idx="14">
                  <c:v>0.14108339325863492</c:v>
                </c:pt>
                <c:pt idx="15">
                  <c:v>0.13967867917754953</c:v>
                </c:pt>
                <c:pt idx="16">
                  <c:v>0.13444520223779183</c:v>
                </c:pt>
                <c:pt idx="17">
                  <c:v>0.1353661225008102</c:v>
                </c:pt>
                <c:pt idx="18">
                  <c:v>0.11522532287706896</c:v>
                </c:pt>
                <c:pt idx="19">
                  <c:v>0.1271453363348983</c:v>
                </c:pt>
                <c:pt idx="20">
                  <c:v>0.1383528538621333</c:v>
                </c:pt>
                <c:pt idx="21">
                  <c:v>0.15000681972252505</c:v>
                </c:pt>
                <c:pt idx="22">
                  <c:v>0.15414992081990178</c:v>
                </c:pt>
                <c:pt idx="23">
                  <c:v>0.1539286737588783</c:v>
                </c:pt>
                <c:pt idx="24">
                  <c:v>0.1544403313572131</c:v>
                </c:pt>
                <c:pt idx="25">
                  <c:v>0.15084161778714694</c:v>
                </c:pt>
                <c:pt idx="26">
                  <c:v>0.14466314443175143</c:v>
                </c:pt>
                <c:pt idx="27">
                  <c:v>0.14251011692741433</c:v>
                </c:pt>
                <c:pt idx="28">
                  <c:v>0.14328649481279632</c:v>
                </c:pt>
                <c:pt idx="29">
                  <c:v>0.14940019275690747</c:v>
                </c:pt>
                <c:pt idx="30">
                  <c:v>0.14720153776576145</c:v>
                </c:pt>
                <c:pt idx="31">
                  <c:v>0.15550580065195496</c:v>
                </c:pt>
                <c:pt idx="32">
                  <c:v>0.15582983897877817</c:v>
                </c:pt>
                <c:pt idx="33">
                  <c:v>0.14742580499636163</c:v>
                </c:pt>
                <c:pt idx="34">
                  <c:v>0.1424517301099621</c:v>
                </c:pt>
                <c:pt idx="35">
                  <c:v>0.15340012057750077</c:v>
                </c:pt>
                <c:pt idx="36">
                  <c:v>0.15767092945641137</c:v>
                </c:pt>
                <c:pt idx="37">
                  <c:v>0.1467860586247518</c:v>
                </c:pt>
                <c:pt idx="38">
                  <c:v>0.14250284698101326</c:v>
                </c:pt>
                <c:pt idx="39">
                  <c:v>0.14011533559031666</c:v>
                </c:pt>
                <c:pt idx="40">
                  <c:v>0.1350897866169584</c:v>
                </c:pt>
                <c:pt idx="41">
                  <c:v>0.13383451301375604</c:v>
                </c:pt>
                <c:pt idx="42">
                  <c:v>0.13943462176712448</c:v>
                </c:pt>
                <c:pt idx="43">
                  <c:v>0.1278293334891542</c:v>
                </c:pt>
                <c:pt idx="44">
                  <c:v>0.12167316261954975</c:v>
                </c:pt>
                <c:pt idx="45">
                  <c:v>0.13025113369833058</c:v>
                </c:pt>
                <c:pt idx="46">
                  <c:v>0.13471634310809202</c:v>
                </c:pt>
                <c:pt idx="47">
                  <c:v>0.13645399726842342</c:v>
                </c:pt>
                <c:pt idx="48">
                  <c:v>0.12839386124969526</c:v>
                </c:pt>
                <c:pt idx="49">
                  <c:v>0.12640714045195223</c:v>
                </c:pt>
                <c:pt idx="50">
                  <c:v>0.14890694649654915</c:v>
                </c:pt>
                <c:pt idx="51">
                  <c:v>0.14262626629301028</c:v>
                </c:pt>
                <c:pt idx="52">
                  <c:v>0.16256423208969079</c:v>
                </c:pt>
                <c:pt idx="53">
                  <c:v>0.1710478250090755</c:v>
                </c:pt>
                <c:pt idx="54">
                  <c:v>0.1349967529434308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77357958550684"/>
          <c:min val="0.0741206748641692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3.5515</c:v>
                </c:pt>
                <c:pt idx="1">
                  <c:v>968.8007</c:v>
                </c:pt>
                <c:pt idx="2">
                  <c:v>1051.4074</c:v>
                </c:pt>
                <c:pt idx="3">
                  <c:v>1064.785</c:v>
                </c:pt>
                <c:pt idx="4">
                  <c:v>1042.4584</c:v>
                </c:pt>
                <c:pt idx="5">
                  <c:v>1032.3896</c:v>
                </c:pt>
                <c:pt idx="6">
                  <c:v>989.9868</c:v>
                </c:pt>
                <c:pt idx="7">
                  <c:v>1016.8578</c:v>
                </c:pt>
                <c:pt idx="8">
                  <c:v>1015.5103</c:v>
                </c:pt>
                <c:pt idx="9">
                  <c:v>1023.0491</c:v>
                </c:pt>
                <c:pt idx="10">
                  <c:v>1029.5573</c:v>
                </c:pt>
                <c:pt idx="11">
                  <c:v>1057.71</c:v>
                </c:pt>
                <c:pt idx="12">
                  <c:v>1051.6564</c:v>
                </c:pt>
                <c:pt idx="13">
                  <c:v>1028.5987</c:v>
                </c:pt>
                <c:pt idx="14">
                  <c:v>1044.3154</c:v>
                </c:pt>
                <c:pt idx="15">
                  <c:v>1038.6505</c:v>
                </c:pt>
                <c:pt idx="16">
                  <c:v>1025.5313</c:v>
                </c:pt>
                <c:pt idx="17">
                  <c:v>1056.4484</c:v>
                </c:pt>
                <c:pt idx="18">
                  <c:v>1120.1493</c:v>
                </c:pt>
                <c:pt idx="19">
                  <c:v>1137.5172</c:v>
                </c:pt>
                <c:pt idx="20">
                  <c:v>1161.1994</c:v>
                </c:pt>
                <c:pt idx="21">
                  <c:v>1154.5194</c:v>
                </c:pt>
                <c:pt idx="22">
                  <c:v>1183.2329</c:v>
                </c:pt>
                <c:pt idx="23">
                  <c:v>1153.7106</c:v>
                </c:pt>
                <c:pt idx="24">
                  <c:v>1121.526</c:v>
                </c:pt>
                <c:pt idx="25">
                  <c:v>1116.1512</c:v>
                </c:pt>
                <c:pt idx="26">
                  <c:v>1133.5352</c:v>
                </c:pt>
                <c:pt idx="27">
                  <c:v>1100.39</c:v>
                </c:pt>
                <c:pt idx="28">
                  <c:v>1096.6831</c:v>
                </c:pt>
                <c:pt idx="29">
                  <c:v>1064.1833</c:v>
                </c:pt>
                <c:pt idx="30">
                  <c:v>1090.1164</c:v>
                </c:pt>
                <c:pt idx="31">
                  <c:v>1088.351</c:v>
                </c:pt>
                <c:pt idx="32">
                  <c:v>1088.2737</c:v>
                </c:pt>
                <c:pt idx="33">
                  <c:v>1065.4937</c:v>
                </c:pt>
                <c:pt idx="34">
                  <c:v>1103.5432</c:v>
                </c:pt>
                <c:pt idx="35">
                  <c:v>1156.2288</c:v>
                </c:pt>
                <c:pt idx="36">
                  <c:v>1215.8333</c:v>
                </c:pt>
                <c:pt idx="37">
                  <c:v>1192.4805</c:v>
                </c:pt>
                <c:pt idx="38">
                  <c:v>1299.3461</c:v>
                </c:pt>
                <c:pt idx="39">
                  <c:v>1241.5009</c:v>
                </c:pt>
                <c:pt idx="40">
                  <c:v>1301.2217</c:v>
                </c:pt>
                <c:pt idx="41">
                  <c:v>1302.2176</c:v>
                </c:pt>
                <c:pt idx="42">
                  <c:v>1350.3111</c:v>
                </c:pt>
                <c:pt idx="43">
                  <c:v>1358.805</c:v>
                </c:pt>
                <c:pt idx="44">
                  <c:v>1179.0222</c:v>
                </c:pt>
                <c:pt idx="45">
                  <c:v>1111.5194</c:v>
                </c:pt>
                <c:pt idx="46">
                  <c:v>1139.9529</c:v>
                </c:pt>
                <c:pt idx="47">
                  <c:v>1126.6619</c:v>
                </c:pt>
                <c:pt idx="48">
                  <c:v>1120.3653</c:v>
                </c:pt>
                <c:pt idx="49">
                  <c:v>1092.3295</c:v>
                </c:pt>
                <c:pt idx="50">
                  <c:v>1087.4151</c:v>
                </c:pt>
                <c:pt idx="51">
                  <c:v>1129.6674</c:v>
                </c:pt>
                <c:pt idx="52">
                  <c:v>1139.188</c:v>
                </c:pt>
                <c:pt idx="53">
                  <c:v>1236.5945</c:v>
                </c:pt>
                <c:pt idx="54">
                  <c:v>1274.8961</c:v>
                </c:pt>
                <c:pt idx="55">
                  <c:v>1274.1697</c:v>
                </c:pt>
                <c:pt idx="56">
                  <c:v>1282.1764</c:v>
                </c:pt>
                <c:pt idx="57">
                  <c:v>1250.1946</c:v>
                </c:pt>
                <c:pt idx="58">
                  <c:v>1211.3883</c:v>
                </c:pt>
                <c:pt idx="59">
                  <c:v>1192.2165</c:v>
                </c:pt>
                <c:pt idx="60">
                  <c:v>1199.2439</c:v>
                </c:pt>
                <c:pt idx="61">
                  <c:v>1190.0269</c:v>
                </c:pt>
                <c:pt idx="62">
                  <c:v>1167.2672</c:v>
                </c:pt>
                <c:pt idx="63">
                  <c:v>1156.9929</c:v>
                </c:pt>
                <c:pt idx="64">
                  <c:v>1155.3581</c:v>
                </c:pt>
                <c:pt idx="65">
                  <c:v>1138.9803</c:v>
                </c:pt>
                <c:pt idx="66">
                  <c:v>1140.7814</c:v>
                </c:pt>
                <c:pt idx="67">
                  <c:v>1182.7694</c:v>
                </c:pt>
                <c:pt idx="68">
                  <c:v>1207.7977</c:v>
                </c:pt>
                <c:pt idx="69">
                  <c:v>1208.0934</c:v>
                </c:pt>
                <c:pt idx="70">
                  <c:v>1166.4371</c:v>
                </c:pt>
                <c:pt idx="71">
                  <c:v>1255.3311</c:v>
                </c:pt>
                <c:pt idx="72">
                  <c:v>1280.6945</c:v>
                </c:pt>
                <c:pt idx="73">
                  <c:v>1262.6078</c:v>
                </c:pt>
                <c:pt idx="74">
                  <c:v>1261.0847</c:v>
                </c:pt>
                <c:pt idx="75">
                  <c:v>1261.9767</c:v>
                </c:pt>
                <c:pt idx="76">
                  <c:v>1315.0582</c:v>
                </c:pt>
                <c:pt idx="77">
                  <c:v>1307.2181</c:v>
                </c:pt>
                <c:pt idx="78">
                  <c:v>1319.603</c:v>
                </c:pt>
                <c:pt idx="79">
                  <c:v>1331.056</c:v>
                </c:pt>
                <c:pt idx="80">
                  <c:v>1314.5698</c:v>
                </c:pt>
                <c:pt idx="81">
                  <c:v>1353.948</c:v>
                </c:pt>
                <c:pt idx="82">
                  <c:v>1357.3926</c:v>
                </c:pt>
                <c:pt idx="83">
                  <c:v>1347.5679</c:v>
                </c:pt>
                <c:pt idx="84">
                  <c:v>1302.6901</c:v>
                </c:pt>
                <c:pt idx="85">
                  <c:v>1321.4598</c:v>
                </c:pt>
                <c:pt idx="86">
                  <c:v>1304.6374</c:v>
                </c:pt>
                <c:pt idx="87">
                  <c:v>1313.2118</c:v>
                </c:pt>
                <c:pt idx="88">
                  <c:v>1310.3208</c:v>
                </c:pt>
                <c:pt idx="89">
                  <c:v>1291.3272</c:v>
                </c:pt>
                <c:pt idx="90">
                  <c:v>1357.223</c:v>
                </c:pt>
                <c:pt idx="91">
                  <c:v>1367.4148</c:v>
                </c:pt>
                <c:pt idx="92">
                  <c:v>1308.3715</c:v>
                </c:pt>
                <c:pt idx="93">
                  <c:v>1323.4535</c:v>
                </c:pt>
                <c:pt idx="94">
                  <c:v>1349.9593</c:v>
                </c:pt>
                <c:pt idx="95">
                  <c:v>1257.9963</c:v>
                </c:pt>
                <c:pt idx="96">
                  <c:v>1186.9316</c:v>
                </c:pt>
                <c:pt idx="97">
                  <c:v>1223.4484</c:v>
                </c:pt>
                <c:pt idx="98">
                  <c:v>1199.9744</c:v>
                </c:pt>
                <c:pt idx="99">
                  <c:v>1183.9447</c:v>
                </c:pt>
                <c:pt idx="100">
                  <c:v>1212.2284</c:v>
                </c:pt>
                <c:pt idx="101">
                  <c:v>1205.6813</c:v>
                </c:pt>
                <c:pt idx="102">
                  <c:v>1234.7696</c:v>
                </c:pt>
                <c:pt idx="103">
                  <c:v>895.2359</c:v>
                </c:pt>
                <c:pt idx="104">
                  <c:v>1016.0944</c:v>
                </c:pt>
              </c:numCache>
            </c:numRef>
          </c:xVal>
          <c:yVal>
            <c:numRef>
              <c:f>Sheet1!$B$2:$B$106</c:f>
              <c:numCache>
                <c:formatCode>General</c:formatCode>
                <c:ptCount val="105"/>
                <c:pt idx="0">
                  <c:v>0.16079708000394594</c:v>
                </c:pt>
                <c:pt idx="1">
                  <c:v>0.17096959265633965</c:v>
                </c:pt>
                <c:pt idx="2">
                  <c:v>0.16387037462652262</c:v>
                </c:pt>
                <c:pt idx="3">
                  <c:v>0.17216714769732713</c:v>
                </c:pt>
                <c:pt idx="4">
                  <c:v>0.18144649654589032</c:v>
                </c:pt>
                <c:pt idx="5">
                  <c:v>0.16709166554824856</c:v>
                </c:pt>
                <c:pt idx="6">
                  <c:v>0.17090563346802948</c:v>
                </c:pt>
                <c:pt idx="7">
                  <c:v>0.17403117403117402</c:v>
                </c:pt>
                <c:pt idx="8">
                  <c:v>0.1781512605042017</c:v>
                </c:pt>
                <c:pt idx="9">
                  <c:v>0.15042326893857175</c:v>
                </c:pt>
                <c:pt idx="10">
                  <c:v>0.15494623655913978</c:v>
                </c:pt>
                <c:pt idx="11">
                  <c:v>0.15510531135531136</c:v>
                </c:pt>
                <c:pt idx="12">
                  <c:v>0.15825809877854488</c:v>
                </c:pt>
                <c:pt idx="13">
                  <c:v>0.15976838944885266</c:v>
                </c:pt>
                <c:pt idx="14">
                  <c:v>0.14671772428884025</c:v>
                </c:pt>
                <c:pt idx="15">
                  <c:v>0.1547028042399034</c:v>
                </c:pt>
                <c:pt idx="16">
                  <c:v>0.15219392451672292</c:v>
                </c:pt>
                <c:pt idx="17">
                  <c:v>0.15314365999297505</c:v>
                </c:pt>
                <c:pt idx="18">
                  <c:v>0.13445050662509742</c:v>
                </c:pt>
                <c:pt idx="19">
                  <c:v>0.11931428571428572</c:v>
                </c:pt>
                <c:pt idx="20">
                  <c:v>0.12084993359893759</c:v>
                </c:pt>
                <c:pt idx="21">
                  <c:v>0.12794445821968758</c:v>
                </c:pt>
                <c:pt idx="22">
                  <c:v>0.12385531135531136</c:v>
                </c:pt>
                <c:pt idx="23">
                  <c:v>0.130622009569378</c:v>
                </c:pt>
                <c:pt idx="24">
                  <c:v>0.14051781367559193</c:v>
                </c:pt>
                <c:pt idx="25">
                  <c:v>0.1366351418616227</c:v>
                </c:pt>
                <c:pt idx="26">
                  <c:v>0.14001284521515736</c:v>
                </c:pt>
                <c:pt idx="27">
                  <c:v>0.13755546591367487</c:v>
                </c:pt>
                <c:pt idx="28">
                  <c:v>0.14340836012861735</c:v>
                </c:pt>
                <c:pt idx="29">
                  <c:v>0.15733283386401947</c:v>
                </c:pt>
                <c:pt idx="30">
                  <c:v>0.13095238095238096</c:v>
                </c:pt>
                <c:pt idx="31">
                  <c:v>0.12383971021055015</c:v>
                </c:pt>
                <c:pt idx="32">
                  <c:v>0.12989972652689152</c:v>
                </c:pt>
                <c:pt idx="33">
                  <c:v>0.141439205955335</c:v>
                </c:pt>
                <c:pt idx="34">
                  <c:v>0.1374080192221054</c:v>
                </c:pt>
                <c:pt idx="35">
                  <c:v>0.13109243697478992</c:v>
                </c:pt>
                <c:pt idx="36">
                  <c:v>0.11298116980503249</c:v>
                </c:pt>
                <c:pt idx="37">
                  <c:v>0.1138728323699422</c:v>
                </c:pt>
                <c:pt idx="38">
                  <c:v>0.09835038630194196</c:v>
                </c:pt>
                <c:pt idx="39">
                  <c:v>0.11475761475761476</c:v>
                </c:pt>
                <c:pt idx="40">
                  <c:v>0.11250654107796965</c:v>
                </c:pt>
                <c:pt idx="41">
                  <c:v>0.11540761411201914</c:v>
                </c:pt>
                <c:pt idx="42">
                  <c:v>0.12056859051207398</c:v>
                </c:pt>
                <c:pt idx="43">
                  <c:v>0.11750038959015116</c:v>
                </c:pt>
                <c:pt idx="44">
                  <c:v>0.13330786860198626</c:v>
                </c:pt>
                <c:pt idx="45">
                  <c:v>0.14740243599304</c:v>
                </c:pt>
                <c:pt idx="46">
                  <c:v>0.1537085230969421</c:v>
                </c:pt>
                <c:pt idx="47">
                  <c:v>0.1516112873601603</c:v>
                </c:pt>
                <c:pt idx="48">
                  <c:v>0.16138698630136986</c:v>
                </c:pt>
                <c:pt idx="49">
                  <c:v>0.17430535059240207</c:v>
                </c:pt>
                <c:pt idx="50">
                  <c:v>0.15642128341344128</c:v>
                </c:pt>
                <c:pt idx="51">
                  <c:v>0.1456538762725137</c:v>
                </c:pt>
                <c:pt idx="52">
                  <c:v>0.14864487286951664</c:v>
                </c:pt>
                <c:pt idx="53">
                  <c:v>0.13720657276995304</c:v>
                </c:pt>
                <c:pt idx="54">
                  <c:v>0.1304977613905715</c:v>
                </c:pt>
                <c:pt idx="55">
                  <c:v>0.13215859030837004</c:v>
                </c:pt>
                <c:pt idx="56">
                  <c:v>0.1470124659693366</c:v>
                </c:pt>
                <c:pt idx="57">
                  <c:v>0.14220404234841194</c:v>
                </c:pt>
                <c:pt idx="58">
                  <c:v>0.15447499734579043</c:v>
                </c:pt>
                <c:pt idx="59">
                  <c:v>0.153218679899395</c:v>
                </c:pt>
                <c:pt idx="60">
                  <c:v>0.17220025367455047</c:v>
                </c:pt>
                <c:pt idx="61">
                  <c:v>0.1796218487394958</c:v>
                </c:pt>
                <c:pt idx="62">
                  <c:v>0.17017114914425427</c:v>
                </c:pt>
                <c:pt idx="63">
                  <c:v>0.17429155192324775</c:v>
                </c:pt>
                <c:pt idx="64">
                  <c:v>0.15572802429559643</c:v>
                </c:pt>
                <c:pt idx="65">
                  <c:v>0.14197588559678476</c:v>
                </c:pt>
                <c:pt idx="66">
                  <c:v>0.13703131039814456</c:v>
                </c:pt>
                <c:pt idx="67">
                  <c:v>0.13469258398478767</c:v>
                </c:pt>
                <c:pt idx="68">
                  <c:v>0.11407605070046697</c:v>
                </c:pt>
                <c:pt idx="69">
                  <c:v>0.10633561643835616</c:v>
                </c:pt>
                <c:pt idx="70">
                  <c:v>0.10001655903295248</c:v>
                </c:pt>
                <c:pt idx="71">
                  <c:v>0.11459703174901371</c:v>
                </c:pt>
                <c:pt idx="72">
                  <c:v>0.11376210235131397</c:v>
                </c:pt>
                <c:pt idx="73">
                  <c:v>0.12013239875389409</c:v>
                </c:pt>
                <c:pt idx="74">
                  <c:v>0.11942186088527552</c:v>
                </c:pt>
                <c:pt idx="75">
                  <c:v>0.11329550060802594</c:v>
                </c:pt>
                <c:pt idx="76">
                  <c:v>0.11784214017245191</c:v>
                </c:pt>
                <c:pt idx="77">
                  <c:v>0.10702498821310702</c:v>
                </c:pt>
                <c:pt idx="78">
                  <c:v>0.1198024948024948</c:v>
                </c:pt>
                <c:pt idx="79">
                  <c:v>0.10997866793078928</c:v>
                </c:pt>
                <c:pt idx="80">
                  <c:v>0.09935304990757855</c:v>
                </c:pt>
                <c:pt idx="81">
                  <c:v>0.09512937595129375</c:v>
                </c:pt>
                <c:pt idx="82">
                  <c:v>0.1019124308002013</c:v>
                </c:pt>
                <c:pt idx="83">
                  <c:v>0.09265084358021161</c:v>
                </c:pt>
                <c:pt idx="84">
                  <c:v>0.10031082226617688</c:v>
                </c:pt>
                <c:pt idx="85">
                  <c:v>0.09764474975466143</c:v>
                </c:pt>
                <c:pt idx="86">
                  <c:v>0.10536602700781805</c:v>
                </c:pt>
                <c:pt idx="87">
                  <c:v>0.11496291518864882</c:v>
                </c:pt>
                <c:pt idx="88">
                  <c:v>0.10772184300341298</c:v>
                </c:pt>
                <c:pt idx="89">
                  <c:v>0.10490693739424704</c:v>
                </c:pt>
                <c:pt idx="90">
                  <c:v>0.10665998998497747</c:v>
                </c:pt>
                <c:pt idx="91">
                  <c:v>0.09854563691073219</c:v>
                </c:pt>
                <c:pt idx="92">
                  <c:v>0.11252099272252286</c:v>
                </c:pt>
                <c:pt idx="93">
                  <c:v>0.10864464898032845</c:v>
                </c:pt>
                <c:pt idx="94">
                  <c:v>0.10680379746835443</c:v>
                </c:pt>
                <c:pt idx="95">
                  <c:v>0.11853573503776874</c:v>
                </c:pt>
                <c:pt idx="96">
                  <c:v>0.11556934160496297</c:v>
                </c:pt>
                <c:pt idx="97">
                  <c:v>0.12486234646336299</c:v>
                </c:pt>
                <c:pt idx="98">
                  <c:v>0.13415079191299906</c:v>
                </c:pt>
                <c:pt idx="99">
                  <c:v>0.13662736290473518</c:v>
                </c:pt>
                <c:pt idx="100">
                  <c:v>0.14058713886300092</c:v>
                </c:pt>
                <c:pt idx="101">
                  <c:v>0.1458021612635079</c:v>
                </c:pt>
                <c:pt idx="102">
                  <c:v>0.1329410351867419</c:v>
                </c:pt>
                <c:pt idx="103">
                  <c:v>0.17442778216258878</c:v>
                </c:pt>
                <c:pt idx="104">
                  <c:v>0.1681894686222649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0.3966</c:v>
                </c:pt>
                <c:pt idx="1">
                  <c:v>1163.0214</c:v>
                </c:pt>
                <c:pt idx="2">
                  <c:v>1145.1945</c:v>
                </c:pt>
                <c:pt idx="3">
                  <c:v>1211.4979</c:v>
                </c:pt>
                <c:pt idx="4">
                  <c:v>1190.6692</c:v>
                </c:pt>
                <c:pt idx="5">
                  <c:v>1196.9157</c:v>
                </c:pt>
                <c:pt idx="6">
                  <c:v>1156.8466</c:v>
                </c:pt>
                <c:pt idx="7">
                  <c:v>1242.43</c:v>
                </c:pt>
                <c:pt idx="8">
                  <c:v>1349.6416</c:v>
                </c:pt>
                <c:pt idx="9">
                  <c:v>1325.0512</c:v>
                </c:pt>
                <c:pt idx="10">
                  <c:v>1343.5428</c:v>
                </c:pt>
                <c:pt idx="11">
                  <c:v>1208.0988</c:v>
                </c:pt>
                <c:pt idx="12">
                  <c:v>1243.5812</c:v>
                </c:pt>
                <c:pt idx="13">
                  <c:v>1297.3097</c:v>
                </c:pt>
                <c:pt idx="14">
                  <c:v>1287.3375</c:v>
                </c:pt>
                <c:pt idx="15">
                  <c:v>1310.1981</c:v>
                </c:pt>
                <c:pt idx="16">
                  <c:v>1339.1894</c:v>
                </c:pt>
                <c:pt idx="17">
                  <c:v>1303.462</c:v>
                </c:pt>
                <c:pt idx="18">
                  <c:v>1396.8592</c:v>
                </c:pt>
                <c:pt idx="19">
                  <c:v>1455.6765</c:v>
                </c:pt>
                <c:pt idx="20">
                  <c:v>1413.0523</c:v>
                </c:pt>
                <c:pt idx="21">
                  <c:v>1296.0096</c:v>
                </c:pt>
                <c:pt idx="22">
                  <c:v>1238.758</c:v>
                </c:pt>
                <c:pt idx="23">
                  <c:v>1270.5993</c:v>
                </c:pt>
                <c:pt idx="24">
                  <c:v>1252.9267</c:v>
                </c:pt>
                <c:pt idx="25">
                  <c:v>1202.9981</c:v>
                </c:pt>
                <c:pt idx="26">
                  <c:v>1269.5575</c:v>
                </c:pt>
                <c:pt idx="27">
                  <c:v>1275.9897</c:v>
                </c:pt>
                <c:pt idx="28">
                  <c:v>1289.742</c:v>
                </c:pt>
                <c:pt idx="29">
                  <c:v>1286.9436</c:v>
                </c:pt>
                <c:pt idx="30">
                  <c:v>1307.2592</c:v>
                </c:pt>
                <c:pt idx="31">
                  <c:v>1210.4783</c:v>
                </c:pt>
                <c:pt idx="32">
                  <c:v>1211.4358</c:v>
                </c:pt>
                <c:pt idx="33">
                  <c:v>1275.5044</c:v>
                </c:pt>
                <c:pt idx="34">
                  <c:v>1317.0017</c:v>
                </c:pt>
                <c:pt idx="35">
                  <c:v>1254.81</c:v>
                </c:pt>
                <c:pt idx="36">
                  <c:v>1279.6196</c:v>
                </c:pt>
                <c:pt idx="37">
                  <c:v>1392.6897</c:v>
                </c:pt>
                <c:pt idx="38">
                  <c:v>1411.8265</c:v>
                </c:pt>
                <c:pt idx="39">
                  <c:v>1338.937</c:v>
                </c:pt>
                <c:pt idx="40">
                  <c:v>1344.5511</c:v>
                </c:pt>
                <c:pt idx="41">
                  <c:v>1374.5021</c:v>
                </c:pt>
                <c:pt idx="42">
                  <c:v>1363.2633</c:v>
                </c:pt>
                <c:pt idx="43">
                  <c:v>1385.8646</c:v>
                </c:pt>
                <c:pt idx="44">
                  <c:v>1313.4291</c:v>
                </c:pt>
                <c:pt idx="45">
                  <c:v>1259.1335</c:v>
                </c:pt>
                <c:pt idx="46">
                  <c:v>1248.8414</c:v>
                </c:pt>
                <c:pt idx="47">
                  <c:v>1205.3614</c:v>
                </c:pt>
                <c:pt idx="48">
                  <c:v>1178.9094</c:v>
                </c:pt>
                <c:pt idx="49">
                  <c:v>1194.3865</c:v>
                </c:pt>
                <c:pt idx="50">
                  <c:v>1074.9719</c:v>
                </c:pt>
                <c:pt idx="51">
                  <c:v>1063.0725</c:v>
                </c:pt>
              </c:numCache>
            </c:numRef>
          </c:xVal>
          <c:yVal>
            <c:numRef>
              <c:f>Sheet1!$B$109:$B$160</c:f>
              <c:numCache>
                <c:formatCode>General</c:formatCode>
                <c:ptCount val="52"/>
                <c:pt idx="0">
                  <c:v>0.1498181016425973</c:v>
                </c:pt>
                <c:pt idx="1">
                  <c:v>0.17013766325450053</c:v>
                </c:pt>
                <c:pt idx="2">
                  <c:v>0.16942148760330578</c:v>
                </c:pt>
                <c:pt idx="3">
                  <c:v>0.17484566286491576</c:v>
                </c:pt>
                <c:pt idx="4">
                  <c:v>0.17497002071296194</c:v>
                </c:pt>
                <c:pt idx="5">
                  <c:v>0.1671113008216839</c:v>
                </c:pt>
                <c:pt idx="6">
                  <c:v>0.15220268481754584</c:v>
                </c:pt>
                <c:pt idx="7">
                  <c:v>0.1545937540495011</c:v>
                </c:pt>
                <c:pt idx="8">
                  <c:v>0.1499774130402048</c:v>
                </c:pt>
                <c:pt idx="9">
                  <c:v>0.1531592477337302</c:v>
                </c:pt>
                <c:pt idx="10">
                  <c:v>0.14955121436114044</c:v>
                </c:pt>
                <c:pt idx="11">
                  <c:v>0.14305127740532705</c:v>
                </c:pt>
                <c:pt idx="12">
                  <c:v>0.1431937453143408</c:v>
                </c:pt>
                <c:pt idx="13">
                  <c:v>0.13769751693002258</c:v>
                </c:pt>
                <c:pt idx="14">
                  <c:v>0.14355670103092782</c:v>
                </c:pt>
                <c:pt idx="15">
                  <c:v>0.13593196314670447</c:v>
                </c:pt>
                <c:pt idx="16">
                  <c:v>0.12206885082321636</c:v>
                </c:pt>
                <c:pt idx="17">
                  <c:v>0.12079722703639514</c:v>
                </c:pt>
                <c:pt idx="18">
                  <c:v>0.1084456780333069</c:v>
                </c:pt>
                <c:pt idx="19">
                  <c:v>0.12294094013660105</c:v>
                </c:pt>
                <c:pt idx="20">
                  <c:v>0.12447650069799907</c:v>
                </c:pt>
                <c:pt idx="21">
                  <c:v>0.1363398007341374</c:v>
                </c:pt>
                <c:pt idx="22">
                  <c:v>0.14582252205500779</c:v>
                </c:pt>
                <c:pt idx="23">
                  <c:v>0.1485121485121485</c:v>
                </c:pt>
                <c:pt idx="24">
                  <c:v>0.14557926829268292</c:v>
                </c:pt>
                <c:pt idx="25">
                  <c:v>0.14012070322749934</c:v>
                </c:pt>
                <c:pt idx="26">
                  <c:v>0.13001245330012454</c:v>
                </c:pt>
                <c:pt idx="27">
                  <c:v>0.12907518296739853</c:v>
                </c:pt>
                <c:pt idx="28">
                  <c:v>0.1333740582366117</c:v>
                </c:pt>
                <c:pt idx="29">
                  <c:v>0.14577622726140044</c:v>
                </c:pt>
                <c:pt idx="30">
                  <c:v>0.1449238578680203</c:v>
                </c:pt>
                <c:pt idx="31">
                  <c:v>0.14441714441714443</c:v>
                </c:pt>
                <c:pt idx="32">
                  <c:v>0.15171916326039914</c:v>
                </c:pt>
                <c:pt idx="33">
                  <c:v>0.16278650063165492</c:v>
                </c:pt>
                <c:pt idx="34">
                  <c:v>0.1708726913858734</c:v>
                </c:pt>
                <c:pt idx="35">
                  <c:v>0.17422096317280453</c:v>
                </c:pt>
                <c:pt idx="36">
                  <c:v>0.1620193718814206</c:v>
                </c:pt>
                <c:pt idx="37">
                  <c:v>0.135475234270415</c:v>
                </c:pt>
                <c:pt idx="38">
                  <c:v>0.1331711766494375</c:v>
                </c:pt>
                <c:pt idx="39">
                  <c:v>0.14779525814314204</c:v>
                </c:pt>
                <c:pt idx="40">
                  <c:v>0.13564463705308777</c:v>
                </c:pt>
                <c:pt idx="41">
                  <c:v>0.14297204906495073</c:v>
                </c:pt>
                <c:pt idx="42">
                  <c:v>0.14197247706422017</c:v>
                </c:pt>
                <c:pt idx="43">
                  <c:v>0.13604960141718334</c:v>
                </c:pt>
                <c:pt idx="44">
                  <c:v>0.12600114416475972</c:v>
                </c:pt>
                <c:pt idx="45">
                  <c:v>0.1277805486284289</c:v>
                </c:pt>
                <c:pt idx="46">
                  <c:v>0.1306987399770905</c:v>
                </c:pt>
                <c:pt idx="47">
                  <c:v>0.13088735442646604</c:v>
                </c:pt>
                <c:pt idx="48">
                  <c:v>0.1158892745280623</c:v>
                </c:pt>
                <c:pt idx="49">
                  <c:v>0.12376041253470844</c:v>
                </c:pt>
                <c:pt idx="50">
                  <c:v>0.1494135370709136</c:v>
                </c:pt>
                <c:pt idx="51">
                  <c:v>0.146092754191587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02.5927760600761</c:v>
                </c:pt>
              </c:numCache>
            </c:numRef>
          </c:xVal>
          <c:yVal>
            <c:numRef>
              <c:f>Sheet1!$B$163:$B$164</c:f>
              <c:numCache>
                <c:formatCode>General</c:formatCode>
                <c:ptCount val="2"/>
                <c:pt idx="0">
                  <c:v>0.1710478250090755</c:v>
                </c:pt>
                <c:pt idx="1">
                  <c:v>0.171047825009075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02.5927760600761</c:v>
                </c:pt>
                <c:pt idx="1">
                  <c:v>902.5927760600761</c:v>
                </c:pt>
              </c:numCache>
            </c:numRef>
          </c:xVal>
          <c:yVal>
            <c:numRef>
              <c:f>Sheet1!$B$167:$B$168</c:f>
              <c:numCache>
                <c:formatCode>General</c:formatCode>
                <c:ptCount val="2"/>
                <c:pt idx="0">
                  <c:v>0.171047825009075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16.1187242791364</c:v>
                </c:pt>
              </c:numCache>
            </c:numRef>
          </c:xVal>
          <c:yVal>
            <c:numRef>
              <c:f>Sheet1!$B$171:$B$172</c:f>
              <c:numCache>
                <c:formatCode>General</c:formatCode>
                <c:ptCount val="2"/>
                <c:pt idx="0">
                  <c:v>0.16256423208969079</c:v>
                </c:pt>
                <c:pt idx="1">
                  <c:v>0.1625642320896907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16.1187242791364</c:v>
                </c:pt>
                <c:pt idx="1">
                  <c:v>1016.1187242791364</c:v>
                </c:pt>
              </c:numCache>
            </c:numRef>
          </c:xVal>
          <c:yVal>
            <c:numRef>
              <c:f>Sheet1!$B$175:$B$176</c:f>
              <c:numCache>
                <c:formatCode>General</c:formatCode>
                <c:ptCount val="2"/>
                <c:pt idx="0">
                  <c:v>0.1625642320896907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85.0218812112953</c:v>
                </c:pt>
              </c:numCache>
            </c:numRef>
          </c:xVal>
          <c:yVal>
            <c:numRef>
              <c:f>Sheet1!$B$179:$B$180</c:f>
              <c:numCache>
                <c:formatCode>General</c:formatCode>
                <c:ptCount val="2"/>
                <c:pt idx="0">
                  <c:v>0.13499675294343083</c:v>
                </c:pt>
                <c:pt idx="1">
                  <c:v>0.1349967529434308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85.0218812112953</c:v>
                </c:pt>
                <c:pt idx="1">
                  <c:v>1385.0218812112953</c:v>
                </c:pt>
              </c:numCache>
            </c:numRef>
          </c:xVal>
          <c:yVal>
            <c:numRef>
              <c:f>Sheet1!$B$183:$B$184</c:f>
              <c:numCache>
                <c:formatCode>General</c:formatCode>
                <c:ptCount val="2"/>
                <c:pt idx="0">
                  <c:v>0.1349967529434308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0.3966</c:v>
                </c:pt>
                <c:pt idx="1">
                  <c:v>1163.0214</c:v>
                </c:pt>
                <c:pt idx="2">
                  <c:v>1145.1945</c:v>
                </c:pt>
                <c:pt idx="3">
                  <c:v>1211.4979</c:v>
                </c:pt>
                <c:pt idx="4">
                  <c:v>1190.6692</c:v>
                </c:pt>
                <c:pt idx="5">
                  <c:v>1196.9157</c:v>
                </c:pt>
                <c:pt idx="6">
                  <c:v>1156.8466</c:v>
                </c:pt>
                <c:pt idx="7">
                  <c:v>1242.43</c:v>
                </c:pt>
                <c:pt idx="8">
                  <c:v>1349.6416</c:v>
                </c:pt>
                <c:pt idx="9">
                  <c:v>1325.0512</c:v>
                </c:pt>
                <c:pt idx="10">
                  <c:v>1343.5428</c:v>
                </c:pt>
                <c:pt idx="11">
                  <c:v>1208.0988</c:v>
                </c:pt>
                <c:pt idx="12">
                  <c:v>1243.5812</c:v>
                </c:pt>
                <c:pt idx="13">
                  <c:v>1297.3097</c:v>
                </c:pt>
                <c:pt idx="14">
                  <c:v>1287.3375</c:v>
                </c:pt>
                <c:pt idx="15">
                  <c:v>1310.1981</c:v>
                </c:pt>
                <c:pt idx="16">
                  <c:v>1339.1894</c:v>
                </c:pt>
                <c:pt idx="17">
                  <c:v>1303.462</c:v>
                </c:pt>
                <c:pt idx="18">
                  <c:v>1396.8592</c:v>
                </c:pt>
                <c:pt idx="19">
                  <c:v>1455.6765</c:v>
                </c:pt>
                <c:pt idx="20">
                  <c:v>1413.0523</c:v>
                </c:pt>
                <c:pt idx="21">
                  <c:v>1296.0096</c:v>
                </c:pt>
                <c:pt idx="22">
                  <c:v>1238.758</c:v>
                </c:pt>
                <c:pt idx="23">
                  <c:v>1270.5993</c:v>
                </c:pt>
                <c:pt idx="24">
                  <c:v>1252.9267</c:v>
                </c:pt>
                <c:pt idx="25">
                  <c:v>1202.9981</c:v>
                </c:pt>
                <c:pt idx="26">
                  <c:v>1269.5575</c:v>
                </c:pt>
                <c:pt idx="27">
                  <c:v>1275.9897</c:v>
                </c:pt>
                <c:pt idx="28">
                  <c:v>1289.742</c:v>
                </c:pt>
                <c:pt idx="29">
                  <c:v>1286.9436</c:v>
                </c:pt>
                <c:pt idx="30">
                  <c:v>1307.2592</c:v>
                </c:pt>
                <c:pt idx="31">
                  <c:v>1210.4783</c:v>
                </c:pt>
                <c:pt idx="32">
                  <c:v>1211.4358</c:v>
                </c:pt>
                <c:pt idx="33">
                  <c:v>1275.5044</c:v>
                </c:pt>
                <c:pt idx="34">
                  <c:v>1317.0017</c:v>
                </c:pt>
                <c:pt idx="35">
                  <c:v>1254.81</c:v>
                </c:pt>
                <c:pt idx="36">
                  <c:v>1279.6196</c:v>
                </c:pt>
                <c:pt idx="37">
                  <c:v>1392.6897</c:v>
                </c:pt>
                <c:pt idx="38">
                  <c:v>1411.8265</c:v>
                </c:pt>
                <c:pt idx="39">
                  <c:v>1338.937</c:v>
                </c:pt>
                <c:pt idx="40">
                  <c:v>1344.5511</c:v>
                </c:pt>
                <c:pt idx="41">
                  <c:v>1374.5021</c:v>
                </c:pt>
                <c:pt idx="42">
                  <c:v>1363.2633</c:v>
                </c:pt>
                <c:pt idx="43">
                  <c:v>1385.8646</c:v>
                </c:pt>
                <c:pt idx="44">
                  <c:v>1313.4291</c:v>
                </c:pt>
                <c:pt idx="45">
                  <c:v>1259.1335</c:v>
                </c:pt>
                <c:pt idx="46">
                  <c:v>1248.8414</c:v>
                </c:pt>
                <c:pt idx="47">
                  <c:v>1205.3614</c:v>
                </c:pt>
                <c:pt idx="48">
                  <c:v>1178.9094</c:v>
                </c:pt>
                <c:pt idx="49">
                  <c:v>1194.3865</c:v>
                </c:pt>
                <c:pt idx="50">
                  <c:v>1074.9719</c:v>
                </c:pt>
                <c:pt idx="51">
                  <c:v>1063.0725</c:v>
                </c:pt>
                <c:pt idx="52">
                  <c:v>1016.1187242791364</c:v>
                </c:pt>
                <c:pt idx="53">
                  <c:v>902.5927760600761</c:v>
                </c:pt>
                <c:pt idx="54">
                  <c:v>1385.0218812112953</c:v>
                </c:pt>
              </c:numCache>
            </c:numRef>
          </c:xVal>
          <c:yVal>
            <c:numRef>
              <c:f>Sheet1!$B$187:$B$241</c:f>
              <c:numCache>
                <c:formatCode>General</c:formatCode>
                <c:ptCount val="55"/>
                <c:pt idx="0">
                  <c:v>0.14879347301487428</c:v>
                </c:pt>
                <c:pt idx="1">
                  <c:v>0.1515864554744328</c:v>
                </c:pt>
                <c:pt idx="2">
                  <c:v>0.1529186281185472</c:v>
                </c:pt>
                <c:pt idx="3">
                  <c:v>0.14796389253963138</c:v>
                </c:pt>
                <c:pt idx="4">
                  <c:v>0.14952038437794682</c:v>
                </c:pt>
                <c:pt idx="5">
                  <c:v>0.14905359450301287</c:v>
                </c:pt>
                <c:pt idx="6">
                  <c:v>0.15204788733543373</c:v>
                </c:pt>
                <c:pt idx="7">
                  <c:v>0.1456523915245917</c:v>
                </c:pt>
                <c:pt idx="8">
                  <c:v>0.13764065865731054</c:v>
                </c:pt>
                <c:pt idx="9">
                  <c:v>0.13947825567012995</c:v>
                </c:pt>
                <c:pt idx="10">
                  <c:v>0.1380964111729989</c:v>
                </c:pt>
                <c:pt idx="11">
                  <c:v>0.14821790125873618</c:v>
                </c:pt>
                <c:pt idx="12">
                  <c:v>0.1455663643887518</c:v>
                </c:pt>
                <c:pt idx="13">
                  <c:v>0.14155132880156052</c:v>
                </c:pt>
                <c:pt idx="14">
                  <c:v>0.14229653363479777</c:v>
                </c:pt>
                <c:pt idx="15">
                  <c:v>0.14058820151042162</c:v>
                </c:pt>
                <c:pt idx="16">
                  <c:v>0.13842173303989036</c:v>
                </c:pt>
                <c:pt idx="17">
                  <c:v>0.14109157832568503</c:v>
                </c:pt>
                <c:pt idx="18">
                  <c:v>0.13411217108848275</c:v>
                </c:pt>
                <c:pt idx="19">
                  <c:v>0.1297168584956781</c:v>
                </c:pt>
                <c:pt idx="20">
                  <c:v>0.1329020894229431</c:v>
                </c:pt>
                <c:pt idx="21">
                  <c:v>0.1416484829705194</c:v>
                </c:pt>
                <c:pt idx="22">
                  <c:v>0.14592679357706229</c:v>
                </c:pt>
                <c:pt idx="23">
                  <c:v>0.1435473496573096</c:v>
                </c:pt>
                <c:pt idx="24">
                  <c:v>0.1448679917358749</c:v>
                </c:pt>
                <c:pt idx="25">
                  <c:v>0.14859906753026036</c:v>
                </c:pt>
                <c:pt idx="26">
                  <c:v>0.1436252015250285</c:v>
                </c:pt>
                <c:pt idx="27">
                  <c:v>0.14314453461819263</c:v>
                </c:pt>
                <c:pt idx="28">
                  <c:v>0.14211684961105991</c:v>
                </c:pt>
                <c:pt idx="29">
                  <c:v>0.14232596908372702</c:v>
                </c:pt>
                <c:pt idx="30">
                  <c:v>0.14080782029909422</c:v>
                </c:pt>
                <c:pt idx="31">
                  <c:v>0.14804008544069322</c:v>
                </c:pt>
                <c:pt idx="32">
                  <c:v>0.14796853316257758</c:v>
                </c:pt>
                <c:pt idx="33">
                  <c:v>0.14318080022714252</c:v>
                </c:pt>
                <c:pt idx="34">
                  <c:v>0.14007978053978193</c:v>
                </c:pt>
                <c:pt idx="35">
                  <c:v>0.14472725606446482</c:v>
                </c:pt>
                <c:pt idx="36">
                  <c:v>0.14287327862411228</c:v>
                </c:pt>
                <c:pt idx="37">
                  <c:v>0.13442375043428237</c:v>
                </c:pt>
                <c:pt idx="38">
                  <c:v>0.13299369128457667</c:v>
                </c:pt>
                <c:pt idx="39">
                  <c:v>0.13844059444458634</c:v>
                </c:pt>
                <c:pt idx="40">
                  <c:v>0.1380210627009112</c:v>
                </c:pt>
                <c:pt idx="41">
                  <c:v>0.13578287755016316</c:v>
                </c:pt>
                <c:pt idx="42">
                  <c:v>0.13662273315672807</c:v>
                </c:pt>
                <c:pt idx="43">
                  <c:v>0.13493377806181966</c:v>
                </c:pt>
                <c:pt idx="44">
                  <c:v>0.1403467546064095</c:v>
                </c:pt>
                <c:pt idx="45">
                  <c:v>0.14440416857158447</c:v>
                </c:pt>
                <c:pt idx="46">
                  <c:v>0.14517327896489401</c:v>
                </c:pt>
                <c:pt idx="47">
                  <c:v>0.1484224623095077</c:v>
                </c:pt>
                <c:pt idx="48">
                  <c:v>0.15039917339119402</c:v>
                </c:pt>
                <c:pt idx="49">
                  <c:v>0.14924259713675703</c:v>
                </c:pt>
                <c:pt idx="50">
                  <c:v>0.15816623856784504</c:v>
                </c:pt>
                <c:pt idx="51">
                  <c:v>0.1590554596416927</c:v>
                </c:pt>
                <c:pt idx="52">
                  <c:v>0.16256423208969079</c:v>
                </c:pt>
                <c:pt idx="53">
                  <c:v>0.1710478250090755</c:v>
                </c:pt>
                <c:pt idx="54">
                  <c:v>0.1349967529434308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47.0"/>
          <c:min val="68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77357958550684"/>
          <c:min val="0.0741206748641692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9</c:f>
              <c:numCache>
                <c:formatCode>General</c:formatCode>
                <c:ptCount val="68"/>
                <c:pt idx="0">
                  <c:v>0.0</c:v>
                </c:pt>
                <c:pt idx="1">
                  <c:v>0.17053576490970182</c:v>
                </c:pt>
                <c:pt idx="2">
                  <c:v>0.15629437202187993</c:v>
                </c:pt>
                <c:pt idx="3">
                  <c:v>0.16893259812094572</c:v>
                </c:pt>
                <c:pt idx="4">
                  <c:v>0.18340153735225617</c:v>
                </c:pt>
                <c:pt idx="5">
                  <c:v>0.1777362947627245</c:v>
                </c:pt>
                <c:pt idx="6">
                  <c:v>0.17213899780203076</c:v>
                </c:pt>
                <c:pt idx="7">
                  <c:v>0.15689348028843533</c:v>
                </c:pt>
                <c:pt idx="8">
                  <c:v>0.1487130073819634</c:v>
                </c:pt>
                <c:pt idx="9">
                  <c:v>0.1579917898253158</c:v>
                </c:pt>
                <c:pt idx="10">
                  <c:v>0.15668828561573062</c:v>
                </c:pt>
                <c:pt idx="11">
                  <c:v>0.15652843327719287</c:v>
                </c:pt>
                <c:pt idx="12">
                  <c:v>0.15544085210536052</c:v>
                </c:pt>
                <c:pt idx="13">
                  <c:v>0.15267260251674072</c:v>
                </c:pt>
                <c:pt idx="14">
                  <c:v>0.14443206935025965</c:v>
                </c:pt>
                <c:pt idx="15">
                  <c:v>0.1568559868975404</c:v>
                </c:pt>
                <c:pt idx="16">
                  <c:v>0.1737340462445953</c:v>
                </c:pt>
                <c:pt idx="17">
                  <c:v>0.18058574494914334</c:v>
                </c:pt>
                <c:pt idx="18">
                  <c:v>0.1742416666312258</c:v>
                </c:pt>
                <c:pt idx="19">
                  <c:v>0.1713223409941208</c:v>
                </c:pt>
                <c:pt idx="20">
                  <c:v>0.16519025204174753</c:v>
                </c:pt>
                <c:pt idx="21">
                  <c:v>0.16150143928182495</c:v>
                </c:pt>
                <c:pt idx="22">
                  <c:v>0.16481306376360808</c:v>
                </c:pt>
                <c:pt idx="23">
                  <c:v>0.16708858286857717</c:v>
                </c:pt>
                <c:pt idx="24">
                  <c:v>0.16098146203738456</c:v>
                </c:pt>
                <c:pt idx="25">
                  <c:v>0.15978113763041188</c:v>
                </c:pt>
                <c:pt idx="26">
                  <c:v>0.16046515430636124</c:v>
                </c:pt>
                <c:pt idx="27">
                  <c:v>0.15927625520416883</c:v>
                </c:pt>
                <c:pt idx="28">
                  <c:v>0.1577490229467304</c:v>
                </c:pt>
                <c:pt idx="29">
                  <c:v>0.16046529956573372</c:v>
                </c:pt>
                <c:pt idx="30">
                  <c:v>0.15642048718624782</c:v>
                </c:pt>
                <c:pt idx="31">
                  <c:v>0.1527294169531392</c:v>
                </c:pt>
                <c:pt idx="32">
                  <c:v>0.16230216854937854</c:v>
                </c:pt>
                <c:pt idx="33">
                  <c:v>0.16061503411900652</c:v>
                </c:pt>
                <c:pt idx="34">
                  <c:v>0.167991473155178</c:v>
                </c:pt>
                <c:pt idx="35">
                  <c:v>0.17018247514550486</c:v>
                </c:pt>
                <c:pt idx="36">
                  <c:v>0.16927382180161765</c:v>
                </c:pt>
                <c:pt idx="37">
                  <c:v>0.16352364045514248</c:v>
                </c:pt>
                <c:pt idx="38">
                  <c:v>0.16192849829177677</c:v>
                </c:pt>
                <c:pt idx="39">
                  <c:v>0.17052577070444266</c:v>
                </c:pt>
                <c:pt idx="40">
                  <c:v>0.17008717979258006</c:v>
                </c:pt>
                <c:pt idx="41">
                  <c:v>0.15642166923565795</c:v>
                </c:pt>
                <c:pt idx="42">
                  <c:v>0.1713945779758632</c:v>
                </c:pt>
                <c:pt idx="43">
                  <c:v>0.17276343780119055</c:v>
                </c:pt>
                <c:pt idx="44">
                  <c:v>0.2122765364602168</c:v>
                </c:pt>
                <c:pt idx="45">
                  <c:v>0.1970982690222792</c:v>
                </c:pt>
                <c:pt idx="46">
                  <c:v>0.2069717378243932</c:v>
                </c:pt>
                <c:pt idx="47">
                  <c:v>0.240967979076266</c:v>
                </c:pt>
                <c:pt idx="48">
                  <c:v>0.22626616981225026</c:v>
                </c:pt>
                <c:pt idx="49">
                  <c:v>0.23203138220738828</c:v>
                </c:pt>
                <c:pt idx="50">
                  <c:v>0.23699977583401127</c:v>
                </c:pt>
                <c:pt idx="51">
                  <c:v>0.19333813943789174</c:v>
                </c:pt>
                <c:pt idx="52">
                  <c:v>0.19732462900412298</c:v>
                </c:pt>
                <c:pt idx="53">
                  <c:v>0.2341039682744477</c:v>
                </c:pt>
                <c:pt idx="54">
                  <c:v>0.22436666859680512</c:v>
                </c:pt>
                <c:pt idx="55">
                  <c:v>0.23098337700851473</c:v>
                </c:pt>
                <c:pt idx="56">
                  <c:v>0.21759616238627016</c:v>
                </c:pt>
                <c:pt idx="57">
                  <c:v>0.21910542659838614</c:v>
                </c:pt>
                <c:pt idx="58">
                  <c:v>0.21482552538443422</c:v>
                </c:pt>
                <c:pt idx="59">
                  <c:v>0.1968076163995525</c:v>
                </c:pt>
                <c:pt idx="60">
                  <c:v>0.1982321001583072</c:v>
                </c:pt>
                <c:pt idx="61">
                  <c:v>0.20888559438332255</c:v>
                </c:pt>
                <c:pt idx="62">
                  <c:v>0.2060529847185605</c:v>
                </c:pt>
                <c:pt idx="63">
                  <c:v>0.21615520257531423</c:v>
                </c:pt>
                <c:pt idx="64">
                  <c:v>0.2038528705565256</c:v>
                </c:pt>
                <c:pt idx="65">
                  <c:v>0.18655284668553093</c:v>
                </c:pt>
                <c:pt idx="66">
                  <c:v>0.14889366893649444</c:v>
                </c:pt>
                <c:pt idx="67">
                  <c:v>0.17173303895346279</c:v>
                </c:pt>
              </c:numCache>
            </c:numRef>
          </c:xVal>
          <c:yVal>
            <c:numRef>
              <c:f>Sheet1!$B$2:$B$69</c:f>
              <c:numCache>
                <c:formatCode>General</c:formatCode>
                <c:ptCount val="68"/>
                <c:pt idx="0">
                  <c:v>0.1138728323699422</c:v>
                </c:pt>
                <c:pt idx="1">
                  <c:v>0.09835038630194196</c:v>
                </c:pt>
                <c:pt idx="2">
                  <c:v>0.11475761475761476</c:v>
                </c:pt>
                <c:pt idx="3">
                  <c:v>0.11250654107796965</c:v>
                </c:pt>
                <c:pt idx="4">
                  <c:v>0.11540761411201914</c:v>
                </c:pt>
                <c:pt idx="5">
                  <c:v>0.12056859051207398</c:v>
                </c:pt>
                <c:pt idx="6">
                  <c:v>0.11750038959015116</c:v>
                </c:pt>
                <c:pt idx="7">
                  <c:v>0.13330786860198626</c:v>
                </c:pt>
                <c:pt idx="8">
                  <c:v>0.14740243599304</c:v>
                </c:pt>
                <c:pt idx="9">
                  <c:v>0.1537085230969421</c:v>
                </c:pt>
                <c:pt idx="10">
                  <c:v>0.1516112873601603</c:v>
                </c:pt>
                <c:pt idx="11">
                  <c:v>0.16138698630136986</c:v>
                </c:pt>
                <c:pt idx="12">
                  <c:v>0.17430535059240207</c:v>
                </c:pt>
                <c:pt idx="13">
                  <c:v>0.15642128341344128</c:v>
                </c:pt>
                <c:pt idx="14">
                  <c:v>0.1456538762725137</c:v>
                </c:pt>
                <c:pt idx="15">
                  <c:v>0.14864487286951664</c:v>
                </c:pt>
                <c:pt idx="16">
                  <c:v>0.13720657276995304</c:v>
                </c:pt>
                <c:pt idx="17">
                  <c:v>0.1304977613905715</c:v>
                </c:pt>
                <c:pt idx="18">
                  <c:v>0.13215859030837004</c:v>
                </c:pt>
                <c:pt idx="19">
                  <c:v>0.1470124659693366</c:v>
                </c:pt>
                <c:pt idx="20">
                  <c:v>0.14220404234841194</c:v>
                </c:pt>
                <c:pt idx="21">
                  <c:v>0.15447499734579043</c:v>
                </c:pt>
                <c:pt idx="22">
                  <c:v>0.153218679899395</c:v>
                </c:pt>
                <c:pt idx="23">
                  <c:v>0.17220025367455047</c:v>
                </c:pt>
                <c:pt idx="24">
                  <c:v>0.1796218487394958</c:v>
                </c:pt>
                <c:pt idx="25">
                  <c:v>0.17017114914425427</c:v>
                </c:pt>
                <c:pt idx="26">
                  <c:v>0.17429155192324775</c:v>
                </c:pt>
                <c:pt idx="27">
                  <c:v>0.15572802429559643</c:v>
                </c:pt>
                <c:pt idx="28">
                  <c:v>0.14197588559678476</c:v>
                </c:pt>
                <c:pt idx="29">
                  <c:v>0.13703131039814456</c:v>
                </c:pt>
                <c:pt idx="30">
                  <c:v>0.13469258398478767</c:v>
                </c:pt>
                <c:pt idx="31">
                  <c:v>0.11407605070046697</c:v>
                </c:pt>
                <c:pt idx="32">
                  <c:v>0.10633561643835616</c:v>
                </c:pt>
                <c:pt idx="33">
                  <c:v>0.10001655903295248</c:v>
                </c:pt>
                <c:pt idx="34">
                  <c:v>0.11459703174901371</c:v>
                </c:pt>
                <c:pt idx="35">
                  <c:v>0.11376210235131397</c:v>
                </c:pt>
                <c:pt idx="36">
                  <c:v>0.12013239875389409</c:v>
                </c:pt>
                <c:pt idx="37">
                  <c:v>0.11942186088527552</c:v>
                </c:pt>
                <c:pt idx="38">
                  <c:v>0.11329550060802594</c:v>
                </c:pt>
                <c:pt idx="39">
                  <c:v>0.11784214017245191</c:v>
                </c:pt>
                <c:pt idx="40">
                  <c:v>0.10702498821310702</c:v>
                </c:pt>
                <c:pt idx="41">
                  <c:v>0.1198024948024948</c:v>
                </c:pt>
                <c:pt idx="42">
                  <c:v>0.10997866793078928</c:v>
                </c:pt>
                <c:pt idx="43">
                  <c:v>0.09935304990757855</c:v>
                </c:pt>
                <c:pt idx="44">
                  <c:v>0.09512937595129375</c:v>
                </c:pt>
                <c:pt idx="45">
                  <c:v>0.1019124308002013</c:v>
                </c:pt>
                <c:pt idx="46">
                  <c:v>0.09265084358021161</c:v>
                </c:pt>
                <c:pt idx="47">
                  <c:v>0.10031082226617688</c:v>
                </c:pt>
                <c:pt idx="48">
                  <c:v>0.09764474975466143</c:v>
                </c:pt>
                <c:pt idx="49">
                  <c:v>0.10536602700781805</c:v>
                </c:pt>
                <c:pt idx="50">
                  <c:v>0.11496291518864882</c:v>
                </c:pt>
                <c:pt idx="51">
                  <c:v>0.10772184300341298</c:v>
                </c:pt>
                <c:pt idx="52">
                  <c:v>0.10490693739424704</c:v>
                </c:pt>
                <c:pt idx="53">
                  <c:v>0.10665998998497747</c:v>
                </c:pt>
                <c:pt idx="54">
                  <c:v>0.09854563691073219</c:v>
                </c:pt>
                <c:pt idx="55">
                  <c:v>0.11252099272252286</c:v>
                </c:pt>
                <c:pt idx="56">
                  <c:v>0.10864464898032845</c:v>
                </c:pt>
                <c:pt idx="57">
                  <c:v>0.10680379746835443</c:v>
                </c:pt>
                <c:pt idx="58">
                  <c:v>0.11853573503776874</c:v>
                </c:pt>
                <c:pt idx="59">
                  <c:v>0.11556934160496297</c:v>
                </c:pt>
                <c:pt idx="60">
                  <c:v>0.12486234646336299</c:v>
                </c:pt>
                <c:pt idx="61">
                  <c:v>0.13415079191299906</c:v>
                </c:pt>
                <c:pt idx="62">
                  <c:v>0.13662736290473518</c:v>
                </c:pt>
                <c:pt idx="63">
                  <c:v>0.14058713886300092</c:v>
                </c:pt>
                <c:pt idx="64">
                  <c:v>0.1458021612635079</c:v>
                </c:pt>
                <c:pt idx="65">
                  <c:v>0.1329410351867419</c:v>
                </c:pt>
                <c:pt idx="66">
                  <c:v>0.17442778216258878</c:v>
                </c:pt>
                <c:pt idx="67">
                  <c:v>0.16818946862226497</c:v>
                </c:pt>
              </c:numCache>
            </c:numRef>
          </c:yVal>
          <c:smooth val="0"/>
          <c:extLst>
            <c:ext xmlns:c16="http://schemas.microsoft.com/office/drawing/2014/chart" uri="{C3380CC4-5D6E-409C-BE32-E72D297353CC}">
              <c16:uniqueId val="{00000000-096C-4121-9522-6AB7243CCAAE}"/>
            </c:ext>
          </c:extLst>
        </c:ser>
        <c:ser>
          <c:idx val="1"/>
          <c:order val="1"/>
          <c:tx>
            <c:strRef>
              <c:f>Sheet1!$B$7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2:$A$123</c:f>
              <c:numCache>
                <c:formatCode>General</c:formatCode>
                <c:ptCount val="52"/>
                <c:pt idx="0">
                  <c:v>0.19529440666384668</c:v>
                </c:pt>
                <c:pt idx="1">
                  <c:v>0.18335398720975762</c:v>
                </c:pt>
                <c:pt idx="2">
                  <c:v>0.18824157150972817</c:v>
                </c:pt>
                <c:pt idx="3">
                  <c:v>0.2307384177350788</c:v>
                </c:pt>
                <c:pt idx="4">
                  <c:v>0.21671993797648745</c:v>
                </c:pt>
                <c:pt idx="5">
                  <c:v>0.22192345015184287</c:v>
                </c:pt>
                <c:pt idx="6">
                  <c:v>0.20188414118057676</c:v>
                </c:pt>
                <c:pt idx="7">
                  <c:v>0.20197794777250155</c:v>
                </c:pt>
                <c:pt idx="8">
                  <c:v>0.21545089020491084</c:v>
                </c:pt>
                <c:pt idx="9">
                  <c:v>0.22618535622654923</c:v>
                </c:pt>
                <c:pt idx="10">
                  <c:v>0.24411503016963973</c:v>
                </c:pt>
                <c:pt idx="11">
                  <c:v>0.22187388911429531</c:v>
                </c:pt>
                <c:pt idx="12">
                  <c:v>0.2089621939735508</c:v>
                </c:pt>
                <c:pt idx="13">
                  <c:v>0.21879009895603346</c:v>
                </c:pt>
                <c:pt idx="14">
                  <c:v>0.20444225646412484</c:v>
                </c:pt>
                <c:pt idx="15">
                  <c:v>0.20745783004178678</c:v>
                </c:pt>
                <c:pt idx="16">
                  <c:v>0.20134492619399147</c:v>
                </c:pt>
                <c:pt idx="17">
                  <c:v>0.18780351016218066</c:v>
                </c:pt>
                <c:pt idx="18">
                  <c:v>0.2012720813190048</c:v>
                </c:pt>
                <c:pt idx="19">
                  <c:v>0.21095473434222733</c:v>
                </c:pt>
                <c:pt idx="20">
                  <c:v>0.19862629627677333</c:v>
                </c:pt>
                <c:pt idx="21">
                  <c:v>0.18491647487431764</c:v>
                </c:pt>
                <c:pt idx="22">
                  <c:v>0.20670648799376376</c:v>
                </c:pt>
                <c:pt idx="23">
                  <c:v>0.1847548867229156</c:v>
                </c:pt>
                <c:pt idx="24">
                  <c:v>0.16961169091184045</c:v>
                </c:pt>
                <c:pt idx="25">
                  <c:v>0.1631161746959363</c:v>
                </c:pt>
                <c:pt idx="26">
                  <c:v>0.20489424094923306</c:v>
                </c:pt>
                <c:pt idx="27">
                  <c:v>0.19702753157715946</c:v>
                </c:pt>
                <c:pt idx="28">
                  <c:v>0.19620124946781173</c:v>
                </c:pt>
                <c:pt idx="29">
                  <c:v>0.1882187231928302</c:v>
                </c:pt>
                <c:pt idx="30">
                  <c:v>0.19741661134207947</c:v>
                </c:pt>
                <c:pt idx="31">
                  <c:v>0.18899763304520398</c:v>
                </c:pt>
                <c:pt idx="32">
                  <c:v>0.17161419616863716</c:v>
                </c:pt>
                <c:pt idx="33">
                  <c:v>0.15598350286009532</c:v>
                </c:pt>
                <c:pt idx="34">
                  <c:v>0.1704099530256578</c:v>
                </c:pt>
                <c:pt idx="35">
                  <c:v>0.17144906645169664</c:v>
                </c:pt>
                <c:pt idx="36">
                  <c:v>0.1536101241494357</c:v>
                </c:pt>
                <c:pt idx="37">
                  <c:v>0.1759839063568139</c:v>
                </c:pt>
                <c:pt idx="38">
                  <c:v>0.17620584540125603</c:v>
                </c:pt>
                <c:pt idx="39">
                  <c:v>0.1767892564853912</c:v>
                </c:pt>
                <c:pt idx="40">
                  <c:v>0.2049679538800148</c:v>
                </c:pt>
                <c:pt idx="41">
                  <c:v>0.2107204368187355</c:v>
                </c:pt>
                <c:pt idx="42">
                  <c:v>0.2134434476279944</c:v>
                </c:pt>
                <c:pt idx="43">
                  <c:v>0.20355371056578553</c:v>
                </c:pt>
                <c:pt idx="44">
                  <c:v>0.19565271503837256</c:v>
                </c:pt>
                <c:pt idx="45">
                  <c:v>0.20441977531989194</c:v>
                </c:pt>
                <c:pt idx="46">
                  <c:v>0.19154215433423838</c:v>
                </c:pt>
                <c:pt idx="47">
                  <c:v>0.20454734474908334</c:v>
                </c:pt>
                <c:pt idx="48">
                  <c:v>0.28369979703918824</c:v>
                </c:pt>
                <c:pt idx="49">
                  <c:v>0.2194907771116165</c:v>
                </c:pt>
                <c:pt idx="50">
                  <c:v>0.19604300467995153</c:v>
                </c:pt>
                <c:pt idx="51">
                  <c:v>0.19760065961033207</c:v>
                </c:pt>
              </c:numCache>
            </c:numRef>
          </c:xVal>
          <c:yVal>
            <c:numRef>
              <c:f>Sheet1!$B$72:$B$123</c:f>
              <c:numCache>
                <c:formatCode>General</c:formatCode>
                <c:ptCount val="52"/>
                <c:pt idx="0">
                  <c:v>0.1498181016425973</c:v>
                </c:pt>
                <c:pt idx="1">
                  <c:v>0.17013766325450053</c:v>
                </c:pt>
                <c:pt idx="2">
                  <c:v>0.16942148760330578</c:v>
                </c:pt>
                <c:pt idx="3">
                  <c:v>0.17484566286491576</c:v>
                </c:pt>
                <c:pt idx="4">
                  <c:v>0.17497002071296194</c:v>
                </c:pt>
                <c:pt idx="5">
                  <c:v>0.1671113008216839</c:v>
                </c:pt>
                <c:pt idx="6">
                  <c:v>0.15220268481754584</c:v>
                </c:pt>
                <c:pt idx="7">
                  <c:v>0.1545937540495011</c:v>
                </c:pt>
                <c:pt idx="8">
                  <c:v>0.1499774130402048</c:v>
                </c:pt>
                <c:pt idx="9">
                  <c:v>0.1531592477337302</c:v>
                </c:pt>
                <c:pt idx="10">
                  <c:v>0.14955121436114044</c:v>
                </c:pt>
                <c:pt idx="11">
                  <c:v>0.14305127740532705</c:v>
                </c:pt>
                <c:pt idx="12">
                  <c:v>0.1431937453143408</c:v>
                </c:pt>
                <c:pt idx="13">
                  <c:v>0.13769751693002258</c:v>
                </c:pt>
                <c:pt idx="14">
                  <c:v>0.14355670103092782</c:v>
                </c:pt>
                <c:pt idx="15">
                  <c:v>0.13593196314670447</c:v>
                </c:pt>
                <c:pt idx="16">
                  <c:v>0.12206885082321636</c:v>
                </c:pt>
                <c:pt idx="17">
                  <c:v>0.12079722703639514</c:v>
                </c:pt>
                <c:pt idx="18">
                  <c:v>0.1084456780333069</c:v>
                </c:pt>
                <c:pt idx="19">
                  <c:v>0.12294094013660105</c:v>
                </c:pt>
                <c:pt idx="20">
                  <c:v>0.12447650069799907</c:v>
                </c:pt>
                <c:pt idx="21">
                  <c:v>0.1363398007341374</c:v>
                </c:pt>
                <c:pt idx="22">
                  <c:v>0.14582252205500779</c:v>
                </c:pt>
                <c:pt idx="23">
                  <c:v>0.1485121485121485</c:v>
                </c:pt>
                <c:pt idx="24">
                  <c:v>0.14557926829268292</c:v>
                </c:pt>
                <c:pt idx="25">
                  <c:v>0.14012070322749934</c:v>
                </c:pt>
                <c:pt idx="26">
                  <c:v>0.13001245330012454</c:v>
                </c:pt>
                <c:pt idx="27">
                  <c:v>0.12907518296739853</c:v>
                </c:pt>
                <c:pt idx="28">
                  <c:v>0.1333740582366117</c:v>
                </c:pt>
                <c:pt idx="29">
                  <c:v>0.14577622726140044</c:v>
                </c:pt>
                <c:pt idx="30">
                  <c:v>0.1449238578680203</c:v>
                </c:pt>
                <c:pt idx="31">
                  <c:v>0.14441714441714443</c:v>
                </c:pt>
                <c:pt idx="32">
                  <c:v>0.15171916326039914</c:v>
                </c:pt>
                <c:pt idx="33">
                  <c:v>0.16278650063165492</c:v>
                </c:pt>
                <c:pt idx="34">
                  <c:v>0.1708726913858734</c:v>
                </c:pt>
                <c:pt idx="35">
                  <c:v>0.17422096317280453</c:v>
                </c:pt>
                <c:pt idx="36">
                  <c:v>0.1620193718814206</c:v>
                </c:pt>
                <c:pt idx="37">
                  <c:v>0.135475234270415</c:v>
                </c:pt>
                <c:pt idx="38">
                  <c:v>0.1331711766494375</c:v>
                </c:pt>
                <c:pt idx="39">
                  <c:v>0.14779525814314204</c:v>
                </c:pt>
                <c:pt idx="40">
                  <c:v>0.13564463705308777</c:v>
                </c:pt>
                <c:pt idx="41">
                  <c:v>0.14297204906495073</c:v>
                </c:pt>
                <c:pt idx="42">
                  <c:v>0.14197247706422017</c:v>
                </c:pt>
                <c:pt idx="43">
                  <c:v>0.13604960141718334</c:v>
                </c:pt>
                <c:pt idx="44">
                  <c:v>0.12600114416475972</c:v>
                </c:pt>
                <c:pt idx="45">
                  <c:v>0.1277805486284289</c:v>
                </c:pt>
                <c:pt idx="46">
                  <c:v>0.1306987399770905</c:v>
                </c:pt>
                <c:pt idx="47">
                  <c:v>0.13088735442646604</c:v>
                </c:pt>
                <c:pt idx="48">
                  <c:v>0.1158892745280623</c:v>
                </c:pt>
                <c:pt idx="49">
                  <c:v>0.12376041253470844</c:v>
                </c:pt>
                <c:pt idx="50">
                  <c:v>0.1494135370709136</c:v>
                </c:pt>
                <c:pt idx="51">
                  <c:v>0.1460927541915874</c:v>
                </c:pt>
              </c:numCache>
            </c:numRef>
          </c:yVal>
          <c:smooth val="0"/>
          <c:extLst>
            <c:ext xmlns:c16="http://schemas.microsoft.com/office/drawing/2014/chart" uri="{C3380CC4-5D6E-409C-BE32-E72D297353CC}">
              <c16:uniqueId val="{00000002-096C-4121-9522-6AB7243CCAAE}"/>
            </c:ext>
          </c:extLst>
        </c:ser>
        <c:ser>
          <c:idx val="2"/>
          <c:order val="2"/>
          <c:tx>
            <c:strRef>
              <c:f>Sheet1!$B$12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6:$A$127</c:f>
              <c:numCache>
                <c:formatCode>General</c:formatCode>
                <c:ptCount val="2"/>
                <c:pt idx="0">
                  <c:v>0</c:v>
                </c:pt>
                <c:pt idx="1">
                  <c:v>0.0976493772933639</c:v>
                </c:pt>
              </c:numCache>
            </c:numRef>
          </c:xVal>
          <c:yVal>
            <c:numRef>
              <c:f>Sheet1!$B$126:$B$127</c:f>
              <c:numCache>
                <c:formatCode>General</c:formatCode>
                <c:ptCount val="2"/>
                <c:pt idx="0">
                  <c:v>0.16034142584940925</c:v>
                </c:pt>
                <c:pt idx="1">
                  <c:v>0.16034142584940925</c:v>
                </c:pt>
              </c:numCache>
            </c:numRef>
          </c:yVal>
          <c:smooth val="0"/>
          <c:extLst>
            <c:ext xmlns:c16="http://schemas.microsoft.com/office/drawing/2014/chart" uri="{C3380CC4-5D6E-409C-BE32-E72D297353CC}">
              <c16:uniqueId val="{00000005-096C-4121-9522-6AB7243CCAAE}"/>
            </c:ext>
          </c:extLst>
        </c:ser>
        <c:ser>
          <c:idx val="3"/>
          <c:order val="3"/>
          <c:tx>
            <c:strRef>
              <c:f>Sheet1!$B$12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0:$A$131</c:f>
              <c:numCache>
                <c:formatCode>General</c:formatCode>
                <c:ptCount val="2"/>
                <c:pt idx="0">
                  <c:v>0.0976493772933639</c:v>
                </c:pt>
                <c:pt idx="1">
                  <c:v>0.0976493772933639</c:v>
                </c:pt>
              </c:numCache>
            </c:numRef>
          </c:xVal>
          <c:yVal>
            <c:numRef>
              <c:f>Sheet1!$B$130:$B$131</c:f>
              <c:numCache>
                <c:formatCode>General</c:formatCode>
                <c:ptCount val="2"/>
                <c:pt idx="0">
                  <c:v>0.160341425849409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4:$A$135</c:f>
              <c:numCache>
                <c:formatCode>General</c:formatCode>
                <c:ptCount val="2"/>
                <c:pt idx="0">
                  <c:v>0</c:v>
                </c:pt>
                <c:pt idx="1">
                  <c:v>0.08434923779550604</c:v>
                </c:pt>
              </c:numCache>
            </c:numRef>
          </c:xVal>
          <c:yVal>
            <c:numRef>
              <c:f>Sheet1!$B$134:$B$135</c:f>
              <c:numCache>
                <c:formatCode>General</c:formatCode>
                <c:ptCount val="2"/>
                <c:pt idx="0">
                  <c:v>0.16256423208969079</c:v>
                </c:pt>
                <c:pt idx="1">
                  <c:v>0.16256423208969079</c:v>
                </c:pt>
              </c:numCache>
            </c:numRef>
          </c:yVal>
          <c:smooth val="0"/>
          <c:extLst>
            <c:ext xmlns:c16="http://schemas.microsoft.com/office/drawing/2014/chart" uri="{C3380CC4-5D6E-409C-BE32-E72D297353CC}">
              <c16:uniqueId val="{0000000D-096C-4121-9522-6AB7243CCAAE}"/>
            </c:ext>
          </c:extLst>
        </c:ser>
        <c:ser>
          <c:idx val="5"/>
          <c:order val="5"/>
          <c:tx>
            <c:strRef>
              <c:f>Sheet1!$B$13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8:$A$139</c:f>
              <c:numCache>
                <c:formatCode>General</c:formatCode>
                <c:ptCount val="2"/>
                <c:pt idx="0">
                  <c:v>0.08434923779550604</c:v>
                </c:pt>
                <c:pt idx="1">
                  <c:v>0.08434923779550604</c:v>
                </c:pt>
              </c:numCache>
            </c:numRef>
          </c:xVal>
          <c:yVal>
            <c:numRef>
              <c:f>Sheet1!$B$138:$B$139</c:f>
              <c:numCache>
                <c:formatCode>General</c:formatCode>
                <c:ptCount val="2"/>
                <c:pt idx="0">
                  <c:v>0.1625642320896907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4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42:$A$143</c:f>
              <c:numCache>
                <c:formatCode>General</c:formatCode>
                <c:ptCount val="2"/>
                <c:pt idx="0">
                  <c:v>0</c:v>
                </c:pt>
                <c:pt idx="1">
                  <c:v>0.24929898087482408</c:v>
                </c:pt>
              </c:numCache>
            </c:numRef>
          </c:xVal>
          <c:yVal>
            <c:numRef>
              <c:f>Sheet1!$B$142:$B$143</c:f>
              <c:numCache>
                <c:formatCode>General</c:formatCode>
                <c:ptCount val="2"/>
                <c:pt idx="0">
                  <c:v>0.13499675294343083</c:v>
                </c:pt>
                <c:pt idx="1">
                  <c:v>0.13499675294343083</c:v>
                </c:pt>
              </c:numCache>
            </c:numRef>
          </c:yVal>
          <c:smooth val="0"/>
          <c:extLst>
            <c:ext xmlns:c16="http://schemas.microsoft.com/office/drawing/2014/chart" uri="{C3380CC4-5D6E-409C-BE32-E72D297353CC}">
              <c16:uniqueId val="{00000015-096C-4121-9522-6AB7243CCAAE}"/>
            </c:ext>
          </c:extLst>
        </c:ser>
        <c:ser>
          <c:idx val="7"/>
          <c:order val="7"/>
          <c:tx>
            <c:strRef>
              <c:f>Sheet1!$B$14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6:$A$147</c:f>
              <c:numCache>
                <c:formatCode>General</c:formatCode>
                <c:ptCount val="2"/>
                <c:pt idx="0">
                  <c:v>0.24929898087482408</c:v>
                </c:pt>
                <c:pt idx="1">
                  <c:v>0.24929898087482408</c:v>
                </c:pt>
              </c:numCache>
            </c:numRef>
          </c:xVal>
          <c:yVal>
            <c:numRef>
              <c:f>Sheet1!$B$146:$B$147</c:f>
              <c:numCache>
                <c:formatCode>General</c:formatCode>
                <c:ptCount val="2"/>
                <c:pt idx="0">
                  <c:v>0.1349967529434308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50:$A$204</c:f>
              <c:numCache>
                <c:formatCode>General</c:formatCode>
                <c:ptCount val="55"/>
                <c:pt idx="0">
                  <c:v>0.19529440666384668</c:v>
                </c:pt>
                <c:pt idx="1">
                  <c:v>0.18335398720975762</c:v>
                </c:pt>
                <c:pt idx="2">
                  <c:v>0.18824157150972817</c:v>
                </c:pt>
                <c:pt idx="3">
                  <c:v>0.2307384177350788</c:v>
                </c:pt>
                <c:pt idx="4">
                  <c:v>0.21671993797648745</c:v>
                </c:pt>
                <c:pt idx="5">
                  <c:v>0.22192345015184287</c:v>
                </c:pt>
                <c:pt idx="6">
                  <c:v>0.20188414118057676</c:v>
                </c:pt>
                <c:pt idx="7">
                  <c:v>0.20197794777250155</c:v>
                </c:pt>
                <c:pt idx="8">
                  <c:v>0.21545089020491084</c:v>
                </c:pt>
                <c:pt idx="9">
                  <c:v>0.22618535622654923</c:v>
                </c:pt>
                <c:pt idx="10">
                  <c:v>0.24411503016963973</c:v>
                </c:pt>
                <c:pt idx="11">
                  <c:v>0.22187388911429531</c:v>
                </c:pt>
                <c:pt idx="12">
                  <c:v>0.2089621939735508</c:v>
                </c:pt>
                <c:pt idx="13">
                  <c:v>0.21879009895603346</c:v>
                </c:pt>
                <c:pt idx="14">
                  <c:v>0.20444225646412484</c:v>
                </c:pt>
                <c:pt idx="15">
                  <c:v>0.20745783004178678</c:v>
                </c:pt>
                <c:pt idx="16">
                  <c:v>0.20134492619399147</c:v>
                </c:pt>
                <c:pt idx="17">
                  <c:v>0.18780351016218066</c:v>
                </c:pt>
                <c:pt idx="18">
                  <c:v>0.2012720813190048</c:v>
                </c:pt>
                <c:pt idx="19">
                  <c:v>0.21095473434222733</c:v>
                </c:pt>
                <c:pt idx="20">
                  <c:v>0.19862629627677333</c:v>
                </c:pt>
                <c:pt idx="21">
                  <c:v>0.18491647487431764</c:v>
                </c:pt>
                <c:pt idx="22">
                  <c:v>0.20670648799376376</c:v>
                </c:pt>
                <c:pt idx="23">
                  <c:v>0.1847548867229156</c:v>
                </c:pt>
                <c:pt idx="24">
                  <c:v>0.16961169091184045</c:v>
                </c:pt>
                <c:pt idx="25">
                  <c:v>0.1631161746959363</c:v>
                </c:pt>
                <c:pt idx="26">
                  <c:v>0.20489424094923306</c:v>
                </c:pt>
                <c:pt idx="27">
                  <c:v>0.19702753157715946</c:v>
                </c:pt>
                <c:pt idx="28">
                  <c:v>0.19620124946781173</c:v>
                </c:pt>
                <c:pt idx="29">
                  <c:v>0.1882187231928302</c:v>
                </c:pt>
                <c:pt idx="30">
                  <c:v>0.19741661134207947</c:v>
                </c:pt>
                <c:pt idx="31">
                  <c:v>0.18899763304520398</c:v>
                </c:pt>
                <c:pt idx="32">
                  <c:v>0.17161419616863716</c:v>
                </c:pt>
                <c:pt idx="33">
                  <c:v>0.15598350286009532</c:v>
                </c:pt>
                <c:pt idx="34">
                  <c:v>0.1704099530256578</c:v>
                </c:pt>
                <c:pt idx="35">
                  <c:v>0.17144906645169664</c:v>
                </c:pt>
                <c:pt idx="36">
                  <c:v>0.1536101241494357</c:v>
                </c:pt>
                <c:pt idx="37">
                  <c:v>0.1759839063568139</c:v>
                </c:pt>
                <c:pt idx="38">
                  <c:v>0.17620584540125603</c:v>
                </c:pt>
                <c:pt idx="39">
                  <c:v>0.1767892564853912</c:v>
                </c:pt>
                <c:pt idx="40">
                  <c:v>0.2049679538800148</c:v>
                </c:pt>
                <c:pt idx="41">
                  <c:v>0.2107204368187355</c:v>
                </c:pt>
                <c:pt idx="42">
                  <c:v>0.2134434476279944</c:v>
                </c:pt>
                <c:pt idx="43">
                  <c:v>0.20355371056578553</c:v>
                </c:pt>
                <c:pt idx="44">
                  <c:v>0.19565271503837256</c:v>
                </c:pt>
                <c:pt idx="45">
                  <c:v>0.20441977531989194</c:v>
                </c:pt>
                <c:pt idx="46">
                  <c:v>0.19154215433423838</c:v>
                </c:pt>
                <c:pt idx="47">
                  <c:v>0.20454734474908334</c:v>
                </c:pt>
                <c:pt idx="48">
                  <c:v>0.28369979703918824</c:v>
                </c:pt>
                <c:pt idx="49">
                  <c:v>0.2194907771116165</c:v>
                </c:pt>
                <c:pt idx="50">
                  <c:v>0.19604300467995153</c:v>
                </c:pt>
                <c:pt idx="51">
                  <c:v>0.19760065961033207</c:v>
                </c:pt>
                <c:pt idx="52">
                  <c:v>0.08434923779550604</c:v>
                </c:pt>
                <c:pt idx="53">
                  <c:v>0.0976493772933639</c:v>
                </c:pt>
                <c:pt idx="54">
                  <c:v>0.24929898087482408</c:v>
                </c:pt>
              </c:numCache>
            </c:numRef>
          </c:xVal>
          <c:yVal>
            <c:numRef>
              <c:f>Sheet1!$B$150:$B$204</c:f>
              <c:numCache>
                <c:formatCode>General</c:formatCode>
                <c:ptCount val="55"/>
                <c:pt idx="0">
                  <c:v>0.14402235035007774</c:v>
                </c:pt>
                <c:pt idx="1">
                  <c:v>0.14601791128975083</c:v>
                </c:pt>
                <c:pt idx="2">
                  <c:v>0.14520106625713847</c:v>
                </c:pt>
                <c:pt idx="3">
                  <c:v>0.138098715563959</c:v>
                </c:pt>
                <c:pt idx="4">
                  <c:v>0.14044157552356137</c:v>
                </c:pt>
                <c:pt idx="5">
                  <c:v>0.13957193055956504</c:v>
                </c:pt>
                <c:pt idx="6">
                  <c:v>0.14292103084828264</c:v>
                </c:pt>
                <c:pt idx="7">
                  <c:v>0.1429053532775366</c:v>
                </c:pt>
                <c:pt idx="8">
                  <c:v>0.14065366708142288</c:v>
                </c:pt>
                <c:pt idx="9">
                  <c:v>0.13885965296128294</c:v>
                </c:pt>
                <c:pt idx="10">
                  <c:v>0.13586312866668182</c:v>
                </c:pt>
                <c:pt idx="11">
                  <c:v>0.1395802135240823</c:v>
                </c:pt>
                <c:pt idx="12">
                  <c:v>0.14173810040459828</c:v>
                </c:pt>
                <c:pt idx="13">
                  <c:v>0.14009559669044738</c:v>
                </c:pt>
                <c:pt idx="14">
                  <c:v>0.14249350190269933</c:v>
                </c:pt>
                <c:pt idx="15">
                  <c:v>0.1419895195371358</c:v>
                </c:pt>
                <c:pt idx="16">
                  <c:v>0.14301114798105619</c:v>
                </c:pt>
                <c:pt idx="17">
                  <c:v>0.14527427793263342</c:v>
                </c:pt>
                <c:pt idx="18">
                  <c:v>0.1430233222926654</c:v>
                </c:pt>
                <c:pt idx="19">
                  <c:v>0.14140509403528762</c:v>
                </c:pt>
                <c:pt idx="20">
                  <c:v>0.14346550318131418</c:v>
                </c:pt>
                <c:pt idx="21">
                  <c:v>0.14575677813910182</c:v>
                </c:pt>
                <c:pt idx="22">
                  <c:v>0.14211508873084241</c:v>
                </c:pt>
                <c:pt idx="23">
                  <c:v>0.14578378380707618</c:v>
                </c:pt>
                <c:pt idx="24">
                  <c:v>0.14831461366431825</c:v>
                </c:pt>
                <c:pt idx="25">
                  <c:v>0.1494001867878849</c:v>
                </c:pt>
                <c:pt idx="26">
                  <c:v>0.142417963301456</c:v>
                </c:pt>
                <c:pt idx="27">
                  <c:v>0.14373269918716178</c:v>
                </c:pt>
                <c:pt idx="28">
                  <c:v>0.14387079285371218</c:v>
                </c:pt>
                <c:pt idx="29">
                  <c:v>0.14520488481719107</c:v>
                </c:pt>
                <c:pt idx="30">
                  <c:v>0.14366767363389066</c:v>
                </c:pt>
                <c:pt idx="31">
                  <c:v>0.145074708311843</c:v>
                </c:pt>
                <c:pt idx="32">
                  <c:v>0.14797994189777616</c:v>
                </c:pt>
                <c:pt idx="33">
                  <c:v>0.15059224552299375</c:v>
                </c:pt>
                <c:pt idx="34">
                  <c:v>0.1481812028825547</c:v>
                </c:pt>
                <c:pt idx="35">
                  <c:v>0.14800753945533038</c:v>
                </c:pt>
                <c:pt idx="36">
                  <c:v>0.15098890008510982</c:v>
                </c:pt>
                <c:pt idx="37">
                  <c:v>0.14724964737146196</c:v>
                </c:pt>
                <c:pt idx="38">
                  <c:v>0.14721255546779977</c:v>
                </c:pt>
                <c:pt idx="39">
                  <c:v>0.14711505199434569</c:v>
                </c:pt>
                <c:pt idx="40">
                  <c:v>0.14240564391468888</c:v>
                </c:pt>
                <c:pt idx="41">
                  <c:v>0.14144425136874145</c:v>
                </c:pt>
                <c:pt idx="42">
                  <c:v>0.14098916400517283</c:v>
                </c:pt>
                <c:pt idx="43">
                  <c:v>0.1426420015006113</c:v>
                </c:pt>
                <c:pt idx="44">
                  <c:v>0.14396246751268574</c:v>
                </c:pt>
                <c:pt idx="45">
                  <c:v>0.14249725909845637</c:v>
                </c:pt>
                <c:pt idx="46">
                  <c:v>0.1446494512834708</c:v>
                </c:pt>
                <c:pt idx="47">
                  <c:v>0.14247593886167828</c:v>
                </c:pt>
                <c:pt idx="48">
                  <c:v>0.1292474637082884</c:v>
                </c:pt>
                <c:pt idx="49">
                  <c:v>0.13997849477757573</c:v>
                </c:pt>
                <c:pt idx="50">
                  <c:v>0.14389723975691981</c:v>
                </c:pt>
                <c:pt idx="51">
                  <c:v>0.1436369142843928</c:v>
                </c:pt>
                <c:pt idx="52">
                  <c:v>0.16256423208969079</c:v>
                </c:pt>
                <c:pt idx="53">
                  <c:v>0.16034142584940925</c:v>
                </c:pt>
                <c:pt idx="54">
                  <c:v>0.1349967529434308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oreal Pari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554621848739494"/>
          <c:min val="0.0741206748641692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9</c:f>
              <c:numCache>
                <c:formatCode>General</c:formatCode>
                <c:ptCount val="68"/>
                <c:pt idx="0">
                  <c:v>1192.4805</c:v>
                </c:pt>
                <c:pt idx="1">
                  <c:v>1299.3461</c:v>
                </c:pt>
                <c:pt idx="2">
                  <c:v>1241.5009</c:v>
                </c:pt>
                <c:pt idx="3">
                  <c:v>1301.2217</c:v>
                </c:pt>
                <c:pt idx="4">
                  <c:v>1302.2176</c:v>
                </c:pt>
                <c:pt idx="5">
                  <c:v>1350.3111</c:v>
                </c:pt>
                <c:pt idx="6">
                  <c:v>1358.805</c:v>
                </c:pt>
                <c:pt idx="7">
                  <c:v>1179.0222</c:v>
                </c:pt>
                <c:pt idx="8">
                  <c:v>1111.5194</c:v>
                </c:pt>
                <c:pt idx="9">
                  <c:v>1139.9529</c:v>
                </c:pt>
                <c:pt idx="10">
                  <c:v>1126.6619</c:v>
                </c:pt>
                <c:pt idx="11">
                  <c:v>1120.3653</c:v>
                </c:pt>
                <c:pt idx="12">
                  <c:v>1092.3295</c:v>
                </c:pt>
                <c:pt idx="13">
                  <c:v>1087.4151</c:v>
                </c:pt>
                <c:pt idx="14">
                  <c:v>1129.6674</c:v>
                </c:pt>
                <c:pt idx="15">
                  <c:v>1139.188</c:v>
                </c:pt>
                <c:pt idx="16">
                  <c:v>1236.5945</c:v>
                </c:pt>
                <c:pt idx="17">
                  <c:v>1274.8961</c:v>
                </c:pt>
                <c:pt idx="18">
                  <c:v>1274.1697</c:v>
                </c:pt>
                <c:pt idx="19">
                  <c:v>1282.1764</c:v>
                </c:pt>
                <c:pt idx="20">
                  <c:v>1250.1946</c:v>
                </c:pt>
                <c:pt idx="21">
                  <c:v>1211.3883</c:v>
                </c:pt>
                <c:pt idx="22">
                  <c:v>1192.2165</c:v>
                </c:pt>
                <c:pt idx="23">
                  <c:v>1199.2439</c:v>
                </c:pt>
                <c:pt idx="24">
                  <c:v>1190.0269</c:v>
                </c:pt>
                <c:pt idx="25">
                  <c:v>1167.2672</c:v>
                </c:pt>
                <c:pt idx="26">
                  <c:v>1156.9929</c:v>
                </c:pt>
                <c:pt idx="27">
                  <c:v>1155.3581</c:v>
                </c:pt>
                <c:pt idx="28">
                  <c:v>1138.9803</c:v>
                </c:pt>
                <c:pt idx="29">
                  <c:v>1140.7814</c:v>
                </c:pt>
                <c:pt idx="30">
                  <c:v>1182.7694</c:v>
                </c:pt>
                <c:pt idx="31">
                  <c:v>1207.7977</c:v>
                </c:pt>
                <c:pt idx="32">
                  <c:v>1208.0934</c:v>
                </c:pt>
                <c:pt idx="33">
                  <c:v>1166.4371</c:v>
                </c:pt>
                <c:pt idx="34">
                  <c:v>1255.3311</c:v>
                </c:pt>
                <c:pt idx="35">
                  <c:v>1280.6945</c:v>
                </c:pt>
                <c:pt idx="36">
                  <c:v>1262.6078</c:v>
                </c:pt>
                <c:pt idx="37">
                  <c:v>1261.0847</c:v>
                </c:pt>
                <c:pt idx="38">
                  <c:v>1261.9767</c:v>
                </c:pt>
                <c:pt idx="39">
                  <c:v>1315.0582</c:v>
                </c:pt>
                <c:pt idx="40">
                  <c:v>1307.2181</c:v>
                </c:pt>
                <c:pt idx="41">
                  <c:v>1319.603</c:v>
                </c:pt>
                <c:pt idx="42">
                  <c:v>1331.056</c:v>
                </c:pt>
                <c:pt idx="43">
                  <c:v>1314.5698</c:v>
                </c:pt>
                <c:pt idx="44">
                  <c:v>1353.948</c:v>
                </c:pt>
                <c:pt idx="45">
                  <c:v>1357.3926</c:v>
                </c:pt>
                <c:pt idx="46">
                  <c:v>1347.5679</c:v>
                </c:pt>
                <c:pt idx="47">
                  <c:v>1302.6901</c:v>
                </c:pt>
                <c:pt idx="48">
                  <c:v>1321.4598</c:v>
                </c:pt>
                <c:pt idx="49">
                  <c:v>1304.6374</c:v>
                </c:pt>
                <c:pt idx="50">
                  <c:v>1313.2118</c:v>
                </c:pt>
                <c:pt idx="51">
                  <c:v>1310.3208</c:v>
                </c:pt>
                <c:pt idx="52">
                  <c:v>1291.3272</c:v>
                </c:pt>
                <c:pt idx="53">
                  <c:v>1357.223</c:v>
                </c:pt>
                <c:pt idx="54">
                  <c:v>1367.4148</c:v>
                </c:pt>
                <c:pt idx="55">
                  <c:v>1308.3715</c:v>
                </c:pt>
                <c:pt idx="56">
                  <c:v>1323.4535</c:v>
                </c:pt>
                <c:pt idx="57">
                  <c:v>1349.9593</c:v>
                </c:pt>
                <c:pt idx="58">
                  <c:v>1257.9963</c:v>
                </c:pt>
                <c:pt idx="59">
                  <c:v>1186.9316</c:v>
                </c:pt>
                <c:pt idx="60">
                  <c:v>1223.4484</c:v>
                </c:pt>
                <c:pt idx="61">
                  <c:v>1199.9744</c:v>
                </c:pt>
                <c:pt idx="62">
                  <c:v>1183.9447</c:v>
                </c:pt>
                <c:pt idx="63">
                  <c:v>1212.2284</c:v>
                </c:pt>
                <c:pt idx="64">
                  <c:v>1205.6813</c:v>
                </c:pt>
                <c:pt idx="65">
                  <c:v>1234.7696</c:v>
                </c:pt>
                <c:pt idx="66">
                  <c:v>895.2359</c:v>
                </c:pt>
                <c:pt idx="67">
                  <c:v>1016.0944</c:v>
                </c:pt>
              </c:numCache>
            </c:numRef>
          </c:xVal>
          <c:yVal>
            <c:numRef>
              <c:f>Sheet1!$B$2:$B$69</c:f>
              <c:numCache>
                <c:formatCode>General</c:formatCode>
                <c:ptCount val="68"/>
                <c:pt idx="0">
                  <c:v>0.1138728323699422</c:v>
                </c:pt>
                <c:pt idx="1">
                  <c:v>0.09835038630194196</c:v>
                </c:pt>
                <c:pt idx="2">
                  <c:v>0.11475761475761476</c:v>
                </c:pt>
                <c:pt idx="3">
                  <c:v>0.11250654107796965</c:v>
                </c:pt>
                <c:pt idx="4">
                  <c:v>0.11540761411201914</c:v>
                </c:pt>
                <c:pt idx="5">
                  <c:v>0.12056859051207398</c:v>
                </c:pt>
                <c:pt idx="6">
                  <c:v>0.11750038959015116</c:v>
                </c:pt>
                <c:pt idx="7">
                  <c:v>0.13330786860198626</c:v>
                </c:pt>
                <c:pt idx="8">
                  <c:v>0.14740243599304</c:v>
                </c:pt>
                <c:pt idx="9">
                  <c:v>0.1537085230969421</c:v>
                </c:pt>
                <c:pt idx="10">
                  <c:v>0.1516112873601603</c:v>
                </c:pt>
                <c:pt idx="11">
                  <c:v>0.16138698630136986</c:v>
                </c:pt>
                <c:pt idx="12">
                  <c:v>0.17430535059240207</c:v>
                </c:pt>
                <c:pt idx="13">
                  <c:v>0.15642128341344128</c:v>
                </c:pt>
                <c:pt idx="14">
                  <c:v>0.1456538762725137</c:v>
                </c:pt>
                <c:pt idx="15">
                  <c:v>0.14864487286951664</c:v>
                </c:pt>
                <c:pt idx="16">
                  <c:v>0.13720657276995304</c:v>
                </c:pt>
                <c:pt idx="17">
                  <c:v>0.1304977613905715</c:v>
                </c:pt>
                <c:pt idx="18">
                  <c:v>0.13215859030837004</c:v>
                </c:pt>
                <c:pt idx="19">
                  <c:v>0.1470124659693366</c:v>
                </c:pt>
                <c:pt idx="20">
                  <c:v>0.14220404234841194</c:v>
                </c:pt>
                <c:pt idx="21">
                  <c:v>0.15447499734579043</c:v>
                </c:pt>
                <c:pt idx="22">
                  <c:v>0.153218679899395</c:v>
                </c:pt>
                <c:pt idx="23">
                  <c:v>0.17220025367455047</c:v>
                </c:pt>
                <c:pt idx="24">
                  <c:v>0.1796218487394958</c:v>
                </c:pt>
                <c:pt idx="25">
                  <c:v>0.17017114914425427</c:v>
                </c:pt>
                <c:pt idx="26">
                  <c:v>0.17429155192324775</c:v>
                </c:pt>
                <c:pt idx="27">
                  <c:v>0.15572802429559643</c:v>
                </c:pt>
                <c:pt idx="28">
                  <c:v>0.14197588559678476</c:v>
                </c:pt>
                <c:pt idx="29">
                  <c:v>0.13703131039814456</c:v>
                </c:pt>
                <c:pt idx="30">
                  <c:v>0.13469258398478767</c:v>
                </c:pt>
                <c:pt idx="31">
                  <c:v>0.11407605070046697</c:v>
                </c:pt>
                <c:pt idx="32">
                  <c:v>0.10633561643835616</c:v>
                </c:pt>
                <c:pt idx="33">
                  <c:v>0.10001655903295248</c:v>
                </c:pt>
                <c:pt idx="34">
                  <c:v>0.11459703174901371</c:v>
                </c:pt>
                <c:pt idx="35">
                  <c:v>0.11376210235131397</c:v>
                </c:pt>
                <c:pt idx="36">
                  <c:v>0.12013239875389409</c:v>
                </c:pt>
                <c:pt idx="37">
                  <c:v>0.11942186088527552</c:v>
                </c:pt>
                <c:pt idx="38">
                  <c:v>0.11329550060802594</c:v>
                </c:pt>
                <c:pt idx="39">
                  <c:v>0.11784214017245191</c:v>
                </c:pt>
                <c:pt idx="40">
                  <c:v>0.10702498821310702</c:v>
                </c:pt>
                <c:pt idx="41">
                  <c:v>0.1198024948024948</c:v>
                </c:pt>
                <c:pt idx="42">
                  <c:v>0.10997866793078928</c:v>
                </c:pt>
                <c:pt idx="43">
                  <c:v>0.09935304990757855</c:v>
                </c:pt>
                <c:pt idx="44">
                  <c:v>0.09512937595129375</c:v>
                </c:pt>
                <c:pt idx="45">
                  <c:v>0.1019124308002013</c:v>
                </c:pt>
                <c:pt idx="46">
                  <c:v>0.09265084358021161</c:v>
                </c:pt>
                <c:pt idx="47">
                  <c:v>0.10031082226617688</c:v>
                </c:pt>
                <c:pt idx="48">
                  <c:v>0.09764474975466143</c:v>
                </c:pt>
                <c:pt idx="49">
                  <c:v>0.10536602700781805</c:v>
                </c:pt>
                <c:pt idx="50">
                  <c:v>0.11496291518864882</c:v>
                </c:pt>
                <c:pt idx="51">
                  <c:v>0.10772184300341298</c:v>
                </c:pt>
                <c:pt idx="52">
                  <c:v>0.10490693739424704</c:v>
                </c:pt>
                <c:pt idx="53">
                  <c:v>0.10665998998497747</c:v>
                </c:pt>
                <c:pt idx="54">
                  <c:v>0.09854563691073219</c:v>
                </c:pt>
                <c:pt idx="55">
                  <c:v>0.11252099272252286</c:v>
                </c:pt>
                <c:pt idx="56">
                  <c:v>0.10864464898032845</c:v>
                </c:pt>
                <c:pt idx="57">
                  <c:v>0.10680379746835443</c:v>
                </c:pt>
                <c:pt idx="58">
                  <c:v>0.11853573503776874</c:v>
                </c:pt>
                <c:pt idx="59">
                  <c:v>0.11556934160496297</c:v>
                </c:pt>
                <c:pt idx="60">
                  <c:v>0.12486234646336299</c:v>
                </c:pt>
                <c:pt idx="61">
                  <c:v>0.13415079191299906</c:v>
                </c:pt>
                <c:pt idx="62">
                  <c:v>0.13662736290473518</c:v>
                </c:pt>
                <c:pt idx="63">
                  <c:v>0.14058713886300092</c:v>
                </c:pt>
                <c:pt idx="64">
                  <c:v>0.1458021612635079</c:v>
                </c:pt>
                <c:pt idx="65">
                  <c:v>0.1329410351867419</c:v>
                </c:pt>
                <c:pt idx="66">
                  <c:v>0.17442778216258878</c:v>
                </c:pt>
                <c:pt idx="67">
                  <c:v>0.16818946862226497</c:v>
                </c:pt>
              </c:numCache>
            </c:numRef>
          </c:yVal>
          <c:smooth val="0"/>
          <c:extLst>
            <c:ext xmlns:c16="http://schemas.microsoft.com/office/drawing/2014/chart" uri="{C3380CC4-5D6E-409C-BE32-E72D297353CC}">
              <c16:uniqueId val="{00000000-F32D-48B7-BC20-E66FC6253BAD}"/>
            </c:ext>
          </c:extLst>
        </c:ser>
        <c:ser>
          <c:idx val="1"/>
          <c:order val="1"/>
          <c:tx>
            <c:strRef>
              <c:f>Sheet1!$B$7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2:$A$123</c:f>
              <c:numCache>
                <c:formatCode>General</c:formatCode>
                <c:ptCount val="52"/>
                <c:pt idx="0">
                  <c:v>1200.3966</c:v>
                </c:pt>
                <c:pt idx="1">
                  <c:v>1163.0214</c:v>
                </c:pt>
                <c:pt idx="2">
                  <c:v>1145.1945</c:v>
                </c:pt>
                <c:pt idx="3">
                  <c:v>1211.4979</c:v>
                </c:pt>
                <c:pt idx="4">
                  <c:v>1190.6692</c:v>
                </c:pt>
                <c:pt idx="5">
                  <c:v>1196.9157</c:v>
                </c:pt>
                <c:pt idx="6">
                  <c:v>1156.8466</c:v>
                </c:pt>
                <c:pt idx="7">
                  <c:v>1242.43</c:v>
                </c:pt>
                <c:pt idx="8">
                  <c:v>1349.6416</c:v>
                </c:pt>
                <c:pt idx="9">
                  <c:v>1325.0512</c:v>
                </c:pt>
                <c:pt idx="10">
                  <c:v>1343.5428</c:v>
                </c:pt>
                <c:pt idx="11">
                  <c:v>1208.0988</c:v>
                </c:pt>
                <c:pt idx="12">
                  <c:v>1243.5812</c:v>
                </c:pt>
                <c:pt idx="13">
                  <c:v>1297.3097</c:v>
                </c:pt>
                <c:pt idx="14">
                  <c:v>1287.3375</c:v>
                </c:pt>
                <c:pt idx="15">
                  <c:v>1310.1981</c:v>
                </c:pt>
                <c:pt idx="16">
                  <c:v>1339.1894</c:v>
                </c:pt>
                <c:pt idx="17">
                  <c:v>1303.462</c:v>
                </c:pt>
                <c:pt idx="18">
                  <c:v>1396.8592</c:v>
                </c:pt>
                <c:pt idx="19">
                  <c:v>1455.6765</c:v>
                </c:pt>
                <c:pt idx="20">
                  <c:v>1413.0523</c:v>
                </c:pt>
                <c:pt idx="21">
                  <c:v>1296.0096</c:v>
                </c:pt>
                <c:pt idx="22">
                  <c:v>1238.758</c:v>
                </c:pt>
                <c:pt idx="23">
                  <c:v>1270.5993</c:v>
                </c:pt>
                <c:pt idx="24">
                  <c:v>1252.9267</c:v>
                </c:pt>
                <c:pt idx="25">
                  <c:v>1202.9981</c:v>
                </c:pt>
                <c:pt idx="26">
                  <c:v>1269.5575</c:v>
                </c:pt>
                <c:pt idx="27">
                  <c:v>1275.9897</c:v>
                </c:pt>
                <c:pt idx="28">
                  <c:v>1289.742</c:v>
                </c:pt>
                <c:pt idx="29">
                  <c:v>1286.9436</c:v>
                </c:pt>
                <c:pt idx="30">
                  <c:v>1307.2592</c:v>
                </c:pt>
                <c:pt idx="31">
                  <c:v>1210.4783</c:v>
                </c:pt>
                <c:pt idx="32">
                  <c:v>1211.4358</c:v>
                </c:pt>
                <c:pt idx="33">
                  <c:v>1275.5044</c:v>
                </c:pt>
                <c:pt idx="34">
                  <c:v>1317.0017</c:v>
                </c:pt>
                <c:pt idx="35">
                  <c:v>1254.81</c:v>
                </c:pt>
                <c:pt idx="36">
                  <c:v>1279.6196</c:v>
                </c:pt>
                <c:pt idx="37">
                  <c:v>1392.6897</c:v>
                </c:pt>
                <c:pt idx="38">
                  <c:v>1411.8265</c:v>
                </c:pt>
                <c:pt idx="39">
                  <c:v>1338.937</c:v>
                </c:pt>
                <c:pt idx="40">
                  <c:v>1344.5511</c:v>
                </c:pt>
                <c:pt idx="41">
                  <c:v>1374.5021</c:v>
                </c:pt>
                <c:pt idx="42">
                  <c:v>1363.2633</c:v>
                </c:pt>
                <c:pt idx="43">
                  <c:v>1385.8646</c:v>
                </c:pt>
                <c:pt idx="44">
                  <c:v>1313.4291</c:v>
                </c:pt>
                <c:pt idx="45">
                  <c:v>1259.1335</c:v>
                </c:pt>
                <c:pt idx="46">
                  <c:v>1248.8414</c:v>
                </c:pt>
                <c:pt idx="47">
                  <c:v>1205.3614</c:v>
                </c:pt>
                <c:pt idx="48">
                  <c:v>1178.9094</c:v>
                </c:pt>
                <c:pt idx="49">
                  <c:v>1194.3865</c:v>
                </c:pt>
                <c:pt idx="50">
                  <c:v>1074.9719</c:v>
                </c:pt>
                <c:pt idx="51">
                  <c:v>1063.0725</c:v>
                </c:pt>
              </c:numCache>
            </c:numRef>
          </c:xVal>
          <c:yVal>
            <c:numRef>
              <c:f>Sheet1!$B$72:$B$123</c:f>
              <c:numCache>
                <c:formatCode>General</c:formatCode>
                <c:ptCount val="52"/>
                <c:pt idx="0">
                  <c:v>0.1498181016425973</c:v>
                </c:pt>
                <c:pt idx="1">
                  <c:v>0.17013766325450053</c:v>
                </c:pt>
                <c:pt idx="2">
                  <c:v>0.16942148760330578</c:v>
                </c:pt>
                <c:pt idx="3">
                  <c:v>0.17484566286491576</c:v>
                </c:pt>
                <c:pt idx="4">
                  <c:v>0.17497002071296194</c:v>
                </c:pt>
                <c:pt idx="5">
                  <c:v>0.1671113008216839</c:v>
                </c:pt>
                <c:pt idx="6">
                  <c:v>0.15220268481754584</c:v>
                </c:pt>
                <c:pt idx="7">
                  <c:v>0.1545937540495011</c:v>
                </c:pt>
                <c:pt idx="8">
                  <c:v>0.1499774130402048</c:v>
                </c:pt>
                <c:pt idx="9">
                  <c:v>0.1531592477337302</c:v>
                </c:pt>
                <c:pt idx="10">
                  <c:v>0.14955121436114044</c:v>
                </c:pt>
                <c:pt idx="11">
                  <c:v>0.14305127740532705</c:v>
                </c:pt>
                <c:pt idx="12">
                  <c:v>0.1431937453143408</c:v>
                </c:pt>
                <c:pt idx="13">
                  <c:v>0.13769751693002258</c:v>
                </c:pt>
                <c:pt idx="14">
                  <c:v>0.14355670103092782</c:v>
                </c:pt>
                <c:pt idx="15">
                  <c:v>0.13593196314670447</c:v>
                </c:pt>
                <c:pt idx="16">
                  <c:v>0.12206885082321636</c:v>
                </c:pt>
                <c:pt idx="17">
                  <c:v>0.12079722703639514</c:v>
                </c:pt>
                <c:pt idx="18">
                  <c:v>0.1084456780333069</c:v>
                </c:pt>
                <c:pt idx="19">
                  <c:v>0.12294094013660105</c:v>
                </c:pt>
                <c:pt idx="20">
                  <c:v>0.12447650069799907</c:v>
                </c:pt>
                <c:pt idx="21">
                  <c:v>0.1363398007341374</c:v>
                </c:pt>
                <c:pt idx="22">
                  <c:v>0.14582252205500779</c:v>
                </c:pt>
                <c:pt idx="23">
                  <c:v>0.1485121485121485</c:v>
                </c:pt>
                <c:pt idx="24">
                  <c:v>0.14557926829268292</c:v>
                </c:pt>
                <c:pt idx="25">
                  <c:v>0.14012070322749934</c:v>
                </c:pt>
                <c:pt idx="26">
                  <c:v>0.13001245330012454</c:v>
                </c:pt>
                <c:pt idx="27">
                  <c:v>0.12907518296739853</c:v>
                </c:pt>
                <c:pt idx="28">
                  <c:v>0.1333740582366117</c:v>
                </c:pt>
                <c:pt idx="29">
                  <c:v>0.14577622726140044</c:v>
                </c:pt>
                <c:pt idx="30">
                  <c:v>0.1449238578680203</c:v>
                </c:pt>
                <c:pt idx="31">
                  <c:v>0.14441714441714443</c:v>
                </c:pt>
                <c:pt idx="32">
                  <c:v>0.15171916326039914</c:v>
                </c:pt>
                <c:pt idx="33">
                  <c:v>0.16278650063165492</c:v>
                </c:pt>
                <c:pt idx="34">
                  <c:v>0.1708726913858734</c:v>
                </c:pt>
                <c:pt idx="35">
                  <c:v>0.17422096317280453</c:v>
                </c:pt>
                <c:pt idx="36">
                  <c:v>0.1620193718814206</c:v>
                </c:pt>
                <c:pt idx="37">
                  <c:v>0.135475234270415</c:v>
                </c:pt>
                <c:pt idx="38">
                  <c:v>0.1331711766494375</c:v>
                </c:pt>
                <c:pt idx="39">
                  <c:v>0.14779525814314204</c:v>
                </c:pt>
                <c:pt idx="40">
                  <c:v>0.13564463705308777</c:v>
                </c:pt>
                <c:pt idx="41">
                  <c:v>0.14297204906495073</c:v>
                </c:pt>
                <c:pt idx="42">
                  <c:v>0.14197247706422017</c:v>
                </c:pt>
                <c:pt idx="43">
                  <c:v>0.13604960141718334</c:v>
                </c:pt>
                <c:pt idx="44">
                  <c:v>0.12600114416475972</c:v>
                </c:pt>
                <c:pt idx="45">
                  <c:v>0.1277805486284289</c:v>
                </c:pt>
                <c:pt idx="46">
                  <c:v>0.1306987399770905</c:v>
                </c:pt>
                <c:pt idx="47">
                  <c:v>0.13088735442646604</c:v>
                </c:pt>
                <c:pt idx="48">
                  <c:v>0.1158892745280623</c:v>
                </c:pt>
                <c:pt idx="49">
                  <c:v>0.12376041253470844</c:v>
                </c:pt>
                <c:pt idx="50">
                  <c:v>0.1494135370709136</c:v>
                </c:pt>
                <c:pt idx="51">
                  <c:v>0.1460927541915874</c:v>
                </c:pt>
              </c:numCache>
            </c:numRef>
          </c:yVal>
          <c:smooth val="0"/>
          <c:extLst>
            <c:ext xmlns:c16="http://schemas.microsoft.com/office/drawing/2014/chart" uri="{C3380CC4-5D6E-409C-BE32-E72D297353CC}">
              <c16:uniqueId val="{00000002-F32D-48B7-BC20-E66FC6253BAD}"/>
            </c:ext>
          </c:extLst>
        </c:ser>
        <c:ser>
          <c:idx val="2"/>
          <c:order val="2"/>
          <c:tx>
            <c:strRef>
              <c:f>Sheet1!$B$125</c:f>
              <c:strCache>
                <c:ptCount val="1"/>
                <c:pt idx="0">
                  <c:v>Custom Linep3yQ</c:v>
                </c:pt>
              </c:strCache>
            </c:strRef>
          </c:tx>
          <c:spPr>
            <a:ln w="19050" cap="rnd">
              <a:solidFill>
                <a:srgbClr val="C00000"/>
              </a:solidFill>
              <a:prstDash val="sysDot"/>
              <a:round/>
            </a:ln>
            <a:effectLst/>
          </c:spPr>
          <c:marker>
            <c:symbol val="none"/>
          </c:marker>
          <c:xVal>
            <c:numRef>
              <c:f>Sheet1!$A$126:$A$127</c:f>
              <c:numCache>
                <c:formatCode>General</c:formatCode>
                <c:ptCount val="2"/>
                <c:pt idx="0">
                  <c:v>0</c:v>
                </c:pt>
                <c:pt idx="1">
                  <c:v>1045.863926404359</c:v>
                </c:pt>
              </c:numCache>
            </c:numRef>
          </c:xVal>
          <c:yVal>
            <c:numRef>
              <c:f>Sheet1!$B$126:$B$127</c:f>
              <c:numCache>
                <c:formatCode>General</c:formatCode>
                <c:ptCount val="2"/>
                <c:pt idx="0">
                  <c:v>0.16034142584940925</c:v>
                </c:pt>
                <c:pt idx="1">
                  <c:v>0.16034142584940925</c:v>
                </c:pt>
              </c:numCache>
            </c:numRef>
          </c:yVal>
          <c:smooth val="0"/>
          <c:extLst>
            <c:ext xmlns:c16="http://schemas.microsoft.com/office/drawing/2014/chart" uri="{C3380CC4-5D6E-409C-BE32-E72D297353CC}">
              <c16:uniqueId val="{00000003-F32D-48B7-BC20-E66FC6253BAD}"/>
            </c:ext>
          </c:extLst>
        </c:ser>
        <c:ser>
          <c:idx val="3"/>
          <c:order val="3"/>
          <c:tx>
            <c:strRef>
              <c:f>Sheet1!$B$12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0:$A$131</c:f>
              <c:numCache>
                <c:formatCode>General</c:formatCode>
                <c:ptCount val="2"/>
                <c:pt idx="0">
                  <c:v>1045.863926404359</c:v>
                </c:pt>
                <c:pt idx="1">
                  <c:v>1045.863926404359</c:v>
                </c:pt>
              </c:numCache>
            </c:numRef>
          </c:xVal>
          <c:yVal>
            <c:numRef>
              <c:f>Sheet1!$B$130:$B$131</c:f>
              <c:numCache>
                <c:formatCode>General</c:formatCode>
                <c:ptCount val="2"/>
                <c:pt idx="0">
                  <c:v>0.160341425849409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4:$A$135</c:f>
              <c:numCache>
                <c:formatCode>General</c:formatCode>
                <c:ptCount val="2"/>
                <c:pt idx="0">
                  <c:v>0</c:v>
                </c:pt>
                <c:pt idx="1">
                  <c:v>1016.1187242791364</c:v>
                </c:pt>
              </c:numCache>
            </c:numRef>
          </c:xVal>
          <c:yVal>
            <c:numRef>
              <c:f>Sheet1!$B$134:$B$135</c:f>
              <c:numCache>
                <c:formatCode>General</c:formatCode>
                <c:ptCount val="2"/>
                <c:pt idx="0">
                  <c:v>0.16256423208969079</c:v>
                </c:pt>
                <c:pt idx="1">
                  <c:v>0.16256423208969079</c:v>
                </c:pt>
              </c:numCache>
            </c:numRef>
          </c:yVal>
          <c:smooth val="0"/>
          <c:extLst>
            <c:ext xmlns:c16="http://schemas.microsoft.com/office/drawing/2014/chart" uri="{C3380CC4-5D6E-409C-BE32-E72D297353CC}">
              <c16:uniqueId val="{0000000A-F32D-48B7-BC20-E66FC6253BAD}"/>
            </c:ext>
          </c:extLst>
        </c:ser>
        <c:ser>
          <c:idx val="5"/>
          <c:order val="5"/>
          <c:tx>
            <c:strRef>
              <c:f>Sheet1!$B$13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8:$A$139</c:f>
              <c:numCache>
                <c:formatCode>General</c:formatCode>
                <c:ptCount val="2"/>
                <c:pt idx="0">
                  <c:v>1016.1187242791364</c:v>
                </c:pt>
                <c:pt idx="1">
                  <c:v>1016.1187242791364</c:v>
                </c:pt>
              </c:numCache>
            </c:numRef>
          </c:xVal>
          <c:yVal>
            <c:numRef>
              <c:f>Sheet1!$B$138:$B$139</c:f>
              <c:numCache>
                <c:formatCode>General</c:formatCode>
                <c:ptCount val="2"/>
                <c:pt idx="0">
                  <c:v>0.1625642320896907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4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42:$A$143</c:f>
              <c:numCache>
                <c:formatCode>General</c:formatCode>
                <c:ptCount val="2"/>
                <c:pt idx="0">
                  <c:v>0</c:v>
                </c:pt>
                <c:pt idx="1">
                  <c:v>1385.0218812112953</c:v>
                </c:pt>
              </c:numCache>
            </c:numRef>
          </c:xVal>
          <c:yVal>
            <c:numRef>
              <c:f>Sheet1!$B$142:$B$143</c:f>
              <c:numCache>
                <c:formatCode>General</c:formatCode>
                <c:ptCount val="2"/>
                <c:pt idx="0">
                  <c:v>0.13499675294343083</c:v>
                </c:pt>
                <c:pt idx="1">
                  <c:v>0.13499675294343083</c:v>
                </c:pt>
              </c:numCache>
            </c:numRef>
          </c:yVal>
          <c:smooth val="0"/>
          <c:extLst>
            <c:ext xmlns:c16="http://schemas.microsoft.com/office/drawing/2014/chart" uri="{C3380CC4-5D6E-409C-BE32-E72D297353CC}">
              <c16:uniqueId val="{00000011-F32D-48B7-BC20-E66FC6253BAD}"/>
            </c:ext>
          </c:extLst>
        </c:ser>
        <c:ser>
          <c:idx val="7"/>
          <c:order val="7"/>
          <c:tx>
            <c:strRef>
              <c:f>Sheet1!$B$14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6:$A$147</c:f>
              <c:numCache>
                <c:formatCode>General</c:formatCode>
                <c:ptCount val="2"/>
                <c:pt idx="0">
                  <c:v>1385.0218812112953</c:v>
                </c:pt>
                <c:pt idx="1">
                  <c:v>1385.0218812112953</c:v>
                </c:pt>
              </c:numCache>
            </c:numRef>
          </c:xVal>
          <c:yVal>
            <c:numRef>
              <c:f>Sheet1!$B$146:$B$147</c:f>
              <c:numCache>
                <c:formatCode>General</c:formatCode>
                <c:ptCount val="2"/>
                <c:pt idx="0">
                  <c:v>0.1349967529434308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50:$A$204</c:f>
              <c:numCache>
                <c:formatCode>General</c:formatCode>
                <c:ptCount val="55"/>
                <c:pt idx="0">
                  <c:v>1200.3966</c:v>
                </c:pt>
                <c:pt idx="1">
                  <c:v>1163.0214</c:v>
                </c:pt>
                <c:pt idx="2">
                  <c:v>1145.1945</c:v>
                </c:pt>
                <c:pt idx="3">
                  <c:v>1211.4979</c:v>
                </c:pt>
                <c:pt idx="4">
                  <c:v>1190.6692</c:v>
                </c:pt>
                <c:pt idx="5">
                  <c:v>1196.9157</c:v>
                </c:pt>
                <c:pt idx="6">
                  <c:v>1156.8466</c:v>
                </c:pt>
                <c:pt idx="7">
                  <c:v>1242.43</c:v>
                </c:pt>
                <c:pt idx="8">
                  <c:v>1349.6416</c:v>
                </c:pt>
                <c:pt idx="9">
                  <c:v>1325.0512</c:v>
                </c:pt>
                <c:pt idx="10">
                  <c:v>1343.5428</c:v>
                </c:pt>
                <c:pt idx="11">
                  <c:v>1208.0988</c:v>
                </c:pt>
                <c:pt idx="12">
                  <c:v>1243.5812</c:v>
                </c:pt>
                <c:pt idx="13">
                  <c:v>1297.3097</c:v>
                </c:pt>
                <c:pt idx="14">
                  <c:v>1287.3375</c:v>
                </c:pt>
                <c:pt idx="15">
                  <c:v>1310.1981</c:v>
                </c:pt>
                <c:pt idx="16">
                  <c:v>1339.1894</c:v>
                </c:pt>
                <c:pt idx="17">
                  <c:v>1303.462</c:v>
                </c:pt>
                <c:pt idx="18">
                  <c:v>1396.8592</c:v>
                </c:pt>
                <c:pt idx="19">
                  <c:v>1455.6765</c:v>
                </c:pt>
                <c:pt idx="20">
                  <c:v>1413.0523</c:v>
                </c:pt>
                <c:pt idx="21">
                  <c:v>1296.0096</c:v>
                </c:pt>
                <c:pt idx="22">
                  <c:v>1238.758</c:v>
                </c:pt>
                <c:pt idx="23">
                  <c:v>1270.5993</c:v>
                </c:pt>
                <c:pt idx="24">
                  <c:v>1252.9267</c:v>
                </c:pt>
                <c:pt idx="25">
                  <c:v>1202.9981</c:v>
                </c:pt>
                <c:pt idx="26">
                  <c:v>1269.5575</c:v>
                </c:pt>
                <c:pt idx="27">
                  <c:v>1275.9897</c:v>
                </c:pt>
                <c:pt idx="28">
                  <c:v>1289.742</c:v>
                </c:pt>
                <c:pt idx="29">
                  <c:v>1286.9436</c:v>
                </c:pt>
                <c:pt idx="30">
                  <c:v>1307.2592</c:v>
                </c:pt>
                <c:pt idx="31">
                  <c:v>1210.4783</c:v>
                </c:pt>
                <c:pt idx="32">
                  <c:v>1211.4358</c:v>
                </c:pt>
                <c:pt idx="33">
                  <c:v>1275.5044</c:v>
                </c:pt>
                <c:pt idx="34">
                  <c:v>1317.0017</c:v>
                </c:pt>
                <c:pt idx="35">
                  <c:v>1254.81</c:v>
                </c:pt>
                <c:pt idx="36">
                  <c:v>1279.6196</c:v>
                </c:pt>
                <c:pt idx="37">
                  <c:v>1392.6897</c:v>
                </c:pt>
                <c:pt idx="38">
                  <c:v>1411.8265</c:v>
                </c:pt>
                <c:pt idx="39">
                  <c:v>1338.937</c:v>
                </c:pt>
                <c:pt idx="40">
                  <c:v>1344.5511</c:v>
                </c:pt>
                <c:pt idx="41">
                  <c:v>1374.5021</c:v>
                </c:pt>
                <c:pt idx="42">
                  <c:v>1363.2633</c:v>
                </c:pt>
                <c:pt idx="43">
                  <c:v>1385.8646</c:v>
                </c:pt>
                <c:pt idx="44">
                  <c:v>1313.4291</c:v>
                </c:pt>
                <c:pt idx="45">
                  <c:v>1259.1335</c:v>
                </c:pt>
                <c:pt idx="46">
                  <c:v>1248.8414</c:v>
                </c:pt>
                <c:pt idx="47">
                  <c:v>1205.3614</c:v>
                </c:pt>
                <c:pt idx="48">
                  <c:v>1178.9094</c:v>
                </c:pt>
                <c:pt idx="49">
                  <c:v>1194.3865</c:v>
                </c:pt>
                <c:pt idx="50">
                  <c:v>1074.9719</c:v>
                </c:pt>
                <c:pt idx="51">
                  <c:v>1063.0725</c:v>
                </c:pt>
                <c:pt idx="52">
                  <c:v>1016.1187242791364</c:v>
                </c:pt>
                <c:pt idx="53">
                  <c:v>1045.863926404359</c:v>
                </c:pt>
                <c:pt idx="54">
                  <c:v>1385.0218812112953</c:v>
                </c:pt>
              </c:numCache>
            </c:numRef>
          </c:xVal>
          <c:yVal>
            <c:numRef>
              <c:f>Sheet1!$B$150:$B$204</c:f>
              <c:numCache>
                <c:formatCode>General</c:formatCode>
                <c:ptCount val="55"/>
                <c:pt idx="0">
                  <c:v>0.14879347301487428</c:v>
                </c:pt>
                <c:pt idx="1">
                  <c:v>0.1515864554744328</c:v>
                </c:pt>
                <c:pt idx="2">
                  <c:v>0.1529186281185472</c:v>
                </c:pt>
                <c:pt idx="3">
                  <c:v>0.14796389253963138</c:v>
                </c:pt>
                <c:pt idx="4">
                  <c:v>0.14952038437794682</c:v>
                </c:pt>
                <c:pt idx="5">
                  <c:v>0.14905359450301287</c:v>
                </c:pt>
                <c:pt idx="6">
                  <c:v>0.15204788733543373</c:v>
                </c:pt>
                <c:pt idx="7">
                  <c:v>0.1456523915245917</c:v>
                </c:pt>
                <c:pt idx="8">
                  <c:v>0.13764065865731054</c:v>
                </c:pt>
                <c:pt idx="9">
                  <c:v>0.13947825567012995</c:v>
                </c:pt>
                <c:pt idx="10">
                  <c:v>0.1380964111729989</c:v>
                </c:pt>
                <c:pt idx="11">
                  <c:v>0.14821790125873618</c:v>
                </c:pt>
                <c:pt idx="12">
                  <c:v>0.1455663643887518</c:v>
                </c:pt>
                <c:pt idx="13">
                  <c:v>0.14155132880156052</c:v>
                </c:pt>
                <c:pt idx="14">
                  <c:v>0.14229653363479777</c:v>
                </c:pt>
                <c:pt idx="15">
                  <c:v>0.14058820151042162</c:v>
                </c:pt>
                <c:pt idx="16">
                  <c:v>0.13842173303989036</c:v>
                </c:pt>
                <c:pt idx="17">
                  <c:v>0.14109157832568503</c:v>
                </c:pt>
                <c:pt idx="18">
                  <c:v>0.13411217108848275</c:v>
                </c:pt>
                <c:pt idx="19">
                  <c:v>0.1297168584956781</c:v>
                </c:pt>
                <c:pt idx="20">
                  <c:v>0.1329020894229431</c:v>
                </c:pt>
                <c:pt idx="21">
                  <c:v>0.1416484829705194</c:v>
                </c:pt>
                <c:pt idx="22">
                  <c:v>0.14592679357706229</c:v>
                </c:pt>
                <c:pt idx="23">
                  <c:v>0.1435473496573096</c:v>
                </c:pt>
                <c:pt idx="24">
                  <c:v>0.1448679917358749</c:v>
                </c:pt>
                <c:pt idx="25">
                  <c:v>0.14859906753026036</c:v>
                </c:pt>
                <c:pt idx="26">
                  <c:v>0.1436252015250285</c:v>
                </c:pt>
                <c:pt idx="27">
                  <c:v>0.14314453461819263</c:v>
                </c:pt>
                <c:pt idx="28">
                  <c:v>0.14211684961105991</c:v>
                </c:pt>
                <c:pt idx="29">
                  <c:v>0.14232596908372702</c:v>
                </c:pt>
                <c:pt idx="30">
                  <c:v>0.14080782029909422</c:v>
                </c:pt>
                <c:pt idx="31">
                  <c:v>0.14804008544069322</c:v>
                </c:pt>
                <c:pt idx="32">
                  <c:v>0.14796853316257758</c:v>
                </c:pt>
                <c:pt idx="33">
                  <c:v>0.14318080022714252</c:v>
                </c:pt>
                <c:pt idx="34">
                  <c:v>0.14007978053978193</c:v>
                </c:pt>
                <c:pt idx="35">
                  <c:v>0.14472725606446482</c:v>
                </c:pt>
                <c:pt idx="36">
                  <c:v>0.14287327862411228</c:v>
                </c:pt>
                <c:pt idx="37">
                  <c:v>0.13442375043428237</c:v>
                </c:pt>
                <c:pt idx="38">
                  <c:v>0.13299369128457667</c:v>
                </c:pt>
                <c:pt idx="39">
                  <c:v>0.13844059444458634</c:v>
                </c:pt>
                <c:pt idx="40">
                  <c:v>0.1380210627009112</c:v>
                </c:pt>
                <c:pt idx="41">
                  <c:v>0.13578287755016316</c:v>
                </c:pt>
                <c:pt idx="42">
                  <c:v>0.13662273315672807</c:v>
                </c:pt>
                <c:pt idx="43">
                  <c:v>0.13493377806181966</c:v>
                </c:pt>
                <c:pt idx="44">
                  <c:v>0.1403467546064095</c:v>
                </c:pt>
                <c:pt idx="45">
                  <c:v>0.14440416857158447</c:v>
                </c:pt>
                <c:pt idx="46">
                  <c:v>0.14517327896489401</c:v>
                </c:pt>
                <c:pt idx="47">
                  <c:v>0.1484224623095077</c:v>
                </c:pt>
                <c:pt idx="48">
                  <c:v>0.15039917339119402</c:v>
                </c:pt>
                <c:pt idx="49">
                  <c:v>0.14924259713675703</c:v>
                </c:pt>
                <c:pt idx="50">
                  <c:v>0.15816623856784504</c:v>
                </c:pt>
                <c:pt idx="51">
                  <c:v>0.1590554596416927</c:v>
                </c:pt>
                <c:pt idx="52">
                  <c:v>0.16256423208969079</c:v>
                </c:pt>
                <c:pt idx="53">
                  <c:v>0.16034142584940925</c:v>
                </c:pt>
                <c:pt idx="54">
                  <c:v>0.1349967529434308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47.0"/>
          <c:min val="71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554621848739494"/>
          <c:min val="0.0741206748641692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74030001912511</c:v>
                </c:pt>
                <c:pt idx="1">
                  <c:v>0.18975256581009087</c:v>
                </c:pt>
                <c:pt idx="2">
                  <c:v>0.1977377188795764</c:v>
                </c:pt>
                <c:pt idx="3">
                  <c:v>0.17806364761363258</c:v>
                </c:pt>
                <c:pt idx="4">
                  <c:v>0.19408115429369327</c:v>
                </c:pt>
                <c:pt idx="5">
                  <c:v>0.19408555717441367</c:v>
                </c:pt>
                <c:pt idx="6">
                  <c:v>0.2100747462279144</c:v>
                </c:pt>
                <c:pt idx="7">
                  <c:v>0.21292478388410147</c:v>
                </c:pt>
                <c:pt idx="8">
                  <c:v>0.16578213421853186</c:v>
                </c:pt>
                <c:pt idx="9">
                  <c:v>0.19922001415815754</c:v>
                </c:pt>
                <c:pt idx="10">
                  <c:v>0.19933345595353338</c:v>
                </c:pt>
                <c:pt idx="11">
                  <c:v>0.2161849876857274</c:v>
                </c:pt>
                <c:pt idx="12">
                  <c:v>0.22802198737390542</c:v>
                </c:pt>
                <c:pt idx="13">
                  <c:v>0.1841848476166601</c:v>
                </c:pt>
                <c:pt idx="14">
                  <c:v>0.18451780129688852</c:v>
                </c:pt>
                <c:pt idx="15">
                  <c:v>0.22934887848308882</c:v>
                </c:pt>
                <c:pt idx="16">
                  <c:v>0.18569815140823714</c:v>
                </c:pt>
                <c:pt idx="17">
                  <c:v>0.1979850824587706</c:v>
                </c:pt>
                <c:pt idx="18">
                  <c:v>0.21851774976224733</c:v>
                </c:pt>
                <c:pt idx="19">
                  <c:v>0.23335737784043947</c:v>
                </c:pt>
                <c:pt idx="20">
                  <c:v>0.20459088294842467</c:v>
                </c:pt>
                <c:pt idx="21">
                  <c:v>0.2071523805068884</c:v>
                </c:pt>
                <c:pt idx="22">
                  <c:v>0.19715071814967666</c:v>
                </c:pt>
                <c:pt idx="23">
                  <c:v>0.20115842264999664</c:v>
                </c:pt>
                <c:pt idx="24">
                  <c:v>0.19966044447283363</c:v>
                </c:pt>
                <c:pt idx="25">
                  <c:v>0.21135891564689233</c:v>
                </c:pt>
                <c:pt idx="26">
                  <c:v>0.2354384442195623</c:v>
                </c:pt>
                <c:pt idx="27">
                  <c:v>0.17848159088556106</c:v>
                </c:pt>
                <c:pt idx="28">
                  <c:v>0.1742260191275061</c:v>
                </c:pt>
                <c:pt idx="29">
                  <c:v>0.2059399613472377</c:v>
                </c:pt>
                <c:pt idx="30">
                  <c:v>0.21537417761533145</c:v>
                </c:pt>
                <c:pt idx="31">
                  <c:v>0.16244044776119404</c:v>
                </c:pt>
                <c:pt idx="32">
                  <c:v>0.22363013726779551</c:v>
                </c:pt>
                <c:pt idx="33">
                  <c:v>0.17571772208390016</c:v>
                </c:pt>
                <c:pt idx="34">
                  <c:v>0.1966098869682608</c:v>
                </c:pt>
                <c:pt idx="35">
                  <c:v>0.2288332035713953</c:v>
                </c:pt>
                <c:pt idx="36">
                  <c:v>0.21475733174485323</c:v>
                </c:pt>
                <c:pt idx="37">
                  <c:v>0.21123296652830043</c:v>
                </c:pt>
                <c:pt idx="38">
                  <c:v>0.2347448157119846</c:v>
                </c:pt>
                <c:pt idx="39">
                  <c:v>0.22823805496828753</c:v>
                </c:pt>
                <c:pt idx="40">
                  <c:v>0.26662558067499204</c:v>
                </c:pt>
                <c:pt idx="41">
                  <c:v>0.28245219503730695</c:v>
                </c:pt>
                <c:pt idx="42">
                  <c:v>0.23092391414578364</c:v>
                </c:pt>
                <c:pt idx="43">
                  <c:v>0.30608730119237776</c:v>
                </c:pt>
                <c:pt idx="44">
                  <c:v>0.2330605390333768</c:v>
                </c:pt>
                <c:pt idx="45">
                  <c:v>0.2550310799793794</c:v>
                </c:pt>
                <c:pt idx="46">
                  <c:v>0.24670490880598267</c:v>
                </c:pt>
                <c:pt idx="47">
                  <c:v>0.21571852580475812</c:v>
                </c:pt>
                <c:pt idx="48">
                  <c:v>0.24657735128327085</c:v>
                </c:pt>
                <c:pt idx="49">
                  <c:v>0.21909396791406055</c:v>
                </c:pt>
                <c:pt idx="50">
                  <c:v>0.20681511972125954</c:v>
                </c:pt>
                <c:pt idx="51">
                  <c:v>0.1905453901426981</c:v>
                </c:pt>
                <c:pt idx="52">
                  <c:v>0.20696516328291775</c:v>
                </c:pt>
                <c:pt idx="53">
                  <c:v>0.2529340355901002</c:v>
                </c:pt>
                <c:pt idx="54">
                  <c:v>0.23982244168547778</c:v>
                </c:pt>
                <c:pt idx="55">
                  <c:v>0.24141146267525576</c:v>
                </c:pt>
                <c:pt idx="56">
                  <c:v>0.23910297326346172</c:v>
                </c:pt>
                <c:pt idx="57">
                  <c:v>0.2409955615527337</c:v>
                </c:pt>
                <c:pt idx="58">
                  <c:v>0.23700721212047104</c:v>
                </c:pt>
                <c:pt idx="59">
                  <c:v>0.22774288699675455</c:v>
                </c:pt>
                <c:pt idx="60">
                  <c:v>0.22125329054253554</c:v>
                </c:pt>
                <c:pt idx="61">
                  <c:v>0.23411388745762415</c:v>
                </c:pt>
                <c:pt idx="62">
                  <c:v>0.2379156818457998</c:v>
                </c:pt>
                <c:pt idx="63">
                  <c:v>0.22768279675692693</c:v>
                </c:pt>
                <c:pt idx="64">
                  <c:v>0.21603939172589606</c:v>
                </c:pt>
                <c:pt idx="65">
                  <c:v>0.21373747742253288</c:v>
                </c:pt>
                <c:pt idx="66">
                  <c:v>0.22439486114013846</c:v>
                </c:pt>
                <c:pt idx="67">
                  <c:v>0.22055514913656335</c:v>
                </c:pt>
                <c:pt idx="68">
                  <c:v>0.21803824562028062</c:v>
                </c:pt>
                <c:pt idx="69">
                  <c:v>0.23068424670612947</c:v>
                </c:pt>
                <c:pt idx="70">
                  <c:v>0.20269118554237806</c:v>
                </c:pt>
                <c:pt idx="71">
                  <c:v>0.22804507016667425</c:v>
                </c:pt>
                <c:pt idx="72">
                  <c:v>0.2316436370446414</c:v>
                </c:pt>
                <c:pt idx="73">
                  <c:v>0.23741708504917167</c:v>
                </c:pt>
                <c:pt idx="74">
                  <c:v>0.2326366870569512</c:v>
                </c:pt>
                <c:pt idx="75">
                  <c:v>0.21700600130687486</c:v>
                </c:pt>
                <c:pt idx="76">
                  <c:v>0.24349064891940947</c:v>
                </c:pt>
                <c:pt idx="77">
                  <c:v>0.24754988282637</c:v>
                </c:pt>
                <c:pt idx="78">
                  <c:v>0.23944892034113593</c:v>
                </c:pt>
                <c:pt idx="79">
                  <c:v>0.25362505656782186</c:v>
                </c:pt>
                <c:pt idx="80">
                  <c:v>0.2590568930068482</c:v>
                </c:pt>
                <c:pt idx="81">
                  <c:v>0.2343918870563033</c:v>
                </c:pt>
                <c:pt idx="82">
                  <c:v>0.2253557179045695</c:v>
                </c:pt>
                <c:pt idx="83">
                  <c:v>0.3049880448447215</c:v>
                </c:pt>
                <c:pt idx="84">
                  <c:v>0.30466174840127375</c:v>
                </c:pt>
                <c:pt idx="85">
                  <c:v>0.22747707085312954</c:v>
                </c:pt>
                <c:pt idx="86">
                  <c:v>0.23062354604914267</c:v>
                </c:pt>
                <c:pt idx="87">
                  <c:v>0.26576958028961056</c:v>
                </c:pt>
                <c:pt idx="88">
                  <c:v>0.2216999843308329</c:v>
                </c:pt>
                <c:pt idx="89">
                  <c:v>0.24076203971287405</c:v>
                </c:pt>
                <c:pt idx="90">
                  <c:v>0.24219443425850382</c:v>
                </c:pt>
                <c:pt idx="91">
                  <c:v>0.24879616093156542</c:v>
                </c:pt>
                <c:pt idx="92">
                  <c:v>0.23118827442094636</c:v>
                </c:pt>
                <c:pt idx="93">
                  <c:v>0.25288115028183816</c:v>
                </c:pt>
                <c:pt idx="94">
                  <c:v>0.25701883433684763</c:v>
                </c:pt>
                <c:pt idx="95">
                  <c:v>0.1967156059421423</c:v>
                </c:pt>
                <c:pt idx="96">
                  <c:v>0.21487300128985537</c:v>
                </c:pt>
                <c:pt idx="97">
                  <c:v>0.21865595531974308</c:v>
                </c:pt>
                <c:pt idx="98">
                  <c:v>0.21258708948778707</c:v>
                </c:pt>
                <c:pt idx="99">
                  <c:v>0.21149782682978102</c:v>
                </c:pt>
                <c:pt idx="100">
                  <c:v>0.22632724225726727</c:v>
                </c:pt>
                <c:pt idx="101">
                  <c:v>0.22085108760360855</c:v>
                </c:pt>
                <c:pt idx="102">
                  <c:v>0.23922534801819453</c:v>
                </c:pt>
                <c:pt idx="103">
                  <c:v>0.14927025164017702</c:v>
                </c:pt>
                <c:pt idx="104">
                  <c:v>0.1794359288089106</c:v>
                </c:pt>
              </c:numCache>
            </c:numRef>
          </c:xVal>
          <c:yVal>
            <c:numRef>
              <c:f>Sheet1!$B$2:$B$106</c:f>
              <c:numCache>
                <c:formatCode>General</c:formatCode>
                <c:ptCount val="105"/>
                <c:pt idx="0">
                  <c:v>0.16079708000394594</c:v>
                </c:pt>
                <c:pt idx="1">
                  <c:v>0.17096959265633965</c:v>
                </c:pt>
                <c:pt idx="2">
                  <c:v>0.16387037462652262</c:v>
                </c:pt>
                <c:pt idx="3">
                  <c:v>0.17216714769732713</c:v>
                </c:pt>
                <c:pt idx="4">
                  <c:v>0.18144649654589032</c:v>
                </c:pt>
                <c:pt idx="5">
                  <c:v>0.16709166554824856</c:v>
                </c:pt>
                <c:pt idx="6">
                  <c:v>0.17090563346802948</c:v>
                </c:pt>
                <c:pt idx="7">
                  <c:v>0.17403117403117402</c:v>
                </c:pt>
                <c:pt idx="8">
                  <c:v>0.1781512605042017</c:v>
                </c:pt>
                <c:pt idx="9">
                  <c:v>0.15042326893857175</c:v>
                </c:pt>
                <c:pt idx="10">
                  <c:v>0.15494623655913978</c:v>
                </c:pt>
                <c:pt idx="11">
                  <c:v>0.15510531135531136</c:v>
                </c:pt>
                <c:pt idx="12">
                  <c:v>0.15825809877854488</c:v>
                </c:pt>
                <c:pt idx="13">
                  <c:v>0.15976838944885266</c:v>
                </c:pt>
                <c:pt idx="14">
                  <c:v>0.14671772428884025</c:v>
                </c:pt>
                <c:pt idx="15">
                  <c:v>0.1547028042399034</c:v>
                </c:pt>
                <c:pt idx="16">
                  <c:v>0.15219392451672292</c:v>
                </c:pt>
                <c:pt idx="17">
                  <c:v>0.15314365999297505</c:v>
                </c:pt>
                <c:pt idx="18">
                  <c:v>0.13445050662509742</c:v>
                </c:pt>
                <c:pt idx="19">
                  <c:v>0.11931428571428572</c:v>
                </c:pt>
                <c:pt idx="20">
                  <c:v>0.12084993359893759</c:v>
                </c:pt>
                <c:pt idx="21">
                  <c:v>0.12794445821968758</c:v>
                </c:pt>
                <c:pt idx="22">
                  <c:v>0.12385531135531136</c:v>
                </c:pt>
                <c:pt idx="23">
                  <c:v>0.130622009569378</c:v>
                </c:pt>
                <c:pt idx="24">
                  <c:v>0.14051781367559193</c:v>
                </c:pt>
                <c:pt idx="25">
                  <c:v>0.1366351418616227</c:v>
                </c:pt>
                <c:pt idx="26">
                  <c:v>0.14001284521515736</c:v>
                </c:pt>
                <c:pt idx="27">
                  <c:v>0.13755546591367487</c:v>
                </c:pt>
                <c:pt idx="28">
                  <c:v>0.14340836012861735</c:v>
                </c:pt>
                <c:pt idx="29">
                  <c:v>0.15733283386401947</c:v>
                </c:pt>
                <c:pt idx="30">
                  <c:v>0.13095238095238096</c:v>
                </c:pt>
                <c:pt idx="31">
                  <c:v>0.12383971021055015</c:v>
                </c:pt>
                <c:pt idx="32">
                  <c:v>0.12989972652689152</c:v>
                </c:pt>
                <c:pt idx="33">
                  <c:v>0.141439205955335</c:v>
                </c:pt>
                <c:pt idx="34">
                  <c:v>0.1374080192221054</c:v>
                </c:pt>
                <c:pt idx="35">
                  <c:v>0.13109243697478992</c:v>
                </c:pt>
                <c:pt idx="36">
                  <c:v>0.11298116980503249</c:v>
                </c:pt>
                <c:pt idx="37">
                  <c:v>0.1138728323699422</c:v>
                </c:pt>
                <c:pt idx="38">
                  <c:v>0.09835038630194196</c:v>
                </c:pt>
                <c:pt idx="39">
                  <c:v>0.11475761475761476</c:v>
                </c:pt>
                <c:pt idx="40">
                  <c:v>0.11250654107796965</c:v>
                </c:pt>
                <c:pt idx="41">
                  <c:v>0.11540761411201914</c:v>
                </c:pt>
                <c:pt idx="42">
                  <c:v>0.12056859051207398</c:v>
                </c:pt>
                <c:pt idx="43">
                  <c:v>0.11750038959015116</c:v>
                </c:pt>
                <c:pt idx="44">
                  <c:v>0.13330786860198626</c:v>
                </c:pt>
                <c:pt idx="45">
                  <c:v>0.14740243599304</c:v>
                </c:pt>
                <c:pt idx="46">
                  <c:v>0.1537085230969421</c:v>
                </c:pt>
                <c:pt idx="47">
                  <c:v>0.1516112873601603</c:v>
                </c:pt>
                <c:pt idx="48">
                  <c:v>0.16138698630136986</c:v>
                </c:pt>
                <c:pt idx="49">
                  <c:v>0.17430535059240207</c:v>
                </c:pt>
                <c:pt idx="50">
                  <c:v>0.15642128341344128</c:v>
                </c:pt>
                <c:pt idx="51">
                  <c:v>0.1456538762725137</c:v>
                </c:pt>
                <c:pt idx="52">
                  <c:v>0.14864487286951664</c:v>
                </c:pt>
                <c:pt idx="53">
                  <c:v>0.13720657276995304</c:v>
                </c:pt>
                <c:pt idx="54">
                  <c:v>0.1304977613905715</c:v>
                </c:pt>
                <c:pt idx="55">
                  <c:v>0.13215859030837004</c:v>
                </c:pt>
                <c:pt idx="56">
                  <c:v>0.1470124659693366</c:v>
                </c:pt>
                <c:pt idx="57">
                  <c:v>0.14220404234841194</c:v>
                </c:pt>
                <c:pt idx="58">
                  <c:v>0.15447499734579043</c:v>
                </c:pt>
                <c:pt idx="59">
                  <c:v>0.153218679899395</c:v>
                </c:pt>
                <c:pt idx="60">
                  <c:v>0.17220025367455047</c:v>
                </c:pt>
                <c:pt idx="61">
                  <c:v>0.1796218487394958</c:v>
                </c:pt>
                <c:pt idx="62">
                  <c:v>0.17017114914425427</c:v>
                </c:pt>
                <c:pt idx="63">
                  <c:v>0.17429155192324775</c:v>
                </c:pt>
                <c:pt idx="64">
                  <c:v>0.15572802429559643</c:v>
                </c:pt>
                <c:pt idx="65">
                  <c:v>0.14197588559678476</c:v>
                </c:pt>
                <c:pt idx="66">
                  <c:v>0.13703131039814456</c:v>
                </c:pt>
                <c:pt idx="67">
                  <c:v>0.13469258398478767</c:v>
                </c:pt>
                <c:pt idx="68">
                  <c:v>0.11407605070046697</c:v>
                </c:pt>
                <c:pt idx="69">
                  <c:v>0.10633561643835616</c:v>
                </c:pt>
                <c:pt idx="70">
                  <c:v>0.10001655903295248</c:v>
                </c:pt>
                <c:pt idx="71">
                  <c:v>0.11459703174901371</c:v>
                </c:pt>
                <c:pt idx="72">
                  <c:v>0.11376210235131397</c:v>
                </c:pt>
                <c:pt idx="73">
                  <c:v>0.12013239875389409</c:v>
                </c:pt>
                <c:pt idx="74">
                  <c:v>0.11942186088527552</c:v>
                </c:pt>
                <c:pt idx="75">
                  <c:v>0.11329550060802594</c:v>
                </c:pt>
                <c:pt idx="76">
                  <c:v>0.11784214017245191</c:v>
                </c:pt>
                <c:pt idx="77">
                  <c:v>0.10702498821310702</c:v>
                </c:pt>
                <c:pt idx="78">
                  <c:v>0.1198024948024948</c:v>
                </c:pt>
                <c:pt idx="79">
                  <c:v>0.10997866793078928</c:v>
                </c:pt>
                <c:pt idx="80">
                  <c:v>0.09935304990757855</c:v>
                </c:pt>
                <c:pt idx="81">
                  <c:v>0.09512937595129375</c:v>
                </c:pt>
                <c:pt idx="82">
                  <c:v>0.1019124308002013</c:v>
                </c:pt>
                <c:pt idx="83">
                  <c:v>0.09265084358021161</c:v>
                </c:pt>
                <c:pt idx="84">
                  <c:v>0.10031082226617688</c:v>
                </c:pt>
                <c:pt idx="85">
                  <c:v>0.09764474975466143</c:v>
                </c:pt>
                <c:pt idx="86">
                  <c:v>0.10536602700781805</c:v>
                </c:pt>
                <c:pt idx="87">
                  <c:v>0.11496291518864882</c:v>
                </c:pt>
                <c:pt idx="88">
                  <c:v>0.10772184300341298</c:v>
                </c:pt>
                <c:pt idx="89">
                  <c:v>0.10490693739424704</c:v>
                </c:pt>
                <c:pt idx="90">
                  <c:v>0.10665998998497747</c:v>
                </c:pt>
                <c:pt idx="91">
                  <c:v>0.09854563691073219</c:v>
                </c:pt>
                <c:pt idx="92">
                  <c:v>0.11252099272252286</c:v>
                </c:pt>
                <c:pt idx="93">
                  <c:v>0.10864464898032845</c:v>
                </c:pt>
                <c:pt idx="94">
                  <c:v>0.10680379746835443</c:v>
                </c:pt>
                <c:pt idx="95">
                  <c:v>0.11853573503776874</c:v>
                </c:pt>
                <c:pt idx="96">
                  <c:v>0.11556934160496297</c:v>
                </c:pt>
                <c:pt idx="97">
                  <c:v>0.12486234646336299</c:v>
                </c:pt>
                <c:pt idx="98">
                  <c:v>0.13415079191299906</c:v>
                </c:pt>
                <c:pt idx="99">
                  <c:v>0.13662736290473518</c:v>
                </c:pt>
                <c:pt idx="100">
                  <c:v>0.14058713886300092</c:v>
                </c:pt>
                <c:pt idx="101">
                  <c:v>0.1458021612635079</c:v>
                </c:pt>
                <c:pt idx="102">
                  <c:v>0.1329410351867419</c:v>
                </c:pt>
                <c:pt idx="103">
                  <c:v>0.17442778216258878</c:v>
                </c:pt>
                <c:pt idx="104">
                  <c:v>0.1681894686222649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896806174683342</c:v>
                </c:pt>
                <c:pt idx="1">
                  <c:v>0.22751922531422705</c:v>
                </c:pt>
                <c:pt idx="2">
                  <c:v>0.21244877514864252</c:v>
                </c:pt>
                <c:pt idx="3">
                  <c:v>0.20572023466716804</c:v>
                </c:pt>
                <c:pt idx="4">
                  <c:v>0.17999728674320084</c:v>
                </c:pt>
                <c:pt idx="5">
                  <c:v>0.19819219429726953</c:v>
                </c:pt>
                <c:pt idx="6">
                  <c:v>0.19109295896567902</c:v>
                </c:pt>
                <c:pt idx="7">
                  <c:v>0.19048857868088404</c:v>
                </c:pt>
                <c:pt idx="8">
                  <c:v>0.21523095781824922</c:v>
                </c:pt>
                <c:pt idx="9">
                  <c:v>0.2144442790095485</c:v>
                </c:pt>
                <c:pt idx="10">
                  <c:v>0.19246691447287756</c:v>
                </c:pt>
                <c:pt idx="11">
                  <c:v>0.1953884179563121</c:v>
                </c:pt>
                <c:pt idx="12">
                  <c:v>0.17736560458681577</c:v>
                </c:pt>
                <c:pt idx="13">
                  <c:v>0.16694857768738197</c:v>
                </c:pt>
                <c:pt idx="14">
                  <c:v>0.17888287542684586</c:v>
                </c:pt>
                <c:pt idx="15">
                  <c:v>0.20152437057189276</c:v>
                </c:pt>
                <c:pt idx="16">
                  <c:v>0.15951086283291246</c:v>
                </c:pt>
                <c:pt idx="17">
                  <c:v>0.16577542133684334</c:v>
                </c:pt>
                <c:pt idx="18">
                  <c:v>0.21294470579592542</c:v>
                </c:pt>
                <c:pt idx="19">
                  <c:v>0.177089598540146</c:v>
                </c:pt>
                <c:pt idx="20">
                  <c:v>0.20838625258493357</c:v>
                </c:pt>
                <c:pt idx="21">
                  <c:v>0.14889816176470588</c:v>
                </c:pt>
                <c:pt idx="22">
                  <c:v>0.14660629015802915</c:v>
                </c:pt>
                <c:pt idx="23">
                  <c:v>0.17120833427431048</c:v>
                </c:pt>
                <c:pt idx="24">
                  <c:v>0.1670913252857639</c:v>
                </c:pt>
                <c:pt idx="25">
                  <c:v>0.16079735564788905</c:v>
                </c:pt>
                <c:pt idx="26">
                  <c:v>0.14641289826411294</c:v>
                </c:pt>
                <c:pt idx="27">
                  <c:v>0.16516514674025637</c:v>
                </c:pt>
                <c:pt idx="28">
                  <c:v>0.1783875518672199</c:v>
                </c:pt>
                <c:pt idx="29">
                  <c:v>0.1796084606800799</c:v>
                </c:pt>
                <c:pt idx="30">
                  <c:v>0.1781583550535766</c:v>
                </c:pt>
                <c:pt idx="31">
                  <c:v>0.11319651941348095</c:v>
                </c:pt>
                <c:pt idx="32">
                  <c:v>0.1700870841476839</c:v>
                </c:pt>
                <c:pt idx="33">
                  <c:v>0.1866285597482579</c:v>
                </c:pt>
                <c:pt idx="34">
                  <c:v>0.17831054698077445</c:v>
                </c:pt>
                <c:pt idx="35">
                  <c:v>0.15947370740778188</c:v>
                </c:pt>
                <c:pt idx="36">
                  <c:v>0.13041373827965755</c:v>
                </c:pt>
                <c:pt idx="37">
                  <c:v>0.18552979211930434</c:v>
                </c:pt>
                <c:pt idx="38">
                  <c:v>0.15112679297794904</c:v>
                </c:pt>
                <c:pt idx="39">
                  <c:v>0.17377790035529453</c:v>
                </c:pt>
                <c:pt idx="40">
                  <c:v>0.18871775433368693</c:v>
                </c:pt>
                <c:pt idx="41">
                  <c:v>0.16351224527593977</c:v>
                </c:pt>
                <c:pt idx="42">
                  <c:v>0.15249409219097146</c:v>
                </c:pt>
                <c:pt idx="43">
                  <c:v>0.18889567383509465</c:v>
                </c:pt>
                <c:pt idx="44">
                  <c:v>0.174532408285112</c:v>
                </c:pt>
                <c:pt idx="45">
                  <c:v>0.17806288041791324</c:v>
                </c:pt>
                <c:pt idx="46">
                  <c:v>0.19863310660993852</c:v>
                </c:pt>
                <c:pt idx="47">
                  <c:v>0.11570940435116811</c:v>
                </c:pt>
                <c:pt idx="48">
                  <c:v>0.15779505435507063</c:v>
                </c:pt>
                <c:pt idx="49">
                  <c:v>0.16860459207080797</c:v>
                </c:pt>
                <c:pt idx="50">
                  <c:v>0.16673986350240422</c:v>
                </c:pt>
                <c:pt idx="51">
                  <c:v>0.14914519117706562</c:v>
                </c:pt>
              </c:numCache>
            </c:numRef>
          </c:xVal>
          <c:yVal>
            <c:numRef>
              <c:f>Sheet1!$B$109:$B$160</c:f>
              <c:numCache>
                <c:formatCode>General</c:formatCode>
                <c:ptCount val="52"/>
                <c:pt idx="0">
                  <c:v>0.1498181016425973</c:v>
                </c:pt>
                <c:pt idx="1">
                  <c:v>0.17013766325450053</c:v>
                </c:pt>
                <c:pt idx="2">
                  <c:v>0.16942148760330578</c:v>
                </c:pt>
                <c:pt idx="3">
                  <c:v>0.17484566286491576</c:v>
                </c:pt>
                <c:pt idx="4">
                  <c:v>0.17497002071296194</c:v>
                </c:pt>
                <c:pt idx="5">
                  <c:v>0.1671113008216839</c:v>
                </c:pt>
                <c:pt idx="6">
                  <c:v>0.15220268481754584</c:v>
                </c:pt>
                <c:pt idx="7">
                  <c:v>0.1545937540495011</c:v>
                </c:pt>
                <c:pt idx="8">
                  <c:v>0.1499774130402048</c:v>
                </c:pt>
                <c:pt idx="9">
                  <c:v>0.1531592477337302</c:v>
                </c:pt>
                <c:pt idx="10">
                  <c:v>0.14955121436114044</c:v>
                </c:pt>
                <c:pt idx="11">
                  <c:v>0.14305127740532705</c:v>
                </c:pt>
                <c:pt idx="12">
                  <c:v>0.1431937453143408</c:v>
                </c:pt>
                <c:pt idx="13">
                  <c:v>0.13769751693002258</c:v>
                </c:pt>
                <c:pt idx="14">
                  <c:v>0.14355670103092782</c:v>
                </c:pt>
                <c:pt idx="15">
                  <c:v>0.13593196314670447</c:v>
                </c:pt>
                <c:pt idx="16">
                  <c:v>0.12206885082321636</c:v>
                </c:pt>
                <c:pt idx="17">
                  <c:v>0.12079722703639514</c:v>
                </c:pt>
                <c:pt idx="18">
                  <c:v>0.1084456780333069</c:v>
                </c:pt>
                <c:pt idx="19">
                  <c:v>0.12294094013660105</c:v>
                </c:pt>
                <c:pt idx="20">
                  <c:v>0.12447650069799907</c:v>
                </c:pt>
                <c:pt idx="21">
                  <c:v>0.1363398007341374</c:v>
                </c:pt>
                <c:pt idx="22">
                  <c:v>0.14582252205500779</c:v>
                </c:pt>
                <c:pt idx="23">
                  <c:v>0.1485121485121485</c:v>
                </c:pt>
                <c:pt idx="24">
                  <c:v>0.14557926829268292</c:v>
                </c:pt>
                <c:pt idx="25">
                  <c:v>0.14012070322749934</c:v>
                </c:pt>
                <c:pt idx="26">
                  <c:v>0.13001245330012454</c:v>
                </c:pt>
                <c:pt idx="27">
                  <c:v>0.12907518296739853</c:v>
                </c:pt>
                <c:pt idx="28">
                  <c:v>0.1333740582366117</c:v>
                </c:pt>
                <c:pt idx="29">
                  <c:v>0.14577622726140044</c:v>
                </c:pt>
                <c:pt idx="30">
                  <c:v>0.1449238578680203</c:v>
                </c:pt>
                <c:pt idx="31">
                  <c:v>0.14441714441714443</c:v>
                </c:pt>
                <c:pt idx="32">
                  <c:v>0.15171916326039914</c:v>
                </c:pt>
                <c:pt idx="33">
                  <c:v>0.16278650063165492</c:v>
                </c:pt>
                <c:pt idx="34">
                  <c:v>0.1708726913858734</c:v>
                </c:pt>
                <c:pt idx="35">
                  <c:v>0.17422096317280453</c:v>
                </c:pt>
                <c:pt idx="36">
                  <c:v>0.1620193718814206</c:v>
                </c:pt>
                <c:pt idx="37">
                  <c:v>0.135475234270415</c:v>
                </c:pt>
                <c:pt idx="38">
                  <c:v>0.1331711766494375</c:v>
                </c:pt>
                <c:pt idx="39">
                  <c:v>0.14779525814314204</c:v>
                </c:pt>
                <c:pt idx="40">
                  <c:v>0.13564463705308777</c:v>
                </c:pt>
                <c:pt idx="41">
                  <c:v>0.14297204906495073</c:v>
                </c:pt>
                <c:pt idx="42">
                  <c:v>0.14197247706422017</c:v>
                </c:pt>
                <c:pt idx="43">
                  <c:v>0.13604960141718334</c:v>
                </c:pt>
                <c:pt idx="44">
                  <c:v>0.12600114416475972</c:v>
                </c:pt>
                <c:pt idx="45">
                  <c:v>0.1277805486284289</c:v>
                </c:pt>
                <c:pt idx="46">
                  <c:v>0.1306987399770905</c:v>
                </c:pt>
                <c:pt idx="47">
                  <c:v>0.13088735442646604</c:v>
                </c:pt>
                <c:pt idx="48">
                  <c:v>0.1158892745280623</c:v>
                </c:pt>
                <c:pt idx="49">
                  <c:v>0.12376041253470844</c:v>
                </c:pt>
                <c:pt idx="50">
                  <c:v>0.1494135370709136</c:v>
                </c:pt>
                <c:pt idx="51">
                  <c:v>0.146092754191587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8354814621302474</c:v>
                </c:pt>
              </c:numCache>
            </c:numRef>
          </c:xVal>
          <c:yVal>
            <c:numRef>
              <c:f>Sheet1!$B$163:$B$164</c:f>
              <c:numCache>
                <c:formatCode>General</c:formatCode>
                <c:ptCount val="2"/>
                <c:pt idx="0">
                  <c:v>0.1710478250090755</c:v>
                </c:pt>
                <c:pt idx="1">
                  <c:v>0.171047825009075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8354814621302474</c:v>
                </c:pt>
                <c:pt idx="1">
                  <c:v>0.38354814621302474</c:v>
                </c:pt>
              </c:numCache>
            </c:numRef>
          </c:xVal>
          <c:yVal>
            <c:numRef>
              <c:f>Sheet1!$B$167:$B$168</c:f>
              <c:numCache>
                <c:formatCode>General</c:formatCode>
                <c:ptCount val="2"/>
                <c:pt idx="0">
                  <c:v>0.171047825009075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2003815746484393</c:v>
                </c:pt>
              </c:numCache>
            </c:numRef>
          </c:xVal>
          <c:yVal>
            <c:numRef>
              <c:f>Sheet1!$B$171:$B$172</c:f>
              <c:numCache>
                <c:formatCode>General</c:formatCode>
                <c:ptCount val="2"/>
                <c:pt idx="0">
                  <c:v>0.16256423208969079</c:v>
                </c:pt>
                <c:pt idx="1">
                  <c:v>0.1625642320896907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2003815746484393</c:v>
                </c:pt>
                <c:pt idx="1">
                  <c:v>0.32003815746484393</c:v>
                </c:pt>
              </c:numCache>
            </c:numRef>
          </c:xVal>
          <c:yVal>
            <c:numRef>
              <c:f>Sheet1!$B$175:$B$176</c:f>
              <c:numCache>
                <c:formatCode>General</c:formatCode>
                <c:ptCount val="2"/>
                <c:pt idx="0">
                  <c:v>0.1625642320896907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136621199732126</c:v>
                </c:pt>
              </c:numCache>
            </c:numRef>
          </c:xVal>
          <c:yVal>
            <c:numRef>
              <c:f>Sheet1!$B$179:$B$180</c:f>
              <c:numCache>
                <c:formatCode>General</c:formatCode>
                <c:ptCount val="2"/>
                <c:pt idx="0">
                  <c:v>0.13499675294343083</c:v>
                </c:pt>
                <c:pt idx="1">
                  <c:v>0.1349967529434308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136621199732126</c:v>
                </c:pt>
                <c:pt idx="1">
                  <c:v>0.1136621199732126</c:v>
                </c:pt>
              </c:numCache>
            </c:numRef>
          </c:xVal>
          <c:yVal>
            <c:numRef>
              <c:f>Sheet1!$B$183:$B$184</c:f>
              <c:numCache>
                <c:formatCode>General</c:formatCode>
                <c:ptCount val="2"/>
                <c:pt idx="0">
                  <c:v>0.1349967529434308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896806174683342</c:v>
                </c:pt>
                <c:pt idx="1">
                  <c:v>0.22751922531422705</c:v>
                </c:pt>
                <c:pt idx="2">
                  <c:v>0.21244877514864252</c:v>
                </c:pt>
                <c:pt idx="3">
                  <c:v>0.20572023466716804</c:v>
                </c:pt>
                <c:pt idx="4">
                  <c:v>0.17999728674320084</c:v>
                </c:pt>
                <c:pt idx="5">
                  <c:v>0.19819219429726953</c:v>
                </c:pt>
                <c:pt idx="6">
                  <c:v>0.19109295896567902</c:v>
                </c:pt>
                <c:pt idx="7">
                  <c:v>0.19048857868088404</c:v>
                </c:pt>
                <c:pt idx="8">
                  <c:v>0.21523095781824922</c:v>
                </c:pt>
                <c:pt idx="9">
                  <c:v>0.2144442790095485</c:v>
                </c:pt>
                <c:pt idx="10">
                  <c:v>0.19246691447287756</c:v>
                </c:pt>
                <c:pt idx="11">
                  <c:v>0.1953884179563121</c:v>
                </c:pt>
                <c:pt idx="12">
                  <c:v>0.17736560458681577</c:v>
                </c:pt>
                <c:pt idx="13">
                  <c:v>0.16694857768738197</c:v>
                </c:pt>
                <c:pt idx="14">
                  <c:v>0.17888287542684586</c:v>
                </c:pt>
                <c:pt idx="15">
                  <c:v>0.20152437057189276</c:v>
                </c:pt>
                <c:pt idx="16">
                  <c:v>0.15951086283291246</c:v>
                </c:pt>
                <c:pt idx="17">
                  <c:v>0.16577542133684334</c:v>
                </c:pt>
                <c:pt idx="18">
                  <c:v>0.21294470579592542</c:v>
                </c:pt>
                <c:pt idx="19">
                  <c:v>0.177089598540146</c:v>
                </c:pt>
                <c:pt idx="20">
                  <c:v>0.20838625258493357</c:v>
                </c:pt>
                <c:pt idx="21">
                  <c:v>0.14889816176470588</c:v>
                </c:pt>
                <c:pt idx="22">
                  <c:v>0.14660629015802915</c:v>
                </c:pt>
                <c:pt idx="23">
                  <c:v>0.17120833427431048</c:v>
                </c:pt>
                <c:pt idx="24">
                  <c:v>0.1670913252857639</c:v>
                </c:pt>
                <c:pt idx="25">
                  <c:v>0.16079735564788905</c:v>
                </c:pt>
                <c:pt idx="26">
                  <c:v>0.14641289826411294</c:v>
                </c:pt>
                <c:pt idx="27">
                  <c:v>0.16516514674025637</c:v>
                </c:pt>
                <c:pt idx="28">
                  <c:v>0.1783875518672199</c:v>
                </c:pt>
                <c:pt idx="29">
                  <c:v>0.1796084606800799</c:v>
                </c:pt>
                <c:pt idx="30">
                  <c:v>0.1781583550535766</c:v>
                </c:pt>
                <c:pt idx="31">
                  <c:v>0.11319651941348095</c:v>
                </c:pt>
                <c:pt idx="32">
                  <c:v>0.1700870841476839</c:v>
                </c:pt>
                <c:pt idx="33">
                  <c:v>0.1866285597482579</c:v>
                </c:pt>
                <c:pt idx="34">
                  <c:v>0.17831054698077445</c:v>
                </c:pt>
                <c:pt idx="35">
                  <c:v>0.15947370740778188</c:v>
                </c:pt>
                <c:pt idx="36">
                  <c:v>0.13041373827965755</c:v>
                </c:pt>
                <c:pt idx="37">
                  <c:v>0.18552979211930434</c:v>
                </c:pt>
                <c:pt idx="38">
                  <c:v>0.15112679297794904</c:v>
                </c:pt>
                <c:pt idx="39">
                  <c:v>0.17377790035529453</c:v>
                </c:pt>
                <c:pt idx="40">
                  <c:v>0.18871775433368693</c:v>
                </c:pt>
                <c:pt idx="41">
                  <c:v>0.16351224527593977</c:v>
                </c:pt>
                <c:pt idx="42">
                  <c:v>0.15249409219097146</c:v>
                </c:pt>
                <c:pt idx="43">
                  <c:v>0.18889567383509465</c:v>
                </c:pt>
                <c:pt idx="44">
                  <c:v>0.174532408285112</c:v>
                </c:pt>
                <c:pt idx="45">
                  <c:v>0.17806288041791324</c:v>
                </c:pt>
                <c:pt idx="46">
                  <c:v>0.19863310660993852</c:v>
                </c:pt>
                <c:pt idx="47">
                  <c:v>0.11570940435116811</c:v>
                </c:pt>
                <c:pt idx="48">
                  <c:v>0.15779505435507063</c:v>
                </c:pt>
                <c:pt idx="49">
                  <c:v>0.16860459207080797</c:v>
                </c:pt>
                <c:pt idx="50">
                  <c:v>0.16673986350240422</c:v>
                </c:pt>
                <c:pt idx="51">
                  <c:v>0.14914519117706562</c:v>
                </c:pt>
                <c:pt idx="52">
                  <c:v>0.32003815746484393</c:v>
                </c:pt>
                <c:pt idx="53">
                  <c:v>0.38354814621302474</c:v>
                </c:pt>
                <c:pt idx="54">
                  <c:v>0.1136621199732126</c:v>
                </c:pt>
              </c:numCache>
            </c:numRef>
          </c:xVal>
          <c:yVal>
            <c:numRef>
              <c:f>Sheet1!$B$187:$B$241</c:f>
              <c:numCache>
                <c:formatCode>General</c:formatCode>
                <c:ptCount val="55"/>
                <c:pt idx="0">
                  <c:v>0.149063402294324</c:v>
                </c:pt>
                <c:pt idx="1">
                  <c:v>0.1502056571131759</c:v>
                </c:pt>
                <c:pt idx="2">
                  <c:v>0.14819256331743255</c:v>
                </c:pt>
                <c:pt idx="3">
                  <c:v>0.14729377244198832</c:v>
                </c:pt>
                <c:pt idx="4">
                  <c:v>0.1438577299678079</c:v>
                </c:pt>
                <c:pt idx="5">
                  <c:v>0.14628818526999024</c:v>
                </c:pt>
                <c:pt idx="6">
                  <c:v>0.145339877393084</c:v>
                </c:pt>
                <c:pt idx="7">
                  <c:v>0.14525914495389192</c:v>
                </c:pt>
                <c:pt idx="8">
                  <c:v>0.14856420415159954</c:v>
                </c:pt>
                <c:pt idx="9">
                  <c:v>0.14845912048046578</c:v>
                </c:pt>
                <c:pt idx="10">
                  <c:v>0.14552340882557466</c:v>
                </c:pt>
                <c:pt idx="11">
                  <c:v>0.1459136599774729</c:v>
                </c:pt>
                <c:pt idx="12">
                  <c:v>0.14350619282305258</c:v>
                </c:pt>
                <c:pt idx="13">
                  <c:v>0.14211469807731292</c:v>
                </c:pt>
                <c:pt idx="14">
                  <c:v>0.14370886815663364</c:v>
                </c:pt>
                <c:pt idx="15">
                  <c:v>0.1467332936317886</c:v>
                </c:pt>
                <c:pt idx="16">
                  <c:v>0.14112117648615083</c:v>
                </c:pt>
                <c:pt idx="17">
                  <c:v>0.14195798917049476</c:v>
                </c:pt>
                <c:pt idx="18">
                  <c:v>0.14825880917593015</c:v>
                </c:pt>
                <c:pt idx="19">
                  <c:v>0.14346932424553605</c:v>
                </c:pt>
                <c:pt idx="20">
                  <c:v>0.1476498961191596</c:v>
                </c:pt>
                <c:pt idx="21">
                  <c:v>0.13970354380486077</c:v>
                </c:pt>
                <c:pt idx="22">
                  <c:v>0.13939739817142924</c:v>
                </c:pt>
                <c:pt idx="23">
                  <c:v>0.1426837115747402</c:v>
                </c:pt>
                <c:pt idx="24">
                  <c:v>0.14213376614107365</c:v>
                </c:pt>
                <c:pt idx="25">
                  <c:v>0.14129302475051203</c:v>
                </c:pt>
                <c:pt idx="26">
                  <c:v>0.13937156509958917</c:v>
                </c:pt>
                <c:pt idx="27">
                  <c:v>0.141876469375758</c:v>
                </c:pt>
                <c:pt idx="28">
                  <c:v>0.143642703392223</c:v>
                </c:pt>
                <c:pt idx="29">
                  <c:v>0.14380579101929</c:v>
                </c:pt>
                <c:pt idx="30">
                  <c:v>0.14361208753944618</c:v>
                </c:pt>
                <c:pt idx="31">
                  <c:v>0.13493455854394096</c:v>
                </c:pt>
                <c:pt idx="32">
                  <c:v>0.14253393624297586</c:v>
                </c:pt>
                <c:pt idx="33">
                  <c:v>0.14474352796306925</c:v>
                </c:pt>
                <c:pt idx="34">
                  <c:v>0.14363241716603584</c:v>
                </c:pt>
                <c:pt idx="35">
                  <c:v>0.14111621330622012</c:v>
                </c:pt>
                <c:pt idx="36">
                  <c:v>0.1372344152899993</c:v>
                </c:pt>
                <c:pt idx="37">
                  <c:v>0.14459675581807643</c:v>
                </c:pt>
                <c:pt idx="38">
                  <c:v>0.14000124185761206</c:v>
                </c:pt>
                <c:pt idx="39">
                  <c:v>0.1430269513239545</c:v>
                </c:pt>
                <c:pt idx="40">
                  <c:v>0.14502260022778715</c:v>
                </c:pt>
                <c:pt idx="41">
                  <c:v>0.14165567665581727</c:v>
                </c:pt>
                <c:pt idx="42">
                  <c:v>0.14018388414980756</c:v>
                </c:pt>
                <c:pt idx="43">
                  <c:v>0.14504636651482505</c:v>
                </c:pt>
                <c:pt idx="44">
                  <c:v>0.14312773764524322</c:v>
                </c:pt>
                <c:pt idx="45">
                  <c:v>0.1435993341449163</c:v>
                </c:pt>
                <c:pt idx="46">
                  <c:v>0.1463470818411841</c:v>
                </c:pt>
                <c:pt idx="47">
                  <c:v>0.13527022688973644</c:v>
                </c:pt>
                <c:pt idx="48">
                  <c:v>0.14089198071804332</c:v>
                </c:pt>
                <c:pt idx="49">
                  <c:v>0.14233590661748977</c:v>
                </c:pt>
                <c:pt idx="50">
                  <c:v>0.14208681827105327</c:v>
                </c:pt>
                <c:pt idx="51">
                  <c:v>0.13973654171613242</c:v>
                </c:pt>
                <c:pt idx="52">
                  <c:v>0.16256423208969079</c:v>
                </c:pt>
                <c:pt idx="53">
                  <c:v>0.1710478250090755</c:v>
                </c:pt>
                <c:pt idx="54">
                  <c:v>0.1349967529434308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77357958550684"/>
          <c:min val="0.0741206748641692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3.5515</c:v>
                </c:pt>
                <c:pt idx="1">
                  <c:v>968.8007</c:v>
                </c:pt>
                <c:pt idx="2">
                  <c:v>1051.4074</c:v>
                </c:pt>
                <c:pt idx="3">
                  <c:v>1064.785</c:v>
                </c:pt>
                <c:pt idx="4">
                  <c:v>1042.4584</c:v>
                </c:pt>
                <c:pt idx="5">
                  <c:v>1032.3896</c:v>
                </c:pt>
                <c:pt idx="6">
                  <c:v>989.9868</c:v>
                </c:pt>
                <c:pt idx="7">
                  <c:v>1016.8578</c:v>
                </c:pt>
                <c:pt idx="8">
                  <c:v>1015.5103</c:v>
                </c:pt>
                <c:pt idx="9">
                  <c:v>1023.0491</c:v>
                </c:pt>
                <c:pt idx="10">
                  <c:v>1029.5573</c:v>
                </c:pt>
                <c:pt idx="11">
                  <c:v>1057.71</c:v>
                </c:pt>
                <c:pt idx="12">
                  <c:v>1051.6564</c:v>
                </c:pt>
                <c:pt idx="13">
                  <c:v>1028.5987</c:v>
                </c:pt>
                <c:pt idx="14">
                  <c:v>1044.3154</c:v>
                </c:pt>
                <c:pt idx="15">
                  <c:v>1038.6505</c:v>
                </c:pt>
                <c:pt idx="16">
                  <c:v>1025.5313</c:v>
                </c:pt>
                <c:pt idx="17">
                  <c:v>1056.4484</c:v>
                </c:pt>
                <c:pt idx="18">
                  <c:v>1120.1493</c:v>
                </c:pt>
                <c:pt idx="19">
                  <c:v>1137.5172</c:v>
                </c:pt>
                <c:pt idx="20">
                  <c:v>1161.1994</c:v>
                </c:pt>
                <c:pt idx="21">
                  <c:v>1154.5194</c:v>
                </c:pt>
                <c:pt idx="22">
                  <c:v>1183.2329</c:v>
                </c:pt>
                <c:pt idx="23">
                  <c:v>1153.7106</c:v>
                </c:pt>
                <c:pt idx="24">
                  <c:v>1121.526</c:v>
                </c:pt>
                <c:pt idx="25">
                  <c:v>1116.1512</c:v>
                </c:pt>
                <c:pt idx="26">
                  <c:v>1133.5352</c:v>
                </c:pt>
                <c:pt idx="27">
                  <c:v>1100.39</c:v>
                </c:pt>
                <c:pt idx="28">
                  <c:v>1096.6831</c:v>
                </c:pt>
                <c:pt idx="29">
                  <c:v>1064.1833</c:v>
                </c:pt>
                <c:pt idx="30">
                  <c:v>1090.1164</c:v>
                </c:pt>
                <c:pt idx="31">
                  <c:v>1088.351</c:v>
                </c:pt>
                <c:pt idx="32">
                  <c:v>1088.2737</c:v>
                </c:pt>
                <c:pt idx="33">
                  <c:v>1065.4937</c:v>
                </c:pt>
                <c:pt idx="34">
                  <c:v>1103.5432</c:v>
                </c:pt>
                <c:pt idx="35">
                  <c:v>1156.2288</c:v>
                </c:pt>
                <c:pt idx="36">
                  <c:v>1215.8333</c:v>
                </c:pt>
                <c:pt idx="37">
                  <c:v>1192.4805</c:v>
                </c:pt>
                <c:pt idx="38">
                  <c:v>1299.3461</c:v>
                </c:pt>
                <c:pt idx="39">
                  <c:v>1241.5009</c:v>
                </c:pt>
                <c:pt idx="40">
                  <c:v>1301.2217</c:v>
                </c:pt>
                <c:pt idx="41">
                  <c:v>1302.2176</c:v>
                </c:pt>
                <c:pt idx="42">
                  <c:v>1350.3111</c:v>
                </c:pt>
                <c:pt idx="43">
                  <c:v>1358.805</c:v>
                </c:pt>
                <c:pt idx="44">
                  <c:v>1179.0222</c:v>
                </c:pt>
                <c:pt idx="45">
                  <c:v>1111.5194</c:v>
                </c:pt>
                <c:pt idx="46">
                  <c:v>1139.9529</c:v>
                </c:pt>
                <c:pt idx="47">
                  <c:v>1126.6619</c:v>
                </c:pt>
                <c:pt idx="48">
                  <c:v>1120.3653</c:v>
                </c:pt>
                <c:pt idx="49">
                  <c:v>1092.3295</c:v>
                </c:pt>
                <c:pt idx="50">
                  <c:v>1087.4151</c:v>
                </c:pt>
                <c:pt idx="51">
                  <c:v>1129.6674</c:v>
                </c:pt>
                <c:pt idx="52">
                  <c:v>1139.188</c:v>
                </c:pt>
                <c:pt idx="53">
                  <c:v>1236.5945</c:v>
                </c:pt>
                <c:pt idx="54">
                  <c:v>1274.8961</c:v>
                </c:pt>
                <c:pt idx="55">
                  <c:v>1274.1697</c:v>
                </c:pt>
                <c:pt idx="56">
                  <c:v>1282.1764</c:v>
                </c:pt>
                <c:pt idx="57">
                  <c:v>1250.1946</c:v>
                </c:pt>
                <c:pt idx="58">
                  <c:v>1211.3883</c:v>
                </c:pt>
                <c:pt idx="59">
                  <c:v>1192.2165</c:v>
                </c:pt>
                <c:pt idx="60">
                  <c:v>1199.2439</c:v>
                </c:pt>
                <c:pt idx="61">
                  <c:v>1190.0269</c:v>
                </c:pt>
                <c:pt idx="62">
                  <c:v>1167.2672</c:v>
                </c:pt>
                <c:pt idx="63">
                  <c:v>1156.9929</c:v>
                </c:pt>
                <c:pt idx="64">
                  <c:v>1155.3581</c:v>
                </c:pt>
                <c:pt idx="65">
                  <c:v>1138.9803</c:v>
                </c:pt>
                <c:pt idx="66">
                  <c:v>1140.7814</c:v>
                </c:pt>
                <c:pt idx="67">
                  <c:v>1182.7694</c:v>
                </c:pt>
                <c:pt idx="68">
                  <c:v>1207.7977</c:v>
                </c:pt>
                <c:pt idx="69">
                  <c:v>1208.0934</c:v>
                </c:pt>
                <c:pt idx="70">
                  <c:v>1166.4371</c:v>
                </c:pt>
                <c:pt idx="71">
                  <c:v>1255.3311</c:v>
                </c:pt>
                <c:pt idx="72">
                  <c:v>1280.6945</c:v>
                </c:pt>
                <c:pt idx="73">
                  <c:v>1262.6078</c:v>
                </c:pt>
                <c:pt idx="74">
                  <c:v>1261.0847</c:v>
                </c:pt>
                <c:pt idx="75">
                  <c:v>1261.9767</c:v>
                </c:pt>
                <c:pt idx="76">
                  <c:v>1315.0582</c:v>
                </c:pt>
                <c:pt idx="77">
                  <c:v>1307.2181</c:v>
                </c:pt>
                <c:pt idx="78">
                  <c:v>1319.603</c:v>
                </c:pt>
                <c:pt idx="79">
                  <c:v>1331.056</c:v>
                </c:pt>
                <c:pt idx="80">
                  <c:v>1314.5698</c:v>
                </c:pt>
                <c:pt idx="81">
                  <c:v>1353.948</c:v>
                </c:pt>
                <c:pt idx="82">
                  <c:v>1357.3926</c:v>
                </c:pt>
                <c:pt idx="83">
                  <c:v>1347.5679</c:v>
                </c:pt>
                <c:pt idx="84">
                  <c:v>1302.6901</c:v>
                </c:pt>
                <c:pt idx="85">
                  <c:v>1321.4598</c:v>
                </c:pt>
                <c:pt idx="86">
                  <c:v>1304.6374</c:v>
                </c:pt>
                <c:pt idx="87">
                  <c:v>1313.2118</c:v>
                </c:pt>
                <c:pt idx="88">
                  <c:v>1310.3208</c:v>
                </c:pt>
                <c:pt idx="89">
                  <c:v>1291.3272</c:v>
                </c:pt>
                <c:pt idx="90">
                  <c:v>1357.223</c:v>
                </c:pt>
                <c:pt idx="91">
                  <c:v>1367.4148</c:v>
                </c:pt>
                <c:pt idx="92">
                  <c:v>1308.3715</c:v>
                </c:pt>
                <c:pt idx="93">
                  <c:v>1323.4535</c:v>
                </c:pt>
                <c:pt idx="94">
                  <c:v>1349.9593</c:v>
                </c:pt>
                <c:pt idx="95">
                  <c:v>1257.9963</c:v>
                </c:pt>
                <c:pt idx="96">
                  <c:v>1186.9316</c:v>
                </c:pt>
                <c:pt idx="97">
                  <c:v>1223.4484</c:v>
                </c:pt>
                <c:pt idx="98">
                  <c:v>1199.9744</c:v>
                </c:pt>
                <c:pt idx="99">
                  <c:v>1183.9447</c:v>
                </c:pt>
                <c:pt idx="100">
                  <c:v>1212.2284</c:v>
                </c:pt>
                <c:pt idx="101">
                  <c:v>1205.6813</c:v>
                </c:pt>
                <c:pt idx="102">
                  <c:v>1234.7696</c:v>
                </c:pt>
                <c:pt idx="103">
                  <c:v>895.2359</c:v>
                </c:pt>
                <c:pt idx="104">
                  <c:v>1016.0944</c:v>
                </c:pt>
              </c:numCache>
            </c:numRef>
          </c:xVal>
          <c:yVal>
            <c:numRef>
              <c:f>Sheet1!$B$2:$B$106</c:f>
              <c:numCache>
                <c:formatCode>General</c:formatCode>
                <c:ptCount val="105"/>
                <c:pt idx="0">
                  <c:v>0.16079708000394594</c:v>
                </c:pt>
                <c:pt idx="1">
                  <c:v>0.17096959265633965</c:v>
                </c:pt>
                <c:pt idx="2">
                  <c:v>0.16387037462652262</c:v>
                </c:pt>
                <c:pt idx="3">
                  <c:v>0.17216714769732713</c:v>
                </c:pt>
                <c:pt idx="4">
                  <c:v>0.18144649654589032</c:v>
                </c:pt>
                <c:pt idx="5">
                  <c:v>0.16709166554824856</c:v>
                </c:pt>
                <c:pt idx="6">
                  <c:v>0.17090563346802948</c:v>
                </c:pt>
                <c:pt idx="7">
                  <c:v>0.17403117403117402</c:v>
                </c:pt>
                <c:pt idx="8">
                  <c:v>0.1781512605042017</c:v>
                </c:pt>
                <c:pt idx="9">
                  <c:v>0.15042326893857175</c:v>
                </c:pt>
                <c:pt idx="10">
                  <c:v>0.15494623655913978</c:v>
                </c:pt>
                <c:pt idx="11">
                  <c:v>0.15510531135531136</c:v>
                </c:pt>
                <c:pt idx="12">
                  <c:v>0.15825809877854488</c:v>
                </c:pt>
                <c:pt idx="13">
                  <c:v>0.15976838944885266</c:v>
                </c:pt>
                <c:pt idx="14">
                  <c:v>0.14671772428884025</c:v>
                </c:pt>
                <c:pt idx="15">
                  <c:v>0.1547028042399034</c:v>
                </c:pt>
                <c:pt idx="16">
                  <c:v>0.15219392451672292</c:v>
                </c:pt>
                <c:pt idx="17">
                  <c:v>0.15314365999297505</c:v>
                </c:pt>
                <c:pt idx="18">
                  <c:v>0.13445050662509742</c:v>
                </c:pt>
                <c:pt idx="19">
                  <c:v>0.11931428571428572</c:v>
                </c:pt>
                <c:pt idx="20">
                  <c:v>0.12084993359893759</c:v>
                </c:pt>
                <c:pt idx="21">
                  <c:v>0.12794445821968758</c:v>
                </c:pt>
                <c:pt idx="22">
                  <c:v>0.12385531135531136</c:v>
                </c:pt>
                <c:pt idx="23">
                  <c:v>0.130622009569378</c:v>
                </c:pt>
                <c:pt idx="24">
                  <c:v>0.14051781367559193</c:v>
                </c:pt>
                <c:pt idx="25">
                  <c:v>0.1366351418616227</c:v>
                </c:pt>
                <c:pt idx="26">
                  <c:v>0.14001284521515736</c:v>
                </c:pt>
                <c:pt idx="27">
                  <c:v>0.13755546591367487</c:v>
                </c:pt>
                <c:pt idx="28">
                  <c:v>0.14340836012861735</c:v>
                </c:pt>
                <c:pt idx="29">
                  <c:v>0.15733283386401947</c:v>
                </c:pt>
                <c:pt idx="30">
                  <c:v>0.13095238095238096</c:v>
                </c:pt>
                <c:pt idx="31">
                  <c:v>0.12383971021055015</c:v>
                </c:pt>
                <c:pt idx="32">
                  <c:v>0.12989972652689152</c:v>
                </c:pt>
                <c:pt idx="33">
                  <c:v>0.141439205955335</c:v>
                </c:pt>
                <c:pt idx="34">
                  <c:v>0.1374080192221054</c:v>
                </c:pt>
                <c:pt idx="35">
                  <c:v>0.13109243697478992</c:v>
                </c:pt>
                <c:pt idx="36">
                  <c:v>0.11298116980503249</c:v>
                </c:pt>
                <c:pt idx="37">
                  <c:v>0.1138728323699422</c:v>
                </c:pt>
                <c:pt idx="38">
                  <c:v>0.09835038630194196</c:v>
                </c:pt>
                <c:pt idx="39">
                  <c:v>0.11475761475761476</c:v>
                </c:pt>
                <c:pt idx="40">
                  <c:v>0.11250654107796965</c:v>
                </c:pt>
                <c:pt idx="41">
                  <c:v>0.11540761411201914</c:v>
                </c:pt>
                <c:pt idx="42">
                  <c:v>0.12056859051207398</c:v>
                </c:pt>
                <c:pt idx="43">
                  <c:v>0.11750038959015116</c:v>
                </c:pt>
                <c:pt idx="44">
                  <c:v>0.13330786860198626</c:v>
                </c:pt>
                <c:pt idx="45">
                  <c:v>0.14740243599304</c:v>
                </c:pt>
                <c:pt idx="46">
                  <c:v>0.1537085230969421</c:v>
                </c:pt>
                <c:pt idx="47">
                  <c:v>0.1516112873601603</c:v>
                </c:pt>
                <c:pt idx="48">
                  <c:v>0.16138698630136986</c:v>
                </c:pt>
                <c:pt idx="49">
                  <c:v>0.17430535059240207</c:v>
                </c:pt>
                <c:pt idx="50">
                  <c:v>0.15642128341344128</c:v>
                </c:pt>
                <c:pt idx="51">
                  <c:v>0.1456538762725137</c:v>
                </c:pt>
                <c:pt idx="52">
                  <c:v>0.14864487286951664</c:v>
                </c:pt>
                <c:pt idx="53">
                  <c:v>0.13720657276995304</c:v>
                </c:pt>
                <c:pt idx="54">
                  <c:v>0.1304977613905715</c:v>
                </c:pt>
                <c:pt idx="55">
                  <c:v>0.13215859030837004</c:v>
                </c:pt>
                <c:pt idx="56">
                  <c:v>0.1470124659693366</c:v>
                </c:pt>
                <c:pt idx="57">
                  <c:v>0.14220404234841194</c:v>
                </c:pt>
                <c:pt idx="58">
                  <c:v>0.15447499734579043</c:v>
                </c:pt>
                <c:pt idx="59">
                  <c:v>0.153218679899395</c:v>
                </c:pt>
                <c:pt idx="60">
                  <c:v>0.17220025367455047</c:v>
                </c:pt>
                <c:pt idx="61">
                  <c:v>0.1796218487394958</c:v>
                </c:pt>
                <c:pt idx="62">
                  <c:v>0.17017114914425427</c:v>
                </c:pt>
                <c:pt idx="63">
                  <c:v>0.17429155192324775</c:v>
                </c:pt>
                <c:pt idx="64">
                  <c:v>0.15572802429559643</c:v>
                </c:pt>
                <c:pt idx="65">
                  <c:v>0.14197588559678476</c:v>
                </c:pt>
                <c:pt idx="66">
                  <c:v>0.13703131039814456</c:v>
                </c:pt>
                <c:pt idx="67">
                  <c:v>0.13469258398478767</c:v>
                </c:pt>
                <c:pt idx="68">
                  <c:v>0.11407605070046697</c:v>
                </c:pt>
                <c:pt idx="69">
                  <c:v>0.10633561643835616</c:v>
                </c:pt>
                <c:pt idx="70">
                  <c:v>0.10001655903295248</c:v>
                </c:pt>
                <c:pt idx="71">
                  <c:v>0.11459703174901371</c:v>
                </c:pt>
                <c:pt idx="72">
                  <c:v>0.11376210235131397</c:v>
                </c:pt>
                <c:pt idx="73">
                  <c:v>0.12013239875389409</c:v>
                </c:pt>
                <c:pt idx="74">
                  <c:v>0.11942186088527552</c:v>
                </c:pt>
                <c:pt idx="75">
                  <c:v>0.11329550060802594</c:v>
                </c:pt>
                <c:pt idx="76">
                  <c:v>0.11784214017245191</c:v>
                </c:pt>
                <c:pt idx="77">
                  <c:v>0.10702498821310702</c:v>
                </c:pt>
                <c:pt idx="78">
                  <c:v>0.1198024948024948</c:v>
                </c:pt>
                <c:pt idx="79">
                  <c:v>0.10997866793078928</c:v>
                </c:pt>
                <c:pt idx="80">
                  <c:v>0.09935304990757855</c:v>
                </c:pt>
                <c:pt idx="81">
                  <c:v>0.09512937595129375</c:v>
                </c:pt>
                <c:pt idx="82">
                  <c:v>0.1019124308002013</c:v>
                </c:pt>
                <c:pt idx="83">
                  <c:v>0.09265084358021161</c:v>
                </c:pt>
                <c:pt idx="84">
                  <c:v>0.10031082226617688</c:v>
                </c:pt>
                <c:pt idx="85">
                  <c:v>0.09764474975466143</c:v>
                </c:pt>
                <c:pt idx="86">
                  <c:v>0.10536602700781805</c:v>
                </c:pt>
                <c:pt idx="87">
                  <c:v>0.11496291518864882</c:v>
                </c:pt>
                <c:pt idx="88">
                  <c:v>0.10772184300341298</c:v>
                </c:pt>
                <c:pt idx="89">
                  <c:v>0.10490693739424704</c:v>
                </c:pt>
                <c:pt idx="90">
                  <c:v>0.10665998998497747</c:v>
                </c:pt>
                <c:pt idx="91">
                  <c:v>0.09854563691073219</c:v>
                </c:pt>
                <c:pt idx="92">
                  <c:v>0.11252099272252286</c:v>
                </c:pt>
                <c:pt idx="93">
                  <c:v>0.10864464898032845</c:v>
                </c:pt>
                <c:pt idx="94">
                  <c:v>0.10680379746835443</c:v>
                </c:pt>
                <c:pt idx="95">
                  <c:v>0.11853573503776874</c:v>
                </c:pt>
                <c:pt idx="96">
                  <c:v>0.11556934160496297</c:v>
                </c:pt>
                <c:pt idx="97">
                  <c:v>0.12486234646336299</c:v>
                </c:pt>
                <c:pt idx="98">
                  <c:v>0.13415079191299906</c:v>
                </c:pt>
                <c:pt idx="99">
                  <c:v>0.13662736290473518</c:v>
                </c:pt>
                <c:pt idx="100">
                  <c:v>0.14058713886300092</c:v>
                </c:pt>
                <c:pt idx="101">
                  <c:v>0.1458021612635079</c:v>
                </c:pt>
                <c:pt idx="102">
                  <c:v>0.1329410351867419</c:v>
                </c:pt>
                <c:pt idx="103">
                  <c:v>0.17442778216258878</c:v>
                </c:pt>
                <c:pt idx="104">
                  <c:v>0.1681894686222649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0.3966</c:v>
                </c:pt>
                <c:pt idx="1">
                  <c:v>1163.0214</c:v>
                </c:pt>
                <c:pt idx="2">
                  <c:v>1145.1945</c:v>
                </c:pt>
                <c:pt idx="3">
                  <c:v>1211.4979</c:v>
                </c:pt>
                <c:pt idx="4">
                  <c:v>1190.6692</c:v>
                </c:pt>
                <c:pt idx="5">
                  <c:v>1196.9157</c:v>
                </c:pt>
                <c:pt idx="6">
                  <c:v>1156.8466</c:v>
                </c:pt>
                <c:pt idx="7">
                  <c:v>1242.43</c:v>
                </c:pt>
                <c:pt idx="8">
                  <c:v>1349.6416</c:v>
                </c:pt>
                <c:pt idx="9">
                  <c:v>1325.0512</c:v>
                </c:pt>
                <c:pt idx="10">
                  <c:v>1343.5428</c:v>
                </c:pt>
                <c:pt idx="11">
                  <c:v>1208.0988</c:v>
                </c:pt>
                <c:pt idx="12">
                  <c:v>1243.5812</c:v>
                </c:pt>
                <c:pt idx="13">
                  <c:v>1297.3097</c:v>
                </c:pt>
                <c:pt idx="14">
                  <c:v>1287.3375</c:v>
                </c:pt>
                <c:pt idx="15">
                  <c:v>1310.1981</c:v>
                </c:pt>
                <c:pt idx="16">
                  <c:v>1339.1894</c:v>
                </c:pt>
                <c:pt idx="17">
                  <c:v>1303.462</c:v>
                </c:pt>
                <c:pt idx="18">
                  <c:v>1396.8592</c:v>
                </c:pt>
                <c:pt idx="19">
                  <c:v>1455.6765</c:v>
                </c:pt>
                <c:pt idx="20">
                  <c:v>1413.0523</c:v>
                </c:pt>
                <c:pt idx="21">
                  <c:v>1296.0096</c:v>
                </c:pt>
                <c:pt idx="22">
                  <c:v>1238.758</c:v>
                </c:pt>
                <c:pt idx="23">
                  <c:v>1270.5993</c:v>
                </c:pt>
                <c:pt idx="24">
                  <c:v>1252.9267</c:v>
                </c:pt>
                <c:pt idx="25">
                  <c:v>1202.9981</c:v>
                </c:pt>
                <c:pt idx="26">
                  <c:v>1269.5575</c:v>
                </c:pt>
                <c:pt idx="27">
                  <c:v>1275.9897</c:v>
                </c:pt>
                <c:pt idx="28">
                  <c:v>1289.742</c:v>
                </c:pt>
                <c:pt idx="29">
                  <c:v>1286.9436</c:v>
                </c:pt>
                <c:pt idx="30">
                  <c:v>1307.2592</c:v>
                </c:pt>
                <c:pt idx="31">
                  <c:v>1210.4783</c:v>
                </c:pt>
                <c:pt idx="32">
                  <c:v>1211.4358</c:v>
                </c:pt>
                <c:pt idx="33">
                  <c:v>1275.5044</c:v>
                </c:pt>
                <c:pt idx="34">
                  <c:v>1317.0017</c:v>
                </c:pt>
                <c:pt idx="35">
                  <c:v>1254.81</c:v>
                </c:pt>
                <c:pt idx="36">
                  <c:v>1279.6196</c:v>
                </c:pt>
                <c:pt idx="37">
                  <c:v>1392.6897</c:v>
                </c:pt>
                <c:pt idx="38">
                  <c:v>1411.8265</c:v>
                </c:pt>
                <c:pt idx="39">
                  <c:v>1338.937</c:v>
                </c:pt>
                <c:pt idx="40">
                  <c:v>1344.5511</c:v>
                </c:pt>
                <c:pt idx="41">
                  <c:v>1374.5021</c:v>
                </c:pt>
                <c:pt idx="42">
                  <c:v>1363.2633</c:v>
                </c:pt>
                <c:pt idx="43">
                  <c:v>1385.8646</c:v>
                </c:pt>
                <c:pt idx="44">
                  <c:v>1313.4291</c:v>
                </c:pt>
                <c:pt idx="45">
                  <c:v>1259.1335</c:v>
                </c:pt>
                <c:pt idx="46">
                  <c:v>1248.8414</c:v>
                </c:pt>
                <c:pt idx="47">
                  <c:v>1205.3614</c:v>
                </c:pt>
                <c:pt idx="48">
                  <c:v>1178.9094</c:v>
                </c:pt>
                <c:pt idx="49">
                  <c:v>1194.3865</c:v>
                </c:pt>
                <c:pt idx="50">
                  <c:v>1074.9719</c:v>
                </c:pt>
                <c:pt idx="51">
                  <c:v>1063.0725</c:v>
                </c:pt>
              </c:numCache>
            </c:numRef>
          </c:xVal>
          <c:yVal>
            <c:numRef>
              <c:f>Sheet1!$B$109:$B$160</c:f>
              <c:numCache>
                <c:formatCode>General</c:formatCode>
                <c:ptCount val="52"/>
                <c:pt idx="0">
                  <c:v>0.1498181016425973</c:v>
                </c:pt>
                <c:pt idx="1">
                  <c:v>0.17013766325450053</c:v>
                </c:pt>
                <c:pt idx="2">
                  <c:v>0.16942148760330578</c:v>
                </c:pt>
                <c:pt idx="3">
                  <c:v>0.17484566286491576</c:v>
                </c:pt>
                <c:pt idx="4">
                  <c:v>0.17497002071296194</c:v>
                </c:pt>
                <c:pt idx="5">
                  <c:v>0.1671113008216839</c:v>
                </c:pt>
                <c:pt idx="6">
                  <c:v>0.15220268481754584</c:v>
                </c:pt>
                <c:pt idx="7">
                  <c:v>0.1545937540495011</c:v>
                </c:pt>
                <c:pt idx="8">
                  <c:v>0.1499774130402048</c:v>
                </c:pt>
                <c:pt idx="9">
                  <c:v>0.1531592477337302</c:v>
                </c:pt>
                <c:pt idx="10">
                  <c:v>0.14955121436114044</c:v>
                </c:pt>
                <c:pt idx="11">
                  <c:v>0.14305127740532705</c:v>
                </c:pt>
                <c:pt idx="12">
                  <c:v>0.1431937453143408</c:v>
                </c:pt>
                <c:pt idx="13">
                  <c:v>0.13769751693002258</c:v>
                </c:pt>
                <c:pt idx="14">
                  <c:v>0.14355670103092782</c:v>
                </c:pt>
                <c:pt idx="15">
                  <c:v>0.13593196314670447</c:v>
                </c:pt>
                <c:pt idx="16">
                  <c:v>0.12206885082321636</c:v>
                </c:pt>
                <c:pt idx="17">
                  <c:v>0.12079722703639514</c:v>
                </c:pt>
                <c:pt idx="18">
                  <c:v>0.1084456780333069</c:v>
                </c:pt>
                <c:pt idx="19">
                  <c:v>0.12294094013660105</c:v>
                </c:pt>
                <c:pt idx="20">
                  <c:v>0.12447650069799907</c:v>
                </c:pt>
                <c:pt idx="21">
                  <c:v>0.1363398007341374</c:v>
                </c:pt>
                <c:pt idx="22">
                  <c:v>0.14582252205500779</c:v>
                </c:pt>
                <c:pt idx="23">
                  <c:v>0.1485121485121485</c:v>
                </c:pt>
                <c:pt idx="24">
                  <c:v>0.14557926829268292</c:v>
                </c:pt>
                <c:pt idx="25">
                  <c:v>0.14012070322749934</c:v>
                </c:pt>
                <c:pt idx="26">
                  <c:v>0.13001245330012454</c:v>
                </c:pt>
                <c:pt idx="27">
                  <c:v>0.12907518296739853</c:v>
                </c:pt>
                <c:pt idx="28">
                  <c:v>0.1333740582366117</c:v>
                </c:pt>
                <c:pt idx="29">
                  <c:v>0.14577622726140044</c:v>
                </c:pt>
                <c:pt idx="30">
                  <c:v>0.1449238578680203</c:v>
                </c:pt>
                <c:pt idx="31">
                  <c:v>0.14441714441714443</c:v>
                </c:pt>
                <c:pt idx="32">
                  <c:v>0.15171916326039914</c:v>
                </c:pt>
                <c:pt idx="33">
                  <c:v>0.16278650063165492</c:v>
                </c:pt>
                <c:pt idx="34">
                  <c:v>0.1708726913858734</c:v>
                </c:pt>
                <c:pt idx="35">
                  <c:v>0.17422096317280453</c:v>
                </c:pt>
                <c:pt idx="36">
                  <c:v>0.1620193718814206</c:v>
                </c:pt>
                <c:pt idx="37">
                  <c:v>0.135475234270415</c:v>
                </c:pt>
                <c:pt idx="38">
                  <c:v>0.1331711766494375</c:v>
                </c:pt>
                <c:pt idx="39">
                  <c:v>0.14779525814314204</c:v>
                </c:pt>
                <c:pt idx="40">
                  <c:v>0.13564463705308777</c:v>
                </c:pt>
                <c:pt idx="41">
                  <c:v>0.14297204906495073</c:v>
                </c:pt>
                <c:pt idx="42">
                  <c:v>0.14197247706422017</c:v>
                </c:pt>
                <c:pt idx="43">
                  <c:v>0.13604960141718334</c:v>
                </c:pt>
                <c:pt idx="44">
                  <c:v>0.12600114416475972</c:v>
                </c:pt>
                <c:pt idx="45">
                  <c:v>0.1277805486284289</c:v>
                </c:pt>
                <c:pt idx="46">
                  <c:v>0.1306987399770905</c:v>
                </c:pt>
                <c:pt idx="47">
                  <c:v>0.13088735442646604</c:v>
                </c:pt>
                <c:pt idx="48">
                  <c:v>0.1158892745280623</c:v>
                </c:pt>
                <c:pt idx="49">
                  <c:v>0.12376041253470844</c:v>
                </c:pt>
                <c:pt idx="50">
                  <c:v>0.1494135370709136</c:v>
                </c:pt>
                <c:pt idx="51">
                  <c:v>0.146092754191587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02.5927760600761</c:v>
                </c:pt>
              </c:numCache>
            </c:numRef>
          </c:xVal>
          <c:yVal>
            <c:numRef>
              <c:f>Sheet1!$B$163:$B$164</c:f>
              <c:numCache>
                <c:formatCode>General</c:formatCode>
                <c:ptCount val="2"/>
                <c:pt idx="0">
                  <c:v>0.1710478250090755</c:v>
                </c:pt>
                <c:pt idx="1">
                  <c:v>0.171047825009075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02.5927760600761</c:v>
                </c:pt>
                <c:pt idx="1">
                  <c:v>902.5927760600761</c:v>
                </c:pt>
              </c:numCache>
            </c:numRef>
          </c:xVal>
          <c:yVal>
            <c:numRef>
              <c:f>Sheet1!$B$167:$B$168</c:f>
              <c:numCache>
                <c:formatCode>General</c:formatCode>
                <c:ptCount val="2"/>
                <c:pt idx="0">
                  <c:v>0.171047825009075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16.1187242791364</c:v>
                </c:pt>
              </c:numCache>
            </c:numRef>
          </c:xVal>
          <c:yVal>
            <c:numRef>
              <c:f>Sheet1!$B$171:$B$172</c:f>
              <c:numCache>
                <c:formatCode>General</c:formatCode>
                <c:ptCount val="2"/>
                <c:pt idx="0">
                  <c:v>0.16256423208969079</c:v>
                </c:pt>
                <c:pt idx="1">
                  <c:v>0.1625642320896907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16.1187242791364</c:v>
                </c:pt>
                <c:pt idx="1">
                  <c:v>1016.1187242791364</c:v>
                </c:pt>
              </c:numCache>
            </c:numRef>
          </c:xVal>
          <c:yVal>
            <c:numRef>
              <c:f>Sheet1!$B$175:$B$176</c:f>
              <c:numCache>
                <c:formatCode>General</c:formatCode>
                <c:ptCount val="2"/>
                <c:pt idx="0">
                  <c:v>0.1625642320896907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85.0218812112953</c:v>
                </c:pt>
              </c:numCache>
            </c:numRef>
          </c:xVal>
          <c:yVal>
            <c:numRef>
              <c:f>Sheet1!$B$179:$B$180</c:f>
              <c:numCache>
                <c:formatCode>General</c:formatCode>
                <c:ptCount val="2"/>
                <c:pt idx="0">
                  <c:v>0.13499675294343083</c:v>
                </c:pt>
                <c:pt idx="1">
                  <c:v>0.1349967529434308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85.0218812112953</c:v>
                </c:pt>
                <c:pt idx="1">
                  <c:v>1385.0218812112953</c:v>
                </c:pt>
              </c:numCache>
            </c:numRef>
          </c:xVal>
          <c:yVal>
            <c:numRef>
              <c:f>Sheet1!$B$183:$B$184</c:f>
              <c:numCache>
                <c:formatCode>General</c:formatCode>
                <c:ptCount val="2"/>
                <c:pt idx="0">
                  <c:v>0.1349967529434308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0.3966</c:v>
                </c:pt>
                <c:pt idx="1">
                  <c:v>1163.0214</c:v>
                </c:pt>
                <c:pt idx="2">
                  <c:v>1145.1945</c:v>
                </c:pt>
                <c:pt idx="3">
                  <c:v>1211.4979</c:v>
                </c:pt>
                <c:pt idx="4">
                  <c:v>1190.6692</c:v>
                </c:pt>
                <c:pt idx="5">
                  <c:v>1196.9157</c:v>
                </c:pt>
                <c:pt idx="6">
                  <c:v>1156.8466</c:v>
                </c:pt>
                <c:pt idx="7">
                  <c:v>1242.43</c:v>
                </c:pt>
                <c:pt idx="8">
                  <c:v>1349.6416</c:v>
                </c:pt>
                <c:pt idx="9">
                  <c:v>1325.0512</c:v>
                </c:pt>
                <c:pt idx="10">
                  <c:v>1343.5428</c:v>
                </c:pt>
                <c:pt idx="11">
                  <c:v>1208.0988</c:v>
                </c:pt>
                <c:pt idx="12">
                  <c:v>1243.5812</c:v>
                </c:pt>
                <c:pt idx="13">
                  <c:v>1297.3097</c:v>
                </c:pt>
                <c:pt idx="14">
                  <c:v>1287.3375</c:v>
                </c:pt>
                <c:pt idx="15">
                  <c:v>1310.1981</c:v>
                </c:pt>
                <c:pt idx="16">
                  <c:v>1339.1894</c:v>
                </c:pt>
                <c:pt idx="17">
                  <c:v>1303.462</c:v>
                </c:pt>
                <c:pt idx="18">
                  <c:v>1396.8592</c:v>
                </c:pt>
                <c:pt idx="19">
                  <c:v>1455.6765</c:v>
                </c:pt>
                <c:pt idx="20">
                  <c:v>1413.0523</c:v>
                </c:pt>
                <c:pt idx="21">
                  <c:v>1296.0096</c:v>
                </c:pt>
                <c:pt idx="22">
                  <c:v>1238.758</c:v>
                </c:pt>
                <c:pt idx="23">
                  <c:v>1270.5993</c:v>
                </c:pt>
                <c:pt idx="24">
                  <c:v>1252.9267</c:v>
                </c:pt>
                <c:pt idx="25">
                  <c:v>1202.9981</c:v>
                </c:pt>
                <c:pt idx="26">
                  <c:v>1269.5575</c:v>
                </c:pt>
                <c:pt idx="27">
                  <c:v>1275.9897</c:v>
                </c:pt>
                <c:pt idx="28">
                  <c:v>1289.742</c:v>
                </c:pt>
                <c:pt idx="29">
                  <c:v>1286.9436</c:v>
                </c:pt>
                <c:pt idx="30">
                  <c:v>1307.2592</c:v>
                </c:pt>
                <c:pt idx="31">
                  <c:v>1210.4783</c:v>
                </c:pt>
                <c:pt idx="32">
                  <c:v>1211.4358</c:v>
                </c:pt>
                <c:pt idx="33">
                  <c:v>1275.5044</c:v>
                </c:pt>
                <c:pt idx="34">
                  <c:v>1317.0017</c:v>
                </c:pt>
                <c:pt idx="35">
                  <c:v>1254.81</c:v>
                </c:pt>
                <c:pt idx="36">
                  <c:v>1279.6196</c:v>
                </c:pt>
                <c:pt idx="37">
                  <c:v>1392.6897</c:v>
                </c:pt>
                <c:pt idx="38">
                  <c:v>1411.8265</c:v>
                </c:pt>
                <c:pt idx="39">
                  <c:v>1338.937</c:v>
                </c:pt>
                <c:pt idx="40">
                  <c:v>1344.5511</c:v>
                </c:pt>
                <c:pt idx="41">
                  <c:v>1374.5021</c:v>
                </c:pt>
                <c:pt idx="42">
                  <c:v>1363.2633</c:v>
                </c:pt>
                <c:pt idx="43">
                  <c:v>1385.8646</c:v>
                </c:pt>
                <c:pt idx="44">
                  <c:v>1313.4291</c:v>
                </c:pt>
                <c:pt idx="45">
                  <c:v>1259.1335</c:v>
                </c:pt>
                <c:pt idx="46">
                  <c:v>1248.8414</c:v>
                </c:pt>
                <c:pt idx="47">
                  <c:v>1205.3614</c:v>
                </c:pt>
                <c:pt idx="48">
                  <c:v>1178.9094</c:v>
                </c:pt>
                <c:pt idx="49">
                  <c:v>1194.3865</c:v>
                </c:pt>
                <c:pt idx="50">
                  <c:v>1074.9719</c:v>
                </c:pt>
                <c:pt idx="51">
                  <c:v>1063.0725</c:v>
                </c:pt>
                <c:pt idx="52">
                  <c:v>1016.1187242791364</c:v>
                </c:pt>
                <c:pt idx="53">
                  <c:v>902.5927760600761</c:v>
                </c:pt>
                <c:pt idx="54">
                  <c:v>1385.0218812112953</c:v>
                </c:pt>
              </c:numCache>
            </c:numRef>
          </c:xVal>
          <c:yVal>
            <c:numRef>
              <c:f>Sheet1!$B$187:$B$241</c:f>
              <c:numCache>
                <c:formatCode>General</c:formatCode>
                <c:ptCount val="55"/>
                <c:pt idx="0">
                  <c:v>0.14879347301487428</c:v>
                </c:pt>
                <c:pt idx="1">
                  <c:v>0.1515864554744328</c:v>
                </c:pt>
                <c:pt idx="2">
                  <c:v>0.1529186281185472</c:v>
                </c:pt>
                <c:pt idx="3">
                  <c:v>0.14796389253963138</c:v>
                </c:pt>
                <c:pt idx="4">
                  <c:v>0.14952038437794682</c:v>
                </c:pt>
                <c:pt idx="5">
                  <c:v>0.14905359450301287</c:v>
                </c:pt>
                <c:pt idx="6">
                  <c:v>0.15204788733543373</c:v>
                </c:pt>
                <c:pt idx="7">
                  <c:v>0.1456523915245917</c:v>
                </c:pt>
                <c:pt idx="8">
                  <c:v>0.13764065865731054</c:v>
                </c:pt>
                <c:pt idx="9">
                  <c:v>0.13947825567012995</c:v>
                </c:pt>
                <c:pt idx="10">
                  <c:v>0.1380964111729989</c:v>
                </c:pt>
                <c:pt idx="11">
                  <c:v>0.14821790125873618</c:v>
                </c:pt>
                <c:pt idx="12">
                  <c:v>0.1455663643887518</c:v>
                </c:pt>
                <c:pt idx="13">
                  <c:v>0.14155132880156052</c:v>
                </c:pt>
                <c:pt idx="14">
                  <c:v>0.14229653363479777</c:v>
                </c:pt>
                <c:pt idx="15">
                  <c:v>0.14058820151042162</c:v>
                </c:pt>
                <c:pt idx="16">
                  <c:v>0.13842173303989036</c:v>
                </c:pt>
                <c:pt idx="17">
                  <c:v>0.14109157832568503</c:v>
                </c:pt>
                <c:pt idx="18">
                  <c:v>0.13411217108848275</c:v>
                </c:pt>
                <c:pt idx="19">
                  <c:v>0.1297168584956781</c:v>
                </c:pt>
                <c:pt idx="20">
                  <c:v>0.1329020894229431</c:v>
                </c:pt>
                <c:pt idx="21">
                  <c:v>0.1416484829705194</c:v>
                </c:pt>
                <c:pt idx="22">
                  <c:v>0.14592679357706229</c:v>
                </c:pt>
                <c:pt idx="23">
                  <c:v>0.1435473496573096</c:v>
                </c:pt>
                <c:pt idx="24">
                  <c:v>0.1448679917358749</c:v>
                </c:pt>
                <c:pt idx="25">
                  <c:v>0.14859906753026036</c:v>
                </c:pt>
                <c:pt idx="26">
                  <c:v>0.1436252015250285</c:v>
                </c:pt>
                <c:pt idx="27">
                  <c:v>0.14314453461819263</c:v>
                </c:pt>
                <c:pt idx="28">
                  <c:v>0.14211684961105991</c:v>
                </c:pt>
                <c:pt idx="29">
                  <c:v>0.14232596908372702</c:v>
                </c:pt>
                <c:pt idx="30">
                  <c:v>0.14080782029909422</c:v>
                </c:pt>
                <c:pt idx="31">
                  <c:v>0.14804008544069322</c:v>
                </c:pt>
                <c:pt idx="32">
                  <c:v>0.14796853316257758</c:v>
                </c:pt>
                <c:pt idx="33">
                  <c:v>0.14318080022714252</c:v>
                </c:pt>
                <c:pt idx="34">
                  <c:v>0.14007978053978193</c:v>
                </c:pt>
                <c:pt idx="35">
                  <c:v>0.14472725606446482</c:v>
                </c:pt>
                <c:pt idx="36">
                  <c:v>0.14287327862411228</c:v>
                </c:pt>
                <c:pt idx="37">
                  <c:v>0.13442375043428237</c:v>
                </c:pt>
                <c:pt idx="38">
                  <c:v>0.13299369128457667</c:v>
                </c:pt>
                <c:pt idx="39">
                  <c:v>0.13844059444458634</c:v>
                </c:pt>
                <c:pt idx="40">
                  <c:v>0.1380210627009112</c:v>
                </c:pt>
                <c:pt idx="41">
                  <c:v>0.13578287755016316</c:v>
                </c:pt>
                <c:pt idx="42">
                  <c:v>0.13662273315672807</c:v>
                </c:pt>
                <c:pt idx="43">
                  <c:v>0.13493377806181966</c:v>
                </c:pt>
                <c:pt idx="44">
                  <c:v>0.1403467546064095</c:v>
                </c:pt>
                <c:pt idx="45">
                  <c:v>0.14440416857158447</c:v>
                </c:pt>
                <c:pt idx="46">
                  <c:v>0.14517327896489401</c:v>
                </c:pt>
                <c:pt idx="47">
                  <c:v>0.1484224623095077</c:v>
                </c:pt>
                <c:pt idx="48">
                  <c:v>0.15039917339119402</c:v>
                </c:pt>
                <c:pt idx="49">
                  <c:v>0.14924259713675703</c:v>
                </c:pt>
                <c:pt idx="50">
                  <c:v>0.15816623856784504</c:v>
                </c:pt>
                <c:pt idx="51">
                  <c:v>0.1590554596416927</c:v>
                </c:pt>
                <c:pt idx="52">
                  <c:v>0.16256423208969079</c:v>
                </c:pt>
                <c:pt idx="53">
                  <c:v>0.1710478250090755</c:v>
                </c:pt>
                <c:pt idx="54">
                  <c:v>0.1349967529434308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47.0"/>
          <c:min val="68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77357958550684"/>
          <c:min val="0.0741206748641692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0823097454419908</c:v>
                </c:pt>
                <c:pt idx="2">
                  <c:v>0.0</c:v>
                </c:pt>
                <c:pt idx="3">
                  <c:v>2.6233213931529775</c:v>
                </c:pt>
                <c:pt idx="4">
                  <c:v>2.9473540750675253</c:v>
                </c:pt>
                <c:pt idx="5">
                  <c:v>2.0289331899055325</c:v>
                </c:pt>
                <c:pt idx="6">
                  <c:v>1.4038373293243576</c:v>
                </c:pt>
                <c:pt idx="7">
                  <c:v>1.6519957759783825</c:v>
                </c:pt>
                <c:pt idx="8">
                  <c:v>1.9197246561433319</c:v>
                </c:pt>
                <c:pt idx="9">
                  <c:v>1.5998359419832915</c:v>
                </c:pt>
                <c:pt idx="10">
                  <c:v>1.7558380755739404</c:v>
                </c:pt>
                <c:pt idx="11">
                  <c:v>2.233410140592239</c:v>
                </c:pt>
                <c:pt idx="12">
                  <c:v>1.824917262547209</c:v>
                </c:pt>
                <c:pt idx="13">
                  <c:v>1.8737501349077585</c:v>
                </c:pt>
                <c:pt idx="14">
                  <c:v>1.7234675551548255</c:v>
                </c:pt>
                <c:pt idx="15">
                  <c:v>1.6284923751925653</c:v>
                </c:pt>
                <c:pt idx="16">
                  <c:v>1.5843147723766369</c:v>
                </c:pt>
                <c:pt idx="17">
                  <c:v>1.3178622837172076</c:v>
                </c:pt>
                <c:pt idx="18">
                  <c:v>1.0116653476987185</c:v>
                </c:pt>
                <c:pt idx="19">
                  <c:v>1.2392568804956463</c:v>
                </c:pt>
                <c:pt idx="20">
                  <c:v>1.1416408546985959</c:v>
                </c:pt>
                <c:pt idx="21">
                  <c:v>1.1362122294100527</c:v>
                </c:pt>
                <c:pt idx="22">
                  <c:v>0.5161766269796116</c:v>
                </c:pt>
                <c:pt idx="23">
                  <c:v>0.7014761372640863</c:v>
                </c:pt>
                <c:pt idx="24">
                  <c:v>2.6037942378683776</c:v>
                </c:pt>
                <c:pt idx="25">
                  <c:v>2.8064556669624987</c:v>
                </c:pt>
                <c:pt idx="26">
                  <c:v>2.904394320470935</c:v>
                </c:pt>
                <c:pt idx="27">
                  <c:v>2.1130855611218595</c:v>
                </c:pt>
                <c:pt idx="28">
                  <c:v>3.0161718164974625</c:v>
                </c:pt>
                <c:pt idx="29">
                  <c:v>2.940351948671334</c:v>
                </c:pt>
                <c:pt idx="30">
                  <c:v>2.529178949411305</c:v>
                </c:pt>
                <c:pt idx="31">
                  <c:v>2.7171205007033197</c:v>
                </c:pt>
                <c:pt idx="32">
                  <c:v>3.0163006257167897</c:v>
                </c:pt>
                <c:pt idx="33">
                  <c:v>2.8007191066017043</c:v>
                </c:pt>
                <c:pt idx="34">
                  <c:v>2.517062493229169</c:v>
                </c:pt>
                <c:pt idx="35">
                  <c:v>3.500480162694908</c:v>
                </c:pt>
                <c:pt idx="36">
                  <c:v>3.505069807879973</c:v>
                </c:pt>
                <c:pt idx="37">
                  <c:v>2.981221670817604</c:v>
                </c:pt>
                <c:pt idx="38">
                  <c:v>2.771478669685226</c:v>
                </c:pt>
                <c:pt idx="39">
                  <c:v>3.0414554666938165</c:v>
                </c:pt>
                <c:pt idx="40">
                  <c:v>2.675550128685665</c:v>
                </c:pt>
                <c:pt idx="41">
                  <c:v>3.180185845691759</c:v>
                </c:pt>
                <c:pt idx="42">
                  <c:v>3.1304658019174165</c:v>
                </c:pt>
                <c:pt idx="43">
                  <c:v>3.4889394705796053</c:v>
                </c:pt>
                <c:pt idx="44">
                  <c:v>3.467521736869623</c:v>
                </c:pt>
                <c:pt idx="45">
                  <c:v>2.7548014587494</c:v>
                </c:pt>
                <c:pt idx="46">
                  <c:v>2.9495917650434733</c:v>
                </c:pt>
                <c:pt idx="47">
                  <c:v>2.8440760011113624</c:v>
                </c:pt>
                <c:pt idx="48">
                  <c:v>2.992615116876159</c:v>
                </c:pt>
                <c:pt idx="49">
                  <c:v>3.2408652456524867</c:v>
                </c:pt>
                <c:pt idx="50">
                  <c:v>2.8603442405397326</c:v>
                </c:pt>
                <c:pt idx="51">
                  <c:v>3.027201904077459</c:v>
                </c:pt>
                <c:pt idx="52">
                  <c:v>3.2611677458418606</c:v>
                </c:pt>
                <c:pt idx="53">
                  <c:v>3.213450813327668</c:v>
                </c:pt>
              </c:numCache>
            </c:numRef>
          </c:xVal>
          <c:yVal>
            <c:numRef>
              <c:f>Sheet1!$B$2:$B$55</c:f>
              <c:numCache>
                <c:formatCode>General</c:formatCode>
                <c:ptCount val="54"/>
                <c:pt idx="0">
                  <c:v>0.0</c:v>
                </c:pt>
                <c:pt idx="1">
                  <c:v>9.313588525658937e-05</c:v>
                </c:pt>
                <c:pt idx="2">
                  <c:v>0.0</c:v>
                </c:pt>
                <c:pt idx="3">
                  <c:v>0.0001316829075585989</c:v>
                </c:pt>
                <c:pt idx="4">
                  <c:v>0.00013349352556401014</c:v>
                </c:pt>
                <c:pt idx="5">
                  <c:v>0.0002865740077374982</c:v>
                </c:pt>
                <c:pt idx="6">
                  <c:v>0.00024061597690086623</c:v>
                </c:pt>
                <c:pt idx="7">
                  <c:v>0.0003185051491665782</c:v>
                </c:pt>
                <c:pt idx="8">
                  <c:v>0.00040785806539324316</c:v>
                </c:pt>
                <c:pt idx="9">
                  <c:v>0.0008953219428486159</c:v>
                </c:pt>
                <c:pt idx="10">
                  <c:v>0.0010504201680672268</c:v>
                </c:pt>
                <c:pt idx="11">
                  <c:v>0.0007823960880195599</c:v>
                </c:pt>
                <c:pt idx="12">
                  <c:v>0.0009771697610375767</c:v>
                </c:pt>
                <c:pt idx="13">
                  <c:v>0.0009279568078285811</c:v>
                </c:pt>
                <c:pt idx="14">
                  <c:v>0.001028133470417796</c:v>
                </c:pt>
                <c:pt idx="15">
                  <c:v>0.0009663703131039815</c:v>
                </c:pt>
                <c:pt idx="16">
                  <c:v>0.0010564124234100994</c:v>
                </c:pt>
                <c:pt idx="17">
                  <c:v>0.0017344896597731821</c:v>
                </c:pt>
                <c:pt idx="18">
                  <c:v>0.002054794520547945</c:v>
                </c:pt>
                <c:pt idx="19">
                  <c:v>0.001324722636198046</c:v>
                </c:pt>
                <c:pt idx="20">
                  <c:v>0.0018786398647379298</c:v>
                </c:pt>
                <c:pt idx="21">
                  <c:v>0.0019017980636237897</c:v>
                </c:pt>
                <c:pt idx="22">
                  <c:v>0.0029205607476635513</c:v>
                </c:pt>
                <c:pt idx="23">
                  <c:v>0.0027100271002710027</c:v>
                </c:pt>
                <c:pt idx="24">
                  <c:v>0.0024321037697608433</c:v>
                </c:pt>
                <c:pt idx="25">
                  <c:v>0.0035374751271280125</c:v>
                </c:pt>
                <c:pt idx="26">
                  <c:v>0.004714757190004715</c:v>
                </c:pt>
                <c:pt idx="27">
                  <c:v>0.006237006237006237</c:v>
                </c:pt>
                <c:pt idx="28">
                  <c:v>0.004740459824602986</c:v>
                </c:pt>
                <c:pt idx="29">
                  <c:v>0.004390018484288355</c:v>
                </c:pt>
                <c:pt idx="30">
                  <c:v>0.005517503805175038</c:v>
                </c:pt>
                <c:pt idx="31">
                  <c:v>0.006039255158530448</c:v>
                </c:pt>
                <c:pt idx="32">
                  <c:v>0.005433228481555619</c:v>
                </c:pt>
                <c:pt idx="33">
                  <c:v>0.005368748233964397</c:v>
                </c:pt>
                <c:pt idx="34">
                  <c:v>0.005888125613346418</c:v>
                </c:pt>
                <c:pt idx="35">
                  <c:v>0.004975124378109453</c:v>
                </c:pt>
                <c:pt idx="36">
                  <c:v>0.0043534343760077395</c:v>
                </c:pt>
                <c:pt idx="37">
                  <c:v>0.006612627986348123</c:v>
                </c:pt>
                <c:pt idx="38">
                  <c:v>0.00870195794053662</c:v>
                </c:pt>
                <c:pt idx="39">
                  <c:v>0.007761642463695543</c:v>
                </c:pt>
                <c:pt idx="40">
                  <c:v>0.008776328986960883</c:v>
                </c:pt>
                <c:pt idx="41">
                  <c:v>0.006531069229333831</c:v>
                </c:pt>
                <c:pt idx="42">
                  <c:v>0.006497022198159177</c:v>
                </c:pt>
                <c:pt idx="43">
                  <c:v>0.00613132911392405</c:v>
                </c:pt>
                <c:pt idx="44">
                  <c:v>0.006536897152818129</c:v>
                </c:pt>
                <c:pt idx="45">
                  <c:v>0.008605163097858715</c:v>
                </c:pt>
                <c:pt idx="46">
                  <c:v>0.009656925031766201</c:v>
                </c:pt>
                <c:pt idx="47">
                  <c:v>0.009123421648054887</c:v>
                </c:pt>
                <c:pt idx="48">
                  <c:v>0.008297460852205377</c:v>
                </c:pt>
                <c:pt idx="49">
                  <c:v>0.0065237651444548</c:v>
                </c:pt>
                <c:pt idx="50">
                  <c:v>0.00939318370739817</c:v>
                </c:pt>
                <c:pt idx="51">
                  <c:v>0.008766662663624355</c:v>
                </c:pt>
                <c:pt idx="52">
                  <c:v>0.007103393843725336</c:v>
                </c:pt>
                <c:pt idx="53">
                  <c:v>0.0060110603510459245</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3.23766121067541</c:v>
                </c:pt>
                <c:pt idx="1">
                  <c:v>2.574958451635684</c:v>
                </c:pt>
                <c:pt idx="2">
                  <c:v>3.0303627009271317</c:v>
                </c:pt>
                <c:pt idx="3">
                  <c:v>2.4207361808507284</c:v>
                </c:pt>
                <c:pt idx="4">
                  <c:v>3.00010299687375</c:v>
                </c:pt>
                <c:pt idx="5">
                  <c:v>3.3439538360949266</c:v>
                </c:pt>
                <c:pt idx="6">
                  <c:v>3.397770369619704</c:v>
                </c:pt>
                <c:pt idx="7">
                  <c:v>3.1579583054104647</c:v>
                </c:pt>
                <c:pt idx="8">
                  <c:v>2.9960308777200435</c:v>
                </c:pt>
                <c:pt idx="9">
                  <c:v>3.0443785578198104</c:v>
                </c:pt>
                <c:pt idx="10">
                  <c:v>3.193887832070116</c:v>
                </c:pt>
                <c:pt idx="11">
                  <c:v>3.2015734771149735</c:v>
                </c:pt>
                <c:pt idx="12">
                  <c:v>2.9619620892068483</c:v>
                </c:pt>
                <c:pt idx="13">
                  <c:v>2.4825843019331373</c:v>
                </c:pt>
                <c:pt idx="14">
                  <c:v>2.4888190445695892</c:v>
                </c:pt>
                <c:pt idx="15">
                  <c:v>2.6277963693657047</c:v>
                </c:pt>
                <c:pt idx="16">
                  <c:v>2.741667318906735</c:v>
                </c:pt>
                <c:pt idx="17">
                  <c:v>2.18570780636603</c:v>
                </c:pt>
                <c:pt idx="18">
                  <c:v>3.1855089717176495</c:v>
                </c:pt>
                <c:pt idx="19">
                  <c:v>3.0441260598272857</c:v>
                </c:pt>
                <c:pt idx="20">
                  <c:v>2.789491458649806</c:v>
                </c:pt>
                <c:pt idx="21">
                  <c:v>2.6019704746853827</c:v>
                </c:pt>
                <c:pt idx="22">
                  <c:v>2.807648765495131</c:v>
                </c:pt>
                <c:pt idx="23">
                  <c:v>2.1096349677866306</c:v>
                </c:pt>
                <c:pt idx="24">
                  <c:v>2.765307837655631</c:v>
                </c:pt>
                <c:pt idx="25">
                  <c:v>2.7365050973722886</c:v>
                </c:pt>
                <c:pt idx="26">
                  <c:v>2.879791621142368</c:v>
                </c:pt>
                <c:pt idx="27">
                  <c:v>2.697762051345985</c:v>
                </c:pt>
                <c:pt idx="28">
                  <c:v>2.766059270390717</c:v>
                </c:pt>
                <c:pt idx="29">
                  <c:v>2.5486249429523724</c:v>
                </c:pt>
                <c:pt idx="30">
                  <c:v>2.4910257173069117</c:v>
                </c:pt>
                <c:pt idx="31">
                  <c:v>2.6629278625075163</c:v>
                </c:pt>
                <c:pt idx="32">
                  <c:v>3.000961980156687</c:v>
                </c:pt>
                <c:pt idx="33">
                  <c:v>3.300171395498674</c:v>
                </c:pt>
                <c:pt idx="34">
                  <c:v>3.3304612231001762</c:v>
                </c:pt>
                <c:pt idx="35">
                  <c:v>2.734185739709263</c:v>
                </c:pt>
                <c:pt idx="36">
                  <c:v>2.8113653688500864</c:v>
                </c:pt>
                <c:pt idx="37">
                  <c:v>2.7158380951439187</c:v>
                </c:pt>
                <c:pt idx="38">
                  <c:v>2.3802473417171623</c:v>
                </c:pt>
                <c:pt idx="39">
                  <c:v>2.2558773965153005</c:v>
                </c:pt>
                <c:pt idx="40">
                  <c:v>2.3438354649496707</c:v>
                </c:pt>
                <c:pt idx="41">
                  <c:v>2.4551624816149613</c:v>
                </c:pt>
                <c:pt idx="42">
                  <c:v>2.287850011091993</c:v>
                </c:pt>
                <c:pt idx="43">
                  <c:v>2.5306057092861134</c:v>
                </c:pt>
                <c:pt idx="44">
                  <c:v>3.260100280965052</c:v>
                </c:pt>
                <c:pt idx="45">
                  <c:v>3.325630740472525</c:v>
                </c:pt>
                <c:pt idx="46">
                  <c:v>3.218087865992673</c:v>
                </c:pt>
                <c:pt idx="47">
                  <c:v>3.2708155033143926</c:v>
                </c:pt>
                <c:pt idx="48">
                  <c:v>3.11047208037336</c:v>
                </c:pt>
                <c:pt idx="49">
                  <c:v>3.2590059454860927</c:v>
                </c:pt>
                <c:pt idx="50">
                  <c:v>3.435160151039367</c:v>
                </c:pt>
                <c:pt idx="51">
                  <c:v>3.7060164811144145</c:v>
                </c:pt>
              </c:numCache>
            </c:numRef>
          </c:xVal>
          <c:yVal>
            <c:numRef>
              <c:f>Sheet1!$B$58:$B$109</c:f>
              <c:numCache>
                <c:formatCode>General</c:formatCode>
                <c:ptCount val="52"/>
                <c:pt idx="0">
                  <c:v>0.006063278580090398</c:v>
                </c:pt>
                <c:pt idx="1">
                  <c:v>0.007647958583362749</c:v>
                </c:pt>
                <c:pt idx="2">
                  <c:v>0.0066518847006651885</c:v>
                </c:pt>
                <c:pt idx="3">
                  <c:v>0.007533744899026891</c:v>
                </c:pt>
                <c:pt idx="4">
                  <c:v>0.0071950288891311455</c:v>
                </c:pt>
                <c:pt idx="5">
                  <c:v>0.006082595240636005</c:v>
                </c:pt>
                <c:pt idx="6">
                  <c:v>0.00642843637738703</c:v>
                </c:pt>
                <c:pt idx="7">
                  <c:v>0.007775042114811455</c:v>
                </c:pt>
                <c:pt idx="8">
                  <c:v>0.00978768257792501</c:v>
                </c:pt>
                <c:pt idx="9">
                  <c:v>0.009606277905560817</c:v>
                </c:pt>
                <c:pt idx="10">
                  <c:v>0.009107708553326294</c:v>
                </c:pt>
                <c:pt idx="11">
                  <c:v>0.008787823881137887</c:v>
                </c:pt>
                <c:pt idx="12">
                  <c:v>0.00942486880154225</c:v>
                </c:pt>
                <c:pt idx="13">
                  <c:v>0.014613282642271594</c:v>
                </c:pt>
                <c:pt idx="14">
                  <c:v>0.014304123711340206</c:v>
                </c:pt>
                <c:pt idx="15">
                  <c:v>0.01403260099220411</c:v>
                </c:pt>
                <c:pt idx="16">
                  <c:v>0.01363711957425578</c:v>
                </c:pt>
                <c:pt idx="17">
                  <c:v>0.017850953206239167</c:v>
                </c:pt>
                <c:pt idx="18">
                  <c:v>0.009318001586042823</c:v>
                </c:pt>
                <c:pt idx="19">
                  <c:v>0.008838891120932101</c:v>
                </c:pt>
                <c:pt idx="20">
                  <c:v>0.011400651465798045</c:v>
                </c:pt>
                <c:pt idx="21">
                  <c:v>0.012847404299947561</c:v>
                </c:pt>
                <c:pt idx="22">
                  <c:v>0.011157239231966787</c:v>
                </c:pt>
                <c:pt idx="23">
                  <c:v>0.012285012285012284</c:v>
                </c:pt>
                <c:pt idx="24">
                  <c:v>0.01092479674796748</c:v>
                </c:pt>
                <c:pt idx="25">
                  <c:v>0.011283127787982157</c:v>
                </c:pt>
                <c:pt idx="26">
                  <c:v>0.0112079701120797</c:v>
                </c:pt>
                <c:pt idx="27">
                  <c:v>0.011976047904191617</c:v>
                </c:pt>
                <c:pt idx="28">
                  <c:v>0.009570352270413357</c:v>
                </c:pt>
                <c:pt idx="29">
                  <c:v>0.01171193620732619</c:v>
                </c:pt>
                <c:pt idx="30">
                  <c:v>0.011421319796954314</c:v>
                </c:pt>
                <c:pt idx="31">
                  <c:v>0.012285012285012284</c:v>
                </c:pt>
                <c:pt idx="32">
                  <c:v>0.01033902380379899</c:v>
                </c:pt>
                <c:pt idx="33">
                  <c:v>0.007940804908861216</c:v>
                </c:pt>
                <c:pt idx="34">
                  <c:v>0.0074721556464119555</c:v>
                </c:pt>
                <c:pt idx="35">
                  <c:v>0.010269121813031162</c:v>
                </c:pt>
                <c:pt idx="36">
                  <c:v>0.012914587613736424</c:v>
                </c:pt>
                <c:pt idx="37">
                  <c:v>0.013386880856760375</c:v>
                </c:pt>
                <c:pt idx="38">
                  <c:v>0.0164183642444512</c:v>
                </c:pt>
                <c:pt idx="39">
                  <c:v>0.015067582539330823</c:v>
                </c:pt>
                <c:pt idx="40">
                  <c:v>0.013651137594799566</c:v>
                </c:pt>
                <c:pt idx="41">
                  <c:v>0.011461894228835713</c:v>
                </c:pt>
                <c:pt idx="42">
                  <c:v>0.013073394495412845</c:v>
                </c:pt>
                <c:pt idx="43">
                  <c:v>0.010628875110717449</c:v>
                </c:pt>
                <c:pt idx="44">
                  <c:v>0.007437070938215103</c:v>
                </c:pt>
                <c:pt idx="45">
                  <c:v>0.005685785536159601</c:v>
                </c:pt>
                <c:pt idx="46">
                  <c:v>0.006071019473081329</c:v>
                </c:pt>
                <c:pt idx="47">
                  <c:v>0.00546222817685252</c:v>
                </c:pt>
                <c:pt idx="48">
                  <c:v>0.006094980106662152</c:v>
                </c:pt>
                <c:pt idx="49">
                  <c:v>0.005474018246727489</c:v>
                </c:pt>
                <c:pt idx="50">
                  <c:v>0.004465726891208437</c:v>
                </c:pt>
                <c:pt idx="51">
                  <c:v>0.005882929698990097</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2.6080391728514196</c:v>
                </c:pt>
              </c:numCache>
            </c:numRef>
          </c:xVal>
          <c:yVal>
            <c:numRef>
              <c:f>Sheet1!$B$112:$B$113</c:f>
              <c:numCache>
                <c:formatCode>General</c:formatCode>
                <c:ptCount val="2"/>
                <c:pt idx="0">
                  <c:v>0.011828439056969127</c:v>
                </c:pt>
                <c:pt idx="1">
                  <c:v>0.011828439056969127</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2.6080391728514196</c:v>
                </c:pt>
                <c:pt idx="1">
                  <c:v>2.6080391728514196</c:v>
                </c:pt>
              </c:numCache>
            </c:numRef>
          </c:xVal>
          <c:yVal>
            <c:numRef>
              <c:f>Sheet1!$B$116:$B$117</c:f>
              <c:numCache>
                <c:formatCode>General</c:formatCode>
                <c:ptCount val="2"/>
                <c:pt idx="0">
                  <c:v>0.01182843905696912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2.6080391728514196</c:v>
                </c:pt>
              </c:numCache>
            </c:numRef>
          </c:xVal>
          <c:yVal>
            <c:numRef>
              <c:f>Sheet1!$B$120:$B$121</c:f>
              <c:numCache>
                <c:formatCode>General</c:formatCode>
                <c:ptCount val="2"/>
                <c:pt idx="0">
                  <c:v>0.011828439056969127</c:v>
                </c:pt>
                <c:pt idx="1">
                  <c:v>0.011828439056969127</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2.6080391728514196</c:v>
                </c:pt>
                <c:pt idx="1">
                  <c:v>2.6080391728514196</c:v>
                </c:pt>
              </c:numCache>
            </c:numRef>
          </c:xVal>
          <c:yVal>
            <c:numRef>
              <c:f>Sheet1!$B$124:$B$125</c:f>
              <c:numCache>
                <c:formatCode>General</c:formatCode>
                <c:ptCount val="2"/>
                <c:pt idx="0">
                  <c:v>0.01182843905696912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3.083463614708304</c:v>
                </c:pt>
              </c:numCache>
            </c:numRef>
          </c:xVal>
          <c:yVal>
            <c:numRef>
              <c:f>Sheet1!$B$128:$B$129</c:f>
              <c:numCache>
                <c:formatCode>General</c:formatCode>
                <c:ptCount val="2"/>
                <c:pt idx="0">
                  <c:v>0.00849666484899947</c:v>
                </c:pt>
                <c:pt idx="1">
                  <c:v>0.00849666484899947</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3.083463614708304</c:v>
                </c:pt>
                <c:pt idx="1">
                  <c:v>3.083463614708304</c:v>
                </c:pt>
              </c:numCache>
            </c:numRef>
          </c:xVal>
          <c:yVal>
            <c:numRef>
              <c:f>Sheet1!$B$132:$B$133</c:f>
              <c:numCache>
                <c:formatCode>General</c:formatCode>
                <c:ptCount val="2"/>
                <c:pt idx="0">
                  <c:v>0.008496664848999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3.23766121067541</c:v>
                </c:pt>
                <c:pt idx="1">
                  <c:v>2.574958451635684</c:v>
                </c:pt>
                <c:pt idx="2">
                  <c:v>3.0303627009271317</c:v>
                </c:pt>
                <c:pt idx="3">
                  <c:v>2.4207361808507284</c:v>
                </c:pt>
                <c:pt idx="4">
                  <c:v>3.00010299687375</c:v>
                </c:pt>
                <c:pt idx="5">
                  <c:v>3.3439538360949266</c:v>
                </c:pt>
                <c:pt idx="6">
                  <c:v>3.397770369619704</c:v>
                </c:pt>
                <c:pt idx="7">
                  <c:v>3.1579583054104647</c:v>
                </c:pt>
                <c:pt idx="8">
                  <c:v>2.9960308777200435</c:v>
                </c:pt>
                <c:pt idx="9">
                  <c:v>3.0443785578198104</c:v>
                </c:pt>
                <c:pt idx="10">
                  <c:v>3.193887832070116</c:v>
                </c:pt>
                <c:pt idx="11">
                  <c:v>3.2015734771149735</c:v>
                </c:pt>
                <c:pt idx="12">
                  <c:v>2.9619620892068483</c:v>
                </c:pt>
                <c:pt idx="13">
                  <c:v>2.4825843019331373</c:v>
                </c:pt>
                <c:pt idx="14">
                  <c:v>2.4888190445695892</c:v>
                </c:pt>
                <c:pt idx="15">
                  <c:v>2.6277963693657047</c:v>
                </c:pt>
                <c:pt idx="16">
                  <c:v>2.741667318906735</c:v>
                </c:pt>
                <c:pt idx="17">
                  <c:v>2.18570780636603</c:v>
                </c:pt>
                <c:pt idx="18">
                  <c:v>3.1855089717176495</c:v>
                </c:pt>
                <c:pt idx="19">
                  <c:v>3.0441260598272857</c:v>
                </c:pt>
                <c:pt idx="20">
                  <c:v>2.789491458649806</c:v>
                </c:pt>
                <c:pt idx="21">
                  <c:v>2.6019704746853827</c:v>
                </c:pt>
                <c:pt idx="22">
                  <c:v>2.807648765495131</c:v>
                </c:pt>
                <c:pt idx="23">
                  <c:v>2.1096349677866306</c:v>
                </c:pt>
                <c:pt idx="24">
                  <c:v>2.765307837655631</c:v>
                </c:pt>
                <c:pt idx="25">
                  <c:v>2.7365050973722886</c:v>
                </c:pt>
                <c:pt idx="26">
                  <c:v>2.879791621142368</c:v>
                </c:pt>
                <c:pt idx="27">
                  <c:v>2.697762051345985</c:v>
                </c:pt>
                <c:pt idx="28">
                  <c:v>2.766059270390717</c:v>
                </c:pt>
                <c:pt idx="29">
                  <c:v>2.5486249429523724</c:v>
                </c:pt>
                <c:pt idx="30">
                  <c:v>2.4910257173069117</c:v>
                </c:pt>
                <c:pt idx="31">
                  <c:v>2.6629278625075163</c:v>
                </c:pt>
                <c:pt idx="32">
                  <c:v>3.000961980156687</c:v>
                </c:pt>
                <c:pt idx="33">
                  <c:v>3.300171395498674</c:v>
                </c:pt>
                <c:pt idx="34">
                  <c:v>3.3304612231001762</c:v>
                </c:pt>
                <c:pt idx="35">
                  <c:v>2.734185739709263</c:v>
                </c:pt>
                <c:pt idx="36">
                  <c:v>2.8113653688500864</c:v>
                </c:pt>
                <c:pt idx="37">
                  <c:v>2.7158380951439187</c:v>
                </c:pt>
                <c:pt idx="38">
                  <c:v>2.3802473417171623</c:v>
                </c:pt>
                <c:pt idx="39">
                  <c:v>2.2558773965153005</c:v>
                </c:pt>
                <c:pt idx="40">
                  <c:v>2.3438354649496707</c:v>
                </c:pt>
                <c:pt idx="41">
                  <c:v>2.4551624816149613</c:v>
                </c:pt>
                <c:pt idx="42">
                  <c:v>2.287850011091993</c:v>
                </c:pt>
                <c:pt idx="43">
                  <c:v>2.5306057092861134</c:v>
                </c:pt>
                <c:pt idx="44">
                  <c:v>3.260100280965052</c:v>
                </c:pt>
                <c:pt idx="45">
                  <c:v>3.325630740472525</c:v>
                </c:pt>
                <c:pt idx="46">
                  <c:v>3.218087865992673</c:v>
                </c:pt>
                <c:pt idx="47">
                  <c:v>3.2708155033143926</c:v>
                </c:pt>
                <c:pt idx="48">
                  <c:v>3.11047208037336</c:v>
                </c:pt>
                <c:pt idx="49">
                  <c:v>3.2590059454860927</c:v>
                </c:pt>
                <c:pt idx="50">
                  <c:v>3.435160151039367</c:v>
                </c:pt>
                <c:pt idx="51">
                  <c:v>3.7060164811144145</c:v>
                </c:pt>
                <c:pt idx="52">
                  <c:v>2.6080391728514196</c:v>
                </c:pt>
                <c:pt idx="53">
                  <c:v>2.6080391728514196</c:v>
                </c:pt>
                <c:pt idx="54">
                  <c:v>3.083463614708304</c:v>
                </c:pt>
              </c:numCache>
            </c:numRef>
          </c:xVal>
          <c:yVal>
            <c:numRef>
              <c:f>Sheet1!$B$136:$B$190</c:f>
              <c:numCache>
                <c:formatCode>General</c:formatCode>
                <c:ptCount val="55"/>
                <c:pt idx="0">
                  <c:v>0.007416048187458994</c:v>
                </c:pt>
                <c:pt idx="1">
                  <c:v>0.012060268731726994</c:v>
                </c:pt>
                <c:pt idx="2">
                  <c:v>0.008868796021441354</c:v>
                </c:pt>
                <c:pt idx="3">
                  <c:v>0.013141058314376397</c:v>
                </c:pt>
                <c:pt idx="4">
                  <c:v>0.00908085600959022</c:v>
                </c:pt>
                <c:pt idx="5">
                  <c:v>0.00667114953124575</c:v>
                </c:pt>
                <c:pt idx="6">
                  <c:v>0.006294003296062993</c:v>
                </c:pt>
                <c:pt idx="7">
                  <c:v>0.007974606100520462</c:v>
                </c:pt>
                <c:pt idx="8">
                  <c:v>0.009109393418216306</c:v>
                </c:pt>
                <c:pt idx="9">
                  <c:v>0.008770572904608673</c:v>
                </c:pt>
                <c:pt idx="10">
                  <c:v>0.007722811998892805</c:v>
                </c:pt>
                <c:pt idx="11">
                  <c:v>0.0076689510029539915</c:v>
                </c:pt>
                <c:pt idx="12">
                  <c:v>0.009348147468011679</c:v>
                </c:pt>
                <c:pt idx="13">
                  <c:v>0.012707626718329458</c:v>
                </c:pt>
                <c:pt idx="14">
                  <c:v>0.012663933645612527</c:v>
                </c:pt>
                <c:pt idx="15">
                  <c:v>0.011689980635456378</c:v>
                </c:pt>
                <c:pt idx="16">
                  <c:v>0.010891973088271781</c:v>
                </c:pt>
                <c:pt idx="17">
                  <c:v>0.014788137024067293</c:v>
                </c:pt>
                <c:pt idx="18">
                  <c:v>0.007781531047298253</c:v>
                </c:pt>
                <c:pt idx="19">
                  <c:v>0.008772342410391279</c:v>
                </c:pt>
                <c:pt idx="20">
                  <c:v>0.010556821545174917</c:v>
                </c:pt>
                <c:pt idx="21">
                  <c:v>0.011870968490135376</c:v>
                </c:pt>
                <c:pt idx="22">
                  <c:v>0.010429575149518092</c:v>
                </c:pt>
                <c:pt idx="23">
                  <c:v>0.015321255431938673</c:v>
                </c:pt>
                <c:pt idx="24">
                  <c:v>0.010726300346830555</c:v>
                </c:pt>
                <c:pt idx="25">
                  <c:v>0.010928149933738786</c:v>
                </c:pt>
                <c:pt idx="26">
                  <c:v>0.009923998059716096</c:v>
                </c:pt>
                <c:pt idx="27">
                  <c:v>0.011199661177427597</c:v>
                </c:pt>
                <c:pt idx="28">
                  <c:v>0.010721034306666516</c:v>
                </c:pt>
                <c:pt idx="29">
                  <c:v>0.012244813945039384</c:v>
                </c:pt>
                <c:pt idx="30">
                  <c:v>0.012648469284371602</c:v>
                </c:pt>
                <c:pt idx="31">
                  <c:v>0.011443779152250796</c:v>
                </c:pt>
                <c:pt idx="32">
                  <c:v>0.00907483625525031</c:v>
                </c:pt>
                <c:pt idx="33">
                  <c:v>0.006977976849106851</c:v>
                </c:pt>
                <c:pt idx="34">
                  <c:v>0.006765705755150533</c:v>
                </c:pt>
                <c:pt idx="35">
                  <c:v>0.010944403990872542</c:v>
                </c:pt>
                <c:pt idx="36">
                  <c:v>0.010403529195399854</c:v>
                </c:pt>
                <c:pt idx="37">
                  <c:v>0.011072984273158934</c:v>
                </c:pt>
                <c:pt idx="38">
                  <c:v>0.01342480407513065</c:v>
                </c:pt>
                <c:pt idx="39">
                  <c:v>0.014296388577710557</c:v>
                </c:pt>
                <c:pt idx="40">
                  <c:v>0.0136799784860294</c:v>
                </c:pt>
                <c:pt idx="41">
                  <c:v>0.012899798818936728</c:v>
                </c:pt>
                <c:pt idx="42">
                  <c:v>0.014072324513625174</c:v>
                </c:pt>
                <c:pt idx="43">
                  <c:v>0.012371092723938791</c:v>
                </c:pt>
                <c:pt idx="44">
                  <c:v>0.007258795196111209</c:v>
                </c:pt>
                <c:pt idx="45">
                  <c:v>0.006799557774554488</c:v>
                </c:pt>
                <c:pt idx="46">
                  <c:v>0.007553218175444753</c:v>
                </c:pt>
                <c:pt idx="47">
                  <c:v>0.0071837029242104306</c:v>
                </c:pt>
                <c:pt idx="48">
                  <c:v>0.00830738953755733</c:v>
                </c:pt>
                <c:pt idx="49">
                  <c:v>0.007266464298501953</c:v>
                </c:pt>
                <c:pt idx="50">
                  <c:v>0.00603197572993892</c:v>
                </c:pt>
                <c:pt idx="51">
                  <c:v>0.004133814728614096</c:v>
                </c:pt>
                <c:pt idx="52">
                  <c:v>0.011828439056969127</c:v>
                </c:pt>
                <c:pt idx="53">
                  <c:v>0.011828439056969127</c:v>
                </c:pt>
                <c:pt idx="54">
                  <c:v>0.00849666484899947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142114384748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9.313588525658937e-05</c:v>
                </c:pt>
                <c:pt idx="2">
                  <c:v>0.0</c:v>
                </c:pt>
                <c:pt idx="3">
                  <c:v>0.0001316829075585989</c:v>
                </c:pt>
                <c:pt idx="4">
                  <c:v>0.00013349352556401014</c:v>
                </c:pt>
                <c:pt idx="5">
                  <c:v>0.0002865740077374982</c:v>
                </c:pt>
                <c:pt idx="6">
                  <c:v>0.00024061597690086623</c:v>
                </c:pt>
                <c:pt idx="7">
                  <c:v>0.0003185051491665782</c:v>
                </c:pt>
                <c:pt idx="8">
                  <c:v>0.00040785806539324316</c:v>
                </c:pt>
                <c:pt idx="9">
                  <c:v>0.0008953219428486159</c:v>
                </c:pt>
                <c:pt idx="10">
                  <c:v>0.0010504201680672268</c:v>
                </c:pt>
                <c:pt idx="11">
                  <c:v>0.0007823960880195599</c:v>
                </c:pt>
                <c:pt idx="12">
                  <c:v>0.0009771697610375767</c:v>
                </c:pt>
                <c:pt idx="13">
                  <c:v>0.0009279568078285811</c:v>
                </c:pt>
                <c:pt idx="14">
                  <c:v>0.001028133470417796</c:v>
                </c:pt>
                <c:pt idx="15">
                  <c:v>0.0009663703131039815</c:v>
                </c:pt>
                <c:pt idx="16">
                  <c:v>0.0010564124234100994</c:v>
                </c:pt>
                <c:pt idx="17">
                  <c:v>0.0017344896597731821</c:v>
                </c:pt>
                <c:pt idx="18">
                  <c:v>0.002054794520547945</c:v>
                </c:pt>
                <c:pt idx="19">
                  <c:v>0.001324722636198046</c:v>
                </c:pt>
                <c:pt idx="20">
                  <c:v>0.0018786398647379298</c:v>
                </c:pt>
                <c:pt idx="21">
                  <c:v>0.0019017980636237897</c:v>
                </c:pt>
                <c:pt idx="22">
                  <c:v>0.0029205607476635513</c:v>
                </c:pt>
                <c:pt idx="23">
                  <c:v>0.0027100271002710027</c:v>
                </c:pt>
                <c:pt idx="24">
                  <c:v>0.0024321037697608433</c:v>
                </c:pt>
                <c:pt idx="25">
                  <c:v>0.0035374751271280125</c:v>
                </c:pt>
                <c:pt idx="26">
                  <c:v>0.004714757190004715</c:v>
                </c:pt>
                <c:pt idx="27">
                  <c:v>0.006237006237006237</c:v>
                </c:pt>
                <c:pt idx="28">
                  <c:v>0.004740459824602986</c:v>
                </c:pt>
                <c:pt idx="29">
                  <c:v>0.004390018484288355</c:v>
                </c:pt>
                <c:pt idx="30">
                  <c:v>0.005517503805175038</c:v>
                </c:pt>
                <c:pt idx="31">
                  <c:v>0.006039255158530448</c:v>
                </c:pt>
                <c:pt idx="32">
                  <c:v>0.005433228481555619</c:v>
                </c:pt>
                <c:pt idx="33">
                  <c:v>0.005368748233964397</c:v>
                </c:pt>
                <c:pt idx="34">
                  <c:v>0.005888125613346418</c:v>
                </c:pt>
                <c:pt idx="35">
                  <c:v>0.004975124378109453</c:v>
                </c:pt>
                <c:pt idx="36">
                  <c:v>0.0043534343760077395</c:v>
                </c:pt>
                <c:pt idx="37">
                  <c:v>0.006612627986348123</c:v>
                </c:pt>
                <c:pt idx="38">
                  <c:v>0.00870195794053662</c:v>
                </c:pt>
                <c:pt idx="39">
                  <c:v>0.007761642463695543</c:v>
                </c:pt>
                <c:pt idx="40">
                  <c:v>0.008776328986960883</c:v>
                </c:pt>
                <c:pt idx="41">
                  <c:v>0.006531069229333831</c:v>
                </c:pt>
                <c:pt idx="42">
                  <c:v>0.006497022198159177</c:v>
                </c:pt>
                <c:pt idx="43">
                  <c:v>0.00613132911392405</c:v>
                </c:pt>
                <c:pt idx="44">
                  <c:v>0.006536897152818129</c:v>
                </c:pt>
                <c:pt idx="45">
                  <c:v>0.008605163097858715</c:v>
                </c:pt>
                <c:pt idx="46">
                  <c:v>0.009656925031766201</c:v>
                </c:pt>
                <c:pt idx="47">
                  <c:v>0.009123421648054887</c:v>
                </c:pt>
                <c:pt idx="48">
                  <c:v>0.008297460852205377</c:v>
                </c:pt>
                <c:pt idx="49">
                  <c:v>0.0065237651444548</c:v>
                </c:pt>
                <c:pt idx="50">
                  <c:v>0.00939318370739817</c:v>
                </c:pt>
                <c:pt idx="51">
                  <c:v>0.008766662663624355</c:v>
                </c:pt>
                <c:pt idx="52">
                  <c:v>0.007103393843725336</c:v>
                </c:pt>
                <c:pt idx="53">
                  <c:v>0.0060110603510459245</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6063278580090398</c:v>
                </c:pt>
                <c:pt idx="1">
                  <c:v>0.007647958583362749</c:v>
                </c:pt>
                <c:pt idx="2">
                  <c:v>0.0066518847006651885</c:v>
                </c:pt>
                <c:pt idx="3">
                  <c:v>0.007533744899026891</c:v>
                </c:pt>
                <c:pt idx="4">
                  <c:v>0.0071950288891311455</c:v>
                </c:pt>
                <c:pt idx="5">
                  <c:v>0.006082595240636005</c:v>
                </c:pt>
                <c:pt idx="6">
                  <c:v>0.00642843637738703</c:v>
                </c:pt>
                <c:pt idx="7">
                  <c:v>0.007775042114811455</c:v>
                </c:pt>
                <c:pt idx="8">
                  <c:v>0.00978768257792501</c:v>
                </c:pt>
                <c:pt idx="9">
                  <c:v>0.009606277905560817</c:v>
                </c:pt>
                <c:pt idx="10">
                  <c:v>0.009107708553326294</c:v>
                </c:pt>
                <c:pt idx="11">
                  <c:v>0.008787823881137887</c:v>
                </c:pt>
                <c:pt idx="12">
                  <c:v>0.00942486880154225</c:v>
                </c:pt>
                <c:pt idx="13">
                  <c:v>0.014613282642271594</c:v>
                </c:pt>
                <c:pt idx="14">
                  <c:v>0.014304123711340206</c:v>
                </c:pt>
                <c:pt idx="15">
                  <c:v>0.01403260099220411</c:v>
                </c:pt>
                <c:pt idx="16">
                  <c:v>0.01363711957425578</c:v>
                </c:pt>
                <c:pt idx="17">
                  <c:v>0.017850953206239167</c:v>
                </c:pt>
                <c:pt idx="18">
                  <c:v>0.009318001586042823</c:v>
                </c:pt>
                <c:pt idx="19">
                  <c:v>0.008838891120932101</c:v>
                </c:pt>
                <c:pt idx="20">
                  <c:v>0.011400651465798045</c:v>
                </c:pt>
                <c:pt idx="21">
                  <c:v>0.012847404299947561</c:v>
                </c:pt>
                <c:pt idx="22">
                  <c:v>0.011157239231966787</c:v>
                </c:pt>
                <c:pt idx="23">
                  <c:v>0.012285012285012284</c:v>
                </c:pt>
                <c:pt idx="24">
                  <c:v>0.01092479674796748</c:v>
                </c:pt>
                <c:pt idx="25">
                  <c:v>0.011283127787982157</c:v>
                </c:pt>
                <c:pt idx="26">
                  <c:v>0.0112079701120797</c:v>
                </c:pt>
                <c:pt idx="27">
                  <c:v>0.011976047904191617</c:v>
                </c:pt>
                <c:pt idx="28">
                  <c:v>0.009570352270413357</c:v>
                </c:pt>
                <c:pt idx="29">
                  <c:v>0.01171193620732619</c:v>
                </c:pt>
                <c:pt idx="30">
                  <c:v>0.011421319796954314</c:v>
                </c:pt>
                <c:pt idx="31">
                  <c:v>0.012285012285012284</c:v>
                </c:pt>
                <c:pt idx="32">
                  <c:v>0.01033902380379899</c:v>
                </c:pt>
                <c:pt idx="33">
                  <c:v>0.007940804908861216</c:v>
                </c:pt>
                <c:pt idx="34">
                  <c:v>0.0074721556464119555</c:v>
                </c:pt>
                <c:pt idx="35">
                  <c:v>0.010269121813031162</c:v>
                </c:pt>
                <c:pt idx="36">
                  <c:v>0.012914587613736424</c:v>
                </c:pt>
                <c:pt idx="37">
                  <c:v>0.013386880856760375</c:v>
                </c:pt>
                <c:pt idx="38">
                  <c:v>0.0164183642444512</c:v>
                </c:pt>
                <c:pt idx="39">
                  <c:v>0.015067582539330823</c:v>
                </c:pt>
                <c:pt idx="40">
                  <c:v>0.013651137594799566</c:v>
                </c:pt>
                <c:pt idx="41">
                  <c:v>0.011461894228835713</c:v>
                </c:pt>
                <c:pt idx="42">
                  <c:v>0.013073394495412845</c:v>
                </c:pt>
                <c:pt idx="43">
                  <c:v>0.010628875110717449</c:v>
                </c:pt>
                <c:pt idx="44">
                  <c:v>0.007437070938215103</c:v>
                </c:pt>
                <c:pt idx="45">
                  <c:v>0.005685785536159601</c:v>
                </c:pt>
                <c:pt idx="46">
                  <c:v>0.006071019473081329</c:v>
                </c:pt>
                <c:pt idx="47">
                  <c:v>0.00546222817685252</c:v>
                </c:pt>
                <c:pt idx="48">
                  <c:v>0.006094980106662152</c:v>
                </c:pt>
                <c:pt idx="49">
                  <c:v>0.005474018246727489</c:v>
                </c:pt>
                <c:pt idx="50">
                  <c:v>0.004465726891208437</c:v>
                </c:pt>
                <c:pt idx="51">
                  <c:v>0.005882929698990097</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53.341783741836</c:v>
                </c:pt>
              </c:numCache>
            </c:numRef>
          </c:xVal>
          <c:yVal>
            <c:numRef>
              <c:f>Sheet1!$B$112:$B$113</c:f>
              <c:numCache>
                <c:formatCode>General</c:formatCode>
                <c:ptCount val="2"/>
                <c:pt idx="0">
                  <c:v>0.011828439056969127</c:v>
                </c:pt>
                <c:pt idx="1">
                  <c:v>0.011828439056969127</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53.341783741836</c:v>
                </c:pt>
                <c:pt idx="1">
                  <c:v>3553.341783741836</c:v>
                </c:pt>
              </c:numCache>
            </c:numRef>
          </c:xVal>
          <c:yVal>
            <c:numRef>
              <c:f>Sheet1!$B$116:$B$117</c:f>
              <c:numCache>
                <c:formatCode>General</c:formatCode>
                <c:ptCount val="2"/>
                <c:pt idx="0">
                  <c:v>0.01182843905696912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53.341783741836</c:v>
                </c:pt>
              </c:numCache>
            </c:numRef>
          </c:xVal>
          <c:yVal>
            <c:numRef>
              <c:f>Sheet1!$B$120:$B$121</c:f>
              <c:numCache>
                <c:formatCode>General</c:formatCode>
                <c:ptCount val="2"/>
                <c:pt idx="0">
                  <c:v>0.011828439056969127</c:v>
                </c:pt>
                <c:pt idx="1">
                  <c:v>0.011828439056969127</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53.341783741836</c:v>
                </c:pt>
                <c:pt idx="1">
                  <c:v>3553.341783741836</c:v>
                </c:pt>
              </c:numCache>
            </c:numRef>
          </c:xVal>
          <c:yVal>
            <c:numRef>
              <c:f>Sheet1!$B$124:$B$125</c:f>
              <c:numCache>
                <c:formatCode>General</c:formatCode>
                <c:ptCount val="2"/>
                <c:pt idx="0">
                  <c:v>0.01182843905696912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08.929843858342</c:v>
                </c:pt>
              </c:numCache>
            </c:numRef>
          </c:xVal>
          <c:yVal>
            <c:numRef>
              <c:f>Sheet1!$B$128:$B$129</c:f>
              <c:numCache>
                <c:formatCode>General</c:formatCode>
                <c:ptCount val="2"/>
                <c:pt idx="0">
                  <c:v>0.00849666484899947</c:v>
                </c:pt>
                <c:pt idx="1">
                  <c:v>0.00849666484899947</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08.929843858342</c:v>
                </c:pt>
                <c:pt idx="1">
                  <c:v>4208.929843858342</c:v>
                </c:pt>
              </c:numCache>
            </c:numRef>
          </c:xVal>
          <c:yVal>
            <c:numRef>
              <c:f>Sheet1!$B$132:$B$133</c:f>
              <c:numCache>
                <c:formatCode>General</c:formatCode>
                <c:ptCount val="2"/>
                <c:pt idx="0">
                  <c:v>0.008496664848999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53.341783741836</c:v>
                </c:pt>
                <c:pt idx="53">
                  <c:v>3553.341783741836</c:v>
                </c:pt>
                <c:pt idx="54">
                  <c:v>4208.929843858342</c:v>
                </c:pt>
              </c:numCache>
            </c:numRef>
          </c:xVal>
          <c:yVal>
            <c:numRef>
              <c:f>Sheet1!$B$136:$B$190</c:f>
              <c:numCache>
                <c:formatCode>General</c:formatCode>
                <c:ptCount val="55"/>
                <c:pt idx="0">
                  <c:v>0.007370480993861454</c:v>
                </c:pt>
                <c:pt idx="1">
                  <c:v>0.010970985980558599</c:v>
                </c:pt>
                <c:pt idx="2">
                  <c:v>0.007754165463853754</c:v>
                </c:pt>
                <c:pt idx="3">
                  <c:v>0.011384432335038618</c:v>
                </c:pt>
                <c:pt idx="4">
                  <c:v>0.007149162489265778</c:v>
                </c:pt>
                <c:pt idx="5">
                  <c:v>0.005285481129431384</c:v>
                </c:pt>
                <c:pt idx="6">
                  <c:v>0.006968759079720416</c:v>
                </c:pt>
                <c:pt idx="7">
                  <c:v>0.008555938292576462</c:v>
                </c:pt>
                <c:pt idx="8">
                  <c:v>0.009192401594634945</c:v>
                </c:pt>
                <c:pt idx="9">
                  <c:v>0.009184684402326861</c:v>
                </c:pt>
                <c:pt idx="10">
                  <c:v>0.008146231358643223</c:v>
                </c:pt>
                <c:pt idx="11">
                  <c:v>0.009597555461338145</c:v>
                </c:pt>
                <c:pt idx="12">
                  <c:v>0.010549251712205665</c:v>
                </c:pt>
                <c:pt idx="13">
                  <c:v>0.012578693382344533</c:v>
                </c:pt>
                <c:pt idx="14">
                  <c:v>0.012632188745975315</c:v>
                </c:pt>
                <c:pt idx="15">
                  <c:v>0.01149706624329385</c:v>
                </c:pt>
                <c:pt idx="16">
                  <c:v>0.010856516920415022</c:v>
                </c:pt>
                <c:pt idx="17">
                  <c:v>0.015042911553711036</c:v>
                </c:pt>
                <c:pt idx="18">
                  <c:v>0.009086266187403314</c:v>
                </c:pt>
                <c:pt idx="19">
                  <c:v>0.007830435819654074</c:v>
                </c:pt>
                <c:pt idx="20">
                  <c:v>0.008994562971621468</c:v>
                </c:pt>
                <c:pt idx="21">
                  <c:v>0.010720408212693034</c:v>
                </c:pt>
                <c:pt idx="22">
                  <c:v>0.009597236304488</c:v>
                </c:pt>
                <c:pt idx="23">
                  <c:v>0.014271624302715868</c:v>
                </c:pt>
                <c:pt idx="24">
                  <c:v>0.00963718427296853</c:v>
                </c:pt>
                <c:pt idx="25">
                  <c:v>0.011078614005097364</c:v>
                </c:pt>
                <c:pt idx="26">
                  <c:v>0.009773952131064148</c:v>
                </c:pt>
                <c:pt idx="27">
                  <c:v>0.011191617891357225</c:v>
                </c:pt>
                <c:pt idx="28">
                  <c:v>0.010422105823288112</c:v>
                </c:pt>
                <c:pt idx="29">
                  <c:v>0.011314611691953604</c:v>
                </c:pt>
                <c:pt idx="30">
                  <c:v>0.011695104593444444</c:v>
                </c:pt>
                <c:pt idx="31">
                  <c:v>0.010918557352960392</c:v>
                </c:pt>
                <c:pt idx="32">
                  <c:v>0.008449150849932831</c:v>
                </c:pt>
                <c:pt idx="33">
                  <c:v>0.006339181535882692</c:v>
                </c:pt>
                <c:pt idx="34">
                  <c:v>0.006073481933501022</c:v>
                </c:pt>
                <c:pt idx="35">
                  <c:v>0.009967230063674413</c:v>
                </c:pt>
                <c:pt idx="36">
                  <c:v>0.008418690682782531</c:v>
                </c:pt>
                <c:pt idx="37">
                  <c:v>0.008810586326704489</c:v>
                </c:pt>
                <c:pt idx="38">
                  <c:v>0.01163677308875316</c:v>
                </c:pt>
                <c:pt idx="39">
                  <c:v>0.013712352235776912</c:v>
                </c:pt>
                <c:pt idx="40">
                  <c:v>0.013492995935955786</c:v>
                </c:pt>
                <c:pt idx="41">
                  <c:v>0.012456078707560592</c:v>
                </c:pt>
                <c:pt idx="42">
                  <c:v>0.01325129611556667</c:v>
                </c:pt>
                <c:pt idx="43">
                  <c:v>0.01236540766942627</c:v>
                </c:pt>
                <c:pt idx="44">
                  <c:v>0.009189430589943929</c:v>
                </c:pt>
                <c:pt idx="45">
                  <c:v>0.008686308275534353</c:v>
                </c:pt>
                <c:pt idx="46">
                  <c:v>0.00902456066626598</c:v>
                </c:pt>
                <c:pt idx="47">
                  <c:v>0.009217393405562987</c:v>
                </c:pt>
                <c:pt idx="48">
                  <c:v>0.01151000276816723</c:v>
                </c:pt>
                <c:pt idx="49">
                  <c:v>0.010589477164189665</c:v>
                </c:pt>
                <c:pt idx="50">
                  <c:v>0.00904095201322104</c:v>
                </c:pt>
                <c:pt idx="51">
                  <c:v>0.008475217528278164</c:v>
                </c:pt>
                <c:pt idx="52">
                  <c:v>0.011828439056969127</c:v>
                </c:pt>
                <c:pt idx="53">
                  <c:v>0.011828439056969127</c:v>
                </c:pt>
                <c:pt idx="54">
                  <c:v>0.00849666484899947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142114384748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0.3454668335041528</c:v>
                </c:pt>
                <c:pt idx="2">
                  <c:v>0.0</c:v>
                </c:pt>
                <c:pt idx="3">
                  <c:v>0.5069561207168051</c:v>
                </c:pt>
                <c:pt idx="4">
                  <c:v>0.5346893090677741</c:v>
                </c:pt>
                <c:pt idx="5">
                  <c:v>0.3733965793693212</c:v>
                </c:pt>
                <c:pt idx="6">
                  <c:v>0.24880386189046935</c:v>
                </c:pt>
                <c:pt idx="7">
                  <c:v>0.29667987616503566</c:v>
                </c:pt>
                <c:pt idx="8">
                  <c:v>0.357237490927942</c:v>
                </c:pt>
                <c:pt idx="9">
                  <c:v>0.3065454291471768</c:v>
                </c:pt>
                <c:pt idx="10">
                  <c:v>0.29680793422083607</c:v>
                </c:pt>
                <c:pt idx="11">
                  <c:v>0.35771420452204417</c:v>
                </c:pt>
                <c:pt idx="12">
                  <c:v>0.29425306958062813</c:v>
                </c:pt>
                <c:pt idx="13">
                  <c:v>0.2919974220408614</c:v>
                </c:pt>
                <c:pt idx="14">
                  <c:v>0.2765471717694003</c:v>
                </c:pt>
                <c:pt idx="15">
                  <c:v>0.27159138499410895</c:v>
                </c:pt>
                <c:pt idx="16">
                  <c:v>0.24173859124842292</c:v>
                </c:pt>
                <c:pt idx="17">
                  <c:v>0.19088538997326815</c:v>
                </c:pt>
                <c:pt idx="18">
                  <c:v>0.15546038475429808</c:v>
                </c:pt>
                <c:pt idx="19">
                  <c:v>0.19905840503383232</c:v>
                </c:pt>
                <c:pt idx="20">
                  <c:v>0.19425665661597677</c:v>
                </c:pt>
                <c:pt idx="21">
                  <c:v>0.17935575789968597</c:v>
                </c:pt>
                <c:pt idx="22">
                  <c:v>0.08927956468822955</c:v>
                </c:pt>
                <c:pt idx="23">
                  <c:v>0.11948570095425519</c:v>
                </c:pt>
                <c:pt idx="24">
                  <c:v>0.4401042115095205</c:v>
                </c:pt>
                <c:pt idx="25">
                  <c:v>0.4827108331083422</c:v>
                </c:pt>
                <c:pt idx="26">
                  <c:v>0.47882547372598666</c:v>
                </c:pt>
                <c:pt idx="27">
                  <c:v>0.32784841688911603</c:v>
                </c:pt>
                <c:pt idx="28">
                  <c:v>0.5003390855921259</c:v>
                </c:pt>
                <c:pt idx="29">
                  <c:v>0.4822566125358143</c:v>
                </c:pt>
                <c:pt idx="30">
                  <c:v>0.4952732713053359</c:v>
                </c:pt>
                <c:pt idx="31">
                  <c:v>0.49922806871219405</c:v>
                </c:pt>
                <c:pt idx="32">
                  <c:v>0.5816014882660694</c:v>
                </c:pt>
                <c:pt idx="33">
                  <c:v>0.6435065027073079</c:v>
                </c:pt>
                <c:pt idx="34">
                  <c:v>0.5430382048394901</c:v>
                </c:pt>
                <c:pt idx="35">
                  <c:v>0.7831933599594428</c:v>
                </c:pt>
                <c:pt idx="36">
                  <c:v>0.8058671283127672</c:v>
                </c:pt>
                <c:pt idx="37">
                  <c:v>0.5878401285552063</c:v>
                </c:pt>
                <c:pt idx="38">
                  <c:v>0.5637242669111997</c:v>
                </c:pt>
                <c:pt idx="39">
                  <c:v>0.7141704877242043</c:v>
                </c:pt>
                <c:pt idx="40">
                  <c:v>0.5853563101523703</c:v>
                </c:pt>
                <c:pt idx="41">
                  <c:v>0.7237693939829144</c:v>
                </c:pt>
                <c:pt idx="42">
                  <c:v>0.6837671965786598</c:v>
                </c:pt>
                <c:pt idx="43">
                  <c:v>0.741446844143193</c:v>
                </c:pt>
                <c:pt idx="44">
                  <c:v>0.7663878588589415</c:v>
                </c:pt>
                <c:pt idx="45">
                  <c:v>0.5664912391272241</c:v>
                </c:pt>
                <c:pt idx="46">
                  <c:v>0.5616009993587606</c:v>
                </c:pt>
                <c:pt idx="47">
                  <c:v>0.5800068999865249</c:v>
                </c:pt>
                <c:pt idx="48">
                  <c:v>0.6023842696955781</c:v>
                </c:pt>
                <c:pt idx="49">
                  <c:v>0.6985587143713577</c:v>
                </c:pt>
                <c:pt idx="50">
                  <c:v>0.6171516759047192</c:v>
                </c:pt>
                <c:pt idx="51">
                  <c:v>0.5816679516286232</c:v>
                </c:pt>
                <c:pt idx="52">
                  <c:v>0.6790086008591246</c:v>
                </c:pt>
                <c:pt idx="53">
                  <c:v>0.721884424633431</c:v>
                </c:pt>
              </c:numCache>
            </c:numRef>
          </c:xVal>
          <c:yVal>
            <c:numRef>
              <c:f>Sheet1!$B$2:$B$55</c:f>
              <c:numCache>
                <c:formatCode>General</c:formatCode>
                <c:ptCount val="54"/>
                <c:pt idx="0">
                  <c:v>0.0</c:v>
                </c:pt>
                <c:pt idx="1">
                  <c:v>9.313588525658937e-05</c:v>
                </c:pt>
                <c:pt idx="2">
                  <c:v>0.0</c:v>
                </c:pt>
                <c:pt idx="3">
                  <c:v>0.0001316829075585989</c:v>
                </c:pt>
                <c:pt idx="4">
                  <c:v>0.00013349352556401014</c:v>
                </c:pt>
                <c:pt idx="5">
                  <c:v>0.0002865740077374982</c:v>
                </c:pt>
                <c:pt idx="6">
                  <c:v>0.00024061597690086623</c:v>
                </c:pt>
                <c:pt idx="7">
                  <c:v>0.0003185051491665782</c:v>
                </c:pt>
                <c:pt idx="8">
                  <c:v>0.00040785806539324316</c:v>
                </c:pt>
                <c:pt idx="9">
                  <c:v>0.0008953219428486159</c:v>
                </c:pt>
                <c:pt idx="10">
                  <c:v>0.0010504201680672268</c:v>
                </c:pt>
                <c:pt idx="11">
                  <c:v>0.0007823960880195599</c:v>
                </c:pt>
                <c:pt idx="12">
                  <c:v>0.0009771697610375767</c:v>
                </c:pt>
                <c:pt idx="13">
                  <c:v>0.0009279568078285811</c:v>
                </c:pt>
                <c:pt idx="14">
                  <c:v>0.001028133470417796</c:v>
                </c:pt>
                <c:pt idx="15">
                  <c:v>0.0009663703131039815</c:v>
                </c:pt>
                <c:pt idx="16">
                  <c:v>0.0010564124234100994</c:v>
                </c:pt>
                <c:pt idx="17">
                  <c:v>0.0017344896597731821</c:v>
                </c:pt>
                <c:pt idx="18">
                  <c:v>0.002054794520547945</c:v>
                </c:pt>
                <c:pt idx="19">
                  <c:v>0.001324722636198046</c:v>
                </c:pt>
                <c:pt idx="20">
                  <c:v>0.0018786398647379298</c:v>
                </c:pt>
                <c:pt idx="21">
                  <c:v>0.0019017980636237897</c:v>
                </c:pt>
                <c:pt idx="22">
                  <c:v>0.0029205607476635513</c:v>
                </c:pt>
                <c:pt idx="23">
                  <c:v>0.0027100271002710027</c:v>
                </c:pt>
                <c:pt idx="24">
                  <c:v>0.0024321037697608433</c:v>
                </c:pt>
                <c:pt idx="25">
                  <c:v>0.0035374751271280125</c:v>
                </c:pt>
                <c:pt idx="26">
                  <c:v>0.004714757190004715</c:v>
                </c:pt>
                <c:pt idx="27">
                  <c:v>0.006237006237006237</c:v>
                </c:pt>
                <c:pt idx="28">
                  <c:v>0.004740459824602986</c:v>
                </c:pt>
                <c:pt idx="29">
                  <c:v>0.004390018484288355</c:v>
                </c:pt>
                <c:pt idx="30">
                  <c:v>0.005517503805175038</c:v>
                </c:pt>
                <c:pt idx="31">
                  <c:v>0.006039255158530448</c:v>
                </c:pt>
                <c:pt idx="32">
                  <c:v>0.005433228481555619</c:v>
                </c:pt>
                <c:pt idx="33">
                  <c:v>0.005368748233964397</c:v>
                </c:pt>
                <c:pt idx="34">
                  <c:v>0.005888125613346418</c:v>
                </c:pt>
                <c:pt idx="35">
                  <c:v>0.004975124378109453</c:v>
                </c:pt>
                <c:pt idx="36">
                  <c:v>0.0043534343760077395</c:v>
                </c:pt>
                <c:pt idx="37">
                  <c:v>0.006612627986348123</c:v>
                </c:pt>
                <c:pt idx="38">
                  <c:v>0.00870195794053662</c:v>
                </c:pt>
                <c:pt idx="39">
                  <c:v>0.007761642463695543</c:v>
                </c:pt>
                <c:pt idx="40">
                  <c:v>0.008776328986960883</c:v>
                </c:pt>
                <c:pt idx="41">
                  <c:v>0.006531069229333831</c:v>
                </c:pt>
                <c:pt idx="42">
                  <c:v>0.006497022198159177</c:v>
                </c:pt>
                <c:pt idx="43">
                  <c:v>0.00613132911392405</c:v>
                </c:pt>
                <c:pt idx="44">
                  <c:v>0.006536897152818129</c:v>
                </c:pt>
                <c:pt idx="45">
                  <c:v>0.008605163097858715</c:v>
                </c:pt>
                <c:pt idx="46">
                  <c:v>0.009656925031766201</c:v>
                </c:pt>
                <c:pt idx="47">
                  <c:v>0.009123421648054887</c:v>
                </c:pt>
                <c:pt idx="48">
                  <c:v>0.008297460852205377</c:v>
                </c:pt>
                <c:pt idx="49">
                  <c:v>0.0065237651444548</c:v>
                </c:pt>
                <c:pt idx="50">
                  <c:v>0.00939318370739817</c:v>
                </c:pt>
                <c:pt idx="51">
                  <c:v>0.008766662663624355</c:v>
                </c:pt>
                <c:pt idx="52">
                  <c:v>0.007103393843725336</c:v>
                </c:pt>
                <c:pt idx="53">
                  <c:v>0.0060110603510459245</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0.720809439364852</c:v>
                </c:pt>
                <c:pt idx="1">
                  <c:v>0.5867947199122313</c:v>
                </c:pt>
                <c:pt idx="2">
                  <c:v>0.7158589633852441</c:v>
                </c:pt>
                <c:pt idx="3">
                  <c:v>0.6933988681094442</c:v>
                </c:pt>
                <c:pt idx="4">
                  <c:v>0.8143499721653196</c:v>
                </c:pt>
                <c:pt idx="5">
                  <c:v>0.897544168982673</c:v>
                </c:pt>
                <c:pt idx="6">
                  <c:v>0.7869767462152611</c:v>
                </c:pt>
                <c:pt idx="7">
                  <c:v>0.68233648118595</c:v>
                </c:pt>
                <c:pt idx="8">
                  <c:v>0.6500412115348366</c:v>
                </c:pt>
                <c:pt idx="9">
                  <c:v>0.695352149054248</c:v>
                </c:pt>
                <c:pt idx="10">
                  <c:v>0.777270218807858</c:v>
                </c:pt>
                <c:pt idx="11">
                  <c:v>0.733209230021725</c:v>
                </c:pt>
                <c:pt idx="12">
                  <c:v>0.6393717240572522</c:v>
                </c:pt>
                <c:pt idx="13">
                  <c:v>0.574370799341196</c:v>
                </c:pt>
                <c:pt idx="14">
                  <c:v>0.5391904929131845</c:v>
                </c:pt>
                <c:pt idx="15">
                  <c:v>0.5729634299862535</c:v>
                </c:pt>
                <c:pt idx="16">
                  <c:v>0.5629922630735413</c:v>
                </c:pt>
                <c:pt idx="17">
                  <c:v>0.4208354870372538</c:v>
                </c:pt>
                <c:pt idx="18">
                  <c:v>0.589744120656231</c:v>
                </c:pt>
                <c:pt idx="19">
                  <c:v>0.628950412895816</c:v>
                </c:pt>
                <c:pt idx="20">
                  <c:v>0.577858724720187</c:v>
                </c:pt>
                <c:pt idx="21">
                  <c:v>0.538103997510723</c:v>
                </c:pt>
                <c:pt idx="22">
                  <c:v>0.6661908262592753</c:v>
                </c:pt>
                <c:pt idx="23">
                  <c:v>0.4467796141118844</c:v>
                </c:pt>
                <c:pt idx="24">
                  <c:v>0.5393928870171278</c:v>
                </c:pt>
                <c:pt idx="25">
                  <c:v>0.5018079348076636</c:v>
                </c:pt>
                <c:pt idx="26">
                  <c:v>0.6387181738366988</c:v>
                </c:pt>
                <c:pt idx="27">
                  <c:v>0.5680257095210154</c:v>
                </c:pt>
                <c:pt idx="28">
                  <c:v>0.582646221571008</c:v>
                </c:pt>
                <c:pt idx="29">
                  <c:v>0.5344719929234849</c:v>
                </c:pt>
                <c:pt idx="30">
                  <c:v>0.5405723052561695</c:v>
                </c:pt>
                <c:pt idx="31">
                  <c:v>0.5827535857771806</c:v>
                </c:pt>
                <c:pt idx="32">
                  <c:v>0.5975690803932509</c:v>
                </c:pt>
                <c:pt idx="33">
                  <c:v>0.566632669595551</c:v>
                </c:pt>
                <c:pt idx="34">
                  <c:v>0.6062983954907902</c:v>
                </c:pt>
                <c:pt idx="35">
                  <c:v>0.5355443819725776</c:v>
                </c:pt>
                <c:pt idx="36">
                  <c:v>0.507096838691805</c:v>
                </c:pt>
                <c:pt idx="37">
                  <c:v>0.5240459645007243</c:v>
                </c:pt>
                <c:pt idx="38">
                  <c:v>0.4481889154799933</c:v>
                </c:pt>
                <c:pt idx="39">
                  <c:v>0.42022725077011586</c:v>
                </c:pt>
                <c:pt idx="40">
                  <c:v>0.49175339845522686</c:v>
                </c:pt>
                <c:pt idx="41">
                  <c:v>0.5258179129237337</c:v>
                </c:pt>
                <c:pt idx="42">
                  <c:v>0.5125048379520901</c:v>
                </c:pt>
                <c:pt idx="43">
                  <c:v>0.506390543903562</c:v>
                </c:pt>
                <c:pt idx="44">
                  <c:v>0.6066701737589701</c:v>
                </c:pt>
                <c:pt idx="45">
                  <c:v>0.6772597159882695</c:v>
                </c:pt>
                <c:pt idx="46">
                  <c:v>0.6296166869772125</c:v>
                </c:pt>
                <c:pt idx="47">
                  <c:v>0.6901807257590524</c:v>
                </c:pt>
                <c:pt idx="48">
                  <c:v>0.8701758303850191</c:v>
                </c:pt>
                <c:pt idx="49">
                  <c:v>0.6977934716192314</c:v>
                </c:pt>
                <c:pt idx="50">
                  <c:v>0.7480524214095937</c:v>
                </c:pt>
                <c:pt idx="51">
                  <c:v>0.7831274151455055</c:v>
                </c:pt>
              </c:numCache>
            </c:numRef>
          </c:xVal>
          <c:yVal>
            <c:numRef>
              <c:f>Sheet1!$B$58:$B$109</c:f>
              <c:numCache>
                <c:formatCode>General</c:formatCode>
                <c:ptCount val="52"/>
                <c:pt idx="0">
                  <c:v>0.006063278580090398</c:v>
                </c:pt>
                <c:pt idx="1">
                  <c:v>0.007647958583362749</c:v>
                </c:pt>
                <c:pt idx="2">
                  <c:v>0.0066518847006651885</c:v>
                </c:pt>
                <c:pt idx="3">
                  <c:v>0.007533744899026891</c:v>
                </c:pt>
                <c:pt idx="4">
                  <c:v>0.0071950288891311455</c:v>
                </c:pt>
                <c:pt idx="5">
                  <c:v>0.006082595240636005</c:v>
                </c:pt>
                <c:pt idx="6">
                  <c:v>0.00642843637738703</c:v>
                </c:pt>
                <c:pt idx="7">
                  <c:v>0.007775042114811455</c:v>
                </c:pt>
                <c:pt idx="8">
                  <c:v>0.00978768257792501</c:v>
                </c:pt>
                <c:pt idx="9">
                  <c:v>0.009606277905560817</c:v>
                </c:pt>
                <c:pt idx="10">
                  <c:v>0.009107708553326294</c:v>
                </c:pt>
                <c:pt idx="11">
                  <c:v>0.008787823881137887</c:v>
                </c:pt>
                <c:pt idx="12">
                  <c:v>0.00942486880154225</c:v>
                </c:pt>
                <c:pt idx="13">
                  <c:v>0.014613282642271594</c:v>
                </c:pt>
                <c:pt idx="14">
                  <c:v>0.014304123711340206</c:v>
                </c:pt>
                <c:pt idx="15">
                  <c:v>0.01403260099220411</c:v>
                </c:pt>
                <c:pt idx="16">
                  <c:v>0.01363711957425578</c:v>
                </c:pt>
                <c:pt idx="17">
                  <c:v>0.017850953206239167</c:v>
                </c:pt>
                <c:pt idx="18">
                  <c:v>0.009318001586042823</c:v>
                </c:pt>
                <c:pt idx="19">
                  <c:v>0.008838891120932101</c:v>
                </c:pt>
                <c:pt idx="20">
                  <c:v>0.011400651465798045</c:v>
                </c:pt>
                <c:pt idx="21">
                  <c:v>0.012847404299947561</c:v>
                </c:pt>
                <c:pt idx="22">
                  <c:v>0.011157239231966787</c:v>
                </c:pt>
                <c:pt idx="23">
                  <c:v>0.012285012285012284</c:v>
                </c:pt>
                <c:pt idx="24">
                  <c:v>0.01092479674796748</c:v>
                </c:pt>
                <c:pt idx="25">
                  <c:v>0.011283127787982157</c:v>
                </c:pt>
                <c:pt idx="26">
                  <c:v>0.0112079701120797</c:v>
                </c:pt>
                <c:pt idx="27">
                  <c:v>0.011976047904191617</c:v>
                </c:pt>
                <c:pt idx="28">
                  <c:v>0.009570352270413357</c:v>
                </c:pt>
                <c:pt idx="29">
                  <c:v>0.01171193620732619</c:v>
                </c:pt>
                <c:pt idx="30">
                  <c:v>0.011421319796954314</c:v>
                </c:pt>
                <c:pt idx="31">
                  <c:v>0.012285012285012284</c:v>
                </c:pt>
                <c:pt idx="32">
                  <c:v>0.01033902380379899</c:v>
                </c:pt>
                <c:pt idx="33">
                  <c:v>0.007940804908861216</c:v>
                </c:pt>
                <c:pt idx="34">
                  <c:v>0.0074721556464119555</c:v>
                </c:pt>
                <c:pt idx="35">
                  <c:v>0.010269121813031162</c:v>
                </c:pt>
                <c:pt idx="36">
                  <c:v>0.012914587613736424</c:v>
                </c:pt>
                <c:pt idx="37">
                  <c:v>0.013386880856760375</c:v>
                </c:pt>
                <c:pt idx="38">
                  <c:v>0.0164183642444512</c:v>
                </c:pt>
                <c:pt idx="39">
                  <c:v>0.015067582539330823</c:v>
                </c:pt>
                <c:pt idx="40">
                  <c:v>0.013651137594799566</c:v>
                </c:pt>
                <c:pt idx="41">
                  <c:v>0.011461894228835713</c:v>
                </c:pt>
                <c:pt idx="42">
                  <c:v>0.013073394495412845</c:v>
                </c:pt>
                <c:pt idx="43">
                  <c:v>0.010628875110717449</c:v>
                </c:pt>
                <c:pt idx="44">
                  <c:v>0.007437070938215103</c:v>
                </c:pt>
                <c:pt idx="45">
                  <c:v>0.005685785536159601</c:v>
                </c:pt>
                <c:pt idx="46">
                  <c:v>0.006071019473081329</c:v>
                </c:pt>
                <c:pt idx="47">
                  <c:v>0.00546222817685252</c:v>
                </c:pt>
                <c:pt idx="48">
                  <c:v>0.006094980106662152</c:v>
                </c:pt>
                <c:pt idx="49">
                  <c:v>0.005474018246727489</c:v>
                </c:pt>
                <c:pt idx="50">
                  <c:v>0.004465726891208437</c:v>
                </c:pt>
                <c:pt idx="51">
                  <c:v>0.005882929698990097</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0.5359317254513465</c:v>
                </c:pt>
              </c:numCache>
            </c:numRef>
          </c:xVal>
          <c:yVal>
            <c:numRef>
              <c:f>Sheet1!$B$112:$B$113</c:f>
              <c:numCache>
                <c:formatCode>General</c:formatCode>
                <c:ptCount val="2"/>
                <c:pt idx="0">
                  <c:v>0.011828439056969127</c:v>
                </c:pt>
                <c:pt idx="1">
                  <c:v>0.011828439056969127</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0.5359317254513465</c:v>
                </c:pt>
                <c:pt idx="1">
                  <c:v>0.5359317254513465</c:v>
                </c:pt>
              </c:numCache>
            </c:numRef>
          </c:xVal>
          <c:yVal>
            <c:numRef>
              <c:f>Sheet1!$B$116:$B$117</c:f>
              <c:numCache>
                <c:formatCode>General</c:formatCode>
                <c:ptCount val="2"/>
                <c:pt idx="0">
                  <c:v>0.01182843905696912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0.5359317254513465</c:v>
                </c:pt>
              </c:numCache>
            </c:numRef>
          </c:xVal>
          <c:yVal>
            <c:numRef>
              <c:f>Sheet1!$B$120:$B$121</c:f>
              <c:numCache>
                <c:formatCode>General</c:formatCode>
                <c:ptCount val="2"/>
                <c:pt idx="0">
                  <c:v>0.011828439056969127</c:v>
                </c:pt>
                <c:pt idx="1">
                  <c:v>0.011828439056969127</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0.5359317254513465</c:v>
                </c:pt>
                <c:pt idx="1">
                  <c:v>0.5359317254513465</c:v>
                </c:pt>
              </c:numCache>
            </c:numRef>
          </c:xVal>
          <c:yVal>
            <c:numRef>
              <c:f>Sheet1!$B$124:$B$125</c:f>
              <c:numCache>
                <c:formatCode>General</c:formatCode>
                <c:ptCount val="2"/>
                <c:pt idx="0">
                  <c:v>0.01182843905696912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0.6817700227799758</c:v>
                </c:pt>
              </c:numCache>
            </c:numRef>
          </c:xVal>
          <c:yVal>
            <c:numRef>
              <c:f>Sheet1!$B$128:$B$129</c:f>
              <c:numCache>
                <c:formatCode>General</c:formatCode>
                <c:ptCount val="2"/>
                <c:pt idx="0">
                  <c:v>0.00849666484899947</c:v>
                </c:pt>
                <c:pt idx="1">
                  <c:v>0.00849666484899947</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0.6817700227799758</c:v>
                </c:pt>
                <c:pt idx="1">
                  <c:v>0.6817700227799758</c:v>
                </c:pt>
              </c:numCache>
            </c:numRef>
          </c:xVal>
          <c:yVal>
            <c:numRef>
              <c:f>Sheet1!$B$132:$B$133</c:f>
              <c:numCache>
                <c:formatCode>General</c:formatCode>
                <c:ptCount val="2"/>
                <c:pt idx="0">
                  <c:v>0.008496664848999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0.720809439364852</c:v>
                </c:pt>
                <c:pt idx="1">
                  <c:v>0.5867947199122313</c:v>
                </c:pt>
                <c:pt idx="2">
                  <c:v>0.7158589633852441</c:v>
                </c:pt>
                <c:pt idx="3">
                  <c:v>0.6933988681094442</c:v>
                </c:pt>
                <c:pt idx="4">
                  <c:v>0.8143499721653196</c:v>
                </c:pt>
                <c:pt idx="5">
                  <c:v>0.897544168982673</c:v>
                </c:pt>
                <c:pt idx="6">
                  <c:v>0.7869767462152611</c:v>
                </c:pt>
                <c:pt idx="7">
                  <c:v>0.68233648118595</c:v>
                </c:pt>
                <c:pt idx="8">
                  <c:v>0.6500412115348366</c:v>
                </c:pt>
                <c:pt idx="9">
                  <c:v>0.695352149054248</c:v>
                </c:pt>
                <c:pt idx="10">
                  <c:v>0.777270218807858</c:v>
                </c:pt>
                <c:pt idx="11">
                  <c:v>0.733209230021725</c:v>
                </c:pt>
                <c:pt idx="12">
                  <c:v>0.6393717240572522</c:v>
                </c:pt>
                <c:pt idx="13">
                  <c:v>0.574370799341196</c:v>
                </c:pt>
                <c:pt idx="14">
                  <c:v>0.5391904929131845</c:v>
                </c:pt>
                <c:pt idx="15">
                  <c:v>0.5729634299862535</c:v>
                </c:pt>
                <c:pt idx="16">
                  <c:v>0.5629922630735413</c:v>
                </c:pt>
                <c:pt idx="17">
                  <c:v>0.4208354870372538</c:v>
                </c:pt>
                <c:pt idx="18">
                  <c:v>0.589744120656231</c:v>
                </c:pt>
                <c:pt idx="19">
                  <c:v>0.628950412895816</c:v>
                </c:pt>
                <c:pt idx="20">
                  <c:v>0.577858724720187</c:v>
                </c:pt>
                <c:pt idx="21">
                  <c:v>0.538103997510723</c:v>
                </c:pt>
                <c:pt idx="22">
                  <c:v>0.6661908262592753</c:v>
                </c:pt>
                <c:pt idx="23">
                  <c:v>0.4467796141118844</c:v>
                </c:pt>
                <c:pt idx="24">
                  <c:v>0.5393928870171278</c:v>
                </c:pt>
                <c:pt idx="25">
                  <c:v>0.5018079348076636</c:v>
                </c:pt>
                <c:pt idx="26">
                  <c:v>0.6387181738366988</c:v>
                </c:pt>
                <c:pt idx="27">
                  <c:v>0.5680257095210154</c:v>
                </c:pt>
                <c:pt idx="28">
                  <c:v>0.582646221571008</c:v>
                </c:pt>
                <c:pt idx="29">
                  <c:v>0.5344719929234849</c:v>
                </c:pt>
                <c:pt idx="30">
                  <c:v>0.5405723052561695</c:v>
                </c:pt>
                <c:pt idx="31">
                  <c:v>0.5827535857771806</c:v>
                </c:pt>
                <c:pt idx="32">
                  <c:v>0.5975690803932509</c:v>
                </c:pt>
                <c:pt idx="33">
                  <c:v>0.566632669595551</c:v>
                </c:pt>
                <c:pt idx="34">
                  <c:v>0.6062983954907902</c:v>
                </c:pt>
                <c:pt idx="35">
                  <c:v>0.5355443819725776</c:v>
                </c:pt>
                <c:pt idx="36">
                  <c:v>0.507096838691805</c:v>
                </c:pt>
                <c:pt idx="37">
                  <c:v>0.5240459645007243</c:v>
                </c:pt>
                <c:pt idx="38">
                  <c:v>0.4481889154799933</c:v>
                </c:pt>
                <c:pt idx="39">
                  <c:v>0.42022725077011586</c:v>
                </c:pt>
                <c:pt idx="40">
                  <c:v>0.49175339845522686</c:v>
                </c:pt>
                <c:pt idx="41">
                  <c:v>0.5258179129237337</c:v>
                </c:pt>
                <c:pt idx="42">
                  <c:v>0.5125048379520901</c:v>
                </c:pt>
                <c:pt idx="43">
                  <c:v>0.506390543903562</c:v>
                </c:pt>
                <c:pt idx="44">
                  <c:v>0.6066701737589701</c:v>
                </c:pt>
                <c:pt idx="45">
                  <c:v>0.6772597159882695</c:v>
                </c:pt>
                <c:pt idx="46">
                  <c:v>0.6296166869772125</c:v>
                </c:pt>
                <c:pt idx="47">
                  <c:v>0.6901807257590524</c:v>
                </c:pt>
                <c:pt idx="48">
                  <c:v>0.8701758303850191</c:v>
                </c:pt>
                <c:pt idx="49">
                  <c:v>0.6977934716192314</c:v>
                </c:pt>
                <c:pt idx="50">
                  <c:v>0.7480524214095937</c:v>
                </c:pt>
                <c:pt idx="51">
                  <c:v>0.7831274151455055</c:v>
                </c:pt>
                <c:pt idx="52">
                  <c:v>0.5359317254513465</c:v>
                </c:pt>
                <c:pt idx="53">
                  <c:v>0.5359317254513465</c:v>
                </c:pt>
                <c:pt idx="54">
                  <c:v>0.6817700227799758</c:v>
                </c:pt>
              </c:numCache>
            </c:numRef>
          </c:xVal>
          <c:yVal>
            <c:numRef>
              <c:f>Sheet1!$B$136:$B$190</c:f>
              <c:numCache>
                <c:formatCode>General</c:formatCode>
                <c:ptCount val="55"/>
                <c:pt idx="0">
                  <c:v>0.00760478306174454</c:v>
                </c:pt>
                <c:pt idx="1">
                  <c:v>0.010666439663195264</c:v>
                </c:pt>
                <c:pt idx="2">
                  <c:v>0.007717880022475396</c:v>
                </c:pt>
                <c:pt idx="3">
                  <c:v>0.008230996038769981</c:v>
                </c:pt>
                <c:pt idx="4">
                  <c:v>0.005467786536873864</c:v>
                </c:pt>
                <c:pt idx="5">
                  <c:v>0.0035671590317117065</c:v>
                </c:pt>
                <c:pt idx="6">
                  <c:v>0.006093146335225175</c:v>
                </c:pt>
                <c:pt idx="7">
                  <c:v>0.008483723724881298</c:v>
                </c:pt>
                <c:pt idx="8">
                  <c:v>0.009221530929394525</c:v>
                </c:pt>
                <c:pt idx="9">
                  <c:v>0.008186372018934154</c:v>
                </c:pt>
                <c:pt idx="10">
                  <c:v>0.006314898496744603</c:v>
                </c:pt>
                <c:pt idx="11">
                  <c:v>0.00732150148583792</c:v>
                </c:pt>
                <c:pt idx="12">
                  <c:v>0.009465282562821562</c:v>
                </c:pt>
                <c:pt idx="13">
                  <c:v>0.010950272503256224</c:v>
                </c:pt>
                <c:pt idx="14">
                  <c:v>0.011753990317659887</c:v>
                </c:pt>
                <c:pt idx="15">
                  <c:v>0.010982424804838008</c:v>
                </c:pt>
                <c:pt idx="16">
                  <c:v>0.011210222834242271</c:v>
                </c:pt>
                <c:pt idx="17">
                  <c:v>0.014457890206678356</c:v>
                </c:pt>
                <c:pt idx="18">
                  <c:v>0.010599058615090449</c:v>
                </c:pt>
                <c:pt idx="19">
                  <c:v>0.009703364441017511</c:v>
                </c:pt>
                <c:pt idx="20">
                  <c:v>0.010870588496860711</c:v>
                </c:pt>
                <c:pt idx="21">
                  <c:v>0.011778812037505132</c:v>
                </c:pt>
                <c:pt idx="22">
                  <c:v>0.00885258209501336</c:v>
                </c:pt>
                <c:pt idx="23">
                  <c:v>0.013865179135451577</c:v>
                </c:pt>
                <c:pt idx="24">
                  <c:v>0.011749366487927125</c:v>
                </c:pt>
                <c:pt idx="25">
                  <c:v>0.012608020056112211</c:v>
                </c:pt>
                <c:pt idx="26">
                  <c:v>0.009480213358149938</c:v>
                </c:pt>
                <c:pt idx="27">
                  <c:v>0.011095230357244953</c:v>
                </c:pt>
                <c:pt idx="28">
                  <c:v>0.01076121490418664</c:v>
                </c:pt>
                <c:pt idx="29">
                  <c:v>0.011861787630532793</c:v>
                </c:pt>
                <c:pt idx="30">
                  <c:v>0.011722421883243534</c:v>
                </c:pt>
                <c:pt idx="31">
                  <c:v>0.010758762096525433</c:v>
                </c:pt>
                <c:pt idx="32">
                  <c:v>0.01042029213531281</c:v>
                </c:pt>
                <c:pt idx="33">
                  <c:v>0.011127055293351245</c:v>
                </c:pt>
                <c:pt idx="34">
                  <c:v>0.010220865047723572</c:v>
                </c:pt>
                <c:pt idx="35">
                  <c:v>0.011837288179838956</c:v>
                </c:pt>
                <c:pt idx="36">
                  <c:v>0.01248719148177755</c:v>
                </c:pt>
                <c:pt idx="37">
                  <c:v>0.012099977277743474</c:v>
                </c:pt>
                <c:pt idx="38">
                  <c:v>0.013832982695726689</c:v>
                </c:pt>
                <c:pt idx="39">
                  <c:v>0.014471785774196095</c:v>
                </c:pt>
                <c:pt idx="40">
                  <c:v>0.01283772271656398</c:v>
                </c:pt>
                <c:pt idx="41">
                  <c:v>0.012059495921599196</c:v>
                </c:pt>
                <c:pt idx="42">
                  <c:v>0.012363642093296039</c:v>
                </c:pt>
                <c:pt idx="43">
                  <c:v>0.012503327262308427</c:v>
                </c:pt>
                <c:pt idx="44">
                  <c:v>0.010212371522581722</c:v>
                </c:pt>
                <c:pt idx="45">
                  <c:v>0.008599705847927035</c:v>
                </c:pt>
                <c:pt idx="46">
                  <c:v>0.009688142960511377</c:v>
                </c:pt>
                <c:pt idx="47">
                  <c:v>0.008304516670023986</c:v>
                </c:pt>
                <c:pt idx="48">
                  <c:v>0.00419240717520291</c:v>
                </c:pt>
                <c:pt idx="49">
                  <c:v>0.008130598359310185</c:v>
                </c:pt>
                <c:pt idx="50">
                  <c:v>0.006982398773203946</c:v>
                </c:pt>
                <c:pt idx="51">
                  <c:v>0.00618108689823962</c:v>
                </c:pt>
                <c:pt idx="52">
                  <c:v>0.011828439056969129</c:v>
                </c:pt>
                <c:pt idx="53">
                  <c:v>0.011828439056969129</c:v>
                </c:pt>
                <c:pt idx="54">
                  <c:v>0.00849666484899946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oreal Pari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142114384748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82.0378</c:v>
                </c:pt>
                <c:pt idx="1">
                  <c:v>927.6933</c:v>
                </c:pt>
                <c:pt idx="2">
                  <c:v>941.5266</c:v>
                </c:pt>
                <c:pt idx="3">
                  <c:v>948.004</c:v>
                </c:pt>
                <c:pt idx="4">
                  <c:v>913.6714</c:v>
                </c:pt>
                <c:pt idx="5">
                  <c:v>895.0646</c:v>
                </c:pt>
                <c:pt idx="6">
                  <c:v>894.7375</c:v>
                </c:pt>
                <c:pt idx="7">
                  <c:v>888.0266</c:v>
                </c:pt>
                <c:pt idx="8">
                  <c:v>893.3369</c:v>
                </c:pt>
                <c:pt idx="9">
                  <c:v>845.0579</c:v>
                </c:pt>
                <c:pt idx="10">
                  <c:v>807.3767</c:v>
                </c:pt>
                <c:pt idx="11">
                  <c:v>797.7624</c:v>
                </c:pt>
                <c:pt idx="12">
                  <c:v>816.9945</c:v>
                </c:pt>
                <c:pt idx="13">
                  <c:v>805.4152</c:v>
                </c:pt>
                <c:pt idx="14">
                  <c:v>933.3739</c:v>
                </c:pt>
                <c:pt idx="15">
                  <c:v>946.1685</c:v>
                </c:pt>
                <c:pt idx="16">
                  <c:v>944.0241</c:v>
                </c:pt>
                <c:pt idx="17">
                  <c:v>954.6969</c:v>
                </c:pt>
                <c:pt idx="18">
                  <c:v>983.6931</c:v>
                </c:pt>
                <c:pt idx="19">
                  <c:v>987.9647</c:v>
                </c:pt>
                <c:pt idx="20">
                  <c:v>998.0991</c:v>
                </c:pt>
                <c:pt idx="21">
                  <c:v>1004.0141</c:v>
                </c:pt>
                <c:pt idx="22">
                  <c:v>1016.0922</c:v>
                </c:pt>
                <c:pt idx="23">
                  <c:v>1025.019</c:v>
                </c:pt>
                <c:pt idx="24">
                  <c:v>1028.2318</c:v>
                </c:pt>
                <c:pt idx="25">
                  <c:v>1020.0103</c:v>
                </c:pt>
                <c:pt idx="26">
                  <c:v>1024.9627</c:v>
                </c:pt>
                <c:pt idx="27">
                  <c:v>1027.5</c:v>
                </c:pt>
                <c:pt idx="28">
                  <c:v>1031.9043</c:v>
                </c:pt>
                <c:pt idx="29">
                  <c:v>1058.1382</c:v>
                </c:pt>
                <c:pt idx="30">
                  <c:v>1054.2462</c:v>
                </c:pt>
                <c:pt idx="31">
                  <c:v>1054.9671</c:v>
                </c:pt>
                <c:pt idx="32">
                  <c:v>1042.1688</c:v>
                </c:pt>
                <c:pt idx="33">
                  <c:v>1054.2434</c:v>
                </c:pt>
                <c:pt idx="34">
                  <c:v>1019.7664</c:v>
                </c:pt>
                <c:pt idx="35">
                  <c:v>1023.0399</c:v>
                </c:pt>
                <c:pt idx="36">
                  <c:v>1050.6236</c:v>
                </c:pt>
                <c:pt idx="37">
                  <c:v>1066.4357</c:v>
                </c:pt>
                <c:pt idx="38">
                  <c:v>1076.2603</c:v>
                </c:pt>
                <c:pt idx="39">
                  <c:v>1133.355</c:v>
                </c:pt>
                <c:pt idx="40">
                  <c:v>1144.8118</c:v>
                </c:pt>
                <c:pt idx="41">
                  <c:v>1160.1727</c:v>
                </c:pt>
                <c:pt idx="42">
                  <c:v>1169.0579</c:v>
                </c:pt>
                <c:pt idx="43">
                  <c:v>1172.5528</c:v>
                </c:pt>
                <c:pt idx="44">
                  <c:v>1195.1173</c:v>
                </c:pt>
                <c:pt idx="45">
                  <c:v>1188.4443</c:v>
                </c:pt>
                <c:pt idx="46">
                  <c:v>1135.9512</c:v>
                </c:pt>
                <c:pt idx="47">
                  <c:v>1128.4079</c:v>
                </c:pt>
                <c:pt idx="48">
                  <c:v>1083.6215</c:v>
                </c:pt>
                <c:pt idx="49">
                  <c:v>997.1162</c:v>
                </c:pt>
                <c:pt idx="50">
                  <c:v>1023.5524</c:v>
                </c:pt>
                <c:pt idx="51">
                  <c:v>1010.6958</c:v>
                </c:pt>
                <c:pt idx="52">
                  <c:v>991.7953</c:v>
                </c:pt>
                <c:pt idx="53">
                  <c:v>1197.223</c:v>
                </c:pt>
                <c:pt idx="54">
                  <c:v>1193.0427</c:v>
                </c:pt>
                <c:pt idx="55">
                  <c:v>1194.2518</c:v>
                </c:pt>
                <c:pt idx="56">
                  <c:v>1186.2817</c:v>
                </c:pt>
                <c:pt idx="57">
                  <c:v>1193.4468</c:v>
                </c:pt>
                <c:pt idx="58">
                  <c:v>1188.1385</c:v>
                </c:pt>
                <c:pt idx="59">
                  <c:v>1195.9447</c:v>
                </c:pt>
                <c:pt idx="60">
                  <c:v>1208.2215</c:v>
                </c:pt>
                <c:pt idx="61">
                  <c:v>1146.8719</c:v>
                </c:pt>
                <c:pt idx="62">
                  <c:v>1042.9406</c:v>
                </c:pt>
                <c:pt idx="63">
                  <c:v>1048.4032</c:v>
                </c:pt>
                <c:pt idx="64">
                  <c:v>1054.7304</c:v>
                </c:pt>
                <c:pt idx="65">
                  <c:v>1057.4421</c:v>
                </c:pt>
                <c:pt idx="66">
                  <c:v>1167.2609</c:v>
                </c:pt>
                <c:pt idx="67">
                  <c:v>1190.5122</c:v>
                </c:pt>
                <c:pt idx="68">
                  <c:v>1172.8725</c:v>
                </c:pt>
                <c:pt idx="69">
                  <c:v>1209.7051</c:v>
                </c:pt>
                <c:pt idx="70">
                  <c:v>1213.4937</c:v>
                </c:pt>
                <c:pt idx="71">
                  <c:v>1208.903</c:v>
                </c:pt>
                <c:pt idx="72">
                  <c:v>1219.3944</c:v>
                </c:pt>
                <c:pt idx="73">
                  <c:v>1213.5641</c:v>
                </c:pt>
                <c:pt idx="74">
                  <c:v>1231.2269</c:v>
                </c:pt>
                <c:pt idx="75">
                  <c:v>1211.4179</c:v>
                </c:pt>
                <c:pt idx="76">
                  <c:v>1166.9235</c:v>
                </c:pt>
                <c:pt idx="77">
                  <c:v>1161.1444</c:v>
                </c:pt>
                <c:pt idx="78">
                  <c:v>1172.7847</c:v>
                </c:pt>
                <c:pt idx="79">
                  <c:v>1206.1037</c:v>
                </c:pt>
                <c:pt idx="80">
                  <c:v>1222.6691</c:v>
                </c:pt>
                <c:pt idx="81">
                  <c:v>1264.3381</c:v>
                </c:pt>
                <c:pt idx="82">
                  <c:v>1278.2992</c:v>
                </c:pt>
                <c:pt idx="83">
                  <c:v>1271.7508</c:v>
                </c:pt>
                <c:pt idx="84">
                  <c:v>1285.2774</c:v>
                </c:pt>
                <c:pt idx="85">
                  <c:v>1297.5208</c:v>
                </c:pt>
                <c:pt idx="86">
                  <c:v>1295.88</c:v>
                </c:pt>
                <c:pt idx="87">
                  <c:v>1277.3069</c:v>
                </c:pt>
                <c:pt idx="88">
                  <c:v>1283.2065</c:v>
                </c:pt>
                <c:pt idx="89">
                  <c:v>1307.5862</c:v>
                </c:pt>
                <c:pt idx="90">
                  <c:v>1304.2661</c:v>
                </c:pt>
                <c:pt idx="91">
                  <c:v>1295.8556</c:v>
                </c:pt>
                <c:pt idx="92">
                  <c:v>1282.5632</c:v>
                </c:pt>
                <c:pt idx="93">
                  <c:v>1276.3185</c:v>
                </c:pt>
                <c:pt idx="94">
                  <c:v>1282.8516</c:v>
                </c:pt>
                <c:pt idx="95">
                  <c:v>1276.6193</c:v>
                </c:pt>
                <c:pt idx="96">
                  <c:v>1183.1731</c:v>
                </c:pt>
                <c:pt idx="97">
                  <c:v>1214.2338</c:v>
                </c:pt>
                <c:pt idx="98">
                  <c:v>1176.7796</c:v>
                </c:pt>
                <c:pt idx="99">
                  <c:v>1163.592</c:v>
                </c:pt>
                <c:pt idx="100">
                  <c:v>1084.096</c:v>
                </c:pt>
                <c:pt idx="101">
                  <c:v>1237.3957</c:v>
                </c:pt>
                <c:pt idx="102">
                  <c:v>1233.3739</c:v>
                </c:pt>
                <c:pt idx="103">
                  <c:v>1168.2598</c:v>
                </c:pt>
                <c:pt idx="104">
                  <c:v>1158.6334</c:v>
                </c:pt>
              </c:numCache>
            </c:numRef>
          </c:xVal>
          <c:yVal>
            <c:numRef>
              <c:f>Sheet1!$B$2:$B$106</c:f>
              <c:numCache>
                <c:formatCode>General</c:formatCode>
                <c:ptCount val="105"/>
                <c:pt idx="0">
                  <c:v>0.19014989293361884</c:v>
                </c:pt>
                <c:pt idx="1">
                  <c:v>0.1874182090110301</c:v>
                </c:pt>
                <c:pt idx="2">
                  <c:v>0.18448132010753684</c:v>
                </c:pt>
                <c:pt idx="3">
                  <c:v>0.19202967471942173</c:v>
                </c:pt>
                <c:pt idx="4">
                  <c:v>0.21944354227563062</c:v>
                </c:pt>
                <c:pt idx="5">
                  <c:v>0.20732787248173568</c:v>
                </c:pt>
                <c:pt idx="6">
                  <c:v>0.2320424403183024</c:v>
                </c:pt>
                <c:pt idx="7">
                  <c:v>0.22241929762327067</c:v>
                </c:pt>
                <c:pt idx="8">
                  <c:v>0.23044594910109736</c:v>
                </c:pt>
                <c:pt idx="9">
                  <c:v>0.2308305912852727</c:v>
                </c:pt>
                <c:pt idx="10">
                  <c:v>0.22501406337896118</c:v>
                </c:pt>
                <c:pt idx="11">
                  <c:v>0.22715702624418502</c:v>
                </c:pt>
                <c:pt idx="12">
                  <c:v>0.21044108574953732</c:v>
                </c:pt>
                <c:pt idx="13">
                  <c:v>0.20045123221103783</c:v>
                </c:pt>
                <c:pt idx="14">
                  <c:v>0.17698123774852983</c:v>
                </c:pt>
                <c:pt idx="15">
                  <c:v>0.16688297642223665</c:v>
                </c:pt>
                <c:pt idx="16">
                  <c:v>0.16820361490225008</c:v>
                </c:pt>
                <c:pt idx="17">
                  <c:v>0.16568854920158319</c:v>
                </c:pt>
                <c:pt idx="18">
                  <c:v>0.15335360973267168</c:v>
                </c:pt>
                <c:pt idx="19">
                  <c:v>0.1468956879584899</c:v>
                </c:pt>
                <c:pt idx="20">
                  <c:v>0.18550137462017074</c:v>
                </c:pt>
                <c:pt idx="21">
                  <c:v>0.1703767123287671</c:v>
                </c:pt>
                <c:pt idx="22">
                  <c:v>0.14937759336099585</c:v>
                </c:pt>
                <c:pt idx="23">
                  <c:v>0.1632692681032809</c:v>
                </c:pt>
                <c:pt idx="24">
                  <c:v>0.16693914623069936</c:v>
                </c:pt>
                <c:pt idx="25">
                  <c:v>0.1607843137254902</c:v>
                </c:pt>
                <c:pt idx="26">
                  <c:v>0.168135593220339</c:v>
                </c:pt>
                <c:pt idx="27">
                  <c:v>0.18114667604642984</c:v>
                </c:pt>
                <c:pt idx="28">
                  <c:v>0.18936994016191483</c:v>
                </c:pt>
                <c:pt idx="29">
                  <c:v>0.18606127956818544</c:v>
                </c:pt>
                <c:pt idx="30">
                  <c:v>0.1950787401574803</c:v>
                </c:pt>
                <c:pt idx="31">
                  <c:v>0.17657657657657658</c:v>
                </c:pt>
                <c:pt idx="32">
                  <c:v>0.18993506493506493</c:v>
                </c:pt>
                <c:pt idx="33">
                  <c:v>0.1818020259463302</c:v>
                </c:pt>
                <c:pt idx="34">
                  <c:v>0.20025288446341077</c:v>
                </c:pt>
                <c:pt idx="35">
                  <c:v>0.2567105905319668</c:v>
                </c:pt>
                <c:pt idx="36">
                  <c:v>0.2090291536937447</c:v>
                </c:pt>
                <c:pt idx="37">
                  <c:v>0.19676739283204497</c:v>
                </c:pt>
                <c:pt idx="38">
                  <c:v>0.18666219839142092</c:v>
                </c:pt>
                <c:pt idx="39">
                  <c:v>0.18684603886397608</c:v>
                </c:pt>
                <c:pt idx="40">
                  <c:v>0.1901644336175396</c:v>
                </c:pt>
                <c:pt idx="41">
                  <c:v>0.17954735959765297</c:v>
                </c:pt>
                <c:pt idx="42">
                  <c:v>0.18690275435637999</c:v>
                </c:pt>
                <c:pt idx="43">
                  <c:v>0.18360136452241715</c:v>
                </c:pt>
                <c:pt idx="44">
                  <c:v>0.16826381059751974</c:v>
                </c:pt>
                <c:pt idx="45">
                  <c:v>0.16118853536681568</c:v>
                </c:pt>
                <c:pt idx="46">
                  <c:v>0.16547874624302275</c:v>
                </c:pt>
                <c:pt idx="47">
                  <c:v>0.16660851360781578</c:v>
                </c:pt>
                <c:pt idx="48">
                  <c:v>0.16566534577527803</c:v>
                </c:pt>
                <c:pt idx="49">
                  <c:v>0.18493237800483317</c:v>
                </c:pt>
                <c:pt idx="50">
                  <c:v>0.1706705661165657</c:v>
                </c:pt>
                <c:pt idx="51">
                  <c:v>0.1737982884107814</c:v>
                </c:pt>
                <c:pt idx="52">
                  <c:v>0.17529908028490424</c:v>
                </c:pt>
                <c:pt idx="53">
                  <c:v>0.16356603426045313</c:v>
                </c:pt>
                <c:pt idx="54">
                  <c:v>0.16656510257972781</c:v>
                </c:pt>
                <c:pt idx="55">
                  <c:v>0.16468982890731604</c:v>
                </c:pt>
                <c:pt idx="56">
                  <c:v>0.17314981049271894</c:v>
                </c:pt>
                <c:pt idx="57">
                  <c:v>0.15567353549896518</c:v>
                </c:pt>
                <c:pt idx="58">
                  <c:v>0.1553445337229121</c:v>
                </c:pt>
                <c:pt idx="59">
                  <c:v>0.14042185898473325</c:v>
                </c:pt>
                <c:pt idx="60">
                  <c:v>0.13943281566509116</c:v>
                </c:pt>
                <c:pt idx="61">
                  <c:v>0.1463888266487415</c:v>
                </c:pt>
                <c:pt idx="62">
                  <c:v>0.16681908245694255</c:v>
                </c:pt>
                <c:pt idx="63">
                  <c:v>0.16552175335296043</c:v>
                </c:pt>
                <c:pt idx="64">
                  <c:v>0.16559465254130407</c:v>
                </c:pt>
                <c:pt idx="65">
                  <c:v>0.16908012687905116</c:v>
                </c:pt>
                <c:pt idx="66">
                  <c:v>0.16127120527446479</c:v>
                </c:pt>
                <c:pt idx="67">
                  <c:v>0.1575673807878369</c:v>
                </c:pt>
                <c:pt idx="68">
                  <c:v>0.15084640609766906</c:v>
                </c:pt>
                <c:pt idx="69">
                  <c:v>0.13940273243864104</c:v>
                </c:pt>
                <c:pt idx="70">
                  <c:v>0.1383089168300842</c:v>
                </c:pt>
                <c:pt idx="71">
                  <c:v>0.1375188580712545</c:v>
                </c:pt>
                <c:pt idx="72">
                  <c:v>0.15128576199487923</c:v>
                </c:pt>
                <c:pt idx="73">
                  <c:v>0.14916875427009793</c:v>
                </c:pt>
                <c:pt idx="74">
                  <c:v>0.14144620811287478</c:v>
                </c:pt>
                <c:pt idx="75">
                  <c:v>0.15030504714364948</c:v>
                </c:pt>
                <c:pt idx="76">
                  <c:v>0.15098152424942263</c:v>
                </c:pt>
                <c:pt idx="77">
                  <c:v>0.14893926184248765</c:v>
                </c:pt>
                <c:pt idx="78">
                  <c:v>0.1562448711636304</c:v>
                </c:pt>
                <c:pt idx="79">
                  <c:v>0.1584241408214585</c:v>
                </c:pt>
                <c:pt idx="80">
                  <c:v>0.158530531193116</c:v>
                </c:pt>
                <c:pt idx="81">
                  <c:v>0.15322033898305085</c:v>
                </c:pt>
                <c:pt idx="82">
                  <c:v>0.15401558793629277</c:v>
                </c:pt>
                <c:pt idx="83">
                  <c:v>0.13964346349745332</c:v>
                </c:pt>
                <c:pt idx="84">
                  <c:v>0.14164366107453813</c:v>
                </c:pt>
                <c:pt idx="85">
                  <c:v>0.1314352574102964</c:v>
                </c:pt>
                <c:pt idx="86">
                  <c:v>0.14265335235378032</c:v>
                </c:pt>
                <c:pt idx="87">
                  <c:v>0.17739646497226164</c:v>
                </c:pt>
                <c:pt idx="88">
                  <c:v>0.18386639357176618</c:v>
                </c:pt>
                <c:pt idx="89">
                  <c:v>0.1434290687554395</c:v>
                </c:pt>
                <c:pt idx="90">
                  <c:v>0.14193663862538033</c:v>
                </c:pt>
                <c:pt idx="91">
                  <c:v>0.14365199797673242</c:v>
                </c:pt>
                <c:pt idx="92">
                  <c:v>0.15895232815964525</c:v>
                </c:pt>
                <c:pt idx="93">
                  <c:v>0.13890293225480282</c:v>
                </c:pt>
                <c:pt idx="94">
                  <c:v>0.13735046521931768</c:v>
                </c:pt>
                <c:pt idx="95">
                  <c:v>0.1478503270076123</c:v>
                </c:pt>
                <c:pt idx="96">
                  <c:v>0.14983572540204046</c:v>
                </c:pt>
                <c:pt idx="97">
                  <c:v>0.1448043382676242</c:v>
                </c:pt>
                <c:pt idx="98">
                  <c:v>0.15628408288958748</c:v>
                </c:pt>
                <c:pt idx="99">
                  <c:v>0.1556851648668938</c:v>
                </c:pt>
                <c:pt idx="100">
                  <c:v>0.17040760657781934</c:v>
                </c:pt>
                <c:pt idx="101">
                  <c:v>0.14546495356824832</c:v>
                </c:pt>
                <c:pt idx="102">
                  <c:v>0.13494876586969132</c:v>
                </c:pt>
                <c:pt idx="103">
                  <c:v>0.1509997222993613</c:v>
                </c:pt>
                <c:pt idx="104">
                  <c:v>0.155755176613885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7.5788</c:v>
                </c:pt>
                <c:pt idx="1">
                  <c:v>1241.7033</c:v>
                </c:pt>
                <c:pt idx="2">
                  <c:v>1269.042</c:v>
                </c:pt>
                <c:pt idx="3">
                  <c:v>1287.1211</c:v>
                </c:pt>
                <c:pt idx="4">
                  <c:v>1278.1937</c:v>
                </c:pt>
                <c:pt idx="5">
                  <c:v>1282.0273</c:v>
                </c:pt>
                <c:pt idx="6">
                  <c:v>1274.6663</c:v>
                </c:pt>
                <c:pt idx="7">
                  <c:v>1271.8084</c:v>
                </c:pt>
                <c:pt idx="8">
                  <c:v>1265.9886</c:v>
                </c:pt>
                <c:pt idx="9">
                  <c:v>1123.1292</c:v>
                </c:pt>
                <c:pt idx="10">
                  <c:v>1148.5366</c:v>
                </c:pt>
                <c:pt idx="11">
                  <c:v>1263.3856</c:v>
                </c:pt>
                <c:pt idx="12">
                  <c:v>1238.5731</c:v>
                </c:pt>
                <c:pt idx="13">
                  <c:v>1148.1709</c:v>
                </c:pt>
                <c:pt idx="14">
                  <c:v>1251.5951</c:v>
                </c:pt>
                <c:pt idx="15">
                  <c:v>1186.8718</c:v>
                </c:pt>
                <c:pt idx="16">
                  <c:v>1267.9952</c:v>
                </c:pt>
                <c:pt idx="17">
                  <c:v>1285.5505</c:v>
                </c:pt>
                <c:pt idx="18">
                  <c:v>1321.6302</c:v>
                </c:pt>
                <c:pt idx="19">
                  <c:v>1302.7162</c:v>
                </c:pt>
                <c:pt idx="20">
                  <c:v>1240.0478</c:v>
                </c:pt>
                <c:pt idx="21">
                  <c:v>1251.4536</c:v>
                </c:pt>
                <c:pt idx="22">
                  <c:v>1239.9622</c:v>
                </c:pt>
                <c:pt idx="23">
                  <c:v>1156.3292</c:v>
                </c:pt>
                <c:pt idx="24">
                  <c:v>1141.9894</c:v>
                </c:pt>
                <c:pt idx="25">
                  <c:v>1189.5876</c:v>
                </c:pt>
                <c:pt idx="26">
                  <c:v>1226.3852</c:v>
                </c:pt>
                <c:pt idx="27">
                  <c:v>1275.3042</c:v>
                </c:pt>
                <c:pt idx="28">
                  <c:v>1320.9276</c:v>
                </c:pt>
                <c:pt idx="29">
                  <c:v>1307.5571</c:v>
                </c:pt>
                <c:pt idx="30">
                  <c:v>1305.5342</c:v>
                </c:pt>
                <c:pt idx="31">
                  <c:v>1302.1792</c:v>
                </c:pt>
                <c:pt idx="32">
                  <c:v>1300.668</c:v>
                </c:pt>
                <c:pt idx="33">
                  <c:v>1308.3848</c:v>
                </c:pt>
                <c:pt idx="34">
                  <c:v>1307.6936</c:v>
                </c:pt>
                <c:pt idx="35">
                  <c:v>1297.1465</c:v>
                </c:pt>
                <c:pt idx="36">
                  <c:v>1293.6675</c:v>
                </c:pt>
                <c:pt idx="37">
                  <c:v>1292.8031</c:v>
                </c:pt>
                <c:pt idx="38">
                  <c:v>1290.5053</c:v>
                </c:pt>
                <c:pt idx="39">
                  <c:v>1306.224</c:v>
                </c:pt>
                <c:pt idx="40">
                  <c:v>1307.6326</c:v>
                </c:pt>
                <c:pt idx="41">
                  <c:v>1301.1517</c:v>
                </c:pt>
                <c:pt idx="42">
                  <c:v>1306.3297</c:v>
                </c:pt>
                <c:pt idx="43">
                  <c:v>1288.6247</c:v>
                </c:pt>
                <c:pt idx="44">
                  <c:v>1238.5819</c:v>
                </c:pt>
                <c:pt idx="45">
                  <c:v>1248.5237</c:v>
                </c:pt>
                <c:pt idx="46">
                  <c:v>1248.6564</c:v>
                </c:pt>
                <c:pt idx="47">
                  <c:v>1244.7582</c:v>
                </c:pt>
                <c:pt idx="48">
                  <c:v>1177.1123</c:v>
                </c:pt>
                <c:pt idx="49">
                  <c:v>1149.897</c:v>
                </c:pt>
                <c:pt idx="50">
                  <c:v>1111.9998</c:v>
                </c:pt>
                <c:pt idx="51">
                  <c:v>1135.3556</c:v>
                </c:pt>
              </c:numCache>
            </c:numRef>
          </c:xVal>
          <c:yVal>
            <c:numRef>
              <c:f>Sheet1!$B$109:$B$160</c:f>
              <c:numCache>
                <c:formatCode>General</c:formatCode>
                <c:ptCount val="52"/>
                <c:pt idx="0">
                  <c:v>0.17426059152677859</c:v>
                </c:pt>
                <c:pt idx="1">
                  <c:v>0.16431742076162292</c:v>
                </c:pt>
                <c:pt idx="2">
                  <c:v>0.17060423825887744</c:v>
                </c:pt>
                <c:pt idx="3">
                  <c:v>0.17236204897346702</c:v>
                </c:pt>
                <c:pt idx="4">
                  <c:v>0.16263736263736264</c:v>
                </c:pt>
                <c:pt idx="5">
                  <c:v>0.14951032198971323</c:v>
                </c:pt>
                <c:pt idx="6">
                  <c:v>0.13346288379323745</c:v>
                </c:pt>
                <c:pt idx="7">
                  <c:v>0.12609065758672058</c:v>
                </c:pt>
                <c:pt idx="8">
                  <c:v>0.13813025210084034</c:v>
                </c:pt>
                <c:pt idx="9">
                  <c:v>0.1473429951690821</c:v>
                </c:pt>
                <c:pt idx="10">
                  <c:v>0.15446789402784014</c:v>
                </c:pt>
                <c:pt idx="11">
                  <c:v>0.1449075140072147</c:v>
                </c:pt>
                <c:pt idx="12">
                  <c:v>0.15228900654001867</c:v>
                </c:pt>
                <c:pt idx="13">
                  <c:v>0.16745934335685794</c:v>
                </c:pt>
                <c:pt idx="14">
                  <c:v>0.15208279873406894</c:v>
                </c:pt>
                <c:pt idx="15">
                  <c:v>0.16133059841255684</c:v>
                </c:pt>
                <c:pt idx="16">
                  <c:v>0.14426034328802462</c:v>
                </c:pt>
                <c:pt idx="17">
                  <c:v>0.13033272096346193</c:v>
                </c:pt>
                <c:pt idx="18">
                  <c:v>0.14128664495114007</c:v>
                </c:pt>
                <c:pt idx="19">
                  <c:v>0.1602713824936047</c:v>
                </c:pt>
                <c:pt idx="20">
                  <c:v>0.14584607855132753</c:v>
                </c:pt>
                <c:pt idx="21">
                  <c:v>0.14382130805077936</c:v>
                </c:pt>
                <c:pt idx="22">
                  <c:v>0.14724121481952615</c:v>
                </c:pt>
                <c:pt idx="23">
                  <c:v>0.1690320523042577</c:v>
                </c:pt>
                <c:pt idx="24">
                  <c:v>0.16953979913056513</c:v>
                </c:pt>
                <c:pt idx="25">
                  <c:v>0.15811023622047243</c:v>
                </c:pt>
                <c:pt idx="26">
                  <c:v>0.14966740576496673</c:v>
                </c:pt>
                <c:pt idx="27">
                  <c:v>0.14160184384903485</c:v>
                </c:pt>
                <c:pt idx="28">
                  <c:v>0.13394495412844037</c:v>
                </c:pt>
                <c:pt idx="29">
                  <c:v>0.13297451321829984</c:v>
                </c:pt>
                <c:pt idx="30">
                  <c:v>0.1478966545213647</c:v>
                </c:pt>
                <c:pt idx="31">
                  <c:v>0.13251649387370407</c:v>
                </c:pt>
                <c:pt idx="32">
                  <c:v>0.12795010114632502</c:v>
                </c:pt>
                <c:pt idx="33">
                  <c:v>0.14974874371859295</c:v>
                </c:pt>
                <c:pt idx="34">
                  <c:v>0.17448064479509592</c:v>
                </c:pt>
                <c:pt idx="35">
                  <c:v>0.1884363006066609</c:v>
                </c:pt>
                <c:pt idx="36">
                  <c:v>0.1548663936024966</c:v>
                </c:pt>
                <c:pt idx="37">
                  <c:v>0.15599931728963987</c:v>
                </c:pt>
                <c:pt idx="38">
                  <c:v>0.14588601439408674</c:v>
                </c:pt>
                <c:pt idx="39">
                  <c:v>0.17300596082883907</c:v>
                </c:pt>
                <c:pt idx="40">
                  <c:v>0.16146916146916146</c:v>
                </c:pt>
                <c:pt idx="41">
                  <c:v>0.17017430600387345</c:v>
                </c:pt>
                <c:pt idx="42">
                  <c:v>0.15789473684210525</c:v>
                </c:pt>
                <c:pt idx="43">
                  <c:v>0.16773659142679645</c:v>
                </c:pt>
                <c:pt idx="44">
                  <c:v>0.1599419943700418</c:v>
                </c:pt>
                <c:pt idx="45">
                  <c:v>0.16267975192530498</c:v>
                </c:pt>
                <c:pt idx="46">
                  <c:v>0.16652705645836824</c:v>
                </c:pt>
                <c:pt idx="47">
                  <c:v>0.1659030624547866</c:v>
                </c:pt>
                <c:pt idx="48">
                  <c:v>0.17166175159454083</c:v>
                </c:pt>
                <c:pt idx="49">
                  <c:v>0.18768242848803268</c:v>
                </c:pt>
                <c:pt idx="50">
                  <c:v>0.21325828642901815</c:v>
                </c:pt>
                <c:pt idx="51">
                  <c:v>0.19118963767683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90.2961870634809</c:v>
                </c:pt>
              </c:numCache>
            </c:numRef>
          </c:xVal>
          <c:yVal>
            <c:numRef>
              <c:f>Sheet1!$B$163:$B$164</c:f>
              <c:numCache>
                <c:formatCode>General</c:formatCode>
                <c:ptCount val="2"/>
                <c:pt idx="0">
                  <c:v>0.20730646650796047</c:v>
                </c:pt>
                <c:pt idx="1">
                  <c:v>0.2073064665079604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90.2961870634809</c:v>
                </c:pt>
                <c:pt idx="1">
                  <c:v>890.2961870634809</c:v>
                </c:pt>
              </c:numCache>
            </c:numRef>
          </c:xVal>
          <c:yVal>
            <c:numRef>
              <c:f>Sheet1!$B$167:$B$168</c:f>
              <c:numCache>
                <c:formatCode>General</c:formatCode>
                <c:ptCount val="2"/>
                <c:pt idx="0">
                  <c:v>0.207306466507960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7.7275896646387</c:v>
                </c:pt>
              </c:numCache>
            </c:numRef>
          </c:xVal>
          <c:yVal>
            <c:numRef>
              <c:f>Sheet1!$B$171:$B$172</c:f>
              <c:numCache>
                <c:formatCode>General</c:formatCode>
                <c:ptCount val="2"/>
                <c:pt idx="0">
                  <c:v>0.19094802604710642</c:v>
                </c:pt>
                <c:pt idx="1">
                  <c:v>0.1909480260471064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7.7275896646387</c:v>
                </c:pt>
                <c:pt idx="1">
                  <c:v>1007.7275896646387</c:v>
                </c:pt>
              </c:numCache>
            </c:numRef>
          </c:xVal>
          <c:yVal>
            <c:numRef>
              <c:f>Sheet1!$B$175:$B$176</c:f>
              <c:numCache>
                <c:formatCode>General</c:formatCode>
                <c:ptCount val="2"/>
                <c:pt idx="0">
                  <c:v>0.1909480260471064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36.5011854702557</c:v>
                </c:pt>
              </c:numCache>
            </c:numRef>
          </c:xVal>
          <c:yVal>
            <c:numRef>
              <c:f>Sheet1!$B$179:$B$180</c:f>
              <c:numCache>
                <c:formatCode>General</c:formatCode>
                <c:ptCount val="2"/>
                <c:pt idx="0">
                  <c:v>0.17300959430520793</c:v>
                </c:pt>
                <c:pt idx="1">
                  <c:v>0.1730095943052079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36.5011854702557</c:v>
                </c:pt>
                <c:pt idx="1">
                  <c:v>1136.5011854702557</c:v>
                </c:pt>
              </c:numCache>
            </c:numRef>
          </c:xVal>
          <c:yVal>
            <c:numRef>
              <c:f>Sheet1!$B$183:$B$184</c:f>
              <c:numCache>
                <c:formatCode>General</c:formatCode>
                <c:ptCount val="2"/>
                <c:pt idx="0">
                  <c:v>0.173009594305207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7.5788</c:v>
                </c:pt>
                <c:pt idx="1">
                  <c:v>1241.7033</c:v>
                </c:pt>
                <c:pt idx="2">
                  <c:v>1269.042</c:v>
                </c:pt>
                <c:pt idx="3">
                  <c:v>1287.1211</c:v>
                </c:pt>
                <c:pt idx="4">
                  <c:v>1278.1937</c:v>
                </c:pt>
                <c:pt idx="5">
                  <c:v>1282.0273</c:v>
                </c:pt>
                <c:pt idx="6">
                  <c:v>1274.6663</c:v>
                </c:pt>
                <c:pt idx="7">
                  <c:v>1271.8084</c:v>
                </c:pt>
                <c:pt idx="8">
                  <c:v>1265.9886</c:v>
                </c:pt>
                <c:pt idx="9">
                  <c:v>1123.1292</c:v>
                </c:pt>
                <c:pt idx="10">
                  <c:v>1148.5366</c:v>
                </c:pt>
                <c:pt idx="11">
                  <c:v>1263.3856</c:v>
                </c:pt>
                <c:pt idx="12">
                  <c:v>1238.5731</c:v>
                </c:pt>
                <c:pt idx="13">
                  <c:v>1148.1709</c:v>
                </c:pt>
                <c:pt idx="14">
                  <c:v>1251.5951</c:v>
                </c:pt>
                <c:pt idx="15">
                  <c:v>1186.8718</c:v>
                </c:pt>
                <c:pt idx="16">
                  <c:v>1267.9952</c:v>
                </c:pt>
                <c:pt idx="17">
                  <c:v>1285.5505</c:v>
                </c:pt>
                <c:pt idx="18">
                  <c:v>1321.6302</c:v>
                </c:pt>
                <c:pt idx="19">
                  <c:v>1302.7162</c:v>
                </c:pt>
                <c:pt idx="20">
                  <c:v>1240.0478</c:v>
                </c:pt>
                <c:pt idx="21">
                  <c:v>1251.4536</c:v>
                </c:pt>
                <c:pt idx="22">
                  <c:v>1239.9622</c:v>
                </c:pt>
                <c:pt idx="23">
                  <c:v>1156.3292</c:v>
                </c:pt>
                <c:pt idx="24">
                  <c:v>1141.9894</c:v>
                </c:pt>
                <c:pt idx="25">
                  <c:v>1189.5876</c:v>
                </c:pt>
                <c:pt idx="26">
                  <c:v>1226.3852</c:v>
                </c:pt>
                <c:pt idx="27">
                  <c:v>1275.3042</c:v>
                </c:pt>
                <c:pt idx="28">
                  <c:v>1320.9276</c:v>
                </c:pt>
                <c:pt idx="29">
                  <c:v>1307.5571</c:v>
                </c:pt>
                <c:pt idx="30">
                  <c:v>1305.5342</c:v>
                </c:pt>
                <c:pt idx="31">
                  <c:v>1302.1792</c:v>
                </c:pt>
                <c:pt idx="32">
                  <c:v>1300.668</c:v>
                </c:pt>
                <c:pt idx="33">
                  <c:v>1308.3848</c:v>
                </c:pt>
                <c:pt idx="34">
                  <c:v>1307.6936</c:v>
                </c:pt>
                <c:pt idx="35">
                  <c:v>1297.1465</c:v>
                </c:pt>
                <c:pt idx="36">
                  <c:v>1293.6675</c:v>
                </c:pt>
                <c:pt idx="37">
                  <c:v>1292.8031</c:v>
                </c:pt>
                <c:pt idx="38">
                  <c:v>1290.5053</c:v>
                </c:pt>
                <c:pt idx="39">
                  <c:v>1306.224</c:v>
                </c:pt>
                <c:pt idx="40">
                  <c:v>1307.6326</c:v>
                </c:pt>
                <c:pt idx="41">
                  <c:v>1301.1517</c:v>
                </c:pt>
                <c:pt idx="42">
                  <c:v>1306.3297</c:v>
                </c:pt>
                <c:pt idx="43">
                  <c:v>1288.6247</c:v>
                </c:pt>
                <c:pt idx="44">
                  <c:v>1238.5819</c:v>
                </c:pt>
                <c:pt idx="45">
                  <c:v>1248.5237</c:v>
                </c:pt>
                <c:pt idx="46">
                  <c:v>1248.6564</c:v>
                </c:pt>
                <c:pt idx="47">
                  <c:v>1244.7582</c:v>
                </c:pt>
                <c:pt idx="48">
                  <c:v>1177.1123</c:v>
                </c:pt>
                <c:pt idx="49">
                  <c:v>1149.897</c:v>
                </c:pt>
                <c:pt idx="50">
                  <c:v>1111.9998</c:v>
                </c:pt>
                <c:pt idx="51">
                  <c:v>1135.3556</c:v>
                </c:pt>
                <c:pt idx="52">
                  <c:v>1007.7275896646387</c:v>
                </c:pt>
                <c:pt idx="53">
                  <c:v>890.2961870634809</c:v>
                </c:pt>
                <c:pt idx="54">
                  <c:v>1136.5011854702557</c:v>
                </c:pt>
              </c:numCache>
            </c:numRef>
          </c:xVal>
          <c:yVal>
            <c:numRef>
              <c:f>Sheet1!$B$187:$B$241</c:f>
              <c:numCache>
                <c:formatCode>General</c:formatCode>
                <c:ptCount val="55"/>
                <c:pt idx="0">
                  <c:v>0.15892927079220512</c:v>
                </c:pt>
                <c:pt idx="1">
                  <c:v>0.15835471929927997</c:v>
                </c:pt>
                <c:pt idx="2">
                  <c:v>0.1545463811007993</c:v>
                </c:pt>
                <c:pt idx="3">
                  <c:v>0.15202792458588996</c:v>
                </c:pt>
                <c:pt idx="4">
                  <c:v>0.15327153011333333</c:v>
                </c:pt>
                <c:pt idx="5">
                  <c:v>0.1527375015999916</c:v>
                </c:pt>
                <c:pt idx="6">
                  <c:v>0.15376290432503031</c:v>
                </c:pt>
                <c:pt idx="7">
                  <c:v>0.15416101578378436</c:v>
                </c:pt>
                <c:pt idx="8">
                  <c:v>0.15497172611922522</c:v>
                </c:pt>
                <c:pt idx="9">
                  <c:v>0.17487233990232492</c:v>
                </c:pt>
                <c:pt idx="10">
                  <c:v>0.17133303584090004</c:v>
                </c:pt>
                <c:pt idx="11">
                  <c:v>0.15533432947383408</c:v>
                </c:pt>
                <c:pt idx="12">
                  <c:v>0.15879076271864093</c:v>
                </c:pt>
                <c:pt idx="13">
                  <c:v>0.1713839786172275</c:v>
                </c:pt>
                <c:pt idx="14">
                  <c:v>0.1569767708309281</c:v>
                </c:pt>
                <c:pt idx="15">
                  <c:v>0.16599286214915918</c:v>
                </c:pt>
                <c:pt idx="16">
                  <c:v>0.15469220253437768</c:v>
                </c:pt>
                <c:pt idx="17">
                  <c:v>0.15224671245709573</c:v>
                </c:pt>
                <c:pt idx="18">
                  <c:v>0.1472207346417745</c:v>
                </c:pt>
                <c:pt idx="19">
                  <c:v>0.14985549447622395</c:v>
                </c:pt>
                <c:pt idx="20">
                  <c:v>0.1585853339183944</c:v>
                </c:pt>
                <c:pt idx="21">
                  <c:v>0.15699648207744255</c:v>
                </c:pt>
                <c:pt idx="22">
                  <c:v>0.15859725817776996</c:v>
                </c:pt>
                <c:pt idx="23">
                  <c:v>0.1702475103314398</c:v>
                </c:pt>
                <c:pt idx="24">
                  <c:v>0.17224507452061386</c:v>
                </c:pt>
                <c:pt idx="25">
                  <c:v>0.16561454551817692</c:v>
                </c:pt>
                <c:pt idx="26">
                  <c:v>0.16048856272849008</c:v>
                </c:pt>
                <c:pt idx="27">
                  <c:v>0.1536740435183054</c:v>
                </c:pt>
                <c:pt idx="28">
                  <c:v>0.14731860829407883</c:v>
                </c:pt>
                <c:pt idx="29">
                  <c:v>0.14918114696207643</c:v>
                </c:pt>
                <c:pt idx="30">
                  <c:v>0.14946294117108075</c:v>
                </c:pt>
                <c:pt idx="31">
                  <c:v>0.14993029970151206</c:v>
                </c:pt>
                <c:pt idx="32">
                  <c:v>0.15014081302824467</c:v>
                </c:pt>
                <c:pt idx="33">
                  <c:v>0.14906584661762395</c:v>
                </c:pt>
                <c:pt idx="34">
                  <c:v>0.1491621322260395</c:v>
                </c:pt>
                <c:pt idx="35">
                  <c:v>0.15063136535757815</c:v>
                </c:pt>
                <c:pt idx="36">
                  <c:v>0.15111599734785253</c:v>
                </c:pt>
                <c:pt idx="37">
                  <c:v>0.15123641007921015</c:v>
                </c:pt>
                <c:pt idx="38">
                  <c:v>0.1515564984342698</c:v>
                </c:pt>
                <c:pt idx="39">
                  <c:v>0.14936685058559895</c:v>
                </c:pt>
                <c:pt idx="40">
                  <c:v>0.14917062965386554</c:v>
                </c:pt>
                <c:pt idx="41">
                  <c:v>0.15007343260464717</c:v>
                </c:pt>
                <c:pt idx="42">
                  <c:v>0.14935212635410366</c:v>
                </c:pt>
                <c:pt idx="43">
                  <c:v>0.15181846995508325</c:v>
                </c:pt>
                <c:pt idx="44">
                  <c:v>0.15878953686020048</c:v>
                </c:pt>
                <c:pt idx="45">
                  <c:v>0.1574046232870732</c:v>
                </c:pt>
                <c:pt idx="46">
                  <c:v>0.15738613789899916</c:v>
                </c:pt>
                <c:pt idx="47">
                  <c:v>0.15792916532771076</c:v>
                </c:pt>
                <c:pt idx="48">
                  <c:v>0.16735238095027524</c:v>
                </c:pt>
                <c:pt idx="49">
                  <c:v>0.17114352927017015</c:v>
                </c:pt>
                <c:pt idx="50">
                  <c:v>0.17642268864407823</c:v>
                </c:pt>
                <c:pt idx="51">
                  <c:v>0.17316917676179872</c:v>
                </c:pt>
                <c:pt idx="52">
                  <c:v>0.19094802604710642</c:v>
                </c:pt>
                <c:pt idx="53">
                  <c:v>0.20730646650796047</c:v>
                </c:pt>
                <c:pt idx="54">
                  <c:v>0.173009594305207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86.0"/>
          <c:min val="63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805270863836015"/>
          <c:min val="0.1008725260693764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9.313588525658937e-05</c:v>
                </c:pt>
                <c:pt idx="2">
                  <c:v>0.0</c:v>
                </c:pt>
                <c:pt idx="3">
                  <c:v>0.0001316829075585989</c:v>
                </c:pt>
                <c:pt idx="4">
                  <c:v>0.00013349352556401014</c:v>
                </c:pt>
                <c:pt idx="5">
                  <c:v>0.0002865740077374982</c:v>
                </c:pt>
                <c:pt idx="6">
                  <c:v>0.00024061597690086623</c:v>
                </c:pt>
                <c:pt idx="7">
                  <c:v>0.0003185051491665782</c:v>
                </c:pt>
                <c:pt idx="8">
                  <c:v>0.00040785806539324316</c:v>
                </c:pt>
                <c:pt idx="9">
                  <c:v>0.0008953219428486159</c:v>
                </c:pt>
                <c:pt idx="10">
                  <c:v>0.0010504201680672268</c:v>
                </c:pt>
                <c:pt idx="11">
                  <c:v>0.0007823960880195599</c:v>
                </c:pt>
                <c:pt idx="12">
                  <c:v>0.0009771697610375767</c:v>
                </c:pt>
                <c:pt idx="13">
                  <c:v>0.0009279568078285811</c:v>
                </c:pt>
                <c:pt idx="14">
                  <c:v>0.001028133470417796</c:v>
                </c:pt>
                <c:pt idx="15">
                  <c:v>0.0009663703131039815</c:v>
                </c:pt>
                <c:pt idx="16">
                  <c:v>0.0010564124234100994</c:v>
                </c:pt>
                <c:pt idx="17">
                  <c:v>0.0017344896597731821</c:v>
                </c:pt>
                <c:pt idx="18">
                  <c:v>0.002054794520547945</c:v>
                </c:pt>
                <c:pt idx="19">
                  <c:v>0.001324722636198046</c:v>
                </c:pt>
                <c:pt idx="20">
                  <c:v>0.0018786398647379298</c:v>
                </c:pt>
                <c:pt idx="21">
                  <c:v>0.0019017980636237897</c:v>
                </c:pt>
                <c:pt idx="22">
                  <c:v>0.0029205607476635513</c:v>
                </c:pt>
                <c:pt idx="23">
                  <c:v>0.0027100271002710027</c:v>
                </c:pt>
                <c:pt idx="24">
                  <c:v>0.0024321037697608433</c:v>
                </c:pt>
                <c:pt idx="25">
                  <c:v>0.0035374751271280125</c:v>
                </c:pt>
                <c:pt idx="26">
                  <c:v>0.004714757190004715</c:v>
                </c:pt>
                <c:pt idx="27">
                  <c:v>0.006237006237006237</c:v>
                </c:pt>
                <c:pt idx="28">
                  <c:v>0.004740459824602986</c:v>
                </c:pt>
                <c:pt idx="29">
                  <c:v>0.004390018484288355</c:v>
                </c:pt>
                <c:pt idx="30">
                  <c:v>0.005517503805175038</c:v>
                </c:pt>
                <c:pt idx="31">
                  <c:v>0.006039255158530448</c:v>
                </c:pt>
                <c:pt idx="32">
                  <c:v>0.005433228481555619</c:v>
                </c:pt>
                <c:pt idx="33">
                  <c:v>0.005368748233964397</c:v>
                </c:pt>
                <c:pt idx="34">
                  <c:v>0.005888125613346418</c:v>
                </c:pt>
                <c:pt idx="35">
                  <c:v>0.004975124378109453</c:v>
                </c:pt>
                <c:pt idx="36">
                  <c:v>0.0043534343760077395</c:v>
                </c:pt>
                <c:pt idx="37">
                  <c:v>0.006612627986348123</c:v>
                </c:pt>
                <c:pt idx="38">
                  <c:v>0.00870195794053662</c:v>
                </c:pt>
                <c:pt idx="39">
                  <c:v>0.007761642463695543</c:v>
                </c:pt>
                <c:pt idx="40">
                  <c:v>0.008776328986960883</c:v>
                </c:pt>
                <c:pt idx="41">
                  <c:v>0.006531069229333831</c:v>
                </c:pt>
                <c:pt idx="42">
                  <c:v>0.006497022198159177</c:v>
                </c:pt>
                <c:pt idx="43">
                  <c:v>0.00613132911392405</c:v>
                </c:pt>
                <c:pt idx="44">
                  <c:v>0.006536897152818129</c:v>
                </c:pt>
                <c:pt idx="45">
                  <c:v>0.008605163097858715</c:v>
                </c:pt>
                <c:pt idx="46">
                  <c:v>0.009656925031766201</c:v>
                </c:pt>
                <c:pt idx="47">
                  <c:v>0.009123421648054887</c:v>
                </c:pt>
                <c:pt idx="48">
                  <c:v>0.008297460852205377</c:v>
                </c:pt>
                <c:pt idx="49">
                  <c:v>0.0065237651444548</c:v>
                </c:pt>
                <c:pt idx="50">
                  <c:v>0.00939318370739817</c:v>
                </c:pt>
                <c:pt idx="51">
                  <c:v>0.008766662663624355</c:v>
                </c:pt>
                <c:pt idx="52">
                  <c:v>0.007103393843725336</c:v>
                </c:pt>
                <c:pt idx="53">
                  <c:v>0.0060110603510459245</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6063278580090398</c:v>
                </c:pt>
                <c:pt idx="1">
                  <c:v>0.007647958583362749</c:v>
                </c:pt>
                <c:pt idx="2">
                  <c:v>0.0066518847006651885</c:v>
                </c:pt>
                <c:pt idx="3">
                  <c:v>0.007533744899026891</c:v>
                </c:pt>
                <c:pt idx="4">
                  <c:v>0.0071950288891311455</c:v>
                </c:pt>
                <c:pt idx="5">
                  <c:v>0.006082595240636005</c:v>
                </c:pt>
                <c:pt idx="6">
                  <c:v>0.00642843637738703</c:v>
                </c:pt>
                <c:pt idx="7">
                  <c:v>0.007775042114811455</c:v>
                </c:pt>
                <c:pt idx="8">
                  <c:v>0.00978768257792501</c:v>
                </c:pt>
                <c:pt idx="9">
                  <c:v>0.009606277905560817</c:v>
                </c:pt>
                <c:pt idx="10">
                  <c:v>0.009107708553326294</c:v>
                </c:pt>
                <c:pt idx="11">
                  <c:v>0.008787823881137887</c:v>
                </c:pt>
                <c:pt idx="12">
                  <c:v>0.00942486880154225</c:v>
                </c:pt>
                <c:pt idx="13">
                  <c:v>0.014613282642271594</c:v>
                </c:pt>
                <c:pt idx="14">
                  <c:v>0.014304123711340206</c:v>
                </c:pt>
                <c:pt idx="15">
                  <c:v>0.01403260099220411</c:v>
                </c:pt>
                <c:pt idx="16">
                  <c:v>0.01363711957425578</c:v>
                </c:pt>
                <c:pt idx="17">
                  <c:v>0.017850953206239167</c:v>
                </c:pt>
                <c:pt idx="18">
                  <c:v>0.009318001586042823</c:v>
                </c:pt>
                <c:pt idx="19">
                  <c:v>0.008838891120932101</c:v>
                </c:pt>
                <c:pt idx="20">
                  <c:v>0.011400651465798045</c:v>
                </c:pt>
                <c:pt idx="21">
                  <c:v>0.012847404299947561</c:v>
                </c:pt>
                <c:pt idx="22">
                  <c:v>0.011157239231966787</c:v>
                </c:pt>
                <c:pt idx="23">
                  <c:v>0.012285012285012284</c:v>
                </c:pt>
                <c:pt idx="24">
                  <c:v>0.01092479674796748</c:v>
                </c:pt>
                <c:pt idx="25">
                  <c:v>0.011283127787982157</c:v>
                </c:pt>
                <c:pt idx="26">
                  <c:v>0.0112079701120797</c:v>
                </c:pt>
                <c:pt idx="27">
                  <c:v>0.011976047904191617</c:v>
                </c:pt>
                <c:pt idx="28">
                  <c:v>0.009570352270413357</c:v>
                </c:pt>
                <c:pt idx="29">
                  <c:v>0.01171193620732619</c:v>
                </c:pt>
                <c:pt idx="30">
                  <c:v>0.011421319796954314</c:v>
                </c:pt>
                <c:pt idx="31">
                  <c:v>0.012285012285012284</c:v>
                </c:pt>
                <c:pt idx="32">
                  <c:v>0.01033902380379899</c:v>
                </c:pt>
                <c:pt idx="33">
                  <c:v>0.007940804908861216</c:v>
                </c:pt>
                <c:pt idx="34">
                  <c:v>0.0074721556464119555</c:v>
                </c:pt>
                <c:pt idx="35">
                  <c:v>0.010269121813031162</c:v>
                </c:pt>
                <c:pt idx="36">
                  <c:v>0.012914587613736424</c:v>
                </c:pt>
                <c:pt idx="37">
                  <c:v>0.013386880856760375</c:v>
                </c:pt>
                <c:pt idx="38">
                  <c:v>0.0164183642444512</c:v>
                </c:pt>
                <c:pt idx="39">
                  <c:v>0.015067582539330823</c:v>
                </c:pt>
                <c:pt idx="40">
                  <c:v>0.013651137594799566</c:v>
                </c:pt>
                <c:pt idx="41">
                  <c:v>0.011461894228835713</c:v>
                </c:pt>
                <c:pt idx="42">
                  <c:v>0.013073394495412845</c:v>
                </c:pt>
                <c:pt idx="43">
                  <c:v>0.010628875110717449</c:v>
                </c:pt>
                <c:pt idx="44">
                  <c:v>0.007437070938215103</c:v>
                </c:pt>
                <c:pt idx="45">
                  <c:v>0.005685785536159601</c:v>
                </c:pt>
                <c:pt idx="46">
                  <c:v>0.006071019473081329</c:v>
                </c:pt>
                <c:pt idx="47">
                  <c:v>0.00546222817685252</c:v>
                </c:pt>
                <c:pt idx="48">
                  <c:v>0.006094980106662152</c:v>
                </c:pt>
                <c:pt idx="49">
                  <c:v>0.005474018246727489</c:v>
                </c:pt>
                <c:pt idx="50">
                  <c:v>0.004465726891208437</c:v>
                </c:pt>
                <c:pt idx="51">
                  <c:v>0.005882929698990097</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53.341783741836</c:v>
                </c:pt>
              </c:numCache>
            </c:numRef>
          </c:xVal>
          <c:yVal>
            <c:numRef>
              <c:f>Sheet1!$B$112:$B$113</c:f>
              <c:numCache>
                <c:formatCode>General</c:formatCode>
                <c:ptCount val="2"/>
                <c:pt idx="0">
                  <c:v>0.011828439056969127</c:v>
                </c:pt>
                <c:pt idx="1">
                  <c:v>0.011828439056969127</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53.341783741836</c:v>
                </c:pt>
                <c:pt idx="1">
                  <c:v>3553.341783741836</c:v>
                </c:pt>
              </c:numCache>
            </c:numRef>
          </c:xVal>
          <c:yVal>
            <c:numRef>
              <c:f>Sheet1!$B$116:$B$117</c:f>
              <c:numCache>
                <c:formatCode>General</c:formatCode>
                <c:ptCount val="2"/>
                <c:pt idx="0">
                  <c:v>0.01182843905696912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53.341783741836</c:v>
                </c:pt>
              </c:numCache>
            </c:numRef>
          </c:xVal>
          <c:yVal>
            <c:numRef>
              <c:f>Sheet1!$B$120:$B$121</c:f>
              <c:numCache>
                <c:formatCode>General</c:formatCode>
                <c:ptCount val="2"/>
                <c:pt idx="0">
                  <c:v>0.011828439056969127</c:v>
                </c:pt>
                <c:pt idx="1">
                  <c:v>0.011828439056969127</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53.341783741836</c:v>
                </c:pt>
                <c:pt idx="1">
                  <c:v>3553.341783741836</c:v>
                </c:pt>
              </c:numCache>
            </c:numRef>
          </c:xVal>
          <c:yVal>
            <c:numRef>
              <c:f>Sheet1!$B$124:$B$125</c:f>
              <c:numCache>
                <c:formatCode>General</c:formatCode>
                <c:ptCount val="2"/>
                <c:pt idx="0">
                  <c:v>0.01182843905696912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08.929843858342</c:v>
                </c:pt>
              </c:numCache>
            </c:numRef>
          </c:xVal>
          <c:yVal>
            <c:numRef>
              <c:f>Sheet1!$B$128:$B$129</c:f>
              <c:numCache>
                <c:formatCode>General</c:formatCode>
                <c:ptCount val="2"/>
                <c:pt idx="0">
                  <c:v>0.00849666484899947</c:v>
                </c:pt>
                <c:pt idx="1">
                  <c:v>0.00849666484899947</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08.929843858342</c:v>
                </c:pt>
                <c:pt idx="1">
                  <c:v>4208.929843858342</c:v>
                </c:pt>
              </c:numCache>
            </c:numRef>
          </c:xVal>
          <c:yVal>
            <c:numRef>
              <c:f>Sheet1!$B$132:$B$133</c:f>
              <c:numCache>
                <c:formatCode>General</c:formatCode>
                <c:ptCount val="2"/>
                <c:pt idx="0">
                  <c:v>0.008496664848999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53.341783741836</c:v>
                </c:pt>
                <c:pt idx="53">
                  <c:v>3553.341783741836</c:v>
                </c:pt>
                <c:pt idx="54">
                  <c:v>4208.929843858342</c:v>
                </c:pt>
              </c:numCache>
            </c:numRef>
          </c:xVal>
          <c:yVal>
            <c:numRef>
              <c:f>Sheet1!$B$136:$B$190</c:f>
              <c:numCache>
                <c:formatCode>General</c:formatCode>
                <c:ptCount val="55"/>
                <c:pt idx="0">
                  <c:v>0.007370480993861454</c:v>
                </c:pt>
                <c:pt idx="1">
                  <c:v>0.010970985980558599</c:v>
                </c:pt>
                <c:pt idx="2">
                  <c:v>0.007754165463853754</c:v>
                </c:pt>
                <c:pt idx="3">
                  <c:v>0.011384432335038618</c:v>
                </c:pt>
                <c:pt idx="4">
                  <c:v>0.007149162489265778</c:v>
                </c:pt>
                <c:pt idx="5">
                  <c:v>0.005285481129431384</c:v>
                </c:pt>
                <c:pt idx="6">
                  <c:v>0.006968759079720416</c:v>
                </c:pt>
                <c:pt idx="7">
                  <c:v>0.008555938292576462</c:v>
                </c:pt>
                <c:pt idx="8">
                  <c:v>0.009192401594634945</c:v>
                </c:pt>
                <c:pt idx="9">
                  <c:v>0.009184684402326861</c:v>
                </c:pt>
                <c:pt idx="10">
                  <c:v>0.008146231358643223</c:v>
                </c:pt>
                <c:pt idx="11">
                  <c:v>0.009597555461338145</c:v>
                </c:pt>
                <c:pt idx="12">
                  <c:v>0.010549251712205665</c:v>
                </c:pt>
                <c:pt idx="13">
                  <c:v>0.012578693382344533</c:v>
                </c:pt>
                <c:pt idx="14">
                  <c:v>0.012632188745975315</c:v>
                </c:pt>
                <c:pt idx="15">
                  <c:v>0.01149706624329385</c:v>
                </c:pt>
                <c:pt idx="16">
                  <c:v>0.010856516920415022</c:v>
                </c:pt>
                <c:pt idx="17">
                  <c:v>0.015042911553711036</c:v>
                </c:pt>
                <c:pt idx="18">
                  <c:v>0.009086266187403314</c:v>
                </c:pt>
                <c:pt idx="19">
                  <c:v>0.007830435819654074</c:v>
                </c:pt>
                <c:pt idx="20">
                  <c:v>0.008994562971621468</c:v>
                </c:pt>
                <c:pt idx="21">
                  <c:v>0.010720408212693034</c:v>
                </c:pt>
                <c:pt idx="22">
                  <c:v>0.009597236304488</c:v>
                </c:pt>
                <c:pt idx="23">
                  <c:v>0.014271624302715868</c:v>
                </c:pt>
                <c:pt idx="24">
                  <c:v>0.00963718427296853</c:v>
                </c:pt>
                <c:pt idx="25">
                  <c:v>0.011078614005097364</c:v>
                </c:pt>
                <c:pt idx="26">
                  <c:v>0.009773952131064148</c:v>
                </c:pt>
                <c:pt idx="27">
                  <c:v>0.011191617891357225</c:v>
                </c:pt>
                <c:pt idx="28">
                  <c:v>0.010422105823288112</c:v>
                </c:pt>
                <c:pt idx="29">
                  <c:v>0.011314611691953604</c:v>
                </c:pt>
                <c:pt idx="30">
                  <c:v>0.011695104593444444</c:v>
                </c:pt>
                <c:pt idx="31">
                  <c:v>0.010918557352960392</c:v>
                </c:pt>
                <c:pt idx="32">
                  <c:v>0.008449150849932831</c:v>
                </c:pt>
                <c:pt idx="33">
                  <c:v>0.006339181535882692</c:v>
                </c:pt>
                <c:pt idx="34">
                  <c:v>0.006073481933501022</c:v>
                </c:pt>
                <c:pt idx="35">
                  <c:v>0.009967230063674413</c:v>
                </c:pt>
                <c:pt idx="36">
                  <c:v>0.008418690682782531</c:v>
                </c:pt>
                <c:pt idx="37">
                  <c:v>0.008810586326704489</c:v>
                </c:pt>
                <c:pt idx="38">
                  <c:v>0.01163677308875316</c:v>
                </c:pt>
                <c:pt idx="39">
                  <c:v>0.013712352235776912</c:v>
                </c:pt>
                <c:pt idx="40">
                  <c:v>0.013492995935955786</c:v>
                </c:pt>
                <c:pt idx="41">
                  <c:v>0.012456078707560592</c:v>
                </c:pt>
                <c:pt idx="42">
                  <c:v>0.01325129611556667</c:v>
                </c:pt>
                <c:pt idx="43">
                  <c:v>0.01236540766942627</c:v>
                </c:pt>
                <c:pt idx="44">
                  <c:v>0.009189430589943929</c:v>
                </c:pt>
                <c:pt idx="45">
                  <c:v>0.008686308275534353</c:v>
                </c:pt>
                <c:pt idx="46">
                  <c:v>0.00902456066626598</c:v>
                </c:pt>
                <c:pt idx="47">
                  <c:v>0.009217393405562987</c:v>
                </c:pt>
                <c:pt idx="48">
                  <c:v>0.01151000276816723</c:v>
                </c:pt>
                <c:pt idx="49">
                  <c:v>0.010589477164189665</c:v>
                </c:pt>
                <c:pt idx="50">
                  <c:v>0.00904095201322104</c:v>
                </c:pt>
                <c:pt idx="51">
                  <c:v>0.008475217528278164</c:v>
                </c:pt>
                <c:pt idx="52">
                  <c:v>0.011828439056969127</c:v>
                </c:pt>
                <c:pt idx="53">
                  <c:v>0.011828439056969127</c:v>
                </c:pt>
                <c:pt idx="54">
                  <c:v>0.00849666484899947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142114384748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0.4558295862288232</c:v>
                </c:pt>
                <c:pt idx="2">
                  <c:v>0.0</c:v>
                </c:pt>
                <c:pt idx="3">
                  <c:v>0.6732505643340858</c:v>
                </c:pt>
                <c:pt idx="4">
                  <c:v>0.7408109132247064</c:v>
                </c:pt>
                <c:pt idx="5">
                  <c:v>0.5211242842909476</c:v>
                </c:pt>
                <c:pt idx="6">
                  <c:v>0.3629792053203537</c:v>
                </c:pt>
                <c:pt idx="7">
                  <c:v>0.43538479071644304</c:v>
                </c:pt>
                <c:pt idx="8">
                  <c:v>0.4936398588166463</c:v>
                </c:pt>
                <c:pt idx="9">
                  <c:v>0.4059175303014772</c:v>
                </c:pt>
                <c:pt idx="10">
                  <c:v>0.4316451001828388</c:v>
                </c:pt>
                <c:pt idx="11">
                  <c:v>0.532639960742096</c:v>
                </c:pt>
                <c:pt idx="12">
                  <c:v>0.41751346032745584</c:v>
                </c:pt>
                <c:pt idx="13">
                  <c:v>0.3960599485615376</c:v>
                </c:pt>
                <c:pt idx="14">
                  <c:v>0.37469959419201987</c:v>
                </c:pt>
                <c:pt idx="15">
                  <c:v>0.37979370797015033</c:v>
                </c:pt>
                <c:pt idx="16">
                  <c:v>0.3408549097623968</c:v>
                </c:pt>
                <c:pt idx="17">
                  <c:v>0.2725101448994894</c:v>
                </c:pt>
                <c:pt idx="18">
                  <c:v>0.22095984342180638</c:v>
                </c:pt>
                <c:pt idx="19">
                  <c:v>0.25120552586993355</c:v>
                </c:pt>
                <c:pt idx="20">
                  <c:v>0.26369953222217174</c:v>
                </c:pt>
                <c:pt idx="21">
                  <c:v>0.24412983798278495</c:v>
                </c:pt>
                <c:pt idx="22">
                  <c:v>0.12522015381433219</c:v>
                </c:pt>
                <c:pt idx="23">
                  <c:v>0.16998617168323546</c:v>
                </c:pt>
                <c:pt idx="24">
                  <c:v>0.5897989304261101</c:v>
                </c:pt>
                <c:pt idx="25">
                  <c:v>0.6892540259952443</c:v>
                </c:pt>
                <c:pt idx="26">
                  <c:v>0.6968966741626228</c:v>
                </c:pt>
                <c:pt idx="27">
                  <c:v>0.5018674832153874</c:v>
                </c:pt>
                <c:pt idx="28">
                  <c:v>0.7403882338930571</c:v>
                </c:pt>
                <c:pt idx="29">
                  <c:v>0.7231385370977756</c:v>
                </c:pt>
                <c:pt idx="30">
                  <c:v>0.5468717297050983</c:v>
                </c:pt>
                <c:pt idx="31">
                  <c:v>0.5708010546253517</c:v>
                </c:pt>
                <c:pt idx="32">
                  <c:v>0.857032475301287</c:v>
                </c:pt>
                <c:pt idx="33">
                  <c:v>0.8136011140316172</c:v>
                </c:pt>
                <c:pt idx="34">
                  <c:v>0.5459443641120981</c:v>
                </c:pt>
                <c:pt idx="35">
                  <c:v>0.7784413823581403</c:v>
                </c:pt>
                <c:pt idx="36">
                  <c:v>0.9036927048018841</c:v>
                </c:pt>
                <c:pt idx="37">
                  <c:v>0.6740736601098283</c:v>
                </c:pt>
                <c:pt idx="38">
                  <c:v>0.6878178614710544</c:v>
                </c:pt>
                <c:pt idx="39">
                  <c:v>0.7388517098339284</c:v>
                </c:pt>
                <c:pt idx="40">
                  <c:v>0.6490910778048171</c:v>
                </c:pt>
                <c:pt idx="41">
                  <c:v>0.7244114249287985</c:v>
                </c:pt>
                <c:pt idx="42">
                  <c:v>0.79464561001242</c:v>
                </c:pt>
                <c:pt idx="43">
                  <c:v>0.8697447916418763</c:v>
                </c:pt>
                <c:pt idx="44">
                  <c:v>0.7017809069585613</c:v>
                </c:pt>
                <c:pt idx="45">
                  <c:v>0.61849066099432</c:v>
                </c:pt>
                <c:pt idx="46">
                  <c:v>0.619462755654845</c:v>
                </c:pt>
                <c:pt idx="47">
                  <c:v>0.5902847399074341</c:v>
                </c:pt>
                <c:pt idx="48">
                  <c:v>0.6183019582612408</c:v>
                </c:pt>
                <c:pt idx="49">
                  <c:v>0.7314321630697933</c:v>
                </c:pt>
                <c:pt idx="50">
                  <c:v>0.6686127032101479</c:v>
                </c:pt>
                <c:pt idx="51">
                  <c:v>0.7458997309966013</c:v>
                </c:pt>
                <c:pt idx="52">
                  <c:v>0.6807259532258281</c:v>
                </c:pt>
                <c:pt idx="53">
                  <c:v>0.7542637282619045</c:v>
                </c:pt>
              </c:numCache>
            </c:numRef>
          </c:xVal>
          <c:yVal>
            <c:numRef>
              <c:f>Sheet1!$B$2:$B$55</c:f>
              <c:numCache>
                <c:formatCode>General</c:formatCode>
                <c:ptCount val="54"/>
                <c:pt idx="0">
                  <c:v>0.0</c:v>
                </c:pt>
                <c:pt idx="1">
                  <c:v>9.313588525658937e-05</c:v>
                </c:pt>
                <c:pt idx="2">
                  <c:v>0.0</c:v>
                </c:pt>
                <c:pt idx="3">
                  <c:v>0.0001316829075585989</c:v>
                </c:pt>
                <c:pt idx="4">
                  <c:v>0.00013349352556401014</c:v>
                </c:pt>
                <c:pt idx="5">
                  <c:v>0.0002865740077374982</c:v>
                </c:pt>
                <c:pt idx="6">
                  <c:v>0.00024061597690086623</c:v>
                </c:pt>
                <c:pt idx="7">
                  <c:v>0.0003185051491665782</c:v>
                </c:pt>
                <c:pt idx="8">
                  <c:v>0.00040785806539324316</c:v>
                </c:pt>
                <c:pt idx="9">
                  <c:v>0.0008953219428486159</c:v>
                </c:pt>
                <c:pt idx="10">
                  <c:v>0.0010504201680672268</c:v>
                </c:pt>
                <c:pt idx="11">
                  <c:v>0.0007823960880195599</c:v>
                </c:pt>
                <c:pt idx="12">
                  <c:v>0.0009771697610375767</c:v>
                </c:pt>
                <c:pt idx="13">
                  <c:v>0.0009279568078285811</c:v>
                </c:pt>
                <c:pt idx="14">
                  <c:v>0.001028133470417796</c:v>
                </c:pt>
                <c:pt idx="15">
                  <c:v>0.0009663703131039815</c:v>
                </c:pt>
                <c:pt idx="16">
                  <c:v>0.0010564124234100994</c:v>
                </c:pt>
                <c:pt idx="17">
                  <c:v>0.0017344896597731821</c:v>
                </c:pt>
                <c:pt idx="18">
                  <c:v>0.002054794520547945</c:v>
                </c:pt>
                <c:pt idx="19">
                  <c:v>0.001324722636198046</c:v>
                </c:pt>
                <c:pt idx="20">
                  <c:v>0.0018786398647379298</c:v>
                </c:pt>
                <c:pt idx="21">
                  <c:v>0.0019017980636237897</c:v>
                </c:pt>
                <c:pt idx="22">
                  <c:v>0.0029205607476635513</c:v>
                </c:pt>
                <c:pt idx="23">
                  <c:v>0.0027100271002710027</c:v>
                </c:pt>
                <c:pt idx="24">
                  <c:v>0.0024321037697608433</c:v>
                </c:pt>
                <c:pt idx="25">
                  <c:v>0.0035374751271280125</c:v>
                </c:pt>
                <c:pt idx="26">
                  <c:v>0.004714757190004715</c:v>
                </c:pt>
                <c:pt idx="27">
                  <c:v>0.006237006237006237</c:v>
                </c:pt>
                <c:pt idx="28">
                  <c:v>0.004740459824602986</c:v>
                </c:pt>
                <c:pt idx="29">
                  <c:v>0.004390018484288355</c:v>
                </c:pt>
                <c:pt idx="30">
                  <c:v>0.005517503805175038</c:v>
                </c:pt>
                <c:pt idx="31">
                  <c:v>0.006039255158530448</c:v>
                </c:pt>
                <c:pt idx="32">
                  <c:v>0.005433228481555619</c:v>
                </c:pt>
                <c:pt idx="33">
                  <c:v>0.005368748233964397</c:v>
                </c:pt>
                <c:pt idx="34">
                  <c:v>0.005888125613346418</c:v>
                </c:pt>
                <c:pt idx="35">
                  <c:v>0.004975124378109453</c:v>
                </c:pt>
                <c:pt idx="36">
                  <c:v>0.0043534343760077395</c:v>
                </c:pt>
                <c:pt idx="37">
                  <c:v>0.006612627986348123</c:v>
                </c:pt>
                <c:pt idx="38">
                  <c:v>0.00870195794053662</c:v>
                </c:pt>
                <c:pt idx="39">
                  <c:v>0.007761642463695543</c:v>
                </c:pt>
                <c:pt idx="40">
                  <c:v>0.008776328986960883</c:v>
                </c:pt>
                <c:pt idx="41">
                  <c:v>0.006531069229333831</c:v>
                </c:pt>
                <c:pt idx="42">
                  <c:v>0.006497022198159177</c:v>
                </c:pt>
                <c:pt idx="43">
                  <c:v>0.00613132911392405</c:v>
                </c:pt>
                <c:pt idx="44">
                  <c:v>0.006536897152818129</c:v>
                </c:pt>
                <c:pt idx="45">
                  <c:v>0.008605163097858715</c:v>
                </c:pt>
                <c:pt idx="46">
                  <c:v>0.009656925031766201</c:v>
                </c:pt>
                <c:pt idx="47">
                  <c:v>0.009123421648054887</c:v>
                </c:pt>
                <c:pt idx="48">
                  <c:v>0.008297460852205377</c:v>
                </c:pt>
                <c:pt idx="49">
                  <c:v>0.0065237651444548</c:v>
                </c:pt>
                <c:pt idx="50">
                  <c:v>0.00939318370739817</c:v>
                </c:pt>
                <c:pt idx="51">
                  <c:v>0.008766662663624355</c:v>
                </c:pt>
                <c:pt idx="52">
                  <c:v>0.007103393843725336</c:v>
                </c:pt>
                <c:pt idx="53">
                  <c:v>0.0060110603510459245</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0.8081862072896834</c:v>
                </c:pt>
                <c:pt idx="1">
                  <c:v>0.728138406612217</c:v>
                </c:pt>
                <c:pt idx="2">
                  <c:v>0.8079159068352365</c:v>
                </c:pt>
                <c:pt idx="3">
                  <c:v>0.6182159835610993</c:v>
                </c:pt>
                <c:pt idx="4">
                  <c:v>0.6763604069740071</c:v>
                </c:pt>
                <c:pt idx="5">
                  <c:v>0.8015658021163747</c:v>
                </c:pt>
                <c:pt idx="6">
                  <c:v>0.744910988015363</c:v>
                </c:pt>
                <c:pt idx="7">
                  <c:v>0.6435222652605012</c:v>
                </c:pt>
                <c:pt idx="8">
                  <c:v>0.6493776491102613</c:v>
                </c:pt>
                <c:pt idx="9">
                  <c:v>0.6592570480660301</c:v>
                </c:pt>
                <c:pt idx="10">
                  <c:v>0.6128209337280381</c:v>
                </c:pt>
                <c:pt idx="11">
                  <c:v>0.6456847719071253</c:v>
                </c:pt>
                <c:pt idx="12">
                  <c:v>0.5426941124454461</c:v>
                </c:pt>
                <c:pt idx="13">
                  <c:v>0.43827571938914295</c:v>
                </c:pt>
                <c:pt idx="14">
                  <c:v>0.47178087076168634</c:v>
                </c:pt>
                <c:pt idx="15">
                  <c:v>0.5565762187208598</c:v>
                </c:pt>
                <c:pt idx="16">
                  <c:v>0.44601760445947874</c:v>
                </c:pt>
                <c:pt idx="17">
                  <c:v>0.3714743143876836</c:v>
                </c:pt>
                <c:pt idx="18">
                  <c:v>0.6239458917751048</c:v>
                </c:pt>
                <c:pt idx="19">
                  <c:v>0.527983296836983</c:v>
                </c:pt>
                <c:pt idx="20">
                  <c:v>0.6062531317613343</c:v>
                </c:pt>
                <c:pt idx="21">
                  <c:v>0.43329127987132354</c:v>
                </c:pt>
                <c:pt idx="22">
                  <c:v>0.47249492032456714</c:v>
                </c:pt>
                <c:pt idx="23">
                  <c:v>0.414020948926421</c:v>
                </c:pt>
                <c:pt idx="24">
                  <c:v>0.531377712567303</c:v>
                </c:pt>
                <c:pt idx="25">
                  <c:v>0.4946743577736121</c:v>
                </c:pt>
                <c:pt idx="26">
                  <c:v>0.4564138971019851</c:v>
                </c:pt>
                <c:pt idx="27">
                  <c:v>0.47616720827939696</c:v>
                </c:pt>
                <c:pt idx="28">
                  <c:v>0.529746030428769</c:v>
                </c:pt>
                <c:pt idx="29">
                  <c:v>0.5100220121419803</c:v>
                </c:pt>
                <c:pt idx="30">
                  <c:v>0.4878387489139878</c:v>
                </c:pt>
                <c:pt idx="31">
                  <c:v>0.3490291202214409</c:v>
                </c:pt>
                <c:pt idx="32">
                  <c:v>0.5922516011497401</c:v>
                </c:pt>
                <c:pt idx="33">
                  <c:v>0.6779552779230588</c:v>
                </c:pt>
                <c:pt idx="34">
                  <c:v>0.6344077714595181</c:v>
                </c:pt>
                <c:pt idx="35">
                  <c:v>0.49813772592712224</c:v>
                </c:pt>
                <c:pt idx="36">
                  <c:v>0.4305210660415818</c:v>
                </c:pt>
                <c:pt idx="37">
                  <c:v>0.5524717621488077</c:v>
                </c:pt>
                <c:pt idx="38">
                  <c:v>0.3843990152001713</c:v>
                </c:pt>
                <c:pt idx="39">
                  <c:v>0.4130692710783757</c:v>
                </c:pt>
                <c:pt idx="40">
                  <c:v>0.452766372916785</c:v>
                </c:pt>
                <c:pt idx="41">
                  <c:v>0.4080176979816505</c:v>
                </c:pt>
                <c:pt idx="42">
                  <c:v>0.36615769130190234</c:v>
                </c:pt>
                <c:pt idx="43">
                  <c:v>0.46992502739697856</c:v>
                </c:pt>
                <c:pt idx="44">
                  <c:v>0.5411813806935103</c:v>
                </c:pt>
                <c:pt idx="45">
                  <c:v>0.5899371312348474</c:v>
                </c:pt>
                <c:pt idx="46">
                  <c:v>0.6529252996158132</c:v>
                </c:pt>
                <c:pt idx="47">
                  <c:v>0.3904250175928756</c:v>
                </c:pt>
                <c:pt idx="48">
                  <c:v>0.4839955611075248</c:v>
                </c:pt>
                <c:pt idx="49">
                  <c:v>0.5360188030689093</c:v>
                </c:pt>
                <c:pt idx="50">
                  <c:v>0.6362387622149837</c:v>
                </c:pt>
                <c:pt idx="51">
                  <c:v>0.5910895655824546</c:v>
                </c:pt>
              </c:numCache>
            </c:numRef>
          </c:xVal>
          <c:yVal>
            <c:numRef>
              <c:f>Sheet1!$B$58:$B$109</c:f>
              <c:numCache>
                <c:formatCode>General</c:formatCode>
                <c:ptCount val="52"/>
                <c:pt idx="0">
                  <c:v>0.006063278580090398</c:v>
                </c:pt>
                <c:pt idx="1">
                  <c:v>0.007647958583362749</c:v>
                </c:pt>
                <c:pt idx="2">
                  <c:v>0.0066518847006651885</c:v>
                </c:pt>
                <c:pt idx="3">
                  <c:v>0.007533744899026891</c:v>
                </c:pt>
                <c:pt idx="4">
                  <c:v>0.0071950288891311455</c:v>
                </c:pt>
                <c:pt idx="5">
                  <c:v>0.006082595240636005</c:v>
                </c:pt>
                <c:pt idx="6">
                  <c:v>0.00642843637738703</c:v>
                </c:pt>
                <c:pt idx="7">
                  <c:v>0.007775042114811455</c:v>
                </c:pt>
                <c:pt idx="8">
                  <c:v>0.00978768257792501</c:v>
                </c:pt>
                <c:pt idx="9">
                  <c:v>0.009606277905560817</c:v>
                </c:pt>
                <c:pt idx="10">
                  <c:v>0.009107708553326294</c:v>
                </c:pt>
                <c:pt idx="11">
                  <c:v>0.008787823881137887</c:v>
                </c:pt>
                <c:pt idx="12">
                  <c:v>0.00942486880154225</c:v>
                </c:pt>
                <c:pt idx="13">
                  <c:v>0.014613282642271594</c:v>
                </c:pt>
                <c:pt idx="14">
                  <c:v>0.014304123711340206</c:v>
                </c:pt>
                <c:pt idx="15">
                  <c:v>0.01403260099220411</c:v>
                </c:pt>
                <c:pt idx="16">
                  <c:v>0.01363711957425578</c:v>
                </c:pt>
                <c:pt idx="17">
                  <c:v>0.017850953206239167</c:v>
                </c:pt>
                <c:pt idx="18">
                  <c:v>0.009318001586042823</c:v>
                </c:pt>
                <c:pt idx="19">
                  <c:v>0.008838891120932101</c:v>
                </c:pt>
                <c:pt idx="20">
                  <c:v>0.011400651465798045</c:v>
                </c:pt>
                <c:pt idx="21">
                  <c:v>0.012847404299947561</c:v>
                </c:pt>
                <c:pt idx="22">
                  <c:v>0.011157239231966787</c:v>
                </c:pt>
                <c:pt idx="23">
                  <c:v>0.012285012285012284</c:v>
                </c:pt>
                <c:pt idx="24">
                  <c:v>0.01092479674796748</c:v>
                </c:pt>
                <c:pt idx="25">
                  <c:v>0.011283127787982157</c:v>
                </c:pt>
                <c:pt idx="26">
                  <c:v>0.0112079701120797</c:v>
                </c:pt>
                <c:pt idx="27">
                  <c:v>0.011976047904191617</c:v>
                </c:pt>
                <c:pt idx="28">
                  <c:v>0.009570352270413357</c:v>
                </c:pt>
                <c:pt idx="29">
                  <c:v>0.01171193620732619</c:v>
                </c:pt>
                <c:pt idx="30">
                  <c:v>0.011421319796954314</c:v>
                </c:pt>
                <c:pt idx="31">
                  <c:v>0.012285012285012284</c:v>
                </c:pt>
                <c:pt idx="32">
                  <c:v>0.01033902380379899</c:v>
                </c:pt>
                <c:pt idx="33">
                  <c:v>0.007940804908861216</c:v>
                </c:pt>
                <c:pt idx="34">
                  <c:v>0.0074721556464119555</c:v>
                </c:pt>
                <c:pt idx="35">
                  <c:v>0.010269121813031162</c:v>
                </c:pt>
                <c:pt idx="36">
                  <c:v>0.012914587613736424</c:v>
                </c:pt>
                <c:pt idx="37">
                  <c:v>0.013386880856760375</c:v>
                </c:pt>
                <c:pt idx="38">
                  <c:v>0.0164183642444512</c:v>
                </c:pt>
                <c:pt idx="39">
                  <c:v>0.015067582539330823</c:v>
                </c:pt>
                <c:pt idx="40">
                  <c:v>0.013651137594799566</c:v>
                </c:pt>
                <c:pt idx="41">
                  <c:v>0.011461894228835713</c:v>
                </c:pt>
                <c:pt idx="42">
                  <c:v>0.013073394495412845</c:v>
                </c:pt>
                <c:pt idx="43">
                  <c:v>0.010628875110717449</c:v>
                </c:pt>
                <c:pt idx="44">
                  <c:v>0.007437070938215103</c:v>
                </c:pt>
                <c:pt idx="45">
                  <c:v>0.005685785536159601</c:v>
                </c:pt>
                <c:pt idx="46">
                  <c:v>0.006071019473081329</c:v>
                </c:pt>
                <c:pt idx="47">
                  <c:v>0.00546222817685252</c:v>
                </c:pt>
                <c:pt idx="48">
                  <c:v>0.006094980106662152</c:v>
                </c:pt>
                <c:pt idx="49">
                  <c:v>0.005474018246727489</c:v>
                </c:pt>
                <c:pt idx="50">
                  <c:v>0.004465726891208437</c:v>
                </c:pt>
                <c:pt idx="51">
                  <c:v>0.005882929698990097</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0.4494012101223601</c:v>
                </c:pt>
              </c:numCache>
            </c:numRef>
          </c:xVal>
          <c:yVal>
            <c:numRef>
              <c:f>Sheet1!$B$112:$B$113</c:f>
              <c:numCache>
                <c:formatCode>General</c:formatCode>
                <c:ptCount val="2"/>
                <c:pt idx="0">
                  <c:v>0.011828439056969127</c:v>
                </c:pt>
                <c:pt idx="1">
                  <c:v>0.011828439056969127</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0.4494012101223601</c:v>
                </c:pt>
                <c:pt idx="1">
                  <c:v>0.4494012101223601</c:v>
                </c:pt>
              </c:numCache>
            </c:numRef>
          </c:xVal>
          <c:yVal>
            <c:numRef>
              <c:f>Sheet1!$B$116:$B$117</c:f>
              <c:numCache>
                <c:formatCode>General</c:formatCode>
                <c:ptCount val="2"/>
                <c:pt idx="0">
                  <c:v>0.01182843905696912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0.4494012101223601</c:v>
                </c:pt>
              </c:numCache>
            </c:numRef>
          </c:xVal>
          <c:yVal>
            <c:numRef>
              <c:f>Sheet1!$B$120:$B$121</c:f>
              <c:numCache>
                <c:formatCode>General</c:formatCode>
                <c:ptCount val="2"/>
                <c:pt idx="0">
                  <c:v>0.011828439056969127</c:v>
                </c:pt>
                <c:pt idx="1">
                  <c:v>0.011828439056969127</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0.4494012101223601</c:v>
                </c:pt>
                <c:pt idx="1">
                  <c:v>0.4494012101223601</c:v>
                </c:pt>
              </c:numCache>
            </c:numRef>
          </c:xVal>
          <c:yVal>
            <c:numRef>
              <c:f>Sheet1!$B$124:$B$125</c:f>
              <c:numCache>
                <c:formatCode>General</c:formatCode>
                <c:ptCount val="2"/>
                <c:pt idx="0">
                  <c:v>0.01182843905696912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0.6307630500531657</c:v>
                </c:pt>
              </c:numCache>
            </c:numRef>
          </c:xVal>
          <c:yVal>
            <c:numRef>
              <c:f>Sheet1!$B$128:$B$129</c:f>
              <c:numCache>
                <c:formatCode>General</c:formatCode>
                <c:ptCount val="2"/>
                <c:pt idx="0">
                  <c:v>0.00849666484899947</c:v>
                </c:pt>
                <c:pt idx="1">
                  <c:v>0.00849666484899947</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0.6307630500531657</c:v>
                </c:pt>
                <c:pt idx="1">
                  <c:v>0.6307630500531657</c:v>
                </c:pt>
              </c:numCache>
            </c:numRef>
          </c:xVal>
          <c:yVal>
            <c:numRef>
              <c:f>Sheet1!$B$132:$B$133</c:f>
              <c:numCache>
                <c:formatCode>General</c:formatCode>
                <c:ptCount val="2"/>
                <c:pt idx="0">
                  <c:v>0.008496664848999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0.8081862072896834</c:v>
                </c:pt>
                <c:pt idx="1">
                  <c:v>0.728138406612217</c:v>
                </c:pt>
                <c:pt idx="2">
                  <c:v>0.8079159068352365</c:v>
                </c:pt>
                <c:pt idx="3">
                  <c:v>0.6182159835610993</c:v>
                </c:pt>
                <c:pt idx="4">
                  <c:v>0.6763604069740071</c:v>
                </c:pt>
                <c:pt idx="5">
                  <c:v>0.8015658021163747</c:v>
                </c:pt>
                <c:pt idx="6">
                  <c:v>0.744910988015363</c:v>
                </c:pt>
                <c:pt idx="7">
                  <c:v>0.6435222652605012</c:v>
                </c:pt>
                <c:pt idx="8">
                  <c:v>0.6493776491102613</c:v>
                </c:pt>
                <c:pt idx="9">
                  <c:v>0.6592570480660301</c:v>
                </c:pt>
                <c:pt idx="10">
                  <c:v>0.6128209337280381</c:v>
                </c:pt>
                <c:pt idx="11">
                  <c:v>0.6456847719071253</c:v>
                </c:pt>
                <c:pt idx="12">
                  <c:v>0.5426941124454461</c:v>
                </c:pt>
                <c:pt idx="13">
                  <c:v>0.43827571938914295</c:v>
                </c:pt>
                <c:pt idx="14">
                  <c:v>0.47178087076168634</c:v>
                </c:pt>
                <c:pt idx="15">
                  <c:v>0.5565762187208598</c:v>
                </c:pt>
                <c:pt idx="16">
                  <c:v>0.44601760445947874</c:v>
                </c:pt>
                <c:pt idx="17">
                  <c:v>0.3714743143876836</c:v>
                </c:pt>
                <c:pt idx="18">
                  <c:v>0.6239458917751048</c:v>
                </c:pt>
                <c:pt idx="19">
                  <c:v>0.527983296836983</c:v>
                </c:pt>
                <c:pt idx="20">
                  <c:v>0.6062531317613343</c:v>
                </c:pt>
                <c:pt idx="21">
                  <c:v>0.43329127987132354</c:v>
                </c:pt>
                <c:pt idx="22">
                  <c:v>0.47249492032456714</c:v>
                </c:pt>
                <c:pt idx="23">
                  <c:v>0.414020948926421</c:v>
                </c:pt>
                <c:pt idx="24">
                  <c:v>0.531377712567303</c:v>
                </c:pt>
                <c:pt idx="25">
                  <c:v>0.4946743577736121</c:v>
                </c:pt>
                <c:pt idx="26">
                  <c:v>0.4564138971019851</c:v>
                </c:pt>
                <c:pt idx="27">
                  <c:v>0.47616720827939696</c:v>
                </c:pt>
                <c:pt idx="28">
                  <c:v>0.529746030428769</c:v>
                </c:pt>
                <c:pt idx="29">
                  <c:v>0.5100220121419803</c:v>
                </c:pt>
                <c:pt idx="30">
                  <c:v>0.4878387489139878</c:v>
                </c:pt>
                <c:pt idx="31">
                  <c:v>0.3490291202214409</c:v>
                </c:pt>
                <c:pt idx="32">
                  <c:v>0.5922516011497401</c:v>
                </c:pt>
                <c:pt idx="33">
                  <c:v>0.6779552779230588</c:v>
                </c:pt>
                <c:pt idx="34">
                  <c:v>0.6344077714595181</c:v>
                </c:pt>
                <c:pt idx="35">
                  <c:v>0.49813772592712224</c:v>
                </c:pt>
                <c:pt idx="36">
                  <c:v>0.4305210660415818</c:v>
                </c:pt>
                <c:pt idx="37">
                  <c:v>0.5524717621488077</c:v>
                </c:pt>
                <c:pt idx="38">
                  <c:v>0.3843990152001713</c:v>
                </c:pt>
                <c:pt idx="39">
                  <c:v>0.4130692710783757</c:v>
                </c:pt>
                <c:pt idx="40">
                  <c:v>0.452766372916785</c:v>
                </c:pt>
                <c:pt idx="41">
                  <c:v>0.4080176979816505</c:v>
                </c:pt>
                <c:pt idx="42">
                  <c:v>0.36615769130190234</c:v>
                </c:pt>
                <c:pt idx="43">
                  <c:v>0.46992502739697856</c:v>
                </c:pt>
                <c:pt idx="44">
                  <c:v>0.5411813806935103</c:v>
                </c:pt>
                <c:pt idx="45">
                  <c:v>0.5899371312348474</c:v>
                </c:pt>
                <c:pt idx="46">
                  <c:v>0.6529252996158132</c:v>
                </c:pt>
                <c:pt idx="47">
                  <c:v>0.3904250175928756</c:v>
                </c:pt>
                <c:pt idx="48">
                  <c:v>0.4839955611075248</c:v>
                </c:pt>
                <c:pt idx="49">
                  <c:v>0.5360188030689093</c:v>
                </c:pt>
                <c:pt idx="50">
                  <c:v>0.6362387622149837</c:v>
                </c:pt>
                <c:pt idx="51">
                  <c:v>0.5910895655824546</c:v>
                </c:pt>
                <c:pt idx="52">
                  <c:v>0.4494012101223601</c:v>
                </c:pt>
                <c:pt idx="53">
                  <c:v>0.4494012101223601</c:v>
                </c:pt>
                <c:pt idx="54">
                  <c:v>0.6307630500531657</c:v>
                </c:pt>
              </c:numCache>
            </c:numRef>
          </c:xVal>
          <c:yVal>
            <c:numRef>
              <c:f>Sheet1!$B$136:$B$190</c:f>
              <c:numCache>
                <c:formatCode>General</c:formatCode>
                <c:ptCount val="55"/>
                <c:pt idx="0">
                  <c:v>0.005237247656260867</c:v>
                </c:pt>
                <c:pt idx="1">
                  <c:v>0.006707795141904111</c:v>
                </c:pt>
                <c:pt idx="2">
                  <c:v>0.005242213309911448</c:v>
                </c:pt>
                <c:pt idx="3">
                  <c:v>0.008727165336532552</c:v>
                </c:pt>
                <c:pt idx="4">
                  <c:v>0.007659001877569497</c:v>
                </c:pt>
                <c:pt idx="5">
                  <c:v>0.00535887023800769</c:v>
                </c:pt>
                <c:pt idx="6">
                  <c:v>0.006399668282685025</c:v>
                </c:pt>
                <c:pt idx="7">
                  <c:v>0.008262267005671715</c:v>
                </c:pt>
                <c:pt idx="8">
                  <c:v>0.008154698528775825</c:v>
                </c:pt>
                <c:pt idx="9">
                  <c:v>0.007973205406277557</c:v>
                </c:pt>
                <c:pt idx="10">
                  <c:v>0.008826277078514008</c:v>
                </c:pt>
                <c:pt idx="11">
                  <c:v>0.0082225398840648</c:v>
                </c:pt>
                <c:pt idx="12">
                  <c:v>0.010114567572949774</c:v>
                </c:pt>
                <c:pt idx="13">
                  <c:v>0.012032823965558942</c:v>
                </c:pt>
                <c:pt idx="14">
                  <c:v>0.01141730529184153</c:v>
                </c:pt>
                <c:pt idx="15">
                  <c:v>0.00985954124735469</c:v>
                </c:pt>
                <c:pt idx="16">
                  <c:v>0.011890598825980234</c:v>
                </c:pt>
                <c:pt idx="17">
                  <c:v>0.013260023680366164</c:v>
                </c:pt>
                <c:pt idx="18">
                  <c:v>0.00862190195583052</c:v>
                </c:pt>
                <c:pt idx="19">
                  <c:v>0.010384818007336493</c:v>
                </c:pt>
                <c:pt idx="20">
                  <c:v>0.008946933293757882</c:v>
                </c:pt>
                <c:pt idx="21">
                  <c:v>0.012124392440123335</c:v>
                </c:pt>
                <c:pt idx="22">
                  <c:v>0.011404187582417508</c:v>
                </c:pt>
                <c:pt idx="23">
                  <c:v>0.012478405123528848</c:v>
                </c:pt>
                <c:pt idx="24">
                  <c:v>0.010322459648016133</c:v>
                </c:pt>
                <c:pt idx="25">
                  <c:v>0.010996732090853252</c:v>
                </c:pt>
                <c:pt idx="26">
                  <c:v>0.011699609918401755</c:v>
                </c:pt>
                <c:pt idx="27">
                  <c:v>0.011336724469467133</c:v>
                </c:pt>
                <c:pt idx="28">
                  <c:v>0.010352435063279049</c:v>
                </c:pt>
                <c:pt idx="29">
                  <c:v>0.0107147823764212</c:v>
                </c:pt>
                <c:pt idx="30">
                  <c:v>0.011122308150860993</c:v>
                </c:pt>
                <c:pt idx="31">
                  <c:v>0.013672361353189123</c:v>
                </c:pt>
                <c:pt idx="32">
                  <c:v>0.00920415354792825</c:v>
                </c:pt>
                <c:pt idx="33">
                  <c:v>0.007629702715766122</c:v>
                </c:pt>
                <c:pt idx="34">
                  <c:v>0.00842970815743992</c:v>
                </c:pt>
                <c:pt idx="35">
                  <c:v>0.01093310701574941</c:v>
                </c:pt>
                <c:pt idx="36">
                  <c:v>0.012175283669458104</c:v>
                </c:pt>
                <c:pt idx="37">
                  <c:v>0.009934943672416721</c:v>
                </c:pt>
                <c:pt idx="38">
                  <c:v>0.013022585723025192</c:v>
                </c:pt>
                <c:pt idx="39">
                  <c:v>0.012495888270532779</c:v>
                </c:pt>
                <c:pt idx="40">
                  <c:v>0.01176661809943825</c:v>
                </c:pt>
                <c:pt idx="41">
                  <c:v>0.012588690047134537</c:v>
                </c:pt>
                <c:pt idx="42">
                  <c:v>0.013357694655018054</c:v>
                </c:pt>
                <c:pt idx="43">
                  <c:v>0.01145139874313715</c:v>
                </c:pt>
                <c:pt idx="44">
                  <c:v>0.010142357766502063</c:v>
                </c:pt>
                <c:pt idx="45">
                  <c:v>0.009246672366498369</c:v>
                </c:pt>
                <c:pt idx="46">
                  <c:v>0.008089525113807174</c:v>
                </c:pt>
                <c:pt idx="47">
                  <c:v>0.012911882835599502</c:v>
                </c:pt>
                <c:pt idx="48">
                  <c:v>0.011192910842225626</c:v>
                </c:pt>
                <c:pt idx="49">
                  <c:v>0.010237198792502072</c:v>
                </c:pt>
                <c:pt idx="50">
                  <c:v>0.008396071270118868</c:v>
                </c:pt>
                <c:pt idx="51">
                  <c:v>0.009225501148577328</c:v>
                </c:pt>
                <c:pt idx="52">
                  <c:v>0.011828439056969127</c:v>
                </c:pt>
                <c:pt idx="53">
                  <c:v>0.011828439056969127</c:v>
                </c:pt>
                <c:pt idx="54">
                  <c:v>0.008496664848999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142114384748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9.313588525658937e-05</c:v>
                </c:pt>
                <c:pt idx="2">
                  <c:v>0.0</c:v>
                </c:pt>
                <c:pt idx="3">
                  <c:v>0.0001316829075585989</c:v>
                </c:pt>
                <c:pt idx="4">
                  <c:v>0.00013349352556401014</c:v>
                </c:pt>
                <c:pt idx="5">
                  <c:v>0.0002865740077374982</c:v>
                </c:pt>
                <c:pt idx="6">
                  <c:v>0.00024061597690086623</c:v>
                </c:pt>
                <c:pt idx="7">
                  <c:v>0.0003185051491665782</c:v>
                </c:pt>
                <c:pt idx="8">
                  <c:v>0.00040785806539324316</c:v>
                </c:pt>
                <c:pt idx="9">
                  <c:v>0.0008953219428486159</c:v>
                </c:pt>
                <c:pt idx="10">
                  <c:v>0.0010504201680672268</c:v>
                </c:pt>
                <c:pt idx="11">
                  <c:v>0.0007823960880195599</c:v>
                </c:pt>
                <c:pt idx="12">
                  <c:v>0.0009771697610375767</c:v>
                </c:pt>
                <c:pt idx="13">
                  <c:v>0.0009279568078285811</c:v>
                </c:pt>
                <c:pt idx="14">
                  <c:v>0.001028133470417796</c:v>
                </c:pt>
                <c:pt idx="15">
                  <c:v>0.0009663703131039815</c:v>
                </c:pt>
                <c:pt idx="16">
                  <c:v>0.0010564124234100994</c:v>
                </c:pt>
                <c:pt idx="17">
                  <c:v>0.0017344896597731821</c:v>
                </c:pt>
                <c:pt idx="18">
                  <c:v>0.002054794520547945</c:v>
                </c:pt>
                <c:pt idx="19">
                  <c:v>0.001324722636198046</c:v>
                </c:pt>
                <c:pt idx="20">
                  <c:v>0.0018786398647379298</c:v>
                </c:pt>
                <c:pt idx="21">
                  <c:v>0.0019017980636237897</c:v>
                </c:pt>
                <c:pt idx="22">
                  <c:v>0.0029205607476635513</c:v>
                </c:pt>
                <c:pt idx="23">
                  <c:v>0.0027100271002710027</c:v>
                </c:pt>
                <c:pt idx="24">
                  <c:v>0.0024321037697608433</c:v>
                </c:pt>
                <c:pt idx="25">
                  <c:v>0.0035374751271280125</c:v>
                </c:pt>
                <c:pt idx="26">
                  <c:v>0.004714757190004715</c:v>
                </c:pt>
                <c:pt idx="27">
                  <c:v>0.006237006237006237</c:v>
                </c:pt>
                <c:pt idx="28">
                  <c:v>0.004740459824602986</c:v>
                </c:pt>
                <c:pt idx="29">
                  <c:v>0.004390018484288355</c:v>
                </c:pt>
                <c:pt idx="30">
                  <c:v>0.005517503805175038</c:v>
                </c:pt>
                <c:pt idx="31">
                  <c:v>0.006039255158530448</c:v>
                </c:pt>
                <c:pt idx="32">
                  <c:v>0.005433228481555619</c:v>
                </c:pt>
                <c:pt idx="33">
                  <c:v>0.005368748233964397</c:v>
                </c:pt>
                <c:pt idx="34">
                  <c:v>0.005888125613346418</c:v>
                </c:pt>
                <c:pt idx="35">
                  <c:v>0.004975124378109453</c:v>
                </c:pt>
                <c:pt idx="36">
                  <c:v>0.0043534343760077395</c:v>
                </c:pt>
                <c:pt idx="37">
                  <c:v>0.006612627986348123</c:v>
                </c:pt>
                <c:pt idx="38">
                  <c:v>0.00870195794053662</c:v>
                </c:pt>
                <c:pt idx="39">
                  <c:v>0.007761642463695543</c:v>
                </c:pt>
                <c:pt idx="40">
                  <c:v>0.008776328986960883</c:v>
                </c:pt>
                <c:pt idx="41">
                  <c:v>0.006531069229333831</c:v>
                </c:pt>
                <c:pt idx="42">
                  <c:v>0.006497022198159177</c:v>
                </c:pt>
                <c:pt idx="43">
                  <c:v>0.00613132911392405</c:v>
                </c:pt>
                <c:pt idx="44">
                  <c:v>0.006536897152818129</c:v>
                </c:pt>
                <c:pt idx="45">
                  <c:v>0.008605163097858715</c:v>
                </c:pt>
                <c:pt idx="46">
                  <c:v>0.009656925031766201</c:v>
                </c:pt>
                <c:pt idx="47">
                  <c:v>0.009123421648054887</c:v>
                </c:pt>
                <c:pt idx="48">
                  <c:v>0.008297460852205377</c:v>
                </c:pt>
                <c:pt idx="49">
                  <c:v>0.0065237651444548</c:v>
                </c:pt>
                <c:pt idx="50">
                  <c:v>0.00939318370739817</c:v>
                </c:pt>
                <c:pt idx="51">
                  <c:v>0.008766662663624355</c:v>
                </c:pt>
                <c:pt idx="52">
                  <c:v>0.007103393843725336</c:v>
                </c:pt>
                <c:pt idx="53">
                  <c:v>0.0060110603510459245</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6063278580090398</c:v>
                </c:pt>
                <c:pt idx="1">
                  <c:v>0.007647958583362749</c:v>
                </c:pt>
                <c:pt idx="2">
                  <c:v>0.0066518847006651885</c:v>
                </c:pt>
                <c:pt idx="3">
                  <c:v>0.007533744899026891</c:v>
                </c:pt>
                <c:pt idx="4">
                  <c:v>0.0071950288891311455</c:v>
                </c:pt>
                <c:pt idx="5">
                  <c:v>0.006082595240636005</c:v>
                </c:pt>
                <c:pt idx="6">
                  <c:v>0.00642843637738703</c:v>
                </c:pt>
                <c:pt idx="7">
                  <c:v>0.007775042114811455</c:v>
                </c:pt>
                <c:pt idx="8">
                  <c:v>0.00978768257792501</c:v>
                </c:pt>
                <c:pt idx="9">
                  <c:v>0.009606277905560817</c:v>
                </c:pt>
                <c:pt idx="10">
                  <c:v>0.009107708553326294</c:v>
                </c:pt>
                <c:pt idx="11">
                  <c:v>0.008787823881137887</c:v>
                </c:pt>
                <c:pt idx="12">
                  <c:v>0.00942486880154225</c:v>
                </c:pt>
                <c:pt idx="13">
                  <c:v>0.014613282642271594</c:v>
                </c:pt>
                <c:pt idx="14">
                  <c:v>0.014304123711340206</c:v>
                </c:pt>
                <c:pt idx="15">
                  <c:v>0.01403260099220411</c:v>
                </c:pt>
                <c:pt idx="16">
                  <c:v>0.01363711957425578</c:v>
                </c:pt>
                <c:pt idx="17">
                  <c:v>0.017850953206239167</c:v>
                </c:pt>
                <c:pt idx="18">
                  <c:v>0.009318001586042823</c:v>
                </c:pt>
                <c:pt idx="19">
                  <c:v>0.008838891120932101</c:v>
                </c:pt>
                <c:pt idx="20">
                  <c:v>0.011400651465798045</c:v>
                </c:pt>
                <c:pt idx="21">
                  <c:v>0.012847404299947561</c:v>
                </c:pt>
                <c:pt idx="22">
                  <c:v>0.011157239231966787</c:v>
                </c:pt>
                <c:pt idx="23">
                  <c:v>0.012285012285012284</c:v>
                </c:pt>
                <c:pt idx="24">
                  <c:v>0.01092479674796748</c:v>
                </c:pt>
                <c:pt idx="25">
                  <c:v>0.011283127787982157</c:v>
                </c:pt>
                <c:pt idx="26">
                  <c:v>0.0112079701120797</c:v>
                </c:pt>
                <c:pt idx="27">
                  <c:v>0.011976047904191617</c:v>
                </c:pt>
                <c:pt idx="28">
                  <c:v>0.009570352270413357</c:v>
                </c:pt>
                <c:pt idx="29">
                  <c:v>0.01171193620732619</c:v>
                </c:pt>
                <c:pt idx="30">
                  <c:v>0.011421319796954314</c:v>
                </c:pt>
                <c:pt idx="31">
                  <c:v>0.012285012285012284</c:v>
                </c:pt>
                <c:pt idx="32">
                  <c:v>0.01033902380379899</c:v>
                </c:pt>
                <c:pt idx="33">
                  <c:v>0.007940804908861216</c:v>
                </c:pt>
                <c:pt idx="34">
                  <c:v>0.0074721556464119555</c:v>
                </c:pt>
                <c:pt idx="35">
                  <c:v>0.010269121813031162</c:v>
                </c:pt>
                <c:pt idx="36">
                  <c:v>0.012914587613736424</c:v>
                </c:pt>
                <c:pt idx="37">
                  <c:v>0.013386880856760375</c:v>
                </c:pt>
                <c:pt idx="38">
                  <c:v>0.0164183642444512</c:v>
                </c:pt>
                <c:pt idx="39">
                  <c:v>0.015067582539330823</c:v>
                </c:pt>
                <c:pt idx="40">
                  <c:v>0.013651137594799566</c:v>
                </c:pt>
                <c:pt idx="41">
                  <c:v>0.011461894228835713</c:v>
                </c:pt>
                <c:pt idx="42">
                  <c:v>0.013073394495412845</c:v>
                </c:pt>
                <c:pt idx="43">
                  <c:v>0.010628875110717449</c:v>
                </c:pt>
                <c:pt idx="44">
                  <c:v>0.007437070938215103</c:v>
                </c:pt>
                <c:pt idx="45">
                  <c:v>0.005685785536159601</c:v>
                </c:pt>
                <c:pt idx="46">
                  <c:v>0.006071019473081329</c:v>
                </c:pt>
                <c:pt idx="47">
                  <c:v>0.00546222817685252</c:v>
                </c:pt>
                <c:pt idx="48">
                  <c:v>0.006094980106662152</c:v>
                </c:pt>
                <c:pt idx="49">
                  <c:v>0.005474018246727489</c:v>
                </c:pt>
                <c:pt idx="50">
                  <c:v>0.004465726891208437</c:v>
                </c:pt>
                <c:pt idx="51">
                  <c:v>0.005882929698990097</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53.341783741836</c:v>
                </c:pt>
              </c:numCache>
            </c:numRef>
          </c:xVal>
          <c:yVal>
            <c:numRef>
              <c:f>Sheet1!$B$112:$B$113</c:f>
              <c:numCache>
                <c:formatCode>General</c:formatCode>
                <c:ptCount val="2"/>
                <c:pt idx="0">
                  <c:v>0.011828439056969127</c:v>
                </c:pt>
                <c:pt idx="1">
                  <c:v>0.011828439056969127</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53.341783741836</c:v>
                </c:pt>
                <c:pt idx="1">
                  <c:v>3553.341783741836</c:v>
                </c:pt>
              </c:numCache>
            </c:numRef>
          </c:xVal>
          <c:yVal>
            <c:numRef>
              <c:f>Sheet1!$B$116:$B$117</c:f>
              <c:numCache>
                <c:formatCode>General</c:formatCode>
                <c:ptCount val="2"/>
                <c:pt idx="0">
                  <c:v>0.01182843905696912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53.341783741836</c:v>
                </c:pt>
              </c:numCache>
            </c:numRef>
          </c:xVal>
          <c:yVal>
            <c:numRef>
              <c:f>Sheet1!$B$120:$B$121</c:f>
              <c:numCache>
                <c:formatCode>General</c:formatCode>
                <c:ptCount val="2"/>
                <c:pt idx="0">
                  <c:v>0.011828439056969127</c:v>
                </c:pt>
                <c:pt idx="1">
                  <c:v>0.011828439056969127</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53.341783741836</c:v>
                </c:pt>
                <c:pt idx="1">
                  <c:v>3553.341783741836</c:v>
                </c:pt>
              </c:numCache>
            </c:numRef>
          </c:xVal>
          <c:yVal>
            <c:numRef>
              <c:f>Sheet1!$B$124:$B$125</c:f>
              <c:numCache>
                <c:formatCode>General</c:formatCode>
                <c:ptCount val="2"/>
                <c:pt idx="0">
                  <c:v>0.01182843905696912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08.929843858342</c:v>
                </c:pt>
              </c:numCache>
            </c:numRef>
          </c:xVal>
          <c:yVal>
            <c:numRef>
              <c:f>Sheet1!$B$128:$B$129</c:f>
              <c:numCache>
                <c:formatCode>General</c:formatCode>
                <c:ptCount val="2"/>
                <c:pt idx="0">
                  <c:v>0.00849666484899947</c:v>
                </c:pt>
                <c:pt idx="1">
                  <c:v>0.00849666484899947</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08.929843858342</c:v>
                </c:pt>
                <c:pt idx="1">
                  <c:v>4208.929843858342</c:v>
                </c:pt>
              </c:numCache>
            </c:numRef>
          </c:xVal>
          <c:yVal>
            <c:numRef>
              <c:f>Sheet1!$B$132:$B$133</c:f>
              <c:numCache>
                <c:formatCode>General</c:formatCode>
                <c:ptCount val="2"/>
                <c:pt idx="0">
                  <c:v>0.008496664848999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53.341783741836</c:v>
                </c:pt>
                <c:pt idx="53">
                  <c:v>3553.341783741836</c:v>
                </c:pt>
                <c:pt idx="54">
                  <c:v>4208.929843858342</c:v>
                </c:pt>
              </c:numCache>
            </c:numRef>
          </c:xVal>
          <c:yVal>
            <c:numRef>
              <c:f>Sheet1!$B$136:$B$190</c:f>
              <c:numCache>
                <c:formatCode>General</c:formatCode>
                <c:ptCount val="55"/>
                <c:pt idx="0">
                  <c:v>0.007370480993861454</c:v>
                </c:pt>
                <c:pt idx="1">
                  <c:v>0.010970985980558599</c:v>
                </c:pt>
                <c:pt idx="2">
                  <c:v>0.007754165463853754</c:v>
                </c:pt>
                <c:pt idx="3">
                  <c:v>0.011384432335038618</c:v>
                </c:pt>
                <c:pt idx="4">
                  <c:v>0.007149162489265778</c:v>
                </c:pt>
                <c:pt idx="5">
                  <c:v>0.005285481129431384</c:v>
                </c:pt>
                <c:pt idx="6">
                  <c:v>0.006968759079720416</c:v>
                </c:pt>
                <c:pt idx="7">
                  <c:v>0.008555938292576462</c:v>
                </c:pt>
                <c:pt idx="8">
                  <c:v>0.009192401594634945</c:v>
                </c:pt>
                <c:pt idx="9">
                  <c:v>0.009184684402326861</c:v>
                </c:pt>
                <c:pt idx="10">
                  <c:v>0.008146231358643223</c:v>
                </c:pt>
                <c:pt idx="11">
                  <c:v>0.009597555461338145</c:v>
                </c:pt>
                <c:pt idx="12">
                  <c:v>0.010549251712205665</c:v>
                </c:pt>
                <c:pt idx="13">
                  <c:v>0.012578693382344533</c:v>
                </c:pt>
                <c:pt idx="14">
                  <c:v>0.012632188745975315</c:v>
                </c:pt>
                <c:pt idx="15">
                  <c:v>0.01149706624329385</c:v>
                </c:pt>
                <c:pt idx="16">
                  <c:v>0.010856516920415022</c:v>
                </c:pt>
                <c:pt idx="17">
                  <c:v>0.015042911553711036</c:v>
                </c:pt>
                <c:pt idx="18">
                  <c:v>0.009086266187403314</c:v>
                </c:pt>
                <c:pt idx="19">
                  <c:v>0.007830435819654074</c:v>
                </c:pt>
                <c:pt idx="20">
                  <c:v>0.008994562971621468</c:v>
                </c:pt>
                <c:pt idx="21">
                  <c:v>0.010720408212693034</c:v>
                </c:pt>
                <c:pt idx="22">
                  <c:v>0.009597236304488</c:v>
                </c:pt>
                <c:pt idx="23">
                  <c:v>0.014271624302715868</c:v>
                </c:pt>
                <c:pt idx="24">
                  <c:v>0.00963718427296853</c:v>
                </c:pt>
                <c:pt idx="25">
                  <c:v>0.011078614005097364</c:v>
                </c:pt>
                <c:pt idx="26">
                  <c:v>0.009773952131064148</c:v>
                </c:pt>
                <c:pt idx="27">
                  <c:v>0.011191617891357225</c:v>
                </c:pt>
                <c:pt idx="28">
                  <c:v>0.010422105823288112</c:v>
                </c:pt>
                <c:pt idx="29">
                  <c:v>0.011314611691953604</c:v>
                </c:pt>
                <c:pt idx="30">
                  <c:v>0.011695104593444444</c:v>
                </c:pt>
                <c:pt idx="31">
                  <c:v>0.010918557352960392</c:v>
                </c:pt>
                <c:pt idx="32">
                  <c:v>0.008449150849932831</c:v>
                </c:pt>
                <c:pt idx="33">
                  <c:v>0.006339181535882692</c:v>
                </c:pt>
                <c:pt idx="34">
                  <c:v>0.006073481933501022</c:v>
                </c:pt>
                <c:pt idx="35">
                  <c:v>0.009967230063674413</c:v>
                </c:pt>
                <c:pt idx="36">
                  <c:v>0.008418690682782531</c:v>
                </c:pt>
                <c:pt idx="37">
                  <c:v>0.008810586326704489</c:v>
                </c:pt>
                <c:pt idx="38">
                  <c:v>0.01163677308875316</c:v>
                </c:pt>
                <c:pt idx="39">
                  <c:v>0.013712352235776912</c:v>
                </c:pt>
                <c:pt idx="40">
                  <c:v>0.013492995935955786</c:v>
                </c:pt>
                <c:pt idx="41">
                  <c:v>0.012456078707560592</c:v>
                </c:pt>
                <c:pt idx="42">
                  <c:v>0.01325129611556667</c:v>
                </c:pt>
                <c:pt idx="43">
                  <c:v>0.01236540766942627</c:v>
                </c:pt>
                <c:pt idx="44">
                  <c:v>0.009189430589943929</c:v>
                </c:pt>
                <c:pt idx="45">
                  <c:v>0.008686308275534353</c:v>
                </c:pt>
                <c:pt idx="46">
                  <c:v>0.00902456066626598</c:v>
                </c:pt>
                <c:pt idx="47">
                  <c:v>0.009217393405562987</c:v>
                </c:pt>
                <c:pt idx="48">
                  <c:v>0.01151000276816723</c:v>
                </c:pt>
                <c:pt idx="49">
                  <c:v>0.010589477164189665</c:v>
                </c:pt>
                <c:pt idx="50">
                  <c:v>0.00904095201322104</c:v>
                </c:pt>
                <c:pt idx="51">
                  <c:v>0.008475217528278164</c:v>
                </c:pt>
                <c:pt idx="52">
                  <c:v>0.011828439056969127</c:v>
                </c:pt>
                <c:pt idx="53">
                  <c:v>0.011828439056969127</c:v>
                </c:pt>
                <c:pt idx="54">
                  <c:v>0.00849666484899947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142114384748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9645474036222855</c:v>
                </c:pt>
                <c:pt idx="1">
                  <c:v>0.5300334584775812</c:v>
                </c:pt>
                <c:pt idx="2">
                  <c:v>0.3757723593492797</c:v>
                </c:pt>
                <c:pt idx="3">
                  <c:v>0.46059321807363923</c:v>
                </c:pt>
                <c:pt idx="4">
                  <c:v>0.41971616832779624</c:v>
                </c:pt>
                <c:pt idx="5">
                  <c:v>0.44911817239454593</c:v>
                </c:pt>
                <c:pt idx="6">
                  <c:v>0.4443480952539839</c:v>
                </c:pt>
                <c:pt idx="7">
                  <c:v>0.5263509952606635</c:v>
                </c:pt>
                <c:pt idx="8">
                  <c:v>0.4401700884611437</c:v>
                </c:pt>
                <c:pt idx="9">
                  <c:v>0.45504359481445084</c:v>
                </c:pt>
                <c:pt idx="10">
                  <c:v>0.4702008019714826</c:v>
                </c:pt>
                <c:pt idx="11">
                  <c:v>0.5018393577204779</c:v>
                </c:pt>
                <c:pt idx="12">
                  <c:v>0.5150608461469046</c:v>
                </c:pt>
                <c:pt idx="13">
                  <c:v>0.39776635987877357</c:v>
                </c:pt>
                <c:pt idx="14">
                  <c:v>0.45226048718910705</c:v>
                </c:pt>
                <c:pt idx="15">
                  <c:v>0.4962587906259444</c:v>
                </c:pt>
                <c:pt idx="16">
                  <c:v>0.45485444144372655</c:v>
                </c:pt>
                <c:pt idx="17">
                  <c:v>0.43153398564588497</c:v>
                </c:pt>
                <c:pt idx="18">
                  <c:v>0.46362554388597144</c:v>
                </c:pt>
                <c:pt idx="19">
                  <c:v>0.4503299965120335</c:v>
                </c:pt>
                <c:pt idx="20">
                  <c:v>0.4689110507076577</c:v>
                </c:pt>
                <c:pt idx="21">
                  <c:v>0.4572239794827955</c:v>
                </c:pt>
                <c:pt idx="22">
                  <c:v>0.554061368078176</c:v>
                </c:pt>
                <c:pt idx="23">
                  <c:v>0.4549124309986379</c:v>
                </c:pt>
                <c:pt idx="24">
                  <c:v>0.38445401192113704</c:v>
                </c:pt>
                <c:pt idx="25">
                  <c:v>0.5327822502850128</c:v>
                </c:pt>
                <c:pt idx="26">
                  <c:v>0.2784557756153406</c:v>
                </c:pt>
                <c:pt idx="27">
                  <c:v>0.37948357058592214</c:v>
                </c:pt>
                <c:pt idx="28">
                  <c:v>0.4134001336240242</c:v>
                </c:pt>
                <c:pt idx="29">
                  <c:v>0.5084022099447514</c:v>
                </c:pt>
                <c:pt idx="30">
                  <c:v>0.3551671795782732</c:v>
                </c:pt>
                <c:pt idx="31">
                  <c:v>0.39072714870395636</c:v>
                </c:pt>
                <c:pt idx="32">
                  <c:v>0.27802777100364096</c:v>
                </c:pt>
                <c:pt idx="33">
                  <c:v>0.4831266268235764</c:v>
                </c:pt>
                <c:pt idx="34">
                  <c:v>0.32385873910814966</c:v>
                </c:pt>
                <c:pt idx="35">
                  <c:v>0.41299569936430436</c:v>
                </c:pt>
                <c:pt idx="36">
                  <c:v>0.4156543169841913</c:v>
                </c:pt>
                <c:pt idx="37">
                  <c:v>0.34179569401908283</c:v>
                </c:pt>
                <c:pt idx="38">
                  <c:v>0.6196146545178437</c:v>
                </c:pt>
                <c:pt idx="39">
                  <c:v>0.4041164244617125</c:v>
                </c:pt>
                <c:pt idx="40">
                  <c:v>0.5462301443583258</c:v>
                </c:pt>
                <c:pt idx="41">
                  <c:v>0.5089740026400704</c:v>
                </c:pt>
                <c:pt idx="42">
                  <c:v>0.28279619654406796</c:v>
                </c:pt>
                <c:pt idx="43">
                  <c:v>0.4251347854216088</c:v>
                </c:pt>
                <c:pt idx="44">
                  <c:v>0.47942003826402174</c:v>
                </c:pt>
                <c:pt idx="45">
                  <c:v>0.4842941354612477</c:v>
                </c:pt>
                <c:pt idx="46">
                  <c:v>0.42751923344249565</c:v>
                </c:pt>
                <c:pt idx="47">
                  <c:v>0.35244365751432727</c:v>
                </c:pt>
                <c:pt idx="48">
                  <c:v>0.466492155232569</c:v>
                </c:pt>
                <c:pt idx="49">
                  <c:v>0.4866832719835973</c:v>
                </c:pt>
                <c:pt idx="50">
                  <c:v>0.47785719066329</c:v>
                </c:pt>
                <c:pt idx="51">
                  <c:v>0.3790024971945759</c:v>
                </c:pt>
                <c:pt idx="52">
                  <c:v>0.44923974560267665</c:v>
                </c:pt>
                <c:pt idx="53">
                  <c:v>0.4789372835575799</c:v>
                </c:pt>
                <c:pt idx="54">
                  <c:v>0.49899956407533674</c:v>
                </c:pt>
                <c:pt idx="55">
                  <c:v>0.3297292808196624</c:v>
                </c:pt>
                <c:pt idx="56">
                  <c:v>0.44538071144413116</c:v>
                </c:pt>
                <c:pt idx="57">
                  <c:v>0.4229151184655886</c:v>
                </c:pt>
                <c:pt idx="58">
                  <c:v>0.5257372066685387</c:v>
                </c:pt>
                <c:pt idx="59">
                  <c:v>0.48164880797572607</c:v>
                </c:pt>
                <c:pt idx="60">
                  <c:v>0.4439213031036333</c:v>
                </c:pt>
                <c:pt idx="61">
                  <c:v>0.46585035903446625</c:v>
                </c:pt>
                <c:pt idx="62">
                  <c:v>0.49999248672880175</c:v>
                </c:pt>
                <c:pt idx="63">
                  <c:v>0.525845291923385</c:v>
                </c:pt>
                <c:pt idx="64">
                  <c:v>0.5269764091665032</c:v>
                </c:pt>
                <c:pt idx="65">
                  <c:v>0.41533477131199825</c:v>
                </c:pt>
                <c:pt idx="66">
                  <c:v>0.42460468280276636</c:v>
                </c:pt>
                <c:pt idx="67">
                  <c:v>0.42563350396956606</c:v>
                </c:pt>
                <c:pt idx="68">
                  <c:v>0.36522973476837867</c:v>
                </c:pt>
                <c:pt idx="69">
                  <c:v>0.3272695414961704</c:v>
                </c:pt>
                <c:pt idx="70">
                  <c:v>0.27690559897910355</c:v>
                </c:pt>
                <c:pt idx="71">
                  <c:v>0.26590635013108066</c:v>
                </c:pt>
                <c:pt idx="72">
                  <c:v>0.3539268497986152</c:v>
                </c:pt>
                <c:pt idx="73">
                  <c:v>0.22420136889308473</c:v>
                </c:pt>
                <c:pt idx="74">
                  <c:v>0.28655250061868026</c:v>
                </c:pt>
                <c:pt idx="75">
                  <c:v>0.3766205239587489</c:v>
                </c:pt>
                <c:pt idx="76">
                  <c:v>0.20548108292571948</c:v>
                </c:pt>
                <c:pt idx="77">
                  <c:v>0.35588901044045596</c:v>
                </c:pt>
                <c:pt idx="78">
                  <c:v>0.30998983944404507</c:v>
                </c:pt>
                <c:pt idx="79">
                  <c:v>0.12352745236441166</c:v>
                </c:pt>
                <c:pt idx="80">
                  <c:v>0.12378801549958483</c:v>
                </c:pt>
                <c:pt idx="81">
                  <c:v>0.27342908268202387</c:v>
                </c:pt>
                <c:pt idx="82">
                  <c:v>0.25455597532767926</c:v>
                </c:pt>
                <c:pt idx="83">
                  <c:v>0.2404213718920825</c:v>
                </c:pt>
                <c:pt idx="84">
                  <c:v>0.20467859964772764</c:v>
                </c:pt>
                <c:pt idx="85">
                  <c:v>0.22844602802076666</c:v>
                </c:pt>
                <c:pt idx="86">
                  <c:v>0.3585377482069016</c:v>
                </c:pt>
                <c:pt idx="87">
                  <c:v>0.39310819175027867</c:v>
                </c:pt>
                <c:pt idx="88">
                  <c:v>0.09167173691366416</c:v>
                </c:pt>
                <c:pt idx="89">
                  <c:v>0.36378560825354417</c:v>
                </c:pt>
                <c:pt idx="90">
                  <c:v>0.36509144010195416</c:v>
                </c:pt>
                <c:pt idx="91">
                  <c:v>0.3824675172364774</c:v>
                </c:pt>
                <c:pt idx="92">
                  <c:v>0.40526147042564953</c:v>
                </c:pt>
                <c:pt idx="93">
                  <c:v>0.37825500037232856</c:v>
                </c:pt>
                <c:pt idx="94">
                  <c:v>0.3574885376484986</c:v>
                </c:pt>
                <c:pt idx="95">
                  <c:v>0.41790703374626065</c:v>
                </c:pt>
                <c:pt idx="96">
                  <c:v>0.4357395850519377</c:v>
                </c:pt>
                <c:pt idx="97">
                  <c:v>0.4313684210526316</c:v>
                </c:pt>
                <c:pt idx="98">
                  <c:v>0.5382906427898486</c:v>
                </c:pt>
                <c:pt idx="99">
                  <c:v>0.43519319896864167</c:v>
                </c:pt>
                <c:pt idx="100">
                  <c:v>0.5132259808094132</c:v>
                </c:pt>
                <c:pt idx="101">
                  <c:v>0.5208645628807966</c:v>
                </c:pt>
                <c:pt idx="102">
                  <c:v>0.40518040722659837</c:v>
                </c:pt>
                <c:pt idx="103">
                  <c:v>0.4141234427487592</c:v>
                </c:pt>
                <c:pt idx="104">
                  <c:v>0.499614556872418</c:v>
                </c:pt>
              </c:numCache>
            </c:numRef>
          </c:xVal>
          <c:yVal>
            <c:numRef>
              <c:f>Sheet1!$B$2:$B$106</c:f>
              <c:numCache>
                <c:formatCode>General</c:formatCode>
                <c:ptCount val="105"/>
                <c:pt idx="0">
                  <c:v>0.9785223367697594</c:v>
                </c:pt>
                <c:pt idx="1">
                  <c:v>0.9732441471571907</c:v>
                </c:pt>
                <c:pt idx="2">
                  <c:v>0.9742310889443059</c:v>
                </c:pt>
                <c:pt idx="3">
                  <c:v>0.9751286449399656</c:v>
                </c:pt>
                <c:pt idx="4">
                  <c:v>0.9811881188118812</c:v>
                </c:pt>
                <c:pt idx="5">
                  <c:v>0.9757986447241046</c:v>
                </c:pt>
                <c:pt idx="6">
                  <c:v>0.9529130087789306</c:v>
                </c:pt>
                <c:pt idx="7">
                  <c:v>0.9618768328445748</c:v>
                </c:pt>
                <c:pt idx="8">
                  <c:v>0.9768145161290323</c:v>
                </c:pt>
                <c:pt idx="9">
                  <c:v>0.9748667174409749</c:v>
                </c:pt>
                <c:pt idx="10">
                  <c:v>0.9676975945017182</c:v>
                </c:pt>
                <c:pt idx="11">
                  <c:v>0.9713235294117647</c:v>
                </c:pt>
                <c:pt idx="12">
                  <c:v>0.9773926149208741</c:v>
                </c:pt>
                <c:pt idx="13">
                  <c:v>0.9839939024390244</c:v>
                </c:pt>
                <c:pt idx="14">
                  <c:v>0.9785373608903021</c:v>
                </c:pt>
                <c:pt idx="15">
                  <c:v>0.9813780260707635</c:v>
                </c:pt>
                <c:pt idx="16">
                  <c:v>0.977326968973747</c:v>
                </c:pt>
                <c:pt idx="17">
                  <c:v>0.9823269513991163</c:v>
                </c:pt>
                <c:pt idx="18">
                  <c:v>0.9786821705426356</c:v>
                </c:pt>
                <c:pt idx="19">
                  <c:v>0.9759615384615384</c:v>
                </c:pt>
                <c:pt idx="20">
                  <c:v>0.974903474903475</c:v>
                </c:pt>
                <c:pt idx="21">
                  <c:v>0.9741379310344828</c:v>
                </c:pt>
                <c:pt idx="22">
                  <c:v>0.982646420824295</c:v>
                </c:pt>
                <c:pt idx="23">
                  <c:v>0.9819819819819819</c:v>
                </c:pt>
                <c:pt idx="24">
                  <c:v>0.982</c:v>
                </c:pt>
                <c:pt idx="25">
                  <c:v>0.9786780383795309</c:v>
                </c:pt>
                <c:pt idx="26">
                  <c:v>0.989010989010989</c:v>
                </c:pt>
                <c:pt idx="27">
                  <c:v>0.9807692307692307</c:v>
                </c:pt>
                <c:pt idx="28">
                  <c:v>0.9762340036563071</c:v>
                </c:pt>
                <c:pt idx="29">
                  <c:v>0.9854439592430859</c:v>
                </c:pt>
                <c:pt idx="30">
                  <c:v>0.9848771266540642</c:v>
                </c:pt>
                <c:pt idx="31">
                  <c:v>0.987410071942446</c:v>
                </c:pt>
                <c:pt idx="32">
                  <c:v>0.985239852398524</c:v>
                </c:pt>
                <c:pt idx="33">
                  <c:v>0.9829619921363041</c:v>
                </c:pt>
                <c:pt idx="34">
                  <c:v>0.9907216494845361</c:v>
                </c:pt>
                <c:pt idx="35">
                  <c:v>0.9909338168631007</c:v>
                </c:pt>
                <c:pt idx="36">
                  <c:v>0.985781990521327</c:v>
                </c:pt>
                <c:pt idx="37">
                  <c:v>0.9896049896049897</c:v>
                </c:pt>
                <c:pt idx="38">
                  <c:v>0.9861932938856016</c:v>
                </c:pt>
                <c:pt idx="39">
                  <c:v>0.9844444444444445</c:v>
                </c:pt>
                <c:pt idx="40">
                  <c:v>0.9865092748735245</c:v>
                </c:pt>
                <c:pt idx="41">
                  <c:v>0.9766081871345029</c:v>
                </c:pt>
                <c:pt idx="42">
                  <c:v>0.9905660377358491</c:v>
                </c:pt>
                <c:pt idx="43">
                  <c:v>0.9836065573770492</c:v>
                </c:pt>
                <c:pt idx="44">
                  <c:v>0.9864222674813307</c:v>
                </c:pt>
                <c:pt idx="45">
                  <c:v>0.9889613647767185</c:v>
                </c:pt>
                <c:pt idx="46">
                  <c:v>0.9917770671539515</c:v>
                </c:pt>
                <c:pt idx="47">
                  <c:v>0.9936936936936936</c:v>
                </c:pt>
                <c:pt idx="48">
                  <c:v>0.9910585520623018</c:v>
                </c:pt>
                <c:pt idx="49">
                  <c:v>0.9927455357142857</c:v>
                </c:pt>
                <c:pt idx="50">
                  <c:v>0.9910833704859563</c:v>
                </c:pt>
                <c:pt idx="51">
                  <c:v>0.9910771191841937</c:v>
                </c:pt>
                <c:pt idx="52">
                  <c:v>0.9907407407407407</c:v>
                </c:pt>
                <c:pt idx="53">
                  <c:v>0.9879735417919423</c:v>
                </c:pt>
                <c:pt idx="54">
                  <c:v>0.9846153846153847</c:v>
                </c:pt>
                <c:pt idx="55">
                  <c:v>0.990667623833453</c:v>
                </c:pt>
                <c:pt idx="56">
                  <c:v>0.9906876790830945</c:v>
                </c:pt>
                <c:pt idx="57">
                  <c:v>0.9868026394721056</c:v>
                </c:pt>
                <c:pt idx="58">
                  <c:v>0.9868073878627969</c:v>
                </c:pt>
                <c:pt idx="59">
                  <c:v>0.9865876481597006</c:v>
                </c:pt>
                <c:pt idx="60">
                  <c:v>0.9875168690958165</c:v>
                </c:pt>
                <c:pt idx="61">
                  <c:v>0.9827986982798699</c:v>
                </c:pt>
                <c:pt idx="62">
                  <c:v>0.9820500708549834</c:v>
                </c:pt>
                <c:pt idx="63">
                  <c:v>0.9843184559710495</c:v>
                </c:pt>
                <c:pt idx="64">
                  <c:v>0.9807860262008734</c:v>
                </c:pt>
                <c:pt idx="65">
                  <c:v>0.9886977886977887</c:v>
                </c:pt>
                <c:pt idx="66">
                  <c:v>0.9890909090909091</c:v>
                </c:pt>
                <c:pt idx="67">
                  <c:v>0.9880794701986755</c:v>
                </c:pt>
                <c:pt idx="68">
                  <c:v>0.9903737259343148</c:v>
                </c:pt>
                <c:pt idx="69">
                  <c:v>0.9904988123515439</c:v>
                </c:pt>
                <c:pt idx="70">
                  <c:v>0.9912350597609562</c:v>
                </c:pt>
                <c:pt idx="71">
                  <c:v>0.9888220120378332</c:v>
                </c:pt>
                <c:pt idx="72">
                  <c:v>0.9872231686541738</c:v>
                </c:pt>
                <c:pt idx="73">
                  <c:v>0.987012987012987</c:v>
                </c:pt>
                <c:pt idx="74">
                  <c:v>0.9917287014061208</c:v>
                </c:pt>
                <c:pt idx="75">
                  <c:v>0.9879931389365352</c:v>
                </c:pt>
                <c:pt idx="76">
                  <c:v>0.9959718026183283</c:v>
                </c:pt>
                <c:pt idx="77">
                  <c:v>0.990990990990991</c:v>
                </c:pt>
                <c:pt idx="78">
                  <c:v>0.9892183288409704</c:v>
                </c:pt>
                <c:pt idx="79">
                  <c:v>0.9960610536681438</c:v>
                </c:pt>
                <c:pt idx="80">
                  <c:v>0.9962765957446809</c:v>
                </c:pt>
                <c:pt idx="81">
                  <c:v>0.9905385735080058</c:v>
                </c:pt>
                <c:pt idx="82">
                  <c:v>0.9901256732495511</c:v>
                </c:pt>
                <c:pt idx="83">
                  <c:v>0.9902200488997555</c:v>
                </c:pt>
                <c:pt idx="84">
                  <c:v>0.9922178988326849</c:v>
                </c:pt>
                <c:pt idx="85">
                  <c:v>0.9906432748538012</c:v>
                </c:pt>
                <c:pt idx="86">
                  <c:v>0.9793926247288504</c:v>
                </c:pt>
                <c:pt idx="87">
                  <c:v>0.9855212355212355</c:v>
                </c:pt>
                <c:pt idx="88">
                  <c:v>0.9903047091412742</c:v>
                </c:pt>
                <c:pt idx="89">
                  <c:v>0.986822840409956</c:v>
                </c:pt>
                <c:pt idx="90">
                  <c:v>0.9838449111470113</c:v>
                </c:pt>
                <c:pt idx="91">
                  <c:v>0.9832775919732442</c:v>
                </c:pt>
                <c:pt idx="92">
                  <c:v>0.9889196675900277</c:v>
                </c:pt>
                <c:pt idx="93">
                  <c:v>0.9866863905325444</c:v>
                </c:pt>
                <c:pt idx="94">
                  <c:v>0.99079754601227</c:v>
                </c:pt>
                <c:pt idx="95">
                  <c:v>0.9864197530864197</c:v>
                </c:pt>
                <c:pt idx="96">
                  <c:v>0.985233798195242</c:v>
                </c:pt>
                <c:pt idx="97">
                  <c:v>0.9834824501032347</c:v>
                </c:pt>
                <c:pt idx="98">
                  <c:v>0.9773730684326711</c:v>
                </c:pt>
                <c:pt idx="99">
                  <c:v>0.979253112033195</c:v>
                </c:pt>
                <c:pt idx="100">
                  <c:v>0.9776586237712243</c:v>
                </c:pt>
                <c:pt idx="101">
                  <c:v>0.9664617104527669</c:v>
                </c:pt>
                <c:pt idx="102">
                  <c:v>0.9656160458452722</c:v>
                </c:pt>
                <c:pt idx="103">
                  <c:v>0.9635901778154107</c:v>
                </c:pt>
                <c:pt idx="104">
                  <c:v>0.963702359346642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5046750118118238</c:v>
                </c:pt>
                <c:pt idx="1">
                  <c:v>0.5312069768482334</c:v>
                </c:pt>
                <c:pt idx="2">
                  <c:v>0.4736037169400598</c:v>
                </c:pt>
                <c:pt idx="3">
                  <c:v>0.5249868840967368</c:v>
                </c:pt>
                <c:pt idx="4">
                  <c:v>0.46380775432525406</c:v>
                </c:pt>
                <c:pt idx="5">
                  <c:v>0.5436987035442876</c:v>
                </c:pt>
                <c:pt idx="6">
                  <c:v>0.5010268092037896</c:v>
                </c:pt>
                <c:pt idx="7">
                  <c:v>0.43533409750878804</c:v>
                </c:pt>
                <c:pt idx="8">
                  <c:v>0.5373929843693203</c:v>
                </c:pt>
                <c:pt idx="9">
                  <c:v>0.5093713731394016</c:v>
                </c:pt>
                <c:pt idx="10">
                  <c:v>0.5771171597633136</c:v>
                </c:pt>
                <c:pt idx="11">
                  <c:v>0.4157923390965556</c:v>
                </c:pt>
                <c:pt idx="12">
                  <c:v>0.5331656366640152</c:v>
                </c:pt>
                <c:pt idx="13">
                  <c:v>0.48459260560905315</c:v>
                </c:pt>
                <c:pt idx="14">
                  <c:v>0.4830382304489471</c:v>
                </c:pt>
                <c:pt idx="15">
                  <c:v>0.5660049026757861</c:v>
                </c:pt>
                <c:pt idx="16">
                  <c:v>0.4735459033528986</c:v>
                </c:pt>
                <c:pt idx="17">
                  <c:v>0.5046151223943546</c:v>
                </c:pt>
                <c:pt idx="18">
                  <c:v>0.6322539237109522</c:v>
                </c:pt>
                <c:pt idx="19">
                  <c:v>0.5803963873934309</c:v>
                </c:pt>
                <c:pt idx="20">
                  <c:v>0.5361522638910753</c:v>
                </c:pt>
                <c:pt idx="21">
                  <c:v>0.5007224219025904</c:v>
                </c:pt>
                <c:pt idx="22">
                  <c:v>0.46752697884092115</c:v>
                </c:pt>
                <c:pt idx="23">
                  <c:v>0.6048625891398314</c:v>
                </c:pt>
                <c:pt idx="24">
                  <c:v>0.5583442429950554</c:v>
                </c:pt>
                <c:pt idx="25">
                  <c:v>0.1838945527908541</c:v>
                </c:pt>
                <c:pt idx="26">
                  <c:v>0.5433200916730329</c:v>
                </c:pt>
                <c:pt idx="27">
                  <c:v>0.5592653154006441</c:v>
                </c:pt>
                <c:pt idx="28">
                  <c:v>0.439663868065967</c:v>
                </c:pt>
                <c:pt idx="29">
                  <c:v>0.4765798891129032</c:v>
                </c:pt>
                <c:pt idx="30">
                  <c:v>0.5245337993547396</c:v>
                </c:pt>
                <c:pt idx="31">
                  <c:v>0.3427302103386809</c:v>
                </c:pt>
                <c:pt idx="32">
                  <c:v>0.36018529937148525</c:v>
                </c:pt>
                <c:pt idx="33">
                  <c:v>0.4645628821412786</c:v>
                </c:pt>
                <c:pt idx="34">
                  <c:v>0.5664392903089861</c:v>
                </c:pt>
                <c:pt idx="35">
                  <c:v>0.4731091105340503</c:v>
                </c:pt>
                <c:pt idx="36">
                  <c:v>0.49269385004212296</c:v>
                </c:pt>
                <c:pt idx="37">
                  <c:v>0.42171446190563394</c:v>
                </c:pt>
                <c:pt idx="38">
                  <c:v>0.2531585543421737</c:v>
                </c:pt>
                <c:pt idx="39">
                  <c:v>0.4047527682793743</c:v>
                </c:pt>
                <c:pt idx="40">
                  <c:v>0.36935630056580826</c:v>
                </c:pt>
                <c:pt idx="41">
                  <c:v>0.4712825245797653</c:v>
                </c:pt>
                <c:pt idx="42">
                  <c:v>0.44342720552297166</c:v>
                </c:pt>
                <c:pt idx="43">
                  <c:v>0.5367675282261827</c:v>
                </c:pt>
                <c:pt idx="44">
                  <c:v>0.5025165581481278</c:v>
                </c:pt>
                <c:pt idx="45">
                  <c:v>0.47643562324826183</c:v>
                </c:pt>
                <c:pt idx="46">
                  <c:v>0.4550517378351539</c:v>
                </c:pt>
                <c:pt idx="47">
                  <c:v>0.3702259129428581</c:v>
                </c:pt>
                <c:pt idx="48">
                  <c:v>0.4848306738559975</c:v>
                </c:pt>
                <c:pt idx="49">
                  <c:v>0.5421242049274767</c:v>
                </c:pt>
                <c:pt idx="50">
                  <c:v>0.5031958987296713</c:v>
                </c:pt>
                <c:pt idx="51">
                  <c:v>0.4656852523983278</c:v>
                </c:pt>
              </c:numCache>
            </c:numRef>
          </c:xVal>
          <c:yVal>
            <c:numRef>
              <c:f>Sheet1!$B$109:$B$160</c:f>
              <c:numCache>
                <c:formatCode>General</c:formatCode>
                <c:ptCount val="52"/>
                <c:pt idx="0">
                  <c:v>0.9549407114624506</c:v>
                </c:pt>
                <c:pt idx="1">
                  <c:v>0.9486510008703221</c:v>
                </c:pt>
                <c:pt idx="2">
                  <c:v>0.9524506217995611</c:v>
                </c:pt>
                <c:pt idx="3">
                  <c:v>0.9523809523809523</c:v>
                </c:pt>
                <c:pt idx="4">
                  <c:v>0.9532846715328467</c:v>
                </c:pt>
                <c:pt idx="5">
                  <c:v>0.9571209800918836</c:v>
                </c:pt>
                <c:pt idx="6">
                  <c:v>0.9649578195976638</c:v>
                </c:pt>
                <c:pt idx="7">
                  <c:v>0.9635108481262328</c:v>
                </c:pt>
                <c:pt idx="8">
                  <c:v>0.9402834008097166</c:v>
                </c:pt>
                <c:pt idx="9">
                  <c:v>0.9456812110418522</c:v>
                </c:pt>
                <c:pt idx="10">
                  <c:v>0.9439330543933054</c:v>
                </c:pt>
                <c:pt idx="11">
                  <c:v>0.9688864628820961</c:v>
                </c:pt>
                <c:pt idx="12">
                  <c:v>0.9609325771896661</c:v>
                </c:pt>
                <c:pt idx="13">
                  <c:v>0.9606017191977078</c:v>
                </c:pt>
                <c:pt idx="14">
                  <c:v>0.9634235552304315</c:v>
                </c:pt>
                <c:pt idx="15">
                  <c:v>0.9476351351351351</c:v>
                </c:pt>
                <c:pt idx="16">
                  <c:v>0.9448818897637795</c:v>
                </c:pt>
                <c:pt idx="17">
                  <c:v>0.9457671957671958</c:v>
                </c:pt>
                <c:pt idx="18">
                  <c:v>0.947107438016529</c:v>
                </c:pt>
                <c:pt idx="19">
                  <c:v>0.9249617151607963</c:v>
                </c:pt>
                <c:pt idx="20">
                  <c:v>0.928695652173913</c:v>
                </c:pt>
                <c:pt idx="21">
                  <c:v>0.9418386491557224</c:v>
                </c:pt>
                <c:pt idx="22">
                  <c:v>0.9470588235294117</c:v>
                </c:pt>
                <c:pt idx="23">
                  <c:v>0.9327548806941431</c:v>
                </c:pt>
                <c:pt idx="24">
                  <c:v>0.9442307692307692</c:v>
                </c:pt>
                <c:pt idx="25">
                  <c:v>0.9465648854961832</c:v>
                </c:pt>
                <c:pt idx="26">
                  <c:v>0.9505703422053232</c:v>
                </c:pt>
                <c:pt idx="27">
                  <c:v>0.9365079365079365</c:v>
                </c:pt>
                <c:pt idx="28">
                  <c:v>0.9474497681607419</c:v>
                </c:pt>
                <c:pt idx="29">
                  <c:v>0.9358974358974359</c:v>
                </c:pt>
                <c:pt idx="30">
                  <c:v>0.9351081530782029</c:v>
                </c:pt>
                <c:pt idx="31">
                  <c:v>0.9387040280210157</c:v>
                </c:pt>
                <c:pt idx="32">
                  <c:v>0.9307568438003221</c:v>
                </c:pt>
                <c:pt idx="33">
                  <c:v>0.9428891377379619</c:v>
                </c:pt>
                <c:pt idx="34">
                  <c:v>0.9425837320574163</c:v>
                </c:pt>
                <c:pt idx="35">
                  <c:v>0.9331963001027749</c:v>
                </c:pt>
                <c:pt idx="36">
                  <c:v>0.9144602851323829</c:v>
                </c:pt>
                <c:pt idx="37">
                  <c:v>0.911522633744856</c:v>
                </c:pt>
                <c:pt idx="38">
                  <c:v>0.9363057324840764</c:v>
                </c:pt>
                <c:pt idx="39">
                  <c:v>0.9156785243741765</c:v>
                </c:pt>
                <c:pt idx="40">
                  <c:v>0.7597765363128491</c:v>
                </c:pt>
                <c:pt idx="41">
                  <c:v>0.8513513513513513</c:v>
                </c:pt>
                <c:pt idx="42">
                  <c:v>0.8849557522123894</c:v>
                </c:pt>
                <c:pt idx="43">
                  <c:v>0.8805104408352669</c:v>
                </c:pt>
                <c:pt idx="44">
                  <c:v>0.8911917098445595</c:v>
                </c:pt>
                <c:pt idx="45">
                  <c:v>0.9156028368794327</c:v>
                </c:pt>
                <c:pt idx="46">
                  <c:v>0.9220665499124343</c:v>
                </c:pt>
                <c:pt idx="47">
                  <c:v>0.934801016088061</c:v>
                </c:pt>
                <c:pt idx="48">
                  <c:v>0.9340579710144927</c:v>
                </c:pt>
                <c:pt idx="49">
                  <c:v>0.934319526627219</c:v>
                </c:pt>
                <c:pt idx="50">
                  <c:v>0.948656919415165</c:v>
                </c:pt>
                <c:pt idx="51">
                  <c:v>0.939701897018970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2785236183372257</c:v>
                </c:pt>
              </c:numCache>
            </c:numRef>
          </c:xVal>
          <c:yVal>
            <c:numRef>
              <c:f>Sheet1!$B$163:$B$164</c:f>
              <c:numCache>
                <c:formatCode>General</c:formatCode>
                <c:ptCount val="2"/>
                <c:pt idx="0">
                  <c:v>0.9904928529856897</c:v>
                </c:pt>
                <c:pt idx="1">
                  <c:v>0.990492852985689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2785236183372257</c:v>
                </c:pt>
                <c:pt idx="1">
                  <c:v>1.2785236183372257</c:v>
                </c:pt>
              </c:numCache>
            </c:numRef>
          </c:xVal>
          <c:yVal>
            <c:numRef>
              <c:f>Sheet1!$B$167:$B$168</c:f>
              <c:numCache>
                <c:formatCode>General</c:formatCode>
                <c:ptCount val="2"/>
                <c:pt idx="0">
                  <c:v>0.990492852985689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694692349603202</c:v>
                </c:pt>
              </c:numCache>
            </c:numRef>
          </c:xVal>
          <c:yVal>
            <c:numRef>
              <c:f>Sheet1!$B$171:$B$172</c:f>
              <c:numCache>
                <c:formatCode>General</c:formatCode>
                <c:ptCount val="2"/>
                <c:pt idx="0">
                  <c:v>0.9541756674079589</c:v>
                </c:pt>
                <c:pt idx="1">
                  <c:v>0.954175667407958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694692349603202</c:v>
                </c:pt>
                <c:pt idx="1">
                  <c:v>0.7694692349603202</c:v>
                </c:pt>
              </c:numCache>
            </c:numRef>
          </c:xVal>
          <c:yVal>
            <c:numRef>
              <c:f>Sheet1!$B$175:$B$176</c:f>
              <c:numCache>
                <c:formatCode>General</c:formatCode>
                <c:ptCount val="2"/>
                <c:pt idx="0">
                  <c:v>0.954175667407958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2375648505176133</c:v>
                </c:pt>
              </c:numCache>
            </c:numRef>
          </c:xVal>
          <c:yVal>
            <c:numRef>
              <c:f>Sheet1!$B$179:$B$180</c:f>
              <c:numCache>
                <c:formatCode>General</c:formatCode>
                <c:ptCount val="2"/>
                <c:pt idx="0">
                  <c:v>0.9009746947604896</c:v>
                </c:pt>
                <c:pt idx="1">
                  <c:v>0.900974694760489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2375648505176133</c:v>
                </c:pt>
                <c:pt idx="1">
                  <c:v>0.02375648505176133</c:v>
                </c:pt>
              </c:numCache>
            </c:numRef>
          </c:xVal>
          <c:yVal>
            <c:numRef>
              <c:f>Sheet1!$B$183:$B$184</c:f>
              <c:numCache>
                <c:formatCode>General</c:formatCode>
                <c:ptCount val="2"/>
                <c:pt idx="0">
                  <c:v>0.900974694760489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5046750118118238</c:v>
                </c:pt>
                <c:pt idx="1">
                  <c:v>0.5312069768482334</c:v>
                </c:pt>
                <c:pt idx="2">
                  <c:v>0.4736037169400598</c:v>
                </c:pt>
                <c:pt idx="3">
                  <c:v>0.5249868840967368</c:v>
                </c:pt>
                <c:pt idx="4">
                  <c:v>0.46380775432525406</c:v>
                </c:pt>
                <c:pt idx="5">
                  <c:v>0.5436987035442876</c:v>
                </c:pt>
                <c:pt idx="6">
                  <c:v>0.5010268092037896</c:v>
                </c:pt>
                <c:pt idx="7">
                  <c:v>0.43533409750878804</c:v>
                </c:pt>
                <c:pt idx="8">
                  <c:v>0.5373929843693203</c:v>
                </c:pt>
                <c:pt idx="9">
                  <c:v>0.5093713731394016</c:v>
                </c:pt>
                <c:pt idx="10">
                  <c:v>0.5771171597633136</c:v>
                </c:pt>
                <c:pt idx="11">
                  <c:v>0.4157923390965556</c:v>
                </c:pt>
                <c:pt idx="12">
                  <c:v>0.5331656366640152</c:v>
                </c:pt>
                <c:pt idx="13">
                  <c:v>0.48459260560905315</c:v>
                </c:pt>
                <c:pt idx="14">
                  <c:v>0.4830382304489471</c:v>
                </c:pt>
                <c:pt idx="15">
                  <c:v>0.5660049026757861</c:v>
                </c:pt>
                <c:pt idx="16">
                  <c:v>0.4735459033528986</c:v>
                </c:pt>
                <c:pt idx="17">
                  <c:v>0.5046151223943546</c:v>
                </c:pt>
                <c:pt idx="18">
                  <c:v>0.6322539237109522</c:v>
                </c:pt>
                <c:pt idx="19">
                  <c:v>0.5803963873934309</c:v>
                </c:pt>
                <c:pt idx="20">
                  <c:v>0.5361522638910753</c:v>
                </c:pt>
                <c:pt idx="21">
                  <c:v>0.5007224219025904</c:v>
                </c:pt>
                <c:pt idx="22">
                  <c:v>0.46752697884092115</c:v>
                </c:pt>
                <c:pt idx="23">
                  <c:v>0.6048625891398314</c:v>
                </c:pt>
                <c:pt idx="24">
                  <c:v>0.5583442429950554</c:v>
                </c:pt>
                <c:pt idx="25">
                  <c:v>0.1838945527908541</c:v>
                </c:pt>
                <c:pt idx="26">
                  <c:v>0.5433200916730329</c:v>
                </c:pt>
                <c:pt idx="27">
                  <c:v>0.5592653154006441</c:v>
                </c:pt>
                <c:pt idx="28">
                  <c:v>0.439663868065967</c:v>
                </c:pt>
                <c:pt idx="29">
                  <c:v>0.4765798891129032</c:v>
                </c:pt>
                <c:pt idx="30">
                  <c:v>0.5245337993547396</c:v>
                </c:pt>
                <c:pt idx="31">
                  <c:v>0.3427302103386809</c:v>
                </c:pt>
                <c:pt idx="32">
                  <c:v>0.36018529937148525</c:v>
                </c:pt>
                <c:pt idx="33">
                  <c:v>0.4645628821412786</c:v>
                </c:pt>
                <c:pt idx="34">
                  <c:v>0.5664392903089861</c:v>
                </c:pt>
                <c:pt idx="35">
                  <c:v>0.4731091105340503</c:v>
                </c:pt>
                <c:pt idx="36">
                  <c:v>0.49269385004212296</c:v>
                </c:pt>
                <c:pt idx="37">
                  <c:v>0.42171446190563394</c:v>
                </c:pt>
                <c:pt idx="38">
                  <c:v>0.2531585543421737</c:v>
                </c:pt>
                <c:pt idx="39">
                  <c:v>0.4047527682793743</c:v>
                </c:pt>
                <c:pt idx="40">
                  <c:v>0.36935630056580826</c:v>
                </c:pt>
                <c:pt idx="41">
                  <c:v>0.4712825245797653</c:v>
                </c:pt>
                <c:pt idx="42">
                  <c:v>0.44342720552297166</c:v>
                </c:pt>
                <c:pt idx="43">
                  <c:v>0.5367675282261827</c:v>
                </c:pt>
                <c:pt idx="44">
                  <c:v>0.5025165581481278</c:v>
                </c:pt>
                <c:pt idx="45">
                  <c:v>0.47643562324826183</c:v>
                </c:pt>
                <c:pt idx="46">
                  <c:v>0.4550517378351539</c:v>
                </c:pt>
                <c:pt idx="47">
                  <c:v>0.3702259129428581</c:v>
                </c:pt>
                <c:pt idx="48">
                  <c:v>0.4848306738559975</c:v>
                </c:pt>
                <c:pt idx="49">
                  <c:v>0.5421242049274767</c:v>
                </c:pt>
                <c:pt idx="50">
                  <c:v>0.5031958987296713</c:v>
                </c:pt>
                <c:pt idx="51">
                  <c:v>0.4656852523983278</c:v>
                </c:pt>
                <c:pt idx="52">
                  <c:v>0.7694692349603202</c:v>
                </c:pt>
                <c:pt idx="53">
                  <c:v>1.2785236183372257</c:v>
                </c:pt>
                <c:pt idx="54">
                  <c:v>0.02375648505176133</c:v>
                </c:pt>
              </c:numCache>
            </c:numRef>
          </c:xVal>
          <c:yVal>
            <c:numRef>
              <c:f>Sheet1!$B$187:$B$241</c:f>
              <c:numCache>
                <c:formatCode>General</c:formatCode>
                <c:ptCount val="55"/>
                <c:pt idx="0">
                  <c:v>0.9352845994670413</c:v>
                </c:pt>
                <c:pt idx="1">
                  <c:v>0.937177454787483</c:v>
                </c:pt>
                <c:pt idx="2">
                  <c:v>0.933067897246519</c:v>
                </c:pt>
                <c:pt idx="3">
                  <c:v>0.9367336981474395</c:v>
                </c:pt>
                <c:pt idx="4">
                  <c:v>0.9323690292987873</c:v>
                </c:pt>
                <c:pt idx="5">
                  <c:v>0.9380686451424259</c:v>
                </c:pt>
                <c:pt idx="6">
                  <c:v>0.9350243277643163</c:v>
                </c:pt>
                <c:pt idx="7">
                  <c:v>0.9303376489346297</c:v>
                </c:pt>
                <c:pt idx="8">
                  <c:v>0.9376187797037685</c:v>
                </c:pt>
                <c:pt idx="9">
                  <c:v>0.9356196493780986</c:v>
                </c:pt>
                <c:pt idx="10">
                  <c:v>0.9404527995979413</c:v>
                </c:pt>
                <c:pt idx="11">
                  <c:v>0.9289434920626973</c:v>
                </c:pt>
                <c:pt idx="12">
                  <c:v>0.9373171903723955</c:v>
                </c:pt>
                <c:pt idx="13">
                  <c:v>0.9338518714585421</c:v>
                </c:pt>
                <c:pt idx="14">
                  <c:v>0.9337409785304183</c:v>
                </c:pt>
                <c:pt idx="15">
                  <c:v>0.939660023981006</c:v>
                </c:pt>
                <c:pt idx="16">
                  <c:v>0.933063772683717</c:v>
                </c:pt>
                <c:pt idx="17">
                  <c:v>0.9352803268094249</c:v>
                </c:pt>
                <c:pt idx="18">
                  <c:v>0.9443863912805401</c:v>
                </c:pt>
                <c:pt idx="19">
                  <c:v>0.9406867477227066</c:v>
                </c:pt>
                <c:pt idx="20">
                  <c:v>0.937530263668292</c:v>
                </c:pt>
                <c:pt idx="21">
                  <c:v>0.9350026120292866</c:v>
                </c:pt>
                <c:pt idx="22">
                  <c:v>0.932634367878223</c:v>
                </c:pt>
                <c:pt idx="23">
                  <c:v>0.9424322264342578</c:v>
                </c:pt>
                <c:pt idx="24">
                  <c:v>0.939113493770565</c:v>
                </c:pt>
                <c:pt idx="25">
                  <c:v>0.9123993364373963</c:v>
                </c:pt>
                <c:pt idx="26">
                  <c:v>0.93804163404491</c:v>
                </c:pt>
                <c:pt idx="27">
                  <c:v>0.9391792053302266</c:v>
                </c:pt>
                <c:pt idx="28">
                  <c:v>0.9306465453629267</c:v>
                </c:pt>
                <c:pt idx="29">
                  <c:v>0.9332802246532597</c:v>
                </c:pt>
                <c:pt idx="30">
                  <c:v>0.9367013739730587</c:v>
                </c:pt>
                <c:pt idx="31">
                  <c:v>0.9237310609837193</c:v>
                </c:pt>
                <c:pt idx="32">
                  <c:v>0.9249763497551761</c:v>
                </c:pt>
                <c:pt idx="33">
                  <c:v>0.9324229019652941</c:v>
                </c:pt>
                <c:pt idx="34">
                  <c:v>0.9396910142578856</c:v>
                </c:pt>
                <c:pt idx="35">
                  <c:v>0.9330326108150069</c:v>
                </c:pt>
                <c:pt idx="36">
                  <c:v>0.9344298340635091</c:v>
                </c:pt>
                <c:pt idx="37">
                  <c:v>0.9293659907977925</c:v>
                </c:pt>
                <c:pt idx="38">
                  <c:v>0.9173407998258631</c:v>
                </c:pt>
                <c:pt idx="39">
                  <c:v>0.9281559020621821</c:v>
                </c:pt>
                <c:pt idx="40">
                  <c:v>0.9256306314256302</c:v>
                </c:pt>
                <c:pt idx="41">
                  <c:v>0.9329022977026132</c:v>
                </c:pt>
                <c:pt idx="42">
                  <c:v>0.9309150310675601</c:v>
                </c:pt>
                <c:pt idx="43">
                  <c:v>0.937574158131766</c:v>
                </c:pt>
                <c:pt idx="44">
                  <c:v>0.9351306101000402</c:v>
                </c:pt>
                <c:pt idx="45">
                  <c:v>0.9332699323733977</c:v>
                </c:pt>
                <c:pt idx="46">
                  <c:v>0.9317443536527725</c:v>
                </c:pt>
                <c:pt idx="47">
                  <c:v>0.9256926717009119</c:v>
                </c:pt>
                <c:pt idx="48">
                  <c:v>0.9338688558299311</c:v>
                </c:pt>
                <c:pt idx="49">
                  <c:v>0.9379563165576502</c:v>
                </c:pt>
                <c:pt idx="50">
                  <c:v>0.9351790759197562</c:v>
                </c:pt>
                <c:pt idx="51">
                  <c:v>0.9325029746063385</c:v>
                </c:pt>
                <c:pt idx="52">
                  <c:v>0.9541756674079589</c:v>
                </c:pt>
                <c:pt idx="53">
                  <c:v>0.9904928529856897</c:v>
                </c:pt>
                <c:pt idx="54">
                  <c:v>0.900974694760489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5531914893617"/>
          <c:min val="0.607821229050279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82.4715</c:v>
                </c:pt>
                <c:pt idx="1">
                  <c:v>1072.8359</c:v>
                </c:pt>
                <c:pt idx="2">
                  <c:v>1112.5009</c:v>
                </c:pt>
                <c:pt idx="3">
                  <c:v>1128.6069</c:v>
                </c:pt>
                <c:pt idx="4">
                  <c:v>1137.0111</c:v>
                </c:pt>
                <c:pt idx="5">
                  <c:v>1126.4782</c:v>
                </c:pt>
                <c:pt idx="6">
                  <c:v>1066.7211</c:v>
                </c:pt>
                <c:pt idx="7">
                  <c:v>1110.6006</c:v>
                </c:pt>
                <c:pt idx="8">
                  <c:v>1109.1486</c:v>
                </c:pt>
                <c:pt idx="9">
                  <c:v>1109.4938</c:v>
                </c:pt>
                <c:pt idx="10">
                  <c:v>1101.3409</c:v>
                </c:pt>
                <c:pt idx="11">
                  <c:v>1152.028</c:v>
                </c:pt>
                <c:pt idx="12">
                  <c:v>1154.0887</c:v>
                </c:pt>
                <c:pt idx="13">
                  <c:v>1122.8613</c:v>
                </c:pt>
                <c:pt idx="14">
                  <c:v>1128.922</c:v>
                </c:pt>
                <c:pt idx="15">
                  <c:v>1117.1167</c:v>
                </c:pt>
                <c:pt idx="16">
                  <c:v>1126.3712</c:v>
                </c:pt>
                <c:pt idx="17">
                  <c:v>1151.1409</c:v>
                </c:pt>
                <c:pt idx="18">
                  <c:v>1236.0257</c:v>
                </c:pt>
                <c:pt idx="19">
                  <c:v>1291.0961</c:v>
                </c:pt>
                <c:pt idx="20">
                  <c:v>1250.703</c:v>
                </c:pt>
                <c:pt idx="21">
                  <c:v>1283.6106</c:v>
                </c:pt>
                <c:pt idx="22">
                  <c:v>1275.7263</c:v>
                </c:pt>
                <c:pt idx="23">
                  <c:v>1269.1147</c:v>
                </c:pt>
                <c:pt idx="24">
                  <c:v>1257.7413</c:v>
                </c:pt>
                <c:pt idx="25">
                  <c:v>1215.0632</c:v>
                </c:pt>
                <c:pt idx="26">
                  <c:v>1216.1556</c:v>
                </c:pt>
                <c:pt idx="27">
                  <c:v>1206.2834</c:v>
                </c:pt>
                <c:pt idx="28">
                  <c:v>1175.6273</c:v>
                </c:pt>
                <c:pt idx="29">
                  <c:v>1150.26</c:v>
                </c:pt>
                <c:pt idx="30">
                  <c:v>1161.2783</c:v>
                </c:pt>
                <c:pt idx="31">
                  <c:v>1145.612</c:v>
                </c:pt>
                <c:pt idx="32">
                  <c:v>1139.7285</c:v>
                </c:pt>
                <c:pt idx="33">
                  <c:v>1099.9413</c:v>
                </c:pt>
                <c:pt idx="34">
                  <c:v>1105.7347</c:v>
                </c:pt>
                <c:pt idx="35">
                  <c:v>1147.8527</c:v>
                </c:pt>
                <c:pt idx="36">
                  <c:v>1281.774</c:v>
                </c:pt>
                <c:pt idx="37">
                  <c:v>1268.2899</c:v>
                </c:pt>
                <c:pt idx="38">
                  <c:v>1305.652</c:v>
                </c:pt>
                <c:pt idx="39">
                  <c:v>1347.9977</c:v>
                </c:pt>
                <c:pt idx="40">
                  <c:v>1349.0974</c:v>
                </c:pt>
                <c:pt idx="41">
                  <c:v>1388.0739</c:v>
                </c:pt>
                <c:pt idx="42">
                  <c:v>1464.7429</c:v>
                </c:pt>
                <c:pt idx="43">
                  <c:v>1478.5125</c:v>
                </c:pt>
                <c:pt idx="44">
                  <c:v>1190.2801</c:v>
                </c:pt>
                <c:pt idx="45">
                  <c:v>1089.3536</c:v>
                </c:pt>
                <c:pt idx="46">
                  <c:v>1052.7305</c:v>
                </c:pt>
                <c:pt idx="47">
                  <c:v>1030.1047</c:v>
                </c:pt>
                <c:pt idx="48">
                  <c:v>1026.6432</c:v>
                </c:pt>
                <c:pt idx="49">
                  <c:v>1023.8374</c:v>
                </c:pt>
                <c:pt idx="50">
                  <c:v>1043.1255</c:v>
                </c:pt>
                <c:pt idx="51">
                  <c:v>1086.546</c:v>
                </c:pt>
                <c:pt idx="52">
                  <c:v>1102.4643</c:v>
                </c:pt>
                <c:pt idx="53">
                  <c:v>1114.9318</c:v>
                </c:pt>
                <c:pt idx="54">
                  <c:v>1116.0749</c:v>
                </c:pt>
                <c:pt idx="55">
                  <c:v>1124.0</c:v>
                </c:pt>
                <c:pt idx="56">
                  <c:v>1153.1352</c:v>
                </c:pt>
                <c:pt idx="57">
                  <c:v>1124.5313</c:v>
                </c:pt>
                <c:pt idx="58">
                  <c:v>1119.9663</c:v>
                </c:pt>
                <c:pt idx="59">
                  <c:v>1111.1638</c:v>
                </c:pt>
                <c:pt idx="60">
                  <c:v>1156.2784</c:v>
                </c:pt>
                <c:pt idx="61">
                  <c:v>1155.7105</c:v>
                </c:pt>
                <c:pt idx="62">
                  <c:v>1167.9158</c:v>
                </c:pt>
                <c:pt idx="63">
                  <c:v>1198.5241</c:v>
                </c:pt>
                <c:pt idx="64">
                  <c:v>1193.0445</c:v>
                </c:pt>
                <c:pt idx="65">
                  <c:v>1167.1138</c:v>
                </c:pt>
                <c:pt idx="66">
                  <c:v>1047.25</c:v>
                </c:pt>
                <c:pt idx="67">
                  <c:v>957.0563</c:v>
                </c:pt>
                <c:pt idx="68">
                  <c:v>933.1058</c:v>
                </c:pt>
                <c:pt idx="69">
                  <c:v>935.7618</c:v>
                </c:pt>
                <c:pt idx="70">
                  <c:v>867.9606</c:v>
                </c:pt>
                <c:pt idx="71">
                  <c:v>912.8565</c:v>
                </c:pt>
                <c:pt idx="72">
                  <c:v>977.5902</c:v>
                </c:pt>
                <c:pt idx="73">
                  <c:v>949.9412</c:v>
                </c:pt>
                <c:pt idx="74">
                  <c:v>950.3036</c:v>
                </c:pt>
                <c:pt idx="75">
                  <c:v>904.9653</c:v>
                </c:pt>
                <c:pt idx="76">
                  <c:v>903.1921</c:v>
                </c:pt>
                <c:pt idx="77">
                  <c:v>858.8788</c:v>
                </c:pt>
                <c:pt idx="78">
                  <c:v>970.1907</c:v>
                </c:pt>
                <c:pt idx="79">
                  <c:v>425.8403</c:v>
                </c:pt>
                <c:pt idx="80">
                  <c:v>447.2461</c:v>
                </c:pt>
                <c:pt idx="81">
                  <c:v>664.7061</c:v>
                </c:pt>
                <c:pt idx="82">
                  <c:v>660.3182</c:v>
                </c:pt>
                <c:pt idx="83">
                  <c:v>681.7148</c:v>
                </c:pt>
                <c:pt idx="84">
                  <c:v>710.3712</c:v>
                </c:pt>
                <c:pt idx="85">
                  <c:v>803.0449</c:v>
                </c:pt>
                <c:pt idx="86">
                  <c:v>1055.6888</c:v>
                </c:pt>
                <c:pt idx="87">
                  <c:v>1101.9314</c:v>
                </c:pt>
                <c:pt idx="88">
                  <c:v>1078.793</c:v>
                </c:pt>
                <c:pt idx="89">
                  <c:v>980.2567</c:v>
                </c:pt>
                <c:pt idx="90">
                  <c:v>1031.3103</c:v>
                </c:pt>
                <c:pt idx="91">
                  <c:v>1076.1871</c:v>
                </c:pt>
                <c:pt idx="92">
                  <c:v>1172.9888</c:v>
                </c:pt>
                <c:pt idx="93">
                  <c:v>1269.8966</c:v>
                </c:pt>
                <c:pt idx="94">
                  <c:v>1214.6269</c:v>
                </c:pt>
                <c:pt idx="95">
                  <c:v>1330.0588</c:v>
                </c:pt>
                <c:pt idx="96">
                  <c:v>1247.3772</c:v>
                </c:pt>
                <c:pt idx="97">
                  <c:v>1270.38</c:v>
                </c:pt>
                <c:pt idx="98">
                  <c:v>1294.6488</c:v>
                </c:pt>
                <c:pt idx="99">
                  <c:v>1271.6055</c:v>
                </c:pt>
                <c:pt idx="100">
                  <c:v>1257.0737</c:v>
                </c:pt>
                <c:pt idx="101">
                  <c:v>1286.6136</c:v>
                </c:pt>
                <c:pt idx="102">
                  <c:v>1355.1484</c:v>
                </c:pt>
                <c:pt idx="103">
                  <c:v>1328.2821</c:v>
                </c:pt>
                <c:pt idx="104">
                  <c:v>1373.7863</c:v>
                </c:pt>
              </c:numCache>
            </c:numRef>
          </c:xVal>
          <c:yVal>
            <c:numRef>
              <c:f>Sheet1!$B$2:$B$106</c:f>
              <c:numCache>
                <c:formatCode>General</c:formatCode>
                <c:ptCount val="105"/>
                <c:pt idx="0">
                  <c:v>0.9785223367697594</c:v>
                </c:pt>
                <c:pt idx="1">
                  <c:v>0.9732441471571907</c:v>
                </c:pt>
                <c:pt idx="2">
                  <c:v>0.9742310889443059</c:v>
                </c:pt>
                <c:pt idx="3">
                  <c:v>0.9751286449399656</c:v>
                </c:pt>
                <c:pt idx="4">
                  <c:v>0.9811881188118812</c:v>
                </c:pt>
                <c:pt idx="5">
                  <c:v>0.9757986447241046</c:v>
                </c:pt>
                <c:pt idx="6">
                  <c:v>0.9529130087789306</c:v>
                </c:pt>
                <c:pt idx="7">
                  <c:v>0.9618768328445748</c:v>
                </c:pt>
                <c:pt idx="8">
                  <c:v>0.9768145161290323</c:v>
                </c:pt>
                <c:pt idx="9">
                  <c:v>0.9748667174409749</c:v>
                </c:pt>
                <c:pt idx="10">
                  <c:v>0.9676975945017182</c:v>
                </c:pt>
                <c:pt idx="11">
                  <c:v>0.9713235294117647</c:v>
                </c:pt>
                <c:pt idx="12">
                  <c:v>0.9773926149208741</c:v>
                </c:pt>
                <c:pt idx="13">
                  <c:v>0.9839939024390244</c:v>
                </c:pt>
                <c:pt idx="14">
                  <c:v>0.9785373608903021</c:v>
                </c:pt>
                <c:pt idx="15">
                  <c:v>0.9813780260707635</c:v>
                </c:pt>
                <c:pt idx="16">
                  <c:v>0.977326968973747</c:v>
                </c:pt>
                <c:pt idx="17">
                  <c:v>0.9823269513991163</c:v>
                </c:pt>
                <c:pt idx="18">
                  <c:v>0.9786821705426356</c:v>
                </c:pt>
                <c:pt idx="19">
                  <c:v>0.9759615384615384</c:v>
                </c:pt>
                <c:pt idx="20">
                  <c:v>0.974903474903475</c:v>
                </c:pt>
                <c:pt idx="21">
                  <c:v>0.9741379310344828</c:v>
                </c:pt>
                <c:pt idx="22">
                  <c:v>0.982646420824295</c:v>
                </c:pt>
                <c:pt idx="23">
                  <c:v>0.9819819819819819</c:v>
                </c:pt>
                <c:pt idx="24">
                  <c:v>0.982</c:v>
                </c:pt>
                <c:pt idx="25">
                  <c:v>0.9786780383795309</c:v>
                </c:pt>
                <c:pt idx="26">
                  <c:v>0.989010989010989</c:v>
                </c:pt>
                <c:pt idx="27">
                  <c:v>0.9807692307692307</c:v>
                </c:pt>
                <c:pt idx="28">
                  <c:v>0.9762340036563071</c:v>
                </c:pt>
                <c:pt idx="29">
                  <c:v>0.9854439592430859</c:v>
                </c:pt>
                <c:pt idx="30">
                  <c:v>0.9848771266540642</c:v>
                </c:pt>
                <c:pt idx="31">
                  <c:v>0.987410071942446</c:v>
                </c:pt>
                <c:pt idx="32">
                  <c:v>0.985239852398524</c:v>
                </c:pt>
                <c:pt idx="33">
                  <c:v>0.9829619921363041</c:v>
                </c:pt>
                <c:pt idx="34">
                  <c:v>0.9907216494845361</c:v>
                </c:pt>
                <c:pt idx="35">
                  <c:v>0.9909338168631007</c:v>
                </c:pt>
                <c:pt idx="36">
                  <c:v>0.985781990521327</c:v>
                </c:pt>
                <c:pt idx="37">
                  <c:v>0.9896049896049897</c:v>
                </c:pt>
                <c:pt idx="38">
                  <c:v>0.9861932938856016</c:v>
                </c:pt>
                <c:pt idx="39">
                  <c:v>0.9844444444444445</c:v>
                </c:pt>
                <c:pt idx="40">
                  <c:v>0.9865092748735245</c:v>
                </c:pt>
                <c:pt idx="41">
                  <c:v>0.9766081871345029</c:v>
                </c:pt>
                <c:pt idx="42">
                  <c:v>0.9905660377358491</c:v>
                </c:pt>
                <c:pt idx="43">
                  <c:v>0.9836065573770492</c:v>
                </c:pt>
                <c:pt idx="44">
                  <c:v>0.9864222674813307</c:v>
                </c:pt>
                <c:pt idx="45">
                  <c:v>0.9889613647767185</c:v>
                </c:pt>
                <c:pt idx="46">
                  <c:v>0.9917770671539515</c:v>
                </c:pt>
                <c:pt idx="47">
                  <c:v>0.9936936936936936</c:v>
                </c:pt>
                <c:pt idx="48">
                  <c:v>0.9910585520623018</c:v>
                </c:pt>
                <c:pt idx="49">
                  <c:v>0.9927455357142857</c:v>
                </c:pt>
                <c:pt idx="50">
                  <c:v>0.9910833704859563</c:v>
                </c:pt>
                <c:pt idx="51">
                  <c:v>0.9910771191841937</c:v>
                </c:pt>
                <c:pt idx="52">
                  <c:v>0.9907407407407407</c:v>
                </c:pt>
                <c:pt idx="53">
                  <c:v>0.9879735417919423</c:v>
                </c:pt>
                <c:pt idx="54">
                  <c:v>0.9846153846153847</c:v>
                </c:pt>
                <c:pt idx="55">
                  <c:v>0.990667623833453</c:v>
                </c:pt>
                <c:pt idx="56">
                  <c:v>0.9906876790830945</c:v>
                </c:pt>
                <c:pt idx="57">
                  <c:v>0.9868026394721056</c:v>
                </c:pt>
                <c:pt idx="58">
                  <c:v>0.9868073878627969</c:v>
                </c:pt>
                <c:pt idx="59">
                  <c:v>0.9865876481597006</c:v>
                </c:pt>
                <c:pt idx="60">
                  <c:v>0.9875168690958165</c:v>
                </c:pt>
                <c:pt idx="61">
                  <c:v>0.9827986982798699</c:v>
                </c:pt>
                <c:pt idx="62">
                  <c:v>0.9820500708549834</c:v>
                </c:pt>
                <c:pt idx="63">
                  <c:v>0.9843184559710495</c:v>
                </c:pt>
                <c:pt idx="64">
                  <c:v>0.9807860262008734</c:v>
                </c:pt>
                <c:pt idx="65">
                  <c:v>0.9886977886977887</c:v>
                </c:pt>
                <c:pt idx="66">
                  <c:v>0.9890909090909091</c:v>
                </c:pt>
                <c:pt idx="67">
                  <c:v>0.9880794701986755</c:v>
                </c:pt>
                <c:pt idx="68">
                  <c:v>0.9903737259343148</c:v>
                </c:pt>
                <c:pt idx="69">
                  <c:v>0.9904988123515439</c:v>
                </c:pt>
                <c:pt idx="70">
                  <c:v>0.9912350597609562</c:v>
                </c:pt>
                <c:pt idx="71">
                  <c:v>0.9888220120378332</c:v>
                </c:pt>
                <c:pt idx="72">
                  <c:v>0.9872231686541738</c:v>
                </c:pt>
                <c:pt idx="73">
                  <c:v>0.987012987012987</c:v>
                </c:pt>
                <c:pt idx="74">
                  <c:v>0.9917287014061208</c:v>
                </c:pt>
                <c:pt idx="75">
                  <c:v>0.9879931389365352</c:v>
                </c:pt>
                <c:pt idx="76">
                  <c:v>0.9959718026183283</c:v>
                </c:pt>
                <c:pt idx="77">
                  <c:v>0.990990990990991</c:v>
                </c:pt>
                <c:pt idx="78">
                  <c:v>0.9892183288409704</c:v>
                </c:pt>
                <c:pt idx="79">
                  <c:v>0.9960610536681438</c:v>
                </c:pt>
                <c:pt idx="80">
                  <c:v>0.9962765957446809</c:v>
                </c:pt>
                <c:pt idx="81">
                  <c:v>0.9905385735080058</c:v>
                </c:pt>
                <c:pt idx="82">
                  <c:v>0.9901256732495511</c:v>
                </c:pt>
                <c:pt idx="83">
                  <c:v>0.9902200488997555</c:v>
                </c:pt>
                <c:pt idx="84">
                  <c:v>0.9922178988326849</c:v>
                </c:pt>
                <c:pt idx="85">
                  <c:v>0.9906432748538012</c:v>
                </c:pt>
                <c:pt idx="86">
                  <c:v>0.9793926247288504</c:v>
                </c:pt>
                <c:pt idx="87">
                  <c:v>0.9855212355212355</c:v>
                </c:pt>
                <c:pt idx="88">
                  <c:v>0.9903047091412742</c:v>
                </c:pt>
                <c:pt idx="89">
                  <c:v>0.986822840409956</c:v>
                </c:pt>
                <c:pt idx="90">
                  <c:v>0.9838449111470113</c:v>
                </c:pt>
                <c:pt idx="91">
                  <c:v>0.9832775919732442</c:v>
                </c:pt>
                <c:pt idx="92">
                  <c:v>0.9889196675900277</c:v>
                </c:pt>
                <c:pt idx="93">
                  <c:v>0.9866863905325444</c:v>
                </c:pt>
                <c:pt idx="94">
                  <c:v>0.99079754601227</c:v>
                </c:pt>
                <c:pt idx="95">
                  <c:v>0.9864197530864197</c:v>
                </c:pt>
                <c:pt idx="96">
                  <c:v>0.985233798195242</c:v>
                </c:pt>
                <c:pt idx="97">
                  <c:v>0.9834824501032347</c:v>
                </c:pt>
                <c:pt idx="98">
                  <c:v>0.9773730684326711</c:v>
                </c:pt>
                <c:pt idx="99">
                  <c:v>0.979253112033195</c:v>
                </c:pt>
                <c:pt idx="100">
                  <c:v>0.9776586237712243</c:v>
                </c:pt>
                <c:pt idx="101">
                  <c:v>0.9664617104527669</c:v>
                </c:pt>
                <c:pt idx="102">
                  <c:v>0.9656160458452722</c:v>
                </c:pt>
                <c:pt idx="103">
                  <c:v>0.9635901778154107</c:v>
                </c:pt>
                <c:pt idx="104">
                  <c:v>0.963702359346642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89.1374</c:v>
                </c:pt>
                <c:pt idx="1">
                  <c:v>1415.2752</c:v>
                </c:pt>
                <c:pt idx="2">
                  <c:v>1393.7043</c:v>
                </c:pt>
                <c:pt idx="3">
                  <c:v>1422.9507</c:v>
                </c:pt>
                <c:pt idx="4">
                  <c:v>1425.2297</c:v>
                </c:pt>
                <c:pt idx="5">
                  <c:v>1453.216</c:v>
                </c:pt>
                <c:pt idx="6">
                  <c:v>1351.6819</c:v>
                </c:pt>
                <c:pt idx="7">
                  <c:v>1424.1955</c:v>
                </c:pt>
                <c:pt idx="8">
                  <c:v>1478.3681</c:v>
                </c:pt>
                <c:pt idx="9">
                  <c:v>1435.6026</c:v>
                </c:pt>
                <c:pt idx="10">
                  <c:v>1462.992</c:v>
                </c:pt>
                <c:pt idx="11">
                  <c:v>1290.7679</c:v>
                </c:pt>
                <c:pt idx="12">
                  <c:v>1307.0289</c:v>
                </c:pt>
                <c:pt idx="13">
                  <c:v>1378.8598</c:v>
                </c:pt>
                <c:pt idx="14">
                  <c:v>1358.1655</c:v>
                </c:pt>
                <c:pt idx="15">
                  <c:v>1408.6061</c:v>
                </c:pt>
                <c:pt idx="16">
                  <c:v>1472.3726</c:v>
                </c:pt>
                <c:pt idx="17">
                  <c:v>1443.5874</c:v>
                </c:pt>
                <c:pt idx="18">
                  <c:v>1466.1065</c:v>
                </c:pt>
                <c:pt idx="19">
                  <c:v>1615.0497</c:v>
                </c:pt>
                <c:pt idx="20">
                  <c:v>1603.7846</c:v>
                </c:pt>
                <c:pt idx="21">
                  <c:v>1453.4303</c:v>
                </c:pt>
                <c:pt idx="22">
                  <c:v>1438.9896</c:v>
                </c:pt>
                <c:pt idx="23">
                  <c:v>1486.493</c:v>
                </c:pt>
                <c:pt idx="24">
                  <c:v>1482.055</c:v>
                </c:pt>
                <c:pt idx="25">
                  <c:v>1367.256</c:v>
                </c:pt>
                <c:pt idx="26">
                  <c:v>1422.412</c:v>
                </c:pt>
                <c:pt idx="27">
                  <c:v>1476.1808</c:v>
                </c:pt>
                <c:pt idx="28">
                  <c:v>1466.279</c:v>
                </c:pt>
                <c:pt idx="29">
                  <c:v>1512.8552</c:v>
                </c:pt>
                <c:pt idx="30">
                  <c:v>1365.6762</c:v>
                </c:pt>
                <c:pt idx="31">
                  <c:v>1201.6978</c:v>
                </c:pt>
                <c:pt idx="32">
                  <c:v>1361.0502</c:v>
                </c:pt>
                <c:pt idx="33">
                  <c:v>1429.6591</c:v>
                </c:pt>
                <c:pt idx="34">
                  <c:v>1447.319</c:v>
                </c:pt>
                <c:pt idx="35">
                  <c:v>1402.9262</c:v>
                </c:pt>
                <c:pt idx="36">
                  <c:v>1462.069</c:v>
                </c:pt>
                <c:pt idx="37">
                  <c:v>1538.1332</c:v>
                </c:pt>
                <c:pt idx="38">
                  <c:v>1460.4717</c:v>
                </c:pt>
                <c:pt idx="39">
                  <c:v>1390.8317</c:v>
                </c:pt>
                <c:pt idx="40">
                  <c:v>1396.9794</c:v>
                </c:pt>
                <c:pt idx="41">
                  <c:v>1485.9538</c:v>
                </c:pt>
                <c:pt idx="42">
                  <c:v>1451.6033</c:v>
                </c:pt>
                <c:pt idx="43">
                  <c:v>1438.1344</c:v>
                </c:pt>
                <c:pt idx="44">
                  <c:v>1441.05</c:v>
                </c:pt>
                <c:pt idx="45">
                  <c:v>1392.2084</c:v>
                </c:pt>
                <c:pt idx="46">
                  <c:v>1374.7113</c:v>
                </c:pt>
                <c:pt idx="47">
                  <c:v>1359.7935</c:v>
                </c:pt>
                <c:pt idx="48">
                  <c:v>1343.886</c:v>
                </c:pt>
                <c:pt idx="49">
                  <c:v>1373.9379</c:v>
                </c:pt>
                <c:pt idx="50">
                  <c:v>1251.2986</c:v>
                </c:pt>
                <c:pt idx="51">
                  <c:v>1204.4658</c:v>
                </c:pt>
              </c:numCache>
            </c:numRef>
          </c:xVal>
          <c:yVal>
            <c:numRef>
              <c:f>Sheet1!$B$109:$B$160</c:f>
              <c:numCache>
                <c:formatCode>General</c:formatCode>
                <c:ptCount val="52"/>
                <c:pt idx="0">
                  <c:v>0.9549407114624506</c:v>
                </c:pt>
                <c:pt idx="1">
                  <c:v>0.9486510008703221</c:v>
                </c:pt>
                <c:pt idx="2">
                  <c:v>0.9524506217995611</c:v>
                </c:pt>
                <c:pt idx="3">
                  <c:v>0.9523809523809523</c:v>
                </c:pt>
                <c:pt idx="4">
                  <c:v>0.9532846715328467</c:v>
                </c:pt>
                <c:pt idx="5">
                  <c:v>0.9571209800918836</c:v>
                </c:pt>
                <c:pt idx="6">
                  <c:v>0.9649578195976638</c:v>
                </c:pt>
                <c:pt idx="7">
                  <c:v>0.9635108481262328</c:v>
                </c:pt>
                <c:pt idx="8">
                  <c:v>0.9402834008097166</c:v>
                </c:pt>
                <c:pt idx="9">
                  <c:v>0.9456812110418522</c:v>
                </c:pt>
                <c:pt idx="10">
                  <c:v>0.9439330543933054</c:v>
                </c:pt>
                <c:pt idx="11">
                  <c:v>0.9688864628820961</c:v>
                </c:pt>
                <c:pt idx="12">
                  <c:v>0.9609325771896661</c:v>
                </c:pt>
                <c:pt idx="13">
                  <c:v>0.9606017191977078</c:v>
                </c:pt>
                <c:pt idx="14">
                  <c:v>0.9634235552304315</c:v>
                </c:pt>
                <c:pt idx="15">
                  <c:v>0.9476351351351351</c:v>
                </c:pt>
                <c:pt idx="16">
                  <c:v>0.9448818897637795</c:v>
                </c:pt>
                <c:pt idx="17">
                  <c:v>0.9457671957671958</c:v>
                </c:pt>
                <c:pt idx="18">
                  <c:v>0.947107438016529</c:v>
                </c:pt>
                <c:pt idx="19">
                  <c:v>0.9249617151607963</c:v>
                </c:pt>
                <c:pt idx="20">
                  <c:v>0.928695652173913</c:v>
                </c:pt>
                <c:pt idx="21">
                  <c:v>0.9418386491557224</c:v>
                </c:pt>
                <c:pt idx="22">
                  <c:v>0.9470588235294117</c:v>
                </c:pt>
                <c:pt idx="23">
                  <c:v>0.9327548806941431</c:v>
                </c:pt>
                <c:pt idx="24">
                  <c:v>0.9442307692307692</c:v>
                </c:pt>
                <c:pt idx="25">
                  <c:v>0.9465648854961832</c:v>
                </c:pt>
                <c:pt idx="26">
                  <c:v>0.9505703422053232</c:v>
                </c:pt>
                <c:pt idx="27">
                  <c:v>0.9365079365079365</c:v>
                </c:pt>
                <c:pt idx="28">
                  <c:v>0.9474497681607419</c:v>
                </c:pt>
                <c:pt idx="29">
                  <c:v>0.9358974358974359</c:v>
                </c:pt>
                <c:pt idx="30">
                  <c:v>0.9351081530782029</c:v>
                </c:pt>
                <c:pt idx="31">
                  <c:v>0.9387040280210157</c:v>
                </c:pt>
                <c:pt idx="32">
                  <c:v>0.9307568438003221</c:v>
                </c:pt>
                <c:pt idx="33">
                  <c:v>0.9428891377379619</c:v>
                </c:pt>
                <c:pt idx="34">
                  <c:v>0.9425837320574163</c:v>
                </c:pt>
                <c:pt idx="35">
                  <c:v>0.9331963001027749</c:v>
                </c:pt>
                <c:pt idx="36">
                  <c:v>0.9144602851323829</c:v>
                </c:pt>
                <c:pt idx="37">
                  <c:v>0.911522633744856</c:v>
                </c:pt>
                <c:pt idx="38">
                  <c:v>0.9363057324840764</c:v>
                </c:pt>
                <c:pt idx="39">
                  <c:v>0.9156785243741765</c:v>
                </c:pt>
                <c:pt idx="40">
                  <c:v>0.7597765363128491</c:v>
                </c:pt>
                <c:pt idx="41">
                  <c:v>0.8513513513513513</c:v>
                </c:pt>
                <c:pt idx="42">
                  <c:v>0.8849557522123894</c:v>
                </c:pt>
                <c:pt idx="43">
                  <c:v>0.8805104408352669</c:v>
                </c:pt>
                <c:pt idx="44">
                  <c:v>0.8911917098445595</c:v>
                </c:pt>
                <c:pt idx="45">
                  <c:v>0.9156028368794327</c:v>
                </c:pt>
                <c:pt idx="46">
                  <c:v>0.9220665499124343</c:v>
                </c:pt>
                <c:pt idx="47">
                  <c:v>0.934801016088061</c:v>
                </c:pt>
                <c:pt idx="48">
                  <c:v>0.9340579710144927</c:v>
                </c:pt>
                <c:pt idx="49">
                  <c:v>0.934319526627219</c:v>
                </c:pt>
                <c:pt idx="50">
                  <c:v>0.948656919415165</c:v>
                </c:pt>
                <c:pt idx="51">
                  <c:v>0.939701897018970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20.0215788170804</c:v>
                </c:pt>
              </c:numCache>
            </c:numRef>
          </c:xVal>
          <c:yVal>
            <c:numRef>
              <c:f>Sheet1!$B$163:$B$164</c:f>
              <c:numCache>
                <c:formatCode>General</c:formatCode>
                <c:ptCount val="2"/>
                <c:pt idx="0">
                  <c:v>0.9904928529856897</c:v>
                </c:pt>
                <c:pt idx="1">
                  <c:v>0.990492852985689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20.0215788170804</c:v>
                </c:pt>
                <c:pt idx="1">
                  <c:v>620.0215788170804</c:v>
                </c:pt>
              </c:numCache>
            </c:numRef>
          </c:xVal>
          <c:yVal>
            <c:numRef>
              <c:f>Sheet1!$B$167:$B$168</c:f>
              <c:numCache>
                <c:formatCode>General</c:formatCode>
                <c:ptCount val="2"/>
                <c:pt idx="0">
                  <c:v>0.990492852985689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9.3571843995858</c:v>
                </c:pt>
              </c:numCache>
            </c:numRef>
          </c:xVal>
          <c:yVal>
            <c:numRef>
              <c:f>Sheet1!$B$171:$B$172</c:f>
              <c:numCache>
                <c:formatCode>General</c:formatCode>
                <c:ptCount val="2"/>
                <c:pt idx="0">
                  <c:v>0.9541756674079589</c:v>
                </c:pt>
                <c:pt idx="1">
                  <c:v>0.954175667407958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9.3571843995858</c:v>
                </c:pt>
                <c:pt idx="1">
                  <c:v>1129.3571843995858</c:v>
                </c:pt>
              </c:numCache>
            </c:numRef>
          </c:xVal>
          <c:yVal>
            <c:numRef>
              <c:f>Sheet1!$B$175:$B$176</c:f>
              <c:numCache>
                <c:formatCode>General</c:formatCode>
                <c:ptCount val="2"/>
                <c:pt idx="0">
                  <c:v>0.954175667407958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875.4818961556825</c:v>
                </c:pt>
              </c:numCache>
            </c:numRef>
          </c:xVal>
          <c:yVal>
            <c:numRef>
              <c:f>Sheet1!$B$179:$B$180</c:f>
              <c:numCache>
                <c:formatCode>General</c:formatCode>
                <c:ptCount val="2"/>
                <c:pt idx="0">
                  <c:v>0.9009746947604896</c:v>
                </c:pt>
                <c:pt idx="1">
                  <c:v>0.900974694760489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875.4818961556825</c:v>
                </c:pt>
                <c:pt idx="1">
                  <c:v>1875.4818961556825</c:v>
                </c:pt>
              </c:numCache>
            </c:numRef>
          </c:xVal>
          <c:yVal>
            <c:numRef>
              <c:f>Sheet1!$B$183:$B$184</c:f>
              <c:numCache>
                <c:formatCode>General</c:formatCode>
                <c:ptCount val="2"/>
                <c:pt idx="0">
                  <c:v>0.900974694760489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89.1374</c:v>
                </c:pt>
                <c:pt idx="1">
                  <c:v>1415.2752</c:v>
                </c:pt>
                <c:pt idx="2">
                  <c:v>1393.7043</c:v>
                </c:pt>
                <c:pt idx="3">
                  <c:v>1422.9507</c:v>
                </c:pt>
                <c:pt idx="4">
                  <c:v>1425.2297</c:v>
                </c:pt>
                <c:pt idx="5">
                  <c:v>1453.216</c:v>
                </c:pt>
                <c:pt idx="6">
                  <c:v>1351.6819</c:v>
                </c:pt>
                <c:pt idx="7">
                  <c:v>1424.1955</c:v>
                </c:pt>
                <c:pt idx="8">
                  <c:v>1478.3681</c:v>
                </c:pt>
                <c:pt idx="9">
                  <c:v>1435.6026</c:v>
                </c:pt>
                <c:pt idx="10">
                  <c:v>1462.992</c:v>
                </c:pt>
                <c:pt idx="11">
                  <c:v>1290.7679</c:v>
                </c:pt>
                <c:pt idx="12">
                  <c:v>1307.0289</c:v>
                </c:pt>
                <c:pt idx="13">
                  <c:v>1378.8598</c:v>
                </c:pt>
                <c:pt idx="14">
                  <c:v>1358.1655</c:v>
                </c:pt>
                <c:pt idx="15">
                  <c:v>1408.6061</c:v>
                </c:pt>
                <c:pt idx="16">
                  <c:v>1472.3726</c:v>
                </c:pt>
                <c:pt idx="17">
                  <c:v>1443.5874</c:v>
                </c:pt>
                <c:pt idx="18">
                  <c:v>1466.1065</c:v>
                </c:pt>
                <c:pt idx="19">
                  <c:v>1615.0497</c:v>
                </c:pt>
                <c:pt idx="20">
                  <c:v>1603.7846</c:v>
                </c:pt>
                <c:pt idx="21">
                  <c:v>1453.4303</c:v>
                </c:pt>
                <c:pt idx="22">
                  <c:v>1438.9896</c:v>
                </c:pt>
                <c:pt idx="23">
                  <c:v>1486.493</c:v>
                </c:pt>
                <c:pt idx="24">
                  <c:v>1482.055</c:v>
                </c:pt>
                <c:pt idx="25">
                  <c:v>1367.256</c:v>
                </c:pt>
                <c:pt idx="26">
                  <c:v>1422.412</c:v>
                </c:pt>
                <c:pt idx="27">
                  <c:v>1476.1808</c:v>
                </c:pt>
                <c:pt idx="28">
                  <c:v>1466.279</c:v>
                </c:pt>
                <c:pt idx="29">
                  <c:v>1512.8552</c:v>
                </c:pt>
                <c:pt idx="30">
                  <c:v>1365.6762</c:v>
                </c:pt>
                <c:pt idx="31">
                  <c:v>1201.6978</c:v>
                </c:pt>
                <c:pt idx="32">
                  <c:v>1361.0502</c:v>
                </c:pt>
                <c:pt idx="33">
                  <c:v>1429.6591</c:v>
                </c:pt>
                <c:pt idx="34">
                  <c:v>1447.319</c:v>
                </c:pt>
                <c:pt idx="35">
                  <c:v>1402.9262</c:v>
                </c:pt>
                <c:pt idx="36">
                  <c:v>1462.069</c:v>
                </c:pt>
                <c:pt idx="37">
                  <c:v>1538.1332</c:v>
                </c:pt>
                <c:pt idx="38">
                  <c:v>1460.4717</c:v>
                </c:pt>
                <c:pt idx="39">
                  <c:v>1390.8317</c:v>
                </c:pt>
                <c:pt idx="40">
                  <c:v>1396.9794</c:v>
                </c:pt>
                <c:pt idx="41">
                  <c:v>1485.9538</c:v>
                </c:pt>
                <c:pt idx="42">
                  <c:v>1451.6033</c:v>
                </c:pt>
                <c:pt idx="43">
                  <c:v>1438.1344</c:v>
                </c:pt>
                <c:pt idx="44">
                  <c:v>1441.05</c:v>
                </c:pt>
                <c:pt idx="45">
                  <c:v>1392.2084</c:v>
                </c:pt>
                <c:pt idx="46">
                  <c:v>1374.7113</c:v>
                </c:pt>
                <c:pt idx="47">
                  <c:v>1359.7935</c:v>
                </c:pt>
                <c:pt idx="48">
                  <c:v>1343.886</c:v>
                </c:pt>
                <c:pt idx="49">
                  <c:v>1373.9379</c:v>
                </c:pt>
                <c:pt idx="50">
                  <c:v>1251.2986</c:v>
                </c:pt>
                <c:pt idx="51">
                  <c:v>1204.4658</c:v>
                </c:pt>
                <c:pt idx="52">
                  <c:v>1129.3571843995858</c:v>
                </c:pt>
                <c:pt idx="53">
                  <c:v>620.0215788170804</c:v>
                </c:pt>
                <c:pt idx="54">
                  <c:v>1875.4818961556825</c:v>
                </c:pt>
              </c:numCache>
            </c:numRef>
          </c:xVal>
          <c:yVal>
            <c:numRef>
              <c:f>Sheet1!$B$187:$B$241</c:f>
              <c:numCache>
                <c:formatCode>General</c:formatCode>
                <c:ptCount val="55"/>
                <c:pt idx="0">
                  <c:v>0.935652543958552</c:v>
                </c:pt>
                <c:pt idx="1">
                  <c:v>0.9337888389224432</c:v>
                </c:pt>
                <c:pt idx="2">
                  <c:v>0.9353269100287873</c:v>
                </c:pt>
                <c:pt idx="3">
                  <c:v>0.9332415523105382</c:v>
                </c:pt>
                <c:pt idx="4">
                  <c:v>0.9330790526442583</c:v>
                </c:pt>
                <c:pt idx="5">
                  <c:v>0.9310835439077904</c:v>
                </c:pt>
                <c:pt idx="6">
                  <c:v>0.9383232355997755</c:v>
                </c:pt>
                <c:pt idx="7">
                  <c:v>0.9331527942655249</c:v>
                </c:pt>
                <c:pt idx="8">
                  <c:v>0.9292901222946971</c:v>
                </c:pt>
                <c:pt idx="9">
                  <c:v>0.9323394331671389</c:v>
                </c:pt>
                <c:pt idx="10">
                  <c:v>0.930386485225231</c:v>
                </c:pt>
                <c:pt idx="11">
                  <c:v>0.9426665899972201</c:v>
                </c:pt>
                <c:pt idx="12">
                  <c:v>0.9415071309917887</c:v>
                </c:pt>
                <c:pt idx="13">
                  <c:v>0.9363853682543654</c:v>
                </c:pt>
                <c:pt idx="14">
                  <c:v>0.9378609351011828</c:v>
                </c:pt>
                <c:pt idx="15">
                  <c:v>0.9342643661380587</c:v>
                </c:pt>
                <c:pt idx="16">
                  <c:v>0.9297176197713014</c:v>
                </c:pt>
                <c:pt idx="17">
                  <c:v>0.9317700925197882</c:v>
                </c:pt>
                <c:pt idx="18">
                  <c:v>0.930164411855056</c:v>
                </c:pt>
                <c:pt idx="19">
                  <c:v>0.9195443064164135</c:v>
                </c:pt>
                <c:pt idx="20">
                  <c:v>0.9203475424807444</c:v>
                </c:pt>
                <c:pt idx="21">
                  <c:v>0.9310682636627339</c:v>
                </c:pt>
                <c:pt idx="22">
                  <c:v>0.9320979297140057</c:v>
                </c:pt>
                <c:pt idx="23">
                  <c:v>0.928710792089099</c:v>
                </c:pt>
                <c:pt idx="24">
                  <c:v>0.9290272350548517</c:v>
                </c:pt>
                <c:pt idx="25">
                  <c:v>0.9372127546640097</c:v>
                </c:pt>
                <c:pt idx="26">
                  <c:v>0.9332799632671969</c:v>
                </c:pt>
                <c:pt idx="27">
                  <c:v>0.9294460834706751</c:v>
                </c:pt>
                <c:pt idx="28">
                  <c:v>0.9301521120777707</c:v>
                </c:pt>
                <c:pt idx="29">
                  <c:v>0.9268310866470608</c:v>
                </c:pt>
                <c:pt idx="30">
                  <c:v>0.9373253992330263</c:v>
                </c:pt>
                <c:pt idx="31">
                  <c:v>0.9490175603901648</c:v>
                </c:pt>
                <c:pt idx="32">
                  <c:v>0.9376552471734436</c:v>
                </c:pt>
                <c:pt idx="33">
                  <c:v>0.9327632228847934</c:v>
                </c:pt>
                <c:pt idx="34">
                  <c:v>0.9315040180333072</c:v>
                </c:pt>
                <c:pt idx="35">
                  <c:v>0.9346693603699602</c:v>
                </c:pt>
                <c:pt idx="36">
                  <c:v>0.9304522979465897</c:v>
                </c:pt>
                <c:pt idx="37">
                  <c:v>0.9250286879791256</c:v>
                </c:pt>
                <c:pt idx="38">
                  <c:v>0.9305661903190992</c:v>
                </c:pt>
                <c:pt idx="39">
                  <c:v>0.9355317351895401</c:v>
                </c:pt>
                <c:pt idx="40">
                  <c:v>0.9350933853877019</c:v>
                </c:pt>
                <c:pt idx="41">
                  <c:v>0.928749238697286</c:v>
                </c:pt>
                <c:pt idx="42">
                  <c:v>0.9311985343473734</c:v>
                </c:pt>
                <c:pt idx="43">
                  <c:v>0.9321589080881184</c:v>
                </c:pt>
                <c:pt idx="44">
                  <c:v>0.9319510168959263</c:v>
                </c:pt>
                <c:pt idx="45">
                  <c:v>0.9354335722713446</c:v>
                </c:pt>
                <c:pt idx="46">
                  <c:v>0.9366811689851957</c:v>
                </c:pt>
                <c:pt idx="47">
                  <c:v>0.937744853724832</c:v>
                </c:pt>
                <c:pt idx="48">
                  <c:v>0.9388791070997105</c:v>
                </c:pt>
                <c:pt idx="49">
                  <c:v>0.9367363147692681</c:v>
                </c:pt>
                <c:pt idx="50">
                  <c:v>0.9454808717340797</c:v>
                </c:pt>
                <c:pt idx="51">
                  <c:v>0.9488201935291456</c:v>
                </c:pt>
                <c:pt idx="52">
                  <c:v>0.9541756674079589</c:v>
                </c:pt>
                <c:pt idx="53">
                  <c:v>0.9904928529856897</c:v>
                </c:pt>
                <c:pt idx="54">
                  <c:v>0.900974694760489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251.0"/>
          <c:min val="34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5531914893617"/>
          <c:min val="0.607821229050279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6</c:f>
              <c:numCache>
                <c:formatCode>General</c:formatCode>
                <c:ptCount val="45"/>
                <c:pt idx="0">
                  <c:v>0.42225447570332475</c:v>
                </c:pt>
                <c:pt idx="1">
                  <c:v>0.1586734325113783</c:v>
                </c:pt>
                <c:pt idx="2">
                  <c:v>0.21380580832606408</c:v>
                </c:pt>
                <c:pt idx="3">
                  <c:v>0.16415784449773957</c:v>
                </c:pt>
                <c:pt idx="4">
                  <c:v>0.12290583403538333</c:v>
                </c:pt>
                <c:pt idx="5">
                  <c:v>0.14263824570961592</c:v>
                </c:pt>
                <c:pt idx="6">
                  <c:v>0.10053112394957983</c:v>
                </c:pt>
                <c:pt idx="7">
                  <c:v>0.18205758443065548</c:v>
                </c:pt>
                <c:pt idx="8">
                  <c:v>0.15455641258568006</c:v>
                </c:pt>
                <c:pt idx="9">
                  <c:v>0.10211901876580975</c:v>
                </c:pt>
                <c:pt idx="10">
                  <c:v>0.18614528955954324</c:v>
                </c:pt>
                <c:pt idx="11">
                  <c:v>0.24636849798387098</c:v>
                </c:pt>
                <c:pt idx="12">
                  <c:v>0.2351412358055633</c:v>
                </c:pt>
                <c:pt idx="13">
                  <c:v>0.12939863834422657</c:v>
                </c:pt>
                <c:pt idx="14">
                  <c:v>0.26032178790221294</c:v>
                </c:pt>
                <c:pt idx="15">
                  <c:v>0.1631341280592432</c:v>
                </c:pt>
                <c:pt idx="16">
                  <c:v>0.14356919899464643</c:v>
                </c:pt>
                <c:pt idx="17">
                  <c:v>0.17035833187006147</c:v>
                </c:pt>
                <c:pt idx="18">
                  <c:v>0.055239369568037364</c:v>
                </c:pt>
                <c:pt idx="19">
                  <c:v>0.08158819719979933</c:v>
                </c:pt>
                <c:pt idx="20">
                  <c:v>0.1434287286380114</c:v>
                </c:pt>
                <c:pt idx="21">
                  <c:v>0.13232829659318637</c:v>
                </c:pt>
                <c:pt idx="22">
                  <c:v>0.05820652322404371</c:v>
                </c:pt>
                <c:pt idx="23">
                  <c:v>0.12116861427582094</c:v>
                </c:pt>
                <c:pt idx="24">
                  <c:v>0.2141595839722648</c:v>
                </c:pt>
                <c:pt idx="25">
                  <c:v>0.26656788627124206</c:v>
                </c:pt>
                <c:pt idx="26">
                  <c:v>0.23448912671983316</c:v>
                </c:pt>
                <c:pt idx="27">
                  <c:v>0.256988051431199</c:v>
                </c:pt>
                <c:pt idx="28">
                  <c:v>0.19632619667534548</c:v>
                </c:pt>
                <c:pt idx="29">
                  <c:v>0.21356601780907022</c:v>
                </c:pt>
                <c:pt idx="30">
                  <c:v>0.29583459783385563</c:v>
                </c:pt>
                <c:pt idx="31">
                  <c:v>0.17169877447329215</c:v>
                </c:pt>
                <c:pt idx="32">
                  <c:v>0.265546526703191</c:v>
                </c:pt>
                <c:pt idx="33">
                  <c:v>0.17939546485134175</c:v>
                </c:pt>
                <c:pt idx="34">
                  <c:v>0.2893067385913778</c:v>
                </c:pt>
                <c:pt idx="35">
                  <c:v>0.29609375552634176</c:v>
                </c:pt>
                <c:pt idx="36">
                  <c:v>0.27680893367833315</c:v>
                </c:pt>
                <c:pt idx="37">
                  <c:v>0.305305695083127</c:v>
                </c:pt>
                <c:pt idx="38">
                  <c:v>0.32148684545279477</c:v>
                </c:pt>
                <c:pt idx="39">
                  <c:v>0.3368796434977184</c:v>
                </c:pt>
                <c:pt idx="40">
                  <c:v>0.34590106463060544</c:v>
                </c:pt>
                <c:pt idx="41">
                  <c:v>0.27467600395246905</c:v>
                </c:pt>
                <c:pt idx="42">
                  <c:v>0.2961756767525918</c:v>
                </c:pt>
                <c:pt idx="43">
                  <c:v>0.3337493053703466</c:v>
                </c:pt>
                <c:pt idx="44">
                  <c:v>0.0</c:v>
                </c:pt>
              </c:numCache>
            </c:numRef>
          </c:xVal>
          <c:yVal>
            <c:numRef>
              <c:f>Sheet1!$B$2:$B$46</c:f>
              <c:numCache>
                <c:formatCode>General</c:formatCode>
                <c:ptCount val="45"/>
                <c:pt idx="0">
                  <c:v>0.9827986982798699</c:v>
                </c:pt>
                <c:pt idx="1">
                  <c:v>0.9820500708549834</c:v>
                </c:pt>
                <c:pt idx="2">
                  <c:v>0.9843184559710495</c:v>
                </c:pt>
                <c:pt idx="3">
                  <c:v>0.9807860262008734</c:v>
                </c:pt>
                <c:pt idx="4">
                  <c:v>0.9886977886977887</c:v>
                </c:pt>
                <c:pt idx="5">
                  <c:v>0.9890909090909091</c:v>
                </c:pt>
                <c:pt idx="6">
                  <c:v>0.9880794701986755</c:v>
                </c:pt>
                <c:pt idx="7">
                  <c:v>0.9903737259343148</c:v>
                </c:pt>
                <c:pt idx="8">
                  <c:v>0.9904988123515439</c:v>
                </c:pt>
                <c:pt idx="9">
                  <c:v>0.9912350597609562</c:v>
                </c:pt>
                <c:pt idx="10">
                  <c:v>0.9888220120378332</c:v>
                </c:pt>
                <c:pt idx="11">
                  <c:v>0.9872231686541738</c:v>
                </c:pt>
                <c:pt idx="12">
                  <c:v>0.987012987012987</c:v>
                </c:pt>
                <c:pt idx="13">
                  <c:v>0.9917287014061208</c:v>
                </c:pt>
                <c:pt idx="14">
                  <c:v>0.9879931389365352</c:v>
                </c:pt>
                <c:pt idx="15">
                  <c:v>0.9959718026183283</c:v>
                </c:pt>
                <c:pt idx="16">
                  <c:v>0.990990990990991</c:v>
                </c:pt>
                <c:pt idx="17">
                  <c:v>0.9892183288409704</c:v>
                </c:pt>
                <c:pt idx="18">
                  <c:v>0.9960610536681438</c:v>
                </c:pt>
                <c:pt idx="19">
                  <c:v>0.9962765957446809</c:v>
                </c:pt>
                <c:pt idx="20">
                  <c:v>0.9905385735080058</c:v>
                </c:pt>
                <c:pt idx="21">
                  <c:v>0.9901256732495511</c:v>
                </c:pt>
                <c:pt idx="22">
                  <c:v>0.9902200488997555</c:v>
                </c:pt>
                <c:pt idx="23">
                  <c:v>0.9922178988326849</c:v>
                </c:pt>
                <c:pt idx="24">
                  <c:v>0.9906432748538012</c:v>
                </c:pt>
                <c:pt idx="25">
                  <c:v>0.9793926247288504</c:v>
                </c:pt>
                <c:pt idx="26">
                  <c:v>0.9855212355212355</c:v>
                </c:pt>
                <c:pt idx="27">
                  <c:v>0.9903047091412742</c:v>
                </c:pt>
                <c:pt idx="28">
                  <c:v>0.986822840409956</c:v>
                </c:pt>
                <c:pt idx="29">
                  <c:v>0.9838449111470113</c:v>
                </c:pt>
                <c:pt idx="30">
                  <c:v>0.9832775919732442</c:v>
                </c:pt>
                <c:pt idx="31">
                  <c:v>0.9889196675900277</c:v>
                </c:pt>
                <c:pt idx="32">
                  <c:v>0.9866863905325444</c:v>
                </c:pt>
                <c:pt idx="33">
                  <c:v>0.99079754601227</c:v>
                </c:pt>
                <c:pt idx="34">
                  <c:v>0.9864197530864197</c:v>
                </c:pt>
                <c:pt idx="35">
                  <c:v>0.985233798195242</c:v>
                </c:pt>
                <c:pt idx="36">
                  <c:v>0.9834824501032347</c:v>
                </c:pt>
                <c:pt idx="37">
                  <c:v>0.9773730684326711</c:v>
                </c:pt>
                <c:pt idx="38">
                  <c:v>0.979253112033195</c:v>
                </c:pt>
                <c:pt idx="39">
                  <c:v>0.9776586237712243</c:v>
                </c:pt>
                <c:pt idx="40">
                  <c:v>0.9664617104527669</c:v>
                </c:pt>
                <c:pt idx="41">
                  <c:v>0.9656160458452722</c:v>
                </c:pt>
                <c:pt idx="42">
                  <c:v>0.9635901778154107</c:v>
                </c:pt>
                <c:pt idx="43">
                  <c:v>0.9637023593466425</c:v>
                </c:pt>
                <c:pt idx="44">
                  <c:v>0.9144602851323829</c:v>
                </c:pt>
              </c:numCache>
            </c:numRef>
          </c:yVal>
          <c:smooth val="0"/>
          <c:extLst>
            <c:ext xmlns:c16="http://schemas.microsoft.com/office/drawing/2014/chart" uri="{C3380CC4-5D6E-409C-BE32-E72D297353CC}">
              <c16:uniqueId val="{00000000-096C-4121-9522-6AB7243CCAAE}"/>
            </c:ext>
          </c:extLst>
        </c:ser>
        <c:ser>
          <c:idx val="1"/>
          <c:order val="1"/>
          <c:tx>
            <c:strRef>
              <c:f>Sheet1!$B$4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9:$A$99</c:f>
              <c:numCache>
                <c:formatCode>General</c:formatCode>
                <c:ptCount val="51"/>
                <c:pt idx="0">
                  <c:v>0.35633265157145627</c:v>
                </c:pt>
                <c:pt idx="1">
                  <c:v>0.3851744038101718</c:v>
                </c:pt>
                <c:pt idx="2">
                  <c:v>0.34437393878386047</c:v>
                </c:pt>
                <c:pt idx="3">
                  <c:v>0.3506964140480592</c:v>
                </c:pt>
                <c:pt idx="4">
                  <c:v>0.356271797820218</c:v>
                </c:pt>
                <c:pt idx="5">
                  <c:v>0.3554254006568938</c:v>
                </c:pt>
                <c:pt idx="6">
                  <c:v>0.34875684722168504</c:v>
                </c:pt>
                <c:pt idx="7">
                  <c:v>0.3507804248732333</c:v>
                </c:pt>
                <c:pt idx="8">
                  <c:v>0.39924961381947666</c:v>
                </c:pt>
                <c:pt idx="9">
                  <c:v>0.35950904716050974</c:v>
                </c:pt>
                <c:pt idx="10">
                  <c:v>0.36879052180489036</c:v>
                </c:pt>
                <c:pt idx="11">
                  <c:v>0.30096716436062837</c:v>
                </c:pt>
                <c:pt idx="12">
                  <c:v>0.25894864735904766</c:v>
                </c:pt>
                <c:pt idx="13">
                  <c:v>0.31339147233965176</c:v>
                </c:pt>
                <c:pt idx="14">
                  <c:v>0.28737401147874847</c:v>
                </c:pt>
                <c:pt idx="15">
                  <c:v>0.3043222144294814</c:v>
                </c:pt>
                <c:pt idx="16">
                  <c:v>0.24822520062040593</c:v>
                </c:pt>
                <c:pt idx="17">
                  <c:v>0.18070442217848443</c:v>
                </c:pt>
                <c:pt idx="18">
                  <c:v>0.13657256637168141</c:v>
                </c:pt>
                <c:pt idx="19">
                  <c:v>0.19660961714042244</c:v>
                </c:pt>
                <c:pt idx="20">
                  <c:v>0.29807352476535637</c:v>
                </c:pt>
                <c:pt idx="21">
                  <c:v>0.2813453929539295</c:v>
                </c:pt>
                <c:pt idx="22">
                  <c:v>0.23468164047468532</c:v>
                </c:pt>
                <c:pt idx="23">
                  <c:v>0.11183365934396629</c:v>
                </c:pt>
                <c:pt idx="24">
                  <c:v>0.2047320071833126</c:v>
                </c:pt>
                <c:pt idx="25">
                  <c:v>0.2733555255660519</c:v>
                </c:pt>
                <c:pt idx="26">
                  <c:v>0.12386032741205155</c:v>
                </c:pt>
                <c:pt idx="27">
                  <c:v>0.25083785896346644</c:v>
                </c:pt>
                <c:pt idx="28">
                  <c:v>0.2547060407347896</c:v>
                </c:pt>
                <c:pt idx="29">
                  <c:v>0.2835451597788398</c:v>
                </c:pt>
                <c:pt idx="30">
                  <c:v>0.28899122318550313</c:v>
                </c:pt>
                <c:pt idx="31">
                  <c:v>0.10755372773650765</c:v>
                </c:pt>
                <c:pt idx="32">
                  <c:v>0.2028189240869316</c:v>
                </c:pt>
                <c:pt idx="33">
                  <c:v>0.35107782034281226</c:v>
                </c:pt>
                <c:pt idx="34">
                  <c:v>0.31903165366133224</c:v>
                </c:pt>
                <c:pt idx="35">
                  <c:v>0.19055456236951404</c:v>
                </c:pt>
                <c:pt idx="36">
                  <c:v>0.10392791891891892</c:v>
                </c:pt>
                <c:pt idx="37">
                  <c:v>0.1111216388952294</c:v>
                </c:pt>
                <c:pt idx="38">
                  <c:v>0.17009070563776446</c:v>
                </c:pt>
                <c:pt idx="39">
                  <c:v>0.34014594594594594</c:v>
                </c:pt>
                <c:pt idx="40">
                  <c:v>0.29140158381096604</c:v>
                </c:pt>
                <c:pt idx="41">
                  <c:v>0.16588804068338953</c:v>
                </c:pt>
                <c:pt idx="42">
                  <c:v>0.2666174267704857</c:v>
                </c:pt>
                <c:pt idx="43">
                  <c:v>0.3453152778449068</c:v>
                </c:pt>
                <c:pt idx="44">
                  <c:v>0.38000725181134243</c:v>
                </c:pt>
                <c:pt idx="45">
                  <c:v>0.30658146743978587</c:v>
                </c:pt>
                <c:pt idx="46">
                  <c:v>0.28231983805668015</c:v>
                </c:pt>
                <c:pt idx="47">
                  <c:v>0.3626080823617567</c:v>
                </c:pt>
                <c:pt idx="48">
                  <c:v>0.3276741950870498</c:v>
                </c:pt>
                <c:pt idx="49">
                  <c:v>0.3077300104258936</c:v>
                </c:pt>
                <c:pt idx="50">
                  <c:v>0.22567160991147125</c:v>
                </c:pt>
              </c:numCache>
            </c:numRef>
          </c:xVal>
          <c:yVal>
            <c:numRef>
              <c:f>Sheet1!$B$49:$B$99</c:f>
              <c:numCache>
                <c:formatCode>General</c:formatCode>
                <c:ptCount val="51"/>
                <c:pt idx="0">
                  <c:v>0.9549407114624506</c:v>
                </c:pt>
                <c:pt idx="1">
                  <c:v>0.9486510008703221</c:v>
                </c:pt>
                <c:pt idx="2">
                  <c:v>0.9524506217995611</c:v>
                </c:pt>
                <c:pt idx="3">
                  <c:v>0.9523809523809523</c:v>
                </c:pt>
                <c:pt idx="4">
                  <c:v>0.9532846715328467</c:v>
                </c:pt>
                <c:pt idx="5">
                  <c:v>0.9571209800918836</c:v>
                </c:pt>
                <c:pt idx="6">
                  <c:v>0.9649578195976638</c:v>
                </c:pt>
                <c:pt idx="7">
                  <c:v>0.9635108481262328</c:v>
                </c:pt>
                <c:pt idx="8">
                  <c:v>0.9402834008097166</c:v>
                </c:pt>
                <c:pt idx="9">
                  <c:v>0.9456812110418522</c:v>
                </c:pt>
                <c:pt idx="10">
                  <c:v>0.9439330543933054</c:v>
                </c:pt>
                <c:pt idx="11">
                  <c:v>0.9688864628820961</c:v>
                </c:pt>
                <c:pt idx="12">
                  <c:v>0.9609325771896661</c:v>
                </c:pt>
                <c:pt idx="13">
                  <c:v>0.9606017191977078</c:v>
                </c:pt>
                <c:pt idx="14">
                  <c:v>0.9634235552304315</c:v>
                </c:pt>
                <c:pt idx="15">
                  <c:v>0.9476351351351351</c:v>
                </c:pt>
                <c:pt idx="16">
                  <c:v>0.9448818897637795</c:v>
                </c:pt>
                <c:pt idx="17">
                  <c:v>0.9457671957671958</c:v>
                </c:pt>
                <c:pt idx="18">
                  <c:v>0.947107438016529</c:v>
                </c:pt>
                <c:pt idx="19">
                  <c:v>0.9249617151607963</c:v>
                </c:pt>
                <c:pt idx="20">
                  <c:v>0.928695652173913</c:v>
                </c:pt>
                <c:pt idx="21">
                  <c:v>0.9418386491557224</c:v>
                </c:pt>
                <c:pt idx="22">
                  <c:v>0.9470588235294117</c:v>
                </c:pt>
                <c:pt idx="23">
                  <c:v>0.9327548806941431</c:v>
                </c:pt>
                <c:pt idx="24">
                  <c:v>0.9442307692307692</c:v>
                </c:pt>
                <c:pt idx="25">
                  <c:v>0.9465648854961832</c:v>
                </c:pt>
                <c:pt idx="26">
                  <c:v>0.9505703422053232</c:v>
                </c:pt>
                <c:pt idx="27">
                  <c:v>0.9365079365079365</c:v>
                </c:pt>
                <c:pt idx="28">
                  <c:v>0.9474497681607419</c:v>
                </c:pt>
                <c:pt idx="29">
                  <c:v>0.9358974358974359</c:v>
                </c:pt>
                <c:pt idx="30">
                  <c:v>0.9351081530782029</c:v>
                </c:pt>
                <c:pt idx="31">
                  <c:v>0.9387040280210157</c:v>
                </c:pt>
                <c:pt idx="32">
                  <c:v>0.9307568438003221</c:v>
                </c:pt>
                <c:pt idx="33">
                  <c:v>0.9428891377379619</c:v>
                </c:pt>
                <c:pt idx="34">
                  <c:v>0.9425837320574163</c:v>
                </c:pt>
                <c:pt idx="35">
                  <c:v>0.9331963001027749</c:v>
                </c:pt>
                <c:pt idx="36">
                  <c:v>0.911522633744856</c:v>
                </c:pt>
                <c:pt idx="37">
                  <c:v>0.9363057324840764</c:v>
                </c:pt>
                <c:pt idx="38">
                  <c:v>0.9156785243741765</c:v>
                </c:pt>
                <c:pt idx="39">
                  <c:v>0.7597765363128491</c:v>
                </c:pt>
                <c:pt idx="40">
                  <c:v>0.8513513513513513</c:v>
                </c:pt>
                <c:pt idx="41">
                  <c:v>0.8849557522123894</c:v>
                </c:pt>
                <c:pt idx="42">
                  <c:v>0.8805104408352669</c:v>
                </c:pt>
                <c:pt idx="43">
                  <c:v>0.8911917098445595</c:v>
                </c:pt>
                <c:pt idx="44">
                  <c:v>0.9156028368794327</c:v>
                </c:pt>
                <c:pt idx="45">
                  <c:v>0.9220665499124343</c:v>
                </c:pt>
                <c:pt idx="46">
                  <c:v>0.934801016088061</c:v>
                </c:pt>
                <c:pt idx="47">
                  <c:v>0.9340579710144927</c:v>
                </c:pt>
                <c:pt idx="48">
                  <c:v>0.934319526627219</c:v>
                </c:pt>
                <c:pt idx="49">
                  <c:v>0.948656919415165</c:v>
                </c:pt>
                <c:pt idx="50">
                  <c:v>0.9397018970189702</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3.301872270515518</c:v>
                </c:pt>
              </c:numCache>
            </c:numRef>
          </c:xVal>
          <c:yVal>
            <c:numRef>
              <c:f>Sheet1!$B$102:$B$103</c:f>
              <c:numCache>
                <c:formatCode>General</c:formatCode>
                <c:ptCount val="2"/>
                <c:pt idx="0">
                  <c:v>0.9904928529856897</c:v>
                </c:pt>
                <c:pt idx="1">
                  <c:v>0.9904928529856897</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3.301872270515518</c:v>
                </c:pt>
                <c:pt idx="1">
                  <c:v>3.301872270515518</c:v>
                </c:pt>
              </c:numCache>
            </c:numRef>
          </c:xVal>
          <c:yVal>
            <c:numRef>
              <c:f>Sheet1!$B$106:$B$107</c:f>
              <c:numCache>
                <c:formatCode>General</c:formatCode>
                <c:ptCount val="2"/>
                <c:pt idx="0">
                  <c:v>0.990492852985689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1.3534448124579102</c:v>
                </c:pt>
              </c:numCache>
            </c:numRef>
          </c:xVal>
          <c:yVal>
            <c:numRef>
              <c:f>Sheet1!$B$110:$B$111</c:f>
              <c:numCache>
                <c:formatCode>General</c:formatCode>
                <c:ptCount val="2"/>
                <c:pt idx="0">
                  <c:v>0.9541756674079589</c:v>
                </c:pt>
                <c:pt idx="1">
                  <c:v>0.9541756674079589</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3534448124579102</c:v>
                </c:pt>
                <c:pt idx="1">
                  <c:v>1.3534448124579102</c:v>
                </c:pt>
              </c:numCache>
            </c:numRef>
          </c:xVal>
          <c:yVal>
            <c:numRef>
              <c:f>Sheet1!$B$114:$B$115</c:f>
              <c:numCache>
                <c:formatCode>General</c:formatCode>
                <c:ptCount val="2"/>
                <c:pt idx="0">
                  <c:v>0.954175667407958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1.5008026809178625</c:v>
                </c:pt>
              </c:numCache>
            </c:numRef>
          </c:xVal>
          <c:yVal>
            <c:numRef>
              <c:f>Sheet1!$B$118:$B$119</c:f>
              <c:numCache>
                <c:formatCode>General</c:formatCode>
                <c:ptCount val="2"/>
                <c:pt idx="0">
                  <c:v>0.9009746947604896</c:v>
                </c:pt>
                <c:pt idx="1">
                  <c:v>0.9009746947604896</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1.5008026809178625</c:v>
                </c:pt>
                <c:pt idx="1">
                  <c:v>-1.5008026809178625</c:v>
                </c:pt>
              </c:numCache>
            </c:numRef>
          </c:xVal>
          <c:yVal>
            <c:numRef>
              <c:f>Sheet1!$B$122:$B$123</c:f>
              <c:numCache>
                <c:formatCode>General</c:formatCode>
                <c:ptCount val="2"/>
                <c:pt idx="0">
                  <c:v>0.900974694760489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79</c:f>
              <c:numCache>
                <c:formatCode>General</c:formatCode>
                <c:ptCount val="54"/>
                <c:pt idx="0">
                  <c:v>0.35633265157145627</c:v>
                </c:pt>
                <c:pt idx="1">
                  <c:v>0.3851744038101718</c:v>
                </c:pt>
                <c:pt idx="2">
                  <c:v>0.34437393878386047</c:v>
                </c:pt>
                <c:pt idx="3">
                  <c:v>0.3506964140480592</c:v>
                </c:pt>
                <c:pt idx="4">
                  <c:v>0.356271797820218</c:v>
                </c:pt>
                <c:pt idx="5">
                  <c:v>0.3554254006568938</c:v>
                </c:pt>
                <c:pt idx="6">
                  <c:v>0.34875684722168504</c:v>
                </c:pt>
                <c:pt idx="7">
                  <c:v>0.3507804248732333</c:v>
                </c:pt>
                <c:pt idx="8">
                  <c:v>0.39924961381947666</c:v>
                </c:pt>
                <c:pt idx="9">
                  <c:v>0.35950904716050974</c:v>
                </c:pt>
                <c:pt idx="10">
                  <c:v>0.36879052180489036</c:v>
                </c:pt>
                <c:pt idx="11">
                  <c:v>0.30096716436062837</c:v>
                </c:pt>
                <c:pt idx="12">
                  <c:v>0.25894864735904766</c:v>
                </c:pt>
                <c:pt idx="13">
                  <c:v>0.31339147233965176</c:v>
                </c:pt>
                <c:pt idx="14">
                  <c:v>0.28737401147874847</c:v>
                </c:pt>
                <c:pt idx="15">
                  <c:v>0.3043222144294814</c:v>
                </c:pt>
                <c:pt idx="16">
                  <c:v>0.24822520062040593</c:v>
                </c:pt>
                <c:pt idx="17">
                  <c:v>0.18070442217848443</c:v>
                </c:pt>
                <c:pt idx="18">
                  <c:v>0.13657256637168141</c:v>
                </c:pt>
                <c:pt idx="19">
                  <c:v>0.19660961714042244</c:v>
                </c:pt>
                <c:pt idx="20">
                  <c:v>0.29807352476535637</c:v>
                </c:pt>
                <c:pt idx="21">
                  <c:v>0.2813453929539295</c:v>
                </c:pt>
                <c:pt idx="22">
                  <c:v>0.23468164047468532</c:v>
                </c:pt>
                <c:pt idx="23">
                  <c:v>0.11183365934396629</c:v>
                </c:pt>
                <c:pt idx="24">
                  <c:v>0.2047320071833126</c:v>
                </c:pt>
                <c:pt idx="25">
                  <c:v>0.2733555255660519</c:v>
                </c:pt>
                <c:pt idx="26">
                  <c:v>0.12386032741205155</c:v>
                </c:pt>
                <c:pt idx="27">
                  <c:v>0.25083785896346644</c:v>
                </c:pt>
                <c:pt idx="28">
                  <c:v>0.2547060407347896</c:v>
                </c:pt>
                <c:pt idx="29">
                  <c:v>0.2835451597788398</c:v>
                </c:pt>
                <c:pt idx="30">
                  <c:v>0.28899122318550313</c:v>
                </c:pt>
                <c:pt idx="31">
                  <c:v>0.10755372773650765</c:v>
                </c:pt>
                <c:pt idx="32">
                  <c:v>0.2028189240869316</c:v>
                </c:pt>
                <c:pt idx="33">
                  <c:v>0.35107782034281226</c:v>
                </c:pt>
                <c:pt idx="34">
                  <c:v>0.31903165366133224</c:v>
                </c:pt>
                <c:pt idx="35">
                  <c:v>0.19055456236951404</c:v>
                </c:pt>
                <c:pt idx="36">
                  <c:v>0.10392791891891892</c:v>
                </c:pt>
                <c:pt idx="37">
                  <c:v>0.1111216388952294</c:v>
                </c:pt>
                <c:pt idx="38">
                  <c:v>0.17009070563776446</c:v>
                </c:pt>
                <c:pt idx="39">
                  <c:v>0.34014594594594594</c:v>
                </c:pt>
                <c:pt idx="40">
                  <c:v>0.29140158381096604</c:v>
                </c:pt>
                <c:pt idx="41">
                  <c:v>0.16588804068338953</c:v>
                </c:pt>
                <c:pt idx="42">
                  <c:v>0.2666174267704857</c:v>
                </c:pt>
                <c:pt idx="43">
                  <c:v>0.3453152778449068</c:v>
                </c:pt>
                <c:pt idx="44">
                  <c:v>0.38000725181134243</c:v>
                </c:pt>
                <c:pt idx="45">
                  <c:v>0.30658146743978587</c:v>
                </c:pt>
                <c:pt idx="46">
                  <c:v>0.28231983805668015</c:v>
                </c:pt>
                <c:pt idx="47">
                  <c:v>0.3626080823617567</c:v>
                </c:pt>
                <c:pt idx="48">
                  <c:v>0.3276741950870498</c:v>
                </c:pt>
                <c:pt idx="49">
                  <c:v>0.3077300104258936</c:v>
                </c:pt>
                <c:pt idx="50">
                  <c:v>0.22567160991147125</c:v>
                </c:pt>
                <c:pt idx="51">
                  <c:v>1.3534448124579102</c:v>
                </c:pt>
                <c:pt idx="52">
                  <c:v>3.301872270515518</c:v>
                </c:pt>
                <c:pt idx="53">
                  <c:v>-1.5008026809178625</c:v>
                </c:pt>
              </c:numCache>
            </c:numRef>
          </c:xVal>
          <c:yVal>
            <c:numRef>
              <c:f>Sheet1!$B$126:$B$179</c:f>
              <c:numCache>
                <c:formatCode>General</c:formatCode>
                <c:ptCount val="54"/>
                <c:pt idx="0">
                  <c:v>0.9355902655039918</c:v>
                </c:pt>
                <c:pt idx="1">
                  <c:v>0.9361278535286878</c:v>
                </c:pt>
                <c:pt idx="2">
                  <c:v>0.9353673643178164</c:v>
                </c:pt>
                <c:pt idx="3">
                  <c:v>0.9354852103821032</c:v>
                </c:pt>
                <c:pt idx="4">
                  <c:v>0.9355891312369872</c:v>
                </c:pt>
                <c:pt idx="5">
                  <c:v>0.9355733550464362</c:v>
                </c:pt>
                <c:pt idx="6">
                  <c:v>0.9354490583518685</c:v>
                </c:pt>
                <c:pt idx="7">
                  <c:v>0.935486776279112</c:v>
                </c:pt>
                <c:pt idx="8">
                  <c:v>0.9363902045912533</c:v>
                </c:pt>
                <c:pt idx="9">
                  <c:v>0.9356494710687661</c:v>
                </c:pt>
                <c:pt idx="10">
                  <c:v>0.9358224706001066</c:v>
                </c:pt>
                <c:pt idx="11">
                  <c:v>0.9345582955092548</c:v>
                </c:pt>
                <c:pt idx="12">
                  <c:v>0.9337751027486844</c:v>
                </c:pt>
                <c:pt idx="13">
                  <c:v>0.934789875030824</c:v>
                </c:pt>
                <c:pt idx="14">
                  <c:v>0.9343049296198777</c:v>
                </c:pt>
                <c:pt idx="15">
                  <c:v>0.9346208310557897</c:v>
                </c:pt>
                <c:pt idx="16">
                  <c:v>0.9335752259692695</c:v>
                </c:pt>
                <c:pt idx="17">
                  <c:v>0.9323166907177325</c:v>
                </c:pt>
                <c:pt idx="18">
                  <c:v>0.93149410695122</c:v>
                </c:pt>
                <c:pt idx="19">
                  <c:v>0.9326131512888941</c:v>
                </c:pt>
                <c:pt idx="20">
                  <c:v>0.9345043602981994</c:v>
                </c:pt>
                <c:pt idx="21">
                  <c:v>0.9341925608186489</c:v>
                </c:pt>
                <c:pt idx="22">
                  <c:v>0.9333227844502582</c:v>
                </c:pt>
                <c:pt idx="23">
                  <c:v>0.9310329927979575</c:v>
                </c:pt>
                <c:pt idx="24">
                  <c:v>0.9327645463769187</c:v>
                </c:pt>
                <c:pt idx="25">
                  <c:v>0.9340436358507385</c:v>
                </c:pt>
                <c:pt idx="26">
                  <c:v>0.9312571606181677</c:v>
                </c:pt>
                <c:pt idx="27">
                  <c:v>0.9336239239064207</c:v>
                </c:pt>
                <c:pt idx="28">
                  <c:v>0.9336960238322642</c:v>
                </c:pt>
                <c:pt idx="29">
                  <c:v>0.9342335627762417</c:v>
                </c:pt>
                <c:pt idx="30">
                  <c:v>0.9343350731992189</c:v>
                </c:pt>
                <c:pt idx="31">
                  <c:v>0.9309532181726281</c:v>
                </c:pt>
                <c:pt idx="32">
                  <c:v>0.9327288879829921</c:v>
                </c:pt>
                <c:pt idx="33">
                  <c:v>0.9354923195013726</c:v>
                </c:pt>
                <c:pt idx="34">
                  <c:v>0.9348950036620719</c:v>
                </c:pt>
                <c:pt idx="35">
                  <c:v>0.9325002897364205</c:v>
                </c:pt>
                <c:pt idx="36">
                  <c:v>0.9308856358917722</c:v>
                </c:pt>
                <c:pt idx="37">
                  <c:v>0.9310197212857618</c:v>
                </c:pt>
                <c:pt idx="38">
                  <c:v>0.9321188592246047</c:v>
                </c:pt>
                <c:pt idx="39">
                  <c:v>0.9352885577911064</c:v>
                </c:pt>
                <c:pt idx="40">
                  <c:v>0.9343800004628859</c:v>
                </c:pt>
                <c:pt idx="41">
                  <c:v>0.932040524790116</c:v>
                </c:pt>
                <c:pt idx="42">
                  <c:v>0.9339180428842733</c:v>
                </c:pt>
                <c:pt idx="43">
                  <c:v>0.9353849101521405</c:v>
                </c:pt>
                <c:pt idx="44">
                  <c:v>0.9360315417993114</c:v>
                </c:pt>
                <c:pt idx="45">
                  <c:v>0.9346629417900144</c:v>
                </c:pt>
                <c:pt idx="46">
                  <c:v>0.9342107237240656</c:v>
                </c:pt>
                <c:pt idx="47">
                  <c:v>0.9357072346955566</c:v>
                </c:pt>
                <c:pt idx="48">
                  <c:v>0.935056093970835</c:v>
                </c:pt>
                <c:pt idx="49">
                  <c:v>0.9346843497457471</c:v>
                </c:pt>
                <c:pt idx="50">
                  <c:v>0.9331548444273069</c:v>
                </c:pt>
                <c:pt idx="51">
                  <c:v>0.9541756674079589</c:v>
                </c:pt>
                <c:pt idx="52">
                  <c:v>0.9904928529856897</c:v>
                </c:pt>
                <c:pt idx="53">
                  <c:v>0.900974694760489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5531914893617"/>
          <c:min val="0.607821229050279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155.7105</c:v>
                </c:pt>
                <c:pt idx="1">
                  <c:v>1167.9158</c:v>
                </c:pt>
                <c:pt idx="2">
                  <c:v>1198.5241</c:v>
                </c:pt>
                <c:pt idx="3">
                  <c:v>1193.0445</c:v>
                </c:pt>
                <c:pt idx="4">
                  <c:v>1167.1138</c:v>
                </c:pt>
                <c:pt idx="5">
                  <c:v>1047.25</c:v>
                </c:pt>
                <c:pt idx="6">
                  <c:v>957.0563</c:v>
                </c:pt>
                <c:pt idx="7">
                  <c:v>933.1058</c:v>
                </c:pt>
                <c:pt idx="8">
                  <c:v>935.7618</c:v>
                </c:pt>
                <c:pt idx="9">
                  <c:v>867.9606</c:v>
                </c:pt>
                <c:pt idx="10">
                  <c:v>912.8565</c:v>
                </c:pt>
                <c:pt idx="11">
                  <c:v>977.5902</c:v>
                </c:pt>
                <c:pt idx="12">
                  <c:v>949.9412</c:v>
                </c:pt>
                <c:pt idx="13">
                  <c:v>950.3036</c:v>
                </c:pt>
                <c:pt idx="14">
                  <c:v>904.9653</c:v>
                </c:pt>
                <c:pt idx="15">
                  <c:v>903.1921</c:v>
                </c:pt>
                <c:pt idx="16">
                  <c:v>858.8788</c:v>
                </c:pt>
                <c:pt idx="17">
                  <c:v>970.1907</c:v>
                </c:pt>
                <c:pt idx="18">
                  <c:v>425.8403</c:v>
                </c:pt>
                <c:pt idx="19">
                  <c:v>447.2461</c:v>
                </c:pt>
                <c:pt idx="20">
                  <c:v>664.7061</c:v>
                </c:pt>
                <c:pt idx="21">
                  <c:v>660.3182</c:v>
                </c:pt>
                <c:pt idx="22">
                  <c:v>681.7148</c:v>
                </c:pt>
                <c:pt idx="23">
                  <c:v>710.3712</c:v>
                </c:pt>
                <c:pt idx="24">
                  <c:v>803.0449</c:v>
                </c:pt>
                <c:pt idx="25">
                  <c:v>1055.6888</c:v>
                </c:pt>
                <c:pt idx="26">
                  <c:v>1101.9314</c:v>
                </c:pt>
                <c:pt idx="27">
                  <c:v>1078.793</c:v>
                </c:pt>
                <c:pt idx="28">
                  <c:v>980.2567</c:v>
                </c:pt>
                <c:pt idx="29">
                  <c:v>1031.3103</c:v>
                </c:pt>
                <c:pt idx="30">
                  <c:v>1076.1871</c:v>
                </c:pt>
                <c:pt idx="31">
                  <c:v>1172.9888</c:v>
                </c:pt>
                <c:pt idx="32">
                  <c:v>1269.8966</c:v>
                </c:pt>
                <c:pt idx="33">
                  <c:v>1214.6269</c:v>
                </c:pt>
                <c:pt idx="34">
                  <c:v>1330.0588</c:v>
                </c:pt>
                <c:pt idx="35">
                  <c:v>1247.3772</c:v>
                </c:pt>
                <c:pt idx="36">
                  <c:v>1270.38</c:v>
                </c:pt>
                <c:pt idx="37">
                  <c:v>1294.6488</c:v>
                </c:pt>
                <c:pt idx="38">
                  <c:v>1271.6055</c:v>
                </c:pt>
                <c:pt idx="39">
                  <c:v>1257.0737</c:v>
                </c:pt>
                <c:pt idx="40">
                  <c:v>1286.6136</c:v>
                </c:pt>
                <c:pt idx="41">
                  <c:v>1355.1484</c:v>
                </c:pt>
                <c:pt idx="42">
                  <c:v>1328.2821</c:v>
                </c:pt>
                <c:pt idx="43">
                  <c:v>1373.7863</c:v>
                </c:pt>
              </c:numCache>
            </c:numRef>
          </c:xVal>
          <c:yVal>
            <c:numRef>
              <c:f>Sheet1!$B$2:$B$45</c:f>
              <c:numCache>
                <c:formatCode>General</c:formatCode>
                <c:ptCount val="44"/>
                <c:pt idx="0">
                  <c:v>0.9827986982798699</c:v>
                </c:pt>
                <c:pt idx="1">
                  <c:v>0.9820500708549834</c:v>
                </c:pt>
                <c:pt idx="2">
                  <c:v>0.9843184559710495</c:v>
                </c:pt>
                <c:pt idx="3">
                  <c:v>0.9807860262008734</c:v>
                </c:pt>
                <c:pt idx="4">
                  <c:v>0.9886977886977887</c:v>
                </c:pt>
                <c:pt idx="5">
                  <c:v>0.9890909090909091</c:v>
                </c:pt>
                <c:pt idx="6">
                  <c:v>0.9880794701986755</c:v>
                </c:pt>
                <c:pt idx="7">
                  <c:v>0.9903737259343148</c:v>
                </c:pt>
                <c:pt idx="8">
                  <c:v>0.9904988123515439</c:v>
                </c:pt>
                <c:pt idx="9">
                  <c:v>0.9912350597609562</c:v>
                </c:pt>
                <c:pt idx="10">
                  <c:v>0.9888220120378332</c:v>
                </c:pt>
                <c:pt idx="11">
                  <c:v>0.9872231686541738</c:v>
                </c:pt>
                <c:pt idx="12">
                  <c:v>0.987012987012987</c:v>
                </c:pt>
                <c:pt idx="13">
                  <c:v>0.9917287014061208</c:v>
                </c:pt>
                <c:pt idx="14">
                  <c:v>0.9879931389365352</c:v>
                </c:pt>
                <c:pt idx="15">
                  <c:v>0.9959718026183283</c:v>
                </c:pt>
                <c:pt idx="16">
                  <c:v>0.990990990990991</c:v>
                </c:pt>
                <c:pt idx="17">
                  <c:v>0.9892183288409704</c:v>
                </c:pt>
                <c:pt idx="18">
                  <c:v>0.9960610536681438</c:v>
                </c:pt>
                <c:pt idx="19">
                  <c:v>0.9962765957446809</c:v>
                </c:pt>
                <c:pt idx="20">
                  <c:v>0.9905385735080058</c:v>
                </c:pt>
                <c:pt idx="21">
                  <c:v>0.9901256732495511</c:v>
                </c:pt>
                <c:pt idx="22">
                  <c:v>0.9902200488997555</c:v>
                </c:pt>
                <c:pt idx="23">
                  <c:v>0.9922178988326849</c:v>
                </c:pt>
                <c:pt idx="24">
                  <c:v>0.9906432748538012</c:v>
                </c:pt>
                <c:pt idx="25">
                  <c:v>0.9793926247288504</c:v>
                </c:pt>
                <c:pt idx="26">
                  <c:v>0.9855212355212355</c:v>
                </c:pt>
                <c:pt idx="27">
                  <c:v>0.9903047091412742</c:v>
                </c:pt>
                <c:pt idx="28">
                  <c:v>0.986822840409956</c:v>
                </c:pt>
                <c:pt idx="29">
                  <c:v>0.9838449111470113</c:v>
                </c:pt>
                <c:pt idx="30">
                  <c:v>0.9832775919732442</c:v>
                </c:pt>
                <c:pt idx="31">
                  <c:v>0.9889196675900277</c:v>
                </c:pt>
                <c:pt idx="32">
                  <c:v>0.9866863905325444</c:v>
                </c:pt>
                <c:pt idx="33">
                  <c:v>0.99079754601227</c:v>
                </c:pt>
                <c:pt idx="34">
                  <c:v>0.9864197530864197</c:v>
                </c:pt>
                <c:pt idx="35">
                  <c:v>0.985233798195242</c:v>
                </c:pt>
                <c:pt idx="36">
                  <c:v>0.9834824501032347</c:v>
                </c:pt>
                <c:pt idx="37">
                  <c:v>0.9773730684326711</c:v>
                </c:pt>
                <c:pt idx="38">
                  <c:v>0.979253112033195</c:v>
                </c:pt>
                <c:pt idx="39">
                  <c:v>0.9776586237712243</c:v>
                </c:pt>
                <c:pt idx="40">
                  <c:v>0.9664617104527669</c:v>
                </c:pt>
                <c:pt idx="41">
                  <c:v>0.9656160458452722</c:v>
                </c:pt>
                <c:pt idx="42">
                  <c:v>0.9635901778154107</c:v>
                </c:pt>
                <c:pt idx="43">
                  <c:v>0.9637023593466425</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1389.1374</c:v>
                </c:pt>
                <c:pt idx="1">
                  <c:v>1415.2752</c:v>
                </c:pt>
                <c:pt idx="2">
                  <c:v>1393.7043</c:v>
                </c:pt>
                <c:pt idx="3">
                  <c:v>1422.9507</c:v>
                </c:pt>
                <c:pt idx="4">
                  <c:v>1425.2297</c:v>
                </c:pt>
                <c:pt idx="5">
                  <c:v>1453.216</c:v>
                </c:pt>
                <c:pt idx="6">
                  <c:v>1351.6819</c:v>
                </c:pt>
                <c:pt idx="7">
                  <c:v>1424.1955</c:v>
                </c:pt>
                <c:pt idx="8">
                  <c:v>1478.3681</c:v>
                </c:pt>
                <c:pt idx="9">
                  <c:v>1435.6026</c:v>
                </c:pt>
                <c:pt idx="10">
                  <c:v>1462.992</c:v>
                </c:pt>
                <c:pt idx="11">
                  <c:v>1290.7679</c:v>
                </c:pt>
                <c:pt idx="12">
                  <c:v>1307.0289</c:v>
                </c:pt>
                <c:pt idx="13">
                  <c:v>1378.8598</c:v>
                </c:pt>
                <c:pt idx="14">
                  <c:v>1358.1655</c:v>
                </c:pt>
                <c:pt idx="15">
                  <c:v>1408.6061</c:v>
                </c:pt>
                <c:pt idx="16">
                  <c:v>1472.3726</c:v>
                </c:pt>
                <c:pt idx="17">
                  <c:v>1443.5874</c:v>
                </c:pt>
                <c:pt idx="18">
                  <c:v>1466.1065</c:v>
                </c:pt>
                <c:pt idx="19">
                  <c:v>1615.0497</c:v>
                </c:pt>
                <c:pt idx="20">
                  <c:v>1603.7846</c:v>
                </c:pt>
                <c:pt idx="21">
                  <c:v>1453.4303</c:v>
                </c:pt>
                <c:pt idx="22">
                  <c:v>1438.9896</c:v>
                </c:pt>
                <c:pt idx="23">
                  <c:v>1486.493</c:v>
                </c:pt>
                <c:pt idx="24">
                  <c:v>1482.055</c:v>
                </c:pt>
                <c:pt idx="25">
                  <c:v>1367.256</c:v>
                </c:pt>
                <c:pt idx="26">
                  <c:v>1422.412</c:v>
                </c:pt>
                <c:pt idx="27">
                  <c:v>1476.1808</c:v>
                </c:pt>
                <c:pt idx="28">
                  <c:v>1466.279</c:v>
                </c:pt>
                <c:pt idx="29">
                  <c:v>1512.8552</c:v>
                </c:pt>
                <c:pt idx="30">
                  <c:v>1365.6762</c:v>
                </c:pt>
                <c:pt idx="31">
                  <c:v>1201.6978</c:v>
                </c:pt>
                <c:pt idx="32">
                  <c:v>1361.0502</c:v>
                </c:pt>
                <c:pt idx="33">
                  <c:v>1429.6591</c:v>
                </c:pt>
                <c:pt idx="34">
                  <c:v>1447.319</c:v>
                </c:pt>
                <c:pt idx="35">
                  <c:v>1402.9262</c:v>
                </c:pt>
                <c:pt idx="36">
                  <c:v>1462.069</c:v>
                </c:pt>
                <c:pt idx="37">
                  <c:v>1538.1332</c:v>
                </c:pt>
                <c:pt idx="38">
                  <c:v>1460.4717</c:v>
                </c:pt>
                <c:pt idx="39">
                  <c:v>1390.8317</c:v>
                </c:pt>
                <c:pt idx="40">
                  <c:v>1396.9794</c:v>
                </c:pt>
                <c:pt idx="41">
                  <c:v>1485.9538</c:v>
                </c:pt>
                <c:pt idx="42">
                  <c:v>1451.6033</c:v>
                </c:pt>
                <c:pt idx="43">
                  <c:v>1438.1344</c:v>
                </c:pt>
                <c:pt idx="44">
                  <c:v>1441.05</c:v>
                </c:pt>
                <c:pt idx="45">
                  <c:v>1392.2084</c:v>
                </c:pt>
                <c:pt idx="46">
                  <c:v>1374.7113</c:v>
                </c:pt>
                <c:pt idx="47">
                  <c:v>1359.7935</c:v>
                </c:pt>
                <c:pt idx="48">
                  <c:v>1343.886</c:v>
                </c:pt>
                <c:pt idx="49">
                  <c:v>1373.9379</c:v>
                </c:pt>
                <c:pt idx="50">
                  <c:v>1251.2986</c:v>
                </c:pt>
                <c:pt idx="51">
                  <c:v>1204.4658</c:v>
                </c:pt>
              </c:numCache>
            </c:numRef>
          </c:xVal>
          <c:yVal>
            <c:numRef>
              <c:f>Sheet1!$B$48:$B$99</c:f>
              <c:numCache>
                <c:formatCode>General</c:formatCode>
                <c:ptCount val="52"/>
                <c:pt idx="0">
                  <c:v>0.9549407114624506</c:v>
                </c:pt>
                <c:pt idx="1">
                  <c:v>0.9486510008703221</c:v>
                </c:pt>
                <c:pt idx="2">
                  <c:v>0.9524506217995611</c:v>
                </c:pt>
                <c:pt idx="3">
                  <c:v>0.9523809523809523</c:v>
                </c:pt>
                <c:pt idx="4">
                  <c:v>0.9532846715328467</c:v>
                </c:pt>
                <c:pt idx="5">
                  <c:v>0.9571209800918836</c:v>
                </c:pt>
                <c:pt idx="6">
                  <c:v>0.9649578195976638</c:v>
                </c:pt>
                <c:pt idx="7">
                  <c:v>0.9635108481262328</c:v>
                </c:pt>
                <c:pt idx="8">
                  <c:v>0.9402834008097166</c:v>
                </c:pt>
                <c:pt idx="9">
                  <c:v>0.9456812110418522</c:v>
                </c:pt>
                <c:pt idx="10">
                  <c:v>0.9439330543933054</c:v>
                </c:pt>
                <c:pt idx="11">
                  <c:v>0.9688864628820961</c:v>
                </c:pt>
                <c:pt idx="12">
                  <c:v>0.9609325771896661</c:v>
                </c:pt>
                <c:pt idx="13">
                  <c:v>0.9606017191977078</c:v>
                </c:pt>
                <c:pt idx="14">
                  <c:v>0.9634235552304315</c:v>
                </c:pt>
                <c:pt idx="15">
                  <c:v>0.9476351351351351</c:v>
                </c:pt>
                <c:pt idx="16">
                  <c:v>0.9448818897637795</c:v>
                </c:pt>
                <c:pt idx="17">
                  <c:v>0.9457671957671958</c:v>
                </c:pt>
                <c:pt idx="18">
                  <c:v>0.947107438016529</c:v>
                </c:pt>
                <c:pt idx="19">
                  <c:v>0.9249617151607963</c:v>
                </c:pt>
                <c:pt idx="20">
                  <c:v>0.928695652173913</c:v>
                </c:pt>
                <c:pt idx="21">
                  <c:v>0.9418386491557224</c:v>
                </c:pt>
                <c:pt idx="22">
                  <c:v>0.9470588235294117</c:v>
                </c:pt>
                <c:pt idx="23">
                  <c:v>0.9327548806941431</c:v>
                </c:pt>
                <c:pt idx="24">
                  <c:v>0.9442307692307692</c:v>
                </c:pt>
                <c:pt idx="25">
                  <c:v>0.9465648854961832</c:v>
                </c:pt>
                <c:pt idx="26">
                  <c:v>0.9505703422053232</c:v>
                </c:pt>
                <c:pt idx="27">
                  <c:v>0.9365079365079365</c:v>
                </c:pt>
                <c:pt idx="28">
                  <c:v>0.9474497681607419</c:v>
                </c:pt>
                <c:pt idx="29">
                  <c:v>0.9358974358974359</c:v>
                </c:pt>
                <c:pt idx="30">
                  <c:v>0.9351081530782029</c:v>
                </c:pt>
                <c:pt idx="31">
                  <c:v>0.9387040280210157</c:v>
                </c:pt>
                <c:pt idx="32">
                  <c:v>0.9307568438003221</c:v>
                </c:pt>
                <c:pt idx="33">
                  <c:v>0.9428891377379619</c:v>
                </c:pt>
                <c:pt idx="34">
                  <c:v>0.9425837320574163</c:v>
                </c:pt>
                <c:pt idx="35">
                  <c:v>0.9331963001027749</c:v>
                </c:pt>
                <c:pt idx="36">
                  <c:v>0.9144602851323829</c:v>
                </c:pt>
                <c:pt idx="37">
                  <c:v>0.911522633744856</c:v>
                </c:pt>
                <c:pt idx="38">
                  <c:v>0.9363057324840764</c:v>
                </c:pt>
                <c:pt idx="39">
                  <c:v>0.9156785243741765</c:v>
                </c:pt>
                <c:pt idx="40">
                  <c:v>0.7597765363128491</c:v>
                </c:pt>
                <c:pt idx="41">
                  <c:v>0.8513513513513513</c:v>
                </c:pt>
                <c:pt idx="42">
                  <c:v>0.8849557522123894</c:v>
                </c:pt>
                <c:pt idx="43">
                  <c:v>0.8805104408352669</c:v>
                </c:pt>
                <c:pt idx="44">
                  <c:v>0.8911917098445595</c:v>
                </c:pt>
                <c:pt idx="45">
                  <c:v>0.9156028368794327</c:v>
                </c:pt>
                <c:pt idx="46">
                  <c:v>0.9220665499124343</c:v>
                </c:pt>
                <c:pt idx="47">
                  <c:v>0.934801016088061</c:v>
                </c:pt>
                <c:pt idx="48">
                  <c:v>0.9340579710144927</c:v>
                </c:pt>
                <c:pt idx="49">
                  <c:v>0.934319526627219</c:v>
                </c:pt>
                <c:pt idx="50">
                  <c:v>0.948656919415165</c:v>
                </c:pt>
                <c:pt idx="51">
                  <c:v>0.9397018970189702</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620.0215788170804</c:v>
                </c:pt>
              </c:numCache>
            </c:numRef>
          </c:xVal>
          <c:yVal>
            <c:numRef>
              <c:f>Sheet1!$B$102:$B$103</c:f>
              <c:numCache>
                <c:formatCode>General</c:formatCode>
                <c:ptCount val="2"/>
                <c:pt idx="0">
                  <c:v>0.9904928529856897</c:v>
                </c:pt>
                <c:pt idx="1">
                  <c:v>0.9904928529856897</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620.0215788170804</c:v>
                </c:pt>
                <c:pt idx="1">
                  <c:v>620.0215788170804</c:v>
                </c:pt>
              </c:numCache>
            </c:numRef>
          </c:xVal>
          <c:yVal>
            <c:numRef>
              <c:f>Sheet1!$B$106:$B$107</c:f>
              <c:numCache>
                <c:formatCode>General</c:formatCode>
                <c:ptCount val="2"/>
                <c:pt idx="0">
                  <c:v>0.990492852985689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1129.3571843995858</c:v>
                </c:pt>
              </c:numCache>
            </c:numRef>
          </c:xVal>
          <c:yVal>
            <c:numRef>
              <c:f>Sheet1!$B$110:$B$111</c:f>
              <c:numCache>
                <c:formatCode>General</c:formatCode>
                <c:ptCount val="2"/>
                <c:pt idx="0">
                  <c:v>0.9541756674079589</c:v>
                </c:pt>
                <c:pt idx="1">
                  <c:v>0.9541756674079589</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1129.3571843995858</c:v>
                </c:pt>
                <c:pt idx="1">
                  <c:v>1129.3571843995858</c:v>
                </c:pt>
              </c:numCache>
            </c:numRef>
          </c:xVal>
          <c:yVal>
            <c:numRef>
              <c:f>Sheet1!$B$114:$B$115</c:f>
              <c:numCache>
                <c:formatCode>General</c:formatCode>
                <c:ptCount val="2"/>
                <c:pt idx="0">
                  <c:v>0.954175667407958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1875.4818961556825</c:v>
                </c:pt>
              </c:numCache>
            </c:numRef>
          </c:xVal>
          <c:yVal>
            <c:numRef>
              <c:f>Sheet1!$B$118:$B$119</c:f>
              <c:numCache>
                <c:formatCode>General</c:formatCode>
                <c:ptCount val="2"/>
                <c:pt idx="0">
                  <c:v>0.9009746947604896</c:v>
                </c:pt>
                <c:pt idx="1">
                  <c:v>0.9009746947604896</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875.4818961556825</c:v>
                </c:pt>
                <c:pt idx="1">
                  <c:v>1875.4818961556825</c:v>
                </c:pt>
              </c:numCache>
            </c:numRef>
          </c:xVal>
          <c:yVal>
            <c:numRef>
              <c:f>Sheet1!$B$122:$B$123</c:f>
              <c:numCache>
                <c:formatCode>General</c:formatCode>
                <c:ptCount val="2"/>
                <c:pt idx="0">
                  <c:v>0.900974694760489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1389.1374</c:v>
                </c:pt>
                <c:pt idx="1">
                  <c:v>1415.2752</c:v>
                </c:pt>
                <c:pt idx="2">
                  <c:v>1393.7043</c:v>
                </c:pt>
                <c:pt idx="3">
                  <c:v>1422.9507</c:v>
                </c:pt>
                <c:pt idx="4">
                  <c:v>1425.2297</c:v>
                </c:pt>
                <c:pt idx="5">
                  <c:v>1453.216</c:v>
                </c:pt>
                <c:pt idx="6">
                  <c:v>1351.6819</c:v>
                </c:pt>
                <c:pt idx="7">
                  <c:v>1424.1955</c:v>
                </c:pt>
                <c:pt idx="8">
                  <c:v>1478.3681</c:v>
                </c:pt>
                <c:pt idx="9">
                  <c:v>1435.6026</c:v>
                </c:pt>
                <c:pt idx="10">
                  <c:v>1462.992</c:v>
                </c:pt>
                <c:pt idx="11">
                  <c:v>1290.7679</c:v>
                </c:pt>
                <c:pt idx="12">
                  <c:v>1307.0289</c:v>
                </c:pt>
                <c:pt idx="13">
                  <c:v>1378.8598</c:v>
                </c:pt>
                <c:pt idx="14">
                  <c:v>1358.1655</c:v>
                </c:pt>
                <c:pt idx="15">
                  <c:v>1408.6061</c:v>
                </c:pt>
                <c:pt idx="16">
                  <c:v>1472.3726</c:v>
                </c:pt>
                <c:pt idx="17">
                  <c:v>1443.5874</c:v>
                </c:pt>
                <c:pt idx="18">
                  <c:v>1466.1065</c:v>
                </c:pt>
                <c:pt idx="19">
                  <c:v>1615.0497</c:v>
                </c:pt>
                <c:pt idx="20">
                  <c:v>1603.7846</c:v>
                </c:pt>
                <c:pt idx="21">
                  <c:v>1453.4303</c:v>
                </c:pt>
                <c:pt idx="22">
                  <c:v>1438.9896</c:v>
                </c:pt>
                <c:pt idx="23">
                  <c:v>1486.493</c:v>
                </c:pt>
                <c:pt idx="24">
                  <c:v>1482.055</c:v>
                </c:pt>
                <c:pt idx="25">
                  <c:v>1367.256</c:v>
                </c:pt>
                <c:pt idx="26">
                  <c:v>1422.412</c:v>
                </c:pt>
                <c:pt idx="27">
                  <c:v>1476.1808</c:v>
                </c:pt>
                <c:pt idx="28">
                  <c:v>1466.279</c:v>
                </c:pt>
                <c:pt idx="29">
                  <c:v>1512.8552</c:v>
                </c:pt>
                <c:pt idx="30">
                  <c:v>1365.6762</c:v>
                </c:pt>
                <c:pt idx="31">
                  <c:v>1201.6978</c:v>
                </c:pt>
                <c:pt idx="32">
                  <c:v>1361.0502</c:v>
                </c:pt>
                <c:pt idx="33">
                  <c:v>1429.6591</c:v>
                </c:pt>
                <c:pt idx="34">
                  <c:v>1447.319</c:v>
                </c:pt>
                <c:pt idx="35">
                  <c:v>1402.9262</c:v>
                </c:pt>
                <c:pt idx="36">
                  <c:v>1462.069</c:v>
                </c:pt>
                <c:pt idx="37">
                  <c:v>1538.1332</c:v>
                </c:pt>
                <c:pt idx="38">
                  <c:v>1460.4717</c:v>
                </c:pt>
                <c:pt idx="39">
                  <c:v>1390.8317</c:v>
                </c:pt>
                <c:pt idx="40">
                  <c:v>1396.9794</c:v>
                </c:pt>
                <c:pt idx="41">
                  <c:v>1485.9538</c:v>
                </c:pt>
                <c:pt idx="42">
                  <c:v>1451.6033</c:v>
                </c:pt>
                <c:pt idx="43">
                  <c:v>1438.1344</c:v>
                </c:pt>
                <c:pt idx="44">
                  <c:v>1441.05</c:v>
                </c:pt>
                <c:pt idx="45">
                  <c:v>1392.2084</c:v>
                </c:pt>
                <c:pt idx="46">
                  <c:v>1374.7113</c:v>
                </c:pt>
                <c:pt idx="47">
                  <c:v>1359.7935</c:v>
                </c:pt>
                <c:pt idx="48">
                  <c:v>1343.886</c:v>
                </c:pt>
                <c:pt idx="49">
                  <c:v>1373.9379</c:v>
                </c:pt>
                <c:pt idx="50">
                  <c:v>1251.2986</c:v>
                </c:pt>
                <c:pt idx="51">
                  <c:v>1204.4658</c:v>
                </c:pt>
                <c:pt idx="52">
                  <c:v>1129.3571843995858</c:v>
                </c:pt>
                <c:pt idx="53">
                  <c:v>620.0215788170804</c:v>
                </c:pt>
                <c:pt idx="54">
                  <c:v>1875.4818961556825</c:v>
                </c:pt>
              </c:numCache>
            </c:numRef>
          </c:xVal>
          <c:yVal>
            <c:numRef>
              <c:f>Sheet1!$B$126:$B$180</c:f>
              <c:numCache>
                <c:formatCode>General</c:formatCode>
                <c:ptCount val="55"/>
                <c:pt idx="0">
                  <c:v>0.935652543958552</c:v>
                </c:pt>
                <c:pt idx="1">
                  <c:v>0.9337888389224432</c:v>
                </c:pt>
                <c:pt idx="2">
                  <c:v>0.9353269100287873</c:v>
                </c:pt>
                <c:pt idx="3">
                  <c:v>0.9332415523105382</c:v>
                </c:pt>
                <c:pt idx="4">
                  <c:v>0.9330790526442583</c:v>
                </c:pt>
                <c:pt idx="5">
                  <c:v>0.9310835439077904</c:v>
                </c:pt>
                <c:pt idx="6">
                  <c:v>0.9383232355997755</c:v>
                </c:pt>
                <c:pt idx="7">
                  <c:v>0.9331527942655249</c:v>
                </c:pt>
                <c:pt idx="8">
                  <c:v>0.9292901222946971</c:v>
                </c:pt>
                <c:pt idx="9">
                  <c:v>0.9323394331671389</c:v>
                </c:pt>
                <c:pt idx="10">
                  <c:v>0.930386485225231</c:v>
                </c:pt>
                <c:pt idx="11">
                  <c:v>0.9426665899972201</c:v>
                </c:pt>
                <c:pt idx="12">
                  <c:v>0.9415071309917887</c:v>
                </c:pt>
                <c:pt idx="13">
                  <c:v>0.9363853682543654</c:v>
                </c:pt>
                <c:pt idx="14">
                  <c:v>0.9378609351011828</c:v>
                </c:pt>
                <c:pt idx="15">
                  <c:v>0.9342643661380587</c:v>
                </c:pt>
                <c:pt idx="16">
                  <c:v>0.9297176197713014</c:v>
                </c:pt>
                <c:pt idx="17">
                  <c:v>0.9317700925197882</c:v>
                </c:pt>
                <c:pt idx="18">
                  <c:v>0.930164411855056</c:v>
                </c:pt>
                <c:pt idx="19">
                  <c:v>0.9195443064164135</c:v>
                </c:pt>
                <c:pt idx="20">
                  <c:v>0.9203475424807444</c:v>
                </c:pt>
                <c:pt idx="21">
                  <c:v>0.9310682636627339</c:v>
                </c:pt>
                <c:pt idx="22">
                  <c:v>0.9320979297140057</c:v>
                </c:pt>
                <c:pt idx="23">
                  <c:v>0.928710792089099</c:v>
                </c:pt>
                <c:pt idx="24">
                  <c:v>0.9290272350548517</c:v>
                </c:pt>
                <c:pt idx="25">
                  <c:v>0.9372127546640097</c:v>
                </c:pt>
                <c:pt idx="26">
                  <c:v>0.9332799632671969</c:v>
                </c:pt>
                <c:pt idx="27">
                  <c:v>0.9294460834706751</c:v>
                </c:pt>
                <c:pt idx="28">
                  <c:v>0.9301521120777707</c:v>
                </c:pt>
                <c:pt idx="29">
                  <c:v>0.9268310866470608</c:v>
                </c:pt>
                <c:pt idx="30">
                  <c:v>0.9373253992330263</c:v>
                </c:pt>
                <c:pt idx="31">
                  <c:v>0.9490175603901648</c:v>
                </c:pt>
                <c:pt idx="32">
                  <c:v>0.9376552471734436</c:v>
                </c:pt>
                <c:pt idx="33">
                  <c:v>0.9327632228847934</c:v>
                </c:pt>
                <c:pt idx="34">
                  <c:v>0.9315040180333072</c:v>
                </c:pt>
                <c:pt idx="35">
                  <c:v>0.9346693603699602</c:v>
                </c:pt>
                <c:pt idx="36">
                  <c:v>0.9304522979465897</c:v>
                </c:pt>
                <c:pt idx="37">
                  <c:v>0.9250286879791256</c:v>
                </c:pt>
                <c:pt idx="38">
                  <c:v>0.9305661903190992</c:v>
                </c:pt>
                <c:pt idx="39">
                  <c:v>0.9355317351895401</c:v>
                </c:pt>
                <c:pt idx="40">
                  <c:v>0.9350933853877019</c:v>
                </c:pt>
                <c:pt idx="41">
                  <c:v>0.928749238697286</c:v>
                </c:pt>
                <c:pt idx="42">
                  <c:v>0.9311985343473734</c:v>
                </c:pt>
                <c:pt idx="43">
                  <c:v>0.9321589080881184</c:v>
                </c:pt>
                <c:pt idx="44">
                  <c:v>0.9319510168959263</c:v>
                </c:pt>
                <c:pt idx="45">
                  <c:v>0.9354335722713446</c:v>
                </c:pt>
                <c:pt idx="46">
                  <c:v>0.9366811689851957</c:v>
                </c:pt>
                <c:pt idx="47">
                  <c:v>0.937744853724832</c:v>
                </c:pt>
                <c:pt idx="48">
                  <c:v>0.9388791070997105</c:v>
                </c:pt>
                <c:pt idx="49">
                  <c:v>0.9367363147692681</c:v>
                </c:pt>
                <c:pt idx="50">
                  <c:v>0.9454808717340797</c:v>
                </c:pt>
                <c:pt idx="51">
                  <c:v>0.9488201935291456</c:v>
                </c:pt>
                <c:pt idx="52">
                  <c:v>0.9541756674079589</c:v>
                </c:pt>
                <c:pt idx="53">
                  <c:v>0.9904928529856897</c:v>
                </c:pt>
                <c:pt idx="54">
                  <c:v>0.900974694760489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251.0"/>
          <c:min val="34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5531914893617"/>
          <c:min val="0.607821229050279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c:f>
              <c:numCache>
                <c:formatCode>General</c:formatCode>
                <c:ptCount val="9"/>
                <c:pt idx="0">
                  <c:v>0.0</c:v>
                </c:pt>
                <c:pt idx="1">
                  <c:v>0.0</c:v>
                </c:pt>
                <c:pt idx="2">
                  <c:v>0.13215604863853667</c:v>
                </c:pt>
                <c:pt idx="3">
                  <c:v>0.2043357769830949</c:v>
                </c:pt>
                <c:pt idx="4">
                  <c:v>0.10042254136746799</c:v>
                </c:pt>
                <c:pt idx="5">
                  <c:v>0.237807914363429</c:v>
                </c:pt>
                <c:pt idx="6">
                  <c:v>0.0</c:v>
                </c:pt>
                <c:pt idx="7">
                  <c:v>0.0</c:v>
                </c:pt>
                <c:pt idx="8">
                  <c:v>0.0</c:v>
                </c:pt>
              </c:numCache>
            </c:numRef>
          </c:xVal>
          <c:yVal>
            <c:numRef>
              <c:f>Sheet1!$B$2:$B$10</c:f>
              <c:numCache>
                <c:formatCode>General</c:formatCode>
                <c:ptCount val="9"/>
                <c:pt idx="0">
                  <c:v>0.9834824501032347</c:v>
                </c:pt>
                <c:pt idx="1">
                  <c:v>0.9773730684326711</c:v>
                </c:pt>
                <c:pt idx="2">
                  <c:v>0.979253112033195</c:v>
                </c:pt>
                <c:pt idx="3">
                  <c:v>0.9776586237712243</c:v>
                </c:pt>
                <c:pt idx="4">
                  <c:v>0.9664617104527669</c:v>
                </c:pt>
                <c:pt idx="5">
                  <c:v>0.9656160458452722</c:v>
                </c:pt>
                <c:pt idx="6">
                  <c:v>0.9635901778154107</c:v>
                </c:pt>
                <c:pt idx="7">
                  <c:v>0.9637023593466425</c:v>
                </c:pt>
                <c:pt idx="8">
                  <c:v>0.9418386491557224</c:v>
                </c:pt>
              </c:numCache>
            </c:numRef>
          </c:yVal>
          <c:smooth val="0"/>
          <c:extLst>
            <c:ext xmlns:c16="http://schemas.microsoft.com/office/drawing/2014/chart" uri="{C3380CC4-5D6E-409C-BE32-E72D297353CC}">
              <c16:uniqueId val="{00000000-096C-4121-9522-6AB7243CCAAE}"/>
            </c:ext>
          </c:extLst>
        </c:ser>
        <c:ser>
          <c:idx val="1"/>
          <c:order val="1"/>
          <c:tx>
            <c:strRef>
              <c:f>Sheet1!$B$1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3:$A$63</c:f>
              <c:numCache>
                <c:formatCode>General</c:formatCode>
                <c:ptCount val="51"/>
                <c:pt idx="0">
                  <c:v>0.14000578512396694</c:v>
                </c:pt>
                <c:pt idx="1">
                  <c:v>0.24785905429071806</c:v>
                </c:pt>
                <c:pt idx="2">
                  <c:v>0.25463537913907053</c:v>
                </c:pt>
                <c:pt idx="3">
                  <c:v>0.4013399238471302</c:v>
                </c:pt>
                <c:pt idx="4">
                  <c:v>0.449189916482736</c:v>
                </c:pt>
                <c:pt idx="5">
                  <c:v>0.3168809419973833</c:v>
                </c:pt>
                <c:pt idx="6">
                  <c:v>0.285300385203947</c:v>
                </c:pt>
                <c:pt idx="7">
                  <c:v>0.12653891603731676</c:v>
                </c:pt>
                <c:pt idx="8">
                  <c:v>0.32834383120488614</c:v>
                </c:pt>
                <c:pt idx="9">
                  <c:v>0.31987580213903744</c:v>
                </c:pt>
                <c:pt idx="10">
                  <c:v>0.23853130564419187</c:v>
                </c:pt>
                <c:pt idx="11">
                  <c:v>0.2575149429415051</c:v>
                </c:pt>
                <c:pt idx="12">
                  <c:v>0.2027554020515818</c:v>
                </c:pt>
                <c:pt idx="13">
                  <c:v>0.3472178088117026</c:v>
                </c:pt>
                <c:pt idx="14">
                  <c:v>0.18888769731995594</c:v>
                </c:pt>
                <c:pt idx="15">
                  <c:v>0.29192698748238416</c:v>
                </c:pt>
                <c:pt idx="16">
                  <c:v>0.2732942180974478</c:v>
                </c:pt>
                <c:pt idx="17">
                  <c:v>0.20838003075407768</c:v>
                </c:pt>
                <c:pt idx="18">
                  <c:v>0.16058121577217963</c:v>
                </c:pt>
                <c:pt idx="19">
                  <c:v>0.2066866777578705</c:v>
                </c:pt>
                <c:pt idx="20">
                  <c:v>0.19056375950570342</c:v>
                </c:pt>
                <c:pt idx="21">
                  <c:v>0.10256518888096935</c:v>
                </c:pt>
                <c:pt idx="22">
                  <c:v>0.2906144672531769</c:v>
                </c:pt>
                <c:pt idx="23">
                  <c:v>0.11829940932311622</c:v>
                </c:pt>
                <c:pt idx="24">
                  <c:v>0.08500721213628451</c:v>
                </c:pt>
                <c:pt idx="25">
                  <c:v>0.2187148458522334</c:v>
                </c:pt>
                <c:pt idx="26">
                  <c:v>0.11127550128147144</c:v>
                </c:pt>
                <c:pt idx="27">
                  <c:v>0.18023219224386947</c:v>
                </c:pt>
                <c:pt idx="28">
                  <c:v>0.2422247732175654</c:v>
                </c:pt>
                <c:pt idx="29">
                  <c:v>0.20062820625826358</c:v>
                </c:pt>
                <c:pt idx="30">
                  <c:v>0.09023787639858827</c:v>
                </c:pt>
                <c:pt idx="31">
                  <c:v>0.219488824383164</c:v>
                </c:pt>
                <c:pt idx="32">
                  <c:v>0.14897713749804617</c:v>
                </c:pt>
                <c:pt idx="33">
                  <c:v>0.24057829122340424</c:v>
                </c:pt>
                <c:pt idx="34">
                  <c:v>0.2766839956611774</c:v>
                </c:pt>
                <c:pt idx="35">
                  <c:v>0.12009766715952029</c:v>
                </c:pt>
                <c:pt idx="36">
                  <c:v>0.10480602343962933</c:v>
                </c:pt>
                <c:pt idx="37">
                  <c:v>0.1067284200526162</c:v>
                </c:pt>
                <c:pt idx="38">
                  <c:v>0.27120980841417636</c:v>
                </c:pt>
                <c:pt idx="39">
                  <c:v>0.15963654439492628</c:v>
                </c:pt>
                <c:pt idx="40">
                  <c:v>0.22877545898926138</c:v>
                </c:pt>
                <c:pt idx="41">
                  <c:v>0.23853476296113713</c:v>
                </c:pt>
                <c:pt idx="42">
                  <c:v>0.37641338786193357</c:v>
                </c:pt>
                <c:pt idx="43">
                  <c:v>0.3785181164804038</c:v>
                </c:pt>
                <c:pt idx="44">
                  <c:v>0.3817014702354433</c:v>
                </c:pt>
                <c:pt idx="45">
                  <c:v>0.34989519138208636</c:v>
                </c:pt>
                <c:pt idx="46">
                  <c:v>0.34391907549011735</c:v>
                </c:pt>
                <c:pt idx="47">
                  <c:v>0.3478806099827373</c:v>
                </c:pt>
                <c:pt idx="48">
                  <c:v>0.3290700312077394</c:v>
                </c:pt>
                <c:pt idx="49">
                  <c:v>0.3107004068533639</c:v>
                </c:pt>
                <c:pt idx="50">
                  <c:v>0.3066358961303462</c:v>
                </c:pt>
              </c:numCache>
            </c:numRef>
          </c:xVal>
          <c:yVal>
            <c:numRef>
              <c:f>Sheet1!$B$13:$B$63</c:f>
              <c:numCache>
                <c:formatCode>General</c:formatCode>
                <c:ptCount val="51"/>
                <c:pt idx="0">
                  <c:v>0.9549407114624506</c:v>
                </c:pt>
                <c:pt idx="1">
                  <c:v>0.9486510008703221</c:v>
                </c:pt>
                <c:pt idx="2">
                  <c:v>0.9524506217995611</c:v>
                </c:pt>
                <c:pt idx="3">
                  <c:v>0.9523809523809523</c:v>
                </c:pt>
                <c:pt idx="4">
                  <c:v>0.9532846715328467</c:v>
                </c:pt>
                <c:pt idx="5">
                  <c:v>0.9571209800918836</c:v>
                </c:pt>
                <c:pt idx="6">
                  <c:v>0.9649578195976638</c:v>
                </c:pt>
                <c:pt idx="7">
                  <c:v>0.9635108481262328</c:v>
                </c:pt>
                <c:pt idx="8">
                  <c:v>0.9402834008097166</c:v>
                </c:pt>
                <c:pt idx="9">
                  <c:v>0.9456812110418522</c:v>
                </c:pt>
                <c:pt idx="10">
                  <c:v>0.9439330543933054</c:v>
                </c:pt>
                <c:pt idx="11">
                  <c:v>0.9688864628820961</c:v>
                </c:pt>
                <c:pt idx="12">
                  <c:v>0.9609325771896661</c:v>
                </c:pt>
                <c:pt idx="13">
                  <c:v>0.9606017191977078</c:v>
                </c:pt>
                <c:pt idx="14">
                  <c:v>0.9634235552304315</c:v>
                </c:pt>
                <c:pt idx="15">
                  <c:v>0.9476351351351351</c:v>
                </c:pt>
                <c:pt idx="16">
                  <c:v>0.9448818897637795</c:v>
                </c:pt>
                <c:pt idx="17">
                  <c:v>0.9457671957671958</c:v>
                </c:pt>
                <c:pt idx="18">
                  <c:v>0.947107438016529</c:v>
                </c:pt>
                <c:pt idx="19">
                  <c:v>0.9249617151607963</c:v>
                </c:pt>
                <c:pt idx="20">
                  <c:v>0.928695652173913</c:v>
                </c:pt>
                <c:pt idx="21">
                  <c:v>0.9470588235294117</c:v>
                </c:pt>
                <c:pt idx="22">
                  <c:v>0.9327548806941431</c:v>
                </c:pt>
                <c:pt idx="23">
                  <c:v>0.9442307692307692</c:v>
                </c:pt>
                <c:pt idx="24">
                  <c:v>0.9465648854961832</c:v>
                </c:pt>
                <c:pt idx="25">
                  <c:v>0.9505703422053232</c:v>
                </c:pt>
                <c:pt idx="26">
                  <c:v>0.9365079365079365</c:v>
                </c:pt>
                <c:pt idx="27">
                  <c:v>0.9474497681607419</c:v>
                </c:pt>
                <c:pt idx="28">
                  <c:v>0.9358974358974359</c:v>
                </c:pt>
                <c:pt idx="29">
                  <c:v>0.9351081530782029</c:v>
                </c:pt>
                <c:pt idx="30">
                  <c:v>0.9387040280210157</c:v>
                </c:pt>
                <c:pt idx="31">
                  <c:v>0.9307568438003221</c:v>
                </c:pt>
                <c:pt idx="32">
                  <c:v>0.9428891377379619</c:v>
                </c:pt>
                <c:pt idx="33">
                  <c:v>0.9425837320574163</c:v>
                </c:pt>
                <c:pt idx="34">
                  <c:v>0.9331963001027749</c:v>
                </c:pt>
                <c:pt idx="35">
                  <c:v>0.9144602851323829</c:v>
                </c:pt>
                <c:pt idx="36">
                  <c:v>0.911522633744856</c:v>
                </c:pt>
                <c:pt idx="37">
                  <c:v>0.9363057324840764</c:v>
                </c:pt>
                <c:pt idx="38">
                  <c:v>0.9156785243741765</c:v>
                </c:pt>
                <c:pt idx="39">
                  <c:v>0.7597765363128491</c:v>
                </c:pt>
                <c:pt idx="40">
                  <c:v>0.8513513513513513</c:v>
                </c:pt>
                <c:pt idx="41">
                  <c:v>0.8849557522123894</c:v>
                </c:pt>
                <c:pt idx="42">
                  <c:v>0.8805104408352669</c:v>
                </c:pt>
                <c:pt idx="43">
                  <c:v>0.8911917098445595</c:v>
                </c:pt>
                <c:pt idx="44">
                  <c:v>0.9156028368794327</c:v>
                </c:pt>
                <c:pt idx="45">
                  <c:v>0.9220665499124343</c:v>
                </c:pt>
                <c:pt idx="46">
                  <c:v>0.934801016088061</c:v>
                </c:pt>
                <c:pt idx="47">
                  <c:v>0.9340579710144927</c:v>
                </c:pt>
                <c:pt idx="48">
                  <c:v>0.934319526627219</c:v>
                </c:pt>
                <c:pt idx="49">
                  <c:v>0.948656919415165</c:v>
                </c:pt>
                <c:pt idx="50">
                  <c:v>0.9397018970189702</c:v>
                </c:pt>
              </c:numCache>
            </c:numRef>
          </c:yVal>
          <c:smooth val="0"/>
          <c:extLst>
            <c:ext xmlns:c16="http://schemas.microsoft.com/office/drawing/2014/chart" uri="{C3380CC4-5D6E-409C-BE32-E72D297353CC}">
              <c16:uniqueId val="{00000002-096C-4121-9522-6AB7243CCAAE}"/>
            </c:ext>
          </c:extLst>
        </c:ser>
        <c:ser>
          <c:idx val="2"/>
          <c:order val="2"/>
          <c:tx>
            <c:strRef>
              <c:f>Sheet1!$B$6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6:$A$67</c:f>
              <c:numCache>
                <c:formatCode>General</c:formatCode>
                <c:ptCount val="2"/>
                <c:pt idx="0">
                  <c:v>0</c:v>
                </c:pt>
                <c:pt idx="1">
                  <c:v>5.610414052820229</c:v>
                </c:pt>
              </c:numCache>
            </c:numRef>
          </c:xVal>
          <c:yVal>
            <c:numRef>
              <c:f>Sheet1!$B$66:$B$67</c:f>
              <c:numCache>
                <c:formatCode>General</c:formatCode>
                <c:ptCount val="2"/>
                <c:pt idx="0">
                  <c:v>0.9794418135850813</c:v>
                </c:pt>
                <c:pt idx="1">
                  <c:v>0.9794418135850813</c:v>
                </c:pt>
              </c:numCache>
            </c:numRef>
          </c:yVal>
          <c:smooth val="0"/>
          <c:extLst>
            <c:ext xmlns:c16="http://schemas.microsoft.com/office/drawing/2014/chart" uri="{C3380CC4-5D6E-409C-BE32-E72D297353CC}">
              <c16:uniqueId val="{00000005-096C-4121-9522-6AB7243CCAAE}"/>
            </c:ext>
          </c:extLst>
        </c:ser>
        <c:ser>
          <c:idx val="3"/>
          <c:order val="3"/>
          <c:tx>
            <c:strRef>
              <c:f>Sheet1!$B$6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0:$A$71</c:f>
              <c:numCache>
                <c:formatCode>General</c:formatCode>
                <c:ptCount val="2"/>
                <c:pt idx="0">
                  <c:v>5.610414052820229</c:v>
                </c:pt>
                <c:pt idx="1">
                  <c:v>5.610414052820229</c:v>
                </c:pt>
              </c:numCache>
            </c:numRef>
          </c:xVal>
          <c:yVal>
            <c:numRef>
              <c:f>Sheet1!$B$70:$B$71</c:f>
              <c:numCache>
                <c:formatCode>General</c:formatCode>
                <c:ptCount val="2"/>
                <c:pt idx="0">
                  <c:v>0.979441813585081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7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74:$A$75</c:f>
              <c:numCache>
                <c:formatCode>General</c:formatCode>
                <c:ptCount val="2"/>
                <c:pt idx="0">
                  <c:v>0</c:v>
                </c:pt>
                <c:pt idx="1">
                  <c:v>2.6566907654653122</c:v>
                </c:pt>
              </c:numCache>
            </c:numRef>
          </c:xVal>
          <c:yVal>
            <c:numRef>
              <c:f>Sheet1!$B$74:$B$75</c:f>
              <c:numCache>
                <c:formatCode>General</c:formatCode>
                <c:ptCount val="2"/>
                <c:pt idx="0">
                  <c:v>0.9541756674079589</c:v>
                </c:pt>
                <c:pt idx="1">
                  <c:v>0.9541756674079589</c:v>
                </c:pt>
              </c:numCache>
            </c:numRef>
          </c:yVal>
          <c:smooth val="0"/>
          <c:extLst>
            <c:ext xmlns:c16="http://schemas.microsoft.com/office/drawing/2014/chart" uri="{C3380CC4-5D6E-409C-BE32-E72D297353CC}">
              <c16:uniqueId val="{0000000D-096C-4121-9522-6AB7243CCAAE}"/>
            </c:ext>
          </c:extLst>
        </c:ser>
        <c:ser>
          <c:idx val="5"/>
          <c:order val="5"/>
          <c:tx>
            <c:strRef>
              <c:f>Sheet1!$B$7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8:$A$79</c:f>
              <c:numCache>
                <c:formatCode>General</c:formatCode>
                <c:ptCount val="2"/>
                <c:pt idx="0">
                  <c:v>2.6566907654653122</c:v>
                </c:pt>
                <c:pt idx="1">
                  <c:v>2.6566907654653122</c:v>
                </c:pt>
              </c:numCache>
            </c:numRef>
          </c:xVal>
          <c:yVal>
            <c:numRef>
              <c:f>Sheet1!$B$78:$B$79</c:f>
              <c:numCache>
                <c:formatCode>General</c:formatCode>
                <c:ptCount val="2"/>
                <c:pt idx="0">
                  <c:v>0.954175667407958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8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82:$A$83</c:f>
              <c:numCache>
                <c:formatCode>General</c:formatCode>
                <c:ptCount val="2"/>
                <c:pt idx="0">
                  <c:v>0</c:v>
                </c:pt>
                <c:pt idx="1">
                  <c:v>-3.562736238445849</c:v>
                </c:pt>
              </c:numCache>
            </c:numRef>
          </c:xVal>
          <c:yVal>
            <c:numRef>
              <c:f>Sheet1!$B$82:$B$83</c:f>
              <c:numCache>
                <c:formatCode>General</c:formatCode>
                <c:ptCount val="2"/>
                <c:pt idx="0">
                  <c:v>0.9009746947604896</c:v>
                </c:pt>
                <c:pt idx="1">
                  <c:v>0.9009746947604896</c:v>
                </c:pt>
              </c:numCache>
            </c:numRef>
          </c:yVal>
          <c:smooth val="0"/>
          <c:extLst>
            <c:ext xmlns:c16="http://schemas.microsoft.com/office/drawing/2014/chart" uri="{C3380CC4-5D6E-409C-BE32-E72D297353CC}">
              <c16:uniqueId val="{00000015-096C-4121-9522-6AB7243CCAAE}"/>
            </c:ext>
          </c:extLst>
        </c:ser>
        <c:ser>
          <c:idx val="7"/>
          <c:order val="7"/>
          <c:tx>
            <c:strRef>
              <c:f>Sheet1!$B$8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6:$A$87</c:f>
              <c:numCache>
                <c:formatCode>General</c:formatCode>
                <c:ptCount val="2"/>
                <c:pt idx="0">
                  <c:v>-3.562736238445849</c:v>
                </c:pt>
                <c:pt idx="1">
                  <c:v>-3.562736238445849</c:v>
                </c:pt>
              </c:numCache>
            </c:numRef>
          </c:xVal>
          <c:yVal>
            <c:numRef>
              <c:f>Sheet1!$B$86:$B$87</c:f>
              <c:numCache>
                <c:formatCode>General</c:formatCode>
                <c:ptCount val="2"/>
                <c:pt idx="0">
                  <c:v>0.900974694760489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8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90:$A$143</c:f>
              <c:numCache>
                <c:formatCode>General</c:formatCode>
                <c:ptCount val="54"/>
                <c:pt idx="0">
                  <c:v>0.14000578512396694</c:v>
                </c:pt>
                <c:pt idx="1">
                  <c:v>0.24785905429071806</c:v>
                </c:pt>
                <c:pt idx="2">
                  <c:v>0.25463537913907053</c:v>
                </c:pt>
                <c:pt idx="3">
                  <c:v>0.4013399238471302</c:v>
                </c:pt>
                <c:pt idx="4">
                  <c:v>0.449189916482736</c:v>
                </c:pt>
                <c:pt idx="5">
                  <c:v>0.3168809419973833</c:v>
                </c:pt>
                <c:pt idx="6">
                  <c:v>0.285300385203947</c:v>
                </c:pt>
                <c:pt idx="7">
                  <c:v>0.12653891603731676</c:v>
                </c:pt>
                <c:pt idx="8">
                  <c:v>0.32834383120488614</c:v>
                </c:pt>
                <c:pt idx="9">
                  <c:v>0.31987580213903744</c:v>
                </c:pt>
                <c:pt idx="10">
                  <c:v>0.23853130564419187</c:v>
                </c:pt>
                <c:pt idx="11">
                  <c:v>0.2575149429415051</c:v>
                </c:pt>
                <c:pt idx="12">
                  <c:v>0.2027554020515818</c:v>
                </c:pt>
                <c:pt idx="13">
                  <c:v>0.3472178088117026</c:v>
                </c:pt>
                <c:pt idx="14">
                  <c:v>0.18888769731995594</c:v>
                </c:pt>
                <c:pt idx="15">
                  <c:v>0.29192698748238416</c:v>
                </c:pt>
                <c:pt idx="16">
                  <c:v>0.2732942180974478</c:v>
                </c:pt>
                <c:pt idx="17">
                  <c:v>0.20838003075407768</c:v>
                </c:pt>
                <c:pt idx="18">
                  <c:v>0.16058121577217963</c:v>
                </c:pt>
                <c:pt idx="19">
                  <c:v>0.2066866777578705</c:v>
                </c:pt>
                <c:pt idx="20">
                  <c:v>0.19056375950570342</c:v>
                </c:pt>
                <c:pt idx="21">
                  <c:v>0.10256518888096935</c:v>
                </c:pt>
                <c:pt idx="22">
                  <c:v>0.2906144672531769</c:v>
                </c:pt>
                <c:pt idx="23">
                  <c:v>0.11829940932311622</c:v>
                </c:pt>
                <c:pt idx="24">
                  <c:v>0.08500721213628451</c:v>
                </c:pt>
                <c:pt idx="25">
                  <c:v>0.2187148458522334</c:v>
                </c:pt>
                <c:pt idx="26">
                  <c:v>0.11127550128147144</c:v>
                </c:pt>
                <c:pt idx="27">
                  <c:v>0.18023219224386947</c:v>
                </c:pt>
                <c:pt idx="28">
                  <c:v>0.2422247732175654</c:v>
                </c:pt>
                <c:pt idx="29">
                  <c:v>0.20062820625826358</c:v>
                </c:pt>
                <c:pt idx="30">
                  <c:v>0.09023787639858827</c:v>
                </c:pt>
                <c:pt idx="31">
                  <c:v>0.219488824383164</c:v>
                </c:pt>
                <c:pt idx="32">
                  <c:v>0.14897713749804617</c:v>
                </c:pt>
                <c:pt idx="33">
                  <c:v>0.24057829122340424</c:v>
                </c:pt>
                <c:pt idx="34">
                  <c:v>0.2766839956611774</c:v>
                </c:pt>
                <c:pt idx="35">
                  <c:v>0.12009766715952029</c:v>
                </c:pt>
                <c:pt idx="36">
                  <c:v>0.10480602343962933</c:v>
                </c:pt>
                <c:pt idx="37">
                  <c:v>0.1067284200526162</c:v>
                </c:pt>
                <c:pt idx="38">
                  <c:v>0.27120980841417636</c:v>
                </c:pt>
                <c:pt idx="39">
                  <c:v>0.15963654439492628</c:v>
                </c:pt>
                <c:pt idx="40">
                  <c:v>0.22877545898926138</c:v>
                </c:pt>
                <c:pt idx="41">
                  <c:v>0.23853476296113713</c:v>
                </c:pt>
                <c:pt idx="42">
                  <c:v>0.37641338786193357</c:v>
                </c:pt>
                <c:pt idx="43">
                  <c:v>0.3785181164804038</c:v>
                </c:pt>
                <c:pt idx="44">
                  <c:v>0.3817014702354433</c:v>
                </c:pt>
                <c:pt idx="45">
                  <c:v>0.34989519138208636</c:v>
                </c:pt>
                <c:pt idx="46">
                  <c:v>0.34391907549011735</c:v>
                </c:pt>
                <c:pt idx="47">
                  <c:v>0.3478806099827373</c:v>
                </c:pt>
                <c:pt idx="48">
                  <c:v>0.3290700312077394</c:v>
                </c:pt>
                <c:pt idx="49">
                  <c:v>0.3107004068533639</c:v>
                </c:pt>
                <c:pt idx="50">
                  <c:v>0.3066358961303462</c:v>
                </c:pt>
                <c:pt idx="51">
                  <c:v>2.6566907654653122</c:v>
                </c:pt>
                <c:pt idx="52">
                  <c:v>5.610414052820229</c:v>
                </c:pt>
                <c:pt idx="53">
                  <c:v>-3.562736238445849</c:v>
                </c:pt>
              </c:numCache>
            </c:numRef>
          </c:xVal>
          <c:yVal>
            <c:numRef>
              <c:f>Sheet1!$B$90:$B$143</c:f>
              <c:numCache>
                <c:formatCode>General</c:formatCode>
                <c:ptCount val="54"/>
                <c:pt idx="0">
                  <c:v>0.9326479464913474</c:v>
                </c:pt>
                <c:pt idx="1">
                  <c:v>0.933570523252723</c:v>
                </c:pt>
                <c:pt idx="2">
                  <c:v>0.9336284879289997</c:v>
                </c:pt>
                <c:pt idx="3">
                  <c:v>0.934883398464225</c:v>
                </c:pt>
                <c:pt idx="4">
                  <c:v>0.9352927072554991</c:v>
                </c:pt>
                <c:pt idx="5">
                  <c:v>0.9341609364142007</c:v>
                </c:pt>
                <c:pt idx="6">
                  <c:v>0.9338907963615716</c:v>
                </c:pt>
                <c:pt idx="7">
                  <c:v>0.9325327509060507</c:v>
                </c:pt>
                <c:pt idx="8">
                  <c:v>0.9342589899575264</c:v>
                </c:pt>
                <c:pt idx="9">
                  <c:v>0.9341865544449902</c:v>
                </c:pt>
                <c:pt idx="10">
                  <c:v>0.9334907336997152</c:v>
                </c:pt>
                <c:pt idx="11">
                  <c:v>0.9336531197150136</c:v>
                </c:pt>
                <c:pt idx="12">
                  <c:v>0.9331847066545756</c:v>
                </c:pt>
                <c:pt idx="13">
                  <c:v>0.9344204379439371</c:v>
                </c:pt>
                <c:pt idx="14">
                  <c:v>0.9330660823215549</c:v>
                </c:pt>
                <c:pt idx="15">
                  <c:v>0.9339474803111283</c:v>
                </c:pt>
                <c:pt idx="16">
                  <c:v>0.9337880956196171</c:v>
                </c:pt>
                <c:pt idx="17">
                  <c:v>0.9332328197231212</c:v>
                </c:pt>
                <c:pt idx="18">
                  <c:v>0.932823948705448</c:v>
                </c:pt>
                <c:pt idx="19">
                  <c:v>0.93321833478321</c:v>
                </c:pt>
                <c:pt idx="20">
                  <c:v>0.9330804193558899</c:v>
                </c:pt>
                <c:pt idx="21">
                  <c:v>0.9323276796668672</c:v>
                </c:pt>
                <c:pt idx="22">
                  <c:v>0.933936253014342</c:v>
                </c:pt>
                <c:pt idx="23">
                  <c:v>0.932462270173492</c:v>
                </c:pt>
                <c:pt idx="24">
                  <c:v>0.9321774887505736</c:v>
                </c:pt>
                <c:pt idx="25">
                  <c:v>0.9333212237215938</c:v>
                </c:pt>
                <c:pt idx="26">
                  <c:v>0.9324021876708166</c:v>
                </c:pt>
                <c:pt idx="27">
                  <c:v>0.9329920431394062</c:v>
                </c:pt>
                <c:pt idx="28">
                  <c:v>0.9335223276178081</c:v>
                </c:pt>
                <c:pt idx="29">
                  <c:v>0.9331665106237925</c:v>
                </c:pt>
                <c:pt idx="30">
                  <c:v>0.9322222318476744</c:v>
                </c:pt>
                <c:pt idx="31">
                  <c:v>0.9333278443332076</c:v>
                </c:pt>
                <c:pt idx="32">
                  <c:v>0.9327246874309812</c:v>
                </c:pt>
                <c:pt idx="33">
                  <c:v>0.9335082436124036</c:v>
                </c:pt>
                <c:pt idx="34">
                  <c:v>0.9338170917736576</c:v>
                </c:pt>
                <c:pt idx="35">
                  <c:v>0.932477652469306</c:v>
                </c:pt>
                <c:pt idx="36">
                  <c:v>0.9323468477635405</c:v>
                </c:pt>
                <c:pt idx="37">
                  <c:v>0.9323632919423307</c:v>
                </c:pt>
                <c:pt idx="38">
                  <c:v>0.9337702655811785</c:v>
                </c:pt>
                <c:pt idx="39">
                  <c:v>0.9328158679873898</c:v>
                </c:pt>
                <c:pt idx="40">
                  <c:v>0.9334072821967528</c:v>
                </c:pt>
                <c:pt idx="41">
                  <c:v>0.9334907632736011</c:v>
                </c:pt>
                <c:pt idx="42">
                  <c:v>0.9346701768992302</c:v>
                </c:pt>
                <c:pt idx="43">
                  <c:v>0.934688180745821</c:v>
                </c:pt>
                <c:pt idx="44">
                  <c:v>0.9347154111507993</c:v>
                </c:pt>
                <c:pt idx="45">
                  <c:v>0.9344433402718854</c:v>
                </c:pt>
                <c:pt idx="46">
                  <c:v>0.9343922205822569</c:v>
                </c:pt>
                <c:pt idx="47">
                  <c:v>0.9344261075445207</c:v>
                </c:pt>
                <c:pt idx="48">
                  <c:v>0.9342652018716568</c:v>
                </c:pt>
                <c:pt idx="49">
                  <c:v>0.9341080681224856</c:v>
                </c:pt>
                <c:pt idx="50">
                  <c:v>0.9340733003016454</c:v>
                </c:pt>
                <c:pt idx="51">
                  <c:v>0.9541756674079589</c:v>
                </c:pt>
                <c:pt idx="52">
                  <c:v>0.9794418135850813</c:v>
                </c:pt>
                <c:pt idx="53">
                  <c:v>0.900974694760489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clipso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801789401238816"/>
          <c:min val="0.607821229050279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670375548088038</c:v>
                </c:pt>
                <c:pt idx="1">
                  <c:v>0.1788582373668275</c:v>
                </c:pt>
                <c:pt idx="2">
                  <c:v>0.17635599707550695</c:v>
                </c:pt>
                <c:pt idx="3">
                  <c:v>0.1824219554277892</c:v>
                </c:pt>
                <c:pt idx="4">
                  <c:v>0.1752400285049025</c:v>
                </c:pt>
                <c:pt idx="5">
                  <c:v>0.17206755957744302</c:v>
                </c:pt>
                <c:pt idx="6">
                  <c:v>0.17670967867048726</c:v>
                </c:pt>
                <c:pt idx="7">
                  <c:v>0.1709622041845366</c:v>
                </c:pt>
                <c:pt idx="8">
                  <c:v>0.17190638080023948</c:v>
                </c:pt>
                <c:pt idx="9">
                  <c:v>0.16375800611108662</c:v>
                </c:pt>
                <c:pt idx="10">
                  <c:v>0.15636836952103908</c:v>
                </c:pt>
                <c:pt idx="11">
                  <c:v>0.15655399160761532</c:v>
                </c:pt>
                <c:pt idx="12">
                  <c:v>0.160181589217434</c:v>
                </c:pt>
                <c:pt idx="13">
                  <c:v>0.15557158957100006</c:v>
                </c:pt>
                <c:pt idx="14">
                  <c:v>0.17908662176286996</c:v>
                </c:pt>
                <c:pt idx="15">
                  <c:v>0.1748356882613624</c:v>
                </c:pt>
                <c:pt idx="16">
                  <c:v>0.1728468105172852</c:v>
                </c:pt>
                <c:pt idx="17">
                  <c:v>0.17290700997940167</c:v>
                </c:pt>
                <c:pt idx="18">
                  <c:v>0.16248544751140936</c:v>
                </c:pt>
                <c:pt idx="19">
                  <c:v>0.16379857444294213</c:v>
                </c:pt>
                <c:pt idx="20">
                  <c:v>0.17672869977429015</c:v>
                </c:pt>
                <c:pt idx="21">
                  <c:v>0.16854643282683476</c:v>
                </c:pt>
                <c:pt idx="22">
                  <c:v>0.16059529082429666</c:v>
                </c:pt>
                <c:pt idx="23">
                  <c:v>0.1618527023370257</c:v>
                </c:pt>
                <c:pt idx="24">
                  <c:v>0.15946453210195027</c:v>
                </c:pt>
                <c:pt idx="25">
                  <c:v>0.1545609771769587</c:v>
                </c:pt>
                <c:pt idx="26">
                  <c:v>0.1611104321614024</c:v>
                </c:pt>
                <c:pt idx="27">
                  <c:v>0.16237502642662816</c:v>
                </c:pt>
                <c:pt idx="28">
                  <c:v>0.15834057842302338</c:v>
                </c:pt>
                <c:pt idx="29">
                  <c:v>0.16844579961599354</c:v>
                </c:pt>
                <c:pt idx="30">
                  <c:v>0.15310118611416357</c:v>
                </c:pt>
                <c:pt idx="31">
                  <c:v>0.1491694734451338</c:v>
                </c:pt>
                <c:pt idx="32">
                  <c:v>0.15169393230865255</c:v>
                </c:pt>
                <c:pt idx="33">
                  <c:v>0.15472768476479384</c:v>
                </c:pt>
                <c:pt idx="34">
                  <c:v>0.15536168459790356</c:v>
                </c:pt>
                <c:pt idx="35">
                  <c:v>0.17133103976530645</c:v>
                </c:pt>
                <c:pt idx="36">
                  <c:v>0.15906351490190576</c:v>
                </c:pt>
                <c:pt idx="37">
                  <c:v>0.15029824990700472</c:v>
                </c:pt>
                <c:pt idx="38">
                  <c:v>0.1494808947439032</c:v>
                </c:pt>
                <c:pt idx="39">
                  <c:v>0.15614270855784074</c:v>
                </c:pt>
                <c:pt idx="40">
                  <c:v>0.1740623807016115</c:v>
                </c:pt>
                <c:pt idx="41">
                  <c:v>0.160213060273832</c:v>
                </c:pt>
                <c:pt idx="42">
                  <c:v>0.1623672658900213</c:v>
                </c:pt>
                <c:pt idx="43">
                  <c:v>0.16987593571416648</c:v>
                </c:pt>
                <c:pt idx="44">
                  <c:v>0.18245394113420124</c:v>
                </c:pt>
                <c:pt idx="45">
                  <c:v>0.19178314050066642</c:v>
                </c:pt>
                <c:pt idx="46">
                  <c:v>0.18341441792475346</c:v>
                </c:pt>
                <c:pt idx="47">
                  <c:v>0.1763488606164007</c:v>
                </c:pt>
                <c:pt idx="48">
                  <c:v>0.18928880546071317</c:v>
                </c:pt>
                <c:pt idx="49">
                  <c:v>0.19123322617278418</c:v>
                </c:pt>
                <c:pt idx="50">
                  <c:v>0.1745919086669058</c:v>
                </c:pt>
                <c:pt idx="51">
                  <c:v>0.16527740258894996</c:v>
                </c:pt>
                <c:pt idx="52">
                  <c:v>0.17800659452958684</c:v>
                </c:pt>
                <c:pt idx="53">
                  <c:v>0.18865371148498417</c:v>
                </c:pt>
                <c:pt idx="54">
                  <c:v>0.18507239646277146</c:v>
                </c:pt>
                <c:pt idx="55">
                  <c:v>0.1837417618640634</c:v>
                </c:pt>
                <c:pt idx="56">
                  <c:v>0.1841481955234815</c:v>
                </c:pt>
                <c:pt idx="57">
                  <c:v>0.18525487204283755</c:v>
                </c:pt>
                <c:pt idx="58">
                  <c:v>0.1977998748216097</c:v>
                </c:pt>
                <c:pt idx="59">
                  <c:v>0.22437348963729634</c:v>
                </c:pt>
                <c:pt idx="60">
                  <c:v>0.22424266029985088</c:v>
                </c:pt>
                <c:pt idx="61">
                  <c:v>0.2028467367768921</c:v>
                </c:pt>
                <c:pt idx="62">
                  <c:v>0.1841399774771859</c:v>
                </c:pt>
                <c:pt idx="63">
                  <c:v>0.19116338371340505</c:v>
                </c:pt>
                <c:pt idx="64">
                  <c:v>0.1949454661826432</c:v>
                </c:pt>
                <c:pt idx="65">
                  <c:v>0.19080702315787448</c:v>
                </c:pt>
                <c:pt idx="66">
                  <c:v>0.2062231803986021</c:v>
                </c:pt>
                <c:pt idx="67">
                  <c:v>0.20671992641237508</c:v>
                </c:pt>
                <c:pt idx="68">
                  <c:v>0.1952053834267882</c:v>
                </c:pt>
                <c:pt idx="69">
                  <c:v>0.1910982543002689</c:v>
                </c:pt>
                <c:pt idx="70">
                  <c:v>0.196896964310191</c:v>
                </c:pt>
                <c:pt idx="71">
                  <c:v>0.18631273854485259</c:v>
                </c:pt>
                <c:pt idx="72">
                  <c:v>0.19888866806296268</c:v>
                </c:pt>
                <c:pt idx="73">
                  <c:v>0.19793778002073556</c:v>
                </c:pt>
                <c:pt idx="74">
                  <c:v>0.19516867861353288</c:v>
                </c:pt>
                <c:pt idx="75">
                  <c:v>0.18867473975180904</c:v>
                </c:pt>
                <c:pt idx="76">
                  <c:v>0.18073682488573137</c:v>
                </c:pt>
                <c:pt idx="77">
                  <c:v>0.17932868800622323</c:v>
                </c:pt>
                <c:pt idx="78">
                  <c:v>0.17835994276615091</c:v>
                </c:pt>
                <c:pt idx="79">
                  <c:v>0.16519056292762094</c:v>
                </c:pt>
                <c:pt idx="80">
                  <c:v>0.16443992608916158</c:v>
                </c:pt>
                <c:pt idx="81">
                  <c:v>0.1821784039683722</c:v>
                </c:pt>
                <c:pt idx="82">
                  <c:v>0.17115009203812573</c:v>
                </c:pt>
                <c:pt idx="83">
                  <c:v>0.16254463374148126</c:v>
                </c:pt>
                <c:pt idx="84">
                  <c:v>0.1651074889811737</c:v>
                </c:pt>
                <c:pt idx="85">
                  <c:v>0.16948459467073188</c:v>
                </c:pt>
                <c:pt idx="86">
                  <c:v>0.17688427747492577</c:v>
                </c:pt>
                <c:pt idx="87">
                  <c:v>0.1977895207582316</c:v>
                </c:pt>
                <c:pt idx="88">
                  <c:v>0.1765827267637418</c:v>
                </c:pt>
                <c:pt idx="89">
                  <c:v>0.17218565654272425</c:v>
                </c:pt>
                <c:pt idx="90">
                  <c:v>0.16868187056619757</c:v>
                </c:pt>
                <c:pt idx="91">
                  <c:v>0.17493780402855827</c:v>
                </c:pt>
                <c:pt idx="92">
                  <c:v>0.18134864634164558</c:v>
                </c:pt>
                <c:pt idx="93">
                  <c:v>0.17972174223973406</c:v>
                </c:pt>
                <c:pt idx="94">
                  <c:v>0.17232639547652265</c:v>
                </c:pt>
                <c:pt idx="95">
                  <c:v>0.18951132088920886</c:v>
                </c:pt>
                <c:pt idx="96">
                  <c:v>0.18853969122048297</c:v>
                </c:pt>
                <c:pt idx="97">
                  <c:v>0.20082206608880993</c:v>
                </c:pt>
                <c:pt idx="98">
                  <c:v>0.20582011826739513</c:v>
                </c:pt>
                <c:pt idx="99">
                  <c:v>0.20698205388911065</c:v>
                </c:pt>
                <c:pt idx="100">
                  <c:v>0.21717712632118794</c:v>
                </c:pt>
                <c:pt idx="101">
                  <c:v>0.217439709869027</c:v>
                </c:pt>
                <c:pt idx="102">
                  <c:v>0.22206418820620574</c:v>
                </c:pt>
                <c:pt idx="103">
                  <c:v>0.20126920450263816</c:v>
                </c:pt>
                <c:pt idx="104">
                  <c:v>0.20219141660966244</c:v>
                </c:pt>
              </c:numCache>
            </c:numRef>
          </c:xVal>
          <c:yVal>
            <c:numRef>
              <c:f>Sheet1!$B$2:$B$106</c:f>
              <c:numCache>
                <c:formatCode>General</c:formatCode>
                <c:ptCount val="105"/>
                <c:pt idx="0">
                  <c:v>0.26012847965738756</c:v>
                </c:pt>
                <c:pt idx="1">
                  <c:v>0.27238736212376147</c:v>
                </c:pt>
                <c:pt idx="2">
                  <c:v>0.26337257810327247</c:v>
                </c:pt>
                <c:pt idx="3">
                  <c:v>0.25908312725889293</c:v>
                </c:pt>
                <c:pt idx="4">
                  <c:v>0.2348164988632673</c:v>
                </c:pt>
                <c:pt idx="5">
                  <c:v>0.2129732123090547</c:v>
                </c:pt>
                <c:pt idx="6">
                  <c:v>0.21761273209549073</c:v>
                </c:pt>
                <c:pt idx="7">
                  <c:v>0.20444602104765283</c:v>
                </c:pt>
                <c:pt idx="8">
                  <c:v>0.22180714452486575</c:v>
                </c:pt>
                <c:pt idx="9">
                  <c:v>0.21677136304716324</c:v>
                </c:pt>
                <c:pt idx="10">
                  <c:v>0.2353272079504969</c:v>
                </c:pt>
                <c:pt idx="11">
                  <c:v>0.23654875800930397</c:v>
                </c:pt>
                <c:pt idx="12">
                  <c:v>0.253778531770512</c:v>
                </c:pt>
                <c:pt idx="13">
                  <c:v>0.2604998264491496</c:v>
                </c:pt>
                <c:pt idx="14">
                  <c:v>0.27032577242602446</c:v>
                </c:pt>
                <c:pt idx="15">
                  <c:v>0.2578412286394116</c:v>
                </c:pt>
                <c:pt idx="16">
                  <c:v>0.22771425058404032</c:v>
                </c:pt>
                <c:pt idx="17">
                  <c:v>0.2395250443564897</c:v>
                </c:pt>
                <c:pt idx="18">
                  <c:v>0.21722426764847128</c:v>
                </c:pt>
                <c:pt idx="19">
                  <c:v>0.1964573268921095</c:v>
                </c:pt>
                <c:pt idx="20">
                  <c:v>0.21371726233540733</c:v>
                </c:pt>
                <c:pt idx="21">
                  <c:v>0.1863013698630137</c:v>
                </c:pt>
                <c:pt idx="22">
                  <c:v>0.1838928706148623</c:v>
                </c:pt>
                <c:pt idx="23">
                  <c:v>0.1673461463793438</c:v>
                </c:pt>
                <c:pt idx="24">
                  <c:v>0.176566757493188</c:v>
                </c:pt>
                <c:pt idx="25">
                  <c:v>0.1651186790505676</c:v>
                </c:pt>
                <c:pt idx="26">
                  <c:v>0.16779661016949152</c:v>
                </c:pt>
                <c:pt idx="27">
                  <c:v>0.1683081252198382</c:v>
                </c:pt>
                <c:pt idx="28">
                  <c:v>0.16349876803942273</c:v>
                </c:pt>
                <c:pt idx="29">
                  <c:v>0.14938879187172566</c:v>
                </c:pt>
                <c:pt idx="30">
                  <c:v>0.15433070866141732</c:v>
                </c:pt>
                <c:pt idx="31">
                  <c:v>0.13553553553553555</c:v>
                </c:pt>
                <c:pt idx="32">
                  <c:v>0.14569805194805194</c:v>
                </c:pt>
                <c:pt idx="33">
                  <c:v>0.14377110360760617</c:v>
                </c:pt>
                <c:pt idx="34">
                  <c:v>0.16295242611032085</c:v>
                </c:pt>
                <c:pt idx="35">
                  <c:v>0.18948267447535383</c:v>
                </c:pt>
                <c:pt idx="36">
                  <c:v>0.1787432776677045</c:v>
                </c:pt>
                <c:pt idx="37">
                  <c:v>0.15249472944483486</c:v>
                </c:pt>
                <c:pt idx="38">
                  <c:v>0.15046916890080428</c:v>
                </c:pt>
                <c:pt idx="39">
                  <c:v>0.14069506726457398</c:v>
                </c:pt>
                <c:pt idx="40">
                  <c:v>0.1510353227771011</c:v>
                </c:pt>
                <c:pt idx="41">
                  <c:v>0.14417435037720033</c:v>
                </c:pt>
                <c:pt idx="42">
                  <c:v>0.15697020798201236</c:v>
                </c:pt>
                <c:pt idx="43">
                  <c:v>0.17312378167641326</c:v>
                </c:pt>
                <c:pt idx="44">
                  <c:v>0.15548665915069523</c:v>
                </c:pt>
                <c:pt idx="45">
                  <c:v>0.15145937417828031</c:v>
                </c:pt>
                <c:pt idx="46">
                  <c:v>0.1591240875912409</c:v>
                </c:pt>
                <c:pt idx="47">
                  <c:v>0.1676552686671319</c:v>
                </c:pt>
                <c:pt idx="48">
                  <c:v>0.1735267800076697</c:v>
                </c:pt>
                <c:pt idx="49">
                  <c:v>0.2121083647772078</c:v>
                </c:pt>
                <c:pt idx="50">
                  <c:v>0.18334377828842002</c:v>
                </c:pt>
                <c:pt idx="51">
                  <c:v>0.17443813484763657</c:v>
                </c:pt>
                <c:pt idx="52">
                  <c:v>0.19078901874005946</c:v>
                </c:pt>
                <c:pt idx="53">
                  <c:v>0.18180143672867932</c:v>
                </c:pt>
                <c:pt idx="54">
                  <c:v>0.1655494617103392</c:v>
                </c:pt>
                <c:pt idx="55">
                  <c:v>0.17623596095308072</c:v>
                </c:pt>
                <c:pt idx="56">
                  <c:v>0.1935966487133453</c:v>
                </c:pt>
                <c:pt idx="57">
                  <c:v>0.18437865562854314</c:v>
                </c:pt>
                <c:pt idx="58">
                  <c:v>0.1921921921921922</c:v>
                </c:pt>
                <c:pt idx="59">
                  <c:v>0.19312725899552247</c:v>
                </c:pt>
                <c:pt idx="60">
                  <c:v>0.1935066396578888</c:v>
                </c:pt>
                <c:pt idx="61">
                  <c:v>0.18492792590932855</c:v>
                </c:pt>
                <c:pt idx="62">
                  <c:v>0.20797134583142812</c:v>
                </c:pt>
                <c:pt idx="63">
                  <c:v>0.2189074255806346</c:v>
                </c:pt>
                <c:pt idx="64">
                  <c:v>0.2224744608399546</c:v>
                </c:pt>
                <c:pt idx="65">
                  <c:v>0.22872707212798235</c:v>
                </c:pt>
                <c:pt idx="66">
                  <c:v>0.2179420697829469</c:v>
                </c:pt>
                <c:pt idx="67">
                  <c:v>0.21630960608154803</c:v>
                </c:pt>
                <c:pt idx="68">
                  <c:v>0.19613577949127006</c:v>
                </c:pt>
                <c:pt idx="69">
                  <c:v>0.17736670293797607</c:v>
                </c:pt>
                <c:pt idx="70">
                  <c:v>0.1681854885223209</c:v>
                </c:pt>
                <c:pt idx="71">
                  <c:v>0.17558314958802368</c:v>
                </c:pt>
                <c:pt idx="72">
                  <c:v>0.17655571635311143</c:v>
                </c:pt>
                <c:pt idx="73">
                  <c:v>0.1785470280118424</c:v>
                </c:pt>
                <c:pt idx="74">
                  <c:v>0.1659024103468548</c:v>
                </c:pt>
                <c:pt idx="75">
                  <c:v>0.15557404326123128</c:v>
                </c:pt>
                <c:pt idx="76">
                  <c:v>0.1574769053117783</c:v>
                </c:pt>
                <c:pt idx="77">
                  <c:v>0.15460621912234815</c:v>
                </c:pt>
                <c:pt idx="78">
                  <c:v>0.1562448711636304</c:v>
                </c:pt>
                <c:pt idx="79">
                  <c:v>0.15875943000838222</c:v>
                </c:pt>
                <c:pt idx="80">
                  <c:v>0.14628495780241602</c:v>
                </c:pt>
                <c:pt idx="81">
                  <c:v>0.13667796610169491</c:v>
                </c:pt>
                <c:pt idx="82">
                  <c:v>0.1436801084378177</c:v>
                </c:pt>
                <c:pt idx="83">
                  <c:v>0.13094227504244482</c:v>
                </c:pt>
                <c:pt idx="84">
                  <c:v>0.1255043533658951</c:v>
                </c:pt>
                <c:pt idx="85">
                  <c:v>0.11232449297971919</c:v>
                </c:pt>
                <c:pt idx="86">
                  <c:v>0.12296718972895863</c:v>
                </c:pt>
                <c:pt idx="87">
                  <c:v>0.15997935750225778</c:v>
                </c:pt>
                <c:pt idx="88">
                  <c:v>0.1499921222624862</c:v>
                </c:pt>
                <c:pt idx="89">
                  <c:v>0.1237597911227154</c:v>
                </c:pt>
                <c:pt idx="90">
                  <c:v>0.11240379452299983</c:v>
                </c:pt>
                <c:pt idx="91">
                  <c:v>0.13977406845388635</c:v>
                </c:pt>
                <c:pt idx="92">
                  <c:v>0.14038248337028825</c:v>
                </c:pt>
                <c:pt idx="93">
                  <c:v>0.1275278058645096</c:v>
                </c:pt>
                <c:pt idx="94">
                  <c:v>0.12302466400827057</c:v>
                </c:pt>
                <c:pt idx="95">
                  <c:v>0.1428111933097459</c:v>
                </c:pt>
                <c:pt idx="96">
                  <c:v>0.14006570983918382</c:v>
                </c:pt>
                <c:pt idx="97">
                  <c:v>0.13938150373735894</c:v>
                </c:pt>
                <c:pt idx="98">
                  <c:v>0.162250593443254</c:v>
                </c:pt>
                <c:pt idx="99">
                  <c:v>0.16527112086389098</c:v>
                </c:pt>
                <c:pt idx="100">
                  <c:v>0.2001013171225937</c:v>
                </c:pt>
                <c:pt idx="101">
                  <c:v>0.1658822032820252</c:v>
                </c:pt>
                <c:pt idx="102">
                  <c:v>0.13617322936134563</c:v>
                </c:pt>
                <c:pt idx="103">
                  <c:v>0.15280477645098584</c:v>
                </c:pt>
                <c:pt idx="104">
                  <c:v>0.167021924482338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114930001404298</c:v>
                </c:pt>
                <c:pt idx="1">
                  <c:v>0.219339634429519</c:v>
                </c:pt>
                <c:pt idx="2">
                  <c:v>0.2188954906234237</c:v>
                </c:pt>
                <c:pt idx="3">
                  <c:v>0.22147245356198234</c:v>
                </c:pt>
                <c:pt idx="4">
                  <c:v>0.21209910109513125</c:v>
                </c:pt>
                <c:pt idx="5">
                  <c:v>0.220044945286262</c:v>
                </c:pt>
                <c:pt idx="6">
                  <c:v>0.20609417552027787</c:v>
                </c:pt>
                <c:pt idx="7">
                  <c:v>0.19447427399822834</c:v>
                </c:pt>
                <c:pt idx="8">
                  <c:v>0.19511795317240377</c:v>
                </c:pt>
                <c:pt idx="9">
                  <c:v>0.18481787401914104</c:v>
                </c:pt>
                <c:pt idx="10">
                  <c:v>0.19326453749517178</c:v>
                </c:pt>
                <c:pt idx="11">
                  <c:v>0.21796196492194964</c:v>
                </c:pt>
                <c:pt idx="12">
                  <c:v>0.208373455351336</c:v>
                </c:pt>
                <c:pt idx="13">
                  <c:v>0.18563394267060088</c:v>
                </c:pt>
                <c:pt idx="14">
                  <c:v>0.2005759212267046</c:v>
                </c:pt>
                <c:pt idx="15">
                  <c:v>0.18175764763753322</c:v>
                </c:pt>
                <c:pt idx="16">
                  <c:v>0.17983061843566311</c:v>
                </c:pt>
                <c:pt idx="17">
                  <c:v>0.1695663494826163</c:v>
                </c:pt>
                <c:pt idx="18">
                  <c:v>0.1512144863050915</c:v>
                </c:pt>
                <c:pt idx="19">
                  <c:v>0.16519948233343998</c:v>
                </c:pt>
                <c:pt idx="20">
                  <c:v>0.14879642678568275</c:v>
                </c:pt>
                <c:pt idx="21">
                  <c:v>0.15524658091610277</c:v>
                </c:pt>
                <c:pt idx="22">
                  <c:v>0.16337229523676158</c:v>
                </c:pt>
                <c:pt idx="23">
                  <c:v>0.1397283728112515</c:v>
                </c:pt>
                <c:pt idx="24">
                  <c:v>0.13886661871988495</c:v>
                </c:pt>
                <c:pt idx="25">
                  <c:v>0.13970665710903643</c:v>
                </c:pt>
                <c:pt idx="26">
                  <c:v>0.1443623057973313</c:v>
                </c:pt>
                <c:pt idx="27">
                  <c:v>0.15424403742325898</c:v>
                </c:pt>
                <c:pt idx="28">
                  <c:v>0.16908260985313187</c:v>
                </c:pt>
                <c:pt idx="29">
                  <c:v>0.16355695721727637</c:v>
                </c:pt>
                <c:pt idx="30">
                  <c:v>0.16946077014287222</c:v>
                </c:pt>
                <c:pt idx="31">
                  <c:v>0.1686955461522589</c:v>
                </c:pt>
                <c:pt idx="32">
                  <c:v>0.15959136192575035</c:v>
                </c:pt>
                <c:pt idx="33">
                  <c:v>0.17708536306037415</c:v>
                </c:pt>
                <c:pt idx="34">
                  <c:v>0.19791025586751343</c:v>
                </c:pt>
                <c:pt idx="35">
                  <c:v>0.19362172541432557</c:v>
                </c:pt>
                <c:pt idx="36">
                  <c:v>0.1557207815175411</c:v>
                </c:pt>
                <c:pt idx="37">
                  <c:v>0.160728930044268</c:v>
                </c:pt>
                <c:pt idx="38">
                  <c:v>0.16319989331426288</c:v>
                </c:pt>
                <c:pt idx="39">
                  <c:v>0.185154826383682</c:v>
                </c:pt>
                <c:pt idx="40">
                  <c:v>0.18214612627004742</c:v>
                </c:pt>
                <c:pt idx="41">
                  <c:v>0.18633785518543117</c:v>
                </c:pt>
                <c:pt idx="42">
                  <c:v>0.18026609154592116</c:v>
                </c:pt>
                <c:pt idx="43">
                  <c:v>0.18390713047537632</c:v>
                </c:pt>
                <c:pt idx="44">
                  <c:v>0.18286069819252096</c:v>
                </c:pt>
                <c:pt idx="45">
                  <c:v>0.19268660051534656</c:v>
                </c:pt>
                <c:pt idx="46">
                  <c:v>0.17405909036177586</c:v>
                </c:pt>
                <c:pt idx="47">
                  <c:v>0.17715410069080334</c:v>
                </c:pt>
                <c:pt idx="48">
                  <c:v>0.17668808752843712</c:v>
                </c:pt>
                <c:pt idx="49">
                  <c:v>0.18971355447386296</c:v>
                </c:pt>
                <c:pt idx="50">
                  <c:v>0.19528359970319675</c:v>
                </c:pt>
                <c:pt idx="51">
                  <c:v>0.17488900643966335</c:v>
                </c:pt>
              </c:numCache>
            </c:numRef>
          </c:xVal>
          <c:yVal>
            <c:numRef>
              <c:f>Sheet1!$B$109:$B$160</c:f>
              <c:numCache>
                <c:formatCode>General</c:formatCode>
                <c:ptCount val="52"/>
                <c:pt idx="0">
                  <c:v>0.1769493496112201</c:v>
                </c:pt>
                <c:pt idx="1">
                  <c:v>0.15590686083638347</c:v>
                </c:pt>
                <c:pt idx="2">
                  <c:v>0.16194158075601375</c:v>
                </c:pt>
                <c:pt idx="3">
                  <c:v>0.16526839915421868</c:v>
                </c:pt>
                <c:pt idx="4">
                  <c:v>0.15186813186813186</c:v>
                </c:pt>
                <c:pt idx="5">
                  <c:v>0.13577115479461707</c:v>
                </c:pt>
                <c:pt idx="6">
                  <c:v>0.14683249125534395</c:v>
                </c:pt>
                <c:pt idx="7">
                  <c:v>0.1525856565226644</c:v>
                </c:pt>
                <c:pt idx="8">
                  <c:v>0.15735294117647058</c:v>
                </c:pt>
                <c:pt idx="9">
                  <c:v>0.1817391304347826</c:v>
                </c:pt>
                <c:pt idx="10">
                  <c:v>0.1708127525819488</c:v>
                </c:pt>
                <c:pt idx="11">
                  <c:v>0.17353595824698748</c:v>
                </c:pt>
                <c:pt idx="12">
                  <c:v>0.18203052008720025</c:v>
                </c:pt>
                <c:pt idx="13">
                  <c:v>0.18218778766492788</c:v>
                </c:pt>
                <c:pt idx="14">
                  <c:v>0.1759473098965016</c:v>
                </c:pt>
                <c:pt idx="15">
                  <c:v>0.1706055471327923</c:v>
                </c:pt>
                <c:pt idx="16">
                  <c:v>0.16708006746701062</c:v>
                </c:pt>
                <c:pt idx="17">
                  <c:v>0.16554398856909575</c:v>
                </c:pt>
                <c:pt idx="18">
                  <c:v>0.16476655808903365</c:v>
                </c:pt>
                <c:pt idx="19">
                  <c:v>0.17328439550661773</c:v>
                </c:pt>
                <c:pt idx="20">
                  <c:v>0.17410987397528446</c:v>
                </c:pt>
                <c:pt idx="21">
                  <c:v>0.15474851357865982</c:v>
                </c:pt>
                <c:pt idx="22">
                  <c:v>0.1512164096040706</c:v>
                </c:pt>
                <c:pt idx="23">
                  <c:v>0.1667995535002392</c:v>
                </c:pt>
                <c:pt idx="24">
                  <c:v>0.17418677859391396</c:v>
                </c:pt>
                <c:pt idx="25">
                  <c:v>0.18850393700787402</c:v>
                </c:pt>
                <c:pt idx="26">
                  <c:v>0.17247386759581881</c:v>
                </c:pt>
                <c:pt idx="27">
                  <c:v>0.14001728608470182</c:v>
                </c:pt>
                <c:pt idx="28">
                  <c:v>0.11743119266055047</c:v>
                </c:pt>
                <c:pt idx="29">
                  <c:v>0.10954567041317081</c:v>
                </c:pt>
                <c:pt idx="30">
                  <c:v>0.11510433918516065</c:v>
                </c:pt>
                <c:pt idx="31">
                  <c:v>0.09839773798303487</c:v>
                </c:pt>
                <c:pt idx="32">
                  <c:v>0.09035738368172623</c:v>
                </c:pt>
                <c:pt idx="33">
                  <c:v>0.11122278056951423</c:v>
                </c:pt>
                <c:pt idx="34">
                  <c:v>0.13883528209785448</c:v>
                </c:pt>
                <c:pt idx="35">
                  <c:v>0.15228426395939088</c:v>
                </c:pt>
                <c:pt idx="36">
                  <c:v>0.12053832650672908</c:v>
                </c:pt>
                <c:pt idx="37">
                  <c:v>0.12834954770438642</c:v>
                </c:pt>
                <c:pt idx="38">
                  <c:v>0.11923750243143358</c:v>
                </c:pt>
                <c:pt idx="39">
                  <c:v>0.1382344592676696</c:v>
                </c:pt>
                <c:pt idx="40">
                  <c:v>0.1234927234927235</c:v>
                </c:pt>
                <c:pt idx="41">
                  <c:v>0.12782440284054228</c:v>
                </c:pt>
                <c:pt idx="42">
                  <c:v>0.1238054485808016</c:v>
                </c:pt>
                <c:pt idx="43">
                  <c:v>0.13284323876579002</c:v>
                </c:pt>
                <c:pt idx="44">
                  <c:v>0.13853109272370553</c:v>
                </c:pt>
                <c:pt idx="45">
                  <c:v>0.16015811354187964</c:v>
                </c:pt>
                <c:pt idx="46">
                  <c:v>0.15019266208745183</c:v>
                </c:pt>
                <c:pt idx="47">
                  <c:v>0.1589100554617796</c:v>
                </c:pt>
                <c:pt idx="48">
                  <c:v>0.1497153830327138</c:v>
                </c:pt>
                <c:pt idx="49">
                  <c:v>0.15563339171044951</c:v>
                </c:pt>
                <c:pt idx="50">
                  <c:v>0.20847588566383402</c:v>
                </c:pt>
                <c:pt idx="51">
                  <c:v>0.1879066435862233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78998455657974</c:v>
                </c:pt>
              </c:numCache>
            </c:numRef>
          </c:xVal>
          <c:yVal>
            <c:numRef>
              <c:f>Sheet1!$B$163:$B$164</c:f>
              <c:numCache>
                <c:formatCode>General</c:formatCode>
                <c:ptCount val="2"/>
                <c:pt idx="0">
                  <c:v>0.2385141284426273</c:v>
                </c:pt>
                <c:pt idx="1">
                  <c:v>0.238514128442627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78998455657974</c:v>
                </c:pt>
                <c:pt idx="1">
                  <c:v>0.678998455657974</c:v>
                </c:pt>
              </c:numCache>
            </c:numRef>
          </c:xVal>
          <c:yVal>
            <c:numRef>
              <c:f>Sheet1!$B$167:$B$168</c:f>
              <c:numCache>
                <c:formatCode>General</c:formatCode>
                <c:ptCount val="2"/>
                <c:pt idx="0">
                  <c:v>0.238514128442627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166307962470712</c:v>
                </c:pt>
              </c:numCache>
            </c:numRef>
          </c:xVal>
          <c:yVal>
            <c:numRef>
              <c:f>Sheet1!$B$171:$B$172</c:f>
              <c:numCache>
                <c:formatCode>General</c:formatCode>
                <c:ptCount val="2"/>
                <c:pt idx="0">
                  <c:v>0.17543282599830518</c:v>
                </c:pt>
                <c:pt idx="1">
                  <c:v>0.1754328259983051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166307962470712</c:v>
                </c:pt>
                <c:pt idx="1">
                  <c:v>0.3166307962470712</c:v>
                </c:pt>
              </c:numCache>
            </c:numRef>
          </c:xVal>
          <c:yVal>
            <c:numRef>
              <c:f>Sheet1!$B$175:$B$176</c:f>
              <c:numCache>
                <c:formatCode>General</c:formatCode>
                <c:ptCount val="2"/>
                <c:pt idx="0">
                  <c:v>0.175432825998305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7306219625694283</c:v>
                </c:pt>
              </c:numCache>
            </c:numRef>
          </c:xVal>
          <c:yVal>
            <c:numRef>
              <c:f>Sheet1!$B$179:$B$180</c:f>
              <c:numCache>
                <c:formatCode>General</c:formatCode>
                <c:ptCount val="2"/>
                <c:pt idx="0">
                  <c:v>0.15044026928888957</c:v>
                </c:pt>
                <c:pt idx="1">
                  <c:v>0.1504402692888895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7306219625694283</c:v>
                </c:pt>
                <c:pt idx="1">
                  <c:v>0.17306219625694283</c:v>
                </c:pt>
              </c:numCache>
            </c:numRef>
          </c:xVal>
          <c:yVal>
            <c:numRef>
              <c:f>Sheet1!$B$183:$B$184</c:f>
              <c:numCache>
                <c:formatCode>General</c:formatCode>
                <c:ptCount val="2"/>
                <c:pt idx="0">
                  <c:v>0.1504402692888895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114930001404298</c:v>
                </c:pt>
                <c:pt idx="1">
                  <c:v>0.219339634429519</c:v>
                </c:pt>
                <c:pt idx="2">
                  <c:v>0.2188954906234237</c:v>
                </c:pt>
                <c:pt idx="3">
                  <c:v>0.22147245356198234</c:v>
                </c:pt>
                <c:pt idx="4">
                  <c:v>0.21209910109513125</c:v>
                </c:pt>
                <c:pt idx="5">
                  <c:v>0.220044945286262</c:v>
                </c:pt>
                <c:pt idx="6">
                  <c:v>0.20609417552027787</c:v>
                </c:pt>
                <c:pt idx="7">
                  <c:v>0.19447427399822834</c:v>
                </c:pt>
                <c:pt idx="8">
                  <c:v>0.19511795317240377</c:v>
                </c:pt>
                <c:pt idx="9">
                  <c:v>0.18481787401914104</c:v>
                </c:pt>
                <c:pt idx="10">
                  <c:v>0.19326453749517178</c:v>
                </c:pt>
                <c:pt idx="11">
                  <c:v>0.21796196492194964</c:v>
                </c:pt>
                <c:pt idx="12">
                  <c:v>0.208373455351336</c:v>
                </c:pt>
                <c:pt idx="13">
                  <c:v>0.18563394267060088</c:v>
                </c:pt>
                <c:pt idx="14">
                  <c:v>0.2005759212267046</c:v>
                </c:pt>
                <c:pt idx="15">
                  <c:v>0.18175764763753322</c:v>
                </c:pt>
                <c:pt idx="16">
                  <c:v>0.17983061843566311</c:v>
                </c:pt>
                <c:pt idx="17">
                  <c:v>0.1695663494826163</c:v>
                </c:pt>
                <c:pt idx="18">
                  <c:v>0.1512144863050915</c:v>
                </c:pt>
                <c:pt idx="19">
                  <c:v>0.16519948233343998</c:v>
                </c:pt>
                <c:pt idx="20">
                  <c:v>0.14879642678568275</c:v>
                </c:pt>
                <c:pt idx="21">
                  <c:v>0.15524658091610277</c:v>
                </c:pt>
                <c:pt idx="22">
                  <c:v>0.16337229523676158</c:v>
                </c:pt>
                <c:pt idx="23">
                  <c:v>0.1397283728112515</c:v>
                </c:pt>
                <c:pt idx="24">
                  <c:v>0.13886661871988495</c:v>
                </c:pt>
                <c:pt idx="25">
                  <c:v>0.13970665710903643</c:v>
                </c:pt>
                <c:pt idx="26">
                  <c:v>0.1443623057973313</c:v>
                </c:pt>
                <c:pt idx="27">
                  <c:v>0.15424403742325898</c:v>
                </c:pt>
                <c:pt idx="28">
                  <c:v>0.16908260985313187</c:v>
                </c:pt>
                <c:pt idx="29">
                  <c:v>0.16355695721727637</c:v>
                </c:pt>
                <c:pt idx="30">
                  <c:v>0.16946077014287222</c:v>
                </c:pt>
                <c:pt idx="31">
                  <c:v>0.1686955461522589</c:v>
                </c:pt>
                <c:pt idx="32">
                  <c:v>0.15959136192575035</c:v>
                </c:pt>
                <c:pt idx="33">
                  <c:v>0.17708536306037415</c:v>
                </c:pt>
                <c:pt idx="34">
                  <c:v>0.19791025586751343</c:v>
                </c:pt>
                <c:pt idx="35">
                  <c:v>0.19362172541432557</c:v>
                </c:pt>
                <c:pt idx="36">
                  <c:v>0.1557207815175411</c:v>
                </c:pt>
                <c:pt idx="37">
                  <c:v>0.160728930044268</c:v>
                </c:pt>
                <c:pt idx="38">
                  <c:v>0.16319989331426288</c:v>
                </c:pt>
                <c:pt idx="39">
                  <c:v>0.185154826383682</c:v>
                </c:pt>
                <c:pt idx="40">
                  <c:v>0.18214612627004742</c:v>
                </c:pt>
                <c:pt idx="41">
                  <c:v>0.18633785518543117</c:v>
                </c:pt>
                <c:pt idx="42">
                  <c:v>0.18026609154592116</c:v>
                </c:pt>
                <c:pt idx="43">
                  <c:v>0.18390713047537632</c:v>
                </c:pt>
                <c:pt idx="44">
                  <c:v>0.18286069819252096</c:v>
                </c:pt>
                <c:pt idx="45">
                  <c:v>0.19268660051534656</c:v>
                </c:pt>
                <c:pt idx="46">
                  <c:v>0.17405909036177586</c:v>
                </c:pt>
                <c:pt idx="47">
                  <c:v>0.17715410069080334</c:v>
                </c:pt>
                <c:pt idx="48">
                  <c:v>0.17668808752843712</c:v>
                </c:pt>
                <c:pt idx="49">
                  <c:v>0.18971355447386296</c:v>
                </c:pt>
                <c:pt idx="50">
                  <c:v>0.19528359970319675</c:v>
                </c:pt>
                <c:pt idx="51">
                  <c:v>0.17488900643966335</c:v>
                </c:pt>
                <c:pt idx="52">
                  <c:v>0.3166307962470712</c:v>
                </c:pt>
                <c:pt idx="53">
                  <c:v>0.678998455657974</c:v>
                </c:pt>
                <c:pt idx="54">
                  <c:v>0.17306219625694283</c:v>
                </c:pt>
              </c:numCache>
            </c:numRef>
          </c:xVal>
          <c:yVal>
            <c:numRef>
              <c:f>Sheet1!$B$187:$B$241</c:f>
              <c:numCache>
                <c:formatCode>General</c:formatCode>
                <c:ptCount val="55"/>
                <c:pt idx="0">
                  <c:v>0.15881131746880853</c:v>
                </c:pt>
                <c:pt idx="1">
                  <c:v>0.1584962891844246</c:v>
                </c:pt>
                <c:pt idx="2">
                  <c:v>0.1584189722135707</c:v>
                </c:pt>
                <c:pt idx="3">
                  <c:v>0.1588675723419025</c:v>
                </c:pt>
                <c:pt idx="4">
                  <c:v>0.15723585034209736</c:v>
                </c:pt>
                <c:pt idx="5">
                  <c:v>0.15861907036071335</c:v>
                </c:pt>
                <c:pt idx="6">
                  <c:v>0.15619050725889072</c:v>
                </c:pt>
                <c:pt idx="7">
                  <c:v>0.15416770388985587</c:v>
                </c:pt>
                <c:pt idx="8">
                  <c:v>0.15427975616496586</c:v>
                </c:pt>
                <c:pt idx="9">
                  <c:v>0.15248670871331493</c:v>
                </c:pt>
                <c:pt idx="10">
                  <c:v>0.15395711182335825</c:v>
                </c:pt>
                <c:pt idx="11">
                  <c:v>0.158256463182798</c:v>
                </c:pt>
                <c:pt idx="12">
                  <c:v>0.15658728643231906</c:v>
                </c:pt>
                <c:pt idx="13">
                  <c:v>0.152628770710519</c:v>
                </c:pt>
                <c:pt idx="14">
                  <c:v>0.15522988436935503</c:v>
                </c:pt>
                <c:pt idx="15">
                  <c:v>0.15195398163099164</c:v>
                </c:pt>
                <c:pt idx="16">
                  <c:v>0.15161852257788566</c:v>
                </c:pt>
                <c:pt idx="17">
                  <c:v>0.14983170899951717</c:v>
                </c:pt>
                <c:pt idx="18">
                  <c:v>0.14663699942361225</c:v>
                </c:pt>
                <c:pt idx="19">
                  <c:v>0.14907152066532864</c:v>
                </c:pt>
                <c:pt idx="20">
                  <c:v>0.1462160613517099</c:v>
                </c:pt>
                <c:pt idx="21">
                  <c:v>0.14733891023997708</c:v>
                </c:pt>
                <c:pt idx="22">
                  <c:v>0.1487534422196547</c:v>
                </c:pt>
                <c:pt idx="23">
                  <c:v>0.14463748600016646</c:v>
                </c:pt>
                <c:pt idx="24">
                  <c:v>0.14448747103868095</c:v>
                </c:pt>
                <c:pt idx="25">
                  <c:v>0.144633705710332</c:v>
                </c:pt>
                <c:pt idx="26">
                  <c:v>0.1454441654060407</c:v>
                </c:pt>
                <c:pt idx="27">
                  <c:v>0.14716438652726918</c:v>
                </c:pt>
                <c:pt idx="28">
                  <c:v>0.14974749915054383</c:v>
                </c:pt>
                <c:pt idx="29">
                  <c:v>0.14878558835063602</c:v>
                </c:pt>
                <c:pt idx="30">
                  <c:v>0.14981332964890653</c:v>
                </c:pt>
                <c:pt idx="31">
                  <c:v>0.1496801187380101</c:v>
                </c:pt>
                <c:pt idx="32">
                  <c:v>0.1480952537982557</c:v>
                </c:pt>
                <c:pt idx="33">
                  <c:v>0.15114062594412692</c:v>
                </c:pt>
                <c:pt idx="34">
                  <c:v>0.15476584284034042</c:v>
                </c:pt>
                <c:pt idx="35">
                  <c:v>0.15401929143175438</c:v>
                </c:pt>
                <c:pt idx="36">
                  <c:v>0.1474214595259902</c:v>
                </c:pt>
                <c:pt idx="37">
                  <c:v>0.14829328272460052</c:v>
                </c:pt>
                <c:pt idx="38">
                  <c:v>0.14872343033108604</c:v>
                </c:pt>
                <c:pt idx="39">
                  <c:v>0.15254536569736118</c:v>
                </c:pt>
                <c:pt idx="40">
                  <c:v>0.1520216083561542</c:v>
                </c:pt>
                <c:pt idx="41">
                  <c:v>0.15275130846213442</c:v>
                </c:pt>
                <c:pt idx="42">
                  <c:v>0.1516943301458657</c:v>
                </c:pt>
                <c:pt idx="43">
                  <c:v>0.15232816562195067</c:v>
                </c:pt>
                <c:pt idx="44">
                  <c:v>0.15214600170746223</c:v>
                </c:pt>
                <c:pt idx="45">
                  <c:v>0.15385650401117826</c:v>
                </c:pt>
                <c:pt idx="46">
                  <c:v>0.15061380955082732</c:v>
                </c:pt>
                <c:pt idx="47">
                  <c:v>0.15115259185538252</c:v>
                </c:pt>
                <c:pt idx="48">
                  <c:v>0.15107146784645178</c:v>
                </c:pt>
                <c:pt idx="49">
                  <c:v>0.15333895336433354</c:v>
                </c:pt>
                <c:pt idx="50">
                  <c:v>0.15430859206860248</c:v>
                </c:pt>
                <c:pt idx="51">
                  <c:v>0.1507582821210278</c:v>
                </c:pt>
                <c:pt idx="52">
                  <c:v>0.17543282599830518</c:v>
                </c:pt>
                <c:pt idx="53">
                  <c:v>0.2385141284426273</c:v>
                </c:pt>
                <c:pt idx="54">
                  <c:v>0.1504402692888895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8648345485137"/>
          <c:min val="0.0722859069453809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c:f>
              <c:numCache>
                <c:formatCode>General</c:formatCode>
                <c:ptCount val="8"/>
                <c:pt idx="0">
                  <c:v>1270.38</c:v>
                </c:pt>
                <c:pt idx="1">
                  <c:v>1294.6488</c:v>
                </c:pt>
                <c:pt idx="2">
                  <c:v>1271.6055</c:v>
                </c:pt>
                <c:pt idx="3">
                  <c:v>1257.0737</c:v>
                </c:pt>
                <c:pt idx="4">
                  <c:v>1286.6136</c:v>
                </c:pt>
                <c:pt idx="5">
                  <c:v>1355.1484</c:v>
                </c:pt>
                <c:pt idx="6">
                  <c:v>1328.2821</c:v>
                </c:pt>
                <c:pt idx="7">
                  <c:v>1373.7863</c:v>
                </c:pt>
              </c:numCache>
            </c:numRef>
          </c:xVal>
          <c:yVal>
            <c:numRef>
              <c:f>Sheet1!$B$2:$B$9</c:f>
              <c:numCache>
                <c:formatCode>General</c:formatCode>
                <c:ptCount val="8"/>
                <c:pt idx="0">
                  <c:v>0.9834824501032347</c:v>
                </c:pt>
                <c:pt idx="1">
                  <c:v>0.9773730684326711</c:v>
                </c:pt>
                <c:pt idx="2">
                  <c:v>0.979253112033195</c:v>
                </c:pt>
                <c:pt idx="3">
                  <c:v>0.9776586237712243</c:v>
                </c:pt>
                <c:pt idx="4">
                  <c:v>0.9664617104527669</c:v>
                </c:pt>
                <c:pt idx="5">
                  <c:v>0.9656160458452722</c:v>
                </c:pt>
                <c:pt idx="6">
                  <c:v>0.9635901778154107</c:v>
                </c:pt>
                <c:pt idx="7">
                  <c:v>0.9637023593466425</c:v>
                </c:pt>
              </c:numCache>
            </c:numRef>
          </c:yVal>
          <c:smooth val="0"/>
          <c:extLst>
            <c:ext xmlns:c16="http://schemas.microsoft.com/office/drawing/2014/chart" uri="{C3380CC4-5D6E-409C-BE32-E72D297353CC}">
              <c16:uniqueId val="{00000000-F32D-48B7-BC20-E66FC6253BAD}"/>
            </c:ext>
          </c:extLst>
        </c:ser>
        <c:ser>
          <c:idx val="1"/>
          <c:order val="1"/>
          <c:tx>
            <c:strRef>
              <c:f>Sheet1!$B$1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2:$A$63</c:f>
              <c:numCache>
                <c:formatCode>General</c:formatCode>
                <c:ptCount val="52"/>
                <c:pt idx="0">
                  <c:v>1389.1374</c:v>
                </c:pt>
                <c:pt idx="1">
                  <c:v>1415.2752</c:v>
                </c:pt>
                <c:pt idx="2">
                  <c:v>1393.7043</c:v>
                </c:pt>
                <c:pt idx="3">
                  <c:v>1422.9507</c:v>
                </c:pt>
                <c:pt idx="4">
                  <c:v>1425.2297</c:v>
                </c:pt>
                <c:pt idx="5">
                  <c:v>1453.216</c:v>
                </c:pt>
                <c:pt idx="6">
                  <c:v>1351.6819</c:v>
                </c:pt>
                <c:pt idx="7">
                  <c:v>1424.1955</c:v>
                </c:pt>
                <c:pt idx="8">
                  <c:v>1478.3681</c:v>
                </c:pt>
                <c:pt idx="9">
                  <c:v>1435.6026</c:v>
                </c:pt>
                <c:pt idx="10">
                  <c:v>1462.992</c:v>
                </c:pt>
                <c:pt idx="11">
                  <c:v>1290.7679</c:v>
                </c:pt>
                <c:pt idx="12">
                  <c:v>1307.0289</c:v>
                </c:pt>
                <c:pt idx="13">
                  <c:v>1378.8598</c:v>
                </c:pt>
                <c:pt idx="14">
                  <c:v>1358.1655</c:v>
                </c:pt>
                <c:pt idx="15">
                  <c:v>1408.6061</c:v>
                </c:pt>
                <c:pt idx="16">
                  <c:v>1472.3726</c:v>
                </c:pt>
                <c:pt idx="17">
                  <c:v>1443.5874</c:v>
                </c:pt>
                <c:pt idx="18">
                  <c:v>1466.1065</c:v>
                </c:pt>
                <c:pt idx="19">
                  <c:v>1615.0497</c:v>
                </c:pt>
                <c:pt idx="20">
                  <c:v>1603.7846</c:v>
                </c:pt>
                <c:pt idx="21">
                  <c:v>1453.4303</c:v>
                </c:pt>
                <c:pt idx="22">
                  <c:v>1438.9896</c:v>
                </c:pt>
                <c:pt idx="23">
                  <c:v>1486.493</c:v>
                </c:pt>
                <c:pt idx="24">
                  <c:v>1482.055</c:v>
                </c:pt>
                <c:pt idx="25">
                  <c:v>1367.256</c:v>
                </c:pt>
                <c:pt idx="26">
                  <c:v>1422.412</c:v>
                </c:pt>
                <c:pt idx="27">
                  <c:v>1476.1808</c:v>
                </c:pt>
                <c:pt idx="28">
                  <c:v>1466.279</c:v>
                </c:pt>
                <c:pt idx="29">
                  <c:v>1512.8552</c:v>
                </c:pt>
                <c:pt idx="30">
                  <c:v>1365.6762</c:v>
                </c:pt>
                <c:pt idx="31">
                  <c:v>1201.6978</c:v>
                </c:pt>
                <c:pt idx="32">
                  <c:v>1361.0502</c:v>
                </c:pt>
                <c:pt idx="33">
                  <c:v>1429.6591</c:v>
                </c:pt>
                <c:pt idx="34">
                  <c:v>1447.319</c:v>
                </c:pt>
                <c:pt idx="35">
                  <c:v>1402.9262</c:v>
                </c:pt>
                <c:pt idx="36">
                  <c:v>1462.069</c:v>
                </c:pt>
                <c:pt idx="37">
                  <c:v>1538.1332</c:v>
                </c:pt>
                <c:pt idx="38">
                  <c:v>1460.4717</c:v>
                </c:pt>
                <c:pt idx="39">
                  <c:v>1390.8317</c:v>
                </c:pt>
                <c:pt idx="40">
                  <c:v>1396.9794</c:v>
                </c:pt>
                <c:pt idx="41">
                  <c:v>1485.9538</c:v>
                </c:pt>
                <c:pt idx="42">
                  <c:v>1451.6033</c:v>
                </c:pt>
                <c:pt idx="43">
                  <c:v>1438.1344</c:v>
                </c:pt>
                <c:pt idx="44">
                  <c:v>1441.05</c:v>
                </c:pt>
                <c:pt idx="45">
                  <c:v>1392.2084</c:v>
                </c:pt>
                <c:pt idx="46">
                  <c:v>1374.7113</c:v>
                </c:pt>
                <c:pt idx="47">
                  <c:v>1359.7935</c:v>
                </c:pt>
                <c:pt idx="48">
                  <c:v>1343.886</c:v>
                </c:pt>
                <c:pt idx="49">
                  <c:v>1373.9379</c:v>
                </c:pt>
                <c:pt idx="50">
                  <c:v>1251.2986</c:v>
                </c:pt>
                <c:pt idx="51">
                  <c:v>1204.4658</c:v>
                </c:pt>
              </c:numCache>
            </c:numRef>
          </c:xVal>
          <c:yVal>
            <c:numRef>
              <c:f>Sheet1!$B$12:$B$63</c:f>
              <c:numCache>
                <c:formatCode>General</c:formatCode>
                <c:ptCount val="52"/>
                <c:pt idx="0">
                  <c:v>0.9549407114624506</c:v>
                </c:pt>
                <c:pt idx="1">
                  <c:v>0.9486510008703221</c:v>
                </c:pt>
                <c:pt idx="2">
                  <c:v>0.9524506217995611</c:v>
                </c:pt>
                <c:pt idx="3">
                  <c:v>0.9523809523809523</c:v>
                </c:pt>
                <c:pt idx="4">
                  <c:v>0.9532846715328467</c:v>
                </c:pt>
                <c:pt idx="5">
                  <c:v>0.9571209800918836</c:v>
                </c:pt>
                <c:pt idx="6">
                  <c:v>0.9649578195976638</c:v>
                </c:pt>
                <c:pt idx="7">
                  <c:v>0.9635108481262328</c:v>
                </c:pt>
                <c:pt idx="8">
                  <c:v>0.9402834008097166</c:v>
                </c:pt>
                <c:pt idx="9">
                  <c:v>0.9456812110418522</c:v>
                </c:pt>
                <c:pt idx="10">
                  <c:v>0.9439330543933054</c:v>
                </c:pt>
                <c:pt idx="11">
                  <c:v>0.9688864628820961</c:v>
                </c:pt>
                <c:pt idx="12">
                  <c:v>0.9609325771896661</c:v>
                </c:pt>
                <c:pt idx="13">
                  <c:v>0.9606017191977078</c:v>
                </c:pt>
                <c:pt idx="14">
                  <c:v>0.9634235552304315</c:v>
                </c:pt>
                <c:pt idx="15">
                  <c:v>0.9476351351351351</c:v>
                </c:pt>
                <c:pt idx="16">
                  <c:v>0.9448818897637795</c:v>
                </c:pt>
                <c:pt idx="17">
                  <c:v>0.9457671957671958</c:v>
                </c:pt>
                <c:pt idx="18">
                  <c:v>0.947107438016529</c:v>
                </c:pt>
                <c:pt idx="19">
                  <c:v>0.9249617151607963</c:v>
                </c:pt>
                <c:pt idx="20">
                  <c:v>0.928695652173913</c:v>
                </c:pt>
                <c:pt idx="21">
                  <c:v>0.9418386491557224</c:v>
                </c:pt>
                <c:pt idx="22">
                  <c:v>0.9470588235294117</c:v>
                </c:pt>
                <c:pt idx="23">
                  <c:v>0.9327548806941431</c:v>
                </c:pt>
                <c:pt idx="24">
                  <c:v>0.9442307692307692</c:v>
                </c:pt>
                <c:pt idx="25">
                  <c:v>0.9465648854961832</c:v>
                </c:pt>
                <c:pt idx="26">
                  <c:v>0.9505703422053232</c:v>
                </c:pt>
                <c:pt idx="27">
                  <c:v>0.9365079365079365</c:v>
                </c:pt>
                <c:pt idx="28">
                  <c:v>0.9474497681607419</c:v>
                </c:pt>
                <c:pt idx="29">
                  <c:v>0.9358974358974359</c:v>
                </c:pt>
                <c:pt idx="30">
                  <c:v>0.9351081530782029</c:v>
                </c:pt>
                <c:pt idx="31">
                  <c:v>0.9387040280210157</c:v>
                </c:pt>
                <c:pt idx="32">
                  <c:v>0.9307568438003221</c:v>
                </c:pt>
                <c:pt idx="33">
                  <c:v>0.9428891377379619</c:v>
                </c:pt>
                <c:pt idx="34">
                  <c:v>0.9425837320574163</c:v>
                </c:pt>
                <c:pt idx="35">
                  <c:v>0.9331963001027749</c:v>
                </c:pt>
                <c:pt idx="36">
                  <c:v>0.9144602851323829</c:v>
                </c:pt>
                <c:pt idx="37">
                  <c:v>0.911522633744856</c:v>
                </c:pt>
                <c:pt idx="38">
                  <c:v>0.9363057324840764</c:v>
                </c:pt>
                <c:pt idx="39">
                  <c:v>0.9156785243741765</c:v>
                </c:pt>
                <c:pt idx="40">
                  <c:v>0.7597765363128491</c:v>
                </c:pt>
                <c:pt idx="41">
                  <c:v>0.8513513513513513</c:v>
                </c:pt>
                <c:pt idx="42">
                  <c:v>0.8849557522123894</c:v>
                </c:pt>
                <c:pt idx="43">
                  <c:v>0.8805104408352669</c:v>
                </c:pt>
                <c:pt idx="44">
                  <c:v>0.8911917098445595</c:v>
                </c:pt>
                <c:pt idx="45">
                  <c:v>0.9156028368794327</c:v>
                </c:pt>
                <c:pt idx="46">
                  <c:v>0.9220665499124343</c:v>
                </c:pt>
                <c:pt idx="47">
                  <c:v>0.934801016088061</c:v>
                </c:pt>
                <c:pt idx="48">
                  <c:v>0.9340579710144927</c:v>
                </c:pt>
                <c:pt idx="49">
                  <c:v>0.934319526627219</c:v>
                </c:pt>
                <c:pt idx="50">
                  <c:v>0.948656919415165</c:v>
                </c:pt>
                <c:pt idx="51">
                  <c:v>0.9397018970189702</c:v>
                </c:pt>
              </c:numCache>
            </c:numRef>
          </c:yVal>
          <c:smooth val="0"/>
          <c:extLst>
            <c:ext xmlns:c16="http://schemas.microsoft.com/office/drawing/2014/chart" uri="{C3380CC4-5D6E-409C-BE32-E72D297353CC}">
              <c16:uniqueId val="{00000002-F32D-48B7-BC20-E66FC6253BAD}"/>
            </c:ext>
          </c:extLst>
        </c:ser>
        <c:ser>
          <c:idx val="2"/>
          <c:order val="2"/>
          <c:tx>
            <c:strRef>
              <c:f>Sheet1!$B$65</c:f>
              <c:strCache>
                <c:ptCount val="1"/>
                <c:pt idx="0">
                  <c:v>Custom Linep3yQ</c:v>
                </c:pt>
              </c:strCache>
            </c:strRef>
          </c:tx>
          <c:spPr>
            <a:ln w="19050" cap="rnd">
              <a:solidFill>
                <a:srgbClr val="C00000"/>
              </a:solidFill>
              <a:prstDash val="sysDot"/>
              <a:round/>
            </a:ln>
            <a:effectLst/>
          </c:spPr>
          <c:marker>
            <c:symbol val="none"/>
          </c:marker>
          <c:xVal>
            <c:numRef>
              <c:f>Sheet1!$A$66:$A$67</c:f>
              <c:numCache>
                <c:formatCode>General</c:formatCode>
                <c:ptCount val="2"/>
                <c:pt idx="0">
                  <c:v>0</c:v>
                </c:pt>
                <c:pt idx="1">
                  <c:v>775.0084743015262</c:v>
                </c:pt>
              </c:numCache>
            </c:numRef>
          </c:xVal>
          <c:yVal>
            <c:numRef>
              <c:f>Sheet1!$B$66:$B$67</c:f>
              <c:numCache>
                <c:formatCode>General</c:formatCode>
                <c:ptCount val="2"/>
                <c:pt idx="0">
                  <c:v>0.9794418135850813</c:v>
                </c:pt>
                <c:pt idx="1">
                  <c:v>0.9794418135850813</c:v>
                </c:pt>
              </c:numCache>
            </c:numRef>
          </c:yVal>
          <c:smooth val="0"/>
          <c:extLst>
            <c:ext xmlns:c16="http://schemas.microsoft.com/office/drawing/2014/chart" uri="{C3380CC4-5D6E-409C-BE32-E72D297353CC}">
              <c16:uniqueId val="{00000003-F32D-48B7-BC20-E66FC6253BAD}"/>
            </c:ext>
          </c:extLst>
        </c:ser>
        <c:ser>
          <c:idx val="3"/>
          <c:order val="3"/>
          <c:tx>
            <c:strRef>
              <c:f>Sheet1!$B$6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0:$A$71</c:f>
              <c:numCache>
                <c:formatCode>General</c:formatCode>
                <c:ptCount val="2"/>
                <c:pt idx="0">
                  <c:v>775.0084743015262</c:v>
                </c:pt>
                <c:pt idx="1">
                  <c:v>775.0084743015262</c:v>
                </c:pt>
              </c:numCache>
            </c:numRef>
          </c:xVal>
          <c:yVal>
            <c:numRef>
              <c:f>Sheet1!$B$70:$B$71</c:f>
              <c:numCache>
                <c:formatCode>General</c:formatCode>
                <c:ptCount val="2"/>
                <c:pt idx="0">
                  <c:v>0.979441813585081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7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74:$A$75</c:f>
              <c:numCache>
                <c:formatCode>General</c:formatCode>
                <c:ptCount val="2"/>
                <c:pt idx="0">
                  <c:v>0</c:v>
                </c:pt>
                <c:pt idx="1">
                  <c:v>1129.3571843995858</c:v>
                </c:pt>
              </c:numCache>
            </c:numRef>
          </c:xVal>
          <c:yVal>
            <c:numRef>
              <c:f>Sheet1!$B$74:$B$75</c:f>
              <c:numCache>
                <c:formatCode>General</c:formatCode>
                <c:ptCount val="2"/>
                <c:pt idx="0">
                  <c:v>0.9541756674079589</c:v>
                </c:pt>
                <c:pt idx="1">
                  <c:v>0.9541756674079589</c:v>
                </c:pt>
              </c:numCache>
            </c:numRef>
          </c:yVal>
          <c:smooth val="0"/>
          <c:extLst>
            <c:ext xmlns:c16="http://schemas.microsoft.com/office/drawing/2014/chart" uri="{C3380CC4-5D6E-409C-BE32-E72D297353CC}">
              <c16:uniqueId val="{0000000A-F32D-48B7-BC20-E66FC6253BAD}"/>
            </c:ext>
          </c:extLst>
        </c:ser>
        <c:ser>
          <c:idx val="5"/>
          <c:order val="5"/>
          <c:tx>
            <c:strRef>
              <c:f>Sheet1!$B$7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8:$A$79</c:f>
              <c:numCache>
                <c:formatCode>General</c:formatCode>
                <c:ptCount val="2"/>
                <c:pt idx="0">
                  <c:v>1129.3571843995858</c:v>
                </c:pt>
                <c:pt idx="1">
                  <c:v>1129.3571843995858</c:v>
                </c:pt>
              </c:numCache>
            </c:numRef>
          </c:xVal>
          <c:yVal>
            <c:numRef>
              <c:f>Sheet1!$B$78:$B$79</c:f>
              <c:numCache>
                <c:formatCode>General</c:formatCode>
                <c:ptCount val="2"/>
                <c:pt idx="0">
                  <c:v>0.954175667407958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8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82:$A$83</c:f>
              <c:numCache>
                <c:formatCode>General</c:formatCode>
                <c:ptCount val="2"/>
                <c:pt idx="0">
                  <c:v>0</c:v>
                </c:pt>
                <c:pt idx="1">
                  <c:v>1875.4818961556825</c:v>
                </c:pt>
              </c:numCache>
            </c:numRef>
          </c:xVal>
          <c:yVal>
            <c:numRef>
              <c:f>Sheet1!$B$82:$B$83</c:f>
              <c:numCache>
                <c:formatCode>General</c:formatCode>
                <c:ptCount val="2"/>
                <c:pt idx="0">
                  <c:v>0.9009746947604896</c:v>
                </c:pt>
                <c:pt idx="1">
                  <c:v>0.9009746947604896</c:v>
                </c:pt>
              </c:numCache>
            </c:numRef>
          </c:yVal>
          <c:smooth val="0"/>
          <c:extLst>
            <c:ext xmlns:c16="http://schemas.microsoft.com/office/drawing/2014/chart" uri="{C3380CC4-5D6E-409C-BE32-E72D297353CC}">
              <c16:uniqueId val="{00000011-F32D-48B7-BC20-E66FC6253BAD}"/>
            </c:ext>
          </c:extLst>
        </c:ser>
        <c:ser>
          <c:idx val="7"/>
          <c:order val="7"/>
          <c:tx>
            <c:strRef>
              <c:f>Sheet1!$B$8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6:$A$87</c:f>
              <c:numCache>
                <c:formatCode>General</c:formatCode>
                <c:ptCount val="2"/>
                <c:pt idx="0">
                  <c:v>1875.4818961556825</c:v>
                </c:pt>
                <c:pt idx="1">
                  <c:v>1875.4818961556825</c:v>
                </c:pt>
              </c:numCache>
            </c:numRef>
          </c:xVal>
          <c:yVal>
            <c:numRef>
              <c:f>Sheet1!$B$86:$B$87</c:f>
              <c:numCache>
                <c:formatCode>General</c:formatCode>
                <c:ptCount val="2"/>
                <c:pt idx="0">
                  <c:v>0.900974694760489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8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90:$A$144</c:f>
              <c:numCache>
                <c:formatCode>General</c:formatCode>
                <c:ptCount val="55"/>
                <c:pt idx="0">
                  <c:v>1389.1374</c:v>
                </c:pt>
                <c:pt idx="1">
                  <c:v>1415.2752</c:v>
                </c:pt>
                <c:pt idx="2">
                  <c:v>1393.7043</c:v>
                </c:pt>
                <c:pt idx="3">
                  <c:v>1422.9507</c:v>
                </c:pt>
                <c:pt idx="4">
                  <c:v>1425.2297</c:v>
                </c:pt>
                <c:pt idx="5">
                  <c:v>1453.216</c:v>
                </c:pt>
                <c:pt idx="6">
                  <c:v>1351.6819</c:v>
                </c:pt>
                <c:pt idx="7">
                  <c:v>1424.1955</c:v>
                </c:pt>
                <c:pt idx="8">
                  <c:v>1478.3681</c:v>
                </c:pt>
                <c:pt idx="9">
                  <c:v>1435.6026</c:v>
                </c:pt>
                <c:pt idx="10">
                  <c:v>1462.992</c:v>
                </c:pt>
                <c:pt idx="11">
                  <c:v>1290.7679</c:v>
                </c:pt>
                <c:pt idx="12">
                  <c:v>1307.0289</c:v>
                </c:pt>
                <c:pt idx="13">
                  <c:v>1378.8598</c:v>
                </c:pt>
                <c:pt idx="14">
                  <c:v>1358.1655</c:v>
                </c:pt>
                <c:pt idx="15">
                  <c:v>1408.6061</c:v>
                </c:pt>
                <c:pt idx="16">
                  <c:v>1472.3726</c:v>
                </c:pt>
                <c:pt idx="17">
                  <c:v>1443.5874</c:v>
                </c:pt>
                <c:pt idx="18">
                  <c:v>1466.1065</c:v>
                </c:pt>
                <c:pt idx="19">
                  <c:v>1615.0497</c:v>
                </c:pt>
                <c:pt idx="20">
                  <c:v>1603.7846</c:v>
                </c:pt>
                <c:pt idx="21">
                  <c:v>1453.4303</c:v>
                </c:pt>
                <c:pt idx="22">
                  <c:v>1438.9896</c:v>
                </c:pt>
                <c:pt idx="23">
                  <c:v>1486.493</c:v>
                </c:pt>
                <c:pt idx="24">
                  <c:v>1482.055</c:v>
                </c:pt>
                <c:pt idx="25">
                  <c:v>1367.256</c:v>
                </c:pt>
                <c:pt idx="26">
                  <c:v>1422.412</c:v>
                </c:pt>
                <c:pt idx="27">
                  <c:v>1476.1808</c:v>
                </c:pt>
                <c:pt idx="28">
                  <c:v>1466.279</c:v>
                </c:pt>
                <c:pt idx="29">
                  <c:v>1512.8552</c:v>
                </c:pt>
                <c:pt idx="30">
                  <c:v>1365.6762</c:v>
                </c:pt>
                <c:pt idx="31">
                  <c:v>1201.6978</c:v>
                </c:pt>
                <c:pt idx="32">
                  <c:v>1361.0502</c:v>
                </c:pt>
                <c:pt idx="33">
                  <c:v>1429.6591</c:v>
                </c:pt>
                <c:pt idx="34">
                  <c:v>1447.319</c:v>
                </c:pt>
                <c:pt idx="35">
                  <c:v>1402.9262</c:v>
                </c:pt>
                <c:pt idx="36">
                  <c:v>1462.069</c:v>
                </c:pt>
                <c:pt idx="37">
                  <c:v>1538.1332</c:v>
                </c:pt>
                <c:pt idx="38">
                  <c:v>1460.4717</c:v>
                </c:pt>
                <c:pt idx="39">
                  <c:v>1390.8317</c:v>
                </c:pt>
                <c:pt idx="40">
                  <c:v>1396.9794</c:v>
                </c:pt>
                <c:pt idx="41">
                  <c:v>1485.9538</c:v>
                </c:pt>
                <c:pt idx="42">
                  <c:v>1451.6033</c:v>
                </c:pt>
                <c:pt idx="43">
                  <c:v>1438.1344</c:v>
                </c:pt>
                <c:pt idx="44">
                  <c:v>1441.05</c:v>
                </c:pt>
                <c:pt idx="45">
                  <c:v>1392.2084</c:v>
                </c:pt>
                <c:pt idx="46">
                  <c:v>1374.7113</c:v>
                </c:pt>
                <c:pt idx="47">
                  <c:v>1359.7935</c:v>
                </c:pt>
                <c:pt idx="48">
                  <c:v>1343.886</c:v>
                </c:pt>
                <c:pt idx="49">
                  <c:v>1373.9379</c:v>
                </c:pt>
                <c:pt idx="50">
                  <c:v>1251.2986</c:v>
                </c:pt>
                <c:pt idx="51">
                  <c:v>1204.4658</c:v>
                </c:pt>
                <c:pt idx="52">
                  <c:v>1129.3571843995858</c:v>
                </c:pt>
                <c:pt idx="53">
                  <c:v>775.0084743015262</c:v>
                </c:pt>
                <c:pt idx="54">
                  <c:v>1875.4818961556825</c:v>
                </c:pt>
              </c:numCache>
            </c:numRef>
          </c:xVal>
          <c:yVal>
            <c:numRef>
              <c:f>Sheet1!$B$90:$B$144</c:f>
              <c:numCache>
                <c:formatCode>General</c:formatCode>
                <c:ptCount val="55"/>
                <c:pt idx="0">
                  <c:v>0.935652543958552</c:v>
                </c:pt>
                <c:pt idx="1">
                  <c:v>0.9337888389224432</c:v>
                </c:pt>
                <c:pt idx="2">
                  <c:v>0.9353269100287873</c:v>
                </c:pt>
                <c:pt idx="3">
                  <c:v>0.9332415523105382</c:v>
                </c:pt>
                <c:pt idx="4">
                  <c:v>0.9330790526442583</c:v>
                </c:pt>
                <c:pt idx="5">
                  <c:v>0.9310835439077904</c:v>
                </c:pt>
                <c:pt idx="6">
                  <c:v>0.9383232355997755</c:v>
                </c:pt>
                <c:pt idx="7">
                  <c:v>0.9331527942655249</c:v>
                </c:pt>
                <c:pt idx="8">
                  <c:v>0.9292901222946971</c:v>
                </c:pt>
                <c:pt idx="9">
                  <c:v>0.9323394331671389</c:v>
                </c:pt>
                <c:pt idx="10">
                  <c:v>0.930386485225231</c:v>
                </c:pt>
                <c:pt idx="11">
                  <c:v>0.9426665899972201</c:v>
                </c:pt>
                <c:pt idx="12">
                  <c:v>0.9415071309917887</c:v>
                </c:pt>
                <c:pt idx="13">
                  <c:v>0.9363853682543654</c:v>
                </c:pt>
                <c:pt idx="14">
                  <c:v>0.9378609351011828</c:v>
                </c:pt>
                <c:pt idx="15">
                  <c:v>0.9342643661380587</c:v>
                </c:pt>
                <c:pt idx="16">
                  <c:v>0.9297176197713014</c:v>
                </c:pt>
                <c:pt idx="17">
                  <c:v>0.9317700925197882</c:v>
                </c:pt>
                <c:pt idx="18">
                  <c:v>0.930164411855056</c:v>
                </c:pt>
                <c:pt idx="19">
                  <c:v>0.9195443064164135</c:v>
                </c:pt>
                <c:pt idx="20">
                  <c:v>0.9203475424807444</c:v>
                </c:pt>
                <c:pt idx="21">
                  <c:v>0.9310682636627339</c:v>
                </c:pt>
                <c:pt idx="22">
                  <c:v>0.9320979297140057</c:v>
                </c:pt>
                <c:pt idx="23">
                  <c:v>0.928710792089099</c:v>
                </c:pt>
                <c:pt idx="24">
                  <c:v>0.9290272350548517</c:v>
                </c:pt>
                <c:pt idx="25">
                  <c:v>0.9372127546640097</c:v>
                </c:pt>
                <c:pt idx="26">
                  <c:v>0.9332799632671969</c:v>
                </c:pt>
                <c:pt idx="27">
                  <c:v>0.9294460834706751</c:v>
                </c:pt>
                <c:pt idx="28">
                  <c:v>0.9301521120777707</c:v>
                </c:pt>
                <c:pt idx="29">
                  <c:v>0.9268310866470608</c:v>
                </c:pt>
                <c:pt idx="30">
                  <c:v>0.9373253992330263</c:v>
                </c:pt>
                <c:pt idx="31">
                  <c:v>0.9490175603901648</c:v>
                </c:pt>
                <c:pt idx="32">
                  <c:v>0.9376552471734436</c:v>
                </c:pt>
                <c:pt idx="33">
                  <c:v>0.9327632228847934</c:v>
                </c:pt>
                <c:pt idx="34">
                  <c:v>0.9315040180333072</c:v>
                </c:pt>
                <c:pt idx="35">
                  <c:v>0.9346693603699602</c:v>
                </c:pt>
                <c:pt idx="36">
                  <c:v>0.9304522979465897</c:v>
                </c:pt>
                <c:pt idx="37">
                  <c:v>0.9250286879791256</c:v>
                </c:pt>
                <c:pt idx="38">
                  <c:v>0.9305661903190992</c:v>
                </c:pt>
                <c:pt idx="39">
                  <c:v>0.9355317351895401</c:v>
                </c:pt>
                <c:pt idx="40">
                  <c:v>0.9350933853877019</c:v>
                </c:pt>
                <c:pt idx="41">
                  <c:v>0.928749238697286</c:v>
                </c:pt>
                <c:pt idx="42">
                  <c:v>0.9311985343473734</c:v>
                </c:pt>
                <c:pt idx="43">
                  <c:v>0.9321589080881184</c:v>
                </c:pt>
                <c:pt idx="44">
                  <c:v>0.9319510168959263</c:v>
                </c:pt>
                <c:pt idx="45">
                  <c:v>0.9354335722713446</c:v>
                </c:pt>
                <c:pt idx="46">
                  <c:v>0.9366811689851957</c:v>
                </c:pt>
                <c:pt idx="47">
                  <c:v>0.937744853724832</c:v>
                </c:pt>
                <c:pt idx="48">
                  <c:v>0.9388791070997105</c:v>
                </c:pt>
                <c:pt idx="49">
                  <c:v>0.9367363147692681</c:v>
                </c:pt>
                <c:pt idx="50">
                  <c:v>0.9454808717340797</c:v>
                </c:pt>
                <c:pt idx="51">
                  <c:v>0.9488201935291456</c:v>
                </c:pt>
                <c:pt idx="52">
                  <c:v>0.9541756674079589</c:v>
                </c:pt>
                <c:pt idx="53">
                  <c:v>0.9794418135850813</c:v>
                </c:pt>
                <c:pt idx="54">
                  <c:v>0.900974694760489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251.0"/>
          <c:min val="62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801789401238816"/>
          <c:min val="0.607821229050279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589374938657823</c:v>
                </c:pt>
                <c:pt idx="1">
                  <c:v>0.7175093251500991</c:v>
                </c:pt>
                <c:pt idx="2">
                  <c:v>0.5931173243011805</c:v>
                </c:pt>
                <c:pt idx="3">
                  <c:v>0.6810626915310607</c:v>
                </c:pt>
                <c:pt idx="4">
                  <c:v>0.4971382694947298</c:v>
                </c:pt>
                <c:pt idx="5">
                  <c:v>0.47906172098495864</c:v>
                </c:pt>
                <c:pt idx="6">
                  <c:v>0.5196613114696745</c:v>
                </c:pt>
                <c:pt idx="7">
                  <c:v>0.5675371646423762</c:v>
                </c:pt>
                <c:pt idx="8">
                  <c:v>0.4359735853292951</c:v>
                </c:pt>
                <c:pt idx="9">
                  <c:v>0.5840949231146069</c:v>
                </c:pt>
                <c:pt idx="10">
                  <c:v>0.5427794561933534</c:v>
                </c:pt>
                <c:pt idx="11">
                  <c:v>0.5874471822801715</c:v>
                </c:pt>
                <c:pt idx="12">
                  <c:v>0.624741615440066</c:v>
                </c:pt>
                <c:pt idx="13">
                  <c:v>0.40430766738660906</c:v>
                </c:pt>
                <c:pt idx="14">
                  <c:v>0.49746370318820415</c:v>
                </c:pt>
                <c:pt idx="15">
                  <c:v>0.7513825843916101</c:v>
                </c:pt>
                <c:pt idx="16">
                  <c:v>0.5094806869240645</c:v>
                </c:pt>
                <c:pt idx="17">
                  <c:v>0.5454013007723421</c:v>
                </c:pt>
                <c:pt idx="18">
                  <c:v>0.4132508493353028</c:v>
                </c:pt>
                <c:pt idx="19">
                  <c:v>0.3694350297202754</c:v>
                </c:pt>
                <c:pt idx="20">
                  <c:v>0.5984416379310346</c:v>
                </c:pt>
                <c:pt idx="21">
                  <c:v>0.5035870674422314</c:v>
                </c:pt>
                <c:pt idx="22">
                  <c:v>0.5307020214076208</c:v>
                </c:pt>
                <c:pt idx="23">
                  <c:v>0.3890467395936923</c:v>
                </c:pt>
                <c:pt idx="24">
                  <c:v>0.4795876895237569</c:v>
                </c:pt>
                <c:pt idx="25">
                  <c:v>0.40115855492458763</c:v>
                </c:pt>
                <c:pt idx="26">
                  <c:v>0.3749934006703256</c:v>
                </c:pt>
                <c:pt idx="27">
                  <c:v>0.37113495244757144</c:v>
                </c:pt>
                <c:pt idx="28">
                  <c:v>0.5727353585192428</c:v>
                </c:pt>
                <c:pt idx="29">
                  <c:v>0.6355858815878611</c:v>
                </c:pt>
                <c:pt idx="30">
                  <c:v>0.6906442350066309</c:v>
                </c:pt>
                <c:pt idx="31">
                  <c:v>0.7140469579204621</c:v>
                </c:pt>
                <c:pt idx="32">
                  <c:v>0.5961107278371853</c:v>
                </c:pt>
                <c:pt idx="33">
                  <c:v>0.5164088658912406</c:v>
                </c:pt>
                <c:pt idx="34">
                  <c:v>0.5379831102169218</c:v>
                </c:pt>
                <c:pt idx="35">
                  <c:v>0.594765904541946</c:v>
                </c:pt>
                <c:pt idx="36">
                  <c:v>0.4864148503661421</c:v>
                </c:pt>
                <c:pt idx="37">
                  <c:v>0.39301194308374154</c:v>
                </c:pt>
                <c:pt idx="38">
                  <c:v>0.42984771593518567</c:v>
                </c:pt>
                <c:pt idx="39">
                  <c:v>0.44232967877277773</c:v>
                </c:pt>
                <c:pt idx="40">
                  <c:v>0.5110083827438151</c:v>
                </c:pt>
                <c:pt idx="41">
                  <c:v>0.52526231383557</c:v>
                </c:pt>
                <c:pt idx="42">
                  <c:v>0.6416666951712909</c:v>
                </c:pt>
                <c:pt idx="43">
                  <c:v>0.4457967170230164</c:v>
                </c:pt>
                <c:pt idx="44">
                  <c:v>0.6091358613761929</c:v>
                </c:pt>
                <c:pt idx="45">
                  <c:v>0.5709055699166016</c:v>
                </c:pt>
                <c:pt idx="46">
                  <c:v>0.5427592249138949</c:v>
                </c:pt>
                <c:pt idx="47">
                  <c:v>0.42405868051207496</c:v>
                </c:pt>
                <c:pt idx="48">
                  <c:v>0.6021871637413637</c:v>
                </c:pt>
                <c:pt idx="49">
                  <c:v>0.3977968837731612</c:v>
                </c:pt>
                <c:pt idx="50">
                  <c:v>0.3903942240870733</c:v>
                </c:pt>
                <c:pt idx="51">
                  <c:v>0.35061621290201705</c:v>
                </c:pt>
                <c:pt idx="52">
                  <c:v>0.41345563562821575</c:v>
                </c:pt>
                <c:pt idx="53">
                  <c:v>0.4439643605579263</c:v>
                </c:pt>
                <c:pt idx="54">
                  <c:v>0.43920898833297883</c:v>
                </c:pt>
                <c:pt idx="55">
                  <c:v>0.3907042695926013</c:v>
                </c:pt>
                <c:pt idx="56">
                  <c:v>0.36294882773223736</c:v>
                </c:pt>
                <c:pt idx="57">
                  <c:v>0.3847177189165525</c:v>
                </c:pt>
                <c:pt idx="58">
                  <c:v>0.435985411220938</c:v>
                </c:pt>
                <c:pt idx="59">
                  <c:v>0.4087767342914906</c:v>
                </c:pt>
                <c:pt idx="60">
                  <c:v>0.3048070373417903</c:v>
                </c:pt>
                <c:pt idx="61">
                  <c:v>0.41920025122691046</c:v>
                </c:pt>
                <c:pt idx="62">
                  <c:v>0.4606983252652948</c:v>
                </c:pt>
                <c:pt idx="63">
                  <c:v>0.4399790790607827</c:v>
                </c:pt>
                <c:pt idx="64">
                  <c:v>0.42783750306336277</c:v>
                </c:pt>
                <c:pt idx="65">
                  <c:v>0.3918881320953055</c:v>
                </c:pt>
                <c:pt idx="66">
                  <c:v>0.4218816512219889</c:v>
                </c:pt>
                <c:pt idx="67">
                  <c:v>0.489404866209686</c:v>
                </c:pt>
                <c:pt idx="68">
                  <c:v>0.4387496423417467</c:v>
                </c:pt>
                <c:pt idx="69">
                  <c:v>0.3023069454530178</c:v>
                </c:pt>
                <c:pt idx="70">
                  <c:v>0.3778366142724648</c:v>
                </c:pt>
                <c:pt idx="71">
                  <c:v>0.29772227004647206</c:v>
                </c:pt>
                <c:pt idx="72">
                  <c:v>0.3053849435076503</c:v>
                </c:pt>
                <c:pt idx="73">
                  <c:v>0.23217049414793905</c:v>
                </c:pt>
                <c:pt idx="74">
                  <c:v>0.14487685814271375</c:v>
                </c:pt>
                <c:pt idx="75">
                  <c:v>0.23519525484339732</c:v>
                </c:pt>
                <c:pt idx="76">
                  <c:v>0.2153479795998431</c:v>
                </c:pt>
                <c:pt idx="77">
                  <c:v>0.22805559324348373</c:v>
                </c:pt>
                <c:pt idx="78">
                  <c:v>0.3099915527543587</c:v>
                </c:pt>
                <c:pt idx="79">
                  <c:v>0.31642626123664874</c:v>
                </c:pt>
                <c:pt idx="80">
                  <c:v>0.23952286058250222</c:v>
                </c:pt>
                <c:pt idx="81">
                  <c:v>0.5109319786712783</c:v>
                </c:pt>
                <c:pt idx="82">
                  <c:v>0.5463841662520555</c:v>
                </c:pt>
                <c:pt idx="83">
                  <c:v>0.5120509473912807</c:v>
                </c:pt>
                <c:pt idx="84">
                  <c:v>0.36839252488456803</c:v>
                </c:pt>
                <c:pt idx="85">
                  <c:v>0.49906253655101984</c:v>
                </c:pt>
                <c:pt idx="86">
                  <c:v>0.4002048035747533</c:v>
                </c:pt>
                <c:pt idx="87">
                  <c:v>0.44619766834170854</c:v>
                </c:pt>
                <c:pt idx="88">
                  <c:v>0.3653426332162916</c:v>
                </c:pt>
                <c:pt idx="89">
                  <c:v>0.4683307527482455</c:v>
                </c:pt>
                <c:pt idx="90">
                  <c:v>0.7273298423088367</c:v>
                </c:pt>
                <c:pt idx="91">
                  <c:v>1.5052068026721865</c:v>
                </c:pt>
                <c:pt idx="92">
                  <c:v>0.9842118883167721</c:v>
                </c:pt>
                <c:pt idx="93">
                  <c:v>0.6423990222181356</c:v>
                </c:pt>
                <c:pt idx="94">
                  <c:v>0.8116375101328234</c:v>
                </c:pt>
                <c:pt idx="95">
                  <c:v>0.6886519466474404</c:v>
                </c:pt>
                <c:pt idx="96">
                  <c:v>0.5526067787043549</c:v>
                </c:pt>
                <c:pt idx="97">
                  <c:v>0.43494686849352954</c:v>
                </c:pt>
                <c:pt idx="98">
                  <c:v>0.4416742909423605</c:v>
                </c:pt>
                <c:pt idx="99">
                  <c:v>0.42103111249664527</c:v>
                </c:pt>
                <c:pt idx="100">
                  <c:v>0.4051851052805942</c:v>
                </c:pt>
                <c:pt idx="101">
                  <c:v>0.3528644325662849</c:v>
                </c:pt>
                <c:pt idx="102">
                  <c:v>0.3561947364918818</c:v>
                </c:pt>
                <c:pt idx="103">
                  <c:v>0.39349137715571114</c:v>
                </c:pt>
                <c:pt idx="104">
                  <c:v>0.4576887370445379</c:v>
                </c:pt>
              </c:numCache>
            </c:numRef>
          </c:xVal>
          <c:yVal>
            <c:numRef>
              <c:f>Sheet1!$B$2:$B$106</c:f>
              <c:numCache>
                <c:formatCode>General</c:formatCode>
                <c:ptCount val="105"/>
                <c:pt idx="0">
                  <c:v>0.3170731707317073</c:v>
                </c:pt>
                <c:pt idx="1">
                  <c:v>0.22033898305084745</c:v>
                </c:pt>
                <c:pt idx="2">
                  <c:v>0.34545454545454546</c:v>
                </c:pt>
                <c:pt idx="3">
                  <c:v>0.30612244897959184</c:v>
                </c:pt>
                <c:pt idx="4">
                  <c:v>0.43243243243243246</c:v>
                </c:pt>
                <c:pt idx="5">
                  <c:v>0.4418604651162791</c:v>
                </c:pt>
                <c:pt idx="6">
                  <c:v>0.5217391304347826</c:v>
                </c:pt>
                <c:pt idx="7">
                  <c:v>0.391304347826087</c:v>
                </c:pt>
                <c:pt idx="8">
                  <c:v>0.5675675675675675</c:v>
                </c:pt>
                <c:pt idx="9">
                  <c:v>0.46153846153846156</c:v>
                </c:pt>
                <c:pt idx="10">
                  <c:v>0.5405405405405406</c:v>
                </c:pt>
                <c:pt idx="11">
                  <c:v>0.4032258064516129</c:v>
                </c:pt>
                <c:pt idx="12">
                  <c:v>0.4626865671641791</c:v>
                </c:pt>
                <c:pt idx="13">
                  <c:v>0.6666666666666666</c:v>
                </c:pt>
                <c:pt idx="14">
                  <c:v>0.5925925925925926</c:v>
                </c:pt>
                <c:pt idx="15">
                  <c:v>0.54</c:v>
                </c:pt>
                <c:pt idx="16">
                  <c:v>0.5</c:v>
                </c:pt>
                <c:pt idx="17">
                  <c:v>0.36363636363636365</c:v>
                </c:pt>
                <c:pt idx="18">
                  <c:v>0.5714285714285714</c:v>
                </c:pt>
                <c:pt idx="19">
                  <c:v>0.47058823529411764</c:v>
                </c:pt>
                <c:pt idx="20">
                  <c:v>0.38235294117647056</c:v>
                </c:pt>
                <c:pt idx="21">
                  <c:v>0.35</c:v>
                </c:pt>
                <c:pt idx="22">
                  <c:v>0.4166666666666667</c:v>
                </c:pt>
                <c:pt idx="23">
                  <c:v>0.6666666666666666</c:v>
                </c:pt>
                <c:pt idx="24">
                  <c:v>0.5</c:v>
                </c:pt>
                <c:pt idx="25">
                  <c:v>0.5263157894736842</c:v>
                </c:pt>
                <c:pt idx="26">
                  <c:v>0.5</c:v>
                </c:pt>
                <c:pt idx="27">
                  <c:v>0.6428571428571429</c:v>
                </c:pt>
                <c:pt idx="28">
                  <c:v>0.46153846153846156</c:v>
                </c:pt>
                <c:pt idx="29">
                  <c:v>0.40540540540540543</c:v>
                </c:pt>
                <c:pt idx="30">
                  <c:v>0.35</c:v>
                </c:pt>
                <c:pt idx="31">
                  <c:v>0.3333333333333333</c:v>
                </c:pt>
                <c:pt idx="32">
                  <c:v>0.35294117647058826</c:v>
                </c:pt>
                <c:pt idx="33">
                  <c:v>0.41935483870967744</c:v>
                </c:pt>
                <c:pt idx="34">
                  <c:v>0.4146341463414634</c:v>
                </c:pt>
                <c:pt idx="35">
                  <c:v>0.41935483870967744</c:v>
                </c:pt>
                <c:pt idx="36">
                  <c:v>0.5238095238095238</c:v>
                </c:pt>
                <c:pt idx="37">
                  <c:v>0.6129032258064516</c:v>
                </c:pt>
                <c:pt idx="38">
                  <c:v>0.5925925925925926</c:v>
                </c:pt>
                <c:pt idx="39">
                  <c:v>0.52</c:v>
                </c:pt>
                <c:pt idx="40">
                  <c:v>0.4634146341463415</c:v>
                </c:pt>
                <c:pt idx="41">
                  <c:v>0.3170731707317073</c:v>
                </c:pt>
                <c:pt idx="42">
                  <c:v>0.375</c:v>
                </c:pt>
                <c:pt idx="43">
                  <c:v>0.2978723404255319</c:v>
                </c:pt>
                <c:pt idx="44">
                  <c:v>0.40425531914893614</c:v>
                </c:pt>
                <c:pt idx="45">
                  <c:v>0.425531914893617</c:v>
                </c:pt>
                <c:pt idx="46">
                  <c:v>0.48936170212765956</c:v>
                </c:pt>
                <c:pt idx="47">
                  <c:v>0.5454545454545454</c:v>
                </c:pt>
                <c:pt idx="48">
                  <c:v>0.4788732394366197</c:v>
                </c:pt>
                <c:pt idx="49">
                  <c:v>0.9525691699604744</c:v>
                </c:pt>
                <c:pt idx="50">
                  <c:v>0.9220055710306406</c:v>
                </c:pt>
                <c:pt idx="51">
                  <c:v>0.8661710037174721</c:v>
                </c:pt>
                <c:pt idx="52">
                  <c:v>0.8651026392961877</c:v>
                </c:pt>
                <c:pt idx="53">
                  <c:v>0.8242811501597445</c:v>
                </c:pt>
                <c:pt idx="54">
                  <c:v>0.825531914893617</c:v>
                </c:pt>
                <c:pt idx="55">
                  <c:v>0.8398058252427184</c:v>
                </c:pt>
                <c:pt idx="56">
                  <c:v>0.8205128205128205</c:v>
                </c:pt>
                <c:pt idx="57">
                  <c:v>0.8566176470588235</c:v>
                </c:pt>
                <c:pt idx="58">
                  <c:v>0.8333333333333334</c:v>
                </c:pt>
                <c:pt idx="59">
                  <c:v>0.857397504456328</c:v>
                </c:pt>
                <c:pt idx="60">
                  <c:v>0.8696581196581197</c:v>
                </c:pt>
                <c:pt idx="61">
                  <c:v>0.7920792079207921</c:v>
                </c:pt>
                <c:pt idx="62">
                  <c:v>0.7766666666666666</c:v>
                </c:pt>
                <c:pt idx="63">
                  <c:v>0.7926829268292683</c:v>
                </c:pt>
                <c:pt idx="64">
                  <c:v>0.7649006622516556</c:v>
                </c:pt>
                <c:pt idx="65">
                  <c:v>0.796812749003984</c:v>
                </c:pt>
                <c:pt idx="66">
                  <c:v>0.8120567375886525</c:v>
                </c:pt>
                <c:pt idx="67">
                  <c:v>0.7312775330396476</c:v>
                </c:pt>
                <c:pt idx="68">
                  <c:v>0.6741573033707865</c:v>
                </c:pt>
                <c:pt idx="69">
                  <c:v>0.7962962962962963</c:v>
                </c:pt>
                <c:pt idx="70">
                  <c:v>0.66</c:v>
                </c:pt>
                <c:pt idx="71">
                  <c:v>0.7479674796747967</c:v>
                </c:pt>
                <c:pt idx="72">
                  <c:v>0.7714285714285715</c:v>
                </c:pt>
                <c:pt idx="73">
                  <c:v>0.75</c:v>
                </c:pt>
                <c:pt idx="74">
                  <c:v>0.8518518518518519</c:v>
                </c:pt>
                <c:pt idx="75">
                  <c:v>0.7282608695652174</c:v>
                </c:pt>
                <c:pt idx="76">
                  <c:v>0.7283950617283951</c:v>
                </c:pt>
                <c:pt idx="77">
                  <c:v>0.6428571428571429</c:v>
                </c:pt>
                <c:pt idx="78">
                  <c:v>0.48</c:v>
                </c:pt>
                <c:pt idx="79">
                  <c:v>0.5531914893617021</c:v>
                </c:pt>
                <c:pt idx="80">
                  <c:v>0.6</c:v>
                </c:pt>
                <c:pt idx="81">
                  <c:v>0.36363636363636365</c:v>
                </c:pt>
                <c:pt idx="82">
                  <c:v>0.2835820895522388</c:v>
                </c:pt>
                <c:pt idx="83">
                  <c:v>0.32608695652173914</c:v>
                </c:pt>
                <c:pt idx="84">
                  <c:v>0.3333333333333333</c:v>
                </c:pt>
                <c:pt idx="85">
                  <c:v>0.46153846153846156</c:v>
                </c:pt>
                <c:pt idx="86">
                  <c:v>0.43243243243243246</c:v>
                </c:pt>
                <c:pt idx="87">
                  <c:v>0.391304347826087</c:v>
                </c:pt>
                <c:pt idx="88">
                  <c:v>0.39759036144578314</c:v>
                </c:pt>
                <c:pt idx="89">
                  <c:v>0.4745762711864407</c:v>
                </c:pt>
                <c:pt idx="90">
                  <c:v>0.3870967741935484</c:v>
                </c:pt>
                <c:pt idx="91">
                  <c:v>0.16793893129770993</c:v>
                </c:pt>
                <c:pt idx="92">
                  <c:v>0.2518518518518518</c:v>
                </c:pt>
                <c:pt idx="93">
                  <c:v>0.3669724770642202</c:v>
                </c:pt>
                <c:pt idx="94">
                  <c:v>0.2830188679245283</c:v>
                </c:pt>
                <c:pt idx="95">
                  <c:v>0.26804123711340205</c:v>
                </c:pt>
                <c:pt idx="96">
                  <c:v>0.3225806451612903</c:v>
                </c:pt>
                <c:pt idx="97">
                  <c:v>0.39814814814814814</c:v>
                </c:pt>
                <c:pt idx="98">
                  <c:v>0.49206349206349204</c:v>
                </c:pt>
                <c:pt idx="99">
                  <c:v>0.6161137440758294</c:v>
                </c:pt>
                <c:pt idx="100">
                  <c:v>0.6153846153846154</c:v>
                </c:pt>
                <c:pt idx="101">
                  <c:v>0.5</c:v>
                </c:pt>
                <c:pt idx="102">
                  <c:v>0.5277777777777778</c:v>
                </c:pt>
                <c:pt idx="103">
                  <c:v>0.4642857142857143</c:v>
                </c:pt>
                <c:pt idx="104">
                  <c:v>0.37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4538807543232745</c:v>
                </c:pt>
                <c:pt idx="1">
                  <c:v>0.3086645932144399</c:v>
                </c:pt>
                <c:pt idx="2">
                  <c:v>0.2811498334216452</c:v>
                </c:pt>
                <c:pt idx="3">
                  <c:v>0.2538280775972239</c:v>
                </c:pt>
                <c:pt idx="4">
                  <c:v>0.25520459492316316</c:v>
                </c:pt>
                <c:pt idx="5">
                  <c:v>0.2909998663122631</c:v>
                </c:pt>
                <c:pt idx="6">
                  <c:v>0.3045582082223649</c:v>
                </c:pt>
                <c:pt idx="7">
                  <c:v>0.2704555947027861</c:v>
                </c:pt>
                <c:pt idx="8">
                  <c:v>0.3543939048764881</c:v>
                </c:pt>
                <c:pt idx="9">
                  <c:v>0.3426491322375419</c:v>
                </c:pt>
                <c:pt idx="10">
                  <c:v>0.29041861399152913</c:v>
                </c:pt>
                <c:pt idx="11">
                  <c:v>0.2155912721828709</c:v>
                </c:pt>
                <c:pt idx="12">
                  <c:v>0.16753813267352868</c:v>
                </c:pt>
                <c:pt idx="13">
                  <c:v>0.20767735165652013</c:v>
                </c:pt>
                <c:pt idx="14">
                  <c:v>0.1979916905516804</c:v>
                </c:pt>
                <c:pt idx="15">
                  <c:v>0.17748643693969338</c:v>
                </c:pt>
                <c:pt idx="16">
                  <c:v>0.17871192256827384</c:v>
                </c:pt>
                <c:pt idx="17">
                  <c:v>0.17101932795942398</c:v>
                </c:pt>
                <c:pt idx="18">
                  <c:v>0.18638131032812305</c:v>
                </c:pt>
                <c:pt idx="19">
                  <c:v>0.18538191316197905</c:v>
                </c:pt>
                <c:pt idx="20">
                  <c:v>0.14790082714946426</c:v>
                </c:pt>
                <c:pt idx="21">
                  <c:v>0.23608035088640547</c:v>
                </c:pt>
                <c:pt idx="22">
                  <c:v>0.16962102689486552</c:v>
                </c:pt>
                <c:pt idx="23">
                  <c:v>0.14143659101435851</c:v>
                </c:pt>
                <c:pt idx="24">
                  <c:v>0.15718340762373192</c:v>
                </c:pt>
                <c:pt idx="25">
                  <c:v>0.17233627579509592</c:v>
                </c:pt>
                <c:pt idx="26">
                  <c:v>0.20766461777662606</c:v>
                </c:pt>
                <c:pt idx="27">
                  <c:v>0.17066993315367654</c:v>
                </c:pt>
                <c:pt idx="28">
                  <c:v>0.17703885842550954</c:v>
                </c:pt>
                <c:pt idx="29">
                  <c:v>0.2556111430845528</c:v>
                </c:pt>
                <c:pt idx="30">
                  <c:v>0.2890367865014821</c:v>
                </c:pt>
                <c:pt idx="31">
                  <c:v>0.23838488067486735</c:v>
                </c:pt>
                <c:pt idx="32">
                  <c:v>0.22374771492317894</c:v>
                </c:pt>
                <c:pt idx="33">
                  <c:v>0.2320248877153488</c:v>
                </c:pt>
                <c:pt idx="34">
                  <c:v>0.38073442110049216</c:v>
                </c:pt>
                <c:pt idx="35">
                  <c:v>0.245009887818917</c:v>
                </c:pt>
                <c:pt idx="36">
                  <c:v>0.2607713748690588</c:v>
                </c:pt>
                <c:pt idx="37">
                  <c:v>0.15929117296222664</c:v>
                </c:pt>
                <c:pt idx="38">
                  <c:v>0.1512943281514545</c:v>
                </c:pt>
                <c:pt idx="39">
                  <c:v>0.17386773851400536</c:v>
                </c:pt>
                <c:pt idx="40">
                  <c:v>0.1534925925925926</c:v>
                </c:pt>
                <c:pt idx="41">
                  <c:v>0.18757080895352893</c:v>
                </c:pt>
                <c:pt idx="42">
                  <c:v>0.18740966140811227</c:v>
                </c:pt>
                <c:pt idx="43">
                  <c:v>0.21922408782496453</c:v>
                </c:pt>
                <c:pt idx="44">
                  <c:v>0.1981355057495372</c:v>
                </c:pt>
                <c:pt idx="45">
                  <c:v>0.22055291247703074</c:v>
                </c:pt>
                <c:pt idx="46">
                  <c:v>0.19088289882073864</c:v>
                </c:pt>
                <c:pt idx="47">
                  <c:v>0.13319199315158395</c:v>
                </c:pt>
                <c:pt idx="48">
                  <c:v>0.20366222645453316</c:v>
                </c:pt>
                <c:pt idx="49">
                  <c:v>0.30908586844557806</c:v>
                </c:pt>
                <c:pt idx="50">
                  <c:v>0.3009038553921989</c:v>
                </c:pt>
                <c:pt idx="51">
                  <c:v>0.3161836538112051</c:v>
                </c:pt>
              </c:numCache>
            </c:numRef>
          </c:xVal>
          <c:yVal>
            <c:numRef>
              <c:f>Sheet1!$B$109:$B$160</c:f>
              <c:numCache>
                <c:formatCode>General</c:formatCode>
                <c:ptCount val="52"/>
                <c:pt idx="0">
                  <c:v>0.3431372549019608</c:v>
                </c:pt>
                <c:pt idx="1">
                  <c:v>0.6763285024154589</c:v>
                </c:pt>
                <c:pt idx="2">
                  <c:v>0.8067796610169492</c:v>
                </c:pt>
                <c:pt idx="3">
                  <c:v>0.810126582278481</c:v>
                </c:pt>
                <c:pt idx="4">
                  <c:v>0.795774647887324</c:v>
                </c:pt>
                <c:pt idx="5">
                  <c:v>0.7854251012145749</c:v>
                </c:pt>
                <c:pt idx="6">
                  <c:v>0.7813953488372093</c:v>
                </c:pt>
                <c:pt idx="7">
                  <c:v>0.8192090395480226</c:v>
                </c:pt>
                <c:pt idx="8">
                  <c:v>0.678082191780822</c:v>
                </c:pt>
                <c:pt idx="9">
                  <c:v>0.7025316455696202</c:v>
                </c:pt>
                <c:pt idx="10">
                  <c:v>0.7228260869565217</c:v>
                </c:pt>
                <c:pt idx="11">
                  <c:v>0.8271604938271605</c:v>
                </c:pt>
                <c:pt idx="12">
                  <c:v>0.8575757575757575</c:v>
                </c:pt>
                <c:pt idx="13">
                  <c:v>0.8091872791519434</c:v>
                </c:pt>
                <c:pt idx="14">
                  <c:v>0.8377192982456141</c:v>
                </c:pt>
                <c:pt idx="15">
                  <c:v>0.7905759162303665</c:v>
                </c:pt>
                <c:pt idx="16">
                  <c:v>0.7897727272727273</c:v>
                </c:pt>
                <c:pt idx="17">
                  <c:v>0.7925925925925926</c:v>
                </c:pt>
                <c:pt idx="18">
                  <c:v>0.6814159292035398</c:v>
                </c:pt>
                <c:pt idx="19">
                  <c:v>0.6619718309859155</c:v>
                </c:pt>
                <c:pt idx="20">
                  <c:v>0.6699029126213593</c:v>
                </c:pt>
                <c:pt idx="21">
                  <c:v>0.4745762711864407</c:v>
                </c:pt>
                <c:pt idx="22">
                  <c:v>0.7769784172661871</c:v>
                </c:pt>
                <c:pt idx="23">
                  <c:v>0.8209876543209876</c:v>
                </c:pt>
                <c:pt idx="24">
                  <c:v>0.7816901408450704</c:v>
                </c:pt>
                <c:pt idx="25">
                  <c:v>0.7745098039215687</c:v>
                </c:pt>
                <c:pt idx="26">
                  <c:v>0.5142857142857142</c:v>
                </c:pt>
                <c:pt idx="27">
                  <c:v>0.4461538461538462</c:v>
                </c:pt>
                <c:pt idx="28">
                  <c:v>0.43373493975903615</c:v>
                </c:pt>
                <c:pt idx="29">
                  <c:v>0.3918918918918919</c:v>
                </c:pt>
                <c:pt idx="30">
                  <c:v>0.3</c:v>
                </c:pt>
                <c:pt idx="31">
                  <c:v>0.28846153846153844</c:v>
                </c:pt>
                <c:pt idx="32">
                  <c:v>0.42857142857142855</c:v>
                </c:pt>
                <c:pt idx="33">
                  <c:v>0.45918367346938777</c:v>
                </c:pt>
                <c:pt idx="34">
                  <c:v>0.3181818181818182</c:v>
                </c:pt>
                <c:pt idx="35">
                  <c:v>0.3416666666666667</c:v>
                </c:pt>
                <c:pt idx="36">
                  <c:v>0.32954545454545453</c:v>
                </c:pt>
                <c:pt idx="37">
                  <c:v>0.5664335664335665</c:v>
                </c:pt>
                <c:pt idx="38">
                  <c:v>0.6712328767123288</c:v>
                </c:pt>
                <c:pt idx="39">
                  <c:v>0.5689655172413793</c:v>
                </c:pt>
                <c:pt idx="40">
                  <c:v>0.46808510638297873</c:v>
                </c:pt>
                <c:pt idx="41">
                  <c:v>0.44155844155844154</c:v>
                </c:pt>
                <c:pt idx="42">
                  <c:v>0.36065573770491804</c:v>
                </c:pt>
                <c:pt idx="43">
                  <c:v>0.3333333333333333</c:v>
                </c:pt>
                <c:pt idx="44">
                  <c:v>0.26804123711340205</c:v>
                </c:pt>
                <c:pt idx="45">
                  <c:v>0.3089887640449438</c:v>
                </c:pt>
                <c:pt idx="46">
                  <c:v>0.3821656050955414</c:v>
                </c:pt>
                <c:pt idx="47">
                  <c:v>0.4125874125874126</c:v>
                </c:pt>
                <c:pt idx="48">
                  <c:v>0.3543307086614173</c:v>
                </c:pt>
                <c:pt idx="49">
                  <c:v>0.28846153846153844</c:v>
                </c:pt>
                <c:pt idx="50">
                  <c:v>0.2631578947368421</c:v>
                </c:pt>
                <c:pt idx="51">
                  <c:v>0.246376811594202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5655272520630603</c:v>
                </c:pt>
              </c:numCache>
            </c:numRef>
          </c:xVal>
          <c:yVal>
            <c:numRef>
              <c:f>Sheet1!$B$163:$B$164</c:f>
              <c:numCache>
                <c:formatCode>General</c:formatCode>
                <c:ptCount val="2"/>
                <c:pt idx="0">
                  <c:v>0.8316815337505308</c:v>
                </c:pt>
                <c:pt idx="1">
                  <c:v>0.831681533750530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5655272520630603</c:v>
                </c:pt>
                <c:pt idx="1">
                  <c:v>-0.15655272520630603</c:v>
                </c:pt>
              </c:numCache>
            </c:numRef>
          </c:xVal>
          <c:yVal>
            <c:numRef>
              <c:f>Sheet1!$B$167:$B$168</c:f>
              <c:numCache>
                <c:formatCode>General</c:formatCode>
                <c:ptCount val="2"/>
                <c:pt idx="0">
                  <c:v>0.831681533750530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23129305713818566</c:v>
                </c:pt>
              </c:numCache>
            </c:numRef>
          </c:xVal>
          <c:yVal>
            <c:numRef>
              <c:f>Sheet1!$B$171:$B$172</c:f>
              <c:numCache>
                <c:formatCode>General</c:formatCode>
                <c:ptCount val="2"/>
                <c:pt idx="0">
                  <c:v>0.7398314416476583</c:v>
                </c:pt>
                <c:pt idx="1">
                  <c:v>0.739831441647658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23129305713818566</c:v>
                </c:pt>
                <c:pt idx="1">
                  <c:v>-0.023129305713818566</c:v>
                </c:pt>
              </c:numCache>
            </c:numRef>
          </c:xVal>
          <c:yVal>
            <c:numRef>
              <c:f>Sheet1!$B$175:$B$176</c:f>
              <c:numCache>
                <c:formatCode>General</c:formatCode>
                <c:ptCount val="2"/>
                <c:pt idx="0">
                  <c:v>0.739831441647658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26755050646063</c:v>
                </c:pt>
              </c:numCache>
            </c:numRef>
          </c:xVal>
          <c:yVal>
            <c:numRef>
              <c:f>Sheet1!$B$179:$B$180</c:f>
              <c:numCache>
                <c:formatCode>General</c:formatCode>
                <c:ptCount val="2"/>
                <c:pt idx="0">
                  <c:v>0.3612852391166425</c:v>
                </c:pt>
                <c:pt idx="1">
                  <c:v>0.361285239116642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26755050646063</c:v>
                </c:pt>
                <c:pt idx="1">
                  <c:v>0.526755050646063</c:v>
                </c:pt>
              </c:numCache>
            </c:numRef>
          </c:xVal>
          <c:yVal>
            <c:numRef>
              <c:f>Sheet1!$B$183:$B$184</c:f>
              <c:numCache>
                <c:formatCode>General</c:formatCode>
                <c:ptCount val="2"/>
                <c:pt idx="0">
                  <c:v>0.36128523911664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4538807543232745</c:v>
                </c:pt>
                <c:pt idx="1">
                  <c:v>0.3086645932144399</c:v>
                </c:pt>
                <c:pt idx="2">
                  <c:v>0.2811498334216452</c:v>
                </c:pt>
                <c:pt idx="3">
                  <c:v>0.2538280775972239</c:v>
                </c:pt>
                <c:pt idx="4">
                  <c:v>0.25520459492316316</c:v>
                </c:pt>
                <c:pt idx="5">
                  <c:v>0.2909998663122631</c:v>
                </c:pt>
                <c:pt idx="6">
                  <c:v>0.3045582082223649</c:v>
                </c:pt>
                <c:pt idx="7">
                  <c:v>0.2704555947027861</c:v>
                </c:pt>
                <c:pt idx="8">
                  <c:v>0.3543939048764881</c:v>
                </c:pt>
                <c:pt idx="9">
                  <c:v>0.3426491322375419</c:v>
                </c:pt>
                <c:pt idx="10">
                  <c:v>0.29041861399152913</c:v>
                </c:pt>
                <c:pt idx="11">
                  <c:v>0.2155912721828709</c:v>
                </c:pt>
                <c:pt idx="12">
                  <c:v>0.16753813267352868</c:v>
                </c:pt>
                <c:pt idx="13">
                  <c:v>0.20767735165652013</c:v>
                </c:pt>
                <c:pt idx="14">
                  <c:v>0.1979916905516804</c:v>
                </c:pt>
                <c:pt idx="15">
                  <c:v>0.17748643693969338</c:v>
                </c:pt>
                <c:pt idx="16">
                  <c:v>0.17871192256827384</c:v>
                </c:pt>
                <c:pt idx="17">
                  <c:v>0.17101932795942398</c:v>
                </c:pt>
                <c:pt idx="18">
                  <c:v>0.18638131032812305</c:v>
                </c:pt>
                <c:pt idx="19">
                  <c:v>0.18538191316197905</c:v>
                </c:pt>
                <c:pt idx="20">
                  <c:v>0.14790082714946426</c:v>
                </c:pt>
                <c:pt idx="21">
                  <c:v>0.23608035088640547</c:v>
                </c:pt>
                <c:pt idx="22">
                  <c:v>0.16962102689486552</c:v>
                </c:pt>
                <c:pt idx="23">
                  <c:v>0.14143659101435851</c:v>
                </c:pt>
                <c:pt idx="24">
                  <c:v>0.15718340762373192</c:v>
                </c:pt>
                <c:pt idx="25">
                  <c:v>0.17233627579509592</c:v>
                </c:pt>
                <c:pt idx="26">
                  <c:v>0.20766461777662606</c:v>
                </c:pt>
                <c:pt idx="27">
                  <c:v>0.17066993315367654</c:v>
                </c:pt>
                <c:pt idx="28">
                  <c:v>0.17703885842550954</c:v>
                </c:pt>
                <c:pt idx="29">
                  <c:v>0.2556111430845528</c:v>
                </c:pt>
                <c:pt idx="30">
                  <c:v>0.2890367865014821</c:v>
                </c:pt>
                <c:pt idx="31">
                  <c:v>0.23838488067486735</c:v>
                </c:pt>
                <c:pt idx="32">
                  <c:v>0.22374771492317894</c:v>
                </c:pt>
                <c:pt idx="33">
                  <c:v>0.2320248877153488</c:v>
                </c:pt>
                <c:pt idx="34">
                  <c:v>0.38073442110049216</c:v>
                </c:pt>
                <c:pt idx="35">
                  <c:v>0.245009887818917</c:v>
                </c:pt>
                <c:pt idx="36">
                  <c:v>0.2607713748690588</c:v>
                </c:pt>
                <c:pt idx="37">
                  <c:v>0.15929117296222664</c:v>
                </c:pt>
                <c:pt idx="38">
                  <c:v>0.1512943281514545</c:v>
                </c:pt>
                <c:pt idx="39">
                  <c:v>0.17386773851400536</c:v>
                </c:pt>
                <c:pt idx="40">
                  <c:v>0.1534925925925926</c:v>
                </c:pt>
                <c:pt idx="41">
                  <c:v>0.18757080895352893</c:v>
                </c:pt>
                <c:pt idx="42">
                  <c:v>0.18740966140811227</c:v>
                </c:pt>
                <c:pt idx="43">
                  <c:v>0.21922408782496453</c:v>
                </c:pt>
                <c:pt idx="44">
                  <c:v>0.1981355057495372</c:v>
                </c:pt>
                <c:pt idx="45">
                  <c:v>0.22055291247703074</c:v>
                </c:pt>
                <c:pt idx="46">
                  <c:v>0.19088289882073864</c:v>
                </c:pt>
                <c:pt idx="47">
                  <c:v>0.13319199315158395</c:v>
                </c:pt>
                <c:pt idx="48">
                  <c:v>0.20366222645453316</c:v>
                </c:pt>
                <c:pt idx="49">
                  <c:v>0.30908586844557806</c:v>
                </c:pt>
                <c:pt idx="50">
                  <c:v>0.3009038553921989</c:v>
                </c:pt>
                <c:pt idx="51">
                  <c:v>0.3161836538112051</c:v>
                </c:pt>
                <c:pt idx="52">
                  <c:v>-0.023129305713818566</c:v>
                </c:pt>
                <c:pt idx="53">
                  <c:v>-0.15655272520630603</c:v>
                </c:pt>
                <c:pt idx="54">
                  <c:v>0.526755050646063</c:v>
                </c:pt>
              </c:numCache>
            </c:numRef>
          </c:xVal>
          <c:yVal>
            <c:numRef>
              <c:f>Sheet1!$B$187:$B$241</c:f>
              <c:numCache>
                <c:formatCode>General</c:formatCode>
                <c:ptCount val="55"/>
                <c:pt idx="0">
                  <c:v>0.41729912480433884</c:v>
                </c:pt>
                <c:pt idx="1">
                  <c:v>0.5114210149650502</c:v>
                </c:pt>
                <c:pt idx="2">
                  <c:v>0.5303624664041575</c:v>
                </c:pt>
                <c:pt idx="3">
                  <c:v>0.549171051871618</c:v>
                </c:pt>
                <c:pt idx="4">
                  <c:v>0.5482234427963174</c:v>
                </c:pt>
                <c:pt idx="5">
                  <c:v>0.5235815996593165</c:v>
                </c:pt>
                <c:pt idx="6">
                  <c:v>0.5142478937931196</c:v>
                </c:pt>
                <c:pt idx="7">
                  <c:v>0.5377244933633948</c:v>
                </c:pt>
                <c:pt idx="8">
                  <c:v>0.47994047351335556</c:v>
                </c:pt>
                <c:pt idx="9">
                  <c:v>0.4880256991260543</c:v>
                </c:pt>
                <c:pt idx="10">
                  <c:v>0.5239817399000442</c:v>
                </c:pt>
                <c:pt idx="11">
                  <c:v>0.5754936728356661</c:v>
                </c:pt>
                <c:pt idx="12">
                  <c:v>0.6085739619374889</c:v>
                </c:pt>
                <c:pt idx="13">
                  <c:v>0.5809416993665786</c:v>
                </c:pt>
                <c:pt idx="14">
                  <c:v>0.5876094108368788</c:v>
                </c:pt>
                <c:pt idx="15">
                  <c:v>0.6017254441391119</c:v>
                </c:pt>
                <c:pt idx="16">
                  <c:v>0.6008818068804955</c:v>
                </c:pt>
                <c:pt idx="17">
                  <c:v>0.6061774703106529</c:v>
                </c:pt>
                <c:pt idx="18">
                  <c:v>0.5956021192904585</c:v>
                </c:pt>
                <c:pt idx="19">
                  <c:v>0.5962901148620519</c:v>
                </c:pt>
                <c:pt idx="20">
                  <c:v>0.622092490602834</c:v>
                </c:pt>
                <c:pt idx="21">
                  <c:v>0.5613887745113609</c:v>
                </c:pt>
                <c:pt idx="22">
                  <c:v>0.6071400755418468</c:v>
                </c:pt>
                <c:pt idx="23">
                  <c:v>0.626542539077402</c:v>
                </c:pt>
                <c:pt idx="24">
                  <c:v>0.6157022640986947</c:v>
                </c:pt>
                <c:pt idx="25">
                  <c:v>0.6052708695020299</c:v>
                </c:pt>
                <c:pt idx="26">
                  <c:v>0.5809504655040794</c:v>
                </c:pt>
                <c:pt idx="27">
                  <c:v>0.6064179973876102</c:v>
                </c:pt>
                <c:pt idx="28">
                  <c:v>0.6020335619186399</c:v>
                </c:pt>
                <c:pt idx="29">
                  <c:v>0.5479435707452942</c:v>
                </c:pt>
                <c:pt idx="30">
                  <c:v>0.5249330045484385</c:v>
                </c:pt>
                <c:pt idx="31">
                  <c:v>0.55980231184889</c:v>
                </c:pt>
                <c:pt idx="32">
                  <c:v>0.5698786914494989</c:v>
                </c:pt>
                <c:pt idx="33">
                  <c:v>0.5641805982196593</c:v>
                </c:pt>
                <c:pt idx="34">
                  <c:v>0.4618073837573386</c:v>
                </c:pt>
                <c:pt idx="35">
                  <c:v>0.5552415869126098</c:v>
                </c:pt>
                <c:pt idx="36">
                  <c:v>0.5443912126474287</c:v>
                </c:pt>
                <c:pt idx="37">
                  <c:v>0.6142512561631434</c:v>
                </c:pt>
                <c:pt idx="38">
                  <c:v>0.6197563686478609</c:v>
                </c:pt>
                <c:pt idx="39">
                  <c:v>0.6042165943806231</c:v>
                </c:pt>
                <c:pt idx="40">
                  <c:v>0.6182430601735839</c:v>
                </c:pt>
                <c:pt idx="41">
                  <c:v>0.5947832558651667</c:v>
                </c:pt>
                <c:pt idx="42">
                  <c:v>0.5948941915385662</c:v>
                </c:pt>
                <c:pt idx="43">
                  <c:v>0.5729928041531793</c:v>
                </c:pt>
                <c:pt idx="44">
                  <c:v>0.5875104069347215</c:v>
                </c:pt>
                <c:pt idx="45">
                  <c:v>0.5720780272186269</c:v>
                </c:pt>
                <c:pt idx="46">
                  <c:v>0.5925031781957937</c:v>
                </c:pt>
                <c:pt idx="47">
                  <c:v>0.6322182073815682</c:v>
                </c:pt>
                <c:pt idx="48">
                  <c:v>0.5837057539906458</c:v>
                </c:pt>
                <c:pt idx="49">
                  <c:v>0.5111310046435648</c:v>
                </c:pt>
                <c:pt idx="50">
                  <c:v>0.5167635889034974</c:v>
                </c:pt>
                <c:pt idx="51">
                  <c:v>0.5062448141828565</c:v>
                </c:pt>
                <c:pt idx="52">
                  <c:v>0.7398314416476583</c:v>
                </c:pt>
                <c:pt idx="53">
                  <c:v>0.8316815337505308</c:v>
                </c:pt>
                <c:pt idx="54">
                  <c:v>0.36128523911664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Photoderm</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30830039525692"/>
          <c:min val="0.134351145038167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221.2308</c:v>
                </c:pt>
                <c:pt idx="1">
                  <c:v>1306.4615</c:v>
                </c:pt>
                <c:pt idx="2">
                  <c:v>1226.1053</c:v>
                </c:pt>
                <c:pt idx="3">
                  <c:v>1433.4667</c:v>
                </c:pt>
                <c:pt idx="4">
                  <c:v>1199.75</c:v>
                </c:pt>
                <c:pt idx="5">
                  <c:v>1065.6842</c:v>
                </c:pt>
                <c:pt idx="6">
                  <c:v>1004.1111</c:v>
                </c:pt>
                <c:pt idx="7">
                  <c:v>986.8889</c:v>
                </c:pt>
                <c:pt idx="8">
                  <c:v>1080.0</c:v>
                </c:pt>
                <c:pt idx="9">
                  <c:v>1320.8333</c:v>
                </c:pt>
                <c:pt idx="10">
                  <c:v>1122.875</c:v>
                </c:pt>
                <c:pt idx="11">
                  <c:v>1215.68</c:v>
                </c:pt>
                <c:pt idx="12">
                  <c:v>1271.7419</c:v>
                </c:pt>
                <c:pt idx="13">
                  <c:v>1123.1667</c:v>
                </c:pt>
                <c:pt idx="14">
                  <c:v>1143.7188</c:v>
                </c:pt>
                <c:pt idx="15">
                  <c:v>1357.963</c:v>
                </c:pt>
                <c:pt idx="16">
                  <c:v>1311.2857</c:v>
                </c:pt>
                <c:pt idx="17">
                  <c:v>1397.0</c:v>
                </c:pt>
                <c:pt idx="18">
                  <c:v>1119.0833</c:v>
                </c:pt>
                <c:pt idx="19">
                  <c:v>1090.625</c:v>
                </c:pt>
                <c:pt idx="20">
                  <c:v>1388.3846</c:v>
                </c:pt>
                <c:pt idx="21">
                  <c:v>1322.0</c:v>
                </c:pt>
                <c:pt idx="22">
                  <c:v>1488.0</c:v>
                </c:pt>
                <c:pt idx="23">
                  <c:v>1369.25</c:v>
                </c:pt>
                <c:pt idx="24">
                  <c:v>1364.8</c:v>
                </c:pt>
                <c:pt idx="25">
                  <c:v>1138.8</c:v>
                </c:pt>
                <c:pt idx="26">
                  <c:v>1015.0</c:v>
                </c:pt>
                <c:pt idx="27">
                  <c:v>1360.3333</c:v>
                </c:pt>
                <c:pt idx="28">
                  <c:v>1318.8333</c:v>
                </c:pt>
                <c:pt idx="29">
                  <c:v>1288.5333</c:v>
                </c:pt>
                <c:pt idx="30">
                  <c:v>1505.2857</c:v>
                </c:pt>
                <c:pt idx="31">
                  <c:v>1446.0</c:v>
                </c:pt>
                <c:pt idx="32">
                  <c:v>1382.5</c:v>
                </c:pt>
                <c:pt idx="33">
                  <c:v>1086.6154</c:v>
                </c:pt>
                <c:pt idx="34">
                  <c:v>1070.1765</c:v>
                </c:pt>
                <c:pt idx="35">
                  <c:v>1287.9231</c:v>
                </c:pt>
                <c:pt idx="36">
                  <c:v>909.1364</c:v>
                </c:pt>
                <c:pt idx="37">
                  <c:v>842.4211</c:v>
                </c:pt>
                <c:pt idx="38">
                  <c:v>964.1875</c:v>
                </c:pt>
                <c:pt idx="39">
                  <c:v>1020.6154</c:v>
                </c:pt>
                <c:pt idx="40">
                  <c:v>999.7368</c:v>
                </c:pt>
                <c:pt idx="41">
                  <c:v>833.6923</c:v>
                </c:pt>
                <c:pt idx="42">
                  <c:v>1163.0667</c:v>
                </c:pt>
                <c:pt idx="43">
                  <c:v>877.4286</c:v>
                </c:pt>
                <c:pt idx="44">
                  <c:v>1212.7895</c:v>
                </c:pt>
                <c:pt idx="45">
                  <c:v>1202.75</c:v>
                </c:pt>
                <c:pt idx="46">
                  <c:v>1160.2609</c:v>
                </c:pt>
                <c:pt idx="47">
                  <c:v>1132.75</c:v>
                </c:pt>
                <c:pt idx="48">
                  <c:v>1295.6765</c:v>
                </c:pt>
                <c:pt idx="49">
                  <c:v>850.1715</c:v>
                </c:pt>
                <c:pt idx="50">
                  <c:v>873.0363</c:v>
                </c:pt>
                <c:pt idx="51">
                  <c:v>893.0</c:v>
                </c:pt>
                <c:pt idx="52">
                  <c:v>896.3559</c:v>
                </c:pt>
                <c:pt idx="53">
                  <c:v>899.5078</c:v>
                </c:pt>
                <c:pt idx="54">
                  <c:v>904.866</c:v>
                </c:pt>
                <c:pt idx="55">
                  <c:v>924.6821</c:v>
                </c:pt>
                <c:pt idx="56">
                  <c:v>905.1771</c:v>
                </c:pt>
                <c:pt idx="57">
                  <c:v>853.4464</c:v>
                </c:pt>
                <c:pt idx="58">
                  <c:v>882.2286</c:v>
                </c:pt>
                <c:pt idx="59">
                  <c:v>801.8815</c:v>
                </c:pt>
                <c:pt idx="60">
                  <c:v>788.3243</c:v>
                </c:pt>
                <c:pt idx="61">
                  <c:v>943.5</c:v>
                </c:pt>
                <c:pt idx="62">
                  <c:v>920.412</c:v>
                </c:pt>
                <c:pt idx="63">
                  <c:v>934.9346</c:v>
                </c:pt>
                <c:pt idx="64">
                  <c:v>944.2944</c:v>
                </c:pt>
                <c:pt idx="65">
                  <c:v>937.94</c:v>
                </c:pt>
                <c:pt idx="66">
                  <c:v>923.1921</c:v>
                </c:pt>
                <c:pt idx="67">
                  <c:v>939.3614</c:v>
                </c:pt>
                <c:pt idx="68">
                  <c:v>956.5417</c:v>
                </c:pt>
                <c:pt idx="69">
                  <c:v>973.6047</c:v>
                </c:pt>
                <c:pt idx="70">
                  <c:v>900.8939</c:v>
                </c:pt>
                <c:pt idx="71">
                  <c:v>826.9674</c:v>
                </c:pt>
                <c:pt idx="72">
                  <c:v>782.1481</c:v>
                </c:pt>
                <c:pt idx="73">
                  <c:v>629.7083</c:v>
                </c:pt>
                <c:pt idx="74">
                  <c:v>384.9185</c:v>
                </c:pt>
                <c:pt idx="75">
                  <c:v>669.2985</c:v>
                </c:pt>
                <c:pt idx="76">
                  <c:v>686.1525</c:v>
                </c:pt>
                <c:pt idx="77">
                  <c:v>805.6444</c:v>
                </c:pt>
                <c:pt idx="78">
                  <c:v>946.7917</c:v>
                </c:pt>
                <c:pt idx="79">
                  <c:v>971.6923</c:v>
                </c:pt>
                <c:pt idx="80">
                  <c:v>848.4242</c:v>
                </c:pt>
                <c:pt idx="81">
                  <c:v>1063.6071</c:v>
                </c:pt>
                <c:pt idx="82">
                  <c:v>1207.8947</c:v>
                </c:pt>
                <c:pt idx="83">
                  <c:v>1178.9333</c:v>
                </c:pt>
                <c:pt idx="84">
                  <c:v>1088.5385</c:v>
                </c:pt>
                <c:pt idx="85">
                  <c:v>1121.75</c:v>
                </c:pt>
                <c:pt idx="86">
                  <c:v>1074.75</c:v>
                </c:pt>
                <c:pt idx="87">
                  <c:v>1109.9167</c:v>
                </c:pt>
                <c:pt idx="88">
                  <c:v>1188.303</c:v>
                </c:pt>
                <c:pt idx="89">
                  <c:v>1251.7143</c:v>
                </c:pt>
                <c:pt idx="90">
                  <c:v>1222.2778</c:v>
                </c:pt>
                <c:pt idx="91">
                  <c:v>1281.4545</c:v>
                </c:pt>
                <c:pt idx="92">
                  <c:v>1093.4412</c:v>
                </c:pt>
                <c:pt idx="93">
                  <c:v>1010.25</c:v>
                </c:pt>
                <c:pt idx="94">
                  <c:v>1149.9333</c:v>
                </c:pt>
                <c:pt idx="95">
                  <c:v>1146.1923</c:v>
                </c:pt>
                <c:pt idx="96">
                  <c:v>1099.8667</c:v>
                </c:pt>
                <c:pt idx="97">
                  <c:v>1006.2558</c:v>
                </c:pt>
                <c:pt idx="98">
                  <c:v>965.5</c:v>
                </c:pt>
                <c:pt idx="99">
                  <c:v>798.9923</c:v>
                </c:pt>
                <c:pt idx="100">
                  <c:v>812.8403</c:v>
                </c:pt>
                <c:pt idx="101">
                  <c:v>817.0282</c:v>
                </c:pt>
                <c:pt idx="102">
                  <c:v>1070.5789</c:v>
                </c:pt>
                <c:pt idx="103">
                  <c:v>1102.0513</c:v>
                </c:pt>
                <c:pt idx="104">
                  <c:v>1075.7333</c:v>
                </c:pt>
              </c:numCache>
            </c:numRef>
          </c:xVal>
          <c:yVal>
            <c:numRef>
              <c:f>Sheet1!$B$2:$B$106</c:f>
              <c:numCache>
                <c:formatCode>General</c:formatCode>
                <c:ptCount val="105"/>
                <c:pt idx="0">
                  <c:v>0.3170731707317073</c:v>
                </c:pt>
                <c:pt idx="1">
                  <c:v>0.22033898305084745</c:v>
                </c:pt>
                <c:pt idx="2">
                  <c:v>0.34545454545454546</c:v>
                </c:pt>
                <c:pt idx="3">
                  <c:v>0.30612244897959184</c:v>
                </c:pt>
                <c:pt idx="4">
                  <c:v>0.43243243243243246</c:v>
                </c:pt>
                <c:pt idx="5">
                  <c:v>0.4418604651162791</c:v>
                </c:pt>
                <c:pt idx="6">
                  <c:v>0.5217391304347826</c:v>
                </c:pt>
                <c:pt idx="7">
                  <c:v>0.391304347826087</c:v>
                </c:pt>
                <c:pt idx="8">
                  <c:v>0.5675675675675675</c:v>
                </c:pt>
                <c:pt idx="9">
                  <c:v>0.46153846153846156</c:v>
                </c:pt>
                <c:pt idx="10">
                  <c:v>0.5405405405405406</c:v>
                </c:pt>
                <c:pt idx="11">
                  <c:v>0.4032258064516129</c:v>
                </c:pt>
                <c:pt idx="12">
                  <c:v>0.4626865671641791</c:v>
                </c:pt>
                <c:pt idx="13">
                  <c:v>0.6666666666666666</c:v>
                </c:pt>
                <c:pt idx="14">
                  <c:v>0.5925925925925926</c:v>
                </c:pt>
                <c:pt idx="15">
                  <c:v>0.54</c:v>
                </c:pt>
                <c:pt idx="16">
                  <c:v>0.5</c:v>
                </c:pt>
                <c:pt idx="17">
                  <c:v>0.36363636363636365</c:v>
                </c:pt>
                <c:pt idx="18">
                  <c:v>0.5714285714285714</c:v>
                </c:pt>
                <c:pt idx="19">
                  <c:v>0.47058823529411764</c:v>
                </c:pt>
                <c:pt idx="20">
                  <c:v>0.38235294117647056</c:v>
                </c:pt>
                <c:pt idx="21">
                  <c:v>0.35</c:v>
                </c:pt>
                <c:pt idx="22">
                  <c:v>0.4166666666666667</c:v>
                </c:pt>
                <c:pt idx="23">
                  <c:v>0.6666666666666666</c:v>
                </c:pt>
                <c:pt idx="24">
                  <c:v>0.5</c:v>
                </c:pt>
                <c:pt idx="25">
                  <c:v>0.5263157894736842</c:v>
                </c:pt>
                <c:pt idx="26">
                  <c:v>0.5</c:v>
                </c:pt>
                <c:pt idx="27">
                  <c:v>0.6428571428571429</c:v>
                </c:pt>
                <c:pt idx="28">
                  <c:v>0.46153846153846156</c:v>
                </c:pt>
                <c:pt idx="29">
                  <c:v>0.40540540540540543</c:v>
                </c:pt>
                <c:pt idx="30">
                  <c:v>0.35</c:v>
                </c:pt>
                <c:pt idx="31">
                  <c:v>0.3333333333333333</c:v>
                </c:pt>
                <c:pt idx="32">
                  <c:v>0.35294117647058826</c:v>
                </c:pt>
                <c:pt idx="33">
                  <c:v>0.41935483870967744</c:v>
                </c:pt>
                <c:pt idx="34">
                  <c:v>0.4146341463414634</c:v>
                </c:pt>
                <c:pt idx="35">
                  <c:v>0.41935483870967744</c:v>
                </c:pt>
                <c:pt idx="36">
                  <c:v>0.5238095238095238</c:v>
                </c:pt>
                <c:pt idx="37">
                  <c:v>0.6129032258064516</c:v>
                </c:pt>
                <c:pt idx="38">
                  <c:v>0.5925925925925926</c:v>
                </c:pt>
                <c:pt idx="39">
                  <c:v>0.52</c:v>
                </c:pt>
                <c:pt idx="40">
                  <c:v>0.4634146341463415</c:v>
                </c:pt>
                <c:pt idx="41">
                  <c:v>0.3170731707317073</c:v>
                </c:pt>
                <c:pt idx="42">
                  <c:v>0.375</c:v>
                </c:pt>
                <c:pt idx="43">
                  <c:v>0.2978723404255319</c:v>
                </c:pt>
                <c:pt idx="44">
                  <c:v>0.40425531914893614</c:v>
                </c:pt>
                <c:pt idx="45">
                  <c:v>0.425531914893617</c:v>
                </c:pt>
                <c:pt idx="46">
                  <c:v>0.48936170212765956</c:v>
                </c:pt>
                <c:pt idx="47">
                  <c:v>0.5454545454545454</c:v>
                </c:pt>
                <c:pt idx="48">
                  <c:v>0.4788732394366197</c:v>
                </c:pt>
                <c:pt idx="49">
                  <c:v>0.9525691699604744</c:v>
                </c:pt>
                <c:pt idx="50">
                  <c:v>0.9220055710306406</c:v>
                </c:pt>
                <c:pt idx="51">
                  <c:v>0.8661710037174721</c:v>
                </c:pt>
                <c:pt idx="52">
                  <c:v>0.8651026392961877</c:v>
                </c:pt>
                <c:pt idx="53">
                  <c:v>0.8242811501597445</c:v>
                </c:pt>
                <c:pt idx="54">
                  <c:v>0.825531914893617</c:v>
                </c:pt>
                <c:pt idx="55">
                  <c:v>0.8398058252427184</c:v>
                </c:pt>
                <c:pt idx="56">
                  <c:v>0.8205128205128205</c:v>
                </c:pt>
                <c:pt idx="57">
                  <c:v>0.8566176470588235</c:v>
                </c:pt>
                <c:pt idx="58">
                  <c:v>0.8333333333333334</c:v>
                </c:pt>
                <c:pt idx="59">
                  <c:v>0.857397504456328</c:v>
                </c:pt>
                <c:pt idx="60">
                  <c:v>0.8696581196581197</c:v>
                </c:pt>
                <c:pt idx="61">
                  <c:v>0.7920792079207921</c:v>
                </c:pt>
                <c:pt idx="62">
                  <c:v>0.7766666666666666</c:v>
                </c:pt>
                <c:pt idx="63">
                  <c:v>0.7926829268292683</c:v>
                </c:pt>
                <c:pt idx="64">
                  <c:v>0.7649006622516556</c:v>
                </c:pt>
                <c:pt idx="65">
                  <c:v>0.796812749003984</c:v>
                </c:pt>
                <c:pt idx="66">
                  <c:v>0.8120567375886525</c:v>
                </c:pt>
                <c:pt idx="67">
                  <c:v>0.7312775330396476</c:v>
                </c:pt>
                <c:pt idx="68">
                  <c:v>0.6741573033707865</c:v>
                </c:pt>
                <c:pt idx="69">
                  <c:v>0.7962962962962963</c:v>
                </c:pt>
                <c:pt idx="70">
                  <c:v>0.66</c:v>
                </c:pt>
                <c:pt idx="71">
                  <c:v>0.7479674796747967</c:v>
                </c:pt>
                <c:pt idx="72">
                  <c:v>0.7714285714285715</c:v>
                </c:pt>
                <c:pt idx="73">
                  <c:v>0.75</c:v>
                </c:pt>
                <c:pt idx="74">
                  <c:v>0.8518518518518519</c:v>
                </c:pt>
                <c:pt idx="75">
                  <c:v>0.7282608695652174</c:v>
                </c:pt>
                <c:pt idx="76">
                  <c:v>0.7283950617283951</c:v>
                </c:pt>
                <c:pt idx="77">
                  <c:v>0.6428571428571429</c:v>
                </c:pt>
                <c:pt idx="78">
                  <c:v>0.48</c:v>
                </c:pt>
                <c:pt idx="79">
                  <c:v>0.5531914893617021</c:v>
                </c:pt>
                <c:pt idx="80">
                  <c:v>0.6</c:v>
                </c:pt>
                <c:pt idx="81">
                  <c:v>0.36363636363636365</c:v>
                </c:pt>
                <c:pt idx="82">
                  <c:v>0.2835820895522388</c:v>
                </c:pt>
                <c:pt idx="83">
                  <c:v>0.32608695652173914</c:v>
                </c:pt>
                <c:pt idx="84">
                  <c:v>0.3333333333333333</c:v>
                </c:pt>
                <c:pt idx="85">
                  <c:v>0.46153846153846156</c:v>
                </c:pt>
                <c:pt idx="86">
                  <c:v>0.43243243243243246</c:v>
                </c:pt>
                <c:pt idx="87">
                  <c:v>0.391304347826087</c:v>
                </c:pt>
                <c:pt idx="88">
                  <c:v>0.39759036144578314</c:v>
                </c:pt>
                <c:pt idx="89">
                  <c:v>0.4745762711864407</c:v>
                </c:pt>
                <c:pt idx="90">
                  <c:v>0.3870967741935484</c:v>
                </c:pt>
                <c:pt idx="91">
                  <c:v>0.16793893129770993</c:v>
                </c:pt>
                <c:pt idx="92">
                  <c:v>0.2518518518518518</c:v>
                </c:pt>
                <c:pt idx="93">
                  <c:v>0.3669724770642202</c:v>
                </c:pt>
                <c:pt idx="94">
                  <c:v>0.2830188679245283</c:v>
                </c:pt>
                <c:pt idx="95">
                  <c:v>0.26804123711340205</c:v>
                </c:pt>
                <c:pt idx="96">
                  <c:v>0.3225806451612903</c:v>
                </c:pt>
                <c:pt idx="97">
                  <c:v>0.39814814814814814</c:v>
                </c:pt>
                <c:pt idx="98">
                  <c:v>0.49206349206349204</c:v>
                </c:pt>
                <c:pt idx="99">
                  <c:v>0.6161137440758294</c:v>
                </c:pt>
                <c:pt idx="100">
                  <c:v>0.6153846153846154</c:v>
                </c:pt>
                <c:pt idx="101">
                  <c:v>0.5</c:v>
                </c:pt>
                <c:pt idx="102">
                  <c:v>0.5277777777777778</c:v>
                </c:pt>
                <c:pt idx="103">
                  <c:v>0.4642857142857143</c:v>
                </c:pt>
                <c:pt idx="104">
                  <c:v>0.37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46.4</c:v>
                </c:pt>
                <c:pt idx="1">
                  <c:v>722.3429</c:v>
                </c:pt>
                <c:pt idx="2">
                  <c:v>714.0294</c:v>
                </c:pt>
                <c:pt idx="3">
                  <c:v>714.6445</c:v>
                </c:pt>
                <c:pt idx="4">
                  <c:v>718.6726</c:v>
                </c:pt>
                <c:pt idx="5">
                  <c:v>740.0825</c:v>
                </c:pt>
                <c:pt idx="6">
                  <c:v>734.0179</c:v>
                </c:pt>
                <c:pt idx="7">
                  <c:v>790.6828</c:v>
                </c:pt>
                <c:pt idx="8">
                  <c:v>826.6566</c:v>
                </c:pt>
                <c:pt idx="9">
                  <c:v>791.1261</c:v>
                </c:pt>
                <c:pt idx="10">
                  <c:v>795.3985</c:v>
                </c:pt>
                <c:pt idx="11">
                  <c:v>560.2388</c:v>
                </c:pt>
                <c:pt idx="12">
                  <c:v>494.4346</c:v>
                </c:pt>
                <c:pt idx="13">
                  <c:v>516.2227</c:v>
                </c:pt>
                <c:pt idx="14">
                  <c:v>487.8639</c:v>
                </c:pt>
                <c:pt idx="15">
                  <c:v>488.5828</c:v>
                </c:pt>
                <c:pt idx="16">
                  <c:v>483.5468</c:v>
                </c:pt>
                <c:pt idx="17">
                  <c:v>472.0561</c:v>
                </c:pt>
                <c:pt idx="18">
                  <c:v>516.2468</c:v>
                </c:pt>
                <c:pt idx="19">
                  <c:v>489.7234</c:v>
                </c:pt>
                <c:pt idx="20">
                  <c:v>496.4493</c:v>
                </c:pt>
                <c:pt idx="21">
                  <c:v>600.6429</c:v>
                </c:pt>
                <c:pt idx="22">
                  <c:v>416.25</c:v>
                </c:pt>
                <c:pt idx="23">
                  <c:v>419.8722</c:v>
                </c:pt>
                <c:pt idx="24">
                  <c:v>409.0541</c:v>
                </c:pt>
                <c:pt idx="25">
                  <c:v>443.6582</c:v>
                </c:pt>
                <c:pt idx="26">
                  <c:v>500.8611</c:v>
                </c:pt>
                <c:pt idx="27">
                  <c:v>487.6552</c:v>
                </c:pt>
                <c:pt idx="28">
                  <c:v>525.3333</c:v>
                </c:pt>
                <c:pt idx="29">
                  <c:v>521.8621</c:v>
                </c:pt>
                <c:pt idx="30">
                  <c:v>760.5714</c:v>
                </c:pt>
                <c:pt idx="31">
                  <c:v>621.8667</c:v>
                </c:pt>
                <c:pt idx="32">
                  <c:v>561.3333</c:v>
                </c:pt>
                <c:pt idx="33">
                  <c:v>638.3778</c:v>
                </c:pt>
                <c:pt idx="34">
                  <c:v>1035.8333</c:v>
                </c:pt>
                <c:pt idx="35">
                  <c:v>701.9756</c:v>
                </c:pt>
                <c:pt idx="36">
                  <c:v>635.9655</c:v>
                </c:pt>
                <c:pt idx="37">
                  <c:v>400.6173</c:v>
                </c:pt>
                <c:pt idx="38">
                  <c:v>393.1837</c:v>
                </c:pt>
                <c:pt idx="39">
                  <c:v>464.4141</c:v>
                </c:pt>
                <c:pt idx="40">
                  <c:v>435.1515</c:v>
                </c:pt>
                <c:pt idx="41">
                  <c:v>463.6029</c:v>
                </c:pt>
                <c:pt idx="42">
                  <c:v>592.7955</c:v>
                </c:pt>
                <c:pt idx="43">
                  <c:v>497.1887</c:v>
                </c:pt>
                <c:pt idx="44">
                  <c:v>492.4615</c:v>
                </c:pt>
                <c:pt idx="45">
                  <c:v>557.5455</c:v>
                </c:pt>
                <c:pt idx="46">
                  <c:v>472.7667</c:v>
                </c:pt>
                <c:pt idx="47">
                  <c:v>377.0847</c:v>
                </c:pt>
                <c:pt idx="48">
                  <c:v>586.6889</c:v>
                </c:pt>
                <c:pt idx="49">
                  <c:v>787.6667</c:v>
                </c:pt>
                <c:pt idx="50">
                  <c:v>717.2545</c:v>
                </c:pt>
                <c:pt idx="51">
                  <c:v>740.2941</c:v>
                </c:pt>
              </c:numCache>
            </c:numRef>
          </c:xVal>
          <c:yVal>
            <c:numRef>
              <c:f>Sheet1!$B$109:$B$160</c:f>
              <c:numCache>
                <c:formatCode>General</c:formatCode>
                <c:ptCount val="52"/>
                <c:pt idx="0">
                  <c:v>0.3431372549019608</c:v>
                </c:pt>
                <c:pt idx="1">
                  <c:v>0.6763285024154589</c:v>
                </c:pt>
                <c:pt idx="2">
                  <c:v>0.8067796610169492</c:v>
                </c:pt>
                <c:pt idx="3">
                  <c:v>0.810126582278481</c:v>
                </c:pt>
                <c:pt idx="4">
                  <c:v>0.795774647887324</c:v>
                </c:pt>
                <c:pt idx="5">
                  <c:v>0.7854251012145749</c:v>
                </c:pt>
                <c:pt idx="6">
                  <c:v>0.7813953488372093</c:v>
                </c:pt>
                <c:pt idx="7">
                  <c:v>0.8192090395480226</c:v>
                </c:pt>
                <c:pt idx="8">
                  <c:v>0.678082191780822</c:v>
                </c:pt>
                <c:pt idx="9">
                  <c:v>0.7025316455696202</c:v>
                </c:pt>
                <c:pt idx="10">
                  <c:v>0.7228260869565217</c:v>
                </c:pt>
                <c:pt idx="11">
                  <c:v>0.8271604938271605</c:v>
                </c:pt>
                <c:pt idx="12">
                  <c:v>0.8575757575757575</c:v>
                </c:pt>
                <c:pt idx="13">
                  <c:v>0.8091872791519434</c:v>
                </c:pt>
                <c:pt idx="14">
                  <c:v>0.8377192982456141</c:v>
                </c:pt>
                <c:pt idx="15">
                  <c:v>0.7905759162303665</c:v>
                </c:pt>
                <c:pt idx="16">
                  <c:v>0.7897727272727273</c:v>
                </c:pt>
                <c:pt idx="17">
                  <c:v>0.7925925925925926</c:v>
                </c:pt>
                <c:pt idx="18">
                  <c:v>0.6814159292035398</c:v>
                </c:pt>
                <c:pt idx="19">
                  <c:v>0.6619718309859155</c:v>
                </c:pt>
                <c:pt idx="20">
                  <c:v>0.6699029126213593</c:v>
                </c:pt>
                <c:pt idx="21">
                  <c:v>0.4745762711864407</c:v>
                </c:pt>
                <c:pt idx="22">
                  <c:v>0.7769784172661871</c:v>
                </c:pt>
                <c:pt idx="23">
                  <c:v>0.8209876543209876</c:v>
                </c:pt>
                <c:pt idx="24">
                  <c:v>0.7816901408450704</c:v>
                </c:pt>
                <c:pt idx="25">
                  <c:v>0.7745098039215687</c:v>
                </c:pt>
                <c:pt idx="26">
                  <c:v>0.5142857142857142</c:v>
                </c:pt>
                <c:pt idx="27">
                  <c:v>0.4461538461538462</c:v>
                </c:pt>
                <c:pt idx="28">
                  <c:v>0.43373493975903615</c:v>
                </c:pt>
                <c:pt idx="29">
                  <c:v>0.3918918918918919</c:v>
                </c:pt>
                <c:pt idx="30">
                  <c:v>0.3</c:v>
                </c:pt>
                <c:pt idx="31">
                  <c:v>0.28846153846153844</c:v>
                </c:pt>
                <c:pt idx="32">
                  <c:v>0.42857142857142855</c:v>
                </c:pt>
                <c:pt idx="33">
                  <c:v>0.45918367346938777</c:v>
                </c:pt>
                <c:pt idx="34">
                  <c:v>0.3181818181818182</c:v>
                </c:pt>
                <c:pt idx="35">
                  <c:v>0.3416666666666667</c:v>
                </c:pt>
                <c:pt idx="36">
                  <c:v>0.32954545454545453</c:v>
                </c:pt>
                <c:pt idx="37">
                  <c:v>0.5664335664335665</c:v>
                </c:pt>
                <c:pt idx="38">
                  <c:v>0.6712328767123288</c:v>
                </c:pt>
                <c:pt idx="39">
                  <c:v>0.5689655172413793</c:v>
                </c:pt>
                <c:pt idx="40">
                  <c:v>0.46808510638297873</c:v>
                </c:pt>
                <c:pt idx="41">
                  <c:v>0.44155844155844154</c:v>
                </c:pt>
                <c:pt idx="42">
                  <c:v>0.36065573770491804</c:v>
                </c:pt>
                <c:pt idx="43">
                  <c:v>0.3333333333333333</c:v>
                </c:pt>
                <c:pt idx="44">
                  <c:v>0.26804123711340205</c:v>
                </c:pt>
                <c:pt idx="45">
                  <c:v>0.3089887640449438</c:v>
                </c:pt>
                <c:pt idx="46">
                  <c:v>0.3821656050955414</c:v>
                </c:pt>
                <c:pt idx="47">
                  <c:v>0.4125874125874126</c:v>
                </c:pt>
                <c:pt idx="48">
                  <c:v>0.3543307086614173</c:v>
                </c:pt>
                <c:pt idx="49">
                  <c:v>0.28846153846153844</c:v>
                </c:pt>
                <c:pt idx="50">
                  <c:v>0.2631578947368421</c:v>
                </c:pt>
                <c:pt idx="51">
                  <c:v>0.246376811594202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71.4851689566521</c:v>
                </c:pt>
              </c:numCache>
            </c:numRef>
          </c:xVal>
          <c:yVal>
            <c:numRef>
              <c:f>Sheet1!$B$163:$B$164</c:f>
              <c:numCache>
                <c:formatCode>General</c:formatCode>
                <c:ptCount val="2"/>
                <c:pt idx="0">
                  <c:v>0.8316815337505308</c:v>
                </c:pt>
                <c:pt idx="1">
                  <c:v>0.831681533750530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71.4851689566521</c:v>
                </c:pt>
                <c:pt idx="1">
                  <c:v>-471.4851689566521</c:v>
                </c:pt>
              </c:numCache>
            </c:numRef>
          </c:xVal>
          <c:yVal>
            <c:numRef>
              <c:f>Sheet1!$B$167:$B$168</c:f>
              <c:numCache>
                <c:formatCode>General</c:formatCode>
                <c:ptCount val="2"/>
                <c:pt idx="0">
                  <c:v>0.831681533750530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2.72730028165822</c:v>
                </c:pt>
              </c:numCache>
            </c:numRef>
          </c:xVal>
          <c:yVal>
            <c:numRef>
              <c:f>Sheet1!$B$171:$B$172</c:f>
              <c:numCache>
                <c:formatCode>General</c:formatCode>
                <c:ptCount val="2"/>
                <c:pt idx="0">
                  <c:v>0.7398314416476583</c:v>
                </c:pt>
                <c:pt idx="1">
                  <c:v>0.739831441647658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2.72730028165822</c:v>
                </c:pt>
                <c:pt idx="1">
                  <c:v>-102.72730028165822</c:v>
                </c:pt>
              </c:numCache>
            </c:numRef>
          </c:xVal>
          <c:yVal>
            <c:numRef>
              <c:f>Sheet1!$B$175:$B$176</c:f>
              <c:numCache>
                <c:formatCode>General</c:formatCode>
                <c:ptCount val="2"/>
                <c:pt idx="0">
                  <c:v>0.739831441647658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17.052240973527</c:v>
                </c:pt>
              </c:numCache>
            </c:numRef>
          </c:xVal>
          <c:yVal>
            <c:numRef>
              <c:f>Sheet1!$B$179:$B$180</c:f>
              <c:numCache>
                <c:formatCode>General</c:formatCode>
                <c:ptCount val="2"/>
                <c:pt idx="0">
                  <c:v>0.3612852391166425</c:v>
                </c:pt>
                <c:pt idx="1">
                  <c:v>0.361285239116642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17.052240973527</c:v>
                </c:pt>
                <c:pt idx="1">
                  <c:v>1417.052240973527</c:v>
                </c:pt>
              </c:numCache>
            </c:numRef>
          </c:xVal>
          <c:yVal>
            <c:numRef>
              <c:f>Sheet1!$B$183:$B$184</c:f>
              <c:numCache>
                <c:formatCode>General</c:formatCode>
                <c:ptCount val="2"/>
                <c:pt idx="0">
                  <c:v>0.36128523911664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46.4</c:v>
                </c:pt>
                <c:pt idx="1">
                  <c:v>722.3429</c:v>
                </c:pt>
                <c:pt idx="2">
                  <c:v>714.0294</c:v>
                </c:pt>
                <c:pt idx="3">
                  <c:v>714.6445</c:v>
                </c:pt>
                <c:pt idx="4">
                  <c:v>718.6726</c:v>
                </c:pt>
                <c:pt idx="5">
                  <c:v>740.0825</c:v>
                </c:pt>
                <c:pt idx="6">
                  <c:v>734.0179</c:v>
                </c:pt>
                <c:pt idx="7">
                  <c:v>790.6828</c:v>
                </c:pt>
                <c:pt idx="8">
                  <c:v>826.6566</c:v>
                </c:pt>
                <c:pt idx="9">
                  <c:v>791.1261</c:v>
                </c:pt>
                <c:pt idx="10">
                  <c:v>795.3985</c:v>
                </c:pt>
                <c:pt idx="11">
                  <c:v>560.2388</c:v>
                </c:pt>
                <c:pt idx="12">
                  <c:v>494.4346</c:v>
                </c:pt>
                <c:pt idx="13">
                  <c:v>516.2227</c:v>
                </c:pt>
                <c:pt idx="14">
                  <c:v>487.8639</c:v>
                </c:pt>
                <c:pt idx="15">
                  <c:v>488.5828</c:v>
                </c:pt>
                <c:pt idx="16">
                  <c:v>483.5468</c:v>
                </c:pt>
                <c:pt idx="17">
                  <c:v>472.0561</c:v>
                </c:pt>
                <c:pt idx="18">
                  <c:v>516.2468</c:v>
                </c:pt>
                <c:pt idx="19">
                  <c:v>489.7234</c:v>
                </c:pt>
                <c:pt idx="20">
                  <c:v>496.4493</c:v>
                </c:pt>
                <c:pt idx="21">
                  <c:v>600.6429</c:v>
                </c:pt>
                <c:pt idx="22">
                  <c:v>416.25</c:v>
                </c:pt>
                <c:pt idx="23">
                  <c:v>419.8722</c:v>
                </c:pt>
                <c:pt idx="24">
                  <c:v>409.0541</c:v>
                </c:pt>
                <c:pt idx="25">
                  <c:v>443.6582</c:v>
                </c:pt>
                <c:pt idx="26">
                  <c:v>500.8611</c:v>
                </c:pt>
                <c:pt idx="27">
                  <c:v>487.6552</c:v>
                </c:pt>
                <c:pt idx="28">
                  <c:v>525.3333</c:v>
                </c:pt>
                <c:pt idx="29">
                  <c:v>521.8621</c:v>
                </c:pt>
                <c:pt idx="30">
                  <c:v>760.5714</c:v>
                </c:pt>
                <c:pt idx="31">
                  <c:v>621.8667</c:v>
                </c:pt>
                <c:pt idx="32">
                  <c:v>561.3333</c:v>
                </c:pt>
                <c:pt idx="33">
                  <c:v>638.3778</c:v>
                </c:pt>
                <c:pt idx="34">
                  <c:v>1035.8333</c:v>
                </c:pt>
                <c:pt idx="35">
                  <c:v>701.9756</c:v>
                </c:pt>
                <c:pt idx="36">
                  <c:v>635.9655</c:v>
                </c:pt>
                <c:pt idx="37">
                  <c:v>400.6173</c:v>
                </c:pt>
                <c:pt idx="38">
                  <c:v>393.1837</c:v>
                </c:pt>
                <c:pt idx="39">
                  <c:v>464.4141</c:v>
                </c:pt>
                <c:pt idx="40">
                  <c:v>435.1515</c:v>
                </c:pt>
                <c:pt idx="41">
                  <c:v>463.6029</c:v>
                </c:pt>
                <c:pt idx="42">
                  <c:v>592.7955</c:v>
                </c:pt>
                <c:pt idx="43">
                  <c:v>497.1887</c:v>
                </c:pt>
                <c:pt idx="44">
                  <c:v>492.4615</c:v>
                </c:pt>
                <c:pt idx="45">
                  <c:v>557.5455</c:v>
                </c:pt>
                <c:pt idx="46">
                  <c:v>472.7667</c:v>
                </c:pt>
                <c:pt idx="47">
                  <c:v>377.0847</c:v>
                </c:pt>
                <c:pt idx="48">
                  <c:v>586.6889</c:v>
                </c:pt>
                <c:pt idx="49">
                  <c:v>787.6667</c:v>
                </c:pt>
                <c:pt idx="50">
                  <c:v>717.2545</c:v>
                </c:pt>
                <c:pt idx="51">
                  <c:v>740.2941</c:v>
                </c:pt>
                <c:pt idx="52">
                  <c:v>-102.72730028165822</c:v>
                </c:pt>
                <c:pt idx="53">
                  <c:v>-471.4851689566521</c:v>
                </c:pt>
                <c:pt idx="54">
                  <c:v>1417.052240973527</c:v>
                </c:pt>
              </c:numCache>
            </c:numRef>
          </c:xVal>
          <c:yVal>
            <c:numRef>
              <c:f>Sheet1!$B$187:$B$241</c:f>
              <c:numCache>
                <c:formatCode>General</c:formatCode>
                <c:ptCount val="55"/>
                <c:pt idx="0">
                  <c:v>0.45360718086633767</c:v>
                </c:pt>
                <c:pt idx="1">
                  <c:v>0.5343232197905754</c:v>
                </c:pt>
                <c:pt idx="2">
                  <c:v>0.5363939437142192</c:v>
                </c:pt>
                <c:pt idx="3">
                  <c:v>0.536240734802758</c:v>
                </c:pt>
                <c:pt idx="4">
                  <c:v>0.5352374169418294</c:v>
                </c:pt>
                <c:pt idx="5">
                  <c:v>0.5299046458907892</c:v>
                </c:pt>
                <c:pt idx="6">
                  <c:v>0.5314152145210087</c:v>
                </c:pt>
                <c:pt idx="7">
                  <c:v>0.5173011393347591</c:v>
                </c:pt>
                <c:pt idx="8">
                  <c:v>0.5083407967252228</c:v>
                </c:pt>
                <c:pt idx="9">
                  <c:v>0.5171907223124037</c:v>
                </c:pt>
                <c:pt idx="10">
                  <c:v>0.5161265542855347</c:v>
                </c:pt>
                <c:pt idx="11">
                  <c:v>0.5747000572225542</c:v>
                </c:pt>
                <c:pt idx="12">
                  <c:v>0.5910905463325855</c:v>
                </c:pt>
                <c:pt idx="13">
                  <c:v>0.5856635733463891</c:v>
                </c:pt>
                <c:pt idx="14">
                  <c:v>0.5927271741890945</c:v>
                </c:pt>
                <c:pt idx="15">
                  <c:v>0.5925481108067997</c:v>
                </c:pt>
                <c:pt idx="16">
                  <c:v>0.5938024760776808</c:v>
                </c:pt>
                <c:pt idx="17">
                  <c:v>0.5966645759621356</c:v>
                </c:pt>
                <c:pt idx="18">
                  <c:v>0.5856575705260896</c:v>
                </c:pt>
                <c:pt idx="19">
                  <c:v>0.5922640105232478</c:v>
                </c:pt>
                <c:pt idx="20">
                  <c:v>0.5905887255003289</c:v>
                </c:pt>
                <c:pt idx="21">
                  <c:v>0.5646362169046016</c:v>
                </c:pt>
                <c:pt idx="22">
                  <c:v>0.6105647415187918</c:v>
                </c:pt>
                <c:pt idx="23">
                  <c:v>0.6096625251001687</c:v>
                </c:pt>
                <c:pt idx="24">
                  <c:v>0.6123570939915348</c:v>
                </c:pt>
                <c:pt idx="25">
                  <c:v>0.6037379158203476</c:v>
                </c:pt>
                <c:pt idx="26">
                  <c:v>0.5894898357660014</c:v>
                </c:pt>
                <c:pt idx="27">
                  <c:v>0.59277915711841</c:v>
                </c:pt>
                <c:pt idx="28">
                  <c:v>0.5833943080094371</c:v>
                </c:pt>
                <c:pt idx="29">
                  <c:v>0.5842589133963082</c:v>
                </c:pt>
                <c:pt idx="30">
                  <c:v>0.5248012772254681</c:v>
                </c:pt>
                <c:pt idx="31">
                  <c:v>0.5593497995820982</c:v>
                </c:pt>
                <c:pt idx="32">
                  <c:v>0.5744274395122724</c:v>
                </c:pt>
                <c:pt idx="33">
                  <c:v>0.5552372200697777</c:v>
                </c:pt>
                <c:pt idx="34">
                  <c:v>0.45623913112603187</c:v>
                </c:pt>
                <c:pt idx="35">
                  <c:v>0.5393963003667505</c:v>
                </c:pt>
                <c:pt idx="36">
                  <c:v>0.5558380749829919</c:v>
                </c:pt>
                <c:pt idx="37">
                  <c:v>0.6144585294397814</c:v>
                </c:pt>
                <c:pt idx="38">
                  <c:v>0.6163100881525737</c:v>
                </c:pt>
                <c:pt idx="39">
                  <c:v>0.5985680428803393</c:v>
                </c:pt>
                <c:pt idx="40">
                  <c:v>0.6058567619382595</c:v>
                </c:pt>
                <c:pt idx="41">
                  <c:v>0.5987700963171421</c:v>
                </c:pt>
                <c:pt idx="42">
                  <c:v>0.5665908447891753</c:v>
                </c:pt>
                <c:pt idx="43">
                  <c:v>0.5904045559845844</c:v>
                </c:pt>
                <c:pt idx="44">
                  <c:v>0.5915820054501343</c:v>
                </c:pt>
                <c:pt idx="45">
                  <c:v>0.5753709035259824</c:v>
                </c:pt>
                <c:pt idx="46">
                  <c:v>0.5964875799411887</c:v>
                </c:pt>
                <c:pt idx="47">
                  <c:v>0.6203200219285697</c:v>
                </c:pt>
                <c:pt idx="48">
                  <c:v>0.5681118747659749</c:v>
                </c:pt>
                <c:pt idx="49">
                  <c:v>0.5180523885590451</c:v>
                </c:pt>
                <c:pt idx="50">
                  <c:v>0.5355906368367135</c:v>
                </c:pt>
                <c:pt idx="51">
                  <c:v>0.5298519406304003</c:v>
                </c:pt>
                <c:pt idx="52">
                  <c:v>0.7398314416476583</c:v>
                </c:pt>
                <c:pt idx="53">
                  <c:v>0.8316815337505308</c:v>
                </c:pt>
                <c:pt idx="54">
                  <c:v>0.36128523911664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30830039525692"/>
          <c:min val="0.134351145038167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7</c:f>
              <c:numCache>
                <c:formatCode>General</c:formatCode>
                <c:ptCount val="56"/>
                <c:pt idx="0">
                  <c:v>0.0</c:v>
                </c:pt>
                <c:pt idx="1">
                  <c:v>0.4283789499509323</c:v>
                </c:pt>
                <c:pt idx="2">
                  <c:v>0.4339398497168628</c:v>
                </c:pt>
                <c:pt idx="3">
                  <c:v>0.4119850622788069</c:v>
                </c:pt>
                <c:pt idx="4">
                  <c:v>0.43260587882965906</c:v>
                </c:pt>
                <c:pt idx="5">
                  <c:v>0.44576052218356477</c:v>
                </c:pt>
                <c:pt idx="6">
                  <c:v>0.4555565151532992</c:v>
                </c:pt>
                <c:pt idx="7">
                  <c:v>0.4443677466863034</c:v>
                </c:pt>
                <c:pt idx="8">
                  <c:v>0.36742929716930367</c:v>
                </c:pt>
                <c:pt idx="9">
                  <c:v>0.4367900782255669</c:v>
                </c:pt>
                <c:pt idx="10">
                  <c:v>0.3706358231138435</c:v>
                </c:pt>
                <c:pt idx="11">
                  <c:v>0.3821715186038056</c:v>
                </c:pt>
                <c:pt idx="12">
                  <c:v>0.4917721592222213</c:v>
                </c:pt>
                <c:pt idx="13">
                  <c:v>0.41980660413223153</c:v>
                </c:pt>
                <c:pt idx="14">
                  <c:v>0.4480214444292112</c:v>
                </c:pt>
                <c:pt idx="15">
                  <c:v>0.4688830472226075</c:v>
                </c:pt>
                <c:pt idx="16">
                  <c:v>0.45624087946298275</c:v>
                </c:pt>
                <c:pt idx="17">
                  <c:v>0.4627645304393594</c:v>
                </c:pt>
                <c:pt idx="18">
                  <c:v>0.4505570536636269</c:v>
                </c:pt>
                <c:pt idx="19">
                  <c:v>0.5125293907922764</c:v>
                </c:pt>
                <c:pt idx="20">
                  <c:v>0.4906045351473923</c:v>
                </c:pt>
                <c:pt idx="21">
                  <c:v>0.44538574230940575</c:v>
                </c:pt>
                <c:pt idx="22">
                  <c:v>0.4042861891957957</c:v>
                </c:pt>
                <c:pt idx="23">
                  <c:v>0.38960087170386976</c:v>
                </c:pt>
                <c:pt idx="24">
                  <c:v>0.27903143823545273</c:v>
                </c:pt>
                <c:pt idx="25">
                  <c:v>0.18101284823782657</c:v>
                </c:pt>
                <c:pt idx="26">
                  <c:v>0.322208428159491</c:v>
                </c:pt>
                <c:pt idx="27">
                  <c:v>0.31290342631081614</c:v>
                </c:pt>
                <c:pt idx="28">
                  <c:v>0.40987981811822316</c:v>
                </c:pt>
                <c:pt idx="29">
                  <c:v>0.4680797975275104</c:v>
                </c:pt>
                <c:pt idx="30">
                  <c:v>0.5057385410433474</c:v>
                </c:pt>
                <c:pt idx="31">
                  <c:v>0.39974754994346023</c:v>
                </c:pt>
                <c:pt idx="32">
                  <c:v>0.5187803728491988</c:v>
                </c:pt>
                <c:pt idx="33">
                  <c:v>0.5625965067536097</c:v>
                </c:pt>
                <c:pt idx="34">
                  <c:v>0.5727933793582738</c:v>
                </c:pt>
                <c:pt idx="35">
                  <c:v>0.5596742846859817</c:v>
                </c:pt>
                <c:pt idx="36">
                  <c:v>0.5228733249117361</c:v>
                </c:pt>
                <c:pt idx="37">
                  <c:v>0.5189969545418065</c:v>
                </c:pt>
                <c:pt idx="38">
                  <c:v>0.5268821190795486</c:v>
                </c:pt>
                <c:pt idx="39">
                  <c:v>0.5949817077258753</c:v>
                </c:pt>
                <c:pt idx="40">
                  <c:v>0.6141373519643905</c:v>
                </c:pt>
                <c:pt idx="41">
                  <c:v>0.5832821606045515</c:v>
                </c:pt>
                <c:pt idx="42">
                  <c:v>0.6199886303159321</c:v>
                </c:pt>
                <c:pt idx="43">
                  <c:v>0.5529144303863525</c:v>
                </c:pt>
                <c:pt idx="44">
                  <c:v>0.4756076031307009</c:v>
                </c:pt>
                <c:pt idx="45">
                  <c:v>0.5073334673947868</c:v>
                </c:pt>
                <c:pt idx="46">
                  <c:v>0.45659472695276615</c:v>
                </c:pt>
                <c:pt idx="47">
                  <c:v>0.4426022937625755</c:v>
                </c:pt>
                <c:pt idx="48">
                  <c:v>0.40624518690541944</c:v>
                </c:pt>
                <c:pt idx="49">
                  <c:v>0.4684524335436784</c:v>
                </c:pt>
                <c:pt idx="50">
                  <c:v>0.38368001565852133</c:v>
                </c:pt>
                <c:pt idx="51">
                  <c:v>0.3953756475852248</c:v>
                </c:pt>
                <c:pt idx="52">
                  <c:v>0.43082358868092013</c:v>
                </c:pt>
                <c:pt idx="53">
                  <c:v>0.4622268070667608</c:v>
                </c:pt>
                <c:pt idx="54">
                  <c:v>0.501572940534742</c:v>
                </c:pt>
                <c:pt idx="55">
                  <c:v>0.4708928542897222</c:v>
                </c:pt>
              </c:numCache>
            </c:numRef>
          </c:xVal>
          <c:yVal>
            <c:numRef>
              <c:f>Sheet1!$B$2:$B$57</c:f>
              <c:numCache>
                <c:formatCode>General</c:formatCode>
                <c:ptCount val="56"/>
                <c:pt idx="0">
                  <c:v>0.9525691699604744</c:v>
                </c:pt>
                <c:pt idx="1">
                  <c:v>0.9220055710306406</c:v>
                </c:pt>
                <c:pt idx="2">
                  <c:v>0.8661710037174721</c:v>
                </c:pt>
                <c:pt idx="3">
                  <c:v>0.8651026392961877</c:v>
                </c:pt>
                <c:pt idx="4">
                  <c:v>0.8242811501597445</c:v>
                </c:pt>
                <c:pt idx="5">
                  <c:v>0.825531914893617</c:v>
                </c:pt>
                <c:pt idx="6">
                  <c:v>0.8398058252427184</c:v>
                </c:pt>
                <c:pt idx="7">
                  <c:v>0.8205128205128205</c:v>
                </c:pt>
                <c:pt idx="8">
                  <c:v>0.8566176470588235</c:v>
                </c:pt>
                <c:pt idx="9">
                  <c:v>0.8333333333333334</c:v>
                </c:pt>
                <c:pt idx="10">
                  <c:v>0.857397504456328</c:v>
                </c:pt>
                <c:pt idx="11">
                  <c:v>0.8696581196581197</c:v>
                </c:pt>
                <c:pt idx="12">
                  <c:v>0.7920792079207921</c:v>
                </c:pt>
                <c:pt idx="13">
                  <c:v>0.7766666666666666</c:v>
                </c:pt>
                <c:pt idx="14">
                  <c:v>0.7926829268292683</c:v>
                </c:pt>
                <c:pt idx="15">
                  <c:v>0.7649006622516556</c:v>
                </c:pt>
                <c:pt idx="16">
                  <c:v>0.796812749003984</c:v>
                </c:pt>
                <c:pt idx="17">
                  <c:v>0.8120567375886525</c:v>
                </c:pt>
                <c:pt idx="18">
                  <c:v>0.7312775330396476</c:v>
                </c:pt>
                <c:pt idx="19">
                  <c:v>0.6741573033707865</c:v>
                </c:pt>
                <c:pt idx="20">
                  <c:v>0.7962962962962963</c:v>
                </c:pt>
                <c:pt idx="21">
                  <c:v>0.66</c:v>
                </c:pt>
                <c:pt idx="22">
                  <c:v>0.7479674796747967</c:v>
                </c:pt>
                <c:pt idx="23">
                  <c:v>0.7714285714285715</c:v>
                </c:pt>
                <c:pt idx="24">
                  <c:v>0.75</c:v>
                </c:pt>
                <c:pt idx="25">
                  <c:v>0.8518518518518519</c:v>
                </c:pt>
                <c:pt idx="26">
                  <c:v>0.7282608695652174</c:v>
                </c:pt>
                <c:pt idx="27">
                  <c:v>0.7283950617283951</c:v>
                </c:pt>
                <c:pt idx="28">
                  <c:v>0.6428571428571429</c:v>
                </c:pt>
                <c:pt idx="29">
                  <c:v>0.48</c:v>
                </c:pt>
                <c:pt idx="30">
                  <c:v>0.5531914893617021</c:v>
                </c:pt>
                <c:pt idx="31">
                  <c:v>0.6</c:v>
                </c:pt>
                <c:pt idx="32">
                  <c:v>0.36363636363636365</c:v>
                </c:pt>
                <c:pt idx="33">
                  <c:v>0.2835820895522388</c:v>
                </c:pt>
                <c:pt idx="34">
                  <c:v>0.32608695652173914</c:v>
                </c:pt>
                <c:pt idx="35">
                  <c:v>0.3333333333333333</c:v>
                </c:pt>
                <c:pt idx="36">
                  <c:v>0.46153846153846156</c:v>
                </c:pt>
                <c:pt idx="37">
                  <c:v>0.43243243243243246</c:v>
                </c:pt>
                <c:pt idx="38">
                  <c:v>0.391304347826087</c:v>
                </c:pt>
                <c:pt idx="39">
                  <c:v>0.39759036144578314</c:v>
                </c:pt>
                <c:pt idx="40">
                  <c:v>0.4745762711864407</c:v>
                </c:pt>
                <c:pt idx="41">
                  <c:v>0.3870967741935484</c:v>
                </c:pt>
                <c:pt idx="42">
                  <c:v>0.16793893129770993</c:v>
                </c:pt>
                <c:pt idx="43">
                  <c:v>0.2518518518518518</c:v>
                </c:pt>
                <c:pt idx="44">
                  <c:v>0.3669724770642202</c:v>
                </c:pt>
                <c:pt idx="45">
                  <c:v>0.2830188679245283</c:v>
                </c:pt>
                <c:pt idx="46">
                  <c:v>0.26804123711340205</c:v>
                </c:pt>
                <c:pt idx="47">
                  <c:v>0.3225806451612903</c:v>
                </c:pt>
                <c:pt idx="48">
                  <c:v>0.39814814814814814</c:v>
                </c:pt>
                <c:pt idx="49">
                  <c:v>0.49206349206349204</c:v>
                </c:pt>
                <c:pt idx="50">
                  <c:v>0.6161137440758294</c:v>
                </c:pt>
                <c:pt idx="51">
                  <c:v>0.6153846153846154</c:v>
                </c:pt>
                <c:pt idx="52">
                  <c:v>0.5</c:v>
                </c:pt>
                <c:pt idx="53">
                  <c:v>0.5277777777777778</c:v>
                </c:pt>
                <c:pt idx="54">
                  <c:v>0.4642857142857143</c:v>
                </c:pt>
                <c:pt idx="55">
                  <c:v>0.375</c:v>
                </c:pt>
              </c:numCache>
            </c:numRef>
          </c:yVal>
          <c:smooth val="0"/>
          <c:extLst>
            <c:ext xmlns:c16="http://schemas.microsoft.com/office/drawing/2014/chart" uri="{C3380CC4-5D6E-409C-BE32-E72D297353CC}">
              <c16:uniqueId val="{00000000-096C-4121-9522-6AB7243CCAAE}"/>
            </c:ext>
          </c:extLst>
        </c:ser>
        <c:ser>
          <c:idx val="1"/>
          <c:order val="1"/>
          <c:tx>
            <c:strRef>
              <c:f>Sheet1!$B$5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0:$A$111</c:f>
              <c:numCache>
                <c:formatCode>General</c:formatCode>
                <c:ptCount val="52"/>
                <c:pt idx="0">
                  <c:v>0.5341864252427182</c:v>
                </c:pt>
                <c:pt idx="1">
                  <c:v>0.36054050411779387</c:v>
                </c:pt>
                <c:pt idx="2">
                  <c:v>0.33739611143838655</c:v>
                </c:pt>
                <c:pt idx="3">
                  <c:v>0.35774438837828637</c:v>
                </c:pt>
                <c:pt idx="4">
                  <c:v>0.31969421708185053</c:v>
                </c:pt>
                <c:pt idx="5">
                  <c:v>0.35639907739527893</c:v>
                </c:pt>
                <c:pt idx="6">
                  <c:v>0.333265788876277</c:v>
                </c:pt>
                <c:pt idx="7">
                  <c:v>0.3464433922536517</c:v>
                </c:pt>
                <c:pt idx="8">
                  <c:v>0.40639062280236066</c:v>
                </c:pt>
                <c:pt idx="9">
                  <c:v>0.3392478987993139</c:v>
                </c:pt>
                <c:pt idx="10">
                  <c:v>0.3747166241407565</c:v>
                </c:pt>
                <c:pt idx="11">
                  <c:v>0.2957575821565263</c:v>
                </c:pt>
                <c:pt idx="12">
                  <c:v>0.24297038420885578</c:v>
                </c:pt>
                <c:pt idx="13">
                  <c:v>0.24703411782597717</c:v>
                </c:pt>
                <c:pt idx="14">
                  <c:v>0.23636053040340219</c:v>
                </c:pt>
                <c:pt idx="15">
                  <c:v>0.2248632179675994</c:v>
                </c:pt>
                <c:pt idx="16">
                  <c:v>0.24732043882828206</c:v>
                </c:pt>
                <c:pt idx="17">
                  <c:v>0.17201121306949124</c:v>
                </c:pt>
                <c:pt idx="18">
                  <c:v>0.24250601277715142</c:v>
                </c:pt>
                <c:pt idx="19">
                  <c:v>0.22494041453752084</c:v>
                </c:pt>
                <c:pt idx="20">
                  <c:v>0.20086150671629713</c:v>
                </c:pt>
                <c:pt idx="21">
                  <c:v>0.2902638090175422</c:v>
                </c:pt>
                <c:pt idx="22">
                  <c:v>0.2192982456140351</c:v>
                </c:pt>
                <c:pt idx="23">
                  <c:v>0.2453185832512678</c:v>
                </c:pt>
                <c:pt idx="24">
                  <c:v>0.19463319278932287</c:v>
                </c:pt>
                <c:pt idx="25">
                  <c:v>0.205969452181987</c:v>
                </c:pt>
                <c:pt idx="26">
                  <c:v>0.27000598382749325</c:v>
                </c:pt>
                <c:pt idx="27">
                  <c:v>0.24118319509403052</c:v>
                </c:pt>
                <c:pt idx="28">
                  <c:v>0.3002265701102904</c:v>
                </c:pt>
                <c:pt idx="29">
                  <c:v>0.27354636554497525</c:v>
                </c:pt>
                <c:pt idx="30">
                  <c:v>0.42196338189904314</c:v>
                </c:pt>
                <c:pt idx="31">
                  <c:v>0.36634268041237117</c:v>
                </c:pt>
                <c:pt idx="32">
                  <c:v>0.3364989009733431</c:v>
                </c:pt>
                <c:pt idx="33">
                  <c:v>0.3165669029694651</c:v>
                </c:pt>
                <c:pt idx="34">
                  <c:v>0.5354154732888577</c:v>
                </c:pt>
                <c:pt idx="35">
                  <c:v>0.3407454021071418</c:v>
                </c:pt>
                <c:pt idx="36">
                  <c:v>0.3246429958455694</c:v>
                </c:pt>
                <c:pt idx="37">
                  <c:v>0.18928291991495394</c:v>
                </c:pt>
                <c:pt idx="38">
                  <c:v>0.18840996814388217</c:v>
                </c:pt>
                <c:pt idx="39">
                  <c:v>0.2263077611215753</c:v>
                </c:pt>
                <c:pt idx="40">
                  <c:v>0.20515852997336223</c:v>
                </c:pt>
                <c:pt idx="41">
                  <c:v>0.2169703241584695</c:v>
                </c:pt>
                <c:pt idx="42">
                  <c:v>0.2796205188679245</c:v>
                </c:pt>
                <c:pt idx="43">
                  <c:v>0.23397349818141705</c:v>
                </c:pt>
                <c:pt idx="44">
                  <c:v>0.22304844415737007</c:v>
                </c:pt>
                <c:pt idx="45">
                  <c:v>0.26361977961955607</c:v>
                </c:pt>
                <c:pt idx="46">
                  <c:v>0.22616669908553905</c:v>
                </c:pt>
                <c:pt idx="47">
                  <c:v>0.172430843098028</c:v>
                </c:pt>
                <c:pt idx="48">
                  <c:v>0.2727190999160445</c:v>
                </c:pt>
                <c:pt idx="49">
                  <c:v>0.3647065534616338</c:v>
                </c:pt>
                <c:pt idx="50">
                  <c:v>0.33877392899106834</c:v>
                </c:pt>
                <c:pt idx="51">
                  <c:v>0.38386313228382596</c:v>
                </c:pt>
              </c:numCache>
            </c:numRef>
          </c:xVal>
          <c:yVal>
            <c:numRef>
              <c:f>Sheet1!$B$60:$B$111</c:f>
              <c:numCache>
                <c:formatCode>General</c:formatCode>
                <c:ptCount val="52"/>
                <c:pt idx="0">
                  <c:v>0.3431372549019608</c:v>
                </c:pt>
                <c:pt idx="1">
                  <c:v>0.6763285024154589</c:v>
                </c:pt>
                <c:pt idx="2">
                  <c:v>0.8067796610169492</c:v>
                </c:pt>
                <c:pt idx="3">
                  <c:v>0.810126582278481</c:v>
                </c:pt>
                <c:pt idx="4">
                  <c:v>0.795774647887324</c:v>
                </c:pt>
                <c:pt idx="5">
                  <c:v>0.7854251012145749</c:v>
                </c:pt>
                <c:pt idx="6">
                  <c:v>0.7813953488372093</c:v>
                </c:pt>
                <c:pt idx="7">
                  <c:v>0.8192090395480226</c:v>
                </c:pt>
                <c:pt idx="8">
                  <c:v>0.678082191780822</c:v>
                </c:pt>
                <c:pt idx="9">
                  <c:v>0.7025316455696202</c:v>
                </c:pt>
                <c:pt idx="10">
                  <c:v>0.7228260869565217</c:v>
                </c:pt>
                <c:pt idx="11">
                  <c:v>0.8271604938271605</c:v>
                </c:pt>
                <c:pt idx="12">
                  <c:v>0.8575757575757575</c:v>
                </c:pt>
                <c:pt idx="13">
                  <c:v>0.8091872791519434</c:v>
                </c:pt>
                <c:pt idx="14">
                  <c:v>0.8377192982456141</c:v>
                </c:pt>
                <c:pt idx="15">
                  <c:v>0.7905759162303665</c:v>
                </c:pt>
                <c:pt idx="16">
                  <c:v>0.7897727272727273</c:v>
                </c:pt>
                <c:pt idx="17">
                  <c:v>0.7925925925925926</c:v>
                </c:pt>
                <c:pt idx="18">
                  <c:v>0.6814159292035398</c:v>
                </c:pt>
                <c:pt idx="19">
                  <c:v>0.6619718309859155</c:v>
                </c:pt>
                <c:pt idx="20">
                  <c:v>0.6699029126213593</c:v>
                </c:pt>
                <c:pt idx="21">
                  <c:v>0.4745762711864407</c:v>
                </c:pt>
                <c:pt idx="22">
                  <c:v>0.7769784172661871</c:v>
                </c:pt>
                <c:pt idx="23">
                  <c:v>0.8209876543209876</c:v>
                </c:pt>
                <c:pt idx="24">
                  <c:v>0.7816901408450704</c:v>
                </c:pt>
                <c:pt idx="25">
                  <c:v>0.7745098039215687</c:v>
                </c:pt>
                <c:pt idx="26">
                  <c:v>0.5142857142857142</c:v>
                </c:pt>
                <c:pt idx="27">
                  <c:v>0.4461538461538462</c:v>
                </c:pt>
                <c:pt idx="28">
                  <c:v>0.43373493975903615</c:v>
                </c:pt>
                <c:pt idx="29">
                  <c:v>0.3918918918918919</c:v>
                </c:pt>
                <c:pt idx="30">
                  <c:v>0.3</c:v>
                </c:pt>
                <c:pt idx="31">
                  <c:v>0.28846153846153844</c:v>
                </c:pt>
                <c:pt idx="32">
                  <c:v>0.42857142857142855</c:v>
                </c:pt>
                <c:pt idx="33">
                  <c:v>0.45918367346938777</c:v>
                </c:pt>
                <c:pt idx="34">
                  <c:v>0.3181818181818182</c:v>
                </c:pt>
                <c:pt idx="35">
                  <c:v>0.3416666666666667</c:v>
                </c:pt>
                <c:pt idx="36">
                  <c:v>0.32954545454545453</c:v>
                </c:pt>
                <c:pt idx="37">
                  <c:v>0.5664335664335665</c:v>
                </c:pt>
                <c:pt idx="38">
                  <c:v>0.6712328767123288</c:v>
                </c:pt>
                <c:pt idx="39">
                  <c:v>0.5689655172413793</c:v>
                </c:pt>
                <c:pt idx="40">
                  <c:v>0.46808510638297873</c:v>
                </c:pt>
                <c:pt idx="41">
                  <c:v>0.44155844155844154</c:v>
                </c:pt>
                <c:pt idx="42">
                  <c:v>0.36065573770491804</c:v>
                </c:pt>
                <c:pt idx="43">
                  <c:v>0.3333333333333333</c:v>
                </c:pt>
                <c:pt idx="44">
                  <c:v>0.26804123711340205</c:v>
                </c:pt>
                <c:pt idx="45">
                  <c:v>0.3089887640449438</c:v>
                </c:pt>
                <c:pt idx="46">
                  <c:v>0.3821656050955414</c:v>
                </c:pt>
                <c:pt idx="47">
                  <c:v>0.4125874125874126</c:v>
                </c:pt>
                <c:pt idx="48">
                  <c:v>0.3543307086614173</c:v>
                </c:pt>
                <c:pt idx="49">
                  <c:v>0.28846153846153844</c:v>
                </c:pt>
                <c:pt idx="50">
                  <c:v>0.2631578947368421</c:v>
                </c:pt>
                <c:pt idx="51">
                  <c:v>0.2463768115942029</c:v>
                </c:pt>
              </c:numCache>
            </c:numRef>
          </c:yVal>
          <c:smooth val="0"/>
          <c:extLst>
            <c:ext xmlns:c16="http://schemas.microsoft.com/office/drawing/2014/chart" uri="{C3380CC4-5D6E-409C-BE32-E72D297353CC}">
              <c16:uniqueId val="{00000002-096C-4121-9522-6AB7243CCAAE}"/>
            </c:ext>
          </c:extLst>
        </c:ser>
        <c:ser>
          <c:idx val="2"/>
          <c:order val="2"/>
          <c:tx>
            <c:strRef>
              <c:f>Sheet1!$B$1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4:$A$115</c:f>
              <c:numCache>
                <c:formatCode>General</c:formatCode>
                <c:ptCount val="2"/>
                <c:pt idx="0">
                  <c:v>0</c:v>
                </c:pt>
                <c:pt idx="1">
                  <c:v>-0.13978782125491868</c:v>
                </c:pt>
              </c:numCache>
            </c:numRef>
          </c:xVal>
          <c:yVal>
            <c:numRef>
              <c:f>Sheet1!$B$114:$B$115</c:f>
              <c:numCache>
                <c:formatCode>General</c:formatCode>
                <c:ptCount val="2"/>
                <c:pt idx="0">
                  <c:v>0.8610822249433566</c:v>
                </c:pt>
                <c:pt idx="1">
                  <c:v>0.8610822249433566</c:v>
                </c:pt>
              </c:numCache>
            </c:numRef>
          </c:yVal>
          <c:smooth val="0"/>
          <c:extLst>
            <c:ext xmlns:c16="http://schemas.microsoft.com/office/drawing/2014/chart" uri="{C3380CC4-5D6E-409C-BE32-E72D297353CC}">
              <c16:uniqueId val="{00000005-096C-4121-9522-6AB7243CCAAE}"/>
            </c:ext>
          </c:extLst>
        </c:ser>
        <c:ser>
          <c:idx val="3"/>
          <c:order val="3"/>
          <c:tx>
            <c:strRef>
              <c:f>Sheet1!$B$1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8:$A$119</c:f>
              <c:numCache>
                <c:formatCode>General</c:formatCode>
                <c:ptCount val="2"/>
                <c:pt idx="0">
                  <c:v>-0.13978782125491868</c:v>
                </c:pt>
                <c:pt idx="1">
                  <c:v>-0.13978782125491868</c:v>
                </c:pt>
              </c:numCache>
            </c:numRef>
          </c:xVal>
          <c:yVal>
            <c:numRef>
              <c:f>Sheet1!$B$118:$B$119</c:f>
              <c:numCache>
                <c:formatCode>General</c:formatCode>
                <c:ptCount val="2"/>
                <c:pt idx="0">
                  <c:v>0.861082224943356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2:$A$123</c:f>
              <c:numCache>
                <c:formatCode>General</c:formatCode>
                <c:ptCount val="2"/>
                <c:pt idx="0">
                  <c:v>0</c:v>
                </c:pt>
                <c:pt idx="1">
                  <c:v>0.03697862715600685</c:v>
                </c:pt>
              </c:numCache>
            </c:numRef>
          </c:xVal>
          <c:yVal>
            <c:numRef>
              <c:f>Sheet1!$B$122:$B$123</c:f>
              <c:numCache>
                <c:formatCode>General</c:formatCode>
                <c:ptCount val="2"/>
                <c:pt idx="0">
                  <c:v>0.7398314416476583</c:v>
                </c:pt>
                <c:pt idx="1">
                  <c:v>0.7398314416476583</c:v>
                </c:pt>
              </c:numCache>
            </c:numRef>
          </c:yVal>
          <c:smooth val="0"/>
          <c:extLst>
            <c:ext xmlns:c16="http://schemas.microsoft.com/office/drawing/2014/chart" uri="{C3380CC4-5D6E-409C-BE32-E72D297353CC}">
              <c16:uniqueId val="{0000000D-096C-4121-9522-6AB7243CCAAE}"/>
            </c:ext>
          </c:extLst>
        </c:ser>
        <c:ser>
          <c:idx val="5"/>
          <c:order val="5"/>
          <c:tx>
            <c:strRef>
              <c:f>Sheet1!$B$1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0.03697862715600685</c:v>
                </c:pt>
                <c:pt idx="1">
                  <c:v>0.03697862715600685</c:v>
                </c:pt>
              </c:numCache>
            </c:numRef>
          </c:xVal>
          <c:yVal>
            <c:numRef>
              <c:f>Sheet1!$B$126:$B$127</c:f>
              <c:numCache>
                <c:formatCode>General</c:formatCode>
                <c:ptCount val="2"/>
                <c:pt idx="0">
                  <c:v>0.739831441647658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9</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0:$A$131</c:f>
              <c:numCache>
                <c:formatCode>General</c:formatCode>
                <c:ptCount val="2"/>
                <c:pt idx="0">
                  <c:v>0</c:v>
                </c:pt>
                <c:pt idx="1">
                  <c:v>0.5888453117419905</c:v>
                </c:pt>
              </c:numCache>
            </c:numRef>
          </c:xVal>
          <c:yVal>
            <c:numRef>
              <c:f>Sheet1!$B$130:$B$131</c:f>
              <c:numCache>
                <c:formatCode>General</c:formatCode>
                <c:ptCount val="2"/>
                <c:pt idx="0">
                  <c:v>0.3612852391166425</c:v>
                </c:pt>
                <c:pt idx="1">
                  <c:v>0.3612852391166425</c:v>
                </c:pt>
              </c:numCache>
            </c:numRef>
          </c:yVal>
          <c:smooth val="0"/>
          <c:extLst>
            <c:ext xmlns:c16="http://schemas.microsoft.com/office/drawing/2014/chart" uri="{C3380CC4-5D6E-409C-BE32-E72D297353CC}">
              <c16:uniqueId val="{00000015-096C-4121-9522-6AB7243CCAAE}"/>
            </c:ext>
          </c:extLst>
        </c:ser>
        <c:ser>
          <c:idx val="7"/>
          <c:order val="7"/>
          <c:tx>
            <c:strRef>
              <c:f>Sheet1!$B$133</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0.5888453117419905</c:v>
                </c:pt>
                <c:pt idx="1">
                  <c:v>0.5888453117419905</c:v>
                </c:pt>
              </c:numCache>
            </c:numRef>
          </c:xVal>
          <c:yVal>
            <c:numRef>
              <c:f>Sheet1!$B$134:$B$135</c:f>
              <c:numCache>
                <c:formatCode>General</c:formatCode>
                <c:ptCount val="2"/>
                <c:pt idx="0">
                  <c:v>0.36128523911664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7</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8:$A$192</c:f>
              <c:numCache>
                <c:formatCode>General</c:formatCode>
                <c:ptCount val="55"/>
                <c:pt idx="0">
                  <c:v>0.5341864252427182</c:v>
                </c:pt>
                <c:pt idx="1">
                  <c:v>0.36054050411779387</c:v>
                </c:pt>
                <c:pt idx="2">
                  <c:v>0.33739611143838655</c:v>
                </c:pt>
                <c:pt idx="3">
                  <c:v>0.35774438837828637</c:v>
                </c:pt>
                <c:pt idx="4">
                  <c:v>0.31969421708185053</c:v>
                </c:pt>
                <c:pt idx="5">
                  <c:v>0.35639907739527893</c:v>
                </c:pt>
                <c:pt idx="6">
                  <c:v>0.333265788876277</c:v>
                </c:pt>
                <c:pt idx="7">
                  <c:v>0.3464433922536517</c:v>
                </c:pt>
                <c:pt idx="8">
                  <c:v>0.40639062280236066</c:v>
                </c:pt>
                <c:pt idx="9">
                  <c:v>0.3392478987993139</c:v>
                </c:pt>
                <c:pt idx="10">
                  <c:v>0.3747166241407565</c:v>
                </c:pt>
                <c:pt idx="11">
                  <c:v>0.2957575821565263</c:v>
                </c:pt>
                <c:pt idx="12">
                  <c:v>0.24297038420885578</c:v>
                </c:pt>
                <c:pt idx="13">
                  <c:v>0.24703411782597717</c:v>
                </c:pt>
                <c:pt idx="14">
                  <c:v>0.23636053040340219</c:v>
                </c:pt>
                <c:pt idx="15">
                  <c:v>0.2248632179675994</c:v>
                </c:pt>
                <c:pt idx="16">
                  <c:v>0.24732043882828206</c:v>
                </c:pt>
                <c:pt idx="17">
                  <c:v>0.17201121306949124</c:v>
                </c:pt>
                <c:pt idx="18">
                  <c:v>0.24250601277715142</c:v>
                </c:pt>
                <c:pt idx="19">
                  <c:v>0.22494041453752084</c:v>
                </c:pt>
                <c:pt idx="20">
                  <c:v>0.20086150671629713</c:v>
                </c:pt>
                <c:pt idx="21">
                  <c:v>0.2902638090175422</c:v>
                </c:pt>
                <c:pt idx="22">
                  <c:v>0.2192982456140351</c:v>
                </c:pt>
                <c:pt idx="23">
                  <c:v>0.2453185832512678</c:v>
                </c:pt>
                <c:pt idx="24">
                  <c:v>0.19463319278932287</c:v>
                </c:pt>
                <c:pt idx="25">
                  <c:v>0.205969452181987</c:v>
                </c:pt>
                <c:pt idx="26">
                  <c:v>0.27000598382749325</c:v>
                </c:pt>
                <c:pt idx="27">
                  <c:v>0.24118319509403052</c:v>
                </c:pt>
                <c:pt idx="28">
                  <c:v>0.3002265701102904</c:v>
                </c:pt>
                <c:pt idx="29">
                  <c:v>0.27354636554497525</c:v>
                </c:pt>
                <c:pt idx="30">
                  <c:v>0.42196338189904314</c:v>
                </c:pt>
                <c:pt idx="31">
                  <c:v>0.36634268041237117</c:v>
                </c:pt>
                <c:pt idx="32">
                  <c:v>0.3364989009733431</c:v>
                </c:pt>
                <c:pt idx="33">
                  <c:v>0.3165669029694651</c:v>
                </c:pt>
                <c:pt idx="34">
                  <c:v>0.5354154732888577</c:v>
                </c:pt>
                <c:pt idx="35">
                  <c:v>0.3407454021071418</c:v>
                </c:pt>
                <c:pt idx="36">
                  <c:v>0.3246429958455694</c:v>
                </c:pt>
                <c:pt idx="37">
                  <c:v>0.18928291991495394</c:v>
                </c:pt>
                <c:pt idx="38">
                  <c:v>0.18840996814388217</c:v>
                </c:pt>
                <c:pt idx="39">
                  <c:v>0.2263077611215753</c:v>
                </c:pt>
                <c:pt idx="40">
                  <c:v>0.20515852997336223</c:v>
                </c:pt>
                <c:pt idx="41">
                  <c:v>0.2169703241584695</c:v>
                </c:pt>
                <c:pt idx="42">
                  <c:v>0.2796205188679245</c:v>
                </c:pt>
                <c:pt idx="43">
                  <c:v>0.23397349818141705</c:v>
                </c:pt>
                <c:pt idx="44">
                  <c:v>0.22304844415737007</c:v>
                </c:pt>
                <c:pt idx="45">
                  <c:v>0.26361977961955607</c:v>
                </c:pt>
                <c:pt idx="46">
                  <c:v>0.22616669908553905</c:v>
                </c:pt>
                <c:pt idx="47">
                  <c:v>0.172430843098028</c:v>
                </c:pt>
                <c:pt idx="48">
                  <c:v>0.2727190999160445</c:v>
                </c:pt>
                <c:pt idx="49">
                  <c:v>0.3647065534616338</c:v>
                </c:pt>
                <c:pt idx="50">
                  <c:v>0.33877392899106834</c:v>
                </c:pt>
                <c:pt idx="51">
                  <c:v>0.38386313228382596</c:v>
                </c:pt>
                <c:pt idx="52">
                  <c:v>0.03697862715600685</c:v>
                </c:pt>
                <c:pt idx="53">
                  <c:v>-0.13978782125491868</c:v>
                </c:pt>
                <c:pt idx="54">
                  <c:v>0.5888453117419905</c:v>
                </c:pt>
              </c:numCache>
            </c:numRef>
          </c:xVal>
          <c:yVal>
            <c:numRef>
              <c:f>Sheet1!$B$138:$B$192</c:f>
              <c:numCache>
                <c:formatCode>General</c:formatCode>
                <c:ptCount val="55"/>
                <c:pt idx="0">
                  <c:v>0.39877783378993015</c:v>
                </c:pt>
                <c:pt idx="1">
                  <c:v>0.5178881295602827</c:v>
                </c:pt>
                <c:pt idx="2">
                  <c:v>0.5337637426447164</c:v>
                </c:pt>
                <c:pt idx="3">
                  <c:v>0.5198060909531177</c:v>
                </c:pt>
                <c:pt idx="4">
                  <c:v>0.5459061405705834</c:v>
                </c:pt>
                <c:pt idx="5">
                  <c:v>0.5207288905677072</c:v>
                </c:pt>
                <c:pt idx="6">
                  <c:v>0.5365968868891234</c:v>
                </c:pt>
                <c:pt idx="7">
                  <c:v>0.5275578710247986</c:v>
                </c:pt>
                <c:pt idx="8">
                  <c:v>0.4864378014313795</c:v>
                </c:pt>
                <c:pt idx="9">
                  <c:v>0.5324935317532946</c:v>
                </c:pt>
                <c:pt idx="10">
                  <c:v>0.5081641934155556</c:v>
                </c:pt>
                <c:pt idx="11">
                  <c:v>0.5623251825338621</c:v>
                </c:pt>
                <c:pt idx="12">
                  <c:v>0.5985339153373919</c:v>
                </c:pt>
                <c:pt idx="13">
                  <c:v>0.5957464469653647</c:v>
                </c:pt>
                <c:pt idx="14">
                  <c:v>0.6030678637115663</c:v>
                </c:pt>
                <c:pt idx="15">
                  <c:v>0.610954304555791</c:v>
                </c:pt>
                <c:pt idx="16">
                  <c:v>0.5955500485757632</c:v>
                </c:pt>
                <c:pt idx="17">
                  <c:v>0.6472074908943338</c:v>
                </c:pt>
                <c:pt idx="18">
                  <c:v>0.5988524452413441</c:v>
                </c:pt>
                <c:pt idx="19">
                  <c:v>0.6109013525128277</c:v>
                </c:pt>
                <c:pt idx="20">
                  <c:v>0.6274179848289401</c:v>
                </c:pt>
                <c:pt idx="21">
                  <c:v>0.5660935690254104</c:v>
                </c:pt>
                <c:pt idx="22">
                  <c:v>0.6147715292777585</c:v>
                </c:pt>
                <c:pt idx="23">
                  <c:v>0.5969231969245583</c:v>
                </c:pt>
                <c:pt idx="24">
                  <c:v>0.6316902205900023</c:v>
                </c:pt>
                <c:pt idx="25">
                  <c:v>0.6239142521109141</c:v>
                </c:pt>
                <c:pt idx="26">
                  <c:v>0.5799891764454944</c:v>
                </c:pt>
                <c:pt idx="27">
                  <c:v>0.599759815851987</c:v>
                </c:pt>
                <c:pt idx="28">
                  <c:v>0.5592597349061921</c:v>
                </c:pt>
                <c:pt idx="29">
                  <c:v>0.5775606949080223</c:v>
                </c:pt>
                <c:pt idx="30">
                  <c:v>0.4757558577960213</c:v>
                </c:pt>
                <c:pt idx="31">
                  <c:v>0.5139081976961669</c:v>
                </c:pt>
                <c:pt idx="32">
                  <c:v>0.5343791731896279</c:v>
                </c:pt>
                <c:pt idx="33">
                  <c:v>0.5480512834364791</c:v>
                </c:pt>
                <c:pt idx="34">
                  <c:v>0.3979347833148986</c:v>
                </c:pt>
                <c:pt idx="35">
                  <c:v>0.5314663376749256</c:v>
                </c:pt>
                <c:pt idx="36">
                  <c:v>0.5425115863050414</c:v>
                </c:pt>
                <c:pt idx="37">
                  <c:v>0.6353601748301582</c:v>
                </c:pt>
                <c:pt idx="38">
                  <c:v>0.6359589654206427</c:v>
                </c:pt>
                <c:pt idx="39">
                  <c:v>0.6099634378472126</c:v>
                </c:pt>
                <c:pt idx="40">
                  <c:v>0.6244704942817081</c:v>
                </c:pt>
                <c:pt idx="41">
                  <c:v>0.6163683385279054</c:v>
                </c:pt>
                <c:pt idx="42">
                  <c:v>0.5733942037277863</c:v>
                </c:pt>
                <c:pt idx="43">
                  <c:v>0.6047052192689679</c:v>
                </c:pt>
                <c:pt idx="44">
                  <c:v>0.6121991264548161</c:v>
                </c:pt>
                <c:pt idx="45">
                  <c:v>0.5843697151136618</c:v>
                </c:pt>
                <c:pt idx="46">
                  <c:v>0.6100601976255328</c:v>
                </c:pt>
                <c:pt idx="47">
                  <c:v>0.6469196508086621</c:v>
                </c:pt>
                <c:pt idx="48">
                  <c:v>0.5781281476480823</c:v>
                </c:pt>
                <c:pt idx="49">
                  <c:v>0.5150304789669142</c:v>
                </c:pt>
                <c:pt idx="50">
                  <c:v>0.5328186455462396</c:v>
                </c:pt>
                <c:pt idx="51">
                  <c:v>0.5018902580237581</c:v>
                </c:pt>
                <c:pt idx="52">
                  <c:v>0.7398314416476583</c:v>
                </c:pt>
                <c:pt idx="53">
                  <c:v>0.8610822249433566</c:v>
                </c:pt>
                <c:pt idx="54">
                  <c:v>0.36128523911664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30830039525692"/>
          <c:min val="0.134351145038167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7</c:f>
              <c:numCache>
                <c:formatCode>General</c:formatCode>
                <c:ptCount val="56"/>
                <c:pt idx="0">
                  <c:v>850.1715</c:v>
                </c:pt>
                <c:pt idx="1">
                  <c:v>873.0363</c:v>
                </c:pt>
                <c:pt idx="2">
                  <c:v>893.0</c:v>
                </c:pt>
                <c:pt idx="3">
                  <c:v>896.3559</c:v>
                </c:pt>
                <c:pt idx="4">
                  <c:v>899.5078</c:v>
                </c:pt>
                <c:pt idx="5">
                  <c:v>904.866</c:v>
                </c:pt>
                <c:pt idx="6">
                  <c:v>924.6821</c:v>
                </c:pt>
                <c:pt idx="7">
                  <c:v>905.1771</c:v>
                </c:pt>
                <c:pt idx="8">
                  <c:v>853.4464</c:v>
                </c:pt>
                <c:pt idx="9">
                  <c:v>882.2286</c:v>
                </c:pt>
                <c:pt idx="10">
                  <c:v>801.8815</c:v>
                </c:pt>
                <c:pt idx="11">
                  <c:v>788.3243</c:v>
                </c:pt>
                <c:pt idx="12">
                  <c:v>943.5</c:v>
                </c:pt>
                <c:pt idx="13">
                  <c:v>920.412</c:v>
                </c:pt>
                <c:pt idx="14">
                  <c:v>934.9346</c:v>
                </c:pt>
                <c:pt idx="15">
                  <c:v>944.2944</c:v>
                </c:pt>
                <c:pt idx="16">
                  <c:v>937.94</c:v>
                </c:pt>
                <c:pt idx="17">
                  <c:v>923.1921</c:v>
                </c:pt>
                <c:pt idx="18">
                  <c:v>939.3614</c:v>
                </c:pt>
                <c:pt idx="19">
                  <c:v>956.5417</c:v>
                </c:pt>
                <c:pt idx="20">
                  <c:v>973.6047</c:v>
                </c:pt>
                <c:pt idx="21">
                  <c:v>900.8939</c:v>
                </c:pt>
                <c:pt idx="22">
                  <c:v>826.9674</c:v>
                </c:pt>
                <c:pt idx="23">
                  <c:v>782.1481</c:v>
                </c:pt>
                <c:pt idx="24">
                  <c:v>629.7083</c:v>
                </c:pt>
                <c:pt idx="25">
                  <c:v>384.9185</c:v>
                </c:pt>
                <c:pt idx="26">
                  <c:v>669.2985</c:v>
                </c:pt>
                <c:pt idx="27">
                  <c:v>686.1525</c:v>
                </c:pt>
                <c:pt idx="28">
                  <c:v>805.6444</c:v>
                </c:pt>
                <c:pt idx="29">
                  <c:v>946.7917</c:v>
                </c:pt>
                <c:pt idx="30">
                  <c:v>971.6923</c:v>
                </c:pt>
                <c:pt idx="31">
                  <c:v>848.4242</c:v>
                </c:pt>
                <c:pt idx="32">
                  <c:v>1063.6071</c:v>
                </c:pt>
                <c:pt idx="33">
                  <c:v>1207.8947</c:v>
                </c:pt>
                <c:pt idx="34">
                  <c:v>1178.9333</c:v>
                </c:pt>
                <c:pt idx="35">
                  <c:v>1088.5385</c:v>
                </c:pt>
                <c:pt idx="36">
                  <c:v>1121.75</c:v>
                </c:pt>
                <c:pt idx="37">
                  <c:v>1074.75</c:v>
                </c:pt>
                <c:pt idx="38">
                  <c:v>1109.9167</c:v>
                </c:pt>
                <c:pt idx="39">
                  <c:v>1188.303</c:v>
                </c:pt>
                <c:pt idx="40">
                  <c:v>1251.7143</c:v>
                </c:pt>
                <c:pt idx="41">
                  <c:v>1222.2778</c:v>
                </c:pt>
                <c:pt idx="42">
                  <c:v>1281.4545</c:v>
                </c:pt>
                <c:pt idx="43">
                  <c:v>1093.4412</c:v>
                </c:pt>
                <c:pt idx="44">
                  <c:v>1010.25</c:v>
                </c:pt>
                <c:pt idx="45">
                  <c:v>1149.9333</c:v>
                </c:pt>
                <c:pt idx="46">
                  <c:v>1146.1923</c:v>
                </c:pt>
                <c:pt idx="47">
                  <c:v>1099.8667</c:v>
                </c:pt>
                <c:pt idx="48">
                  <c:v>1006.2558</c:v>
                </c:pt>
                <c:pt idx="49">
                  <c:v>965.5</c:v>
                </c:pt>
                <c:pt idx="50">
                  <c:v>798.9923</c:v>
                </c:pt>
                <c:pt idx="51">
                  <c:v>812.8403</c:v>
                </c:pt>
                <c:pt idx="52">
                  <c:v>817.0282</c:v>
                </c:pt>
                <c:pt idx="53">
                  <c:v>1070.5789</c:v>
                </c:pt>
                <c:pt idx="54">
                  <c:v>1102.0513</c:v>
                </c:pt>
                <c:pt idx="55">
                  <c:v>1075.7333</c:v>
                </c:pt>
              </c:numCache>
            </c:numRef>
          </c:xVal>
          <c:yVal>
            <c:numRef>
              <c:f>Sheet1!$B$2:$B$57</c:f>
              <c:numCache>
                <c:formatCode>General</c:formatCode>
                <c:ptCount val="56"/>
                <c:pt idx="0">
                  <c:v>0.9525691699604744</c:v>
                </c:pt>
                <c:pt idx="1">
                  <c:v>0.9220055710306406</c:v>
                </c:pt>
                <c:pt idx="2">
                  <c:v>0.8661710037174721</c:v>
                </c:pt>
                <c:pt idx="3">
                  <c:v>0.8651026392961877</c:v>
                </c:pt>
                <c:pt idx="4">
                  <c:v>0.8242811501597445</c:v>
                </c:pt>
                <c:pt idx="5">
                  <c:v>0.825531914893617</c:v>
                </c:pt>
                <c:pt idx="6">
                  <c:v>0.8398058252427184</c:v>
                </c:pt>
                <c:pt idx="7">
                  <c:v>0.8205128205128205</c:v>
                </c:pt>
                <c:pt idx="8">
                  <c:v>0.8566176470588235</c:v>
                </c:pt>
                <c:pt idx="9">
                  <c:v>0.8333333333333334</c:v>
                </c:pt>
                <c:pt idx="10">
                  <c:v>0.857397504456328</c:v>
                </c:pt>
                <c:pt idx="11">
                  <c:v>0.8696581196581197</c:v>
                </c:pt>
                <c:pt idx="12">
                  <c:v>0.7920792079207921</c:v>
                </c:pt>
                <c:pt idx="13">
                  <c:v>0.7766666666666666</c:v>
                </c:pt>
                <c:pt idx="14">
                  <c:v>0.7926829268292683</c:v>
                </c:pt>
                <c:pt idx="15">
                  <c:v>0.7649006622516556</c:v>
                </c:pt>
                <c:pt idx="16">
                  <c:v>0.796812749003984</c:v>
                </c:pt>
                <c:pt idx="17">
                  <c:v>0.8120567375886525</c:v>
                </c:pt>
                <c:pt idx="18">
                  <c:v>0.7312775330396476</c:v>
                </c:pt>
                <c:pt idx="19">
                  <c:v>0.6741573033707865</c:v>
                </c:pt>
                <c:pt idx="20">
                  <c:v>0.7962962962962963</c:v>
                </c:pt>
                <c:pt idx="21">
                  <c:v>0.66</c:v>
                </c:pt>
                <c:pt idx="22">
                  <c:v>0.7479674796747967</c:v>
                </c:pt>
                <c:pt idx="23">
                  <c:v>0.7714285714285715</c:v>
                </c:pt>
                <c:pt idx="24">
                  <c:v>0.75</c:v>
                </c:pt>
                <c:pt idx="25">
                  <c:v>0.8518518518518519</c:v>
                </c:pt>
                <c:pt idx="26">
                  <c:v>0.7282608695652174</c:v>
                </c:pt>
                <c:pt idx="27">
                  <c:v>0.7283950617283951</c:v>
                </c:pt>
                <c:pt idx="28">
                  <c:v>0.6428571428571429</c:v>
                </c:pt>
                <c:pt idx="29">
                  <c:v>0.48</c:v>
                </c:pt>
                <c:pt idx="30">
                  <c:v>0.5531914893617021</c:v>
                </c:pt>
                <c:pt idx="31">
                  <c:v>0.6</c:v>
                </c:pt>
                <c:pt idx="32">
                  <c:v>0.36363636363636365</c:v>
                </c:pt>
                <c:pt idx="33">
                  <c:v>0.2835820895522388</c:v>
                </c:pt>
                <c:pt idx="34">
                  <c:v>0.32608695652173914</c:v>
                </c:pt>
                <c:pt idx="35">
                  <c:v>0.3333333333333333</c:v>
                </c:pt>
                <c:pt idx="36">
                  <c:v>0.46153846153846156</c:v>
                </c:pt>
                <c:pt idx="37">
                  <c:v>0.43243243243243246</c:v>
                </c:pt>
                <c:pt idx="38">
                  <c:v>0.391304347826087</c:v>
                </c:pt>
                <c:pt idx="39">
                  <c:v>0.39759036144578314</c:v>
                </c:pt>
                <c:pt idx="40">
                  <c:v>0.4745762711864407</c:v>
                </c:pt>
                <c:pt idx="41">
                  <c:v>0.3870967741935484</c:v>
                </c:pt>
                <c:pt idx="42">
                  <c:v>0.16793893129770993</c:v>
                </c:pt>
                <c:pt idx="43">
                  <c:v>0.2518518518518518</c:v>
                </c:pt>
                <c:pt idx="44">
                  <c:v>0.3669724770642202</c:v>
                </c:pt>
                <c:pt idx="45">
                  <c:v>0.2830188679245283</c:v>
                </c:pt>
                <c:pt idx="46">
                  <c:v>0.26804123711340205</c:v>
                </c:pt>
                <c:pt idx="47">
                  <c:v>0.3225806451612903</c:v>
                </c:pt>
                <c:pt idx="48">
                  <c:v>0.39814814814814814</c:v>
                </c:pt>
                <c:pt idx="49">
                  <c:v>0.49206349206349204</c:v>
                </c:pt>
                <c:pt idx="50">
                  <c:v>0.6161137440758294</c:v>
                </c:pt>
                <c:pt idx="51">
                  <c:v>0.6153846153846154</c:v>
                </c:pt>
                <c:pt idx="52">
                  <c:v>0.5</c:v>
                </c:pt>
                <c:pt idx="53">
                  <c:v>0.5277777777777778</c:v>
                </c:pt>
                <c:pt idx="54">
                  <c:v>0.4642857142857143</c:v>
                </c:pt>
                <c:pt idx="55">
                  <c:v>0.375</c:v>
                </c:pt>
              </c:numCache>
            </c:numRef>
          </c:yVal>
          <c:smooth val="0"/>
          <c:extLst>
            <c:ext xmlns:c16="http://schemas.microsoft.com/office/drawing/2014/chart" uri="{C3380CC4-5D6E-409C-BE32-E72D297353CC}">
              <c16:uniqueId val="{00000000-F32D-48B7-BC20-E66FC6253BAD}"/>
            </c:ext>
          </c:extLst>
        </c:ser>
        <c:ser>
          <c:idx val="1"/>
          <c:order val="1"/>
          <c:tx>
            <c:strRef>
              <c:f>Sheet1!$B$5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0:$A$111</c:f>
              <c:numCache>
                <c:formatCode>General</c:formatCode>
                <c:ptCount val="52"/>
                <c:pt idx="0">
                  <c:v>1046.4</c:v>
                </c:pt>
                <c:pt idx="1">
                  <c:v>722.3429</c:v>
                </c:pt>
                <c:pt idx="2">
                  <c:v>714.0294</c:v>
                </c:pt>
                <c:pt idx="3">
                  <c:v>714.6445</c:v>
                </c:pt>
                <c:pt idx="4">
                  <c:v>718.6726</c:v>
                </c:pt>
                <c:pt idx="5">
                  <c:v>740.0825</c:v>
                </c:pt>
                <c:pt idx="6">
                  <c:v>734.0179</c:v>
                </c:pt>
                <c:pt idx="7">
                  <c:v>790.6828</c:v>
                </c:pt>
                <c:pt idx="8">
                  <c:v>826.6566</c:v>
                </c:pt>
                <c:pt idx="9">
                  <c:v>791.1261</c:v>
                </c:pt>
                <c:pt idx="10">
                  <c:v>795.3985</c:v>
                </c:pt>
                <c:pt idx="11">
                  <c:v>560.2388</c:v>
                </c:pt>
                <c:pt idx="12">
                  <c:v>494.4346</c:v>
                </c:pt>
                <c:pt idx="13">
                  <c:v>516.2227</c:v>
                </c:pt>
                <c:pt idx="14">
                  <c:v>487.8639</c:v>
                </c:pt>
                <c:pt idx="15">
                  <c:v>488.5828</c:v>
                </c:pt>
                <c:pt idx="16">
                  <c:v>483.5468</c:v>
                </c:pt>
                <c:pt idx="17">
                  <c:v>472.0561</c:v>
                </c:pt>
                <c:pt idx="18">
                  <c:v>516.2468</c:v>
                </c:pt>
                <c:pt idx="19">
                  <c:v>489.7234</c:v>
                </c:pt>
                <c:pt idx="20">
                  <c:v>496.4493</c:v>
                </c:pt>
                <c:pt idx="21">
                  <c:v>600.6429</c:v>
                </c:pt>
                <c:pt idx="22">
                  <c:v>416.25</c:v>
                </c:pt>
                <c:pt idx="23">
                  <c:v>419.8722</c:v>
                </c:pt>
                <c:pt idx="24">
                  <c:v>409.0541</c:v>
                </c:pt>
                <c:pt idx="25">
                  <c:v>443.6582</c:v>
                </c:pt>
                <c:pt idx="26">
                  <c:v>500.8611</c:v>
                </c:pt>
                <c:pt idx="27">
                  <c:v>487.6552</c:v>
                </c:pt>
                <c:pt idx="28">
                  <c:v>525.3333</c:v>
                </c:pt>
                <c:pt idx="29">
                  <c:v>521.8621</c:v>
                </c:pt>
                <c:pt idx="30">
                  <c:v>760.5714</c:v>
                </c:pt>
                <c:pt idx="31">
                  <c:v>621.8667</c:v>
                </c:pt>
                <c:pt idx="32">
                  <c:v>561.3333</c:v>
                </c:pt>
                <c:pt idx="33">
                  <c:v>638.3778</c:v>
                </c:pt>
                <c:pt idx="34">
                  <c:v>1035.8333</c:v>
                </c:pt>
                <c:pt idx="35">
                  <c:v>701.9756</c:v>
                </c:pt>
                <c:pt idx="36">
                  <c:v>635.9655</c:v>
                </c:pt>
                <c:pt idx="37">
                  <c:v>400.6173</c:v>
                </c:pt>
                <c:pt idx="38">
                  <c:v>393.1837</c:v>
                </c:pt>
                <c:pt idx="39">
                  <c:v>464.4141</c:v>
                </c:pt>
                <c:pt idx="40">
                  <c:v>435.1515</c:v>
                </c:pt>
                <c:pt idx="41">
                  <c:v>463.6029</c:v>
                </c:pt>
                <c:pt idx="42">
                  <c:v>592.7955</c:v>
                </c:pt>
                <c:pt idx="43">
                  <c:v>497.1887</c:v>
                </c:pt>
                <c:pt idx="44">
                  <c:v>492.4615</c:v>
                </c:pt>
                <c:pt idx="45">
                  <c:v>557.5455</c:v>
                </c:pt>
                <c:pt idx="46">
                  <c:v>472.7667</c:v>
                </c:pt>
                <c:pt idx="47">
                  <c:v>377.0847</c:v>
                </c:pt>
                <c:pt idx="48">
                  <c:v>586.6889</c:v>
                </c:pt>
                <c:pt idx="49">
                  <c:v>787.6667</c:v>
                </c:pt>
                <c:pt idx="50">
                  <c:v>717.2545</c:v>
                </c:pt>
                <c:pt idx="51">
                  <c:v>740.2941</c:v>
                </c:pt>
              </c:numCache>
            </c:numRef>
          </c:xVal>
          <c:yVal>
            <c:numRef>
              <c:f>Sheet1!$B$60:$B$111</c:f>
              <c:numCache>
                <c:formatCode>General</c:formatCode>
                <c:ptCount val="52"/>
                <c:pt idx="0">
                  <c:v>0.3431372549019608</c:v>
                </c:pt>
                <c:pt idx="1">
                  <c:v>0.6763285024154589</c:v>
                </c:pt>
                <c:pt idx="2">
                  <c:v>0.8067796610169492</c:v>
                </c:pt>
                <c:pt idx="3">
                  <c:v>0.810126582278481</c:v>
                </c:pt>
                <c:pt idx="4">
                  <c:v>0.795774647887324</c:v>
                </c:pt>
                <c:pt idx="5">
                  <c:v>0.7854251012145749</c:v>
                </c:pt>
                <c:pt idx="6">
                  <c:v>0.7813953488372093</c:v>
                </c:pt>
                <c:pt idx="7">
                  <c:v>0.8192090395480226</c:v>
                </c:pt>
                <c:pt idx="8">
                  <c:v>0.678082191780822</c:v>
                </c:pt>
                <c:pt idx="9">
                  <c:v>0.7025316455696202</c:v>
                </c:pt>
                <c:pt idx="10">
                  <c:v>0.7228260869565217</c:v>
                </c:pt>
                <c:pt idx="11">
                  <c:v>0.8271604938271605</c:v>
                </c:pt>
                <c:pt idx="12">
                  <c:v>0.8575757575757575</c:v>
                </c:pt>
                <c:pt idx="13">
                  <c:v>0.8091872791519434</c:v>
                </c:pt>
                <c:pt idx="14">
                  <c:v>0.8377192982456141</c:v>
                </c:pt>
                <c:pt idx="15">
                  <c:v>0.7905759162303665</c:v>
                </c:pt>
                <c:pt idx="16">
                  <c:v>0.7897727272727273</c:v>
                </c:pt>
                <c:pt idx="17">
                  <c:v>0.7925925925925926</c:v>
                </c:pt>
                <c:pt idx="18">
                  <c:v>0.6814159292035398</c:v>
                </c:pt>
                <c:pt idx="19">
                  <c:v>0.6619718309859155</c:v>
                </c:pt>
                <c:pt idx="20">
                  <c:v>0.6699029126213593</c:v>
                </c:pt>
                <c:pt idx="21">
                  <c:v>0.4745762711864407</c:v>
                </c:pt>
                <c:pt idx="22">
                  <c:v>0.7769784172661871</c:v>
                </c:pt>
                <c:pt idx="23">
                  <c:v>0.8209876543209876</c:v>
                </c:pt>
                <c:pt idx="24">
                  <c:v>0.7816901408450704</c:v>
                </c:pt>
                <c:pt idx="25">
                  <c:v>0.7745098039215687</c:v>
                </c:pt>
                <c:pt idx="26">
                  <c:v>0.5142857142857142</c:v>
                </c:pt>
                <c:pt idx="27">
                  <c:v>0.4461538461538462</c:v>
                </c:pt>
                <c:pt idx="28">
                  <c:v>0.43373493975903615</c:v>
                </c:pt>
                <c:pt idx="29">
                  <c:v>0.3918918918918919</c:v>
                </c:pt>
                <c:pt idx="30">
                  <c:v>0.3</c:v>
                </c:pt>
                <c:pt idx="31">
                  <c:v>0.28846153846153844</c:v>
                </c:pt>
                <c:pt idx="32">
                  <c:v>0.42857142857142855</c:v>
                </c:pt>
                <c:pt idx="33">
                  <c:v>0.45918367346938777</c:v>
                </c:pt>
                <c:pt idx="34">
                  <c:v>0.3181818181818182</c:v>
                </c:pt>
                <c:pt idx="35">
                  <c:v>0.3416666666666667</c:v>
                </c:pt>
                <c:pt idx="36">
                  <c:v>0.32954545454545453</c:v>
                </c:pt>
                <c:pt idx="37">
                  <c:v>0.5664335664335665</c:v>
                </c:pt>
                <c:pt idx="38">
                  <c:v>0.6712328767123288</c:v>
                </c:pt>
                <c:pt idx="39">
                  <c:v>0.5689655172413793</c:v>
                </c:pt>
                <c:pt idx="40">
                  <c:v>0.46808510638297873</c:v>
                </c:pt>
                <c:pt idx="41">
                  <c:v>0.44155844155844154</c:v>
                </c:pt>
                <c:pt idx="42">
                  <c:v>0.36065573770491804</c:v>
                </c:pt>
                <c:pt idx="43">
                  <c:v>0.3333333333333333</c:v>
                </c:pt>
                <c:pt idx="44">
                  <c:v>0.26804123711340205</c:v>
                </c:pt>
                <c:pt idx="45">
                  <c:v>0.3089887640449438</c:v>
                </c:pt>
                <c:pt idx="46">
                  <c:v>0.3821656050955414</c:v>
                </c:pt>
                <c:pt idx="47">
                  <c:v>0.4125874125874126</c:v>
                </c:pt>
                <c:pt idx="48">
                  <c:v>0.3543307086614173</c:v>
                </c:pt>
                <c:pt idx="49">
                  <c:v>0.28846153846153844</c:v>
                </c:pt>
                <c:pt idx="50">
                  <c:v>0.2631578947368421</c:v>
                </c:pt>
                <c:pt idx="51">
                  <c:v>0.2463768115942029</c:v>
                </c:pt>
              </c:numCache>
            </c:numRef>
          </c:yVal>
          <c:smooth val="0"/>
          <c:extLst>
            <c:ext xmlns:c16="http://schemas.microsoft.com/office/drawing/2014/chart" uri="{C3380CC4-5D6E-409C-BE32-E72D297353CC}">
              <c16:uniqueId val="{00000002-F32D-48B7-BC20-E66FC6253BAD}"/>
            </c:ext>
          </c:extLst>
        </c:ser>
        <c:ser>
          <c:idx val="2"/>
          <c:order val="2"/>
          <c:tx>
            <c:strRef>
              <c:f>Sheet1!$B$113</c:f>
              <c:strCache>
                <c:ptCount val="1"/>
                <c:pt idx="0">
                  <c:v>Custom Linep3yQ</c:v>
                </c:pt>
              </c:strCache>
            </c:strRef>
          </c:tx>
          <c:spPr>
            <a:ln w="19050" cap="rnd">
              <a:solidFill>
                <a:srgbClr val="C00000"/>
              </a:solidFill>
              <a:prstDash val="sysDot"/>
              <a:round/>
            </a:ln>
            <a:effectLst/>
          </c:spPr>
          <c:marker>
            <c:symbol val="none"/>
          </c:marker>
          <c:xVal>
            <c:numRef>
              <c:f>Sheet1!$A$114:$A$115</c:f>
              <c:numCache>
                <c:formatCode>General</c:formatCode>
                <c:ptCount val="2"/>
                <c:pt idx="0">
                  <c:v>0</c:v>
                </c:pt>
                <c:pt idx="1">
                  <c:v>-589.5224618283385</c:v>
                </c:pt>
              </c:numCache>
            </c:numRef>
          </c:xVal>
          <c:yVal>
            <c:numRef>
              <c:f>Sheet1!$B$114:$B$115</c:f>
              <c:numCache>
                <c:formatCode>General</c:formatCode>
                <c:ptCount val="2"/>
                <c:pt idx="0">
                  <c:v>0.8610822249433566</c:v>
                </c:pt>
                <c:pt idx="1">
                  <c:v>0.8610822249433566</c:v>
                </c:pt>
              </c:numCache>
            </c:numRef>
          </c:yVal>
          <c:smooth val="0"/>
          <c:extLst>
            <c:ext xmlns:c16="http://schemas.microsoft.com/office/drawing/2014/chart" uri="{C3380CC4-5D6E-409C-BE32-E72D297353CC}">
              <c16:uniqueId val="{00000003-F32D-48B7-BC20-E66FC6253BAD}"/>
            </c:ext>
          </c:extLst>
        </c:ser>
        <c:ser>
          <c:idx val="3"/>
          <c:order val="3"/>
          <c:tx>
            <c:strRef>
              <c:f>Sheet1!$B$1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8:$A$119</c:f>
              <c:numCache>
                <c:formatCode>General</c:formatCode>
                <c:ptCount val="2"/>
                <c:pt idx="0">
                  <c:v>-589.5224618283385</c:v>
                </c:pt>
                <c:pt idx="1">
                  <c:v>-589.5224618283385</c:v>
                </c:pt>
              </c:numCache>
            </c:numRef>
          </c:xVal>
          <c:yVal>
            <c:numRef>
              <c:f>Sheet1!$B$118:$B$119</c:f>
              <c:numCache>
                <c:formatCode>General</c:formatCode>
                <c:ptCount val="2"/>
                <c:pt idx="0">
                  <c:v>0.861082224943356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2:$A$123</c:f>
              <c:numCache>
                <c:formatCode>General</c:formatCode>
                <c:ptCount val="2"/>
                <c:pt idx="0">
                  <c:v>0</c:v>
                </c:pt>
                <c:pt idx="1">
                  <c:v>-102.72730028165822</c:v>
                </c:pt>
              </c:numCache>
            </c:numRef>
          </c:xVal>
          <c:yVal>
            <c:numRef>
              <c:f>Sheet1!$B$122:$B$123</c:f>
              <c:numCache>
                <c:formatCode>General</c:formatCode>
                <c:ptCount val="2"/>
                <c:pt idx="0">
                  <c:v>0.7398314416476583</c:v>
                </c:pt>
                <c:pt idx="1">
                  <c:v>0.7398314416476583</c:v>
                </c:pt>
              </c:numCache>
            </c:numRef>
          </c:yVal>
          <c:smooth val="0"/>
          <c:extLst>
            <c:ext xmlns:c16="http://schemas.microsoft.com/office/drawing/2014/chart" uri="{C3380CC4-5D6E-409C-BE32-E72D297353CC}">
              <c16:uniqueId val="{0000000A-F32D-48B7-BC20-E66FC6253BAD}"/>
            </c:ext>
          </c:extLst>
        </c:ser>
        <c:ser>
          <c:idx val="5"/>
          <c:order val="5"/>
          <c:tx>
            <c:strRef>
              <c:f>Sheet1!$B$1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102.72730028165822</c:v>
                </c:pt>
                <c:pt idx="1">
                  <c:v>-102.72730028165822</c:v>
                </c:pt>
              </c:numCache>
            </c:numRef>
          </c:xVal>
          <c:yVal>
            <c:numRef>
              <c:f>Sheet1!$B$126:$B$127</c:f>
              <c:numCache>
                <c:formatCode>General</c:formatCode>
                <c:ptCount val="2"/>
                <c:pt idx="0">
                  <c:v>0.739831441647658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9</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0:$A$131</c:f>
              <c:numCache>
                <c:formatCode>General</c:formatCode>
                <c:ptCount val="2"/>
                <c:pt idx="0">
                  <c:v>0</c:v>
                </c:pt>
                <c:pt idx="1">
                  <c:v>1417.052240973527</c:v>
                </c:pt>
              </c:numCache>
            </c:numRef>
          </c:xVal>
          <c:yVal>
            <c:numRef>
              <c:f>Sheet1!$B$130:$B$131</c:f>
              <c:numCache>
                <c:formatCode>General</c:formatCode>
                <c:ptCount val="2"/>
                <c:pt idx="0">
                  <c:v>0.3612852391166425</c:v>
                </c:pt>
                <c:pt idx="1">
                  <c:v>0.3612852391166425</c:v>
                </c:pt>
              </c:numCache>
            </c:numRef>
          </c:yVal>
          <c:smooth val="0"/>
          <c:extLst>
            <c:ext xmlns:c16="http://schemas.microsoft.com/office/drawing/2014/chart" uri="{C3380CC4-5D6E-409C-BE32-E72D297353CC}">
              <c16:uniqueId val="{00000011-F32D-48B7-BC20-E66FC6253BAD}"/>
            </c:ext>
          </c:extLst>
        </c:ser>
        <c:ser>
          <c:idx val="7"/>
          <c:order val="7"/>
          <c:tx>
            <c:strRef>
              <c:f>Sheet1!$B$133</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1417.052240973527</c:v>
                </c:pt>
                <c:pt idx="1">
                  <c:v>1417.052240973527</c:v>
                </c:pt>
              </c:numCache>
            </c:numRef>
          </c:xVal>
          <c:yVal>
            <c:numRef>
              <c:f>Sheet1!$B$134:$B$135</c:f>
              <c:numCache>
                <c:formatCode>General</c:formatCode>
                <c:ptCount val="2"/>
                <c:pt idx="0">
                  <c:v>0.36128523911664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7</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8:$A$192</c:f>
              <c:numCache>
                <c:formatCode>General</c:formatCode>
                <c:ptCount val="55"/>
                <c:pt idx="0">
                  <c:v>1046.4</c:v>
                </c:pt>
                <c:pt idx="1">
                  <c:v>722.3429</c:v>
                </c:pt>
                <c:pt idx="2">
                  <c:v>714.0294</c:v>
                </c:pt>
                <c:pt idx="3">
                  <c:v>714.6445</c:v>
                </c:pt>
                <c:pt idx="4">
                  <c:v>718.6726</c:v>
                </c:pt>
                <c:pt idx="5">
                  <c:v>740.0825</c:v>
                </c:pt>
                <c:pt idx="6">
                  <c:v>734.0179</c:v>
                </c:pt>
                <c:pt idx="7">
                  <c:v>790.6828</c:v>
                </c:pt>
                <c:pt idx="8">
                  <c:v>826.6566</c:v>
                </c:pt>
                <c:pt idx="9">
                  <c:v>791.1261</c:v>
                </c:pt>
                <c:pt idx="10">
                  <c:v>795.3985</c:v>
                </c:pt>
                <c:pt idx="11">
                  <c:v>560.2388</c:v>
                </c:pt>
                <c:pt idx="12">
                  <c:v>494.4346</c:v>
                </c:pt>
                <c:pt idx="13">
                  <c:v>516.2227</c:v>
                </c:pt>
                <c:pt idx="14">
                  <c:v>487.8639</c:v>
                </c:pt>
                <c:pt idx="15">
                  <c:v>488.5828</c:v>
                </c:pt>
                <c:pt idx="16">
                  <c:v>483.5468</c:v>
                </c:pt>
                <c:pt idx="17">
                  <c:v>472.0561</c:v>
                </c:pt>
                <c:pt idx="18">
                  <c:v>516.2468</c:v>
                </c:pt>
                <c:pt idx="19">
                  <c:v>489.7234</c:v>
                </c:pt>
                <c:pt idx="20">
                  <c:v>496.4493</c:v>
                </c:pt>
                <c:pt idx="21">
                  <c:v>600.6429</c:v>
                </c:pt>
                <c:pt idx="22">
                  <c:v>416.25</c:v>
                </c:pt>
                <c:pt idx="23">
                  <c:v>419.8722</c:v>
                </c:pt>
                <c:pt idx="24">
                  <c:v>409.0541</c:v>
                </c:pt>
                <c:pt idx="25">
                  <c:v>443.6582</c:v>
                </c:pt>
                <c:pt idx="26">
                  <c:v>500.8611</c:v>
                </c:pt>
                <c:pt idx="27">
                  <c:v>487.6552</c:v>
                </c:pt>
                <c:pt idx="28">
                  <c:v>525.3333</c:v>
                </c:pt>
                <c:pt idx="29">
                  <c:v>521.8621</c:v>
                </c:pt>
                <c:pt idx="30">
                  <c:v>760.5714</c:v>
                </c:pt>
                <c:pt idx="31">
                  <c:v>621.8667</c:v>
                </c:pt>
                <c:pt idx="32">
                  <c:v>561.3333</c:v>
                </c:pt>
                <c:pt idx="33">
                  <c:v>638.3778</c:v>
                </c:pt>
                <c:pt idx="34">
                  <c:v>1035.8333</c:v>
                </c:pt>
                <c:pt idx="35">
                  <c:v>701.9756</c:v>
                </c:pt>
                <c:pt idx="36">
                  <c:v>635.9655</c:v>
                </c:pt>
                <c:pt idx="37">
                  <c:v>400.6173</c:v>
                </c:pt>
                <c:pt idx="38">
                  <c:v>393.1837</c:v>
                </c:pt>
                <c:pt idx="39">
                  <c:v>464.4141</c:v>
                </c:pt>
                <c:pt idx="40">
                  <c:v>435.1515</c:v>
                </c:pt>
                <c:pt idx="41">
                  <c:v>463.6029</c:v>
                </c:pt>
                <c:pt idx="42">
                  <c:v>592.7955</c:v>
                </c:pt>
                <c:pt idx="43">
                  <c:v>497.1887</c:v>
                </c:pt>
                <c:pt idx="44">
                  <c:v>492.4615</c:v>
                </c:pt>
                <c:pt idx="45">
                  <c:v>557.5455</c:v>
                </c:pt>
                <c:pt idx="46">
                  <c:v>472.7667</c:v>
                </c:pt>
                <c:pt idx="47">
                  <c:v>377.0847</c:v>
                </c:pt>
                <c:pt idx="48">
                  <c:v>586.6889</c:v>
                </c:pt>
                <c:pt idx="49">
                  <c:v>787.6667</c:v>
                </c:pt>
                <c:pt idx="50">
                  <c:v>717.2545</c:v>
                </c:pt>
                <c:pt idx="51">
                  <c:v>740.2941</c:v>
                </c:pt>
                <c:pt idx="52">
                  <c:v>-102.72730028165822</c:v>
                </c:pt>
                <c:pt idx="53">
                  <c:v>-589.5224618283385</c:v>
                </c:pt>
                <c:pt idx="54">
                  <c:v>1417.052240973527</c:v>
                </c:pt>
              </c:numCache>
            </c:numRef>
          </c:xVal>
          <c:yVal>
            <c:numRef>
              <c:f>Sheet1!$B$138:$B$192</c:f>
              <c:numCache>
                <c:formatCode>General</c:formatCode>
                <c:ptCount val="55"/>
                <c:pt idx="0">
                  <c:v>0.45360718086633767</c:v>
                </c:pt>
                <c:pt idx="1">
                  <c:v>0.5343232197905754</c:v>
                </c:pt>
                <c:pt idx="2">
                  <c:v>0.5363939437142192</c:v>
                </c:pt>
                <c:pt idx="3">
                  <c:v>0.536240734802758</c:v>
                </c:pt>
                <c:pt idx="4">
                  <c:v>0.5352374169418294</c:v>
                </c:pt>
                <c:pt idx="5">
                  <c:v>0.5299046458907892</c:v>
                </c:pt>
                <c:pt idx="6">
                  <c:v>0.5314152145210087</c:v>
                </c:pt>
                <c:pt idx="7">
                  <c:v>0.5173011393347591</c:v>
                </c:pt>
                <c:pt idx="8">
                  <c:v>0.5083407967252228</c:v>
                </c:pt>
                <c:pt idx="9">
                  <c:v>0.5171907223124037</c:v>
                </c:pt>
                <c:pt idx="10">
                  <c:v>0.5161265542855347</c:v>
                </c:pt>
                <c:pt idx="11">
                  <c:v>0.5747000572225542</c:v>
                </c:pt>
                <c:pt idx="12">
                  <c:v>0.5910905463325855</c:v>
                </c:pt>
                <c:pt idx="13">
                  <c:v>0.5856635733463891</c:v>
                </c:pt>
                <c:pt idx="14">
                  <c:v>0.5927271741890945</c:v>
                </c:pt>
                <c:pt idx="15">
                  <c:v>0.5925481108067997</c:v>
                </c:pt>
                <c:pt idx="16">
                  <c:v>0.5938024760776808</c:v>
                </c:pt>
                <c:pt idx="17">
                  <c:v>0.5966645759621356</c:v>
                </c:pt>
                <c:pt idx="18">
                  <c:v>0.5856575705260896</c:v>
                </c:pt>
                <c:pt idx="19">
                  <c:v>0.5922640105232478</c:v>
                </c:pt>
                <c:pt idx="20">
                  <c:v>0.5905887255003289</c:v>
                </c:pt>
                <c:pt idx="21">
                  <c:v>0.5646362169046016</c:v>
                </c:pt>
                <c:pt idx="22">
                  <c:v>0.6105647415187918</c:v>
                </c:pt>
                <c:pt idx="23">
                  <c:v>0.6096625251001687</c:v>
                </c:pt>
                <c:pt idx="24">
                  <c:v>0.6123570939915348</c:v>
                </c:pt>
                <c:pt idx="25">
                  <c:v>0.6037379158203476</c:v>
                </c:pt>
                <c:pt idx="26">
                  <c:v>0.5894898357660014</c:v>
                </c:pt>
                <c:pt idx="27">
                  <c:v>0.59277915711841</c:v>
                </c:pt>
                <c:pt idx="28">
                  <c:v>0.5833943080094371</c:v>
                </c:pt>
                <c:pt idx="29">
                  <c:v>0.5842589133963082</c:v>
                </c:pt>
                <c:pt idx="30">
                  <c:v>0.5248012772254681</c:v>
                </c:pt>
                <c:pt idx="31">
                  <c:v>0.5593497995820982</c:v>
                </c:pt>
                <c:pt idx="32">
                  <c:v>0.5744274395122724</c:v>
                </c:pt>
                <c:pt idx="33">
                  <c:v>0.5552372200697777</c:v>
                </c:pt>
                <c:pt idx="34">
                  <c:v>0.45623913112603187</c:v>
                </c:pt>
                <c:pt idx="35">
                  <c:v>0.5393963003667505</c:v>
                </c:pt>
                <c:pt idx="36">
                  <c:v>0.5558380749829919</c:v>
                </c:pt>
                <c:pt idx="37">
                  <c:v>0.6144585294397814</c:v>
                </c:pt>
                <c:pt idx="38">
                  <c:v>0.6163100881525737</c:v>
                </c:pt>
                <c:pt idx="39">
                  <c:v>0.5985680428803393</c:v>
                </c:pt>
                <c:pt idx="40">
                  <c:v>0.6058567619382595</c:v>
                </c:pt>
                <c:pt idx="41">
                  <c:v>0.5987700963171421</c:v>
                </c:pt>
                <c:pt idx="42">
                  <c:v>0.5665908447891753</c:v>
                </c:pt>
                <c:pt idx="43">
                  <c:v>0.5904045559845844</c:v>
                </c:pt>
                <c:pt idx="44">
                  <c:v>0.5915820054501343</c:v>
                </c:pt>
                <c:pt idx="45">
                  <c:v>0.5753709035259824</c:v>
                </c:pt>
                <c:pt idx="46">
                  <c:v>0.5964875799411887</c:v>
                </c:pt>
                <c:pt idx="47">
                  <c:v>0.6203200219285697</c:v>
                </c:pt>
                <c:pt idx="48">
                  <c:v>0.5681118747659749</c:v>
                </c:pt>
                <c:pt idx="49">
                  <c:v>0.5180523885590451</c:v>
                </c:pt>
                <c:pt idx="50">
                  <c:v>0.5355906368367135</c:v>
                </c:pt>
                <c:pt idx="51">
                  <c:v>0.5298519406304003</c:v>
                </c:pt>
                <c:pt idx="52">
                  <c:v>0.7398314416476583</c:v>
                </c:pt>
                <c:pt idx="53">
                  <c:v>0.8610822249433566</c:v>
                </c:pt>
                <c:pt idx="54">
                  <c:v>0.36128523911664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30830039525692"/>
          <c:min val="0.134351145038167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c:f>
              <c:numCache>
                <c:formatCode>General</c:formatCode>
                <c:ptCount val="5"/>
                <c:pt idx="0">
                  <c:v>0.37007278903861396</c:v>
                </c:pt>
                <c:pt idx="1">
                  <c:v>0.48083489782169325</c:v>
                </c:pt>
                <c:pt idx="2">
                  <c:v>0.444077079327373</c:v>
                </c:pt>
                <c:pt idx="3">
                  <c:v>0.19720133822181488</c:v>
                </c:pt>
                <c:pt idx="4">
                  <c:v>0.0</c:v>
                </c:pt>
              </c:numCache>
            </c:numRef>
          </c:xVal>
          <c:yVal>
            <c:numRef>
              <c:f>Sheet1!$B$2:$B$6</c:f>
              <c:numCache>
                <c:formatCode>General</c:formatCode>
                <c:ptCount val="5"/>
                <c:pt idx="0">
                  <c:v>0.5</c:v>
                </c:pt>
                <c:pt idx="1">
                  <c:v>0.5277777777777778</c:v>
                </c:pt>
                <c:pt idx="2">
                  <c:v>0.4642857142857143</c:v>
                </c:pt>
                <c:pt idx="3">
                  <c:v>0.375</c:v>
                </c:pt>
                <c:pt idx="4">
                  <c:v>0.8192090395480226</c:v>
                </c:pt>
              </c:numCache>
            </c:numRef>
          </c:yVal>
          <c:smooth val="0"/>
          <c:extLst>
            <c:ext xmlns:c16="http://schemas.microsoft.com/office/drawing/2014/chart" uri="{C3380CC4-5D6E-409C-BE32-E72D297353CC}">
              <c16:uniqueId val="{00000000-096C-4121-9522-6AB7243CCAAE}"/>
            </c:ext>
          </c:extLst>
        </c:ser>
        <c:ser>
          <c:idx val="1"/>
          <c:order val="1"/>
          <c:tx>
            <c:strRef>
              <c:f>Sheet1!$B$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A$59</c:f>
              <c:numCache>
                <c:formatCode>General</c:formatCode>
                <c:ptCount val="51"/>
                <c:pt idx="0">
                  <c:v>0.2245975531229878</c:v>
                </c:pt>
                <c:pt idx="1">
                  <c:v>0.291071681785471</c:v>
                </c:pt>
                <c:pt idx="2">
                  <c:v>0.24775482303955587</c:v>
                </c:pt>
                <c:pt idx="3">
                  <c:v>0.22494318539502675</c:v>
                </c:pt>
                <c:pt idx="4">
                  <c:v>0.30225960602467955</c:v>
                </c:pt>
                <c:pt idx="5">
                  <c:v>0.26466626782806923</c:v>
                </c:pt>
                <c:pt idx="6">
                  <c:v>0.3182848403803593</c:v>
                </c:pt>
                <c:pt idx="7">
                  <c:v>0.3166781336193687</c:v>
                </c:pt>
                <c:pt idx="8">
                  <c:v>0.300694070695553</c:v>
                </c:pt>
                <c:pt idx="9">
                  <c:v>0.24515287409462166</c:v>
                </c:pt>
                <c:pt idx="10">
                  <c:v>0.17766182533138833</c:v>
                </c:pt>
                <c:pt idx="11">
                  <c:v>0.16351431973014086</c:v>
                </c:pt>
                <c:pt idx="12">
                  <c:v>0.1817502725165993</c:v>
                </c:pt>
                <c:pt idx="13">
                  <c:v>0.1770509526401742</c:v>
                </c:pt>
                <c:pt idx="14">
                  <c:v>0.15818908243216992</c:v>
                </c:pt>
                <c:pt idx="15">
                  <c:v>0.21462352418996894</c:v>
                </c:pt>
                <c:pt idx="16">
                  <c:v>0.206156039828806</c:v>
                </c:pt>
                <c:pt idx="17">
                  <c:v>0.1920203831132602</c:v>
                </c:pt>
                <c:pt idx="18">
                  <c:v>0.2526789551757498</c:v>
                </c:pt>
                <c:pt idx="19">
                  <c:v>0.25909024724378626</c:v>
                </c:pt>
                <c:pt idx="20">
                  <c:v>0.306489552238806</c:v>
                </c:pt>
                <c:pt idx="21">
                  <c:v>0.21875656926634435</c:v>
                </c:pt>
                <c:pt idx="22">
                  <c:v>0.15196243213897936</c:v>
                </c:pt>
                <c:pt idx="23">
                  <c:v>0.16602344809610295</c:v>
                </c:pt>
                <c:pt idx="24">
                  <c:v>0.19230957954052882</c:v>
                </c:pt>
                <c:pt idx="25">
                  <c:v>0.2440724623556357</c:v>
                </c:pt>
                <c:pt idx="26">
                  <c:v>0.26032258944466546</c:v>
                </c:pt>
                <c:pt idx="27">
                  <c:v>0.3744090228779132</c:v>
                </c:pt>
                <c:pt idx="28">
                  <c:v>0.3380422363892006</c:v>
                </c:pt>
                <c:pt idx="29">
                  <c:v>0.4417560550618575</c:v>
                </c:pt>
                <c:pt idx="30">
                  <c:v>0.5694315625923407</c:v>
                </c:pt>
                <c:pt idx="31">
                  <c:v>0.30267548609883665</c:v>
                </c:pt>
                <c:pt idx="32">
                  <c:v>0.3094960410860586</c:v>
                </c:pt>
                <c:pt idx="33">
                  <c:v>0.46137987522832735</c:v>
                </c:pt>
                <c:pt idx="34">
                  <c:v>0.3128047696631925</c:v>
                </c:pt>
                <c:pt idx="35">
                  <c:v>0.26817014547754586</c:v>
                </c:pt>
                <c:pt idx="36">
                  <c:v>0.17781997947124586</c:v>
                </c:pt>
                <c:pt idx="37">
                  <c:v>0.15256679439297666</c:v>
                </c:pt>
                <c:pt idx="38">
                  <c:v>0.21844501411100659</c:v>
                </c:pt>
                <c:pt idx="39">
                  <c:v>0.1993740734051435</c:v>
                </c:pt>
                <c:pt idx="40">
                  <c:v>0.21950894886363637</c:v>
                </c:pt>
                <c:pt idx="41">
                  <c:v>0.2780806994627063</c:v>
                </c:pt>
                <c:pt idx="42">
                  <c:v>0.22058061224489794</c:v>
                </c:pt>
                <c:pt idx="43">
                  <c:v>0.23194728539937118</c:v>
                </c:pt>
                <c:pt idx="44">
                  <c:v>0.2613522749128432</c:v>
                </c:pt>
                <c:pt idx="45">
                  <c:v>0.2215456201029135</c:v>
                </c:pt>
                <c:pt idx="46">
                  <c:v>0.1605006000182342</c:v>
                </c:pt>
                <c:pt idx="47">
                  <c:v>0.2692115586313442</c:v>
                </c:pt>
                <c:pt idx="48">
                  <c:v>0.39747688145539306</c:v>
                </c:pt>
                <c:pt idx="49">
                  <c:v>0.3338110365404092</c:v>
                </c:pt>
                <c:pt idx="50">
                  <c:v>0.3087024124641542</c:v>
                </c:pt>
              </c:numCache>
            </c:numRef>
          </c:xVal>
          <c:yVal>
            <c:numRef>
              <c:f>Sheet1!$B$9:$B$59</c:f>
              <c:numCache>
                <c:formatCode>General</c:formatCode>
                <c:ptCount val="51"/>
                <c:pt idx="0">
                  <c:v>0.3431372549019608</c:v>
                </c:pt>
                <c:pt idx="1">
                  <c:v>0.6763285024154589</c:v>
                </c:pt>
                <c:pt idx="2">
                  <c:v>0.8067796610169492</c:v>
                </c:pt>
                <c:pt idx="3">
                  <c:v>0.810126582278481</c:v>
                </c:pt>
                <c:pt idx="4">
                  <c:v>0.795774647887324</c:v>
                </c:pt>
                <c:pt idx="5">
                  <c:v>0.7854251012145749</c:v>
                </c:pt>
                <c:pt idx="6">
                  <c:v>0.7813953488372093</c:v>
                </c:pt>
                <c:pt idx="7">
                  <c:v>0.678082191780822</c:v>
                </c:pt>
                <c:pt idx="8">
                  <c:v>0.7025316455696202</c:v>
                </c:pt>
                <c:pt idx="9">
                  <c:v>0.7228260869565217</c:v>
                </c:pt>
                <c:pt idx="10">
                  <c:v>0.8271604938271605</c:v>
                </c:pt>
                <c:pt idx="11">
                  <c:v>0.8575757575757575</c:v>
                </c:pt>
                <c:pt idx="12">
                  <c:v>0.8091872791519434</c:v>
                </c:pt>
                <c:pt idx="13">
                  <c:v>0.8377192982456141</c:v>
                </c:pt>
                <c:pt idx="14">
                  <c:v>0.7905759162303665</c:v>
                </c:pt>
                <c:pt idx="15">
                  <c:v>0.7897727272727273</c:v>
                </c:pt>
                <c:pt idx="16">
                  <c:v>0.7925925925925926</c:v>
                </c:pt>
                <c:pt idx="17">
                  <c:v>0.6814159292035398</c:v>
                </c:pt>
                <c:pt idx="18">
                  <c:v>0.6619718309859155</c:v>
                </c:pt>
                <c:pt idx="19">
                  <c:v>0.6699029126213593</c:v>
                </c:pt>
                <c:pt idx="20">
                  <c:v>0.4745762711864407</c:v>
                </c:pt>
                <c:pt idx="21">
                  <c:v>0.7769784172661871</c:v>
                </c:pt>
                <c:pt idx="22">
                  <c:v>0.8209876543209876</c:v>
                </c:pt>
                <c:pt idx="23">
                  <c:v>0.7816901408450704</c:v>
                </c:pt>
                <c:pt idx="24">
                  <c:v>0.7745098039215687</c:v>
                </c:pt>
                <c:pt idx="25">
                  <c:v>0.5142857142857142</c:v>
                </c:pt>
                <c:pt idx="26">
                  <c:v>0.4461538461538462</c:v>
                </c:pt>
                <c:pt idx="27">
                  <c:v>0.43373493975903615</c:v>
                </c:pt>
                <c:pt idx="28">
                  <c:v>0.3918918918918919</c:v>
                </c:pt>
                <c:pt idx="29">
                  <c:v>0.3</c:v>
                </c:pt>
                <c:pt idx="30">
                  <c:v>0.28846153846153844</c:v>
                </c:pt>
                <c:pt idx="31">
                  <c:v>0.42857142857142855</c:v>
                </c:pt>
                <c:pt idx="32">
                  <c:v>0.45918367346938777</c:v>
                </c:pt>
                <c:pt idx="33">
                  <c:v>0.3181818181818182</c:v>
                </c:pt>
                <c:pt idx="34">
                  <c:v>0.3416666666666667</c:v>
                </c:pt>
                <c:pt idx="35">
                  <c:v>0.32954545454545453</c:v>
                </c:pt>
                <c:pt idx="36">
                  <c:v>0.5664335664335665</c:v>
                </c:pt>
                <c:pt idx="37">
                  <c:v>0.6712328767123288</c:v>
                </c:pt>
                <c:pt idx="38">
                  <c:v>0.5689655172413793</c:v>
                </c:pt>
                <c:pt idx="39">
                  <c:v>0.46808510638297873</c:v>
                </c:pt>
                <c:pt idx="40">
                  <c:v>0.44155844155844154</c:v>
                </c:pt>
                <c:pt idx="41">
                  <c:v>0.36065573770491804</c:v>
                </c:pt>
                <c:pt idx="42">
                  <c:v>0.3333333333333333</c:v>
                </c:pt>
                <c:pt idx="43">
                  <c:v>0.26804123711340205</c:v>
                </c:pt>
                <c:pt idx="44">
                  <c:v>0.3089887640449438</c:v>
                </c:pt>
                <c:pt idx="45">
                  <c:v>0.3821656050955414</c:v>
                </c:pt>
                <c:pt idx="46">
                  <c:v>0.4125874125874126</c:v>
                </c:pt>
                <c:pt idx="47">
                  <c:v>0.3543307086614173</c:v>
                </c:pt>
                <c:pt idx="48">
                  <c:v>0.28846153846153844</c:v>
                </c:pt>
                <c:pt idx="49">
                  <c:v>0.2631578947368421</c:v>
                </c:pt>
                <c:pt idx="50">
                  <c:v>0.2463768115942029</c:v>
                </c:pt>
              </c:numCache>
            </c:numRef>
          </c:yVal>
          <c:smooth val="0"/>
          <c:extLst>
            <c:ext xmlns:c16="http://schemas.microsoft.com/office/drawing/2014/chart" uri="{C3380CC4-5D6E-409C-BE32-E72D297353CC}">
              <c16:uniqueId val="{00000002-096C-4121-9522-6AB7243CCAAE}"/>
            </c:ext>
          </c:extLst>
        </c:ser>
        <c:ser>
          <c:idx val="2"/>
          <c:order val="2"/>
          <c:tx>
            <c:strRef>
              <c:f>Sheet1!$B$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2:$A$63</c:f>
              <c:numCache>
                <c:formatCode>General</c:formatCode>
                <c:ptCount val="2"/>
                <c:pt idx="0">
                  <c:v>0</c:v>
                </c:pt>
                <c:pt idx="1">
                  <c:v>0.1253001971454673</c:v>
                </c:pt>
              </c:numCache>
            </c:numRef>
          </c:xVal>
          <c:yVal>
            <c:numRef>
              <c:f>Sheet1!$B$62:$B$63</c:f>
              <c:numCache>
                <c:formatCode>General</c:formatCode>
                <c:ptCount val="2"/>
                <c:pt idx="0">
                  <c:v>0.7398314416476583</c:v>
                </c:pt>
                <c:pt idx="1">
                  <c:v>0.7398314416476583</c:v>
                </c:pt>
              </c:numCache>
            </c:numRef>
          </c:yVal>
          <c:smooth val="0"/>
          <c:extLst>
            <c:ext xmlns:c16="http://schemas.microsoft.com/office/drawing/2014/chart" uri="{C3380CC4-5D6E-409C-BE32-E72D297353CC}">
              <c16:uniqueId val="{00000005-096C-4121-9522-6AB7243CCAAE}"/>
            </c:ext>
          </c:extLst>
        </c:ser>
        <c:ser>
          <c:idx val="3"/>
          <c:order val="3"/>
          <c:tx>
            <c:strRef>
              <c:f>Sheet1!$B$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6:$A$67</c:f>
              <c:numCache>
                <c:formatCode>General</c:formatCode>
                <c:ptCount val="2"/>
                <c:pt idx="0">
                  <c:v>0.1253001971454673</c:v>
                </c:pt>
                <c:pt idx="1">
                  <c:v>0.1253001971454673</c:v>
                </c:pt>
              </c:numCache>
            </c:numRef>
          </c:xVal>
          <c:yVal>
            <c:numRef>
              <c:f>Sheet1!$B$66:$B$67</c:f>
              <c:numCache>
                <c:formatCode>General</c:formatCode>
                <c:ptCount val="2"/>
                <c:pt idx="0">
                  <c:v>0.739831441647658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70:$A$71</c:f>
              <c:numCache>
                <c:formatCode>General</c:formatCode>
                <c:ptCount val="2"/>
                <c:pt idx="0">
                  <c:v>0</c:v>
                </c:pt>
                <c:pt idx="1">
                  <c:v>0.1253001971454673</c:v>
                </c:pt>
              </c:numCache>
            </c:numRef>
          </c:xVal>
          <c:yVal>
            <c:numRef>
              <c:f>Sheet1!$B$70:$B$71</c:f>
              <c:numCache>
                <c:formatCode>General</c:formatCode>
                <c:ptCount val="2"/>
                <c:pt idx="0">
                  <c:v>0.7398314416476583</c:v>
                </c:pt>
                <c:pt idx="1">
                  <c:v>0.7398314416476583</c:v>
                </c:pt>
              </c:numCache>
            </c:numRef>
          </c:yVal>
          <c:smooth val="0"/>
          <c:extLst>
            <c:ext xmlns:c16="http://schemas.microsoft.com/office/drawing/2014/chart" uri="{C3380CC4-5D6E-409C-BE32-E72D297353CC}">
              <c16:uniqueId val="{0000000D-096C-4121-9522-6AB7243CCAAE}"/>
            </c:ext>
          </c:extLst>
        </c:ser>
        <c:ser>
          <c:idx val="5"/>
          <c:order val="5"/>
          <c:tx>
            <c:strRef>
              <c:f>Sheet1!$B$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4:$A$75</c:f>
              <c:numCache>
                <c:formatCode>General</c:formatCode>
                <c:ptCount val="2"/>
                <c:pt idx="0">
                  <c:v>0.1253001971454673</c:v>
                </c:pt>
                <c:pt idx="1">
                  <c:v>0.1253001971454673</c:v>
                </c:pt>
              </c:numCache>
            </c:numRef>
          </c:xVal>
          <c:yVal>
            <c:numRef>
              <c:f>Sheet1!$B$74:$B$75</c:f>
              <c:numCache>
                <c:formatCode>General</c:formatCode>
                <c:ptCount val="2"/>
                <c:pt idx="0">
                  <c:v>0.739831441647658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78:$A$79</c:f>
              <c:numCache>
                <c:formatCode>General</c:formatCode>
                <c:ptCount val="2"/>
                <c:pt idx="0">
                  <c:v>0</c:v>
                </c:pt>
                <c:pt idx="1">
                  <c:v>0.41234382221279203</c:v>
                </c:pt>
              </c:numCache>
            </c:numRef>
          </c:xVal>
          <c:yVal>
            <c:numRef>
              <c:f>Sheet1!$B$78:$B$79</c:f>
              <c:numCache>
                <c:formatCode>General</c:formatCode>
                <c:ptCount val="2"/>
                <c:pt idx="0">
                  <c:v>0.3612852391166425</c:v>
                </c:pt>
                <c:pt idx="1">
                  <c:v>0.3612852391166425</c:v>
                </c:pt>
              </c:numCache>
            </c:numRef>
          </c:yVal>
          <c:smooth val="0"/>
          <c:extLst>
            <c:ext xmlns:c16="http://schemas.microsoft.com/office/drawing/2014/chart" uri="{C3380CC4-5D6E-409C-BE32-E72D297353CC}">
              <c16:uniqueId val="{00000015-096C-4121-9522-6AB7243CCAAE}"/>
            </c:ext>
          </c:extLst>
        </c:ser>
        <c:ser>
          <c:idx val="7"/>
          <c:order val="7"/>
          <c:tx>
            <c:strRef>
              <c:f>Sheet1!$B$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2:$A$83</c:f>
              <c:numCache>
                <c:formatCode>General</c:formatCode>
                <c:ptCount val="2"/>
                <c:pt idx="0">
                  <c:v>0.41234382221279203</c:v>
                </c:pt>
                <c:pt idx="1">
                  <c:v>0.41234382221279203</c:v>
                </c:pt>
              </c:numCache>
            </c:numRef>
          </c:xVal>
          <c:yVal>
            <c:numRef>
              <c:f>Sheet1!$B$82:$B$83</c:f>
              <c:numCache>
                <c:formatCode>General</c:formatCode>
                <c:ptCount val="2"/>
                <c:pt idx="0">
                  <c:v>0.36128523911664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86:$A$139</c:f>
              <c:numCache>
                <c:formatCode>General</c:formatCode>
                <c:ptCount val="54"/>
                <c:pt idx="0">
                  <c:v>0.2245975531229878</c:v>
                </c:pt>
                <c:pt idx="1">
                  <c:v>0.291071681785471</c:v>
                </c:pt>
                <c:pt idx="2">
                  <c:v>0.24775482303955587</c:v>
                </c:pt>
                <c:pt idx="3">
                  <c:v>0.22494318539502675</c:v>
                </c:pt>
                <c:pt idx="4">
                  <c:v>0.30225960602467955</c:v>
                </c:pt>
                <c:pt idx="5">
                  <c:v>0.26466626782806923</c:v>
                </c:pt>
                <c:pt idx="6">
                  <c:v>0.3182848403803593</c:v>
                </c:pt>
                <c:pt idx="7">
                  <c:v>0.3166781336193687</c:v>
                </c:pt>
                <c:pt idx="8">
                  <c:v>0.300694070695553</c:v>
                </c:pt>
                <c:pt idx="9">
                  <c:v>0.24515287409462166</c:v>
                </c:pt>
                <c:pt idx="10">
                  <c:v>0.17766182533138833</c:v>
                </c:pt>
                <c:pt idx="11">
                  <c:v>0.16351431973014086</c:v>
                </c:pt>
                <c:pt idx="12">
                  <c:v>0.1817502725165993</c:v>
                </c:pt>
                <c:pt idx="13">
                  <c:v>0.1770509526401742</c:v>
                </c:pt>
                <c:pt idx="14">
                  <c:v>0.15818908243216992</c:v>
                </c:pt>
                <c:pt idx="15">
                  <c:v>0.21462352418996894</c:v>
                </c:pt>
                <c:pt idx="16">
                  <c:v>0.206156039828806</c:v>
                </c:pt>
                <c:pt idx="17">
                  <c:v>0.1920203831132602</c:v>
                </c:pt>
                <c:pt idx="18">
                  <c:v>0.2526789551757498</c:v>
                </c:pt>
                <c:pt idx="19">
                  <c:v>0.25909024724378626</c:v>
                </c:pt>
                <c:pt idx="20">
                  <c:v>0.306489552238806</c:v>
                </c:pt>
                <c:pt idx="21">
                  <c:v>0.21875656926634435</c:v>
                </c:pt>
                <c:pt idx="22">
                  <c:v>0.15196243213897936</c:v>
                </c:pt>
                <c:pt idx="23">
                  <c:v>0.16602344809610295</c:v>
                </c:pt>
                <c:pt idx="24">
                  <c:v>0.19230957954052882</c:v>
                </c:pt>
                <c:pt idx="25">
                  <c:v>0.2440724623556357</c:v>
                </c:pt>
                <c:pt idx="26">
                  <c:v>0.26032258944466546</c:v>
                </c:pt>
                <c:pt idx="27">
                  <c:v>0.3744090228779132</c:v>
                </c:pt>
                <c:pt idx="28">
                  <c:v>0.3380422363892006</c:v>
                </c:pt>
                <c:pt idx="29">
                  <c:v>0.4417560550618575</c:v>
                </c:pt>
                <c:pt idx="30">
                  <c:v>0.5694315625923407</c:v>
                </c:pt>
                <c:pt idx="31">
                  <c:v>0.30267548609883665</c:v>
                </c:pt>
                <c:pt idx="32">
                  <c:v>0.3094960410860586</c:v>
                </c:pt>
                <c:pt idx="33">
                  <c:v>0.46137987522832735</c:v>
                </c:pt>
                <c:pt idx="34">
                  <c:v>0.3128047696631925</c:v>
                </c:pt>
                <c:pt idx="35">
                  <c:v>0.26817014547754586</c:v>
                </c:pt>
                <c:pt idx="36">
                  <c:v>0.17781997947124586</c:v>
                </c:pt>
                <c:pt idx="37">
                  <c:v>0.15256679439297666</c:v>
                </c:pt>
                <c:pt idx="38">
                  <c:v>0.21844501411100659</c:v>
                </c:pt>
                <c:pt idx="39">
                  <c:v>0.1993740734051435</c:v>
                </c:pt>
                <c:pt idx="40">
                  <c:v>0.21950894886363637</c:v>
                </c:pt>
                <c:pt idx="41">
                  <c:v>0.2780806994627063</c:v>
                </c:pt>
                <c:pt idx="42">
                  <c:v>0.22058061224489794</c:v>
                </c:pt>
                <c:pt idx="43">
                  <c:v>0.23194728539937118</c:v>
                </c:pt>
                <c:pt idx="44">
                  <c:v>0.2613522749128432</c:v>
                </c:pt>
                <c:pt idx="45">
                  <c:v>0.2215456201029135</c:v>
                </c:pt>
                <c:pt idx="46">
                  <c:v>0.1605006000182342</c:v>
                </c:pt>
                <c:pt idx="47">
                  <c:v>0.2692115586313442</c:v>
                </c:pt>
                <c:pt idx="48">
                  <c:v>0.39747688145539306</c:v>
                </c:pt>
                <c:pt idx="49">
                  <c:v>0.3338110365404092</c:v>
                </c:pt>
                <c:pt idx="50">
                  <c:v>0.3087024124641542</c:v>
                </c:pt>
                <c:pt idx="51">
                  <c:v>0.1253001971454673</c:v>
                </c:pt>
                <c:pt idx="52">
                  <c:v>0.1253001971454673</c:v>
                </c:pt>
                <c:pt idx="53">
                  <c:v>0.41234382221279203</c:v>
                </c:pt>
              </c:numCache>
            </c:numRef>
          </c:xVal>
          <c:yVal>
            <c:numRef>
              <c:f>Sheet1!$B$86:$B$139</c:f>
              <c:numCache>
                <c:formatCode>General</c:formatCode>
                <c:ptCount val="54"/>
                <c:pt idx="0">
                  <c:v>0.608880485959844</c:v>
                </c:pt>
                <c:pt idx="1">
                  <c:v>0.5212160099909413</c:v>
                </c:pt>
                <c:pt idx="2">
                  <c:v>0.5783412374890008</c:v>
                </c:pt>
                <c:pt idx="3">
                  <c:v>0.6084246744642157</c:v>
                </c:pt>
                <c:pt idx="4">
                  <c:v>0.5064616456187532</c:v>
                </c:pt>
                <c:pt idx="5">
                  <c:v>0.5560388324016097</c:v>
                </c:pt>
                <c:pt idx="6">
                  <c:v>0.485327953454054</c:v>
                </c:pt>
                <c:pt idx="7">
                  <c:v>0.4874468395390916</c:v>
                </c:pt>
                <c:pt idx="8">
                  <c:v>0.5085262358134666</c:v>
                </c:pt>
                <c:pt idx="9">
                  <c:v>0.5817726249376975</c:v>
                </c:pt>
                <c:pt idx="10">
                  <c:v>0.6707781905835651</c:v>
                </c:pt>
                <c:pt idx="11">
                  <c:v>0.6894355794016669</c:v>
                </c:pt>
                <c:pt idx="12">
                  <c:v>0.6653864451447064</c:v>
                </c:pt>
                <c:pt idx="13">
                  <c:v>0.6715837947401974</c:v>
                </c:pt>
                <c:pt idx="14">
                  <c:v>0.6964583737809207</c:v>
                </c:pt>
                <c:pt idx="15">
                  <c:v>0.6220339945097837</c:v>
                </c:pt>
                <c:pt idx="16">
                  <c:v>0.6332007084514615</c:v>
                </c:pt>
                <c:pt idx="17">
                  <c:v>0.6518424712451723</c:v>
                </c:pt>
                <c:pt idx="18">
                  <c:v>0.571847410913058</c:v>
                </c:pt>
                <c:pt idx="19">
                  <c:v>0.5633923537240917</c:v>
                </c:pt>
                <c:pt idx="20">
                  <c:v>0.5008832946768276</c:v>
                </c:pt>
                <c:pt idx="21">
                  <c:v>0.6165834344488018</c:v>
                </c:pt>
                <c:pt idx="22">
                  <c:v>0.7046699298550996</c:v>
                </c:pt>
                <c:pt idx="23">
                  <c:v>0.6861266014915147</c:v>
                </c:pt>
                <c:pt idx="24">
                  <c:v>0.651461085979074</c:v>
                </c:pt>
                <c:pt idx="25">
                  <c:v>0.5831974458542643</c:v>
                </c:pt>
                <c:pt idx="26">
                  <c:v>0.5617671705824974</c:v>
                </c:pt>
                <c:pt idx="27">
                  <c:v>0.41131273660461626</c:v>
                </c:pt>
                <c:pt idx="28">
                  <c:v>0.4592723766082204</c:v>
                </c:pt>
                <c:pt idx="29">
                  <c:v>0.32249709654646574</c:v>
                </c:pt>
                <c:pt idx="30">
                  <c:v>0.15412171973554123</c:v>
                </c:pt>
                <c:pt idx="31">
                  <c:v>0.5059131930177119</c:v>
                </c:pt>
                <c:pt idx="32">
                  <c:v>0.49691840977192026</c:v>
                </c:pt>
                <c:pt idx="33">
                  <c:v>0.2966176762965773</c:v>
                </c:pt>
                <c:pt idx="34">
                  <c:v>0.4925549384083388</c:v>
                </c:pt>
                <c:pt idx="35">
                  <c:v>0.5514180031529838</c:v>
                </c:pt>
                <c:pt idx="36">
                  <c:v>0.670569620722299</c:v>
                </c:pt>
                <c:pt idx="37">
                  <c:v>0.7038729115058848</c:v>
                </c:pt>
                <c:pt idx="38">
                  <c:v>0.616994305865662</c:v>
                </c:pt>
                <c:pt idx="39">
                  <c:v>0.6421446020312898</c:v>
                </c:pt>
                <c:pt idx="40">
                  <c:v>0.6155912144008913</c:v>
                </c:pt>
                <c:pt idx="41">
                  <c:v>0.5383482038317791</c:v>
                </c:pt>
                <c:pt idx="42">
                  <c:v>0.6141779306072764</c:v>
                </c:pt>
                <c:pt idx="43">
                  <c:v>0.5991878364812429</c:v>
                </c:pt>
                <c:pt idx="44">
                  <c:v>0.5604092462471681</c:v>
                </c:pt>
                <c:pt idx="45">
                  <c:v>0.612905301542692</c:v>
                </c:pt>
                <c:pt idx="46">
                  <c:v>0.6934100001963024</c:v>
                </c:pt>
                <c:pt idx="47">
                  <c:v>0.5500446126290043</c:v>
                </c:pt>
                <c:pt idx="48">
                  <c:v>0.3808914016490693</c:v>
                </c:pt>
                <c:pt idx="49">
                  <c:v>0.464852380813275</c:v>
                </c:pt>
                <c:pt idx="50">
                  <c:v>0.49796502803759807</c:v>
                </c:pt>
                <c:pt idx="51">
                  <c:v>0.7398314416476583</c:v>
                </c:pt>
                <c:pt idx="52">
                  <c:v>0.7398314416476583</c:v>
                </c:pt>
                <c:pt idx="53">
                  <c:v>0.3612852391166424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cean Poti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29090909090909"/>
          <c:min val="0.1971014492753623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c:f>
              <c:numCache>
                <c:formatCode>General</c:formatCode>
                <c:ptCount val="4"/>
                <c:pt idx="0">
                  <c:v>817.0282</c:v>
                </c:pt>
                <c:pt idx="1">
                  <c:v>1070.5789</c:v>
                </c:pt>
                <c:pt idx="2">
                  <c:v>1102.0513</c:v>
                </c:pt>
                <c:pt idx="3">
                  <c:v>1075.7333</c:v>
                </c:pt>
              </c:numCache>
            </c:numRef>
          </c:xVal>
          <c:yVal>
            <c:numRef>
              <c:f>Sheet1!$B$2:$B$5</c:f>
              <c:numCache>
                <c:formatCode>General</c:formatCode>
                <c:ptCount val="4"/>
                <c:pt idx="0">
                  <c:v>0.5</c:v>
                </c:pt>
                <c:pt idx="1">
                  <c:v>0.5277777777777778</c:v>
                </c:pt>
                <c:pt idx="2">
                  <c:v>0.4642857142857143</c:v>
                </c:pt>
                <c:pt idx="3">
                  <c:v>0.375</c:v>
                </c:pt>
              </c:numCache>
            </c:numRef>
          </c:yVal>
          <c:smooth val="0"/>
          <c:extLst>
            <c:ext xmlns:c16="http://schemas.microsoft.com/office/drawing/2014/chart" uri="{C3380CC4-5D6E-409C-BE32-E72D297353CC}">
              <c16:uniqueId val="{00000000-F32D-48B7-BC20-E66FC6253BAD}"/>
            </c:ext>
          </c:extLst>
        </c:ser>
        <c:ser>
          <c:idx val="1"/>
          <c:order val="1"/>
          <c:tx>
            <c:strRef>
              <c:f>Sheet1!$B$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A$59</c:f>
              <c:numCache>
                <c:formatCode>General</c:formatCode>
                <c:ptCount val="52"/>
                <c:pt idx="0">
                  <c:v>1046.4</c:v>
                </c:pt>
                <c:pt idx="1">
                  <c:v>722.3429</c:v>
                </c:pt>
                <c:pt idx="2">
                  <c:v>714.0294</c:v>
                </c:pt>
                <c:pt idx="3">
                  <c:v>714.6445</c:v>
                </c:pt>
                <c:pt idx="4">
                  <c:v>718.6726</c:v>
                </c:pt>
                <c:pt idx="5">
                  <c:v>740.0825</c:v>
                </c:pt>
                <c:pt idx="6">
                  <c:v>734.0179</c:v>
                </c:pt>
                <c:pt idx="7">
                  <c:v>790.6828</c:v>
                </c:pt>
                <c:pt idx="8">
                  <c:v>826.6566</c:v>
                </c:pt>
                <c:pt idx="9">
                  <c:v>791.1261</c:v>
                </c:pt>
                <c:pt idx="10">
                  <c:v>795.3985</c:v>
                </c:pt>
                <c:pt idx="11">
                  <c:v>560.2388</c:v>
                </c:pt>
                <c:pt idx="12">
                  <c:v>494.4346</c:v>
                </c:pt>
                <c:pt idx="13">
                  <c:v>516.2227</c:v>
                </c:pt>
                <c:pt idx="14">
                  <c:v>487.8639</c:v>
                </c:pt>
                <c:pt idx="15">
                  <c:v>488.5828</c:v>
                </c:pt>
                <c:pt idx="16">
                  <c:v>483.5468</c:v>
                </c:pt>
                <c:pt idx="17">
                  <c:v>472.0561</c:v>
                </c:pt>
                <c:pt idx="18">
                  <c:v>516.2468</c:v>
                </c:pt>
                <c:pt idx="19">
                  <c:v>489.7234</c:v>
                </c:pt>
                <c:pt idx="20">
                  <c:v>496.4493</c:v>
                </c:pt>
                <c:pt idx="21">
                  <c:v>600.6429</c:v>
                </c:pt>
                <c:pt idx="22">
                  <c:v>416.25</c:v>
                </c:pt>
                <c:pt idx="23">
                  <c:v>419.8722</c:v>
                </c:pt>
                <c:pt idx="24">
                  <c:v>409.0541</c:v>
                </c:pt>
                <c:pt idx="25">
                  <c:v>443.6582</c:v>
                </c:pt>
                <c:pt idx="26">
                  <c:v>500.8611</c:v>
                </c:pt>
                <c:pt idx="27">
                  <c:v>487.6552</c:v>
                </c:pt>
                <c:pt idx="28">
                  <c:v>525.3333</c:v>
                </c:pt>
                <c:pt idx="29">
                  <c:v>521.8621</c:v>
                </c:pt>
                <c:pt idx="30">
                  <c:v>760.5714</c:v>
                </c:pt>
                <c:pt idx="31">
                  <c:v>621.8667</c:v>
                </c:pt>
                <c:pt idx="32">
                  <c:v>561.3333</c:v>
                </c:pt>
                <c:pt idx="33">
                  <c:v>638.3778</c:v>
                </c:pt>
                <c:pt idx="34">
                  <c:v>1035.8333</c:v>
                </c:pt>
                <c:pt idx="35">
                  <c:v>701.9756</c:v>
                </c:pt>
                <c:pt idx="36">
                  <c:v>635.9655</c:v>
                </c:pt>
                <c:pt idx="37">
                  <c:v>400.6173</c:v>
                </c:pt>
                <c:pt idx="38">
                  <c:v>393.1837</c:v>
                </c:pt>
                <c:pt idx="39">
                  <c:v>464.4141</c:v>
                </c:pt>
                <c:pt idx="40">
                  <c:v>435.1515</c:v>
                </c:pt>
                <c:pt idx="41">
                  <c:v>463.6029</c:v>
                </c:pt>
                <c:pt idx="42">
                  <c:v>592.7955</c:v>
                </c:pt>
                <c:pt idx="43">
                  <c:v>497.1887</c:v>
                </c:pt>
                <c:pt idx="44">
                  <c:v>492.4615</c:v>
                </c:pt>
                <c:pt idx="45">
                  <c:v>557.5455</c:v>
                </c:pt>
                <c:pt idx="46">
                  <c:v>472.7667</c:v>
                </c:pt>
                <c:pt idx="47">
                  <c:v>377.0847</c:v>
                </c:pt>
                <c:pt idx="48">
                  <c:v>586.6889</c:v>
                </c:pt>
                <c:pt idx="49">
                  <c:v>787.6667</c:v>
                </c:pt>
                <c:pt idx="50">
                  <c:v>717.2545</c:v>
                </c:pt>
                <c:pt idx="51">
                  <c:v>740.2941</c:v>
                </c:pt>
              </c:numCache>
            </c:numRef>
          </c:xVal>
          <c:yVal>
            <c:numRef>
              <c:f>Sheet1!$B$8:$B$59</c:f>
              <c:numCache>
                <c:formatCode>General</c:formatCode>
                <c:ptCount val="52"/>
                <c:pt idx="0">
                  <c:v>0.3431372549019608</c:v>
                </c:pt>
                <c:pt idx="1">
                  <c:v>0.6763285024154589</c:v>
                </c:pt>
                <c:pt idx="2">
                  <c:v>0.8067796610169492</c:v>
                </c:pt>
                <c:pt idx="3">
                  <c:v>0.810126582278481</c:v>
                </c:pt>
                <c:pt idx="4">
                  <c:v>0.795774647887324</c:v>
                </c:pt>
                <c:pt idx="5">
                  <c:v>0.7854251012145749</c:v>
                </c:pt>
                <c:pt idx="6">
                  <c:v>0.7813953488372093</c:v>
                </c:pt>
                <c:pt idx="7">
                  <c:v>0.8192090395480226</c:v>
                </c:pt>
                <c:pt idx="8">
                  <c:v>0.678082191780822</c:v>
                </c:pt>
                <c:pt idx="9">
                  <c:v>0.7025316455696202</c:v>
                </c:pt>
                <c:pt idx="10">
                  <c:v>0.7228260869565217</c:v>
                </c:pt>
                <c:pt idx="11">
                  <c:v>0.8271604938271605</c:v>
                </c:pt>
                <c:pt idx="12">
                  <c:v>0.8575757575757575</c:v>
                </c:pt>
                <c:pt idx="13">
                  <c:v>0.8091872791519434</c:v>
                </c:pt>
                <c:pt idx="14">
                  <c:v>0.8377192982456141</c:v>
                </c:pt>
                <c:pt idx="15">
                  <c:v>0.7905759162303665</c:v>
                </c:pt>
                <c:pt idx="16">
                  <c:v>0.7897727272727273</c:v>
                </c:pt>
                <c:pt idx="17">
                  <c:v>0.7925925925925926</c:v>
                </c:pt>
                <c:pt idx="18">
                  <c:v>0.6814159292035398</c:v>
                </c:pt>
                <c:pt idx="19">
                  <c:v>0.6619718309859155</c:v>
                </c:pt>
                <c:pt idx="20">
                  <c:v>0.6699029126213593</c:v>
                </c:pt>
                <c:pt idx="21">
                  <c:v>0.4745762711864407</c:v>
                </c:pt>
                <c:pt idx="22">
                  <c:v>0.7769784172661871</c:v>
                </c:pt>
                <c:pt idx="23">
                  <c:v>0.8209876543209876</c:v>
                </c:pt>
                <c:pt idx="24">
                  <c:v>0.7816901408450704</c:v>
                </c:pt>
                <c:pt idx="25">
                  <c:v>0.7745098039215687</c:v>
                </c:pt>
                <c:pt idx="26">
                  <c:v>0.5142857142857142</c:v>
                </c:pt>
                <c:pt idx="27">
                  <c:v>0.4461538461538462</c:v>
                </c:pt>
                <c:pt idx="28">
                  <c:v>0.43373493975903615</c:v>
                </c:pt>
                <c:pt idx="29">
                  <c:v>0.3918918918918919</c:v>
                </c:pt>
                <c:pt idx="30">
                  <c:v>0.3</c:v>
                </c:pt>
                <c:pt idx="31">
                  <c:v>0.28846153846153844</c:v>
                </c:pt>
                <c:pt idx="32">
                  <c:v>0.42857142857142855</c:v>
                </c:pt>
                <c:pt idx="33">
                  <c:v>0.45918367346938777</c:v>
                </c:pt>
                <c:pt idx="34">
                  <c:v>0.3181818181818182</c:v>
                </c:pt>
                <c:pt idx="35">
                  <c:v>0.3416666666666667</c:v>
                </c:pt>
                <c:pt idx="36">
                  <c:v>0.32954545454545453</c:v>
                </c:pt>
                <c:pt idx="37">
                  <c:v>0.5664335664335665</c:v>
                </c:pt>
                <c:pt idx="38">
                  <c:v>0.6712328767123288</c:v>
                </c:pt>
                <c:pt idx="39">
                  <c:v>0.5689655172413793</c:v>
                </c:pt>
                <c:pt idx="40">
                  <c:v>0.46808510638297873</c:v>
                </c:pt>
                <c:pt idx="41">
                  <c:v>0.44155844155844154</c:v>
                </c:pt>
                <c:pt idx="42">
                  <c:v>0.36065573770491804</c:v>
                </c:pt>
                <c:pt idx="43">
                  <c:v>0.3333333333333333</c:v>
                </c:pt>
                <c:pt idx="44">
                  <c:v>0.26804123711340205</c:v>
                </c:pt>
                <c:pt idx="45">
                  <c:v>0.3089887640449438</c:v>
                </c:pt>
                <c:pt idx="46">
                  <c:v>0.3821656050955414</c:v>
                </c:pt>
                <c:pt idx="47">
                  <c:v>0.4125874125874126</c:v>
                </c:pt>
                <c:pt idx="48">
                  <c:v>0.3543307086614173</c:v>
                </c:pt>
                <c:pt idx="49">
                  <c:v>0.28846153846153844</c:v>
                </c:pt>
                <c:pt idx="50">
                  <c:v>0.2631578947368421</c:v>
                </c:pt>
                <c:pt idx="51">
                  <c:v>0.2463768115942029</c:v>
                </c:pt>
              </c:numCache>
            </c:numRef>
          </c:yVal>
          <c:smooth val="0"/>
          <c:extLst>
            <c:ext xmlns:c16="http://schemas.microsoft.com/office/drawing/2014/chart" uri="{C3380CC4-5D6E-409C-BE32-E72D297353CC}">
              <c16:uniqueId val="{00000002-F32D-48B7-BC20-E66FC6253BAD}"/>
            </c:ext>
          </c:extLst>
        </c:ser>
        <c:ser>
          <c:idx val="2"/>
          <c:order val="2"/>
          <c:tx>
            <c:strRef>
              <c:f>Sheet1!$B$61</c:f>
              <c:strCache>
                <c:ptCount val="1"/>
                <c:pt idx="0">
                  <c:v>Custom Linep3yQ</c:v>
                </c:pt>
              </c:strCache>
            </c:strRef>
          </c:tx>
          <c:spPr>
            <a:ln w="19050" cap="rnd">
              <a:solidFill>
                <a:srgbClr val="C00000"/>
              </a:solidFill>
              <a:prstDash val="sysDot"/>
              <a:round/>
            </a:ln>
            <a:effectLst/>
          </c:spPr>
          <c:marker>
            <c:symbol val="none"/>
          </c:marker>
          <c:xVal>
            <c:numRef>
              <c:f>Sheet1!$A$62:$A$63</c:f>
              <c:numCache>
                <c:formatCode>General</c:formatCode>
                <c:ptCount val="2"/>
                <c:pt idx="0">
                  <c:v>0</c:v>
                </c:pt>
                <c:pt idx="1">
                  <c:v>-102.72730028165822</c:v>
                </c:pt>
              </c:numCache>
            </c:numRef>
          </c:xVal>
          <c:yVal>
            <c:numRef>
              <c:f>Sheet1!$B$62:$B$63</c:f>
              <c:numCache>
                <c:formatCode>General</c:formatCode>
                <c:ptCount val="2"/>
                <c:pt idx="0">
                  <c:v>0.7398314416476583</c:v>
                </c:pt>
                <c:pt idx="1">
                  <c:v>0.7398314416476583</c:v>
                </c:pt>
              </c:numCache>
            </c:numRef>
          </c:yVal>
          <c:smooth val="0"/>
          <c:extLst>
            <c:ext xmlns:c16="http://schemas.microsoft.com/office/drawing/2014/chart" uri="{C3380CC4-5D6E-409C-BE32-E72D297353CC}">
              <c16:uniqueId val="{00000003-F32D-48B7-BC20-E66FC6253BAD}"/>
            </c:ext>
          </c:extLst>
        </c:ser>
        <c:ser>
          <c:idx val="3"/>
          <c:order val="3"/>
          <c:tx>
            <c:strRef>
              <c:f>Sheet1!$B$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6:$A$67</c:f>
              <c:numCache>
                <c:formatCode>General</c:formatCode>
                <c:ptCount val="2"/>
                <c:pt idx="0">
                  <c:v>-102.72730028165822</c:v>
                </c:pt>
                <c:pt idx="1">
                  <c:v>-102.72730028165822</c:v>
                </c:pt>
              </c:numCache>
            </c:numRef>
          </c:xVal>
          <c:yVal>
            <c:numRef>
              <c:f>Sheet1!$B$66:$B$67</c:f>
              <c:numCache>
                <c:formatCode>General</c:formatCode>
                <c:ptCount val="2"/>
                <c:pt idx="0">
                  <c:v>0.739831441647658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70:$A$71</c:f>
              <c:numCache>
                <c:formatCode>General</c:formatCode>
                <c:ptCount val="2"/>
                <c:pt idx="0">
                  <c:v>0</c:v>
                </c:pt>
                <c:pt idx="1">
                  <c:v>-102.72730028165822</c:v>
                </c:pt>
              </c:numCache>
            </c:numRef>
          </c:xVal>
          <c:yVal>
            <c:numRef>
              <c:f>Sheet1!$B$70:$B$71</c:f>
              <c:numCache>
                <c:formatCode>General</c:formatCode>
                <c:ptCount val="2"/>
                <c:pt idx="0">
                  <c:v>0.7398314416476583</c:v>
                </c:pt>
                <c:pt idx="1">
                  <c:v>0.7398314416476583</c:v>
                </c:pt>
              </c:numCache>
            </c:numRef>
          </c:yVal>
          <c:smooth val="0"/>
          <c:extLst>
            <c:ext xmlns:c16="http://schemas.microsoft.com/office/drawing/2014/chart" uri="{C3380CC4-5D6E-409C-BE32-E72D297353CC}">
              <c16:uniqueId val="{0000000A-F32D-48B7-BC20-E66FC6253BAD}"/>
            </c:ext>
          </c:extLst>
        </c:ser>
        <c:ser>
          <c:idx val="5"/>
          <c:order val="5"/>
          <c:tx>
            <c:strRef>
              <c:f>Sheet1!$B$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4:$A$75</c:f>
              <c:numCache>
                <c:formatCode>General</c:formatCode>
                <c:ptCount val="2"/>
                <c:pt idx="0">
                  <c:v>-102.72730028165822</c:v>
                </c:pt>
                <c:pt idx="1">
                  <c:v>-102.72730028165822</c:v>
                </c:pt>
              </c:numCache>
            </c:numRef>
          </c:xVal>
          <c:yVal>
            <c:numRef>
              <c:f>Sheet1!$B$74:$B$75</c:f>
              <c:numCache>
                <c:formatCode>General</c:formatCode>
                <c:ptCount val="2"/>
                <c:pt idx="0">
                  <c:v>0.739831441647658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78:$A$79</c:f>
              <c:numCache>
                <c:formatCode>General</c:formatCode>
                <c:ptCount val="2"/>
                <c:pt idx="0">
                  <c:v>0</c:v>
                </c:pt>
                <c:pt idx="1">
                  <c:v>1417.052240973527</c:v>
                </c:pt>
              </c:numCache>
            </c:numRef>
          </c:xVal>
          <c:yVal>
            <c:numRef>
              <c:f>Sheet1!$B$78:$B$79</c:f>
              <c:numCache>
                <c:formatCode>General</c:formatCode>
                <c:ptCount val="2"/>
                <c:pt idx="0">
                  <c:v>0.3612852391166425</c:v>
                </c:pt>
                <c:pt idx="1">
                  <c:v>0.3612852391166425</c:v>
                </c:pt>
              </c:numCache>
            </c:numRef>
          </c:yVal>
          <c:smooth val="0"/>
          <c:extLst>
            <c:ext xmlns:c16="http://schemas.microsoft.com/office/drawing/2014/chart" uri="{C3380CC4-5D6E-409C-BE32-E72D297353CC}">
              <c16:uniqueId val="{00000011-F32D-48B7-BC20-E66FC6253BAD}"/>
            </c:ext>
          </c:extLst>
        </c:ser>
        <c:ser>
          <c:idx val="7"/>
          <c:order val="7"/>
          <c:tx>
            <c:strRef>
              <c:f>Sheet1!$B$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2:$A$83</c:f>
              <c:numCache>
                <c:formatCode>General</c:formatCode>
                <c:ptCount val="2"/>
                <c:pt idx="0">
                  <c:v>1417.052240973527</c:v>
                </c:pt>
                <c:pt idx="1">
                  <c:v>1417.052240973527</c:v>
                </c:pt>
              </c:numCache>
            </c:numRef>
          </c:xVal>
          <c:yVal>
            <c:numRef>
              <c:f>Sheet1!$B$82:$B$83</c:f>
              <c:numCache>
                <c:formatCode>General</c:formatCode>
                <c:ptCount val="2"/>
                <c:pt idx="0">
                  <c:v>0.36128523911664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86:$A$140</c:f>
              <c:numCache>
                <c:formatCode>General</c:formatCode>
                <c:ptCount val="55"/>
                <c:pt idx="0">
                  <c:v>1046.4</c:v>
                </c:pt>
                <c:pt idx="1">
                  <c:v>722.3429</c:v>
                </c:pt>
                <c:pt idx="2">
                  <c:v>714.0294</c:v>
                </c:pt>
                <c:pt idx="3">
                  <c:v>714.6445</c:v>
                </c:pt>
                <c:pt idx="4">
                  <c:v>718.6726</c:v>
                </c:pt>
                <c:pt idx="5">
                  <c:v>740.0825</c:v>
                </c:pt>
                <c:pt idx="6">
                  <c:v>734.0179</c:v>
                </c:pt>
                <c:pt idx="7">
                  <c:v>790.6828</c:v>
                </c:pt>
                <c:pt idx="8">
                  <c:v>826.6566</c:v>
                </c:pt>
                <c:pt idx="9">
                  <c:v>791.1261</c:v>
                </c:pt>
                <c:pt idx="10">
                  <c:v>795.3985</c:v>
                </c:pt>
                <c:pt idx="11">
                  <c:v>560.2388</c:v>
                </c:pt>
                <c:pt idx="12">
                  <c:v>494.4346</c:v>
                </c:pt>
                <c:pt idx="13">
                  <c:v>516.2227</c:v>
                </c:pt>
                <c:pt idx="14">
                  <c:v>487.8639</c:v>
                </c:pt>
                <c:pt idx="15">
                  <c:v>488.5828</c:v>
                </c:pt>
                <c:pt idx="16">
                  <c:v>483.5468</c:v>
                </c:pt>
                <c:pt idx="17">
                  <c:v>472.0561</c:v>
                </c:pt>
                <c:pt idx="18">
                  <c:v>516.2468</c:v>
                </c:pt>
                <c:pt idx="19">
                  <c:v>489.7234</c:v>
                </c:pt>
                <c:pt idx="20">
                  <c:v>496.4493</c:v>
                </c:pt>
                <c:pt idx="21">
                  <c:v>600.6429</c:v>
                </c:pt>
                <c:pt idx="22">
                  <c:v>416.25</c:v>
                </c:pt>
                <c:pt idx="23">
                  <c:v>419.8722</c:v>
                </c:pt>
                <c:pt idx="24">
                  <c:v>409.0541</c:v>
                </c:pt>
                <c:pt idx="25">
                  <c:v>443.6582</c:v>
                </c:pt>
                <c:pt idx="26">
                  <c:v>500.8611</c:v>
                </c:pt>
                <c:pt idx="27">
                  <c:v>487.6552</c:v>
                </c:pt>
                <c:pt idx="28">
                  <c:v>525.3333</c:v>
                </c:pt>
                <c:pt idx="29">
                  <c:v>521.8621</c:v>
                </c:pt>
                <c:pt idx="30">
                  <c:v>760.5714</c:v>
                </c:pt>
                <c:pt idx="31">
                  <c:v>621.8667</c:v>
                </c:pt>
                <c:pt idx="32">
                  <c:v>561.3333</c:v>
                </c:pt>
                <c:pt idx="33">
                  <c:v>638.3778</c:v>
                </c:pt>
                <c:pt idx="34">
                  <c:v>1035.8333</c:v>
                </c:pt>
                <c:pt idx="35">
                  <c:v>701.9756</c:v>
                </c:pt>
                <c:pt idx="36">
                  <c:v>635.9655</c:v>
                </c:pt>
                <c:pt idx="37">
                  <c:v>400.6173</c:v>
                </c:pt>
                <c:pt idx="38">
                  <c:v>393.1837</c:v>
                </c:pt>
                <c:pt idx="39">
                  <c:v>464.4141</c:v>
                </c:pt>
                <c:pt idx="40">
                  <c:v>435.1515</c:v>
                </c:pt>
                <c:pt idx="41">
                  <c:v>463.6029</c:v>
                </c:pt>
                <c:pt idx="42">
                  <c:v>592.7955</c:v>
                </c:pt>
                <c:pt idx="43">
                  <c:v>497.1887</c:v>
                </c:pt>
                <c:pt idx="44">
                  <c:v>492.4615</c:v>
                </c:pt>
                <c:pt idx="45">
                  <c:v>557.5455</c:v>
                </c:pt>
                <c:pt idx="46">
                  <c:v>472.7667</c:v>
                </c:pt>
                <c:pt idx="47">
                  <c:v>377.0847</c:v>
                </c:pt>
                <c:pt idx="48">
                  <c:v>586.6889</c:v>
                </c:pt>
                <c:pt idx="49">
                  <c:v>787.6667</c:v>
                </c:pt>
                <c:pt idx="50">
                  <c:v>717.2545</c:v>
                </c:pt>
                <c:pt idx="51">
                  <c:v>740.2941</c:v>
                </c:pt>
                <c:pt idx="52">
                  <c:v>-102.72730028165822</c:v>
                </c:pt>
                <c:pt idx="53">
                  <c:v>-102.72730028165822</c:v>
                </c:pt>
                <c:pt idx="54">
                  <c:v>1417.052240973527</c:v>
                </c:pt>
              </c:numCache>
            </c:numRef>
          </c:xVal>
          <c:yVal>
            <c:numRef>
              <c:f>Sheet1!$B$86:$B$140</c:f>
              <c:numCache>
                <c:formatCode>General</c:formatCode>
                <c:ptCount val="55"/>
                <c:pt idx="0">
                  <c:v>0.45360718086633767</c:v>
                </c:pt>
                <c:pt idx="1">
                  <c:v>0.5343232197905754</c:v>
                </c:pt>
                <c:pt idx="2">
                  <c:v>0.5363939437142192</c:v>
                </c:pt>
                <c:pt idx="3">
                  <c:v>0.536240734802758</c:v>
                </c:pt>
                <c:pt idx="4">
                  <c:v>0.5352374169418294</c:v>
                </c:pt>
                <c:pt idx="5">
                  <c:v>0.5299046458907892</c:v>
                </c:pt>
                <c:pt idx="6">
                  <c:v>0.5314152145210087</c:v>
                </c:pt>
                <c:pt idx="7">
                  <c:v>0.5173011393347591</c:v>
                </c:pt>
                <c:pt idx="8">
                  <c:v>0.5083407967252228</c:v>
                </c:pt>
                <c:pt idx="9">
                  <c:v>0.5171907223124037</c:v>
                </c:pt>
                <c:pt idx="10">
                  <c:v>0.5161265542855347</c:v>
                </c:pt>
                <c:pt idx="11">
                  <c:v>0.5747000572225542</c:v>
                </c:pt>
                <c:pt idx="12">
                  <c:v>0.5910905463325855</c:v>
                </c:pt>
                <c:pt idx="13">
                  <c:v>0.5856635733463891</c:v>
                </c:pt>
                <c:pt idx="14">
                  <c:v>0.5927271741890945</c:v>
                </c:pt>
                <c:pt idx="15">
                  <c:v>0.5925481108067997</c:v>
                </c:pt>
                <c:pt idx="16">
                  <c:v>0.5938024760776808</c:v>
                </c:pt>
                <c:pt idx="17">
                  <c:v>0.5966645759621356</c:v>
                </c:pt>
                <c:pt idx="18">
                  <c:v>0.5856575705260896</c:v>
                </c:pt>
                <c:pt idx="19">
                  <c:v>0.5922640105232478</c:v>
                </c:pt>
                <c:pt idx="20">
                  <c:v>0.5905887255003289</c:v>
                </c:pt>
                <c:pt idx="21">
                  <c:v>0.5646362169046016</c:v>
                </c:pt>
                <c:pt idx="22">
                  <c:v>0.6105647415187918</c:v>
                </c:pt>
                <c:pt idx="23">
                  <c:v>0.6096625251001687</c:v>
                </c:pt>
                <c:pt idx="24">
                  <c:v>0.6123570939915348</c:v>
                </c:pt>
                <c:pt idx="25">
                  <c:v>0.6037379158203476</c:v>
                </c:pt>
                <c:pt idx="26">
                  <c:v>0.5894898357660014</c:v>
                </c:pt>
                <c:pt idx="27">
                  <c:v>0.59277915711841</c:v>
                </c:pt>
                <c:pt idx="28">
                  <c:v>0.5833943080094371</c:v>
                </c:pt>
                <c:pt idx="29">
                  <c:v>0.5842589133963082</c:v>
                </c:pt>
                <c:pt idx="30">
                  <c:v>0.5248012772254681</c:v>
                </c:pt>
                <c:pt idx="31">
                  <c:v>0.5593497995820982</c:v>
                </c:pt>
                <c:pt idx="32">
                  <c:v>0.5744274395122724</c:v>
                </c:pt>
                <c:pt idx="33">
                  <c:v>0.5552372200697777</c:v>
                </c:pt>
                <c:pt idx="34">
                  <c:v>0.45623913112603187</c:v>
                </c:pt>
                <c:pt idx="35">
                  <c:v>0.5393963003667505</c:v>
                </c:pt>
                <c:pt idx="36">
                  <c:v>0.5558380749829919</c:v>
                </c:pt>
                <c:pt idx="37">
                  <c:v>0.6144585294397814</c:v>
                </c:pt>
                <c:pt idx="38">
                  <c:v>0.6163100881525737</c:v>
                </c:pt>
                <c:pt idx="39">
                  <c:v>0.5985680428803393</c:v>
                </c:pt>
                <c:pt idx="40">
                  <c:v>0.6058567619382595</c:v>
                </c:pt>
                <c:pt idx="41">
                  <c:v>0.5987700963171421</c:v>
                </c:pt>
                <c:pt idx="42">
                  <c:v>0.5665908447891753</c:v>
                </c:pt>
                <c:pt idx="43">
                  <c:v>0.5904045559845844</c:v>
                </c:pt>
                <c:pt idx="44">
                  <c:v>0.5915820054501343</c:v>
                </c:pt>
                <c:pt idx="45">
                  <c:v>0.5753709035259824</c:v>
                </c:pt>
                <c:pt idx="46">
                  <c:v>0.5964875799411887</c:v>
                </c:pt>
                <c:pt idx="47">
                  <c:v>0.6203200219285697</c:v>
                </c:pt>
                <c:pt idx="48">
                  <c:v>0.5681118747659749</c:v>
                </c:pt>
                <c:pt idx="49">
                  <c:v>0.5180523885590451</c:v>
                </c:pt>
                <c:pt idx="50">
                  <c:v>0.5355906368367135</c:v>
                </c:pt>
                <c:pt idx="51">
                  <c:v>0.5298519406304003</c:v>
                </c:pt>
                <c:pt idx="52">
                  <c:v>0.7398314416476583</c:v>
                </c:pt>
                <c:pt idx="53">
                  <c:v>0.7398314416476583</c:v>
                </c:pt>
                <c:pt idx="54">
                  <c:v>0.36128523911664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29090909090909"/>
          <c:min val="0.1971014492753623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07.1989</c:v>
                </c:pt>
                <c:pt idx="1">
                  <c:v>967.3737</c:v>
                </c:pt>
                <c:pt idx="2">
                  <c:v>969.8427</c:v>
                </c:pt>
                <c:pt idx="3">
                  <c:v>993.1112</c:v>
                </c:pt>
                <c:pt idx="4">
                  <c:v>985.1591</c:v>
                </c:pt>
                <c:pt idx="5">
                  <c:v>977.8358</c:v>
                </c:pt>
                <c:pt idx="6">
                  <c:v>973.1877</c:v>
                </c:pt>
                <c:pt idx="7">
                  <c:v>970.7594</c:v>
                </c:pt>
                <c:pt idx="8">
                  <c:v>961.1026</c:v>
                </c:pt>
                <c:pt idx="9">
                  <c:v>891.7999</c:v>
                </c:pt>
                <c:pt idx="10">
                  <c:v>827.4697</c:v>
                </c:pt>
                <c:pt idx="11">
                  <c:v>804.2089</c:v>
                </c:pt>
                <c:pt idx="12">
                  <c:v>798.3868</c:v>
                </c:pt>
                <c:pt idx="13">
                  <c:v>788.2821</c:v>
                </c:pt>
                <c:pt idx="14">
                  <c:v>927.6461</c:v>
                </c:pt>
                <c:pt idx="15">
                  <c:v>937.3125</c:v>
                </c:pt>
                <c:pt idx="16">
                  <c:v>972.5432</c:v>
                </c:pt>
                <c:pt idx="17">
                  <c:v>989.3265</c:v>
                </c:pt>
                <c:pt idx="18">
                  <c:v>1011.2152</c:v>
                </c:pt>
                <c:pt idx="19">
                  <c:v>1035.9308</c:v>
                </c:pt>
                <c:pt idx="20">
                  <c:v>1057.7028</c:v>
                </c:pt>
                <c:pt idx="21">
                  <c:v>1061.0735</c:v>
                </c:pt>
                <c:pt idx="22">
                  <c:v>1064.5703</c:v>
                </c:pt>
                <c:pt idx="23">
                  <c:v>1069.5638</c:v>
                </c:pt>
                <c:pt idx="24">
                  <c:v>1070.0113</c:v>
                </c:pt>
                <c:pt idx="25">
                  <c:v>1086.2875</c:v>
                </c:pt>
                <c:pt idx="26">
                  <c:v>1078.104</c:v>
                </c:pt>
                <c:pt idx="27">
                  <c:v>1127.3386</c:v>
                </c:pt>
                <c:pt idx="28">
                  <c:v>1115.8192</c:v>
                </c:pt>
                <c:pt idx="29">
                  <c:v>1164.0638</c:v>
                </c:pt>
                <c:pt idx="30">
                  <c:v>1142.2934</c:v>
                </c:pt>
                <c:pt idx="31">
                  <c:v>1142.2038</c:v>
                </c:pt>
                <c:pt idx="32">
                  <c:v>1145.5557</c:v>
                </c:pt>
                <c:pt idx="33">
                  <c:v>1148.5402</c:v>
                </c:pt>
                <c:pt idx="34">
                  <c:v>1091.9651</c:v>
                </c:pt>
                <c:pt idx="35">
                  <c:v>1122.3973</c:v>
                </c:pt>
                <c:pt idx="36">
                  <c:v>1142.1061</c:v>
                </c:pt>
                <c:pt idx="37">
                  <c:v>1180.8306</c:v>
                </c:pt>
                <c:pt idx="38">
                  <c:v>1165.8931</c:v>
                </c:pt>
                <c:pt idx="39">
                  <c:v>1227.83</c:v>
                </c:pt>
                <c:pt idx="40">
                  <c:v>1275.119</c:v>
                </c:pt>
                <c:pt idx="41">
                  <c:v>1240.357</c:v>
                </c:pt>
                <c:pt idx="42">
                  <c:v>1227.1817</c:v>
                </c:pt>
                <c:pt idx="43">
                  <c:v>1208.8023</c:v>
                </c:pt>
                <c:pt idx="44">
                  <c:v>1208.3801</c:v>
                </c:pt>
                <c:pt idx="45">
                  <c:v>1204.9294</c:v>
                </c:pt>
                <c:pt idx="46">
                  <c:v>1151.3308</c:v>
                </c:pt>
                <c:pt idx="47">
                  <c:v>1105.7971</c:v>
                </c:pt>
                <c:pt idx="48">
                  <c:v>1061.9282</c:v>
                </c:pt>
                <c:pt idx="49">
                  <c:v>970.5209</c:v>
                </c:pt>
                <c:pt idx="50">
                  <c:v>1014.583</c:v>
                </c:pt>
                <c:pt idx="51">
                  <c:v>1020.8391</c:v>
                </c:pt>
                <c:pt idx="52">
                  <c:v>1018.4755</c:v>
                </c:pt>
                <c:pt idx="53">
                  <c:v>1184.652</c:v>
                </c:pt>
                <c:pt idx="54">
                  <c:v>1211.4411</c:v>
                </c:pt>
                <c:pt idx="55">
                  <c:v>1197.5581</c:v>
                </c:pt>
                <c:pt idx="56">
                  <c:v>1193.6275</c:v>
                </c:pt>
                <c:pt idx="57">
                  <c:v>1202.6755</c:v>
                </c:pt>
                <c:pt idx="58">
                  <c:v>1196.5798</c:v>
                </c:pt>
                <c:pt idx="59">
                  <c:v>1197.3709</c:v>
                </c:pt>
                <c:pt idx="60">
                  <c:v>1194.6336</c:v>
                </c:pt>
                <c:pt idx="61">
                  <c:v>1153.1838</c:v>
                </c:pt>
                <c:pt idx="62">
                  <c:v>1052.5735</c:v>
                </c:pt>
                <c:pt idx="63">
                  <c:v>1064.2463</c:v>
                </c:pt>
                <c:pt idx="64">
                  <c:v>1047.0266</c:v>
                </c:pt>
                <c:pt idx="65">
                  <c:v>1046.5803</c:v>
                </c:pt>
                <c:pt idx="66">
                  <c:v>1152.0354</c:v>
                </c:pt>
                <c:pt idx="67">
                  <c:v>1177.6028</c:v>
                </c:pt>
                <c:pt idx="68">
                  <c:v>1167.4989</c:v>
                </c:pt>
                <c:pt idx="69">
                  <c:v>1204.287</c:v>
                </c:pt>
                <c:pt idx="70">
                  <c:v>1268.5501</c:v>
                </c:pt>
                <c:pt idx="71">
                  <c:v>1213.3093</c:v>
                </c:pt>
                <c:pt idx="72">
                  <c:v>1236.7037</c:v>
                </c:pt>
                <c:pt idx="73">
                  <c:v>1249.7564</c:v>
                </c:pt>
                <c:pt idx="74">
                  <c:v>1242.2268</c:v>
                </c:pt>
                <c:pt idx="75">
                  <c:v>1238.0357</c:v>
                </c:pt>
                <c:pt idx="76">
                  <c:v>1189.3666</c:v>
                </c:pt>
                <c:pt idx="77">
                  <c:v>1184.4511</c:v>
                </c:pt>
                <c:pt idx="78">
                  <c:v>1223.5735</c:v>
                </c:pt>
                <c:pt idx="79">
                  <c:v>1213.7445</c:v>
                </c:pt>
                <c:pt idx="80">
                  <c:v>1226.6799</c:v>
                </c:pt>
                <c:pt idx="81">
                  <c:v>1299.2252</c:v>
                </c:pt>
                <c:pt idx="82">
                  <c:v>1304.3208</c:v>
                </c:pt>
                <c:pt idx="83">
                  <c:v>1296.0373</c:v>
                </c:pt>
                <c:pt idx="84">
                  <c:v>1332.7107</c:v>
                </c:pt>
                <c:pt idx="85">
                  <c:v>1358.6059</c:v>
                </c:pt>
                <c:pt idx="86">
                  <c:v>1345.7529</c:v>
                </c:pt>
                <c:pt idx="87">
                  <c:v>1340.2444</c:v>
                </c:pt>
                <c:pt idx="88">
                  <c:v>1339.8151</c:v>
                </c:pt>
                <c:pt idx="89">
                  <c:v>1361.8312</c:v>
                </c:pt>
                <c:pt idx="90">
                  <c:v>1331.8981</c:v>
                </c:pt>
                <c:pt idx="91">
                  <c:v>1327.9891</c:v>
                </c:pt>
                <c:pt idx="92">
                  <c:v>1311.2646</c:v>
                </c:pt>
                <c:pt idx="93">
                  <c:v>1292.338</c:v>
                </c:pt>
                <c:pt idx="94">
                  <c:v>1286.6086</c:v>
                </c:pt>
                <c:pt idx="95">
                  <c:v>1292.6419</c:v>
                </c:pt>
                <c:pt idx="96">
                  <c:v>1202.3451</c:v>
                </c:pt>
                <c:pt idx="97">
                  <c:v>1219.8691</c:v>
                </c:pt>
                <c:pt idx="98">
                  <c:v>1167.0973</c:v>
                </c:pt>
                <c:pt idx="99">
                  <c:v>1127.0741</c:v>
                </c:pt>
                <c:pt idx="100">
                  <c:v>1072.815</c:v>
                </c:pt>
                <c:pt idx="101">
                  <c:v>1208.7308</c:v>
                </c:pt>
                <c:pt idx="102">
                  <c:v>1232.956</c:v>
                </c:pt>
                <c:pt idx="103">
                  <c:v>1149.7074</c:v>
                </c:pt>
                <c:pt idx="104">
                  <c:v>1156.9572</c:v>
                </c:pt>
              </c:numCache>
            </c:numRef>
          </c:xVal>
          <c:yVal>
            <c:numRef>
              <c:f>Sheet1!$B$2:$B$106</c:f>
              <c:numCache>
                <c:formatCode>General</c:formatCode>
                <c:ptCount val="105"/>
                <c:pt idx="0">
                  <c:v>0.26012847965738756</c:v>
                </c:pt>
                <c:pt idx="1">
                  <c:v>0.27238736212376147</c:v>
                </c:pt>
                <c:pt idx="2">
                  <c:v>0.26337257810327247</c:v>
                </c:pt>
                <c:pt idx="3">
                  <c:v>0.25908312725889293</c:v>
                </c:pt>
                <c:pt idx="4">
                  <c:v>0.2348164988632673</c:v>
                </c:pt>
                <c:pt idx="5">
                  <c:v>0.2129732123090547</c:v>
                </c:pt>
                <c:pt idx="6">
                  <c:v>0.21761273209549073</c:v>
                </c:pt>
                <c:pt idx="7">
                  <c:v>0.20444602104765283</c:v>
                </c:pt>
                <c:pt idx="8">
                  <c:v>0.22180714452486575</c:v>
                </c:pt>
                <c:pt idx="9">
                  <c:v>0.21677136304716324</c:v>
                </c:pt>
                <c:pt idx="10">
                  <c:v>0.2353272079504969</c:v>
                </c:pt>
                <c:pt idx="11">
                  <c:v>0.23654875800930397</c:v>
                </c:pt>
                <c:pt idx="12">
                  <c:v>0.253778531770512</c:v>
                </c:pt>
                <c:pt idx="13">
                  <c:v>0.2604998264491496</c:v>
                </c:pt>
                <c:pt idx="14">
                  <c:v>0.27032577242602446</c:v>
                </c:pt>
                <c:pt idx="15">
                  <c:v>0.2578412286394116</c:v>
                </c:pt>
                <c:pt idx="16">
                  <c:v>0.22771425058404032</c:v>
                </c:pt>
                <c:pt idx="17">
                  <c:v>0.2395250443564897</c:v>
                </c:pt>
                <c:pt idx="18">
                  <c:v>0.21722426764847128</c:v>
                </c:pt>
                <c:pt idx="19">
                  <c:v>0.1964573268921095</c:v>
                </c:pt>
                <c:pt idx="20">
                  <c:v>0.21371726233540733</c:v>
                </c:pt>
                <c:pt idx="21">
                  <c:v>0.1863013698630137</c:v>
                </c:pt>
                <c:pt idx="22">
                  <c:v>0.1838928706148623</c:v>
                </c:pt>
                <c:pt idx="23">
                  <c:v>0.1673461463793438</c:v>
                </c:pt>
                <c:pt idx="24">
                  <c:v>0.176566757493188</c:v>
                </c:pt>
                <c:pt idx="25">
                  <c:v>0.1651186790505676</c:v>
                </c:pt>
                <c:pt idx="26">
                  <c:v>0.16779661016949152</c:v>
                </c:pt>
                <c:pt idx="27">
                  <c:v>0.1683081252198382</c:v>
                </c:pt>
                <c:pt idx="28">
                  <c:v>0.16349876803942273</c:v>
                </c:pt>
                <c:pt idx="29">
                  <c:v>0.14938879187172566</c:v>
                </c:pt>
                <c:pt idx="30">
                  <c:v>0.15433070866141732</c:v>
                </c:pt>
                <c:pt idx="31">
                  <c:v>0.13553553553553555</c:v>
                </c:pt>
                <c:pt idx="32">
                  <c:v>0.14569805194805194</c:v>
                </c:pt>
                <c:pt idx="33">
                  <c:v>0.14377110360760617</c:v>
                </c:pt>
                <c:pt idx="34">
                  <c:v>0.16295242611032085</c:v>
                </c:pt>
                <c:pt idx="35">
                  <c:v>0.18948267447535383</c:v>
                </c:pt>
                <c:pt idx="36">
                  <c:v>0.1787432776677045</c:v>
                </c:pt>
                <c:pt idx="37">
                  <c:v>0.15249472944483486</c:v>
                </c:pt>
                <c:pt idx="38">
                  <c:v>0.15046916890080428</c:v>
                </c:pt>
                <c:pt idx="39">
                  <c:v>0.14069506726457398</c:v>
                </c:pt>
                <c:pt idx="40">
                  <c:v>0.1510353227771011</c:v>
                </c:pt>
                <c:pt idx="41">
                  <c:v>0.14417435037720033</c:v>
                </c:pt>
                <c:pt idx="42">
                  <c:v>0.15697020798201236</c:v>
                </c:pt>
                <c:pt idx="43">
                  <c:v>0.17312378167641326</c:v>
                </c:pt>
                <c:pt idx="44">
                  <c:v>0.15548665915069523</c:v>
                </c:pt>
                <c:pt idx="45">
                  <c:v>0.15145937417828031</c:v>
                </c:pt>
                <c:pt idx="46">
                  <c:v>0.1591240875912409</c:v>
                </c:pt>
                <c:pt idx="47">
                  <c:v>0.1676552686671319</c:v>
                </c:pt>
                <c:pt idx="48">
                  <c:v>0.1735267800076697</c:v>
                </c:pt>
                <c:pt idx="49">
                  <c:v>0.2121083647772078</c:v>
                </c:pt>
                <c:pt idx="50">
                  <c:v>0.18334377828842002</c:v>
                </c:pt>
                <c:pt idx="51">
                  <c:v>0.17443813484763657</c:v>
                </c:pt>
                <c:pt idx="52">
                  <c:v>0.19078901874005946</c:v>
                </c:pt>
                <c:pt idx="53">
                  <c:v>0.18180143672867932</c:v>
                </c:pt>
                <c:pt idx="54">
                  <c:v>0.1655494617103392</c:v>
                </c:pt>
                <c:pt idx="55">
                  <c:v>0.17623596095308072</c:v>
                </c:pt>
                <c:pt idx="56">
                  <c:v>0.1935966487133453</c:v>
                </c:pt>
                <c:pt idx="57">
                  <c:v>0.18437865562854314</c:v>
                </c:pt>
                <c:pt idx="58">
                  <c:v>0.1921921921921922</c:v>
                </c:pt>
                <c:pt idx="59">
                  <c:v>0.19312725899552247</c:v>
                </c:pt>
                <c:pt idx="60">
                  <c:v>0.1935066396578888</c:v>
                </c:pt>
                <c:pt idx="61">
                  <c:v>0.18492792590932855</c:v>
                </c:pt>
                <c:pt idx="62">
                  <c:v>0.20797134583142812</c:v>
                </c:pt>
                <c:pt idx="63">
                  <c:v>0.2189074255806346</c:v>
                </c:pt>
                <c:pt idx="64">
                  <c:v>0.2224744608399546</c:v>
                </c:pt>
                <c:pt idx="65">
                  <c:v>0.22872707212798235</c:v>
                </c:pt>
                <c:pt idx="66">
                  <c:v>0.2179420697829469</c:v>
                </c:pt>
                <c:pt idx="67">
                  <c:v>0.21630960608154803</c:v>
                </c:pt>
                <c:pt idx="68">
                  <c:v>0.19613577949127006</c:v>
                </c:pt>
                <c:pt idx="69">
                  <c:v>0.17736670293797607</c:v>
                </c:pt>
                <c:pt idx="70">
                  <c:v>0.1681854885223209</c:v>
                </c:pt>
                <c:pt idx="71">
                  <c:v>0.17558314958802368</c:v>
                </c:pt>
                <c:pt idx="72">
                  <c:v>0.17655571635311143</c:v>
                </c:pt>
                <c:pt idx="73">
                  <c:v>0.1785470280118424</c:v>
                </c:pt>
                <c:pt idx="74">
                  <c:v>0.1659024103468548</c:v>
                </c:pt>
                <c:pt idx="75">
                  <c:v>0.15557404326123128</c:v>
                </c:pt>
                <c:pt idx="76">
                  <c:v>0.1574769053117783</c:v>
                </c:pt>
                <c:pt idx="77">
                  <c:v>0.15460621912234815</c:v>
                </c:pt>
                <c:pt idx="78">
                  <c:v>0.1562448711636304</c:v>
                </c:pt>
                <c:pt idx="79">
                  <c:v>0.15875943000838222</c:v>
                </c:pt>
                <c:pt idx="80">
                  <c:v>0.14628495780241602</c:v>
                </c:pt>
                <c:pt idx="81">
                  <c:v>0.13667796610169491</c:v>
                </c:pt>
                <c:pt idx="82">
                  <c:v>0.1436801084378177</c:v>
                </c:pt>
                <c:pt idx="83">
                  <c:v>0.13094227504244482</c:v>
                </c:pt>
                <c:pt idx="84">
                  <c:v>0.1255043533658951</c:v>
                </c:pt>
                <c:pt idx="85">
                  <c:v>0.11232449297971919</c:v>
                </c:pt>
                <c:pt idx="86">
                  <c:v>0.12296718972895863</c:v>
                </c:pt>
                <c:pt idx="87">
                  <c:v>0.15997935750225778</c:v>
                </c:pt>
                <c:pt idx="88">
                  <c:v>0.1499921222624862</c:v>
                </c:pt>
                <c:pt idx="89">
                  <c:v>0.1237597911227154</c:v>
                </c:pt>
                <c:pt idx="90">
                  <c:v>0.11240379452299983</c:v>
                </c:pt>
                <c:pt idx="91">
                  <c:v>0.13977406845388635</c:v>
                </c:pt>
                <c:pt idx="92">
                  <c:v>0.14038248337028825</c:v>
                </c:pt>
                <c:pt idx="93">
                  <c:v>0.1275278058645096</c:v>
                </c:pt>
                <c:pt idx="94">
                  <c:v>0.12302466400827057</c:v>
                </c:pt>
                <c:pt idx="95">
                  <c:v>0.1428111933097459</c:v>
                </c:pt>
                <c:pt idx="96">
                  <c:v>0.14006570983918382</c:v>
                </c:pt>
                <c:pt idx="97">
                  <c:v>0.13938150373735894</c:v>
                </c:pt>
                <c:pt idx="98">
                  <c:v>0.162250593443254</c:v>
                </c:pt>
                <c:pt idx="99">
                  <c:v>0.16527112086389098</c:v>
                </c:pt>
                <c:pt idx="100">
                  <c:v>0.2001013171225937</c:v>
                </c:pt>
                <c:pt idx="101">
                  <c:v>0.1658822032820252</c:v>
                </c:pt>
                <c:pt idx="102">
                  <c:v>0.13617322936134563</c:v>
                </c:pt>
                <c:pt idx="103">
                  <c:v>0.15280477645098584</c:v>
                </c:pt>
                <c:pt idx="104">
                  <c:v>0.167021924482338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1.9671</c:v>
                </c:pt>
                <c:pt idx="1">
                  <c:v>1272.6494</c:v>
                </c:pt>
                <c:pt idx="2">
                  <c:v>1273.7144</c:v>
                </c:pt>
                <c:pt idx="3">
                  <c:v>1272.1069</c:v>
                </c:pt>
                <c:pt idx="4">
                  <c:v>1251.6705</c:v>
                </c:pt>
                <c:pt idx="5">
                  <c:v>1293.8531</c:v>
                </c:pt>
                <c:pt idx="6">
                  <c:v>1236.3245</c:v>
                </c:pt>
                <c:pt idx="7">
                  <c:v>1200.569</c:v>
                </c:pt>
                <c:pt idx="8">
                  <c:v>1231.1529</c:v>
                </c:pt>
                <c:pt idx="9">
                  <c:v>1112.9883</c:v>
                </c:pt>
                <c:pt idx="10">
                  <c:v>1121.1351</c:v>
                </c:pt>
                <c:pt idx="11">
                  <c:v>1233.9023</c:v>
                </c:pt>
                <c:pt idx="12">
                  <c:v>1177.6031</c:v>
                </c:pt>
                <c:pt idx="13">
                  <c:v>1117.96</c:v>
                </c:pt>
                <c:pt idx="14">
                  <c:v>1212.7448</c:v>
                </c:pt>
                <c:pt idx="15">
                  <c:v>1146.9242</c:v>
                </c:pt>
                <c:pt idx="16">
                  <c:v>1170.3937</c:v>
                </c:pt>
                <c:pt idx="17">
                  <c:v>1118.2818</c:v>
                </c:pt>
                <c:pt idx="18">
                  <c:v>1085.2199</c:v>
                </c:pt>
                <c:pt idx="19">
                  <c:v>1081.292</c:v>
                </c:pt>
                <c:pt idx="20">
                  <c:v>1037.0035</c:v>
                </c:pt>
                <c:pt idx="21">
                  <c:v>1129.6023</c:v>
                </c:pt>
                <c:pt idx="22">
                  <c:v>1158.3785</c:v>
                </c:pt>
                <c:pt idx="23">
                  <c:v>1080.4809</c:v>
                </c:pt>
                <c:pt idx="24">
                  <c:v>1075.2676</c:v>
                </c:pt>
                <c:pt idx="25">
                  <c:v>1090.9566</c:v>
                </c:pt>
                <c:pt idx="26">
                  <c:v>1115.6676</c:v>
                </c:pt>
                <c:pt idx="27">
                  <c:v>1200.7747</c:v>
                </c:pt>
                <c:pt idx="28">
                  <c:v>1298.3181</c:v>
                </c:pt>
                <c:pt idx="29">
                  <c:v>1306.0954</c:v>
                </c:pt>
                <c:pt idx="30">
                  <c:v>1380.2576</c:v>
                </c:pt>
                <c:pt idx="31">
                  <c:v>1355.6533</c:v>
                </c:pt>
                <c:pt idx="32">
                  <c:v>1342.0672</c:v>
                </c:pt>
                <c:pt idx="33">
                  <c:v>1400.2967</c:v>
                </c:pt>
                <c:pt idx="34">
                  <c:v>1439.8929</c:v>
                </c:pt>
                <c:pt idx="35">
                  <c:v>1417.5724</c:v>
                </c:pt>
                <c:pt idx="36">
                  <c:v>1272.4854</c:v>
                </c:pt>
                <c:pt idx="37">
                  <c:v>1308.3391</c:v>
                </c:pt>
                <c:pt idx="38">
                  <c:v>1304.0604</c:v>
                </c:pt>
                <c:pt idx="39">
                  <c:v>1362.1294</c:v>
                </c:pt>
                <c:pt idx="40">
                  <c:v>1371.6543</c:v>
                </c:pt>
                <c:pt idx="41">
                  <c:v>1370.2283</c:v>
                </c:pt>
                <c:pt idx="42">
                  <c:v>1365.7477</c:v>
                </c:pt>
                <c:pt idx="43">
                  <c:v>1346.3663</c:v>
                </c:pt>
                <c:pt idx="44">
                  <c:v>1264.0702</c:v>
                </c:pt>
                <c:pt idx="45">
                  <c:v>1250.7009</c:v>
                </c:pt>
                <c:pt idx="46">
                  <c:v>1203.2856</c:v>
                </c:pt>
                <c:pt idx="47">
                  <c:v>1215.0359</c:v>
                </c:pt>
                <c:pt idx="48">
                  <c:v>1157.8543</c:v>
                </c:pt>
                <c:pt idx="49">
                  <c:v>1137.9812</c:v>
                </c:pt>
                <c:pt idx="50">
                  <c:v>1062.9681</c:v>
                </c:pt>
                <c:pt idx="51">
                  <c:v>1057.8405</c:v>
                </c:pt>
              </c:numCache>
            </c:numRef>
          </c:xVal>
          <c:yVal>
            <c:numRef>
              <c:f>Sheet1!$B$109:$B$160</c:f>
              <c:numCache>
                <c:formatCode>General</c:formatCode>
                <c:ptCount val="52"/>
                <c:pt idx="0">
                  <c:v>0.1769493496112201</c:v>
                </c:pt>
                <c:pt idx="1">
                  <c:v>0.15590686083638347</c:v>
                </c:pt>
                <c:pt idx="2">
                  <c:v>0.16194158075601375</c:v>
                </c:pt>
                <c:pt idx="3">
                  <c:v>0.16526839915421868</c:v>
                </c:pt>
                <c:pt idx="4">
                  <c:v>0.15186813186813186</c:v>
                </c:pt>
                <c:pt idx="5">
                  <c:v>0.13577115479461707</c:v>
                </c:pt>
                <c:pt idx="6">
                  <c:v>0.14683249125534395</c:v>
                </c:pt>
                <c:pt idx="7">
                  <c:v>0.1525856565226644</c:v>
                </c:pt>
                <c:pt idx="8">
                  <c:v>0.15735294117647058</c:v>
                </c:pt>
                <c:pt idx="9">
                  <c:v>0.1817391304347826</c:v>
                </c:pt>
                <c:pt idx="10">
                  <c:v>0.1708127525819488</c:v>
                </c:pt>
                <c:pt idx="11">
                  <c:v>0.17353595824698748</c:v>
                </c:pt>
                <c:pt idx="12">
                  <c:v>0.18203052008720025</c:v>
                </c:pt>
                <c:pt idx="13">
                  <c:v>0.18218778766492788</c:v>
                </c:pt>
                <c:pt idx="14">
                  <c:v>0.1759473098965016</c:v>
                </c:pt>
                <c:pt idx="15">
                  <c:v>0.1706055471327923</c:v>
                </c:pt>
                <c:pt idx="16">
                  <c:v>0.16708006746701062</c:v>
                </c:pt>
                <c:pt idx="17">
                  <c:v>0.16554398856909575</c:v>
                </c:pt>
                <c:pt idx="18">
                  <c:v>0.16476655808903365</c:v>
                </c:pt>
                <c:pt idx="19">
                  <c:v>0.17328439550661773</c:v>
                </c:pt>
                <c:pt idx="20">
                  <c:v>0.17410987397528446</c:v>
                </c:pt>
                <c:pt idx="21">
                  <c:v>0.15474851357865982</c:v>
                </c:pt>
                <c:pt idx="22">
                  <c:v>0.1512164096040706</c:v>
                </c:pt>
                <c:pt idx="23">
                  <c:v>0.1667995535002392</c:v>
                </c:pt>
                <c:pt idx="24">
                  <c:v>0.17418677859391396</c:v>
                </c:pt>
                <c:pt idx="25">
                  <c:v>0.18850393700787402</c:v>
                </c:pt>
                <c:pt idx="26">
                  <c:v>0.17247386759581881</c:v>
                </c:pt>
                <c:pt idx="27">
                  <c:v>0.14001728608470182</c:v>
                </c:pt>
                <c:pt idx="28">
                  <c:v>0.11743119266055047</c:v>
                </c:pt>
                <c:pt idx="29">
                  <c:v>0.10954567041317081</c:v>
                </c:pt>
                <c:pt idx="30">
                  <c:v>0.11510433918516065</c:v>
                </c:pt>
                <c:pt idx="31">
                  <c:v>0.09839773798303487</c:v>
                </c:pt>
                <c:pt idx="32">
                  <c:v>0.09035738368172623</c:v>
                </c:pt>
                <c:pt idx="33">
                  <c:v>0.11122278056951423</c:v>
                </c:pt>
                <c:pt idx="34">
                  <c:v>0.13883528209785448</c:v>
                </c:pt>
                <c:pt idx="35">
                  <c:v>0.15228426395939088</c:v>
                </c:pt>
                <c:pt idx="36">
                  <c:v>0.12053832650672908</c:v>
                </c:pt>
                <c:pt idx="37">
                  <c:v>0.12834954770438642</c:v>
                </c:pt>
                <c:pt idx="38">
                  <c:v>0.11923750243143358</c:v>
                </c:pt>
                <c:pt idx="39">
                  <c:v>0.1382344592676696</c:v>
                </c:pt>
                <c:pt idx="40">
                  <c:v>0.1234927234927235</c:v>
                </c:pt>
                <c:pt idx="41">
                  <c:v>0.12782440284054228</c:v>
                </c:pt>
                <c:pt idx="42">
                  <c:v>0.1238054485808016</c:v>
                </c:pt>
                <c:pt idx="43">
                  <c:v>0.13284323876579002</c:v>
                </c:pt>
                <c:pt idx="44">
                  <c:v>0.13853109272370553</c:v>
                </c:pt>
                <c:pt idx="45">
                  <c:v>0.16015811354187964</c:v>
                </c:pt>
                <c:pt idx="46">
                  <c:v>0.15019266208745183</c:v>
                </c:pt>
                <c:pt idx="47">
                  <c:v>0.1589100554617796</c:v>
                </c:pt>
                <c:pt idx="48">
                  <c:v>0.1497153830327138</c:v>
                </c:pt>
                <c:pt idx="49">
                  <c:v>0.15563339171044951</c:v>
                </c:pt>
                <c:pt idx="50">
                  <c:v>0.20847588566383402</c:v>
                </c:pt>
                <c:pt idx="51">
                  <c:v>0.1879066435862233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46.8168687006875</c:v>
                </c:pt>
              </c:numCache>
            </c:numRef>
          </c:xVal>
          <c:yVal>
            <c:numRef>
              <c:f>Sheet1!$B$163:$B$164</c:f>
              <c:numCache>
                <c:formatCode>General</c:formatCode>
                <c:ptCount val="2"/>
                <c:pt idx="0">
                  <c:v>0.2385141284426273</c:v>
                </c:pt>
                <c:pt idx="1">
                  <c:v>0.238514128442627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46.8168687006875</c:v>
                </c:pt>
                <c:pt idx="1">
                  <c:v>746.8168687006875</c:v>
                </c:pt>
              </c:numCache>
            </c:numRef>
          </c:xVal>
          <c:yVal>
            <c:numRef>
              <c:f>Sheet1!$B$167:$B$168</c:f>
              <c:numCache>
                <c:formatCode>General</c:formatCode>
                <c:ptCount val="2"/>
                <c:pt idx="0">
                  <c:v>0.238514128442627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5.0641643233275</c:v>
                </c:pt>
              </c:numCache>
            </c:numRef>
          </c:xVal>
          <c:yVal>
            <c:numRef>
              <c:f>Sheet1!$B$171:$B$172</c:f>
              <c:numCache>
                <c:formatCode>General</c:formatCode>
                <c:ptCount val="2"/>
                <c:pt idx="0">
                  <c:v>0.17543282599830518</c:v>
                </c:pt>
                <c:pt idx="1">
                  <c:v>0.1754328259983051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5.0641643233275</c:v>
                </c:pt>
                <c:pt idx="1">
                  <c:v>1095.0641643233275</c:v>
                </c:pt>
              </c:numCache>
            </c:numRef>
          </c:xVal>
          <c:yVal>
            <c:numRef>
              <c:f>Sheet1!$B$175:$B$176</c:f>
              <c:numCache>
                <c:formatCode>General</c:formatCode>
                <c:ptCount val="2"/>
                <c:pt idx="0">
                  <c:v>0.175432825998305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33.0383333321486</c:v>
                </c:pt>
              </c:numCache>
            </c:numRef>
          </c:xVal>
          <c:yVal>
            <c:numRef>
              <c:f>Sheet1!$B$179:$B$180</c:f>
              <c:numCache>
                <c:formatCode>General</c:formatCode>
                <c:ptCount val="2"/>
                <c:pt idx="0">
                  <c:v>0.15044026928888957</c:v>
                </c:pt>
                <c:pt idx="1">
                  <c:v>0.1504402692888895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33.0383333321486</c:v>
                </c:pt>
                <c:pt idx="1">
                  <c:v>1233.0383333321486</c:v>
                </c:pt>
              </c:numCache>
            </c:numRef>
          </c:xVal>
          <c:yVal>
            <c:numRef>
              <c:f>Sheet1!$B$183:$B$184</c:f>
              <c:numCache>
                <c:formatCode>General</c:formatCode>
                <c:ptCount val="2"/>
                <c:pt idx="0">
                  <c:v>0.1504402692888895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1.9671</c:v>
                </c:pt>
                <c:pt idx="1">
                  <c:v>1272.6494</c:v>
                </c:pt>
                <c:pt idx="2">
                  <c:v>1273.7144</c:v>
                </c:pt>
                <c:pt idx="3">
                  <c:v>1272.1069</c:v>
                </c:pt>
                <c:pt idx="4">
                  <c:v>1251.6705</c:v>
                </c:pt>
                <c:pt idx="5">
                  <c:v>1293.8531</c:v>
                </c:pt>
                <c:pt idx="6">
                  <c:v>1236.3245</c:v>
                </c:pt>
                <c:pt idx="7">
                  <c:v>1200.569</c:v>
                </c:pt>
                <c:pt idx="8">
                  <c:v>1231.1529</c:v>
                </c:pt>
                <c:pt idx="9">
                  <c:v>1112.9883</c:v>
                </c:pt>
                <c:pt idx="10">
                  <c:v>1121.1351</c:v>
                </c:pt>
                <c:pt idx="11">
                  <c:v>1233.9023</c:v>
                </c:pt>
                <c:pt idx="12">
                  <c:v>1177.6031</c:v>
                </c:pt>
                <c:pt idx="13">
                  <c:v>1117.96</c:v>
                </c:pt>
                <c:pt idx="14">
                  <c:v>1212.7448</c:v>
                </c:pt>
                <c:pt idx="15">
                  <c:v>1146.9242</c:v>
                </c:pt>
                <c:pt idx="16">
                  <c:v>1170.3937</c:v>
                </c:pt>
                <c:pt idx="17">
                  <c:v>1118.2818</c:v>
                </c:pt>
                <c:pt idx="18">
                  <c:v>1085.2199</c:v>
                </c:pt>
                <c:pt idx="19">
                  <c:v>1081.292</c:v>
                </c:pt>
                <c:pt idx="20">
                  <c:v>1037.0035</c:v>
                </c:pt>
                <c:pt idx="21">
                  <c:v>1129.6023</c:v>
                </c:pt>
                <c:pt idx="22">
                  <c:v>1158.3785</c:v>
                </c:pt>
                <c:pt idx="23">
                  <c:v>1080.4809</c:v>
                </c:pt>
                <c:pt idx="24">
                  <c:v>1075.2676</c:v>
                </c:pt>
                <c:pt idx="25">
                  <c:v>1090.9566</c:v>
                </c:pt>
                <c:pt idx="26">
                  <c:v>1115.6676</c:v>
                </c:pt>
                <c:pt idx="27">
                  <c:v>1200.7747</c:v>
                </c:pt>
                <c:pt idx="28">
                  <c:v>1298.3181</c:v>
                </c:pt>
                <c:pt idx="29">
                  <c:v>1306.0954</c:v>
                </c:pt>
                <c:pt idx="30">
                  <c:v>1380.2576</c:v>
                </c:pt>
                <c:pt idx="31">
                  <c:v>1355.6533</c:v>
                </c:pt>
                <c:pt idx="32">
                  <c:v>1342.0672</c:v>
                </c:pt>
                <c:pt idx="33">
                  <c:v>1400.2967</c:v>
                </c:pt>
                <c:pt idx="34">
                  <c:v>1439.8929</c:v>
                </c:pt>
                <c:pt idx="35">
                  <c:v>1417.5724</c:v>
                </c:pt>
                <c:pt idx="36">
                  <c:v>1272.4854</c:v>
                </c:pt>
                <c:pt idx="37">
                  <c:v>1308.3391</c:v>
                </c:pt>
                <c:pt idx="38">
                  <c:v>1304.0604</c:v>
                </c:pt>
                <c:pt idx="39">
                  <c:v>1362.1294</c:v>
                </c:pt>
                <c:pt idx="40">
                  <c:v>1371.6543</c:v>
                </c:pt>
                <c:pt idx="41">
                  <c:v>1370.2283</c:v>
                </c:pt>
                <c:pt idx="42">
                  <c:v>1365.7477</c:v>
                </c:pt>
                <c:pt idx="43">
                  <c:v>1346.3663</c:v>
                </c:pt>
                <c:pt idx="44">
                  <c:v>1264.0702</c:v>
                </c:pt>
                <c:pt idx="45">
                  <c:v>1250.7009</c:v>
                </c:pt>
                <c:pt idx="46">
                  <c:v>1203.2856</c:v>
                </c:pt>
                <c:pt idx="47">
                  <c:v>1215.0359</c:v>
                </c:pt>
                <c:pt idx="48">
                  <c:v>1157.8543</c:v>
                </c:pt>
                <c:pt idx="49">
                  <c:v>1137.9812</c:v>
                </c:pt>
                <c:pt idx="50">
                  <c:v>1062.9681</c:v>
                </c:pt>
                <c:pt idx="51">
                  <c:v>1057.8405</c:v>
                </c:pt>
                <c:pt idx="52">
                  <c:v>1095.0641643233275</c:v>
                </c:pt>
                <c:pt idx="53">
                  <c:v>746.8168687006875</c:v>
                </c:pt>
                <c:pt idx="54">
                  <c:v>1233.0383333321486</c:v>
                </c:pt>
              </c:numCache>
            </c:numRef>
          </c:xVal>
          <c:yVal>
            <c:numRef>
              <c:f>Sheet1!$B$187:$B$241</c:f>
              <c:numCache>
                <c:formatCode>General</c:formatCode>
                <c:ptCount val="55"/>
                <c:pt idx="0">
                  <c:v>0.14701152405502388</c:v>
                </c:pt>
                <c:pt idx="1">
                  <c:v>0.1432651448643067</c:v>
                </c:pt>
                <c:pt idx="2">
                  <c:v>0.1430722314147332</c:v>
                </c:pt>
                <c:pt idx="3">
                  <c:v>0.14336341298298613</c:v>
                </c:pt>
                <c:pt idx="4">
                  <c:v>0.14706524999788165</c:v>
                </c:pt>
                <c:pt idx="5">
                  <c:v>0.13942431959602364</c:v>
                </c:pt>
                <c:pt idx="6">
                  <c:v>0.14984501506563264</c:v>
                </c:pt>
                <c:pt idx="7">
                  <c:v>0.15632174449870773</c:v>
                </c:pt>
                <c:pt idx="8">
                  <c:v>0.15078179553118592</c:v>
                </c:pt>
                <c:pt idx="9">
                  <c:v>0.17218605900862427</c:v>
                </c:pt>
                <c:pt idx="10">
                  <c:v>0.17071035263211223</c:v>
                </c:pt>
                <c:pt idx="11">
                  <c:v>0.15028377089432457</c:v>
                </c:pt>
                <c:pt idx="12">
                  <c:v>0.16048177359876392</c:v>
                </c:pt>
                <c:pt idx="13">
                  <c:v>0.1712854883069862</c:v>
                </c:pt>
                <c:pt idx="14">
                  <c:v>0.1541162275228233</c:v>
                </c:pt>
                <c:pt idx="15">
                  <c:v>0.16603893080826648</c:v>
                </c:pt>
                <c:pt idx="16">
                  <c:v>0.16178767991177342</c:v>
                </c:pt>
                <c:pt idx="17">
                  <c:v>0.17122719765151884</c:v>
                </c:pt>
                <c:pt idx="18">
                  <c:v>0.17721601002565388</c:v>
                </c:pt>
                <c:pt idx="19">
                  <c:v>0.177927507432771</c:v>
                </c:pt>
                <c:pt idx="20">
                  <c:v>0.18594989927449454</c:v>
                </c:pt>
                <c:pt idx="21">
                  <c:v>0.16917660919527777</c:v>
                </c:pt>
                <c:pt idx="22">
                  <c:v>0.16396410590174096</c:v>
                </c:pt>
                <c:pt idx="23">
                  <c:v>0.1780744295914086</c:v>
                </c:pt>
                <c:pt idx="24">
                  <c:v>0.17901876356949453</c:v>
                </c:pt>
                <c:pt idx="25">
                  <c:v>0.1761768676912236</c:v>
                </c:pt>
                <c:pt idx="26">
                  <c:v>0.1717007322429508</c:v>
                </c:pt>
                <c:pt idx="27">
                  <c:v>0.15628448412633472</c:v>
                </c:pt>
                <c:pt idx="28">
                  <c:v>0.13861553222292913</c:v>
                </c:pt>
                <c:pt idx="29">
                  <c:v>0.1372067568507527</c:v>
                </c:pt>
                <c:pt idx="30">
                  <c:v>0.12377306123576753</c:v>
                </c:pt>
                <c:pt idx="31">
                  <c:v>0.12822986911120515</c:v>
                </c:pt>
                <c:pt idx="32">
                  <c:v>0.1306908469677783</c:v>
                </c:pt>
                <c:pt idx="33">
                  <c:v>0.12014319090022935</c:v>
                </c:pt>
                <c:pt idx="34">
                  <c:v>0.11297075941478152</c:v>
                </c:pt>
                <c:pt idx="35">
                  <c:v>0.11701388115300232</c:v>
                </c:pt>
                <c:pt idx="36">
                  <c:v>0.1432948517241471</c:v>
                </c:pt>
                <c:pt idx="37">
                  <c:v>0.13680033440304562</c:v>
                </c:pt>
                <c:pt idx="38">
                  <c:v>0.13757537550791893</c:v>
                </c:pt>
                <c:pt idx="39">
                  <c:v>0.12705679231234795</c:v>
                </c:pt>
                <c:pt idx="40">
                  <c:v>0.12533145774348173</c:v>
                </c:pt>
                <c:pt idx="41">
                  <c:v>0.125589762512582</c:v>
                </c:pt>
                <c:pt idx="42">
                  <c:v>0.12640137566014914</c:v>
                </c:pt>
                <c:pt idx="43">
                  <c:v>0.12991211061936386</c:v>
                </c:pt>
                <c:pt idx="44">
                  <c:v>0.14481917591273943</c:v>
                </c:pt>
                <c:pt idx="45">
                  <c:v>0.14724088274971867</c:v>
                </c:pt>
                <c:pt idx="46">
                  <c:v>0.15582966123381445</c:v>
                </c:pt>
                <c:pt idx="47">
                  <c:v>0.15370121906806475</c:v>
                </c:pt>
                <c:pt idx="48">
                  <c:v>0.16405905916959676</c:v>
                </c:pt>
                <c:pt idx="49">
                  <c:v>0.16765886036651598</c:v>
                </c:pt>
                <c:pt idx="50">
                  <c:v>0.18124668748783174</c:v>
                </c:pt>
                <c:pt idx="51">
                  <c:v>0.18217549782025713</c:v>
                </c:pt>
                <c:pt idx="52">
                  <c:v>0.17543282599830518</c:v>
                </c:pt>
                <c:pt idx="53">
                  <c:v>0.2385141284426273</c:v>
                </c:pt>
                <c:pt idx="54">
                  <c:v>0.1504402692888895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28.0"/>
          <c:min val="59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8648345485137"/>
          <c:min val="0.0722859069453809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0238878101110173</c:v>
                </c:pt>
                <c:pt idx="1">
                  <c:v>0.10988440627684426</c:v>
                </c:pt>
                <c:pt idx="2">
                  <c:v>0.1078656511830032</c:v>
                </c:pt>
                <c:pt idx="3">
                  <c:v>0.11128350590523729</c:v>
                </c:pt>
                <c:pt idx="4">
                  <c:v>0.10632431334678831</c:v>
                </c:pt>
                <c:pt idx="5">
                  <c:v>0.10390827341514255</c:v>
                </c:pt>
                <c:pt idx="6">
                  <c:v>0.1053525703726879</c:v>
                </c:pt>
                <c:pt idx="7">
                  <c:v>0.10189502335249677</c:v>
                </c:pt>
                <c:pt idx="8">
                  <c:v>0.10146544377788683</c:v>
                </c:pt>
                <c:pt idx="9">
                  <c:v>0.09635438841184386</c:v>
                </c:pt>
                <c:pt idx="10">
                  <c:v>0.08731495950384377</c:v>
                </c:pt>
                <c:pt idx="11">
                  <c:v>0.0867839705629267</c:v>
                </c:pt>
                <c:pt idx="12">
                  <c:v>0.08438413969644798</c:v>
                </c:pt>
                <c:pt idx="13">
                  <c:v>0.08278002056788406</c:v>
                </c:pt>
                <c:pt idx="14">
                  <c:v>0.09289985546758682</c:v>
                </c:pt>
                <c:pt idx="15">
                  <c:v>0.08924238481644811</c:v>
                </c:pt>
                <c:pt idx="16">
                  <c:v>0.09197974606111278</c:v>
                </c:pt>
                <c:pt idx="17">
                  <c:v>0.08990399132495613</c:v>
                </c:pt>
                <c:pt idx="18">
                  <c:v>0.0921787799889768</c:v>
                </c:pt>
                <c:pt idx="19">
                  <c:v>0.0966854390812672</c:v>
                </c:pt>
                <c:pt idx="20">
                  <c:v>0.0990771870130488</c:v>
                </c:pt>
                <c:pt idx="21">
                  <c:v>0.09571400975177917</c:v>
                </c:pt>
                <c:pt idx="22">
                  <c:v>0.0935536675357019</c:v>
                </c:pt>
                <c:pt idx="23">
                  <c:v>0.09647836109973394</c:v>
                </c:pt>
                <c:pt idx="24">
                  <c:v>0.09278977311405692</c:v>
                </c:pt>
                <c:pt idx="25">
                  <c:v>0.09589215118786698</c:v>
                </c:pt>
                <c:pt idx="26">
                  <c:v>0.10367429233566716</c:v>
                </c:pt>
                <c:pt idx="27">
                  <c:v>0.1061669170257341</c:v>
                </c:pt>
                <c:pt idx="28">
                  <c:v>0.10561295462291315</c:v>
                </c:pt>
                <c:pt idx="29">
                  <c:v>0.10960952513324947</c:v>
                </c:pt>
                <c:pt idx="30">
                  <c:v>0.10262549572362847</c:v>
                </c:pt>
                <c:pt idx="31">
                  <c:v>0.10510217462595524</c:v>
                </c:pt>
                <c:pt idx="32">
                  <c:v>0.10249376270110425</c:v>
                </c:pt>
                <c:pt idx="33">
                  <c:v>0.11045576531265075</c:v>
                </c:pt>
                <c:pt idx="34">
                  <c:v>0.10179169076023419</c:v>
                </c:pt>
                <c:pt idx="35">
                  <c:v>0.1103680620491839</c:v>
                </c:pt>
                <c:pt idx="36">
                  <c:v>0.10711841339465789</c:v>
                </c:pt>
                <c:pt idx="37">
                  <c:v>0.11196217202691745</c:v>
                </c:pt>
                <c:pt idx="38">
                  <c:v>0.1118177127440722</c:v>
                </c:pt>
                <c:pt idx="39">
                  <c:v>0.11684199246186772</c:v>
                </c:pt>
                <c:pt idx="40">
                  <c:v>0.12386866130805474</c:v>
                </c:pt>
                <c:pt idx="41">
                  <c:v>0.12077811730787538</c:v>
                </c:pt>
                <c:pt idx="42">
                  <c:v>0.11574463884568732</c:v>
                </c:pt>
                <c:pt idx="43">
                  <c:v>0.11686523486981662</c:v>
                </c:pt>
                <c:pt idx="44">
                  <c:v>0.11490620032618912</c:v>
                </c:pt>
                <c:pt idx="45">
                  <c:v>0.11922784552267716</c:v>
                </c:pt>
                <c:pt idx="46">
                  <c:v>0.11599720699335737</c:v>
                </c:pt>
                <c:pt idx="47">
                  <c:v>0.10923150809586094</c:v>
                </c:pt>
                <c:pt idx="48">
                  <c:v>0.1110865967166419</c:v>
                </c:pt>
                <c:pt idx="49">
                  <c:v>0.11272532441777493</c:v>
                </c:pt>
                <c:pt idx="50">
                  <c:v>0.10473708393900208</c:v>
                </c:pt>
                <c:pt idx="51">
                  <c:v>0.10508805595016397</c:v>
                </c:pt>
                <c:pt idx="52">
                  <c:v>0.10665849445017947</c:v>
                </c:pt>
                <c:pt idx="53">
                  <c:v>0.12148053393221994</c:v>
                </c:pt>
                <c:pt idx="54">
                  <c:v>0.1230899541531386</c:v>
                </c:pt>
                <c:pt idx="55">
                  <c:v>0.12021482747790717</c:v>
                </c:pt>
                <c:pt idx="56">
                  <c:v>0.11941790913222819</c:v>
                </c:pt>
                <c:pt idx="57">
                  <c:v>0.11883730852903361</c:v>
                </c:pt>
                <c:pt idx="58">
                  <c:v>0.11806578496631122</c:v>
                </c:pt>
                <c:pt idx="59">
                  <c:v>0.12038155143177448</c:v>
                </c:pt>
                <c:pt idx="60">
                  <c:v>0.1194833603196839</c:v>
                </c:pt>
                <c:pt idx="61">
                  <c:v>0.11297317660524236</c:v>
                </c:pt>
                <c:pt idx="62">
                  <c:v>0.101688064366784</c:v>
                </c:pt>
                <c:pt idx="63">
                  <c:v>0.10449265280320325</c:v>
                </c:pt>
                <c:pt idx="64">
                  <c:v>0.10618077065404374</c:v>
                </c:pt>
                <c:pt idx="65">
                  <c:v>0.10533049781704323</c:v>
                </c:pt>
                <c:pt idx="66">
                  <c:v>0.1148858415868263</c:v>
                </c:pt>
                <c:pt idx="67">
                  <c:v>0.11423544482280101</c:v>
                </c:pt>
                <c:pt idx="68">
                  <c:v>0.11359714438986135</c:v>
                </c:pt>
                <c:pt idx="69">
                  <c:v>0.11415555217867934</c:v>
                </c:pt>
                <c:pt idx="70">
                  <c:v>0.11788361208926432</c:v>
                </c:pt>
                <c:pt idx="71">
                  <c:v>0.1121086328298555</c:v>
                </c:pt>
                <c:pt idx="72">
                  <c:v>0.11524960891946363</c:v>
                </c:pt>
                <c:pt idx="73">
                  <c:v>0.11400552660568401</c:v>
                </c:pt>
                <c:pt idx="74">
                  <c:v>0.11355797997089606</c:v>
                </c:pt>
                <c:pt idx="75">
                  <c:v>0.11019246160573218</c:v>
                </c:pt>
                <c:pt idx="76">
                  <c:v>0.10542409339869042</c:v>
                </c:pt>
                <c:pt idx="77">
                  <c:v>0.10584748903483766</c:v>
                </c:pt>
                <c:pt idx="78">
                  <c:v>0.1074219452177477</c:v>
                </c:pt>
                <c:pt idx="79">
                  <c:v>0.10581371011548259</c:v>
                </c:pt>
                <c:pt idx="80">
                  <c:v>0.10681452388898907</c:v>
                </c:pt>
                <c:pt idx="81">
                  <c:v>0.1166804865819594</c:v>
                </c:pt>
                <c:pt idx="82">
                  <c:v>0.11304455461805772</c:v>
                </c:pt>
                <c:pt idx="83">
                  <c:v>0.11357614296616506</c:v>
                </c:pt>
                <c:pt idx="84">
                  <c:v>0.11686364247992183</c:v>
                </c:pt>
                <c:pt idx="85">
                  <c:v>0.1160728126222151</c:v>
                </c:pt>
                <c:pt idx="86">
                  <c:v>0.11615017415713347</c:v>
                </c:pt>
                <c:pt idx="87">
                  <c:v>0.11623110685925449</c:v>
                </c:pt>
                <c:pt idx="88">
                  <c:v>0.11621565632078235</c:v>
                </c:pt>
                <c:pt idx="89">
                  <c:v>0.11644439134727692</c:v>
                </c:pt>
                <c:pt idx="90">
                  <c:v>0.11542658438444127</c:v>
                </c:pt>
                <c:pt idx="91">
                  <c:v>0.1181050665603997</c:v>
                </c:pt>
                <c:pt idx="92">
                  <c:v>0.11338485800971249</c:v>
                </c:pt>
                <c:pt idx="93">
                  <c:v>0.11326833285389479</c:v>
                </c:pt>
                <c:pt idx="94">
                  <c:v>0.1116221660914757</c:v>
                </c:pt>
                <c:pt idx="95">
                  <c:v>0.11220024881851136</c:v>
                </c:pt>
                <c:pt idx="96">
                  <c:v>0.10719345693500586</c:v>
                </c:pt>
                <c:pt idx="97">
                  <c:v>0.10659131739256895</c:v>
                </c:pt>
                <c:pt idx="98">
                  <c:v>0.10361941473104809</c:v>
                </c:pt>
                <c:pt idx="99">
                  <c:v>0.10166911672828174</c:v>
                </c:pt>
                <c:pt idx="100">
                  <c:v>0.10010751889894914</c:v>
                </c:pt>
                <c:pt idx="101">
                  <c:v>0.10793467524496426</c:v>
                </c:pt>
                <c:pt idx="102">
                  <c:v>0.1116702905859754</c:v>
                </c:pt>
                <c:pt idx="103">
                  <c:v>0.10325385125091052</c:v>
                </c:pt>
                <c:pt idx="104">
                  <c:v>0.1042736322083009</c:v>
                </c:pt>
              </c:numCache>
            </c:numRef>
          </c:xVal>
          <c:yVal>
            <c:numRef>
              <c:f>Sheet1!$B$2:$B$106</c:f>
              <c:numCache>
                <c:formatCode>General</c:formatCode>
                <c:ptCount val="105"/>
                <c:pt idx="0">
                  <c:v>0.26012847965738756</c:v>
                </c:pt>
                <c:pt idx="1">
                  <c:v>0.27238736212376147</c:v>
                </c:pt>
                <c:pt idx="2">
                  <c:v>0.26337257810327247</c:v>
                </c:pt>
                <c:pt idx="3">
                  <c:v>0.25908312725889293</c:v>
                </c:pt>
                <c:pt idx="4">
                  <c:v>0.2348164988632673</c:v>
                </c:pt>
                <c:pt idx="5">
                  <c:v>0.2129732123090547</c:v>
                </c:pt>
                <c:pt idx="6">
                  <c:v>0.21761273209549073</c:v>
                </c:pt>
                <c:pt idx="7">
                  <c:v>0.20444602104765283</c:v>
                </c:pt>
                <c:pt idx="8">
                  <c:v>0.22180714452486575</c:v>
                </c:pt>
                <c:pt idx="9">
                  <c:v>0.21677136304716324</c:v>
                </c:pt>
                <c:pt idx="10">
                  <c:v>0.2353272079504969</c:v>
                </c:pt>
                <c:pt idx="11">
                  <c:v>0.23654875800930397</c:v>
                </c:pt>
                <c:pt idx="12">
                  <c:v>0.253778531770512</c:v>
                </c:pt>
                <c:pt idx="13">
                  <c:v>0.2604998264491496</c:v>
                </c:pt>
                <c:pt idx="14">
                  <c:v>0.27032577242602446</c:v>
                </c:pt>
                <c:pt idx="15">
                  <c:v>0.2578412286394116</c:v>
                </c:pt>
                <c:pt idx="16">
                  <c:v>0.22771425058404032</c:v>
                </c:pt>
                <c:pt idx="17">
                  <c:v>0.2395250443564897</c:v>
                </c:pt>
                <c:pt idx="18">
                  <c:v>0.21722426764847128</c:v>
                </c:pt>
                <c:pt idx="19">
                  <c:v>0.1964573268921095</c:v>
                </c:pt>
                <c:pt idx="20">
                  <c:v>0.21371726233540733</c:v>
                </c:pt>
                <c:pt idx="21">
                  <c:v>0.1863013698630137</c:v>
                </c:pt>
                <c:pt idx="22">
                  <c:v>0.1838928706148623</c:v>
                </c:pt>
                <c:pt idx="23">
                  <c:v>0.1673461463793438</c:v>
                </c:pt>
                <c:pt idx="24">
                  <c:v>0.176566757493188</c:v>
                </c:pt>
                <c:pt idx="25">
                  <c:v>0.1651186790505676</c:v>
                </c:pt>
                <c:pt idx="26">
                  <c:v>0.16779661016949152</c:v>
                </c:pt>
                <c:pt idx="27">
                  <c:v>0.1683081252198382</c:v>
                </c:pt>
                <c:pt idx="28">
                  <c:v>0.16349876803942273</c:v>
                </c:pt>
                <c:pt idx="29">
                  <c:v>0.14938879187172566</c:v>
                </c:pt>
                <c:pt idx="30">
                  <c:v>0.15433070866141732</c:v>
                </c:pt>
                <c:pt idx="31">
                  <c:v>0.13553553553553555</c:v>
                </c:pt>
                <c:pt idx="32">
                  <c:v>0.14569805194805194</c:v>
                </c:pt>
                <c:pt idx="33">
                  <c:v>0.14377110360760617</c:v>
                </c:pt>
                <c:pt idx="34">
                  <c:v>0.16295242611032085</c:v>
                </c:pt>
                <c:pt idx="35">
                  <c:v>0.18948267447535383</c:v>
                </c:pt>
                <c:pt idx="36">
                  <c:v>0.1787432776677045</c:v>
                </c:pt>
                <c:pt idx="37">
                  <c:v>0.15249472944483486</c:v>
                </c:pt>
                <c:pt idx="38">
                  <c:v>0.15046916890080428</c:v>
                </c:pt>
                <c:pt idx="39">
                  <c:v>0.14069506726457398</c:v>
                </c:pt>
                <c:pt idx="40">
                  <c:v>0.1510353227771011</c:v>
                </c:pt>
                <c:pt idx="41">
                  <c:v>0.14417435037720033</c:v>
                </c:pt>
                <c:pt idx="42">
                  <c:v>0.15697020798201236</c:v>
                </c:pt>
                <c:pt idx="43">
                  <c:v>0.17312378167641326</c:v>
                </c:pt>
                <c:pt idx="44">
                  <c:v>0.15548665915069523</c:v>
                </c:pt>
                <c:pt idx="45">
                  <c:v>0.15145937417828031</c:v>
                </c:pt>
                <c:pt idx="46">
                  <c:v>0.1591240875912409</c:v>
                </c:pt>
                <c:pt idx="47">
                  <c:v>0.1676552686671319</c:v>
                </c:pt>
                <c:pt idx="48">
                  <c:v>0.1735267800076697</c:v>
                </c:pt>
                <c:pt idx="49">
                  <c:v>0.2121083647772078</c:v>
                </c:pt>
                <c:pt idx="50">
                  <c:v>0.18334377828842002</c:v>
                </c:pt>
                <c:pt idx="51">
                  <c:v>0.17443813484763657</c:v>
                </c:pt>
                <c:pt idx="52">
                  <c:v>0.19078901874005946</c:v>
                </c:pt>
                <c:pt idx="53">
                  <c:v>0.18180143672867932</c:v>
                </c:pt>
                <c:pt idx="54">
                  <c:v>0.1655494617103392</c:v>
                </c:pt>
                <c:pt idx="55">
                  <c:v>0.17623596095308072</c:v>
                </c:pt>
                <c:pt idx="56">
                  <c:v>0.1935966487133453</c:v>
                </c:pt>
                <c:pt idx="57">
                  <c:v>0.18437865562854314</c:v>
                </c:pt>
                <c:pt idx="58">
                  <c:v>0.1921921921921922</c:v>
                </c:pt>
                <c:pt idx="59">
                  <c:v>0.19312725899552247</c:v>
                </c:pt>
                <c:pt idx="60">
                  <c:v>0.1935066396578888</c:v>
                </c:pt>
                <c:pt idx="61">
                  <c:v>0.18492792590932855</c:v>
                </c:pt>
                <c:pt idx="62">
                  <c:v>0.20797134583142812</c:v>
                </c:pt>
                <c:pt idx="63">
                  <c:v>0.2189074255806346</c:v>
                </c:pt>
                <c:pt idx="64">
                  <c:v>0.2224744608399546</c:v>
                </c:pt>
                <c:pt idx="65">
                  <c:v>0.22872707212798235</c:v>
                </c:pt>
                <c:pt idx="66">
                  <c:v>0.2179420697829469</c:v>
                </c:pt>
                <c:pt idx="67">
                  <c:v>0.21630960608154803</c:v>
                </c:pt>
                <c:pt idx="68">
                  <c:v>0.19613577949127006</c:v>
                </c:pt>
                <c:pt idx="69">
                  <c:v>0.17736670293797607</c:v>
                </c:pt>
                <c:pt idx="70">
                  <c:v>0.1681854885223209</c:v>
                </c:pt>
                <c:pt idx="71">
                  <c:v>0.17558314958802368</c:v>
                </c:pt>
                <c:pt idx="72">
                  <c:v>0.17655571635311143</c:v>
                </c:pt>
                <c:pt idx="73">
                  <c:v>0.1785470280118424</c:v>
                </c:pt>
                <c:pt idx="74">
                  <c:v>0.1659024103468548</c:v>
                </c:pt>
                <c:pt idx="75">
                  <c:v>0.15557404326123128</c:v>
                </c:pt>
                <c:pt idx="76">
                  <c:v>0.1574769053117783</c:v>
                </c:pt>
                <c:pt idx="77">
                  <c:v>0.15460621912234815</c:v>
                </c:pt>
                <c:pt idx="78">
                  <c:v>0.1562448711636304</c:v>
                </c:pt>
                <c:pt idx="79">
                  <c:v>0.15875943000838222</c:v>
                </c:pt>
                <c:pt idx="80">
                  <c:v>0.14628495780241602</c:v>
                </c:pt>
                <c:pt idx="81">
                  <c:v>0.13667796610169491</c:v>
                </c:pt>
                <c:pt idx="82">
                  <c:v>0.1436801084378177</c:v>
                </c:pt>
                <c:pt idx="83">
                  <c:v>0.13094227504244482</c:v>
                </c:pt>
                <c:pt idx="84">
                  <c:v>0.1255043533658951</c:v>
                </c:pt>
                <c:pt idx="85">
                  <c:v>0.11232449297971919</c:v>
                </c:pt>
                <c:pt idx="86">
                  <c:v>0.12296718972895863</c:v>
                </c:pt>
                <c:pt idx="87">
                  <c:v>0.15997935750225778</c:v>
                </c:pt>
                <c:pt idx="88">
                  <c:v>0.1499921222624862</c:v>
                </c:pt>
                <c:pt idx="89">
                  <c:v>0.1237597911227154</c:v>
                </c:pt>
                <c:pt idx="90">
                  <c:v>0.11240379452299983</c:v>
                </c:pt>
                <c:pt idx="91">
                  <c:v>0.13977406845388635</c:v>
                </c:pt>
                <c:pt idx="92">
                  <c:v>0.14038248337028825</c:v>
                </c:pt>
                <c:pt idx="93">
                  <c:v>0.1275278058645096</c:v>
                </c:pt>
                <c:pt idx="94">
                  <c:v>0.12302466400827057</c:v>
                </c:pt>
                <c:pt idx="95">
                  <c:v>0.1428111933097459</c:v>
                </c:pt>
                <c:pt idx="96">
                  <c:v>0.14006570983918382</c:v>
                </c:pt>
                <c:pt idx="97">
                  <c:v>0.13938150373735894</c:v>
                </c:pt>
                <c:pt idx="98">
                  <c:v>0.162250593443254</c:v>
                </c:pt>
                <c:pt idx="99">
                  <c:v>0.16527112086389098</c:v>
                </c:pt>
                <c:pt idx="100">
                  <c:v>0.2001013171225937</c:v>
                </c:pt>
                <c:pt idx="101">
                  <c:v>0.1658822032820252</c:v>
                </c:pt>
                <c:pt idx="102">
                  <c:v>0.13617322936134563</c:v>
                </c:pt>
                <c:pt idx="103">
                  <c:v>0.15280477645098584</c:v>
                </c:pt>
                <c:pt idx="104">
                  <c:v>0.167021924482338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514405695601458</c:v>
                </c:pt>
                <c:pt idx="1">
                  <c:v>0.11556792122856263</c:v>
                </c:pt>
                <c:pt idx="2">
                  <c:v>0.11825679295288469</c:v>
                </c:pt>
                <c:pt idx="3">
                  <c:v>0.11812782390107292</c:v>
                </c:pt>
                <c:pt idx="4">
                  <c:v>0.11728862965401184</c:v>
                </c:pt>
                <c:pt idx="5">
                  <c:v>0.11088050375424109</c:v>
                </c:pt>
                <c:pt idx="6">
                  <c:v>0.10651564105486527</c:v>
                </c:pt>
                <c:pt idx="7">
                  <c:v>0.10536595279258755</c:v>
                </c:pt>
                <c:pt idx="8">
                  <c:v>0.10980774926128675</c:v>
                </c:pt>
                <c:pt idx="9">
                  <c:v>0.10034749992259728</c:v>
                </c:pt>
                <c:pt idx="10">
                  <c:v>0.10213828845311006</c:v>
                </c:pt>
                <c:pt idx="11">
                  <c:v>0.11441191195374892</c:v>
                </c:pt>
                <c:pt idx="12">
                  <c:v>0.11051450494835934</c:v>
                </c:pt>
                <c:pt idx="13">
                  <c:v>0.10291964669827346</c:v>
                </c:pt>
                <c:pt idx="14">
                  <c:v>0.10881186143470734</c:v>
                </c:pt>
                <c:pt idx="15">
                  <c:v>0.10036076786539294</c:v>
                </c:pt>
                <c:pt idx="16">
                  <c:v>0.10262029137445505</c:v>
                </c:pt>
                <c:pt idx="17">
                  <c:v>0.09908037157897033</c:v>
                </c:pt>
                <c:pt idx="18">
                  <c:v>0.09412609143542</c:v>
                </c:pt>
                <c:pt idx="19">
                  <c:v>0.0959098973555158</c:v>
                </c:pt>
                <c:pt idx="20">
                  <c:v>0.08940774500728188</c:v>
                </c:pt>
                <c:pt idx="21">
                  <c:v>0.09908454957045804</c:v>
                </c:pt>
                <c:pt idx="22">
                  <c:v>0.10249266268890898</c:v>
                </c:pt>
                <c:pt idx="23">
                  <c:v>0.09640580837016717</c:v>
                </c:pt>
                <c:pt idx="24">
                  <c:v>0.09334517483184773</c:v>
                </c:pt>
                <c:pt idx="25">
                  <c:v>0.09259658005922157</c:v>
                </c:pt>
                <c:pt idx="26">
                  <c:v>0.09589612325161127</c:v>
                </c:pt>
                <c:pt idx="27">
                  <c:v>0.10411523350591756</c:v>
                </c:pt>
                <c:pt idx="28">
                  <c:v>0.11092839845574579</c:v>
                </c:pt>
                <c:pt idx="29">
                  <c:v>0.11293125727120201</c:v>
                </c:pt>
                <c:pt idx="30">
                  <c:v>0.11980964827752694</c:v>
                </c:pt>
                <c:pt idx="31">
                  <c:v>0.11560939862681117</c:v>
                </c:pt>
                <c:pt idx="32">
                  <c:v>0.11342457294532758</c:v>
                </c:pt>
                <c:pt idx="33">
                  <c:v>0.12087629938551482</c:v>
                </c:pt>
                <c:pt idx="34">
                  <c:v>0.12588032407047797</c:v>
                </c:pt>
                <c:pt idx="35">
                  <c:v>0.12458165332458714</c:v>
                </c:pt>
                <c:pt idx="36">
                  <c:v>0.1137065798289308</c:v>
                </c:pt>
                <c:pt idx="37">
                  <c:v>0.1134474506181032</c:v>
                </c:pt>
                <c:pt idx="38">
                  <c:v>0.11550619787824942</c:v>
                </c:pt>
                <c:pt idx="39">
                  <c:v>0.12169449362661516</c:v>
                </c:pt>
                <c:pt idx="40">
                  <c:v>0.12277467954647024</c:v>
                </c:pt>
                <c:pt idx="41">
                  <c:v>0.12132646167386683</c:v>
                </c:pt>
                <c:pt idx="42">
                  <c:v>0.12157694992219417</c:v>
                </c:pt>
                <c:pt idx="43">
                  <c:v>0.12087102212141404</c:v>
                </c:pt>
                <c:pt idx="44">
                  <c:v>0.11544703284724064</c:v>
                </c:pt>
                <c:pt idx="45">
                  <c:v>0.11685027384538475</c:v>
                </c:pt>
                <c:pt idx="46">
                  <c:v>0.11253449619186394</c:v>
                </c:pt>
                <c:pt idx="47">
                  <c:v>0.11350970426513612</c:v>
                </c:pt>
                <c:pt idx="48">
                  <c:v>0.11022269556885371</c:v>
                </c:pt>
                <c:pt idx="49">
                  <c:v>0.1103447925449206</c:v>
                </c:pt>
                <c:pt idx="50">
                  <c:v>0.1063815535455544</c:v>
                </c:pt>
                <c:pt idx="51">
                  <c:v>0.10131552472919775</c:v>
                </c:pt>
              </c:numCache>
            </c:numRef>
          </c:xVal>
          <c:yVal>
            <c:numRef>
              <c:f>Sheet1!$B$109:$B$160</c:f>
              <c:numCache>
                <c:formatCode>General</c:formatCode>
                <c:ptCount val="52"/>
                <c:pt idx="0">
                  <c:v>0.1769493496112201</c:v>
                </c:pt>
                <c:pt idx="1">
                  <c:v>0.15590686083638347</c:v>
                </c:pt>
                <c:pt idx="2">
                  <c:v>0.16194158075601375</c:v>
                </c:pt>
                <c:pt idx="3">
                  <c:v>0.16526839915421868</c:v>
                </c:pt>
                <c:pt idx="4">
                  <c:v>0.15186813186813186</c:v>
                </c:pt>
                <c:pt idx="5">
                  <c:v>0.13577115479461707</c:v>
                </c:pt>
                <c:pt idx="6">
                  <c:v>0.14683249125534395</c:v>
                </c:pt>
                <c:pt idx="7">
                  <c:v>0.1525856565226644</c:v>
                </c:pt>
                <c:pt idx="8">
                  <c:v>0.15735294117647058</c:v>
                </c:pt>
                <c:pt idx="9">
                  <c:v>0.1817391304347826</c:v>
                </c:pt>
                <c:pt idx="10">
                  <c:v>0.1708127525819488</c:v>
                </c:pt>
                <c:pt idx="11">
                  <c:v>0.17353595824698748</c:v>
                </c:pt>
                <c:pt idx="12">
                  <c:v>0.18203052008720025</c:v>
                </c:pt>
                <c:pt idx="13">
                  <c:v>0.18218778766492788</c:v>
                </c:pt>
                <c:pt idx="14">
                  <c:v>0.1759473098965016</c:v>
                </c:pt>
                <c:pt idx="15">
                  <c:v>0.1706055471327923</c:v>
                </c:pt>
                <c:pt idx="16">
                  <c:v>0.16708006746701062</c:v>
                </c:pt>
                <c:pt idx="17">
                  <c:v>0.16554398856909575</c:v>
                </c:pt>
                <c:pt idx="18">
                  <c:v>0.16476655808903365</c:v>
                </c:pt>
                <c:pt idx="19">
                  <c:v>0.17328439550661773</c:v>
                </c:pt>
                <c:pt idx="20">
                  <c:v>0.17410987397528446</c:v>
                </c:pt>
                <c:pt idx="21">
                  <c:v>0.15474851357865982</c:v>
                </c:pt>
                <c:pt idx="22">
                  <c:v>0.1512164096040706</c:v>
                </c:pt>
                <c:pt idx="23">
                  <c:v>0.1667995535002392</c:v>
                </c:pt>
                <c:pt idx="24">
                  <c:v>0.17418677859391396</c:v>
                </c:pt>
                <c:pt idx="25">
                  <c:v>0.18850393700787402</c:v>
                </c:pt>
                <c:pt idx="26">
                  <c:v>0.17247386759581881</c:v>
                </c:pt>
                <c:pt idx="27">
                  <c:v>0.14001728608470182</c:v>
                </c:pt>
                <c:pt idx="28">
                  <c:v>0.11743119266055047</c:v>
                </c:pt>
                <c:pt idx="29">
                  <c:v>0.10954567041317081</c:v>
                </c:pt>
                <c:pt idx="30">
                  <c:v>0.11510433918516065</c:v>
                </c:pt>
                <c:pt idx="31">
                  <c:v>0.09839773798303487</c:v>
                </c:pt>
                <c:pt idx="32">
                  <c:v>0.09035738368172623</c:v>
                </c:pt>
                <c:pt idx="33">
                  <c:v>0.11122278056951423</c:v>
                </c:pt>
                <c:pt idx="34">
                  <c:v>0.13883528209785448</c:v>
                </c:pt>
                <c:pt idx="35">
                  <c:v>0.15228426395939088</c:v>
                </c:pt>
                <c:pt idx="36">
                  <c:v>0.12053832650672908</c:v>
                </c:pt>
                <c:pt idx="37">
                  <c:v>0.12834954770438642</c:v>
                </c:pt>
                <c:pt idx="38">
                  <c:v>0.11923750243143358</c:v>
                </c:pt>
                <c:pt idx="39">
                  <c:v>0.1382344592676696</c:v>
                </c:pt>
                <c:pt idx="40">
                  <c:v>0.1234927234927235</c:v>
                </c:pt>
                <c:pt idx="41">
                  <c:v>0.12782440284054228</c:v>
                </c:pt>
                <c:pt idx="42">
                  <c:v>0.1238054485808016</c:v>
                </c:pt>
                <c:pt idx="43">
                  <c:v>0.13284323876579002</c:v>
                </c:pt>
                <c:pt idx="44">
                  <c:v>0.13853109272370553</c:v>
                </c:pt>
                <c:pt idx="45">
                  <c:v>0.16015811354187964</c:v>
                </c:pt>
                <c:pt idx="46">
                  <c:v>0.15019266208745183</c:v>
                </c:pt>
                <c:pt idx="47">
                  <c:v>0.1589100554617796</c:v>
                </c:pt>
                <c:pt idx="48">
                  <c:v>0.1497153830327138</c:v>
                </c:pt>
                <c:pt idx="49">
                  <c:v>0.15563339171044951</c:v>
                </c:pt>
                <c:pt idx="50">
                  <c:v>0.20847588566383402</c:v>
                </c:pt>
                <c:pt idx="51">
                  <c:v>0.1879066435862233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5414642433419735</c:v>
                </c:pt>
              </c:numCache>
            </c:numRef>
          </c:xVal>
          <c:yVal>
            <c:numRef>
              <c:f>Sheet1!$B$163:$B$164</c:f>
              <c:numCache>
                <c:formatCode>General</c:formatCode>
                <c:ptCount val="2"/>
                <c:pt idx="0">
                  <c:v>0.2385141284426273</c:v>
                </c:pt>
                <c:pt idx="1">
                  <c:v>0.238514128442627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5414642433419735</c:v>
                </c:pt>
                <c:pt idx="1">
                  <c:v>0.05414642433419735</c:v>
                </c:pt>
              </c:numCache>
            </c:numRef>
          </c:xVal>
          <c:yVal>
            <c:numRef>
              <c:f>Sheet1!$B$167:$B$168</c:f>
              <c:numCache>
                <c:formatCode>General</c:formatCode>
                <c:ptCount val="2"/>
                <c:pt idx="0">
                  <c:v>0.238514128442627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9451884455303726</c:v>
                </c:pt>
              </c:numCache>
            </c:numRef>
          </c:xVal>
          <c:yVal>
            <c:numRef>
              <c:f>Sheet1!$B$171:$B$172</c:f>
              <c:numCache>
                <c:formatCode>General</c:formatCode>
                <c:ptCount val="2"/>
                <c:pt idx="0">
                  <c:v>0.17543282599830518</c:v>
                </c:pt>
                <c:pt idx="1">
                  <c:v>0.1754328259983051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9451884455303726</c:v>
                </c:pt>
                <c:pt idx="1">
                  <c:v>0.09451884455303726</c:v>
                </c:pt>
              </c:numCache>
            </c:numRef>
          </c:xVal>
          <c:yVal>
            <c:numRef>
              <c:f>Sheet1!$B$175:$B$176</c:f>
              <c:numCache>
                <c:formatCode>General</c:formatCode>
                <c:ptCount val="2"/>
                <c:pt idx="0">
                  <c:v>0.175432825998305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1051423403800077</c:v>
                </c:pt>
              </c:numCache>
            </c:numRef>
          </c:xVal>
          <c:yVal>
            <c:numRef>
              <c:f>Sheet1!$B$179:$B$180</c:f>
              <c:numCache>
                <c:formatCode>General</c:formatCode>
                <c:ptCount val="2"/>
                <c:pt idx="0">
                  <c:v>0.15044026928888957</c:v>
                </c:pt>
                <c:pt idx="1">
                  <c:v>0.1504402692888895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1051423403800077</c:v>
                </c:pt>
                <c:pt idx="1">
                  <c:v>0.11051423403800077</c:v>
                </c:pt>
              </c:numCache>
            </c:numRef>
          </c:xVal>
          <c:yVal>
            <c:numRef>
              <c:f>Sheet1!$B$183:$B$184</c:f>
              <c:numCache>
                <c:formatCode>General</c:formatCode>
                <c:ptCount val="2"/>
                <c:pt idx="0">
                  <c:v>0.1504402692888895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514405695601458</c:v>
                </c:pt>
                <c:pt idx="1">
                  <c:v>0.11556792122856263</c:v>
                </c:pt>
                <c:pt idx="2">
                  <c:v>0.11825679295288469</c:v>
                </c:pt>
                <c:pt idx="3">
                  <c:v>0.11812782390107292</c:v>
                </c:pt>
                <c:pt idx="4">
                  <c:v>0.11728862965401184</c:v>
                </c:pt>
                <c:pt idx="5">
                  <c:v>0.11088050375424109</c:v>
                </c:pt>
                <c:pt idx="6">
                  <c:v>0.10651564105486527</c:v>
                </c:pt>
                <c:pt idx="7">
                  <c:v>0.10536595279258755</c:v>
                </c:pt>
                <c:pt idx="8">
                  <c:v>0.10980774926128675</c:v>
                </c:pt>
                <c:pt idx="9">
                  <c:v>0.10034749992259728</c:v>
                </c:pt>
                <c:pt idx="10">
                  <c:v>0.10213828845311006</c:v>
                </c:pt>
                <c:pt idx="11">
                  <c:v>0.11441191195374892</c:v>
                </c:pt>
                <c:pt idx="12">
                  <c:v>0.11051450494835934</c:v>
                </c:pt>
                <c:pt idx="13">
                  <c:v>0.10291964669827346</c:v>
                </c:pt>
                <c:pt idx="14">
                  <c:v>0.10881186143470734</c:v>
                </c:pt>
                <c:pt idx="15">
                  <c:v>0.10036076786539294</c:v>
                </c:pt>
                <c:pt idx="16">
                  <c:v>0.10262029137445505</c:v>
                </c:pt>
                <c:pt idx="17">
                  <c:v>0.09908037157897033</c:v>
                </c:pt>
                <c:pt idx="18">
                  <c:v>0.09412609143542</c:v>
                </c:pt>
                <c:pt idx="19">
                  <c:v>0.0959098973555158</c:v>
                </c:pt>
                <c:pt idx="20">
                  <c:v>0.08940774500728188</c:v>
                </c:pt>
                <c:pt idx="21">
                  <c:v>0.09908454957045804</c:v>
                </c:pt>
                <c:pt idx="22">
                  <c:v>0.10249266268890898</c:v>
                </c:pt>
                <c:pt idx="23">
                  <c:v>0.09640580837016717</c:v>
                </c:pt>
                <c:pt idx="24">
                  <c:v>0.09334517483184773</c:v>
                </c:pt>
                <c:pt idx="25">
                  <c:v>0.09259658005922157</c:v>
                </c:pt>
                <c:pt idx="26">
                  <c:v>0.09589612325161127</c:v>
                </c:pt>
                <c:pt idx="27">
                  <c:v>0.10411523350591756</c:v>
                </c:pt>
                <c:pt idx="28">
                  <c:v>0.11092839845574579</c:v>
                </c:pt>
                <c:pt idx="29">
                  <c:v>0.11293125727120201</c:v>
                </c:pt>
                <c:pt idx="30">
                  <c:v>0.11980964827752694</c:v>
                </c:pt>
                <c:pt idx="31">
                  <c:v>0.11560939862681117</c:v>
                </c:pt>
                <c:pt idx="32">
                  <c:v>0.11342457294532758</c:v>
                </c:pt>
                <c:pt idx="33">
                  <c:v>0.12087629938551482</c:v>
                </c:pt>
                <c:pt idx="34">
                  <c:v>0.12588032407047797</c:v>
                </c:pt>
                <c:pt idx="35">
                  <c:v>0.12458165332458714</c:v>
                </c:pt>
                <c:pt idx="36">
                  <c:v>0.1137065798289308</c:v>
                </c:pt>
                <c:pt idx="37">
                  <c:v>0.1134474506181032</c:v>
                </c:pt>
                <c:pt idx="38">
                  <c:v>0.11550619787824942</c:v>
                </c:pt>
                <c:pt idx="39">
                  <c:v>0.12169449362661516</c:v>
                </c:pt>
                <c:pt idx="40">
                  <c:v>0.12277467954647024</c:v>
                </c:pt>
                <c:pt idx="41">
                  <c:v>0.12132646167386683</c:v>
                </c:pt>
                <c:pt idx="42">
                  <c:v>0.12157694992219417</c:v>
                </c:pt>
                <c:pt idx="43">
                  <c:v>0.12087102212141404</c:v>
                </c:pt>
                <c:pt idx="44">
                  <c:v>0.11544703284724064</c:v>
                </c:pt>
                <c:pt idx="45">
                  <c:v>0.11685027384538475</c:v>
                </c:pt>
                <c:pt idx="46">
                  <c:v>0.11253449619186394</c:v>
                </c:pt>
                <c:pt idx="47">
                  <c:v>0.11350970426513612</c:v>
                </c:pt>
                <c:pt idx="48">
                  <c:v>0.11022269556885371</c:v>
                </c:pt>
                <c:pt idx="49">
                  <c:v>0.1103447925449206</c:v>
                </c:pt>
                <c:pt idx="50">
                  <c:v>0.1063815535455544</c:v>
                </c:pt>
                <c:pt idx="51">
                  <c:v>0.10131552472919775</c:v>
                </c:pt>
                <c:pt idx="52">
                  <c:v>0.09451884455303726</c:v>
                </c:pt>
                <c:pt idx="53">
                  <c:v>0.05414642433419735</c:v>
                </c:pt>
                <c:pt idx="54">
                  <c:v>0.11051423403800077</c:v>
                </c:pt>
              </c:numCache>
            </c:numRef>
          </c:xVal>
          <c:yVal>
            <c:numRef>
              <c:f>Sheet1!$B$187:$B$241</c:f>
              <c:numCache>
                <c:formatCode>General</c:formatCode>
                <c:ptCount val="55"/>
                <c:pt idx="0">
                  <c:v>0.14320624026185108</c:v>
                </c:pt>
                <c:pt idx="1">
                  <c:v>0.14254395867885428</c:v>
                </c:pt>
                <c:pt idx="2">
                  <c:v>0.13834263684685785</c:v>
                </c:pt>
                <c:pt idx="3">
                  <c:v>0.13854414906037385</c:v>
                </c:pt>
                <c:pt idx="4">
                  <c:v>0.1398553775133981</c:v>
                </c:pt>
                <c:pt idx="5">
                  <c:v>0.14986797833825763</c:v>
                </c:pt>
                <c:pt idx="6">
                  <c:v>0.15668801098863558</c:v>
                </c:pt>
                <c:pt idx="7">
                  <c:v>0.1584843816940902</c:v>
                </c:pt>
                <c:pt idx="8">
                  <c:v>0.15154414118040946</c:v>
                </c:pt>
                <c:pt idx="9">
                  <c:v>0.1663256392054916</c:v>
                </c:pt>
                <c:pt idx="10">
                  <c:v>0.16352755892457785</c:v>
                </c:pt>
                <c:pt idx="11">
                  <c:v>0.14435020587180644</c:v>
                </c:pt>
                <c:pt idx="12">
                  <c:v>0.15043984599550833</c:v>
                </c:pt>
                <c:pt idx="13">
                  <c:v>0.16230669835903969</c:v>
                </c:pt>
                <c:pt idx="14">
                  <c:v>0.1531002010066113</c:v>
                </c:pt>
                <c:pt idx="15">
                  <c:v>0.16630490824341973</c:v>
                </c:pt>
                <c:pt idx="16">
                  <c:v>0.16277443657284374</c:v>
                </c:pt>
                <c:pt idx="17">
                  <c:v>0.1683055082806382</c:v>
                </c:pt>
                <c:pt idx="18">
                  <c:v>0.1760464968672813</c:v>
                </c:pt>
                <c:pt idx="19">
                  <c:v>0.17325932681065373</c:v>
                </c:pt>
                <c:pt idx="20">
                  <c:v>0.18341884255419091</c:v>
                </c:pt>
                <c:pt idx="21">
                  <c:v>0.16829898023145967</c:v>
                </c:pt>
                <c:pt idx="22">
                  <c:v>0.1629738544841273</c:v>
                </c:pt>
                <c:pt idx="23">
                  <c:v>0.17248447327125419</c:v>
                </c:pt>
                <c:pt idx="24">
                  <c:v>0.1772666673744422</c:v>
                </c:pt>
                <c:pt idx="25">
                  <c:v>0.17843633550442548</c:v>
                </c:pt>
                <c:pt idx="26">
                  <c:v>0.17328084864188384</c:v>
                </c:pt>
                <c:pt idx="27">
                  <c:v>0.16043861186329267</c:v>
                </c:pt>
                <c:pt idx="28">
                  <c:v>0.14979314358387033</c:v>
                </c:pt>
                <c:pt idx="29">
                  <c:v>0.1466637066562295</c:v>
                </c:pt>
                <c:pt idx="30">
                  <c:v>0.13591632363959757</c:v>
                </c:pt>
                <c:pt idx="31">
                  <c:v>0.14247915086477383</c:v>
                </c:pt>
                <c:pt idx="32">
                  <c:v>0.1458929082975639</c:v>
                </c:pt>
                <c:pt idx="33">
                  <c:v>0.13424969724512256</c:v>
                </c:pt>
                <c:pt idx="34">
                  <c:v>0.1264309835569174</c:v>
                </c:pt>
                <c:pt idx="35">
                  <c:v>0.1284601371635893</c:v>
                </c:pt>
                <c:pt idx="36">
                  <c:v>0.1454522767619877</c:v>
                </c:pt>
                <c:pt idx="37">
                  <c:v>0.14585716227620182</c:v>
                </c:pt>
                <c:pt idx="38">
                  <c:v>0.14264040049006793</c:v>
                </c:pt>
                <c:pt idx="39">
                  <c:v>0.13297128098716018</c:v>
                </c:pt>
                <c:pt idx="40">
                  <c:v>0.13128350665168256</c:v>
                </c:pt>
                <c:pt idx="41">
                  <c:v>0.13354632540596514</c:v>
                </c:pt>
                <c:pt idx="42">
                  <c:v>0.13315494126635116</c:v>
                </c:pt>
                <c:pt idx="43">
                  <c:v>0.13425794289130913</c:v>
                </c:pt>
                <c:pt idx="44">
                  <c:v>0.14273284496565206</c:v>
                </c:pt>
                <c:pt idx="45">
                  <c:v>0.1405403019046618</c:v>
                </c:pt>
                <c:pt idx="46">
                  <c:v>0.1472836399054178</c:v>
                </c:pt>
                <c:pt idx="47">
                  <c:v>0.14575989188429916</c:v>
                </c:pt>
                <c:pt idx="48">
                  <c:v>0.15089579378424392</c:v>
                </c:pt>
                <c:pt idx="49">
                  <c:v>0.15070501908624306</c:v>
                </c:pt>
                <c:pt idx="50">
                  <c:v>0.15689752071539945</c:v>
                </c:pt>
                <c:pt idx="51">
                  <c:v>0.16481311493105452</c:v>
                </c:pt>
                <c:pt idx="52">
                  <c:v>0.17543282599830518</c:v>
                </c:pt>
                <c:pt idx="53">
                  <c:v>0.2385141284426273</c:v>
                </c:pt>
                <c:pt idx="54">
                  <c:v>0.1504402692888895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8648345485137"/>
          <c:min val="0.0722859069453809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07.1989</c:v>
                </c:pt>
                <c:pt idx="1">
                  <c:v>967.3737</c:v>
                </c:pt>
                <c:pt idx="2">
                  <c:v>969.8427</c:v>
                </c:pt>
                <c:pt idx="3">
                  <c:v>993.1112</c:v>
                </c:pt>
                <c:pt idx="4">
                  <c:v>985.1591</c:v>
                </c:pt>
                <c:pt idx="5">
                  <c:v>977.8358</c:v>
                </c:pt>
                <c:pt idx="6">
                  <c:v>973.1877</c:v>
                </c:pt>
                <c:pt idx="7">
                  <c:v>970.7594</c:v>
                </c:pt>
                <c:pt idx="8">
                  <c:v>961.1026</c:v>
                </c:pt>
                <c:pt idx="9">
                  <c:v>891.7999</c:v>
                </c:pt>
                <c:pt idx="10">
                  <c:v>827.4697</c:v>
                </c:pt>
                <c:pt idx="11">
                  <c:v>804.2089</c:v>
                </c:pt>
                <c:pt idx="12">
                  <c:v>798.3868</c:v>
                </c:pt>
                <c:pt idx="13">
                  <c:v>788.2821</c:v>
                </c:pt>
                <c:pt idx="14">
                  <c:v>927.6461</c:v>
                </c:pt>
                <c:pt idx="15">
                  <c:v>937.3125</c:v>
                </c:pt>
                <c:pt idx="16">
                  <c:v>972.5432</c:v>
                </c:pt>
                <c:pt idx="17">
                  <c:v>989.3265</c:v>
                </c:pt>
                <c:pt idx="18">
                  <c:v>1011.2152</c:v>
                </c:pt>
                <c:pt idx="19">
                  <c:v>1035.9308</c:v>
                </c:pt>
                <c:pt idx="20">
                  <c:v>1057.7028</c:v>
                </c:pt>
                <c:pt idx="21">
                  <c:v>1061.0735</c:v>
                </c:pt>
                <c:pt idx="22">
                  <c:v>1064.5703</c:v>
                </c:pt>
                <c:pt idx="23">
                  <c:v>1069.5638</c:v>
                </c:pt>
                <c:pt idx="24">
                  <c:v>1070.0113</c:v>
                </c:pt>
                <c:pt idx="25">
                  <c:v>1086.2875</c:v>
                </c:pt>
                <c:pt idx="26">
                  <c:v>1078.104</c:v>
                </c:pt>
                <c:pt idx="27">
                  <c:v>1127.3386</c:v>
                </c:pt>
                <c:pt idx="28">
                  <c:v>1115.8192</c:v>
                </c:pt>
                <c:pt idx="29">
                  <c:v>1164.0638</c:v>
                </c:pt>
                <c:pt idx="30">
                  <c:v>1142.2934</c:v>
                </c:pt>
                <c:pt idx="31">
                  <c:v>1142.2038</c:v>
                </c:pt>
                <c:pt idx="32">
                  <c:v>1145.5557</c:v>
                </c:pt>
                <c:pt idx="33">
                  <c:v>1148.5402</c:v>
                </c:pt>
                <c:pt idx="34">
                  <c:v>1091.9651</c:v>
                </c:pt>
                <c:pt idx="35">
                  <c:v>1122.3973</c:v>
                </c:pt>
                <c:pt idx="36">
                  <c:v>1142.1061</c:v>
                </c:pt>
                <c:pt idx="37">
                  <c:v>1180.8306</c:v>
                </c:pt>
                <c:pt idx="38">
                  <c:v>1165.8931</c:v>
                </c:pt>
                <c:pt idx="39">
                  <c:v>1227.83</c:v>
                </c:pt>
                <c:pt idx="40">
                  <c:v>1275.119</c:v>
                </c:pt>
                <c:pt idx="41">
                  <c:v>1240.357</c:v>
                </c:pt>
                <c:pt idx="42">
                  <c:v>1227.1817</c:v>
                </c:pt>
                <c:pt idx="43">
                  <c:v>1208.8023</c:v>
                </c:pt>
                <c:pt idx="44">
                  <c:v>1208.3801</c:v>
                </c:pt>
                <c:pt idx="45">
                  <c:v>1204.9294</c:v>
                </c:pt>
                <c:pt idx="46">
                  <c:v>1151.3308</c:v>
                </c:pt>
                <c:pt idx="47">
                  <c:v>1105.7971</c:v>
                </c:pt>
                <c:pt idx="48">
                  <c:v>1061.9282</c:v>
                </c:pt>
                <c:pt idx="49">
                  <c:v>970.5209</c:v>
                </c:pt>
                <c:pt idx="50">
                  <c:v>1014.583</c:v>
                </c:pt>
                <c:pt idx="51">
                  <c:v>1020.8391</c:v>
                </c:pt>
                <c:pt idx="52">
                  <c:v>1018.4755</c:v>
                </c:pt>
                <c:pt idx="53">
                  <c:v>1184.652</c:v>
                </c:pt>
                <c:pt idx="54">
                  <c:v>1211.4411</c:v>
                </c:pt>
                <c:pt idx="55">
                  <c:v>1197.5581</c:v>
                </c:pt>
                <c:pt idx="56">
                  <c:v>1193.6275</c:v>
                </c:pt>
                <c:pt idx="57">
                  <c:v>1202.6755</c:v>
                </c:pt>
                <c:pt idx="58">
                  <c:v>1196.5798</c:v>
                </c:pt>
                <c:pt idx="59">
                  <c:v>1197.3709</c:v>
                </c:pt>
                <c:pt idx="60">
                  <c:v>1194.6336</c:v>
                </c:pt>
                <c:pt idx="61">
                  <c:v>1153.1838</c:v>
                </c:pt>
                <c:pt idx="62">
                  <c:v>1052.5735</c:v>
                </c:pt>
                <c:pt idx="63">
                  <c:v>1064.2463</c:v>
                </c:pt>
                <c:pt idx="64">
                  <c:v>1047.0266</c:v>
                </c:pt>
                <c:pt idx="65">
                  <c:v>1046.5803</c:v>
                </c:pt>
                <c:pt idx="66">
                  <c:v>1152.0354</c:v>
                </c:pt>
                <c:pt idx="67">
                  <c:v>1177.6028</c:v>
                </c:pt>
                <c:pt idx="68">
                  <c:v>1167.4989</c:v>
                </c:pt>
                <c:pt idx="69">
                  <c:v>1204.287</c:v>
                </c:pt>
                <c:pt idx="70">
                  <c:v>1268.5501</c:v>
                </c:pt>
                <c:pt idx="71">
                  <c:v>1213.3093</c:v>
                </c:pt>
                <c:pt idx="72">
                  <c:v>1236.7037</c:v>
                </c:pt>
                <c:pt idx="73">
                  <c:v>1249.7564</c:v>
                </c:pt>
                <c:pt idx="74">
                  <c:v>1242.2268</c:v>
                </c:pt>
                <c:pt idx="75">
                  <c:v>1238.0357</c:v>
                </c:pt>
                <c:pt idx="76">
                  <c:v>1189.3666</c:v>
                </c:pt>
                <c:pt idx="77">
                  <c:v>1184.4511</c:v>
                </c:pt>
                <c:pt idx="78">
                  <c:v>1223.5735</c:v>
                </c:pt>
                <c:pt idx="79">
                  <c:v>1213.7445</c:v>
                </c:pt>
                <c:pt idx="80">
                  <c:v>1226.6799</c:v>
                </c:pt>
                <c:pt idx="81">
                  <c:v>1299.2252</c:v>
                </c:pt>
                <c:pt idx="82">
                  <c:v>1304.3208</c:v>
                </c:pt>
                <c:pt idx="83">
                  <c:v>1296.0373</c:v>
                </c:pt>
                <c:pt idx="84">
                  <c:v>1332.7107</c:v>
                </c:pt>
                <c:pt idx="85">
                  <c:v>1358.6059</c:v>
                </c:pt>
                <c:pt idx="86">
                  <c:v>1345.7529</c:v>
                </c:pt>
                <c:pt idx="87">
                  <c:v>1340.2444</c:v>
                </c:pt>
                <c:pt idx="88">
                  <c:v>1339.8151</c:v>
                </c:pt>
                <c:pt idx="89">
                  <c:v>1361.8312</c:v>
                </c:pt>
                <c:pt idx="90">
                  <c:v>1331.8981</c:v>
                </c:pt>
                <c:pt idx="91">
                  <c:v>1327.9891</c:v>
                </c:pt>
                <c:pt idx="92">
                  <c:v>1311.2646</c:v>
                </c:pt>
                <c:pt idx="93">
                  <c:v>1292.338</c:v>
                </c:pt>
                <c:pt idx="94">
                  <c:v>1286.6086</c:v>
                </c:pt>
                <c:pt idx="95">
                  <c:v>1292.6419</c:v>
                </c:pt>
                <c:pt idx="96">
                  <c:v>1202.3451</c:v>
                </c:pt>
                <c:pt idx="97">
                  <c:v>1219.8691</c:v>
                </c:pt>
                <c:pt idx="98">
                  <c:v>1167.0973</c:v>
                </c:pt>
                <c:pt idx="99">
                  <c:v>1127.0741</c:v>
                </c:pt>
                <c:pt idx="100">
                  <c:v>1072.815</c:v>
                </c:pt>
                <c:pt idx="101">
                  <c:v>1208.7308</c:v>
                </c:pt>
                <c:pt idx="102">
                  <c:v>1232.956</c:v>
                </c:pt>
                <c:pt idx="103">
                  <c:v>1149.7074</c:v>
                </c:pt>
                <c:pt idx="104">
                  <c:v>1156.9572</c:v>
                </c:pt>
              </c:numCache>
            </c:numRef>
          </c:xVal>
          <c:yVal>
            <c:numRef>
              <c:f>Sheet1!$B$2:$B$106</c:f>
              <c:numCache>
                <c:formatCode>General</c:formatCode>
                <c:ptCount val="105"/>
                <c:pt idx="0">
                  <c:v>0.26012847965738756</c:v>
                </c:pt>
                <c:pt idx="1">
                  <c:v>0.27238736212376147</c:v>
                </c:pt>
                <c:pt idx="2">
                  <c:v>0.26337257810327247</c:v>
                </c:pt>
                <c:pt idx="3">
                  <c:v>0.25908312725889293</c:v>
                </c:pt>
                <c:pt idx="4">
                  <c:v>0.2348164988632673</c:v>
                </c:pt>
                <c:pt idx="5">
                  <c:v>0.2129732123090547</c:v>
                </c:pt>
                <c:pt idx="6">
                  <c:v>0.21761273209549073</c:v>
                </c:pt>
                <c:pt idx="7">
                  <c:v>0.20444602104765283</c:v>
                </c:pt>
                <c:pt idx="8">
                  <c:v>0.22180714452486575</c:v>
                </c:pt>
                <c:pt idx="9">
                  <c:v>0.21677136304716324</c:v>
                </c:pt>
                <c:pt idx="10">
                  <c:v>0.2353272079504969</c:v>
                </c:pt>
                <c:pt idx="11">
                  <c:v>0.23654875800930397</c:v>
                </c:pt>
                <c:pt idx="12">
                  <c:v>0.253778531770512</c:v>
                </c:pt>
                <c:pt idx="13">
                  <c:v>0.2604998264491496</c:v>
                </c:pt>
                <c:pt idx="14">
                  <c:v>0.27032577242602446</c:v>
                </c:pt>
                <c:pt idx="15">
                  <c:v>0.2578412286394116</c:v>
                </c:pt>
                <c:pt idx="16">
                  <c:v>0.22771425058404032</c:v>
                </c:pt>
                <c:pt idx="17">
                  <c:v>0.2395250443564897</c:v>
                </c:pt>
                <c:pt idx="18">
                  <c:v>0.21722426764847128</c:v>
                </c:pt>
                <c:pt idx="19">
                  <c:v>0.1964573268921095</c:v>
                </c:pt>
                <c:pt idx="20">
                  <c:v>0.21371726233540733</c:v>
                </c:pt>
                <c:pt idx="21">
                  <c:v>0.1863013698630137</c:v>
                </c:pt>
                <c:pt idx="22">
                  <c:v>0.1838928706148623</c:v>
                </c:pt>
                <c:pt idx="23">
                  <c:v>0.1673461463793438</c:v>
                </c:pt>
                <c:pt idx="24">
                  <c:v>0.176566757493188</c:v>
                </c:pt>
                <c:pt idx="25">
                  <c:v>0.1651186790505676</c:v>
                </c:pt>
                <c:pt idx="26">
                  <c:v>0.16779661016949152</c:v>
                </c:pt>
                <c:pt idx="27">
                  <c:v>0.1683081252198382</c:v>
                </c:pt>
                <c:pt idx="28">
                  <c:v>0.16349876803942273</c:v>
                </c:pt>
                <c:pt idx="29">
                  <c:v>0.14938879187172566</c:v>
                </c:pt>
                <c:pt idx="30">
                  <c:v>0.15433070866141732</c:v>
                </c:pt>
                <c:pt idx="31">
                  <c:v>0.13553553553553555</c:v>
                </c:pt>
                <c:pt idx="32">
                  <c:v>0.14569805194805194</c:v>
                </c:pt>
                <c:pt idx="33">
                  <c:v>0.14377110360760617</c:v>
                </c:pt>
                <c:pt idx="34">
                  <c:v>0.16295242611032085</c:v>
                </c:pt>
                <c:pt idx="35">
                  <c:v>0.18948267447535383</c:v>
                </c:pt>
                <c:pt idx="36">
                  <c:v>0.1787432776677045</c:v>
                </c:pt>
                <c:pt idx="37">
                  <c:v>0.15249472944483486</c:v>
                </c:pt>
                <c:pt idx="38">
                  <c:v>0.15046916890080428</c:v>
                </c:pt>
                <c:pt idx="39">
                  <c:v>0.14069506726457398</c:v>
                </c:pt>
                <c:pt idx="40">
                  <c:v>0.1510353227771011</c:v>
                </c:pt>
                <c:pt idx="41">
                  <c:v>0.14417435037720033</c:v>
                </c:pt>
                <c:pt idx="42">
                  <c:v>0.15697020798201236</c:v>
                </c:pt>
                <c:pt idx="43">
                  <c:v>0.17312378167641326</c:v>
                </c:pt>
                <c:pt idx="44">
                  <c:v>0.15548665915069523</c:v>
                </c:pt>
                <c:pt idx="45">
                  <c:v>0.15145937417828031</c:v>
                </c:pt>
                <c:pt idx="46">
                  <c:v>0.1591240875912409</c:v>
                </c:pt>
                <c:pt idx="47">
                  <c:v>0.1676552686671319</c:v>
                </c:pt>
                <c:pt idx="48">
                  <c:v>0.1735267800076697</c:v>
                </c:pt>
                <c:pt idx="49">
                  <c:v>0.2121083647772078</c:v>
                </c:pt>
                <c:pt idx="50">
                  <c:v>0.18334377828842002</c:v>
                </c:pt>
                <c:pt idx="51">
                  <c:v>0.17443813484763657</c:v>
                </c:pt>
                <c:pt idx="52">
                  <c:v>0.19078901874005946</c:v>
                </c:pt>
                <c:pt idx="53">
                  <c:v>0.18180143672867932</c:v>
                </c:pt>
                <c:pt idx="54">
                  <c:v>0.1655494617103392</c:v>
                </c:pt>
                <c:pt idx="55">
                  <c:v>0.17623596095308072</c:v>
                </c:pt>
                <c:pt idx="56">
                  <c:v>0.1935966487133453</c:v>
                </c:pt>
                <c:pt idx="57">
                  <c:v>0.18437865562854314</c:v>
                </c:pt>
                <c:pt idx="58">
                  <c:v>0.1921921921921922</c:v>
                </c:pt>
                <c:pt idx="59">
                  <c:v>0.19312725899552247</c:v>
                </c:pt>
                <c:pt idx="60">
                  <c:v>0.1935066396578888</c:v>
                </c:pt>
                <c:pt idx="61">
                  <c:v>0.18492792590932855</c:v>
                </c:pt>
                <c:pt idx="62">
                  <c:v>0.20797134583142812</c:v>
                </c:pt>
                <c:pt idx="63">
                  <c:v>0.2189074255806346</c:v>
                </c:pt>
                <c:pt idx="64">
                  <c:v>0.2224744608399546</c:v>
                </c:pt>
                <c:pt idx="65">
                  <c:v>0.22872707212798235</c:v>
                </c:pt>
                <c:pt idx="66">
                  <c:v>0.2179420697829469</c:v>
                </c:pt>
                <c:pt idx="67">
                  <c:v>0.21630960608154803</c:v>
                </c:pt>
                <c:pt idx="68">
                  <c:v>0.19613577949127006</c:v>
                </c:pt>
                <c:pt idx="69">
                  <c:v>0.17736670293797607</c:v>
                </c:pt>
                <c:pt idx="70">
                  <c:v>0.1681854885223209</c:v>
                </c:pt>
                <c:pt idx="71">
                  <c:v>0.17558314958802368</c:v>
                </c:pt>
                <c:pt idx="72">
                  <c:v>0.17655571635311143</c:v>
                </c:pt>
                <c:pt idx="73">
                  <c:v>0.1785470280118424</c:v>
                </c:pt>
                <c:pt idx="74">
                  <c:v>0.1659024103468548</c:v>
                </c:pt>
                <c:pt idx="75">
                  <c:v>0.15557404326123128</c:v>
                </c:pt>
                <c:pt idx="76">
                  <c:v>0.1574769053117783</c:v>
                </c:pt>
                <c:pt idx="77">
                  <c:v>0.15460621912234815</c:v>
                </c:pt>
                <c:pt idx="78">
                  <c:v>0.1562448711636304</c:v>
                </c:pt>
                <c:pt idx="79">
                  <c:v>0.15875943000838222</c:v>
                </c:pt>
                <c:pt idx="80">
                  <c:v>0.14628495780241602</c:v>
                </c:pt>
                <c:pt idx="81">
                  <c:v>0.13667796610169491</c:v>
                </c:pt>
                <c:pt idx="82">
                  <c:v>0.1436801084378177</c:v>
                </c:pt>
                <c:pt idx="83">
                  <c:v>0.13094227504244482</c:v>
                </c:pt>
                <c:pt idx="84">
                  <c:v>0.1255043533658951</c:v>
                </c:pt>
                <c:pt idx="85">
                  <c:v>0.11232449297971919</c:v>
                </c:pt>
                <c:pt idx="86">
                  <c:v>0.12296718972895863</c:v>
                </c:pt>
                <c:pt idx="87">
                  <c:v>0.15997935750225778</c:v>
                </c:pt>
                <c:pt idx="88">
                  <c:v>0.1499921222624862</c:v>
                </c:pt>
                <c:pt idx="89">
                  <c:v>0.1237597911227154</c:v>
                </c:pt>
                <c:pt idx="90">
                  <c:v>0.11240379452299983</c:v>
                </c:pt>
                <c:pt idx="91">
                  <c:v>0.13977406845388635</c:v>
                </c:pt>
                <c:pt idx="92">
                  <c:v>0.14038248337028825</c:v>
                </c:pt>
                <c:pt idx="93">
                  <c:v>0.1275278058645096</c:v>
                </c:pt>
                <c:pt idx="94">
                  <c:v>0.12302466400827057</c:v>
                </c:pt>
                <c:pt idx="95">
                  <c:v>0.1428111933097459</c:v>
                </c:pt>
                <c:pt idx="96">
                  <c:v>0.14006570983918382</c:v>
                </c:pt>
                <c:pt idx="97">
                  <c:v>0.13938150373735894</c:v>
                </c:pt>
                <c:pt idx="98">
                  <c:v>0.162250593443254</c:v>
                </c:pt>
                <c:pt idx="99">
                  <c:v>0.16527112086389098</c:v>
                </c:pt>
                <c:pt idx="100">
                  <c:v>0.2001013171225937</c:v>
                </c:pt>
                <c:pt idx="101">
                  <c:v>0.1658822032820252</c:v>
                </c:pt>
                <c:pt idx="102">
                  <c:v>0.13617322936134563</c:v>
                </c:pt>
                <c:pt idx="103">
                  <c:v>0.15280477645098584</c:v>
                </c:pt>
                <c:pt idx="104">
                  <c:v>0.167021924482338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1.9671</c:v>
                </c:pt>
                <c:pt idx="1">
                  <c:v>1272.6494</c:v>
                </c:pt>
                <c:pt idx="2">
                  <c:v>1273.7144</c:v>
                </c:pt>
                <c:pt idx="3">
                  <c:v>1272.1069</c:v>
                </c:pt>
                <c:pt idx="4">
                  <c:v>1251.6705</c:v>
                </c:pt>
                <c:pt idx="5">
                  <c:v>1293.8531</c:v>
                </c:pt>
                <c:pt idx="6">
                  <c:v>1236.3245</c:v>
                </c:pt>
                <c:pt idx="7">
                  <c:v>1200.569</c:v>
                </c:pt>
                <c:pt idx="8">
                  <c:v>1231.1529</c:v>
                </c:pt>
                <c:pt idx="9">
                  <c:v>1112.9883</c:v>
                </c:pt>
                <c:pt idx="10">
                  <c:v>1121.1351</c:v>
                </c:pt>
                <c:pt idx="11">
                  <c:v>1233.9023</c:v>
                </c:pt>
                <c:pt idx="12">
                  <c:v>1177.6031</c:v>
                </c:pt>
                <c:pt idx="13">
                  <c:v>1117.96</c:v>
                </c:pt>
                <c:pt idx="14">
                  <c:v>1212.7448</c:v>
                </c:pt>
                <c:pt idx="15">
                  <c:v>1146.9242</c:v>
                </c:pt>
                <c:pt idx="16">
                  <c:v>1170.3937</c:v>
                </c:pt>
                <c:pt idx="17">
                  <c:v>1118.2818</c:v>
                </c:pt>
                <c:pt idx="18">
                  <c:v>1085.2199</c:v>
                </c:pt>
                <c:pt idx="19">
                  <c:v>1081.292</c:v>
                </c:pt>
                <c:pt idx="20">
                  <c:v>1037.0035</c:v>
                </c:pt>
                <c:pt idx="21">
                  <c:v>1129.6023</c:v>
                </c:pt>
                <c:pt idx="22">
                  <c:v>1158.3785</c:v>
                </c:pt>
                <c:pt idx="23">
                  <c:v>1080.4809</c:v>
                </c:pt>
                <c:pt idx="24">
                  <c:v>1075.2676</c:v>
                </c:pt>
                <c:pt idx="25">
                  <c:v>1090.9566</c:v>
                </c:pt>
                <c:pt idx="26">
                  <c:v>1115.6676</c:v>
                </c:pt>
                <c:pt idx="27">
                  <c:v>1200.7747</c:v>
                </c:pt>
                <c:pt idx="28">
                  <c:v>1298.3181</c:v>
                </c:pt>
                <c:pt idx="29">
                  <c:v>1306.0954</c:v>
                </c:pt>
                <c:pt idx="30">
                  <c:v>1380.2576</c:v>
                </c:pt>
                <c:pt idx="31">
                  <c:v>1355.6533</c:v>
                </c:pt>
                <c:pt idx="32">
                  <c:v>1342.0672</c:v>
                </c:pt>
                <c:pt idx="33">
                  <c:v>1400.2967</c:v>
                </c:pt>
                <c:pt idx="34">
                  <c:v>1439.8929</c:v>
                </c:pt>
                <c:pt idx="35">
                  <c:v>1417.5724</c:v>
                </c:pt>
                <c:pt idx="36">
                  <c:v>1272.4854</c:v>
                </c:pt>
                <c:pt idx="37">
                  <c:v>1308.3391</c:v>
                </c:pt>
                <c:pt idx="38">
                  <c:v>1304.0604</c:v>
                </c:pt>
                <c:pt idx="39">
                  <c:v>1362.1294</c:v>
                </c:pt>
                <c:pt idx="40">
                  <c:v>1371.6543</c:v>
                </c:pt>
                <c:pt idx="41">
                  <c:v>1370.2283</c:v>
                </c:pt>
                <c:pt idx="42">
                  <c:v>1365.7477</c:v>
                </c:pt>
                <c:pt idx="43">
                  <c:v>1346.3663</c:v>
                </c:pt>
                <c:pt idx="44">
                  <c:v>1264.0702</c:v>
                </c:pt>
                <c:pt idx="45">
                  <c:v>1250.7009</c:v>
                </c:pt>
                <c:pt idx="46">
                  <c:v>1203.2856</c:v>
                </c:pt>
                <c:pt idx="47">
                  <c:v>1215.0359</c:v>
                </c:pt>
                <c:pt idx="48">
                  <c:v>1157.8543</c:v>
                </c:pt>
                <c:pt idx="49">
                  <c:v>1137.9812</c:v>
                </c:pt>
                <c:pt idx="50">
                  <c:v>1062.9681</c:v>
                </c:pt>
                <c:pt idx="51">
                  <c:v>1057.8405</c:v>
                </c:pt>
              </c:numCache>
            </c:numRef>
          </c:xVal>
          <c:yVal>
            <c:numRef>
              <c:f>Sheet1!$B$109:$B$160</c:f>
              <c:numCache>
                <c:formatCode>General</c:formatCode>
                <c:ptCount val="52"/>
                <c:pt idx="0">
                  <c:v>0.1769493496112201</c:v>
                </c:pt>
                <c:pt idx="1">
                  <c:v>0.15590686083638347</c:v>
                </c:pt>
                <c:pt idx="2">
                  <c:v>0.16194158075601375</c:v>
                </c:pt>
                <c:pt idx="3">
                  <c:v>0.16526839915421868</c:v>
                </c:pt>
                <c:pt idx="4">
                  <c:v>0.15186813186813186</c:v>
                </c:pt>
                <c:pt idx="5">
                  <c:v>0.13577115479461707</c:v>
                </c:pt>
                <c:pt idx="6">
                  <c:v>0.14683249125534395</c:v>
                </c:pt>
                <c:pt idx="7">
                  <c:v>0.1525856565226644</c:v>
                </c:pt>
                <c:pt idx="8">
                  <c:v>0.15735294117647058</c:v>
                </c:pt>
                <c:pt idx="9">
                  <c:v>0.1817391304347826</c:v>
                </c:pt>
                <c:pt idx="10">
                  <c:v>0.1708127525819488</c:v>
                </c:pt>
                <c:pt idx="11">
                  <c:v>0.17353595824698748</c:v>
                </c:pt>
                <c:pt idx="12">
                  <c:v>0.18203052008720025</c:v>
                </c:pt>
                <c:pt idx="13">
                  <c:v>0.18218778766492788</c:v>
                </c:pt>
                <c:pt idx="14">
                  <c:v>0.1759473098965016</c:v>
                </c:pt>
                <c:pt idx="15">
                  <c:v>0.1706055471327923</c:v>
                </c:pt>
                <c:pt idx="16">
                  <c:v>0.16708006746701062</c:v>
                </c:pt>
                <c:pt idx="17">
                  <c:v>0.16554398856909575</c:v>
                </c:pt>
                <c:pt idx="18">
                  <c:v>0.16476655808903365</c:v>
                </c:pt>
                <c:pt idx="19">
                  <c:v>0.17328439550661773</c:v>
                </c:pt>
                <c:pt idx="20">
                  <c:v>0.17410987397528446</c:v>
                </c:pt>
                <c:pt idx="21">
                  <c:v>0.15474851357865982</c:v>
                </c:pt>
                <c:pt idx="22">
                  <c:v>0.1512164096040706</c:v>
                </c:pt>
                <c:pt idx="23">
                  <c:v>0.1667995535002392</c:v>
                </c:pt>
                <c:pt idx="24">
                  <c:v>0.17418677859391396</c:v>
                </c:pt>
                <c:pt idx="25">
                  <c:v>0.18850393700787402</c:v>
                </c:pt>
                <c:pt idx="26">
                  <c:v>0.17247386759581881</c:v>
                </c:pt>
                <c:pt idx="27">
                  <c:v>0.14001728608470182</c:v>
                </c:pt>
                <c:pt idx="28">
                  <c:v>0.11743119266055047</c:v>
                </c:pt>
                <c:pt idx="29">
                  <c:v>0.10954567041317081</c:v>
                </c:pt>
                <c:pt idx="30">
                  <c:v>0.11510433918516065</c:v>
                </c:pt>
                <c:pt idx="31">
                  <c:v>0.09839773798303487</c:v>
                </c:pt>
                <c:pt idx="32">
                  <c:v>0.09035738368172623</c:v>
                </c:pt>
                <c:pt idx="33">
                  <c:v>0.11122278056951423</c:v>
                </c:pt>
                <c:pt idx="34">
                  <c:v>0.13883528209785448</c:v>
                </c:pt>
                <c:pt idx="35">
                  <c:v>0.15228426395939088</c:v>
                </c:pt>
                <c:pt idx="36">
                  <c:v>0.12053832650672908</c:v>
                </c:pt>
                <c:pt idx="37">
                  <c:v>0.12834954770438642</c:v>
                </c:pt>
                <c:pt idx="38">
                  <c:v>0.11923750243143358</c:v>
                </c:pt>
                <c:pt idx="39">
                  <c:v>0.1382344592676696</c:v>
                </c:pt>
                <c:pt idx="40">
                  <c:v>0.1234927234927235</c:v>
                </c:pt>
                <c:pt idx="41">
                  <c:v>0.12782440284054228</c:v>
                </c:pt>
                <c:pt idx="42">
                  <c:v>0.1238054485808016</c:v>
                </c:pt>
                <c:pt idx="43">
                  <c:v>0.13284323876579002</c:v>
                </c:pt>
                <c:pt idx="44">
                  <c:v>0.13853109272370553</c:v>
                </c:pt>
                <c:pt idx="45">
                  <c:v>0.16015811354187964</c:v>
                </c:pt>
                <c:pt idx="46">
                  <c:v>0.15019266208745183</c:v>
                </c:pt>
                <c:pt idx="47">
                  <c:v>0.1589100554617796</c:v>
                </c:pt>
                <c:pt idx="48">
                  <c:v>0.1497153830327138</c:v>
                </c:pt>
                <c:pt idx="49">
                  <c:v>0.15563339171044951</c:v>
                </c:pt>
                <c:pt idx="50">
                  <c:v>0.20847588566383402</c:v>
                </c:pt>
                <c:pt idx="51">
                  <c:v>0.1879066435862233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46.8168687006875</c:v>
                </c:pt>
              </c:numCache>
            </c:numRef>
          </c:xVal>
          <c:yVal>
            <c:numRef>
              <c:f>Sheet1!$B$163:$B$164</c:f>
              <c:numCache>
                <c:formatCode>General</c:formatCode>
                <c:ptCount val="2"/>
                <c:pt idx="0">
                  <c:v>0.2385141284426273</c:v>
                </c:pt>
                <c:pt idx="1">
                  <c:v>0.238514128442627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46.8168687006875</c:v>
                </c:pt>
                <c:pt idx="1">
                  <c:v>746.8168687006875</c:v>
                </c:pt>
              </c:numCache>
            </c:numRef>
          </c:xVal>
          <c:yVal>
            <c:numRef>
              <c:f>Sheet1!$B$167:$B$168</c:f>
              <c:numCache>
                <c:formatCode>General</c:formatCode>
                <c:ptCount val="2"/>
                <c:pt idx="0">
                  <c:v>0.238514128442627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5.0641643233275</c:v>
                </c:pt>
              </c:numCache>
            </c:numRef>
          </c:xVal>
          <c:yVal>
            <c:numRef>
              <c:f>Sheet1!$B$171:$B$172</c:f>
              <c:numCache>
                <c:formatCode>General</c:formatCode>
                <c:ptCount val="2"/>
                <c:pt idx="0">
                  <c:v>0.17543282599830518</c:v>
                </c:pt>
                <c:pt idx="1">
                  <c:v>0.1754328259983051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5.0641643233275</c:v>
                </c:pt>
                <c:pt idx="1">
                  <c:v>1095.0641643233275</c:v>
                </c:pt>
              </c:numCache>
            </c:numRef>
          </c:xVal>
          <c:yVal>
            <c:numRef>
              <c:f>Sheet1!$B$175:$B$176</c:f>
              <c:numCache>
                <c:formatCode>General</c:formatCode>
                <c:ptCount val="2"/>
                <c:pt idx="0">
                  <c:v>0.175432825998305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33.0383333321486</c:v>
                </c:pt>
              </c:numCache>
            </c:numRef>
          </c:xVal>
          <c:yVal>
            <c:numRef>
              <c:f>Sheet1!$B$179:$B$180</c:f>
              <c:numCache>
                <c:formatCode>General</c:formatCode>
                <c:ptCount val="2"/>
                <c:pt idx="0">
                  <c:v>0.15044026928888957</c:v>
                </c:pt>
                <c:pt idx="1">
                  <c:v>0.1504402692888895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33.0383333321486</c:v>
                </c:pt>
                <c:pt idx="1">
                  <c:v>1233.0383333321486</c:v>
                </c:pt>
              </c:numCache>
            </c:numRef>
          </c:xVal>
          <c:yVal>
            <c:numRef>
              <c:f>Sheet1!$B$183:$B$184</c:f>
              <c:numCache>
                <c:formatCode>General</c:formatCode>
                <c:ptCount val="2"/>
                <c:pt idx="0">
                  <c:v>0.1504402692888895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1.9671</c:v>
                </c:pt>
                <c:pt idx="1">
                  <c:v>1272.6494</c:v>
                </c:pt>
                <c:pt idx="2">
                  <c:v>1273.7144</c:v>
                </c:pt>
                <c:pt idx="3">
                  <c:v>1272.1069</c:v>
                </c:pt>
                <c:pt idx="4">
                  <c:v>1251.6705</c:v>
                </c:pt>
                <c:pt idx="5">
                  <c:v>1293.8531</c:v>
                </c:pt>
                <c:pt idx="6">
                  <c:v>1236.3245</c:v>
                </c:pt>
                <c:pt idx="7">
                  <c:v>1200.569</c:v>
                </c:pt>
                <c:pt idx="8">
                  <c:v>1231.1529</c:v>
                </c:pt>
                <c:pt idx="9">
                  <c:v>1112.9883</c:v>
                </c:pt>
                <c:pt idx="10">
                  <c:v>1121.1351</c:v>
                </c:pt>
                <c:pt idx="11">
                  <c:v>1233.9023</c:v>
                </c:pt>
                <c:pt idx="12">
                  <c:v>1177.6031</c:v>
                </c:pt>
                <c:pt idx="13">
                  <c:v>1117.96</c:v>
                </c:pt>
                <c:pt idx="14">
                  <c:v>1212.7448</c:v>
                </c:pt>
                <c:pt idx="15">
                  <c:v>1146.9242</c:v>
                </c:pt>
                <c:pt idx="16">
                  <c:v>1170.3937</c:v>
                </c:pt>
                <c:pt idx="17">
                  <c:v>1118.2818</c:v>
                </c:pt>
                <c:pt idx="18">
                  <c:v>1085.2199</c:v>
                </c:pt>
                <c:pt idx="19">
                  <c:v>1081.292</c:v>
                </c:pt>
                <c:pt idx="20">
                  <c:v>1037.0035</c:v>
                </c:pt>
                <c:pt idx="21">
                  <c:v>1129.6023</c:v>
                </c:pt>
                <c:pt idx="22">
                  <c:v>1158.3785</c:v>
                </c:pt>
                <c:pt idx="23">
                  <c:v>1080.4809</c:v>
                </c:pt>
                <c:pt idx="24">
                  <c:v>1075.2676</c:v>
                </c:pt>
                <c:pt idx="25">
                  <c:v>1090.9566</c:v>
                </c:pt>
                <c:pt idx="26">
                  <c:v>1115.6676</c:v>
                </c:pt>
                <c:pt idx="27">
                  <c:v>1200.7747</c:v>
                </c:pt>
                <c:pt idx="28">
                  <c:v>1298.3181</c:v>
                </c:pt>
                <c:pt idx="29">
                  <c:v>1306.0954</c:v>
                </c:pt>
                <c:pt idx="30">
                  <c:v>1380.2576</c:v>
                </c:pt>
                <c:pt idx="31">
                  <c:v>1355.6533</c:v>
                </c:pt>
                <c:pt idx="32">
                  <c:v>1342.0672</c:v>
                </c:pt>
                <c:pt idx="33">
                  <c:v>1400.2967</c:v>
                </c:pt>
                <c:pt idx="34">
                  <c:v>1439.8929</c:v>
                </c:pt>
                <c:pt idx="35">
                  <c:v>1417.5724</c:v>
                </c:pt>
                <c:pt idx="36">
                  <c:v>1272.4854</c:v>
                </c:pt>
                <c:pt idx="37">
                  <c:v>1308.3391</c:v>
                </c:pt>
                <c:pt idx="38">
                  <c:v>1304.0604</c:v>
                </c:pt>
                <c:pt idx="39">
                  <c:v>1362.1294</c:v>
                </c:pt>
                <c:pt idx="40">
                  <c:v>1371.6543</c:v>
                </c:pt>
                <c:pt idx="41">
                  <c:v>1370.2283</c:v>
                </c:pt>
                <c:pt idx="42">
                  <c:v>1365.7477</c:v>
                </c:pt>
                <c:pt idx="43">
                  <c:v>1346.3663</c:v>
                </c:pt>
                <c:pt idx="44">
                  <c:v>1264.0702</c:v>
                </c:pt>
                <c:pt idx="45">
                  <c:v>1250.7009</c:v>
                </c:pt>
                <c:pt idx="46">
                  <c:v>1203.2856</c:v>
                </c:pt>
                <c:pt idx="47">
                  <c:v>1215.0359</c:v>
                </c:pt>
                <c:pt idx="48">
                  <c:v>1157.8543</c:v>
                </c:pt>
                <c:pt idx="49">
                  <c:v>1137.9812</c:v>
                </c:pt>
                <c:pt idx="50">
                  <c:v>1062.9681</c:v>
                </c:pt>
                <c:pt idx="51">
                  <c:v>1057.8405</c:v>
                </c:pt>
                <c:pt idx="52">
                  <c:v>1095.0641643233275</c:v>
                </c:pt>
                <c:pt idx="53">
                  <c:v>746.8168687006875</c:v>
                </c:pt>
                <c:pt idx="54">
                  <c:v>1233.0383333321486</c:v>
                </c:pt>
              </c:numCache>
            </c:numRef>
          </c:xVal>
          <c:yVal>
            <c:numRef>
              <c:f>Sheet1!$B$187:$B$241</c:f>
              <c:numCache>
                <c:formatCode>General</c:formatCode>
                <c:ptCount val="55"/>
                <c:pt idx="0">
                  <c:v>0.14701152405502388</c:v>
                </c:pt>
                <c:pt idx="1">
                  <c:v>0.1432651448643067</c:v>
                </c:pt>
                <c:pt idx="2">
                  <c:v>0.1430722314147332</c:v>
                </c:pt>
                <c:pt idx="3">
                  <c:v>0.14336341298298613</c:v>
                </c:pt>
                <c:pt idx="4">
                  <c:v>0.14706524999788165</c:v>
                </c:pt>
                <c:pt idx="5">
                  <c:v>0.13942431959602364</c:v>
                </c:pt>
                <c:pt idx="6">
                  <c:v>0.14984501506563264</c:v>
                </c:pt>
                <c:pt idx="7">
                  <c:v>0.15632174449870773</c:v>
                </c:pt>
                <c:pt idx="8">
                  <c:v>0.15078179553118592</c:v>
                </c:pt>
                <c:pt idx="9">
                  <c:v>0.17218605900862427</c:v>
                </c:pt>
                <c:pt idx="10">
                  <c:v>0.17071035263211223</c:v>
                </c:pt>
                <c:pt idx="11">
                  <c:v>0.15028377089432457</c:v>
                </c:pt>
                <c:pt idx="12">
                  <c:v>0.16048177359876392</c:v>
                </c:pt>
                <c:pt idx="13">
                  <c:v>0.1712854883069862</c:v>
                </c:pt>
                <c:pt idx="14">
                  <c:v>0.1541162275228233</c:v>
                </c:pt>
                <c:pt idx="15">
                  <c:v>0.16603893080826648</c:v>
                </c:pt>
                <c:pt idx="16">
                  <c:v>0.16178767991177342</c:v>
                </c:pt>
                <c:pt idx="17">
                  <c:v>0.17122719765151884</c:v>
                </c:pt>
                <c:pt idx="18">
                  <c:v>0.17721601002565388</c:v>
                </c:pt>
                <c:pt idx="19">
                  <c:v>0.177927507432771</c:v>
                </c:pt>
                <c:pt idx="20">
                  <c:v>0.18594989927449454</c:v>
                </c:pt>
                <c:pt idx="21">
                  <c:v>0.16917660919527777</c:v>
                </c:pt>
                <c:pt idx="22">
                  <c:v>0.16396410590174096</c:v>
                </c:pt>
                <c:pt idx="23">
                  <c:v>0.1780744295914086</c:v>
                </c:pt>
                <c:pt idx="24">
                  <c:v>0.17901876356949453</c:v>
                </c:pt>
                <c:pt idx="25">
                  <c:v>0.1761768676912236</c:v>
                </c:pt>
                <c:pt idx="26">
                  <c:v>0.1717007322429508</c:v>
                </c:pt>
                <c:pt idx="27">
                  <c:v>0.15628448412633472</c:v>
                </c:pt>
                <c:pt idx="28">
                  <c:v>0.13861553222292913</c:v>
                </c:pt>
                <c:pt idx="29">
                  <c:v>0.1372067568507527</c:v>
                </c:pt>
                <c:pt idx="30">
                  <c:v>0.12377306123576753</c:v>
                </c:pt>
                <c:pt idx="31">
                  <c:v>0.12822986911120515</c:v>
                </c:pt>
                <c:pt idx="32">
                  <c:v>0.1306908469677783</c:v>
                </c:pt>
                <c:pt idx="33">
                  <c:v>0.12014319090022935</c:v>
                </c:pt>
                <c:pt idx="34">
                  <c:v>0.11297075941478152</c:v>
                </c:pt>
                <c:pt idx="35">
                  <c:v>0.11701388115300232</c:v>
                </c:pt>
                <c:pt idx="36">
                  <c:v>0.1432948517241471</c:v>
                </c:pt>
                <c:pt idx="37">
                  <c:v>0.13680033440304562</c:v>
                </c:pt>
                <c:pt idx="38">
                  <c:v>0.13757537550791893</c:v>
                </c:pt>
                <c:pt idx="39">
                  <c:v>0.12705679231234795</c:v>
                </c:pt>
                <c:pt idx="40">
                  <c:v>0.12533145774348173</c:v>
                </c:pt>
                <c:pt idx="41">
                  <c:v>0.125589762512582</c:v>
                </c:pt>
                <c:pt idx="42">
                  <c:v>0.12640137566014914</c:v>
                </c:pt>
                <c:pt idx="43">
                  <c:v>0.12991211061936386</c:v>
                </c:pt>
                <c:pt idx="44">
                  <c:v>0.14481917591273943</c:v>
                </c:pt>
                <c:pt idx="45">
                  <c:v>0.14724088274971867</c:v>
                </c:pt>
                <c:pt idx="46">
                  <c:v>0.15582966123381445</c:v>
                </c:pt>
                <c:pt idx="47">
                  <c:v>0.15370121906806475</c:v>
                </c:pt>
                <c:pt idx="48">
                  <c:v>0.16405905916959676</c:v>
                </c:pt>
                <c:pt idx="49">
                  <c:v>0.16765886036651598</c:v>
                </c:pt>
                <c:pt idx="50">
                  <c:v>0.18124668748783174</c:v>
                </c:pt>
                <c:pt idx="51">
                  <c:v>0.18217549782025713</c:v>
                </c:pt>
                <c:pt idx="52">
                  <c:v>0.17543282599830518</c:v>
                </c:pt>
                <c:pt idx="53">
                  <c:v>0.2385141284426273</c:v>
                </c:pt>
                <c:pt idx="54">
                  <c:v>0.1504402692888895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28.0"/>
          <c:min val="59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8648345485137"/>
          <c:min val="0.0722859069453809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1891357116015233</c:v>
                </c:pt>
                <c:pt idx="1">
                  <c:v>0.13150051110421102</c:v>
                </c:pt>
                <c:pt idx="2">
                  <c:v>0.12880354820222706</c:v>
                </c:pt>
                <c:pt idx="3">
                  <c:v>0.13491431217401484</c:v>
                </c:pt>
                <c:pt idx="4">
                  <c:v>0.12802812837055155</c:v>
                </c:pt>
                <c:pt idx="5">
                  <c:v>0.1428278984935422</c:v>
                </c:pt>
                <c:pt idx="6">
                  <c:v>0.13561915252594073</c:v>
                </c:pt>
                <c:pt idx="7">
                  <c:v>0.12761351794440992</c:v>
                </c:pt>
                <c:pt idx="8">
                  <c:v>0.12678825738909635</c:v>
                </c:pt>
                <c:pt idx="9">
                  <c:v>0.11491866610520855</c:v>
                </c:pt>
                <c:pt idx="10">
                  <c:v>0.09944013932656502</c:v>
                </c:pt>
                <c:pt idx="11">
                  <c:v>0.09816174934068063</c:v>
                </c:pt>
                <c:pt idx="12">
                  <c:v>0.0990255029863058</c:v>
                </c:pt>
                <c:pt idx="13">
                  <c:v>0.09713769871659986</c:v>
                </c:pt>
                <c:pt idx="14">
                  <c:v>0.1180330827897308</c:v>
                </c:pt>
                <c:pt idx="15">
                  <c:v>0.11394001304245048</c:v>
                </c:pt>
                <c:pt idx="16">
                  <c:v>0.1173114533448527</c:v>
                </c:pt>
                <c:pt idx="17">
                  <c:v>0.12102983711114594</c:v>
                </c:pt>
                <c:pt idx="18">
                  <c:v>0.12098712138252507</c:v>
                </c:pt>
                <c:pt idx="19">
                  <c:v>0.122883686794821</c:v>
                </c:pt>
                <c:pt idx="20">
                  <c:v>0.12870985522923686</c:v>
                </c:pt>
                <c:pt idx="21">
                  <c:v>0.1170033372641967</c:v>
                </c:pt>
                <c:pt idx="22">
                  <c:v>0.11349639778545997</c:v>
                </c:pt>
                <c:pt idx="23">
                  <c:v>0.11958001264241427</c:v>
                </c:pt>
                <c:pt idx="24">
                  <c:v>0.11613587002219375</c:v>
                </c:pt>
                <c:pt idx="25">
                  <c:v>0.116634801904037</c:v>
                </c:pt>
                <c:pt idx="26">
                  <c:v>0.12331371747752887</c:v>
                </c:pt>
                <c:pt idx="27">
                  <c:v>0.12341993299533217</c:v>
                </c:pt>
                <c:pt idx="28">
                  <c:v>0.11913027131169503</c:v>
                </c:pt>
                <c:pt idx="29">
                  <c:v>0.12386287951770013</c:v>
                </c:pt>
                <c:pt idx="30">
                  <c:v>0.12011287836734794</c:v>
                </c:pt>
                <c:pt idx="31">
                  <c:v>0.12104751427658056</c:v>
                </c:pt>
                <c:pt idx="32">
                  <c:v>0.12028985852699856</c:v>
                </c:pt>
                <c:pt idx="33">
                  <c:v>0.11925521108082505</c:v>
                </c:pt>
                <c:pt idx="34">
                  <c:v>0.11955482491451967</c:v>
                </c:pt>
                <c:pt idx="35">
                  <c:v>0.12402516006262226</c:v>
                </c:pt>
                <c:pt idx="36">
                  <c:v>0.12638825485455124</c:v>
                </c:pt>
                <c:pt idx="37">
                  <c:v>0.12685760246461777</c:v>
                </c:pt>
                <c:pt idx="38">
                  <c:v>0.12528299790373518</c:v>
                </c:pt>
                <c:pt idx="39">
                  <c:v>0.1290413886305018</c:v>
                </c:pt>
                <c:pt idx="40">
                  <c:v>0.14043027013013587</c:v>
                </c:pt>
                <c:pt idx="41">
                  <c:v>0.13099160853703723</c:v>
                </c:pt>
                <c:pt idx="42">
                  <c:v>0.1345521278691446</c:v>
                </c:pt>
                <c:pt idx="43">
                  <c:v>0.13507279754015117</c:v>
                </c:pt>
                <c:pt idx="44">
                  <c:v>0.1430562982685333</c:v>
                </c:pt>
                <c:pt idx="45">
                  <c:v>0.14426745827726226</c:v>
                </c:pt>
                <c:pt idx="46">
                  <c:v>0.14049784940802906</c:v>
                </c:pt>
                <c:pt idx="47">
                  <c:v>0.13193208398166106</c:v>
                </c:pt>
                <c:pt idx="48">
                  <c:v>0.13460555592209109</c:v>
                </c:pt>
                <c:pt idx="49">
                  <c:v>0.13172803232961133</c:v>
                </c:pt>
                <c:pt idx="50">
                  <c:v>0.1244119075300177</c:v>
                </c:pt>
                <c:pt idx="51">
                  <c:v>0.1243590131072279</c:v>
                </c:pt>
                <c:pt idx="52">
                  <c:v>0.12508857122546319</c:v>
                </c:pt>
                <c:pt idx="53">
                  <c:v>0.14046562916851935</c:v>
                </c:pt>
                <c:pt idx="54">
                  <c:v>0.14009542795451946</c:v>
                </c:pt>
                <c:pt idx="55">
                  <c:v>0.1308064143698102</c:v>
                </c:pt>
                <c:pt idx="56">
                  <c:v>0.13039375811944895</c:v>
                </c:pt>
                <c:pt idx="57">
                  <c:v>0.13599495595096178</c:v>
                </c:pt>
                <c:pt idx="58">
                  <c:v>0.14136617557611528</c:v>
                </c:pt>
                <c:pt idx="59">
                  <c:v>0.14886381722908196</c:v>
                </c:pt>
                <c:pt idx="60">
                  <c:v>0.15164879725550054</c:v>
                </c:pt>
                <c:pt idx="61">
                  <c:v>0.14175052881544664</c:v>
                </c:pt>
                <c:pt idx="62">
                  <c:v>0.12571584951536668</c:v>
                </c:pt>
                <c:pt idx="63">
                  <c:v>0.1312174525181971</c:v>
                </c:pt>
                <c:pt idx="64">
                  <c:v>0.12733353448358684</c:v>
                </c:pt>
                <c:pt idx="65">
                  <c:v>0.1266569625711465</c:v>
                </c:pt>
                <c:pt idx="66">
                  <c:v>0.13143450085910685</c:v>
                </c:pt>
                <c:pt idx="67">
                  <c:v>0.13062568901808946</c:v>
                </c:pt>
                <c:pt idx="68">
                  <c:v>0.123884624819119</c:v>
                </c:pt>
                <c:pt idx="69">
                  <c:v>0.1263619177016711</c:v>
                </c:pt>
                <c:pt idx="70">
                  <c:v>0.12874184664213167</c:v>
                </c:pt>
                <c:pt idx="71">
                  <c:v>0.12604495589052503</c:v>
                </c:pt>
                <c:pt idx="72">
                  <c:v>0.13223954826840276</c:v>
                </c:pt>
                <c:pt idx="73">
                  <c:v>0.12850312135799366</c:v>
                </c:pt>
                <c:pt idx="74">
                  <c:v>0.12773743294944892</c:v>
                </c:pt>
                <c:pt idx="75">
                  <c:v>0.12195937473054329</c:v>
                </c:pt>
                <c:pt idx="76">
                  <c:v>0.11826968873465292</c:v>
                </c:pt>
                <c:pt idx="77">
                  <c:v>0.11710784729419825</c:v>
                </c:pt>
                <c:pt idx="78">
                  <c:v>0.11995787579530186</c:v>
                </c:pt>
                <c:pt idx="79">
                  <c:v>0.11346904888274385</c:v>
                </c:pt>
                <c:pt idx="80">
                  <c:v>0.11701385590954123</c:v>
                </c:pt>
                <c:pt idx="81">
                  <c:v>0.12440344096001132</c:v>
                </c:pt>
                <c:pt idx="82">
                  <c:v>0.12172381012090229</c:v>
                </c:pt>
                <c:pt idx="83">
                  <c:v>0.12043118289139923</c:v>
                </c:pt>
                <c:pt idx="84">
                  <c:v>0.1232506823008475</c:v>
                </c:pt>
                <c:pt idx="85">
                  <c:v>0.12411130534160827</c:v>
                </c:pt>
                <c:pt idx="86">
                  <c:v>0.12504617383319927</c:v>
                </c:pt>
                <c:pt idx="87">
                  <c:v>0.12637919147380414</c:v>
                </c:pt>
                <c:pt idx="88">
                  <c:v>0.13030608104141608</c:v>
                </c:pt>
                <c:pt idx="89">
                  <c:v>0.13391547041662827</c:v>
                </c:pt>
                <c:pt idx="90">
                  <c:v>0.1262750704819547</c:v>
                </c:pt>
                <c:pt idx="91">
                  <c:v>0.1305233348545455</c:v>
                </c:pt>
                <c:pt idx="92">
                  <c:v>0.13162884914481954</c:v>
                </c:pt>
                <c:pt idx="93">
                  <c:v>0.12792929727987923</c:v>
                </c:pt>
                <c:pt idx="94">
                  <c:v>0.12283429974716029</c:v>
                </c:pt>
                <c:pt idx="95">
                  <c:v>0.12664804290782045</c:v>
                </c:pt>
                <c:pt idx="96">
                  <c:v>0.12428197241064379</c:v>
                </c:pt>
                <c:pt idx="97">
                  <c:v>0.13074846253587594</c:v>
                </c:pt>
                <c:pt idx="98">
                  <c:v>0.12884688494519528</c:v>
                </c:pt>
                <c:pt idx="99">
                  <c:v>0.12813553005569722</c:v>
                </c:pt>
                <c:pt idx="100">
                  <c:v>0.13050640240641295</c:v>
                </c:pt>
                <c:pt idx="101">
                  <c:v>0.1264939446870841</c:v>
                </c:pt>
                <c:pt idx="102">
                  <c:v>0.12893617065776525</c:v>
                </c:pt>
                <c:pt idx="103">
                  <c:v>0.12087550859485885</c:v>
                </c:pt>
                <c:pt idx="104">
                  <c:v>0.12023547362229707</c:v>
                </c:pt>
              </c:numCache>
            </c:numRef>
          </c:xVal>
          <c:yVal>
            <c:numRef>
              <c:f>Sheet1!$B$2:$B$106</c:f>
              <c:numCache>
                <c:formatCode>General</c:formatCode>
                <c:ptCount val="105"/>
                <c:pt idx="0">
                  <c:v>0.26012847965738756</c:v>
                </c:pt>
                <c:pt idx="1">
                  <c:v>0.27238736212376147</c:v>
                </c:pt>
                <c:pt idx="2">
                  <c:v>0.26337257810327247</c:v>
                </c:pt>
                <c:pt idx="3">
                  <c:v>0.25908312725889293</c:v>
                </c:pt>
                <c:pt idx="4">
                  <c:v>0.2348164988632673</c:v>
                </c:pt>
                <c:pt idx="5">
                  <c:v>0.2129732123090547</c:v>
                </c:pt>
                <c:pt idx="6">
                  <c:v>0.21761273209549073</c:v>
                </c:pt>
                <c:pt idx="7">
                  <c:v>0.20444602104765283</c:v>
                </c:pt>
                <c:pt idx="8">
                  <c:v>0.22180714452486575</c:v>
                </c:pt>
                <c:pt idx="9">
                  <c:v>0.21677136304716324</c:v>
                </c:pt>
                <c:pt idx="10">
                  <c:v>0.2353272079504969</c:v>
                </c:pt>
                <c:pt idx="11">
                  <c:v>0.23654875800930397</c:v>
                </c:pt>
                <c:pt idx="12">
                  <c:v>0.253778531770512</c:v>
                </c:pt>
                <c:pt idx="13">
                  <c:v>0.2604998264491496</c:v>
                </c:pt>
                <c:pt idx="14">
                  <c:v>0.27032577242602446</c:v>
                </c:pt>
                <c:pt idx="15">
                  <c:v>0.2578412286394116</c:v>
                </c:pt>
                <c:pt idx="16">
                  <c:v>0.22771425058404032</c:v>
                </c:pt>
                <c:pt idx="17">
                  <c:v>0.2395250443564897</c:v>
                </c:pt>
                <c:pt idx="18">
                  <c:v>0.21722426764847128</c:v>
                </c:pt>
                <c:pt idx="19">
                  <c:v>0.1964573268921095</c:v>
                </c:pt>
                <c:pt idx="20">
                  <c:v>0.21371726233540733</c:v>
                </c:pt>
                <c:pt idx="21">
                  <c:v>0.1863013698630137</c:v>
                </c:pt>
                <c:pt idx="22">
                  <c:v>0.1838928706148623</c:v>
                </c:pt>
                <c:pt idx="23">
                  <c:v>0.1673461463793438</c:v>
                </c:pt>
                <c:pt idx="24">
                  <c:v>0.176566757493188</c:v>
                </c:pt>
                <c:pt idx="25">
                  <c:v>0.1651186790505676</c:v>
                </c:pt>
                <c:pt idx="26">
                  <c:v>0.16779661016949152</c:v>
                </c:pt>
                <c:pt idx="27">
                  <c:v>0.1683081252198382</c:v>
                </c:pt>
                <c:pt idx="28">
                  <c:v>0.16349876803942273</c:v>
                </c:pt>
                <c:pt idx="29">
                  <c:v>0.14938879187172566</c:v>
                </c:pt>
                <c:pt idx="30">
                  <c:v>0.15433070866141732</c:v>
                </c:pt>
                <c:pt idx="31">
                  <c:v>0.13553553553553555</c:v>
                </c:pt>
                <c:pt idx="32">
                  <c:v>0.14569805194805194</c:v>
                </c:pt>
                <c:pt idx="33">
                  <c:v>0.14377110360760617</c:v>
                </c:pt>
                <c:pt idx="34">
                  <c:v>0.16295242611032085</c:v>
                </c:pt>
                <c:pt idx="35">
                  <c:v>0.18948267447535383</c:v>
                </c:pt>
                <c:pt idx="36">
                  <c:v>0.1787432776677045</c:v>
                </c:pt>
                <c:pt idx="37">
                  <c:v>0.15249472944483486</c:v>
                </c:pt>
                <c:pt idx="38">
                  <c:v>0.15046916890080428</c:v>
                </c:pt>
                <c:pt idx="39">
                  <c:v>0.14069506726457398</c:v>
                </c:pt>
                <c:pt idx="40">
                  <c:v>0.1510353227771011</c:v>
                </c:pt>
                <c:pt idx="41">
                  <c:v>0.14417435037720033</c:v>
                </c:pt>
                <c:pt idx="42">
                  <c:v>0.15697020798201236</c:v>
                </c:pt>
                <c:pt idx="43">
                  <c:v>0.17312378167641326</c:v>
                </c:pt>
                <c:pt idx="44">
                  <c:v>0.15548665915069523</c:v>
                </c:pt>
                <c:pt idx="45">
                  <c:v>0.15145937417828031</c:v>
                </c:pt>
                <c:pt idx="46">
                  <c:v>0.1591240875912409</c:v>
                </c:pt>
                <c:pt idx="47">
                  <c:v>0.1676552686671319</c:v>
                </c:pt>
                <c:pt idx="48">
                  <c:v>0.1735267800076697</c:v>
                </c:pt>
                <c:pt idx="49">
                  <c:v>0.2121083647772078</c:v>
                </c:pt>
                <c:pt idx="50">
                  <c:v>0.18334377828842002</c:v>
                </c:pt>
                <c:pt idx="51">
                  <c:v>0.17443813484763657</c:v>
                </c:pt>
                <c:pt idx="52">
                  <c:v>0.19078901874005946</c:v>
                </c:pt>
                <c:pt idx="53">
                  <c:v>0.18180143672867932</c:v>
                </c:pt>
                <c:pt idx="54">
                  <c:v>0.1655494617103392</c:v>
                </c:pt>
                <c:pt idx="55">
                  <c:v>0.17623596095308072</c:v>
                </c:pt>
                <c:pt idx="56">
                  <c:v>0.1935966487133453</c:v>
                </c:pt>
                <c:pt idx="57">
                  <c:v>0.18437865562854314</c:v>
                </c:pt>
                <c:pt idx="58">
                  <c:v>0.1921921921921922</c:v>
                </c:pt>
                <c:pt idx="59">
                  <c:v>0.19312725899552247</c:v>
                </c:pt>
                <c:pt idx="60">
                  <c:v>0.1935066396578888</c:v>
                </c:pt>
                <c:pt idx="61">
                  <c:v>0.18492792590932855</c:v>
                </c:pt>
                <c:pt idx="62">
                  <c:v>0.20797134583142812</c:v>
                </c:pt>
                <c:pt idx="63">
                  <c:v>0.2189074255806346</c:v>
                </c:pt>
                <c:pt idx="64">
                  <c:v>0.2224744608399546</c:v>
                </c:pt>
                <c:pt idx="65">
                  <c:v>0.22872707212798235</c:v>
                </c:pt>
                <c:pt idx="66">
                  <c:v>0.2179420697829469</c:v>
                </c:pt>
                <c:pt idx="67">
                  <c:v>0.21630960608154803</c:v>
                </c:pt>
                <c:pt idx="68">
                  <c:v>0.19613577949127006</c:v>
                </c:pt>
                <c:pt idx="69">
                  <c:v>0.17736670293797607</c:v>
                </c:pt>
                <c:pt idx="70">
                  <c:v>0.1681854885223209</c:v>
                </c:pt>
                <c:pt idx="71">
                  <c:v>0.17558314958802368</c:v>
                </c:pt>
                <c:pt idx="72">
                  <c:v>0.17655571635311143</c:v>
                </c:pt>
                <c:pt idx="73">
                  <c:v>0.1785470280118424</c:v>
                </c:pt>
                <c:pt idx="74">
                  <c:v>0.1659024103468548</c:v>
                </c:pt>
                <c:pt idx="75">
                  <c:v>0.15557404326123128</c:v>
                </c:pt>
                <c:pt idx="76">
                  <c:v>0.1574769053117783</c:v>
                </c:pt>
                <c:pt idx="77">
                  <c:v>0.15460621912234815</c:v>
                </c:pt>
                <c:pt idx="78">
                  <c:v>0.1562448711636304</c:v>
                </c:pt>
                <c:pt idx="79">
                  <c:v>0.15875943000838222</c:v>
                </c:pt>
                <c:pt idx="80">
                  <c:v>0.14628495780241602</c:v>
                </c:pt>
                <c:pt idx="81">
                  <c:v>0.13667796610169491</c:v>
                </c:pt>
                <c:pt idx="82">
                  <c:v>0.1436801084378177</c:v>
                </c:pt>
                <c:pt idx="83">
                  <c:v>0.13094227504244482</c:v>
                </c:pt>
                <c:pt idx="84">
                  <c:v>0.1255043533658951</c:v>
                </c:pt>
                <c:pt idx="85">
                  <c:v>0.11232449297971919</c:v>
                </c:pt>
                <c:pt idx="86">
                  <c:v>0.12296718972895863</c:v>
                </c:pt>
                <c:pt idx="87">
                  <c:v>0.15997935750225778</c:v>
                </c:pt>
                <c:pt idx="88">
                  <c:v>0.1499921222624862</c:v>
                </c:pt>
                <c:pt idx="89">
                  <c:v>0.1237597911227154</c:v>
                </c:pt>
                <c:pt idx="90">
                  <c:v>0.11240379452299983</c:v>
                </c:pt>
                <c:pt idx="91">
                  <c:v>0.13977406845388635</c:v>
                </c:pt>
                <c:pt idx="92">
                  <c:v>0.14038248337028825</c:v>
                </c:pt>
                <c:pt idx="93">
                  <c:v>0.1275278058645096</c:v>
                </c:pt>
                <c:pt idx="94">
                  <c:v>0.12302466400827057</c:v>
                </c:pt>
                <c:pt idx="95">
                  <c:v>0.1428111933097459</c:v>
                </c:pt>
                <c:pt idx="96">
                  <c:v>0.14006570983918382</c:v>
                </c:pt>
                <c:pt idx="97">
                  <c:v>0.13938150373735894</c:v>
                </c:pt>
                <c:pt idx="98">
                  <c:v>0.162250593443254</c:v>
                </c:pt>
                <c:pt idx="99">
                  <c:v>0.16527112086389098</c:v>
                </c:pt>
                <c:pt idx="100">
                  <c:v>0.2001013171225937</c:v>
                </c:pt>
                <c:pt idx="101">
                  <c:v>0.1658822032820252</c:v>
                </c:pt>
                <c:pt idx="102">
                  <c:v>0.13617322936134563</c:v>
                </c:pt>
                <c:pt idx="103">
                  <c:v>0.15280477645098584</c:v>
                </c:pt>
                <c:pt idx="104">
                  <c:v>0.167021924482338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318568745746135</c:v>
                </c:pt>
                <c:pt idx="1">
                  <c:v>0.14165551874923232</c:v>
                </c:pt>
                <c:pt idx="2">
                  <c:v>0.1426108544454521</c:v>
                </c:pt>
                <c:pt idx="3">
                  <c:v>0.14236586043776153</c:v>
                </c:pt>
                <c:pt idx="4">
                  <c:v>0.14129913557028406</c:v>
                </c:pt>
                <c:pt idx="5">
                  <c:v>0.1370482461949832</c:v>
                </c:pt>
                <c:pt idx="6">
                  <c:v>0.12719905685872415</c:v>
                </c:pt>
                <c:pt idx="7">
                  <c:v>0.11992112889549837</c:v>
                </c:pt>
                <c:pt idx="8">
                  <c:v>0.12242747652133122</c:v>
                </c:pt>
                <c:pt idx="9">
                  <c:v>0.11262896683542974</c:v>
                </c:pt>
                <c:pt idx="10">
                  <c:v>0.11626031428002477</c:v>
                </c:pt>
                <c:pt idx="11">
                  <c:v>0.1327627861708411</c:v>
                </c:pt>
                <c:pt idx="12">
                  <c:v>0.1258294332028316</c:v>
                </c:pt>
                <c:pt idx="13">
                  <c:v>0.11500768742796011</c:v>
                </c:pt>
                <c:pt idx="14">
                  <c:v>0.126282173053167</c:v>
                </c:pt>
                <c:pt idx="15">
                  <c:v>0.11638345649299384</c:v>
                </c:pt>
                <c:pt idx="16">
                  <c:v>0.12083226083456393</c:v>
                </c:pt>
                <c:pt idx="17">
                  <c:v>0.11420612511827262</c:v>
                </c:pt>
                <c:pt idx="18">
                  <c:v>0.10764897617999594</c:v>
                </c:pt>
                <c:pt idx="19">
                  <c:v>0.10733335217363756</c:v>
                </c:pt>
                <c:pt idx="20">
                  <c:v>0.10058429774225097</c:v>
                </c:pt>
                <c:pt idx="21">
                  <c:v>0.10707555758634706</c:v>
                </c:pt>
                <c:pt idx="22">
                  <c:v>0.1457194488517443</c:v>
                </c:pt>
                <c:pt idx="23">
                  <c:v>0.11022608805758234</c:v>
                </c:pt>
                <c:pt idx="24">
                  <c:v>0.10735124929550179</c:v>
                </c:pt>
                <c:pt idx="25">
                  <c:v>0.11247683629889639</c:v>
                </c:pt>
                <c:pt idx="26">
                  <c:v>0.1097044382992748</c:v>
                </c:pt>
                <c:pt idx="27">
                  <c:v>0.12394861581637068</c:v>
                </c:pt>
                <c:pt idx="28">
                  <c:v>0.13331165068337056</c:v>
                </c:pt>
                <c:pt idx="29">
                  <c:v>0.13084974218021764</c:v>
                </c:pt>
                <c:pt idx="30">
                  <c:v>0.1356225194615647</c:v>
                </c:pt>
                <c:pt idx="31">
                  <c:v>0.12676928590366002</c:v>
                </c:pt>
                <c:pt idx="32">
                  <c:v>0.12485248468656758</c:v>
                </c:pt>
                <c:pt idx="33">
                  <c:v>0.13846392683850653</c:v>
                </c:pt>
                <c:pt idx="34">
                  <c:v>0.14681014265593248</c:v>
                </c:pt>
                <c:pt idx="35">
                  <c:v>0.1412433289724005</c:v>
                </c:pt>
                <c:pt idx="36">
                  <c:v>0.11681200419275911</c:v>
                </c:pt>
                <c:pt idx="37">
                  <c:v>0.12107645644687597</c:v>
                </c:pt>
                <c:pt idx="38">
                  <c:v>0.12037005542553557</c:v>
                </c:pt>
                <c:pt idx="39">
                  <c:v>0.1307649379276913</c:v>
                </c:pt>
                <c:pt idx="40">
                  <c:v>0.13589221506935073</c:v>
                </c:pt>
                <c:pt idx="41">
                  <c:v>0.13424085474408864</c:v>
                </c:pt>
                <c:pt idx="42">
                  <c:v>0.1328064455425657</c:v>
                </c:pt>
                <c:pt idx="43">
                  <c:v>0.13841398217710885</c:v>
                </c:pt>
                <c:pt idx="44">
                  <c:v>0.13608132586576854</c:v>
                </c:pt>
                <c:pt idx="45">
                  <c:v>0.14305408738815278</c:v>
                </c:pt>
                <c:pt idx="46">
                  <c:v>0.1312556134453345</c:v>
                </c:pt>
                <c:pt idx="47">
                  <c:v>0.132668169707122</c:v>
                </c:pt>
                <c:pt idx="48">
                  <c:v>0.13120560042370918</c:v>
                </c:pt>
                <c:pt idx="49">
                  <c:v>0.12941751319685246</c:v>
                </c:pt>
                <c:pt idx="50">
                  <c:v>0.13065907361018425</c:v>
                </c:pt>
                <c:pt idx="51">
                  <c:v>0.11596232410162922</c:v>
                </c:pt>
              </c:numCache>
            </c:numRef>
          </c:xVal>
          <c:yVal>
            <c:numRef>
              <c:f>Sheet1!$B$109:$B$160</c:f>
              <c:numCache>
                <c:formatCode>General</c:formatCode>
                <c:ptCount val="52"/>
                <c:pt idx="0">
                  <c:v>0.1769493496112201</c:v>
                </c:pt>
                <c:pt idx="1">
                  <c:v>0.15590686083638347</c:v>
                </c:pt>
                <c:pt idx="2">
                  <c:v>0.16194158075601375</c:v>
                </c:pt>
                <c:pt idx="3">
                  <c:v>0.16526839915421868</c:v>
                </c:pt>
                <c:pt idx="4">
                  <c:v>0.15186813186813186</c:v>
                </c:pt>
                <c:pt idx="5">
                  <c:v>0.13577115479461707</c:v>
                </c:pt>
                <c:pt idx="6">
                  <c:v>0.14683249125534395</c:v>
                </c:pt>
                <c:pt idx="7">
                  <c:v>0.1525856565226644</c:v>
                </c:pt>
                <c:pt idx="8">
                  <c:v>0.15735294117647058</c:v>
                </c:pt>
                <c:pt idx="9">
                  <c:v>0.1817391304347826</c:v>
                </c:pt>
                <c:pt idx="10">
                  <c:v>0.1708127525819488</c:v>
                </c:pt>
                <c:pt idx="11">
                  <c:v>0.17353595824698748</c:v>
                </c:pt>
                <c:pt idx="12">
                  <c:v>0.18203052008720025</c:v>
                </c:pt>
                <c:pt idx="13">
                  <c:v>0.18218778766492788</c:v>
                </c:pt>
                <c:pt idx="14">
                  <c:v>0.1759473098965016</c:v>
                </c:pt>
                <c:pt idx="15">
                  <c:v>0.1706055471327923</c:v>
                </c:pt>
                <c:pt idx="16">
                  <c:v>0.16708006746701062</c:v>
                </c:pt>
                <c:pt idx="17">
                  <c:v>0.16554398856909575</c:v>
                </c:pt>
                <c:pt idx="18">
                  <c:v>0.16476655808903365</c:v>
                </c:pt>
                <c:pt idx="19">
                  <c:v>0.17328439550661773</c:v>
                </c:pt>
                <c:pt idx="20">
                  <c:v>0.17410987397528446</c:v>
                </c:pt>
                <c:pt idx="21">
                  <c:v>0.15474851357865982</c:v>
                </c:pt>
                <c:pt idx="22">
                  <c:v>0.1512164096040706</c:v>
                </c:pt>
                <c:pt idx="23">
                  <c:v>0.1667995535002392</c:v>
                </c:pt>
                <c:pt idx="24">
                  <c:v>0.17418677859391396</c:v>
                </c:pt>
                <c:pt idx="25">
                  <c:v>0.18850393700787402</c:v>
                </c:pt>
                <c:pt idx="26">
                  <c:v>0.17247386759581881</c:v>
                </c:pt>
                <c:pt idx="27">
                  <c:v>0.14001728608470182</c:v>
                </c:pt>
                <c:pt idx="28">
                  <c:v>0.11743119266055047</c:v>
                </c:pt>
                <c:pt idx="29">
                  <c:v>0.10954567041317081</c:v>
                </c:pt>
                <c:pt idx="30">
                  <c:v>0.11510433918516065</c:v>
                </c:pt>
                <c:pt idx="31">
                  <c:v>0.09839773798303487</c:v>
                </c:pt>
                <c:pt idx="32">
                  <c:v>0.09035738368172623</c:v>
                </c:pt>
                <c:pt idx="33">
                  <c:v>0.11122278056951423</c:v>
                </c:pt>
                <c:pt idx="34">
                  <c:v>0.13883528209785448</c:v>
                </c:pt>
                <c:pt idx="35">
                  <c:v>0.15228426395939088</c:v>
                </c:pt>
                <c:pt idx="36">
                  <c:v>0.12053832650672908</c:v>
                </c:pt>
                <c:pt idx="37">
                  <c:v>0.12834954770438642</c:v>
                </c:pt>
                <c:pt idx="38">
                  <c:v>0.11923750243143358</c:v>
                </c:pt>
                <c:pt idx="39">
                  <c:v>0.1382344592676696</c:v>
                </c:pt>
                <c:pt idx="40">
                  <c:v>0.1234927234927235</c:v>
                </c:pt>
                <c:pt idx="41">
                  <c:v>0.12782440284054228</c:v>
                </c:pt>
                <c:pt idx="42">
                  <c:v>0.1238054485808016</c:v>
                </c:pt>
                <c:pt idx="43">
                  <c:v>0.13284323876579002</c:v>
                </c:pt>
                <c:pt idx="44">
                  <c:v>0.13853109272370553</c:v>
                </c:pt>
                <c:pt idx="45">
                  <c:v>0.16015811354187964</c:v>
                </c:pt>
                <c:pt idx="46">
                  <c:v>0.15019266208745183</c:v>
                </c:pt>
                <c:pt idx="47">
                  <c:v>0.1589100554617796</c:v>
                </c:pt>
                <c:pt idx="48">
                  <c:v>0.1497153830327138</c:v>
                </c:pt>
                <c:pt idx="49">
                  <c:v>0.15563339171044951</c:v>
                </c:pt>
                <c:pt idx="50">
                  <c:v>0.20847588566383402</c:v>
                </c:pt>
                <c:pt idx="51">
                  <c:v>0.1879066435862233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13302331989965667</c:v>
                </c:pt>
              </c:numCache>
            </c:numRef>
          </c:xVal>
          <c:yVal>
            <c:numRef>
              <c:f>Sheet1!$B$163:$B$164</c:f>
              <c:numCache>
                <c:formatCode>General</c:formatCode>
                <c:ptCount val="2"/>
                <c:pt idx="0">
                  <c:v>0.2385141284426273</c:v>
                </c:pt>
                <c:pt idx="1">
                  <c:v>0.238514128442627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13302331989965667</c:v>
                </c:pt>
                <c:pt idx="1">
                  <c:v>0.013302331989965667</c:v>
                </c:pt>
              </c:numCache>
            </c:numRef>
          </c:xVal>
          <c:yVal>
            <c:numRef>
              <c:f>Sheet1!$B$167:$B$168</c:f>
              <c:numCache>
                <c:formatCode>General</c:formatCode>
                <c:ptCount val="2"/>
                <c:pt idx="0">
                  <c:v>0.238514128442627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9559320333113898</c:v>
                </c:pt>
              </c:numCache>
            </c:numRef>
          </c:xVal>
          <c:yVal>
            <c:numRef>
              <c:f>Sheet1!$B$171:$B$172</c:f>
              <c:numCache>
                <c:formatCode>General</c:formatCode>
                <c:ptCount val="2"/>
                <c:pt idx="0">
                  <c:v>0.17543282599830518</c:v>
                </c:pt>
                <c:pt idx="1">
                  <c:v>0.1754328259983051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9559320333113898</c:v>
                </c:pt>
                <c:pt idx="1">
                  <c:v>0.09559320333113898</c:v>
                </c:pt>
              </c:numCache>
            </c:numRef>
          </c:xVal>
          <c:yVal>
            <c:numRef>
              <c:f>Sheet1!$B$175:$B$176</c:f>
              <c:numCache>
                <c:formatCode>General</c:formatCode>
                <c:ptCount val="2"/>
                <c:pt idx="0">
                  <c:v>0.175432825998305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2819651348753247</c:v>
                </c:pt>
              </c:numCache>
            </c:numRef>
          </c:xVal>
          <c:yVal>
            <c:numRef>
              <c:f>Sheet1!$B$179:$B$180</c:f>
              <c:numCache>
                <c:formatCode>General</c:formatCode>
                <c:ptCount val="2"/>
                <c:pt idx="0">
                  <c:v>0.15044026928888957</c:v>
                </c:pt>
                <c:pt idx="1">
                  <c:v>0.1504402692888895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2819651348753247</c:v>
                </c:pt>
                <c:pt idx="1">
                  <c:v>0.12819651348753247</c:v>
                </c:pt>
              </c:numCache>
            </c:numRef>
          </c:xVal>
          <c:yVal>
            <c:numRef>
              <c:f>Sheet1!$B$183:$B$184</c:f>
              <c:numCache>
                <c:formatCode>General</c:formatCode>
                <c:ptCount val="2"/>
                <c:pt idx="0">
                  <c:v>0.1504402692888895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318568745746135</c:v>
                </c:pt>
                <c:pt idx="1">
                  <c:v>0.14165551874923232</c:v>
                </c:pt>
                <c:pt idx="2">
                  <c:v>0.1426108544454521</c:v>
                </c:pt>
                <c:pt idx="3">
                  <c:v>0.14236586043776153</c:v>
                </c:pt>
                <c:pt idx="4">
                  <c:v>0.14129913557028406</c:v>
                </c:pt>
                <c:pt idx="5">
                  <c:v>0.1370482461949832</c:v>
                </c:pt>
                <c:pt idx="6">
                  <c:v>0.12719905685872415</c:v>
                </c:pt>
                <c:pt idx="7">
                  <c:v>0.11992112889549837</c:v>
                </c:pt>
                <c:pt idx="8">
                  <c:v>0.12242747652133122</c:v>
                </c:pt>
                <c:pt idx="9">
                  <c:v>0.11262896683542974</c:v>
                </c:pt>
                <c:pt idx="10">
                  <c:v>0.11626031428002477</c:v>
                </c:pt>
                <c:pt idx="11">
                  <c:v>0.1327627861708411</c:v>
                </c:pt>
                <c:pt idx="12">
                  <c:v>0.1258294332028316</c:v>
                </c:pt>
                <c:pt idx="13">
                  <c:v>0.11500768742796011</c:v>
                </c:pt>
                <c:pt idx="14">
                  <c:v>0.126282173053167</c:v>
                </c:pt>
                <c:pt idx="15">
                  <c:v>0.11638345649299384</c:v>
                </c:pt>
                <c:pt idx="16">
                  <c:v>0.12083226083456393</c:v>
                </c:pt>
                <c:pt idx="17">
                  <c:v>0.11420612511827262</c:v>
                </c:pt>
                <c:pt idx="18">
                  <c:v>0.10764897617999594</c:v>
                </c:pt>
                <c:pt idx="19">
                  <c:v>0.10733335217363756</c:v>
                </c:pt>
                <c:pt idx="20">
                  <c:v>0.10058429774225097</c:v>
                </c:pt>
                <c:pt idx="21">
                  <c:v>0.10707555758634706</c:v>
                </c:pt>
                <c:pt idx="22">
                  <c:v>0.1457194488517443</c:v>
                </c:pt>
                <c:pt idx="23">
                  <c:v>0.11022608805758234</c:v>
                </c:pt>
                <c:pt idx="24">
                  <c:v>0.10735124929550179</c:v>
                </c:pt>
                <c:pt idx="25">
                  <c:v>0.11247683629889639</c:v>
                </c:pt>
                <c:pt idx="26">
                  <c:v>0.1097044382992748</c:v>
                </c:pt>
                <c:pt idx="27">
                  <c:v>0.12394861581637068</c:v>
                </c:pt>
                <c:pt idx="28">
                  <c:v>0.13331165068337056</c:v>
                </c:pt>
                <c:pt idx="29">
                  <c:v>0.13084974218021764</c:v>
                </c:pt>
                <c:pt idx="30">
                  <c:v>0.1356225194615647</c:v>
                </c:pt>
                <c:pt idx="31">
                  <c:v>0.12676928590366002</c:v>
                </c:pt>
                <c:pt idx="32">
                  <c:v>0.12485248468656758</c:v>
                </c:pt>
                <c:pt idx="33">
                  <c:v>0.13846392683850653</c:v>
                </c:pt>
                <c:pt idx="34">
                  <c:v>0.14681014265593248</c:v>
                </c:pt>
                <c:pt idx="35">
                  <c:v>0.1412433289724005</c:v>
                </c:pt>
                <c:pt idx="36">
                  <c:v>0.11681200419275911</c:v>
                </c:pt>
                <c:pt idx="37">
                  <c:v>0.12107645644687597</c:v>
                </c:pt>
                <c:pt idx="38">
                  <c:v>0.12037005542553557</c:v>
                </c:pt>
                <c:pt idx="39">
                  <c:v>0.1307649379276913</c:v>
                </c:pt>
                <c:pt idx="40">
                  <c:v>0.13589221506935073</c:v>
                </c:pt>
                <c:pt idx="41">
                  <c:v>0.13424085474408864</c:v>
                </c:pt>
                <c:pt idx="42">
                  <c:v>0.1328064455425657</c:v>
                </c:pt>
                <c:pt idx="43">
                  <c:v>0.13841398217710885</c:v>
                </c:pt>
                <c:pt idx="44">
                  <c:v>0.13608132586576854</c:v>
                </c:pt>
                <c:pt idx="45">
                  <c:v>0.14305408738815278</c:v>
                </c:pt>
                <c:pt idx="46">
                  <c:v>0.1312556134453345</c:v>
                </c:pt>
                <c:pt idx="47">
                  <c:v>0.132668169707122</c:v>
                </c:pt>
                <c:pt idx="48">
                  <c:v>0.13120560042370918</c:v>
                </c:pt>
                <c:pt idx="49">
                  <c:v>0.12941751319685246</c:v>
                </c:pt>
                <c:pt idx="50">
                  <c:v>0.13065907361018425</c:v>
                </c:pt>
                <c:pt idx="51">
                  <c:v>0.11596232410162922</c:v>
                </c:pt>
                <c:pt idx="52">
                  <c:v>0.09559320333113898</c:v>
                </c:pt>
                <c:pt idx="53">
                  <c:v>0.013302331989965667</c:v>
                </c:pt>
                <c:pt idx="54">
                  <c:v>0.12819651348753247</c:v>
                </c:pt>
              </c:numCache>
            </c:numRef>
          </c:xVal>
          <c:yVal>
            <c:numRef>
              <c:f>Sheet1!$B$187:$B$241</c:f>
              <c:numCache>
                <c:formatCode>General</c:formatCode>
                <c:ptCount val="55"/>
                <c:pt idx="0">
                  <c:v>0.14763436456305085</c:v>
                </c:pt>
                <c:pt idx="1">
                  <c:v>0.14012306681337977</c:v>
                </c:pt>
                <c:pt idx="2">
                  <c:v>0.13939073989780676</c:v>
                </c:pt>
                <c:pt idx="3">
                  <c:v>0.13957854373126116</c:v>
                </c:pt>
                <c:pt idx="4">
                  <c:v>0.14039625768778552</c:v>
                </c:pt>
                <c:pt idx="5">
                  <c:v>0.1436548407355815</c:v>
                </c:pt>
                <c:pt idx="6">
                  <c:v>0.15120488463748744</c:v>
                </c:pt>
                <c:pt idx="7">
                  <c:v>0.15678388954451808</c:v>
                </c:pt>
                <c:pt idx="8">
                  <c:v>0.15486261115678196</c:v>
                </c:pt>
                <c:pt idx="9">
                  <c:v>0.1623738058121083</c:v>
                </c:pt>
                <c:pt idx="10">
                  <c:v>0.15959014192935267</c:v>
                </c:pt>
                <c:pt idx="11">
                  <c:v>0.14693992443308151</c:v>
                </c:pt>
                <c:pt idx="12">
                  <c:v>0.1522547902061629</c:v>
                </c:pt>
                <c:pt idx="13">
                  <c:v>0.16055036184217106</c:v>
                </c:pt>
                <c:pt idx="14">
                  <c:v>0.15190773567918872</c:v>
                </c:pt>
                <c:pt idx="15">
                  <c:v>0.15949574541788836</c:v>
                </c:pt>
                <c:pt idx="16">
                  <c:v>0.15608544768239968</c:v>
                </c:pt>
                <c:pt idx="17">
                  <c:v>0.16116481146047357</c:v>
                </c:pt>
                <c:pt idx="18">
                  <c:v>0.16619129238850988</c:v>
                </c:pt>
                <c:pt idx="19">
                  <c:v>0.166433238707455</c:v>
                </c:pt>
                <c:pt idx="20">
                  <c:v>0.17160682767134383</c:v>
                </c:pt>
                <c:pt idx="21">
                  <c:v>0.16663085501731223</c:v>
                </c:pt>
                <c:pt idx="22">
                  <c:v>0.13700780020201658</c:v>
                </c:pt>
                <c:pt idx="23">
                  <c:v>0.16421576860156534</c:v>
                </c:pt>
                <c:pt idx="24">
                  <c:v>0.16641951940009075</c:v>
                </c:pt>
                <c:pt idx="25">
                  <c:v>0.1624904237580563</c:v>
                </c:pt>
                <c:pt idx="26">
                  <c:v>0.16461564705269238</c:v>
                </c:pt>
                <c:pt idx="27">
                  <c:v>0.1536965590009784</c:v>
                </c:pt>
                <c:pt idx="28">
                  <c:v>0.14651918410366782</c:v>
                </c:pt>
                <c:pt idx="29">
                  <c:v>0.14840639701497327</c:v>
                </c:pt>
                <c:pt idx="30">
                  <c:v>0.14474775296032702</c:v>
                </c:pt>
                <c:pt idx="31">
                  <c:v>0.15153433201307526</c:v>
                </c:pt>
                <c:pt idx="32">
                  <c:v>0.15300368475330506</c:v>
                </c:pt>
                <c:pt idx="33">
                  <c:v>0.14256962949181642</c:v>
                </c:pt>
                <c:pt idx="34">
                  <c:v>0.1361717124973319</c:v>
                </c:pt>
                <c:pt idx="35">
                  <c:v>0.1404390370729361</c:v>
                </c:pt>
                <c:pt idx="36">
                  <c:v>0.15916723574700845</c:v>
                </c:pt>
                <c:pt idx="37">
                  <c:v>0.15589825587090494</c:v>
                </c:pt>
                <c:pt idx="38">
                  <c:v>0.15643975817544864</c:v>
                </c:pt>
                <c:pt idx="39">
                  <c:v>0.1484714049874858</c:v>
                </c:pt>
                <c:pt idx="40">
                  <c:v>0.14454101374459893</c:v>
                </c:pt>
                <c:pt idx="41">
                  <c:v>0.14580688878547104</c:v>
                </c:pt>
                <c:pt idx="42">
                  <c:v>0.1469064566864481</c:v>
                </c:pt>
                <c:pt idx="43">
                  <c:v>0.14260791532157807</c:v>
                </c:pt>
                <c:pt idx="44">
                  <c:v>0.1443960480254384</c:v>
                </c:pt>
                <c:pt idx="45">
                  <c:v>0.13905097303355923</c:v>
                </c:pt>
                <c:pt idx="46">
                  <c:v>0.14809527030539998</c:v>
                </c:pt>
                <c:pt idx="47">
                  <c:v>0.14701245410334507</c:v>
                </c:pt>
                <c:pt idx="48">
                  <c:v>0.1481336085377201</c:v>
                </c:pt>
                <c:pt idx="49">
                  <c:v>0.14950429363700088</c:v>
                </c:pt>
                <c:pt idx="50">
                  <c:v>0.1485525568688778</c:v>
                </c:pt>
                <c:pt idx="51">
                  <c:v>0.15981857077282516</c:v>
                </c:pt>
                <c:pt idx="52">
                  <c:v>0.17543282599830518</c:v>
                </c:pt>
                <c:pt idx="53">
                  <c:v>0.2385141284426273</c:v>
                </c:pt>
                <c:pt idx="54">
                  <c:v>0.150440269288889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8648345485137"/>
          <c:min val="0.0722859069453809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07.1989</c:v>
                </c:pt>
                <c:pt idx="1">
                  <c:v>967.3737</c:v>
                </c:pt>
                <c:pt idx="2">
                  <c:v>969.8427</c:v>
                </c:pt>
                <c:pt idx="3">
                  <c:v>993.1112</c:v>
                </c:pt>
                <c:pt idx="4">
                  <c:v>985.1591</c:v>
                </c:pt>
                <c:pt idx="5">
                  <c:v>977.8358</c:v>
                </c:pt>
                <c:pt idx="6">
                  <c:v>973.1877</c:v>
                </c:pt>
                <c:pt idx="7">
                  <c:v>970.7594</c:v>
                </c:pt>
                <c:pt idx="8">
                  <c:v>961.1026</c:v>
                </c:pt>
                <c:pt idx="9">
                  <c:v>891.7999</c:v>
                </c:pt>
                <c:pt idx="10">
                  <c:v>827.4697</c:v>
                </c:pt>
                <c:pt idx="11">
                  <c:v>804.2089</c:v>
                </c:pt>
                <c:pt idx="12">
                  <c:v>798.3868</c:v>
                </c:pt>
                <c:pt idx="13">
                  <c:v>788.2821</c:v>
                </c:pt>
                <c:pt idx="14">
                  <c:v>927.6461</c:v>
                </c:pt>
                <c:pt idx="15">
                  <c:v>937.3125</c:v>
                </c:pt>
                <c:pt idx="16">
                  <c:v>972.5432</c:v>
                </c:pt>
                <c:pt idx="17">
                  <c:v>989.3265</c:v>
                </c:pt>
                <c:pt idx="18">
                  <c:v>1011.2152</c:v>
                </c:pt>
                <c:pt idx="19">
                  <c:v>1035.9308</c:v>
                </c:pt>
                <c:pt idx="20">
                  <c:v>1057.7028</c:v>
                </c:pt>
                <c:pt idx="21">
                  <c:v>1061.0735</c:v>
                </c:pt>
                <c:pt idx="22">
                  <c:v>1064.5703</c:v>
                </c:pt>
                <c:pt idx="23">
                  <c:v>1069.5638</c:v>
                </c:pt>
                <c:pt idx="24">
                  <c:v>1070.0113</c:v>
                </c:pt>
                <c:pt idx="25">
                  <c:v>1086.2875</c:v>
                </c:pt>
                <c:pt idx="26">
                  <c:v>1078.104</c:v>
                </c:pt>
                <c:pt idx="27">
                  <c:v>1127.3386</c:v>
                </c:pt>
                <c:pt idx="28">
                  <c:v>1115.8192</c:v>
                </c:pt>
                <c:pt idx="29">
                  <c:v>1164.0638</c:v>
                </c:pt>
                <c:pt idx="30">
                  <c:v>1142.2934</c:v>
                </c:pt>
                <c:pt idx="31">
                  <c:v>1142.2038</c:v>
                </c:pt>
                <c:pt idx="32">
                  <c:v>1145.5557</c:v>
                </c:pt>
                <c:pt idx="33">
                  <c:v>1148.5402</c:v>
                </c:pt>
                <c:pt idx="34">
                  <c:v>1091.9651</c:v>
                </c:pt>
                <c:pt idx="35">
                  <c:v>1122.3973</c:v>
                </c:pt>
                <c:pt idx="36">
                  <c:v>1142.1061</c:v>
                </c:pt>
                <c:pt idx="37">
                  <c:v>1180.8306</c:v>
                </c:pt>
                <c:pt idx="38">
                  <c:v>1165.8931</c:v>
                </c:pt>
                <c:pt idx="39">
                  <c:v>1227.83</c:v>
                </c:pt>
                <c:pt idx="40">
                  <c:v>1275.119</c:v>
                </c:pt>
                <c:pt idx="41">
                  <c:v>1240.357</c:v>
                </c:pt>
                <c:pt idx="42">
                  <c:v>1227.1817</c:v>
                </c:pt>
                <c:pt idx="43">
                  <c:v>1208.8023</c:v>
                </c:pt>
                <c:pt idx="44">
                  <c:v>1208.3801</c:v>
                </c:pt>
                <c:pt idx="45">
                  <c:v>1204.9294</c:v>
                </c:pt>
                <c:pt idx="46">
                  <c:v>1151.3308</c:v>
                </c:pt>
                <c:pt idx="47">
                  <c:v>1105.7971</c:v>
                </c:pt>
                <c:pt idx="48">
                  <c:v>1061.9282</c:v>
                </c:pt>
                <c:pt idx="49">
                  <c:v>970.5209</c:v>
                </c:pt>
                <c:pt idx="50">
                  <c:v>1014.583</c:v>
                </c:pt>
                <c:pt idx="51">
                  <c:v>1020.8391</c:v>
                </c:pt>
                <c:pt idx="52">
                  <c:v>1018.4755</c:v>
                </c:pt>
                <c:pt idx="53">
                  <c:v>1184.652</c:v>
                </c:pt>
                <c:pt idx="54">
                  <c:v>1211.4411</c:v>
                </c:pt>
                <c:pt idx="55">
                  <c:v>1197.5581</c:v>
                </c:pt>
                <c:pt idx="56">
                  <c:v>1193.6275</c:v>
                </c:pt>
                <c:pt idx="57">
                  <c:v>1202.6755</c:v>
                </c:pt>
                <c:pt idx="58">
                  <c:v>1196.5798</c:v>
                </c:pt>
                <c:pt idx="59">
                  <c:v>1197.3709</c:v>
                </c:pt>
                <c:pt idx="60">
                  <c:v>1194.6336</c:v>
                </c:pt>
                <c:pt idx="61">
                  <c:v>1153.1838</c:v>
                </c:pt>
                <c:pt idx="62">
                  <c:v>1052.5735</c:v>
                </c:pt>
                <c:pt idx="63">
                  <c:v>1064.2463</c:v>
                </c:pt>
                <c:pt idx="64">
                  <c:v>1047.0266</c:v>
                </c:pt>
                <c:pt idx="65">
                  <c:v>1046.5803</c:v>
                </c:pt>
                <c:pt idx="66">
                  <c:v>1152.0354</c:v>
                </c:pt>
                <c:pt idx="67">
                  <c:v>1177.6028</c:v>
                </c:pt>
                <c:pt idx="68">
                  <c:v>1167.4989</c:v>
                </c:pt>
                <c:pt idx="69">
                  <c:v>1204.287</c:v>
                </c:pt>
                <c:pt idx="70">
                  <c:v>1268.5501</c:v>
                </c:pt>
                <c:pt idx="71">
                  <c:v>1213.3093</c:v>
                </c:pt>
                <c:pt idx="72">
                  <c:v>1236.7037</c:v>
                </c:pt>
                <c:pt idx="73">
                  <c:v>1249.7564</c:v>
                </c:pt>
                <c:pt idx="74">
                  <c:v>1242.2268</c:v>
                </c:pt>
                <c:pt idx="75">
                  <c:v>1238.0357</c:v>
                </c:pt>
                <c:pt idx="76">
                  <c:v>1189.3666</c:v>
                </c:pt>
                <c:pt idx="77">
                  <c:v>1184.4511</c:v>
                </c:pt>
                <c:pt idx="78">
                  <c:v>1223.5735</c:v>
                </c:pt>
                <c:pt idx="79">
                  <c:v>1213.7445</c:v>
                </c:pt>
                <c:pt idx="80">
                  <c:v>1226.6799</c:v>
                </c:pt>
                <c:pt idx="81">
                  <c:v>1299.2252</c:v>
                </c:pt>
                <c:pt idx="82">
                  <c:v>1304.3208</c:v>
                </c:pt>
                <c:pt idx="83">
                  <c:v>1296.0373</c:v>
                </c:pt>
                <c:pt idx="84">
                  <c:v>1332.7107</c:v>
                </c:pt>
                <c:pt idx="85">
                  <c:v>1358.6059</c:v>
                </c:pt>
                <c:pt idx="86">
                  <c:v>1345.7529</c:v>
                </c:pt>
                <c:pt idx="87">
                  <c:v>1340.2444</c:v>
                </c:pt>
                <c:pt idx="88">
                  <c:v>1339.8151</c:v>
                </c:pt>
                <c:pt idx="89">
                  <c:v>1361.8312</c:v>
                </c:pt>
                <c:pt idx="90">
                  <c:v>1331.8981</c:v>
                </c:pt>
                <c:pt idx="91">
                  <c:v>1327.9891</c:v>
                </c:pt>
                <c:pt idx="92">
                  <c:v>1311.2646</c:v>
                </c:pt>
                <c:pt idx="93">
                  <c:v>1292.338</c:v>
                </c:pt>
                <c:pt idx="94">
                  <c:v>1286.6086</c:v>
                </c:pt>
                <c:pt idx="95">
                  <c:v>1292.6419</c:v>
                </c:pt>
                <c:pt idx="96">
                  <c:v>1202.3451</c:v>
                </c:pt>
                <c:pt idx="97">
                  <c:v>1219.8691</c:v>
                </c:pt>
                <c:pt idx="98">
                  <c:v>1167.0973</c:v>
                </c:pt>
                <c:pt idx="99">
                  <c:v>1127.0741</c:v>
                </c:pt>
                <c:pt idx="100">
                  <c:v>1072.815</c:v>
                </c:pt>
                <c:pt idx="101">
                  <c:v>1208.7308</c:v>
                </c:pt>
                <c:pt idx="102">
                  <c:v>1232.956</c:v>
                </c:pt>
                <c:pt idx="103">
                  <c:v>1149.7074</c:v>
                </c:pt>
                <c:pt idx="104">
                  <c:v>1156.9572</c:v>
                </c:pt>
              </c:numCache>
            </c:numRef>
          </c:xVal>
          <c:yVal>
            <c:numRef>
              <c:f>Sheet1!$B$2:$B$106</c:f>
              <c:numCache>
                <c:formatCode>General</c:formatCode>
                <c:ptCount val="105"/>
                <c:pt idx="0">
                  <c:v>0.26012847965738756</c:v>
                </c:pt>
                <c:pt idx="1">
                  <c:v>0.27238736212376147</c:v>
                </c:pt>
                <c:pt idx="2">
                  <c:v>0.26337257810327247</c:v>
                </c:pt>
                <c:pt idx="3">
                  <c:v>0.25908312725889293</c:v>
                </c:pt>
                <c:pt idx="4">
                  <c:v>0.2348164988632673</c:v>
                </c:pt>
                <c:pt idx="5">
                  <c:v>0.2129732123090547</c:v>
                </c:pt>
                <c:pt idx="6">
                  <c:v>0.21761273209549073</c:v>
                </c:pt>
                <c:pt idx="7">
                  <c:v>0.20444602104765283</c:v>
                </c:pt>
                <c:pt idx="8">
                  <c:v>0.22180714452486575</c:v>
                </c:pt>
                <c:pt idx="9">
                  <c:v>0.21677136304716324</c:v>
                </c:pt>
                <c:pt idx="10">
                  <c:v>0.2353272079504969</c:v>
                </c:pt>
                <c:pt idx="11">
                  <c:v>0.23654875800930397</c:v>
                </c:pt>
                <c:pt idx="12">
                  <c:v>0.253778531770512</c:v>
                </c:pt>
                <c:pt idx="13">
                  <c:v>0.2604998264491496</c:v>
                </c:pt>
                <c:pt idx="14">
                  <c:v>0.27032577242602446</c:v>
                </c:pt>
                <c:pt idx="15">
                  <c:v>0.2578412286394116</c:v>
                </c:pt>
                <c:pt idx="16">
                  <c:v>0.22771425058404032</c:v>
                </c:pt>
                <c:pt idx="17">
                  <c:v>0.2395250443564897</c:v>
                </c:pt>
                <c:pt idx="18">
                  <c:v>0.21722426764847128</c:v>
                </c:pt>
                <c:pt idx="19">
                  <c:v>0.1964573268921095</c:v>
                </c:pt>
                <c:pt idx="20">
                  <c:v>0.21371726233540733</c:v>
                </c:pt>
                <c:pt idx="21">
                  <c:v>0.1863013698630137</c:v>
                </c:pt>
                <c:pt idx="22">
                  <c:v>0.1838928706148623</c:v>
                </c:pt>
                <c:pt idx="23">
                  <c:v>0.1673461463793438</c:v>
                </c:pt>
                <c:pt idx="24">
                  <c:v>0.176566757493188</c:v>
                </c:pt>
                <c:pt idx="25">
                  <c:v>0.1651186790505676</c:v>
                </c:pt>
                <c:pt idx="26">
                  <c:v>0.16779661016949152</c:v>
                </c:pt>
                <c:pt idx="27">
                  <c:v>0.1683081252198382</c:v>
                </c:pt>
                <c:pt idx="28">
                  <c:v>0.16349876803942273</c:v>
                </c:pt>
                <c:pt idx="29">
                  <c:v>0.14938879187172566</c:v>
                </c:pt>
                <c:pt idx="30">
                  <c:v>0.15433070866141732</c:v>
                </c:pt>
                <c:pt idx="31">
                  <c:v>0.13553553553553555</c:v>
                </c:pt>
                <c:pt idx="32">
                  <c:v>0.14569805194805194</c:v>
                </c:pt>
                <c:pt idx="33">
                  <c:v>0.14377110360760617</c:v>
                </c:pt>
                <c:pt idx="34">
                  <c:v>0.16295242611032085</c:v>
                </c:pt>
                <c:pt idx="35">
                  <c:v>0.18948267447535383</c:v>
                </c:pt>
                <c:pt idx="36">
                  <c:v>0.1787432776677045</c:v>
                </c:pt>
                <c:pt idx="37">
                  <c:v>0.15249472944483486</c:v>
                </c:pt>
                <c:pt idx="38">
                  <c:v>0.15046916890080428</c:v>
                </c:pt>
                <c:pt idx="39">
                  <c:v>0.14069506726457398</c:v>
                </c:pt>
                <c:pt idx="40">
                  <c:v>0.1510353227771011</c:v>
                </c:pt>
                <c:pt idx="41">
                  <c:v>0.14417435037720033</c:v>
                </c:pt>
                <c:pt idx="42">
                  <c:v>0.15697020798201236</c:v>
                </c:pt>
                <c:pt idx="43">
                  <c:v>0.17312378167641326</c:v>
                </c:pt>
                <c:pt idx="44">
                  <c:v>0.15548665915069523</c:v>
                </c:pt>
                <c:pt idx="45">
                  <c:v>0.15145937417828031</c:v>
                </c:pt>
                <c:pt idx="46">
                  <c:v>0.1591240875912409</c:v>
                </c:pt>
                <c:pt idx="47">
                  <c:v>0.1676552686671319</c:v>
                </c:pt>
                <c:pt idx="48">
                  <c:v>0.1735267800076697</c:v>
                </c:pt>
                <c:pt idx="49">
                  <c:v>0.2121083647772078</c:v>
                </c:pt>
                <c:pt idx="50">
                  <c:v>0.18334377828842002</c:v>
                </c:pt>
                <c:pt idx="51">
                  <c:v>0.17443813484763657</c:v>
                </c:pt>
                <c:pt idx="52">
                  <c:v>0.19078901874005946</c:v>
                </c:pt>
                <c:pt idx="53">
                  <c:v>0.18180143672867932</c:v>
                </c:pt>
                <c:pt idx="54">
                  <c:v>0.1655494617103392</c:v>
                </c:pt>
                <c:pt idx="55">
                  <c:v>0.17623596095308072</c:v>
                </c:pt>
                <c:pt idx="56">
                  <c:v>0.1935966487133453</c:v>
                </c:pt>
                <c:pt idx="57">
                  <c:v>0.18437865562854314</c:v>
                </c:pt>
                <c:pt idx="58">
                  <c:v>0.1921921921921922</c:v>
                </c:pt>
                <c:pt idx="59">
                  <c:v>0.19312725899552247</c:v>
                </c:pt>
                <c:pt idx="60">
                  <c:v>0.1935066396578888</c:v>
                </c:pt>
                <c:pt idx="61">
                  <c:v>0.18492792590932855</c:v>
                </c:pt>
                <c:pt idx="62">
                  <c:v>0.20797134583142812</c:v>
                </c:pt>
                <c:pt idx="63">
                  <c:v>0.2189074255806346</c:v>
                </c:pt>
                <c:pt idx="64">
                  <c:v>0.2224744608399546</c:v>
                </c:pt>
                <c:pt idx="65">
                  <c:v>0.22872707212798235</c:v>
                </c:pt>
                <c:pt idx="66">
                  <c:v>0.2179420697829469</c:v>
                </c:pt>
                <c:pt idx="67">
                  <c:v>0.21630960608154803</c:v>
                </c:pt>
                <c:pt idx="68">
                  <c:v>0.19613577949127006</c:v>
                </c:pt>
                <c:pt idx="69">
                  <c:v>0.17736670293797607</c:v>
                </c:pt>
                <c:pt idx="70">
                  <c:v>0.1681854885223209</c:v>
                </c:pt>
                <c:pt idx="71">
                  <c:v>0.17558314958802368</c:v>
                </c:pt>
                <c:pt idx="72">
                  <c:v>0.17655571635311143</c:v>
                </c:pt>
                <c:pt idx="73">
                  <c:v>0.1785470280118424</c:v>
                </c:pt>
                <c:pt idx="74">
                  <c:v>0.1659024103468548</c:v>
                </c:pt>
                <c:pt idx="75">
                  <c:v>0.15557404326123128</c:v>
                </c:pt>
                <c:pt idx="76">
                  <c:v>0.1574769053117783</c:v>
                </c:pt>
                <c:pt idx="77">
                  <c:v>0.15460621912234815</c:v>
                </c:pt>
                <c:pt idx="78">
                  <c:v>0.1562448711636304</c:v>
                </c:pt>
                <c:pt idx="79">
                  <c:v>0.15875943000838222</c:v>
                </c:pt>
                <c:pt idx="80">
                  <c:v>0.14628495780241602</c:v>
                </c:pt>
                <c:pt idx="81">
                  <c:v>0.13667796610169491</c:v>
                </c:pt>
                <c:pt idx="82">
                  <c:v>0.1436801084378177</c:v>
                </c:pt>
                <c:pt idx="83">
                  <c:v>0.13094227504244482</c:v>
                </c:pt>
                <c:pt idx="84">
                  <c:v>0.1255043533658951</c:v>
                </c:pt>
                <c:pt idx="85">
                  <c:v>0.11232449297971919</c:v>
                </c:pt>
                <c:pt idx="86">
                  <c:v>0.12296718972895863</c:v>
                </c:pt>
                <c:pt idx="87">
                  <c:v>0.15997935750225778</c:v>
                </c:pt>
                <c:pt idx="88">
                  <c:v>0.1499921222624862</c:v>
                </c:pt>
                <c:pt idx="89">
                  <c:v>0.1237597911227154</c:v>
                </c:pt>
                <c:pt idx="90">
                  <c:v>0.11240379452299983</c:v>
                </c:pt>
                <c:pt idx="91">
                  <c:v>0.13977406845388635</c:v>
                </c:pt>
                <c:pt idx="92">
                  <c:v>0.14038248337028825</c:v>
                </c:pt>
                <c:pt idx="93">
                  <c:v>0.1275278058645096</c:v>
                </c:pt>
                <c:pt idx="94">
                  <c:v>0.12302466400827057</c:v>
                </c:pt>
                <c:pt idx="95">
                  <c:v>0.1428111933097459</c:v>
                </c:pt>
                <c:pt idx="96">
                  <c:v>0.14006570983918382</c:v>
                </c:pt>
                <c:pt idx="97">
                  <c:v>0.13938150373735894</c:v>
                </c:pt>
                <c:pt idx="98">
                  <c:v>0.162250593443254</c:v>
                </c:pt>
                <c:pt idx="99">
                  <c:v>0.16527112086389098</c:v>
                </c:pt>
                <c:pt idx="100">
                  <c:v>0.2001013171225937</c:v>
                </c:pt>
                <c:pt idx="101">
                  <c:v>0.1658822032820252</c:v>
                </c:pt>
                <c:pt idx="102">
                  <c:v>0.13617322936134563</c:v>
                </c:pt>
                <c:pt idx="103">
                  <c:v>0.15280477645098584</c:v>
                </c:pt>
                <c:pt idx="104">
                  <c:v>0.167021924482338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1.9671</c:v>
                </c:pt>
                <c:pt idx="1">
                  <c:v>1272.6494</c:v>
                </c:pt>
                <c:pt idx="2">
                  <c:v>1273.7144</c:v>
                </c:pt>
                <c:pt idx="3">
                  <c:v>1272.1069</c:v>
                </c:pt>
                <c:pt idx="4">
                  <c:v>1251.6705</c:v>
                </c:pt>
                <c:pt idx="5">
                  <c:v>1293.8531</c:v>
                </c:pt>
                <c:pt idx="6">
                  <c:v>1236.3245</c:v>
                </c:pt>
                <c:pt idx="7">
                  <c:v>1200.569</c:v>
                </c:pt>
                <c:pt idx="8">
                  <c:v>1231.1529</c:v>
                </c:pt>
                <c:pt idx="9">
                  <c:v>1112.9883</c:v>
                </c:pt>
                <c:pt idx="10">
                  <c:v>1121.1351</c:v>
                </c:pt>
                <c:pt idx="11">
                  <c:v>1233.9023</c:v>
                </c:pt>
                <c:pt idx="12">
                  <c:v>1177.6031</c:v>
                </c:pt>
                <c:pt idx="13">
                  <c:v>1117.96</c:v>
                </c:pt>
                <c:pt idx="14">
                  <c:v>1212.7448</c:v>
                </c:pt>
                <c:pt idx="15">
                  <c:v>1146.9242</c:v>
                </c:pt>
                <c:pt idx="16">
                  <c:v>1170.3937</c:v>
                </c:pt>
                <c:pt idx="17">
                  <c:v>1118.2818</c:v>
                </c:pt>
                <c:pt idx="18">
                  <c:v>1085.2199</c:v>
                </c:pt>
                <c:pt idx="19">
                  <c:v>1081.292</c:v>
                </c:pt>
                <c:pt idx="20">
                  <c:v>1037.0035</c:v>
                </c:pt>
                <c:pt idx="21">
                  <c:v>1129.6023</c:v>
                </c:pt>
                <c:pt idx="22">
                  <c:v>1158.3785</c:v>
                </c:pt>
                <c:pt idx="23">
                  <c:v>1080.4809</c:v>
                </c:pt>
                <c:pt idx="24">
                  <c:v>1075.2676</c:v>
                </c:pt>
                <c:pt idx="25">
                  <c:v>1090.9566</c:v>
                </c:pt>
                <c:pt idx="26">
                  <c:v>1115.6676</c:v>
                </c:pt>
                <c:pt idx="27">
                  <c:v>1200.7747</c:v>
                </c:pt>
                <c:pt idx="28">
                  <c:v>1298.3181</c:v>
                </c:pt>
                <c:pt idx="29">
                  <c:v>1306.0954</c:v>
                </c:pt>
                <c:pt idx="30">
                  <c:v>1380.2576</c:v>
                </c:pt>
                <c:pt idx="31">
                  <c:v>1355.6533</c:v>
                </c:pt>
                <c:pt idx="32">
                  <c:v>1342.0672</c:v>
                </c:pt>
                <c:pt idx="33">
                  <c:v>1400.2967</c:v>
                </c:pt>
                <c:pt idx="34">
                  <c:v>1439.8929</c:v>
                </c:pt>
                <c:pt idx="35">
                  <c:v>1417.5724</c:v>
                </c:pt>
                <c:pt idx="36">
                  <c:v>1272.4854</c:v>
                </c:pt>
                <c:pt idx="37">
                  <c:v>1308.3391</c:v>
                </c:pt>
                <c:pt idx="38">
                  <c:v>1304.0604</c:v>
                </c:pt>
                <c:pt idx="39">
                  <c:v>1362.1294</c:v>
                </c:pt>
                <c:pt idx="40">
                  <c:v>1371.6543</c:v>
                </c:pt>
                <c:pt idx="41">
                  <c:v>1370.2283</c:v>
                </c:pt>
                <c:pt idx="42">
                  <c:v>1365.7477</c:v>
                </c:pt>
                <c:pt idx="43">
                  <c:v>1346.3663</c:v>
                </c:pt>
                <c:pt idx="44">
                  <c:v>1264.0702</c:v>
                </c:pt>
                <c:pt idx="45">
                  <c:v>1250.7009</c:v>
                </c:pt>
                <c:pt idx="46">
                  <c:v>1203.2856</c:v>
                </c:pt>
                <c:pt idx="47">
                  <c:v>1215.0359</c:v>
                </c:pt>
                <c:pt idx="48">
                  <c:v>1157.8543</c:v>
                </c:pt>
                <c:pt idx="49">
                  <c:v>1137.9812</c:v>
                </c:pt>
                <c:pt idx="50">
                  <c:v>1062.9681</c:v>
                </c:pt>
                <c:pt idx="51">
                  <c:v>1057.8405</c:v>
                </c:pt>
              </c:numCache>
            </c:numRef>
          </c:xVal>
          <c:yVal>
            <c:numRef>
              <c:f>Sheet1!$B$109:$B$160</c:f>
              <c:numCache>
                <c:formatCode>General</c:formatCode>
                <c:ptCount val="52"/>
                <c:pt idx="0">
                  <c:v>0.1769493496112201</c:v>
                </c:pt>
                <c:pt idx="1">
                  <c:v>0.15590686083638347</c:v>
                </c:pt>
                <c:pt idx="2">
                  <c:v>0.16194158075601375</c:v>
                </c:pt>
                <c:pt idx="3">
                  <c:v>0.16526839915421868</c:v>
                </c:pt>
                <c:pt idx="4">
                  <c:v>0.15186813186813186</c:v>
                </c:pt>
                <c:pt idx="5">
                  <c:v>0.13577115479461707</c:v>
                </c:pt>
                <c:pt idx="6">
                  <c:v>0.14683249125534395</c:v>
                </c:pt>
                <c:pt idx="7">
                  <c:v>0.1525856565226644</c:v>
                </c:pt>
                <c:pt idx="8">
                  <c:v>0.15735294117647058</c:v>
                </c:pt>
                <c:pt idx="9">
                  <c:v>0.1817391304347826</c:v>
                </c:pt>
                <c:pt idx="10">
                  <c:v>0.1708127525819488</c:v>
                </c:pt>
                <c:pt idx="11">
                  <c:v>0.17353595824698748</c:v>
                </c:pt>
                <c:pt idx="12">
                  <c:v>0.18203052008720025</c:v>
                </c:pt>
                <c:pt idx="13">
                  <c:v>0.18218778766492788</c:v>
                </c:pt>
                <c:pt idx="14">
                  <c:v>0.1759473098965016</c:v>
                </c:pt>
                <c:pt idx="15">
                  <c:v>0.1706055471327923</c:v>
                </c:pt>
                <c:pt idx="16">
                  <c:v>0.16708006746701062</c:v>
                </c:pt>
                <c:pt idx="17">
                  <c:v>0.16554398856909575</c:v>
                </c:pt>
                <c:pt idx="18">
                  <c:v>0.16476655808903365</c:v>
                </c:pt>
                <c:pt idx="19">
                  <c:v>0.17328439550661773</c:v>
                </c:pt>
                <c:pt idx="20">
                  <c:v>0.17410987397528446</c:v>
                </c:pt>
                <c:pt idx="21">
                  <c:v>0.15474851357865982</c:v>
                </c:pt>
                <c:pt idx="22">
                  <c:v>0.1512164096040706</c:v>
                </c:pt>
                <c:pt idx="23">
                  <c:v>0.1667995535002392</c:v>
                </c:pt>
                <c:pt idx="24">
                  <c:v>0.17418677859391396</c:v>
                </c:pt>
                <c:pt idx="25">
                  <c:v>0.18850393700787402</c:v>
                </c:pt>
                <c:pt idx="26">
                  <c:v>0.17247386759581881</c:v>
                </c:pt>
                <c:pt idx="27">
                  <c:v>0.14001728608470182</c:v>
                </c:pt>
                <c:pt idx="28">
                  <c:v>0.11743119266055047</c:v>
                </c:pt>
                <c:pt idx="29">
                  <c:v>0.10954567041317081</c:v>
                </c:pt>
                <c:pt idx="30">
                  <c:v>0.11510433918516065</c:v>
                </c:pt>
                <c:pt idx="31">
                  <c:v>0.09839773798303487</c:v>
                </c:pt>
                <c:pt idx="32">
                  <c:v>0.09035738368172623</c:v>
                </c:pt>
                <c:pt idx="33">
                  <c:v>0.11122278056951423</c:v>
                </c:pt>
                <c:pt idx="34">
                  <c:v>0.13883528209785448</c:v>
                </c:pt>
                <c:pt idx="35">
                  <c:v>0.15228426395939088</c:v>
                </c:pt>
                <c:pt idx="36">
                  <c:v>0.12053832650672908</c:v>
                </c:pt>
                <c:pt idx="37">
                  <c:v>0.12834954770438642</c:v>
                </c:pt>
                <c:pt idx="38">
                  <c:v>0.11923750243143358</c:v>
                </c:pt>
                <c:pt idx="39">
                  <c:v>0.1382344592676696</c:v>
                </c:pt>
                <c:pt idx="40">
                  <c:v>0.1234927234927235</c:v>
                </c:pt>
                <c:pt idx="41">
                  <c:v>0.12782440284054228</c:v>
                </c:pt>
                <c:pt idx="42">
                  <c:v>0.1238054485808016</c:v>
                </c:pt>
                <c:pt idx="43">
                  <c:v>0.13284323876579002</c:v>
                </c:pt>
                <c:pt idx="44">
                  <c:v>0.13853109272370553</c:v>
                </c:pt>
                <c:pt idx="45">
                  <c:v>0.16015811354187964</c:v>
                </c:pt>
                <c:pt idx="46">
                  <c:v>0.15019266208745183</c:v>
                </c:pt>
                <c:pt idx="47">
                  <c:v>0.1589100554617796</c:v>
                </c:pt>
                <c:pt idx="48">
                  <c:v>0.1497153830327138</c:v>
                </c:pt>
                <c:pt idx="49">
                  <c:v>0.15563339171044951</c:v>
                </c:pt>
                <c:pt idx="50">
                  <c:v>0.20847588566383402</c:v>
                </c:pt>
                <c:pt idx="51">
                  <c:v>0.1879066435862233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46.8168687006875</c:v>
                </c:pt>
              </c:numCache>
            </c:numRef>
          </c:xVal>
          <c:yVal>
            <c:numRef>
              <c:f>Sheet1!$B$163:$B$164</c:f>
              <c:numCache>
                <c:formatCode>General</c:formatCode>
                <c:ptCount val="2"/>
                <c:pt idx="0">
                  <c:v>0.2385141284426273</c:v>
                </c:pt>
                <c:pt idx="1">
                  <c:v>0.238514128442627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46.8168687006875</c:v>
                </c:pt>
                <c:pt idx="1">
                  <c:v>746.8168687006875</c:v>
                </c:pt>
              </c:numCache>
            </c:numRef>
          </c:xVal>
          <c:yVal>
            <c:numRef>
              <c:f>Sheet1!$B$167:$B$168</c:f>
              <c:numCache>
                <c:formatCode>General</c:formatCode>
                <c:ptCount val="2"/>
                <c:pt idx="0">
                  <c:v>0.238514128442627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5.0641643233275</c:v>
                </c:pt>
              </c:numCache>
            </c:numRef>
          </c:xVal>
          <c:yVal>
            <c:numRef>
              <c:f>Sheet1!$B$171:$B$172</c:f>
              <c:numCache>
                <c:formatCode>General</c:formatCode>
                <c:ptCount val="2"/>
                <c:pt idx="0">
                  <c:v>0.17543282599830518</c:v>
                </c:pt>
                <c:pt idx="1">
                  <c:v>0.1754328259983051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5.0641643233275</c:v>
                </c:pt>
                <c:pt idx="1">
                  <c:v>1095.0641643233275</c:v>
                </c:pt>
              </c:numCache>
            </c:numRef>
          </c:xVal>
          <c:yVal>
            <c:numRef>
              <c:f>Sheet1!$B$175:$B$176</c:f>
              <c:numCache>
                <c:formatCode>General</c:formatCode>
                <c:ptCount val="2"/>
                <c:pt idx="0">
                  <c:v>0.175432825998305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33.0383333321486</c:v>
                </c:pt>
              </c:numCache>
            </c:numRef>
          </c:xVal>
          <c:yVal>
            <c:numRef>
              <c:f>Sheet1!$B$179:$B$180</c:f>
              <c:numCache>
                <c:formatCode>General</c:formatCode>
                <c:ptCount val="2"/>
                <c:pt idx="0">
                  <c:v>0.15044026928888957</c:v>
                </c:pt>
                <c:pt idx="1">
                  <c:v>0.1504402692888895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33.0383333321486</c:v>
                </c:pt>
                <c:pt idx="1">
                  <c:v>1233.0383333321486</c:v>
                </c:pt>
              </c:numCache>
            </c:numRef>
          </c:xVal>
          <c:yVal>
            <c:numRef>
              <c:f>Sheet1!$B$183:$B$184</c:f>
              <c:numCache>
                <c:formatCode>General</c:formatCode>
                <c:ptCount val="2"/>
                <c:pt idx="0">
                  <c:v>0.1504402692888895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1.9671</c:v>
                </c:pt>
                <c:pt idx="1">
                  <c:v>1272.6494</c:v>
                </c:pt>
                <c:pt idx="2">
                  <c:v>1273.7144</c:v>
                </c:pt>
                <c:pt idx="3">
                  <c:v>1272.1069</c:v>
                </c:pt>
                <c:pt idx="4">
                  <c:v>1251.6705</c:v>
                </c:pt>
                <c:pt idx="5">
                  <c:v>1293.8531</c:v>
                </c:pt>
                <c:pt idx="6">
                  <c:v>1236.3245</c:v>
                </c:pt>
                <c:pt idx="7">
                  <c:v>1200.569</c:v>
                </c:pt>
                <c:pt idx="8">
                  <c:v>1231.1529</c:v>
                </c:pt>
                <c:pt idx="9">
                  <c:v>1112.9883</c:v>
                </c:pt>
                <c:pt idx="10">
                  <c:v>1121.1351</c:v>
                </c:pt>
                <c:pt idx="11">
                  <c:v>1233.9023</c:v>
                </c:pt>
                <c:pt idx="12">
                  <c:v>1177.6031</c:v>
                </c:pt>
                <c:pt idx="13">
                  <c:v>1117.96</c:v>
                </c:pt>
                <c:pt idx="14">
                  <c:v>1212.7448</c:v>
                </c:pt>
                <c:pt idx="15">
                  <c:v>1146.9242</c:v>
                </c:pt>
                <c:pt idx="16">
                  <c:v>1170.3937</c:v>
                </c:pt>
                <c:pt idx="17">
                  <c:v>1118.2818</c:v>
                </c:pt>
                <c:pt idx="18">
                  <c:v>1085.2199</c:v>
                </c:pt>
                <c:pt idx="19">
                  <c:v>1081.292</c:v>
                </c:pt>
                <c:pt idx="20">
                  <c:v>1037.0035</c:v>
                </c:pt>
                <c:pt idx="21">
                  <c:v>1129.6023</c:v>
                </c:pt>
                <c:pt idx="22">
                  <c:v>1158.3785</c:v>
                </c:pt>
                <c:pt idx="23">
                  <c:v>1080.4809</c:v>
                </c:pt>
                <c:pt idx="24">
                  <c:v>1075.2676</c:v>
                </c:pt>
                <c:pt idx="25">
                  <c:v>1090.9566</c:v>
                </c:pt>
                <c:pt idx="26">
                  <c:v>1115.6676</c:v>
                </c:pt>
                <c:pt idx="27">
                  <c:v>1200.7747</c:v>
                </c:pt>
                <c:pt idx="28">
                  <c:v>1298.3181</c:v>
                </c:pt>
                <c:pt idx="29">
                  <c:v>1306.0954</c:v>
                </c:pt>
                <c:pt idx="30">
                  <c:v>1380.2576</c:v>
                </c:pt>
                <c:pt idx="31">
                  <c:v>1355.6533</c:v>
                </c:pt>
                <c:pt idx="32">
                  <c:v>1342.0672</c:v>
                </c:pt>
                <c:pt idx="33">
                  <c:v>1400.2967</c:v>
                </c:pt>
                <c:pt idx="34">
                  <c:v>1439.8929</c:v>
                </c:pt>
                <c:pt idx="35">
                  <c:v>1417.5724</c:v>
                </c:pt>
                <c:pt idx="36">
                  <c:v>1272.4854</c:v>
                </c:pt>
                <c:pt idx="37">
                  <c:v>1308.3391</c:v>
                </c:pt>
                <c:pt idx="38">
                  <c:v>1304.0604</c:v>
                </c:pt>
                <c:pt idx="39">
                  <c:v>1362.1294</c:v>
                </c:pt>
                <c:pt idx="40">
                  <c:v>1371.6543</c:v>
                </c:pt>
                <c:pt idx="41">
                  <c:v>1370.2283</c:v>
                </c:pt>
                <c:pt idx="42">
                  <c:v>1365.7477</c:v>
                </c:pt>
                <c:pt idx="43">
                  <c:v>1346.3663</c:v>
                </c:pt>
                <c:pt idx="44">
                  <c:v>1264.0702</c:v>
                </c:pt>
                <c:pt idx="45">
                  <c:v>1250.7009</c:v>
                </c:pt>
                <c:pt idx="46">
                  <c:v>1203.2856</c:v>
                </c:pt>
                <c:pt idx="47">
                  <c:v>1215.0359</c:v>
                </c:pt>
                <c:pt idx="48">
                  <c:v>1157.8543</c:v>
                </c:pt>
                <c:pt idx="49">
                  <c:v>1137.9812</c:v>
                </c:pt>
                <c:pt idx="50">
                  <c:v>1062.9681</c:v>
                </c:pt>
                <c:pt idx="51">
                  <c:v>1057.8405</c:v>
                </c:pt>
                <c:pt idx="52">
                  <c:v>1095.0641643233275</c:v>
                </c:pt>
                <c:pt idx="53">
                  <c:v>746.8168687006875</c:v>
                </c:pt>
                <c:pt idx="54">
                  <c:v>1233.0383333321486</c:v>
                </c:pt>
              </c:numCache>
            </c:numRef>
          </c:xVal>
          <c:yVal>
            <c:numRef>
              <c:f>Sheet1!$B$187:$B$241</c:f>
              <c:numCache>
                <c:formatCode>General</c:formatCode>
                <c:ptCount val="55"/>
                <c:pt idx="0">
                  <c:v>0.14701152405502388</c:v>
                </c:pt>
                <c:pt idx="1">
                  <c:v>0.1432651448643067</c:v>
                </c:pt>
                <c:pt idx="2">
                  <c:v>0.1430722314147332</c:v>
                </c:pt>
                <c:pt idx="3">
                  <c:v>0.14336341298298613</c:v>
                </c:pt>
                <c:pt idx="4">
                  <c:v>0.14706524999788165</c:v>
                </c:pt>
                <c:pt idx="5">
                  <c:v>0.13942431959602364</c:v>
                </c:pt>
                <c:pt idx="6">
                  <c:v>0.14984501506563264</c:v>
                </c:pt>
                <c:pt idx="7">
                  <c:v>0.15632174449870773</c:v>
                </c:pt>
                <c:pt idx="8">
                  <c:v>0.15078179553118592</c:v>
                </c:pt>
                <c:pt idx="9">
                  <c:v>0.17218605900862427</c:v>
                </c:pt>
                <c:pt idx="10">
                  <c:v>0.17071035263211223</c:v>
                </c:pt>
                <c:pt idx="11">
                  <c:v>0.15028377089432457</c:v>
                </c:pt>
                <c:pt idx="12">
                  <c:v>0.16048177359876392</c:v>
                </c:pt>
                <c:pt idx="13">
                  <c:v>0.1712854883069862</c:v>
                </c:pt>
                <c:pt idx="14">
                  <c:v>0.1541162275228233</c:v>
                </c:pt>
                <c:pt idx="15">
                  <c:v>0.16603893080826648</c:v>
                </c:pt>
                <c:pt idx="16">
                  <c:v>0.16178767991177342</c:v>
                </c:pt>
                <c:pt idx="17">
                  <c:v>0.17122719765151884</c:v>
                </c:pt>
                <c:pt idx="18">
                  <c:v>0.17721601002565388</c:v>
                </c:pt>
                <c:pt idx="19">
                  <c:v>0.177927507432771</c:v>
                </c:pt>
                <c:pt idx="20">
                  <c:v>0.18594989927449454</c:v>
                </c:pt>
                <c:pt idx="21">
                  <c:v>0.16917660919527777</c:v>
                </c:pt>
                <c:pt idx="22">
                  <c:v>0.16396410590174096</c:v>
                </c:pt>
                <c:pt idx="23">
                  <c:v>0.1780744295914086</c:v>
                </c:pt>
                <c:pt idx="24">
                  <c:v>0.17901876356949453</c:v>
                </c:pt>
                <c:pt idx="25">
                  <c:v>0.1761768676912236</c:v>
                </c:pt>
                <c:pt idx="26">
                  <c:v>0.1717007322429508</c:v>
                </c:pt>
                <c:pt idx="27">
                  <c:v>0.15628448412633472</c:v>
                </c:pt>
                <c:pt idx="28">
                  <c:v>0.13861553222292913</c:v>
                </c:pt>
                <c:pt idx="29">
                  <c:v>0.1372067568507527</c:v>
                </c:pt>
                <c:pt idx="30">
                  <c:v>0.12377306123576753</c:v>
                </c:pt>
                <c:pt idx="31">
                  <c:v>0.12822986911120515</c:v>
                </c:pt>
                <c:pt idx="32">
                  <c:v>0.1306908469677783</c:v>
                </c:pt>
                <c:pt idx="33">
                  <c:v>0.12014319090022935</c:v>
                </c:pt>
                <c:pt idx="34">
                  <c:v>0.11297075941478152</c:v>
                </c:pt>
                <c:pt idx="35">
                  <c:v>0.11701388115300232</c:v>
                </c:pt>
                <c:pt idx="36">
                  <c:v>0.1432948517241471</c:v>
                </c:pt>
                <c:pt idx="37">
                  <c:v>0.13680033440304562</c:v>
                </c:pt>
                <c:pt idx="38">
                  <c:v>0.13757537550791893</c:v>
                </c:pt>
                <c:pt idx="39">
                  <c:v>0.12705679231234795</c:v>
                </c:pt>
                <c:pt idx="40">
                  <c:v>0.12533145774348173</c:v>
                </c:pt>
                <c:pt idx="41">
                  <c:v>0.125589762512582</c:v>
                </c:pt>
                <c:pt idx="42">
                  <c:v>0.12640137566014914</c:v>
                </c:pt>
                <c:pt idx="43">
                  <c:v>0.12991211061936386</c:v>
                </c:pt>
                <c:pt idx="44">
                  <c:v>0.14481917591273943</c:v>
                </c:pt>
                <c:pt idx="45">
                  <c:v>0.14724088274971867</c:v>
                </c:pt>
                <c:pt idx="46">
                  <c:v>0.15582966123381445</c:v>
                </c:pt>
                <c:pt idx="47">
                  <c:v>0.15370121906806475</c:v>
                </c:pt>
                <c:pt idx="48">
                  <c:v>0.16405905916959676</c:v>
                </c:pt>
                <c:pt idx="49">
                  <c:v>0.16765886036651598</c:v>
                </c:pt>
                <c:pt idx="50">
                  <c:v>0.18124668748783174</c:v>
                </c:pt>
                <c:pt idx="51">
                  <c:v>0.18217549782025713</c:v>
                </c:pt>
                <c:pt idx="52">
                  <c:v>0.17543282599830518</c:v>
                </c:pt>
                <c:pt idx="53">
                  <c:v>0.2385141284426273</c:v>
                </c:pt>
                <c:pt idx="54">
                  <c:v>0.1504402692888895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28.0"/>
          <c:min val="59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8648345485137"/>
          <c:min val="0.0722859069453809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0.6593630241965018</c:v>
                </c:pt>
                <c:pt idx="1">
                  <c:v>1.1518680100516847</c:v>
                </c:pt>
                <c:pt idx="2">
                  <c:v>1.1546220866287324</c:v>
                </c:pt>
                <c:pt idx="3">
                  <c:v>1.3897784203487513</c:v>
                </c:pt>
                <c:pt idx="4">
                  <c:v>1.062298922307349</c:v>
                </c:pt>
                <c:pt idx="5">
                  <c:v>0.8123726862375293</c:v>
                </c:pt>
                <c:pt idx="6">
                  <c:v>1.070433805591621</c:v>
                </c:pt>
                <c:pt idx="7">
                  <c:v>0.6456259301125604</c:v>
                </c:pt>
                <c:pt idx="8">
                  <c:v>0.9458313208929685</c:v>
                </c:pt>
                <c:pt idx="9">
                  <c:v>0.8902207923846459</c:v>
                </c:pt>
                <c:pt idx="10">
                  <c:v>1.3330064878525578</c:v>
                </c:pt>
                <c:pt idx="11">
                  <c:v>0.8700561353340357</c:v>
                </c:pt>
                <c:pt idx="12">
                  <c:v>1.1797804436674029</c:v>
                </c:pt>
                <c:pt idx="13">
                  <c:v>1.0367398851254452</c:v>
                </c:pt>
                <c:pt idx="14">
                  <c:v>1.1432710966819306</c:v>
                </c:pt>
                <c:pt idx="15">
                  <c:v>0.7000795414363356</c:v>
                </c:pt>
                <c:pt idx="16">
                  <c:v>0.3857111854004411</c:v>
                </c:pt>
                <c:pt idx="17">
                  <c:v>0.7667267103222597</c:v>
                </c:pt>
                <c:pt idx="18">
                  <c:v>0.6019525366986681</c:v>
                </c:pt>
                <c:pt idx="19">
                  <c:v>0.6356418420338333</c:v>
                </c:pt>
                <c:pt idx="20">
                  <c:v>0.5336404509977409</c:v>
                </c:pt>
                <c:pt idx="21">
                  <c:v>0.6592042834973055</c:v>
                </c:pt>
                <c:pt idx="22">
                  <c:v>0.9895200460054941</c:v>
                </c:pt>
                <c:pt idx="23">
                  <c:v>0.7531117349171879</c:v>
                </c:pt>
                <c:pt idx="24">
                  <c:v>0.5617562796757503</c:v>
                </c:pt>
                <c:pt idx="25">
                  <c:v>0.9567362784886525</c:v>
                </c:pt>
                <c:pt idx="26">
                  <c:v>1.11820753557372</c:v>
                </c:pt>
                <c:pt idx="27">
                  <c:v>0.4747581321168044</c:v>
                </c:pt>
                <c:pt idx="28">
                  <c:v>1.0154308443878513</c:v>
                </c:pt>
                <c:pt idx="29">
                  <c:v>0.5191303469990144</c:v>
                </c:pt>
                <c:pt idx="30">
                  <c:v>0.654491620646235</c:v>
                </c:pt>
                <c:pt idx="31">
                  <c:v>0.7641930316904136</c:v>
                </c:pt>
                <c:pt idx="32">
                  <c:v>0.4663222765849501</c:v>
                </c:pt>
                <c:pt idx="33">
                  <c:v>0.4987644083004832</c:v>
                </c:pt>
                <c:pt idx="34">
                  <c:v>0.5659620823530634</c:v>
                </c:pt>
                <c:pt idx="35">
                  <c:v>0.9029010239145515</c:v>
                </c:pt>
                <c:pt idx="36">
                  <c:v>0.582250615964384</c:v>
                </c:pt>
                <c:pt idx="37">
                  <c:v>0.9824846689825423</c:v>
                </c:pt>
                <c:pt idx="38">
                  <c:v>0.712277196869653</c:v>
                </c:pt>
                <c:pt idx="39">
                  <c:v>0.7773605781924586</c:v>
                </c:pt>
                <c:pt idx="40">
                  <c:v>0.6891914913272374</c:v>
                </c:pt>
                <c:pt idx="41">
                  <c:v>1.4084300192866928</c:v>
                </c:pt>
                <c:pt idx="42">
                  <c:v>0.7631614110063994</c:v>
                </c:pt>
                <c:pt idx="43">
                  <c:v>0.5830606784248723</c:v>
                </c:pt>
                <c:pt idx="44">
                  <c:v>0.6991501933335076</c:v>
                </c:pt>
                <c:pt idx="45">
                  <c:v>0.6506799302664708</c:v>
                </c:pt>
                <c:pt idx="46">
                  <c:v>0.5872913121931779</c:v>
                </c:pt>
                <c:pt idx="47">
                  <c:v>0.7846391053157014</c:v>
                </c:pt>
                <c:pt idx="48">
                  <c:v>0.6309511513174553</c:v>
                </c:pt>
                <c:pt idx="49">
                  <c:v>0.6220493004117846</c:v>
                </c:pt>
                <c:pt idx="50">
                  <c:v>0.6611976210874101</c:v>
                </c:pt>
                <c:pt idx="51">
                  <c:v>0.7296523387282194</c:v>
                </c:pt>
                <c:pt idx="52">
                  <c:v>0.5540563752043274</c:v>
                </c:pt>
                <c:pt idx="53">
                  <c:v>0.5230096199396719</c:v>
                </c:pt>
                <c:pt idx="54">
                  <c:v>0.6447757148964547</c:v>
                </c:pt>
                <c:pt idx="55">
                  <c:v>2.3453052718272374</c:v>
                </c:pt>
                <c:pt idx="56">
                  <c:v>0.9554059626605014</c:v>
                </c:pt>
                <c:pt idx="57">
                  <c:v>1.7323898398840343</c:v>
                </c:pt>
                <c:pt idx="58">
                  <c:v>0.8819437894957488</c:v>
                </c:pt>
                <c:pt idx="59">
                  <c:v>0.7368020641157169</c:v>
                </c:pt>
                <c:pt idx="60">
                  <c:v>0.7007914950930962</c:v>
                </c:pt>
                <c:pt idx="61">
                  <c:v>0.6812703410170703</c:v>
                </c:pt>
                <c:pt idx="62">
                  <c:v>0.6329324794929968</c:v>
                </c:pt>
                <c:pt idx="63">
                  <c:v>0.5436736385239097</c:v>
                </c:pt>
                <c:pt idx="64">
                  <c:v>0.5610918669792222</c:v>
                </c:pt>
                <c:pt idx="65">
                  <c:v>1.188252957752792</c:v>
                </c:pt>
                <c:pt idx="66">
                  <c:v>1.7763196006045703</c:v>
                </c:pt>
                <c:pt idx="67">
                  <c:v>0.8894548618769961</c:v>
                </c:pt>
                <c:pt idx="68">
                  <c:v>2.835284812320067</c:v>
                </c:pt>
                <c:pt idx="69">
                  <c:v>0.9029305902319952</c:v>
                </c:pt>
                <c:pt idx="70">
                  <c:v>0.8830140627295553</c:v>
                </c:pt>
                <c:pt idx="71">
                  <c:v>0.9194504163899427</c:v>
                </c:pt>
                <c:pt idx="72">
                  <c:v>0.9034967570474944</c:v>
                </c:pt>
                <c:pt idx="73">
                  <c:v>0.8829179836779175</c:v>
                </c:pt>
                <c:pt idx="74">
                  <c:v>0.8177888508977417</c:v>
                </c:pt>
                <c:pt idx="75">
                  <c:v>1.1329504043352514</c:v>
                </c:pt>
                <c:pt idx="76">
                  <c:v>1.1215530976132977</c:v>
                </c:pt>
                <c:pt idx="77">
                  <c:v>0.6017512064212491</c:v>
                </c:pt>
                <c:pt idx="78">
                  <c:v>2.9106730043634244</c:v>
                </c:pt>
                <c:pt idx="79">
                  <c:v>2.278694795627389</c:v>
                </c:pt>
                <c:pt idx="80">
                  <c:v>2.2159930549115074</c:v>
                </c:pt>
                <c:pt idx="81">
                  <c:v>1.9516402157271153</c:v>
                </c:pt>
                <c:pt idx="82">
                  <c:v>2.65367705521549</c:v>
                </c:pt>
                <c:pt idx="83">
                  <c:v>3.476850290652538</c:v>
                </c:pt>
                <c:pt idx="84">
                  <c:v>1.1710000203456645</c:v>
                </c:pt>
                <c:pt idx="85">
                  <c:v>2.1014901975334146</c:v>
                </c:pt>
                <c:pt idx="86">
                  <c:v>1.0056684829912337</c:v>
                </c:pt>
                <c:pt idx="87">
                  <c:v>1.8215376811886486</c:v>
                </c:pt>
              </c:numCache>
            </c:numRef>
          </c:xVal>
          <c:yVal>
            <c:numRef>
              <c:f>Sheet1!$B$2:$B$89</c:f>
              <c:numCache>
                <c:formatCode>General</c:formatCode>
                <c:ptCount val="88"/>
                <c:pt idx="0">
                  <c:v>0.0011991434689507495</c:v>
                </c:pt>
                <c:pt idx="1">
                  <c:v>0.00028042624789680314</c:v>
                </c:pt>
                <c:pt idx="2">
                  <c:v>0.0002781125428756837</c:v>
                </c:pt>
                <c:pt idx="3">
                  <c:v>0.00019022256039566293</c:v>
                </c:pt>
                <c:pt idx="4">
                  <c:v>0.00021652051531882645</c:v>
                </c:pt>
                <c:pt idx="5">
                  <c:v>0.0005534646889528448</c:v>
                </c:pt>
                <c:pt idx="6">
                  <c:v>0.000636604774535809</c:v>
                </c:pt>
                <c:pt idx="7">
                  <c:v>0.0008277166844034528</c:v>
                </c:pt>
                <c:pt idx="8">
                  <c:v>0.00046696240952603317</c:v>
                </c:pt>
                <c:pt idx="9">
                  <c:v>0.0005982650314089142</c:v>
                </c:pt>
                <c:pt idx="10">
                  <c:v>0.0002812675792237015</c:v>
                </c:pt>
                <c:pt idx="11">
                  <c:v>0.0006144123584657246</c:v>
                </c:pt>
                <c:pt idx="12">
                  <c:v>0.0004626773596545342</c:v>
                </c:pt>
                <c:pt idx="13">
                  <c:v>0.0005206525511975009</c:v>
                </c:pt>
                <c:pt idx="14">
                  <c:v>0.00018668906935498925</c:v>
                </c:pt>
                <c:pt idx="15">
                  <c:v>0.0005407743889249405</c:v>
                </c:pt>
                <c:pt idx="16">
                  <c:v>0.0004918234353866962</c:v>
                </c:pt>
                <c:pt idx="17">
                  <c:v>0.00040944452026750374</c:v>
                </c:pt>
                <c:pt idx="18">
                  <c:v>0.0005367686527106817</c:v>
                </c:pt>
                <c:pt idx="19">
                  <c:v>0.0005787874403125452</c:v>
                </c:pt>
                <c:pt idx="20">
                  <c:v>0.00034246575342465754</c:v>
                </c:pt>
                <c:pt idx="21">
                  <c:v>0.000943040362127499</c:v>
                </c:pt>
                <c:pt idx="22">
                  <c:v>0.0005824111822947001</c:v>
                </c:pt>
                <c:pt idx="23">
                  <c:v>0.0009082652134423251</c:v>
                </c:pt>
                <c:pt idx="24">
                  <c:v>0.0014447884416924665</c:v>
                </c:pt>
                <c:pt idx="25">
                  <c:v>0.000847457627118644</c:v>
                </c:pt>
                <c:pt idx="26">
                  <c:v>0.00035174111853675694</c:v>
                </c:pt>
                <c:pt idx="27">
                  <c:v>0.0008799718409010912</c:v>
                </c:pt>
                <c:pt idx="28">
                  <c:v>0.0006350214319733291</c:v>
                </c:pt>
                <c:pt idx="29">
                  <c:v>0.0007874015748031496</c:v>
                </c:pt>
                <c:pt idx="30">
                  <c:v>0.0008008008008008008</c:v>
                </c:pt>
                <c:pt idx="31">
                  <c:v>0.0006087662337662338</c:v>
                </c:pt>
                <c:pt idx="32">
                  <c:v>0.001777145903678692</c:v>
                </c:pt>
                <c:pt idx="33">
                  <c:v>0.001896633475580844</c:v>
                </c:pt>
                <c:pt idx="34">
                  <c:v>0.001708150317227916</c:v>
                </c:pt>
                <c:pt idx="35">
                  <c:v>0.0005660911406736484</c:v>
                </c:pt>
                <c:pt idx="36">
                  <c:v>0.0007027406886858749</c:v>
                </c:pt>
                <c:pt idx="37">
                  <c:v>0.0003351206434316354</c:v>
                </c:pt>
                <c:pt idx="38">
                  <c:v>0.0007473841554559044</c:v>
                </c:pt>
                <c:pt idx="39">
                  <c:v>0.00045676004872107184</c:v>
                </c:pt>
                <c:pt idx="40">
                  <c:v>0.0005029337803855825</c:v>
                </c:pt>
                <c:pt idx="41">
                  <c:v>0.0001405283867341203</c:v>
                </c:pt>
                <c:pt idx="42">
                  <c:v>0.0004873294346978557</c:v>
                </c:pt>
                <c:pt idx="43">
                  <c:v>0.0006576475009394964</c:v>
                </c:pt>
                <c:pt idx="44">
                  <c:v>0.00043825050398807957</c:v>
                </c:pt>
                <c:pt idx="45">
                  <c:v>0.0009446114212108201</c:v>
                </c:pt>
                <c:pt idx="46">
                  <c:v>0.0011339846475924634</c:v>
                </c:pt>
                <c:pt idx="47">
                  <c:v>0.0006391409945033875</c:v>
                </c:pt>
                <c:pt idx="48">
                  <c:v>0.0007207359986433205</c:v>
                </c:pt>
                <c:pt idx="49">
                  <c:v>0.0008355964069354502</c:v>
                </c:pt>
                <c:pt idx="50">
                  <c:v>0.0007998080460689434</c:v>
                </c:pt>
                <c:pt idx="51">
                  <c:v>0.00027660604384205796</c:v>
                </c:pt>
                <c:pt idx="52">
                  <c:v>0.00046048996131884323</c:v>
                </c:pt>
                <c:pt idx="53">
                  <c:v>0.0010156408693885843</c:v>
                </c:pt>
                <c:pt idx="54">
                  <c:v>0.000524824183898394</c:v>
                </c:pt>
                <c:pt idx="55">
                  <c:v>9.974067424695791e-05</c:v>
                </c:pt>
                <c:pt idx="56">
                  <c:v>0.0001799694052011158</c:v>
                </c:pt>
                <c:pt idx="57">
                  <c:v>8.116224332440549e-05</c:v>
                </c:pt>
                <c:pt idx="58">
                  <c:v>0.00021578464692237147</c:v>
                </c:pt>
                <c:pt idx="59">
                  <c:v>0.00022507314877335134</c:v>
                </c:pt>
                <c:pt idx="60">
                  <c:v>0.000373440884308014</c:v>
                </c:pt>
                <c:pt idx="61">
                  <c:v>0.00030483158055174517</c:v>
                </c:pt>
                <c:pt idx="62">
                  <c:v>0.0003925417075564279</c:v>
                </c:pt>
                <c:pt idx="63">
                  <c:v>0.0005675368898978433</c:v>
                </c:pt>
                <c:pt idx="64">
                  <c:v>0.0003447800303406427</c:v>
                </c:pt>
                <c:pt idx="65">
                  <c:v>7.407956144899622e-05</c:v>
                </c:pt>
                <c:pt idx="66">
                  <c:v>7.678722260615834e-05</c:v>
                </c:pt>
                <c:pt idx="67">
                  <c:v>0.00023070711731456916</c:v>
                </c:pt>
                <c:pt idx="68">
                  <c:v>0.00011132138483802739</c:v>
                </c:pt>
                <c:pt idx="69">
                  <c:v>0.0005693463903438852</c:v>
                </c:pt>
                <c:pt idx="70">
                  <c:v>0.0008230452674897119</c:v>
                </c:pt>
                <c:pt idx="71">
                  <c:v>0.0006932889628397116</c:v>
                </c:pt>
                <c:pt idx="72">
                  <c:v>0.0007217090069284065</c:v>
                </c:pt>
                <c:pt idx="73">
                  <c:v>0.0007265329845975008</c:v>
                </c:pt>
                <c:pt idx="74">
                  <c:v>0.0011488593467914</c:v>
                </c:pt>
                <c:pt idx="75">
                  <c:v>0.0008382229673093043</c:v>
                </c:pt>
                <c:pt idx="76">
                  <c:v>0.0006619228859837829</c:v>
                </c:pt>
                <c:pt idx="77">
                  <c:v>0.0014915254237288136</c:v>
                </c:pt>
                <c:pt idx="78">
                  <c:v>0.00016943409013893597</c:v>
                </c:pt>
                <c:pt idx="79">
                  <c:v>0.00021222410865874363</c:v>
                </c:pt>
                <c:pt idx="80">
                  <c:v>0.00021235931195582927</c:v>
                </c:pt>
                <c:pt idx="81">
                  <c:v>7.328154770628756e-05</c:v>
                </c:pt>
                <c:pt idx="82">
                  <c:v>5.774672287347693e-05</c:v>
                </c:pt>
                <c:pt idx="83">
                  <c:v>3.8968124074507054e-05</c:v>
                </c:pt>
                <c:pt idx="84">
                  <c:v>0.00012721027859051011</c:v>
                </c:pt>
                <c:pt idx="85">
                  <c:v>6.444544692917445e-05</c:v>
                </c:pt>
                <c:pt idx="86">
                  <c:v>0.00020827547903360177</c:v>
                </c:pt>
                <c:pt idx="87">
                  <c:v>7.61266747868453e-05</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947122463243624</c:v>
                </c:pt>
                <c:pt idx="21">
                  <c:v>1.061367763887824</c:v>
                </c:pt>
                <c:pt idx="22">
                  <c:v>0.0</c:v>
                </c:pt>
                <c:pt idx="23">
                  <c:v>0.0</c:v>
                </c:pt>
                <c:pt idx="24">
                  <c:v>1.5367525210306048</c:v>
                </c:pt>
                <c:pt idx="25">
                  <c:v>0.0</c:v>
                </c:pt>
                <c:pt idx="26">
                  <c:v>0.8239675932648869</c:v>
                </c:pt>
                <c:pt idx="27">
                  <c:v>1.2511552025620791</c:v>
                </c:pt>
                <c:pt idx="28">
                  <c:v>1.524883017228131</c:v>
                </c:pt>
                <c:pt idx="29">
                  <c:v>0.0</c:v>
                </c:pt>
                <c:pt idx="30">
                  <c:v>0.0</c:v>
                </c:pt>
                <c:pt idx="31">
                  <c:v>2.2455006877745163</c:v>
                </c:pt>
                <c:pt idx="32">
                  <c:v>1.8630201591585918</c:v>
                </c:pt>
                <c:pt idx="33">
                  <c:v>1.7131171162732897</c:v>
                </c:pt>
                <c:pt idx="34">
                  <c:v>0.0</c:v>
                </c:pt>
                <c:pt idx="35">
                  <c:v>0.0</c:v>
                </c:pt>
                <c:pt idx="36">
                  <c:v>1.777133631343406</c:v>
                </c:pt>
                <c:pt idx="37">
                  <c:v>0.0</c:v>
                </c:pt>
                <c:pt idx="38">
                  <c:v>0.9342125399153389</c:v>
                </c:pt>
                <c:pt idx="39">
                  <c:v>0.7509426202127689</c:v>
                </c:pt>
                <c:pt idx="40">
                  <c:v>0.8248064003631735</c:v>
                </c:pt>
                <c:pt idx="41">
                  <c:v>1.4505690132035487</c:v>
                </c:pt>
                <c:pt idx="42">
                  <c:v>0.642940847615439</c:v>
                </c:pt>
                <c:pt idx="43">
                  <c:v>0.5294861617588247</c:v>
                </c:pt>
                <c:pt idx="44">
                  <c:v>0.5894101247441538</c:v>
                </c:pt>
                <c:pt idx="45">
                  <c:v>0.9419683181399864</c:v>
                </c:pt>
                <c:pt idx="46">
                  <c:v>0.687427516124962</c:v>
                </c:pt>
                <c:pt idx="47">
                  <c:v>0.8088399974767335</c:v>
                </c:pt>
                <c:pt idx="48">
                  <c:v>0.0</c:v>
                </c:pt>
                <c:pt idx="49">
                  <c:v>0.6970772876415939</c:v>
                </c:pt>
                <c:pt idx="50">
                  <c:v>0.284667636686498</c:v>
                </c:pt>
                <c:pt idx="51">
                  <c:v>0.27640772765083393</c:v>
                </c:pt>
                <c:pt idx="52">
                  <c:v>0.48100419295627433</c:v>
                </c:pt>
                <c:pt idx="53">
                  <c:v>0.0</c:v>
                </c:pt>
                <c:pt idx="54">
                  <c:v>0.0</c:v>
                </c:pt>
                <c:pt idx="55">
                  <c:v>0.0</c:v>
                </c:pt>
                <c:pt idx="56">
                  <c:v>0.0</c:v>
                </c:pt>
                <c:pt idx="57">
                  <c:v>1.6741216893254285</c:v>
                </c:pt>
                <c:pt idx="58">
                  <c:v>1.2689261539374557</c:v>
                </c:pt>
                <c:pt idx="59">
                  <c:v>1.5603948915717598</c:v>
                </c:pt>
                <c:pt idx="60">
                  <c:v>0.0</c:v>
                </c:pt>
                <c:pt idx="61">
                  <c:v>0.0</c:v>
                </c:pt>
                <c:pt idx="62">
                  <c:v>0.0</c:v>
                </c:pt>
                <c:pt idx="63">
                  <c:v>0.0</c:v>
                </c:pt>
                <c:pt idx="64">
                  <c:v>0.0</c:v>
                </c:pt>
                <c:pt idx="65">
                  <c:v>0.0</c:v>
                </c:pt>
                <c:pt idx="66">
                  <c:v>0.0</c:v>
                </c:pt>
                <c:pt idx="67">
                  <c:v>0.8460093737838614</c:v>
                </c:pt>
                <c:pt idx="68">
                  <c:v>2.3198606390673793</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6.82081713389264e-05</c:v>
                </c:pt>
                <c:pt idx="21">
                  <c:v>0.00014652014652014652</c:v>
                </c:pt>
                <c:pt idx="22">
                  <c:v>0.0</c:v>
                </c:pt>
                <c:pt idx="23">
                  <c:v>0.0</c:v>
                </c:pt>
                <c:pt idx="24">
                  <c:v>0.00010640561821664184</c:v>
                </c:pt>
                <c:pt idx="25">
                  <c:v>0.0</c:v>
                </c:pt>
                <c:pt idx="26">
                  <c:v>0.0001932367149758454</c:v>
                </c:pt>
                <c:pt idx="27">
                  <c:v>8.98069151324652e-05</c:v>
                </c:pt>
                <c:pt idx="28">
                  <c:v>0.00015350372246526978</c:v>
                </c:pt>
                <c:pt idx="29">
                  <c:v>0.0</c:v>
                </c:pt>
                <c:pt idx="30">
                  <c:v>0.0</c:v>
                </c:pt>
                <c:pt idx="31">
                  <c:v>8.553588230262595e-05</c:v>
                </c:pt>
                <c:pt idx="32">
                  <c:v>8.918219923303308e-05</c:v>
                </c:pt>
                <c:pt idx="33">
                  <c:v>0.00019843238416509574</c:v>
                </c:pt>
                <c:pt idx="34">
                  <c:v>0.0</c:v>
                </c:pt>
                <c:pt idx="35">
                  <c:v>0.0</c:v>
                </c:pt>
                <c:pt idx="36">
                  <c:v>0.00011122233344455567</c:v>
                </c:pt>
                <c:pt idx="37">
                  <c:v>0.0</c:v>
                </c:pt>
                <c:pt idx="38">
                  <c:v>0.0003213883978788366</c:v>
                </c:pt>
                <c:pt idx="39">
                  <c:v>0.0003180155827635554</c:v>
                </c:pt>
                <c:pt idx="40">
                  <c:v>0.00015946420028703555</c:v>
                </c:pt>
                <c:pt idx="41">
                  <c:v>0.00014990256333383302</c:v>
                </c:pt>
                <c:pt idx="42">
                  <c:v>0.00047244094488188977</c:v>
                </c:pt>
                <c:pt idx="43">
                  <c:v>0.0007918910357934748</c:v>
                </c:pt>
                <c:pt idx="44">
                  <c:v>0.0002881014116969173</c:v>
                </c:pt>
                <c:pt idx="45">
                  <c:v>0.0002621231979030144</c:v>
                </c:pt>
                <c:pt idx="46">
                  <c:v>0.00031660598385309483</c:v>
                </c:pt>
                <c:pt idx="47">
                  <c:v>0.00016561775422325274</c:v>
                </c:pt>
                <c:pt idx="48">
                  <c:v>0.0</c:v>
                </c:pt>
                <c:pt idx="49">
                  <c:v>0.00016857720836142953</c:v>
                </c:pt>
                <c:pt idx="50">
                  <c:v>0.0006700167504187605</c:v>
                </c:pt>
                <c:pt idx="51">
                  <c:v>0.0005676013168350551</c:v>
                </c:pt>
                <c:pt idx="52">
                  <c:v>0.000619041723412158</c:v>
                </c:pt>
                <c:pt idx="53">
                  <c:v>0.0</c:v>
                </c:pt>
                <c:pt idx="54">
                  <c:v>0.0</c:v>
                </c:pt>
                <c:pt idx="55">
                  <c:v>0.0</c:v>
                </c:pt>
                <c:pt idx="56">
                  <c:v>0.0</c:v>
                </c:pt>
                <c:pt idx="57">
                  <c:v>0.0001386001386001386</c:v>
                </c:pt>
                <c:pt idx="58">
                  <c:v>0.0001291155584247902</c:v>
                </c:pt>
                <c:pt idx="59">
                  <c:v>0.0001426330052774212</c:v>
                </c:pt>
                <c:pt idx="60">
                  <c:v>0.0</c:v>
                </c:pt>
                <c:pt idx="61">
                  <c:v>0.0</c:v>
                </c:pt>
                <c:pt idx="62">
                  <c:v>0.0</c:v>
                </c:pt>
                <c:pt idx="63">
                  <c:v>0.0</c:v>
                </c:pt>
                <c:pt idx="64">
                  <c:v>0.0</c:v>
                </c:pt>
                <c:pt idx="65">
                  <c:v>0.0</c:v>
                </c:pt>
                <c:pt idx="66">
                  <c:v>0.0</c:v>
                </c:pt>
                <c:pt idx="67">
                  <c:v>0.00014715079277489608</c:v>
                </c:pt>
                <c:pt idx="68">
                  <c:v>5.969080164746613e-0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538784832609112</c:v>
                </c:pt>
              </c:numCache>
            </c:numRef>
          </c:xVal>
          <c:yVal>
            <c:numRef>
              <c:f>Sheet1!$B$163:$B$164</c:f>
              <c:numCache>
                <c:formatCode>General</c:formatCode>
                <c:ptCount val="2"/>
                <c:pt idx="0">
                  <c:v>0.0009587265543628102</c:v>
                </c:pt>
                <c:pt idx="1">
                  <c:v>0.000958726554362810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538784832609112</c:v>
                </c:pt>
                <c:pt idx="1">
                  <c:v>11.538784832609112</c:v>
                </c:pt>
              </c:numCache>
            </c:numRef>
          </c:xVal>
          <c:yVal>
            <c:numRef>
              <c:f>Sheet1!$B$167:$B$168</c:f>
              <c:numCache>
                <c:formatCode>General</c:formatCode>
                <c:ptCount val="2"/>
                <c:pt idx="0">
                  <c:v>0.0009587265543628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3.452593578669213</c:v>
                </c:pt>
              </c:numCache>
            </c:numRef>
          </c:xVal>
          <c:yVal>
            <c:numRef>
              <c:f>Sheet1!$B$171:$B$172</c:f>
              <c:numCache>
                <c:formatCode>General</c:formatCode>
                <c:ptCount val="2"/>
                <c:pt idx="0">
                  <c:v>0.0003331044577193318</c:v>
                </c:pt>
                <c:pt idx="1">
                  <c:v>0.000333104457719331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3.452593578669213</c:v>
                </c:pt>
                <c:pt idx="1">
                  <c:v>3.452593578669213</c:v>
                </c:pt>
              </c:numCache>
            </c:numRef>
          </c:xVal>
          <c:yVal>
            <c:numRef>
              <c:f>Sheet1!$B$175:$B$176</c:f>
              <c:numCache>
                <c:formatCode>General</c:formatCode>
                <c:ptCount val="2"/>
                <c:pt idx="0">
                  <c:v>0.00033310445771933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391636666092156</c:v>
                </c:pt>
              </c:numCache>
            </c:numRef>
          </c:xVal>
          <c:yVal>
            <c:numRef>
              <c:f>Sheet1!$B$179:$B$180</c:f>
              <c:numCache>
                <c:formatCode>General</c:formatCode>
                <c:ptCount val="2"/>
                <c:pt idx="0">
                  <c:v>4.747617667113171e-05</c:v>
                </c:pt>
                <c:pt idx="1">
                  <c:v>4.747617667113171e-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391636666092156</c:v>
                </c:pt>
                <c:pt idx="1">
                  <c:v>-0.2391636666092156</c:v>
                </c:pt>
              </c:numCache>
            </c:numRef>
          </c:xVal>
          <c:yVal>
            <c:numRef>
              <c:f>Sheet1!$B$183:$B$184</c:f>
              <c:numCache>
                <c:formatCode>General</c:formatCode>
                <c:ptCount val="2"/>
                <c:pt idx="0">
                  <c:v>4.747617667113171e-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947122463243624</c:v>
                </c:pt>
                <c:pt idx="21">
                  <c:v>1.061367763887824</c:v>
                </c:pt>
                <c:pt idx="22">
                  <c:v>0.0</c:v>
                </c:pt>
                <c:pt idx="23">
                  <c:v>0.0</c:v>
                </c:pt>
                <c:pt idx="24">
                  <c:v>1.5367525210306048</c:v>
                </c:pt>
                <c:pt idx="25">
                  <c:v>0.0</c:v>
                </c:pt>
                <c:pt idx="26">
                  <c:v>0.8239675932648869</c:v>
                </c:pt>
                <c:pt idx="27">
                  <c:v>1.2511552025620791</c:v>
                </c:pt>
                <c:pt idx="28">
                  <c:v>1.524883017228131</c:v>
                </c:pt>
                <c:pt idx="29">
                  <c:v>0.0</c:v>
                </c:pt>
                <c:pt idx="30">
                  <c:v>0.0</c:v>
                </c:pt>
                <c:pt idx="31">
                  <c:v>2.2455006877745163</c:v>
                </c:pt>
                <c:pt idx="32">
                  <c:v>1.8630201591585918</c:v>
                </c:pt>
                <c:pt idx="33">
                  <c:v>1.7131171162732897</c:v>
                </c:pt>
                <c:pt idx="34">
                  <c:v>0.0</c:v>
                </c:pt>
                <c:pt idx="35">
                  <c:v>0.0</c:v>
                </c:pt>
                <c:pt idx="36">
                  <c:v>1.777133631343406</c:v>
                </c:pt>
                <c:pt idx="37">
                  <c:v>0.0</c:v>
                </c:pt>
                <c:pt idx="38">
                  <c:v>0.9342125399153389</c:v>
                </c:pt>
                <c:pt idx="39">
                  <c:v>0.7509426202127689</c:v>
                </c:pt>
                <c:pt idx="40">
                  <c:v>0.8248064003631735</c:v>
                </c:pt>
                <c:pt idx="41">
                  <c:v>1.4505690132035487</c:v>
                </c:pt>
                <c:pt idx="42">
                  <c:v>0.642940847615439</c:v>
                </c:pt>
                <c:pt idx="43">
                  <c:v>0.5294861617588247</c:v>
                </c:pt>
                <c:pt idx="44">
                  <c:v>0.5894101247441538</c:v>
                </c:pt>
                <c:pt idx="45">
                  <c:v>0.9419683181399864</c:v>
                </c:pt>
                <c:pt idx="46">
                  <c:v>0.687427516124962</c:v>
                </c:pt>
                <c:pt idx="47">
                  <c:v>0.8088399974767335</c:v>
                </c:pt>
                <c:pt idx="48">
                  <c:v>0.0</c:v>
                </c:pt>
                <c:pt idx="49">
                  <c:v>0.6970772876415939</c:v>
                </c:pt>
                <c:pt idx="50">
                  <c:v>0.284667636686498</c:v>
                </c:pt>
                <c:pt idx="51">
                  <c:v>0.27640772765083393</c:v>
                </c:pt>
                <c:pt idx="52">
                  <c:v>0.48100419295627433</c:v>
                </c:pt>
                <c:pt idx="53">
                  <c:v>0.0</c:v>
                </c:pt>
                <c:pt idx="54">
                  <c:v>0.0</c:v>
                </c:pt>
                <c:pt idx="55">
                  <c:v>0.0</c:v>
                </c:pt>
                <c:pt idx="56">
                  <c:v>0.0</c:v>
                </c:pt>
                <c:pt idx="57">
                  <c:v>1.6741216893254285</c:v>
                </c:pt>
                <c:pt idx="58">
                  <c:v>1.2689261539374557</c:v>
                </c:pt>
                <c:pt idx="59">
                  <c:v>1.5603948915717598</c:v>
                </c:pt>
                <c:pt idx="60">
                  <c:v>0.0</c:v>
                </c:pt>
                <c:pt idx="61">
                  <c:v>0.0</c:v>
                </c:pt>
                <c:pt idx="62">
                  <c:v>0.0</c:v>
                </c:pt>
                <c:pt idx="63">
                  <c:v>0.0</c:v>
                </c:pt>
                <c:pt idx="64">
                  <c:v>0.0</c:v>
                </c:pt>
                <c:pt idx="65">
                  <c:v>0.0</c:v>
                </c:pt>
                <c:pt idx="66">
                  <c:v>0.0</c:v>
                </c:pt>
                <c:pt idx="67">
                  <c:v>0.8460093737838614</c:v>
                </c:pt>
                <c:pt idx="68">
                  <c:v>2.3198606390673793</c:v>
                </c:pt>
                <c:pt idx="69">
                  <c:v>3.452593578669213</c:v>
                </c:pt>
                <c:pt idx="70">
                  <c:v>11.538784832609112</c:v>
                </c:pt>
                <c:pt idx="71">
                  <c:v>-0.2391636666092156</c:v>
                </c:pt>
              </c:numCache>
            </c:numRef>
          </c:xVal>
          <c:yVal>
            <c:numRef>
              <c:f>Sheet1!$B$187:$B$258</c:f>
              <c:numCache>
                <c:formatCode>General</c:formatCode>
                <c:ptCount val="72"/>
                <c:pt idx="0">
                  <c:v>6.598007669601621e-05</c:v>
                </c:pt>
                <c:pt idx="1">
                  <c:v>6.598007669601621e-05</c:v>
                </c:pt>
                <c:pt idx="2">
                  <c:v>6.598007669601621e-05</c:v>
                </c:pt>
                <c:pt idx="3">
                  <c:v>6.598007669601621e-05</c:v>
                </c:pt>
                <c:pt idx="4">
                  <c:v>6.598007669601621e-05</c:v>
                </c:pt>
                <c:pt idx="5">
                  <c:v>6.598007669601621e-05</c:v>
                </c:pt>
                <c:pt idx="6">
                  <c:v>6.598007669601621e-05</c:v>
                </c:pt>
                <c:pt idx="7">
                  <c:v>6.598007669601621e-05</c:v>
                </c:pt>
                <c:pt idx="8">
                  <c:v>6.598007669601621e-05</c:v>
                </c:pt>
                <c:pt idx="9">
                  <c:v>6.598007669601621e-05</c:v>
                </c:pt>
                <c:pt idx="10">
                  <c:v>6.598007669601621e-05</c:v>
                </c:pt>
                <c:pt idx="11">
                  <c:v>6.598007669601621e-05</c:v>
                </c:pt>
                <c:pt idx="12">
                  <c:v>6.598007669601621e-05</c:v>
                </c:pt>
                <c:pt idx="13">
                  <c:v>6.598007669601621e-05</c:v>
                </c:pt>
                <c:pt idx="14">
                  <c:v>6.598007669601621e-05</c:v>
                </c:pt>
                <c:pt idx="15">
                  <c:v>6.598007669601621e-05</c:v>
                </c:pt>
                <c:pt idx="16">
                  <c:v>6.598007669601621e-05</c:v>
                </c:pt>
                <c:pt idx="17">
                  <c:v>6.598007669601621e-05</c:v>
                </c:pt>
                <c:pt idx="18">
                  <c:v>6.598007669601621e-05</c:v>
                </c:pt>
                <c:pt idx="19">
                  <c:v>6.598007669601621e-05</c:v>
                </c:pt>
                <c:pt idx="20">
                  <c:v>0.0002166273715250317</c:v>
                </c:pt>
                <c:pt idx="21">
                  <c:v>0.00014809724470509188</c:v>
                </c:pt>
                <c:pt idx="22">
                  <c:v>6.598007669601621e-05</c:v>
                </c:pt>
                <c:pt idx="23">
                  <c:v>6.598007669601621e-05</c:v>
                </c:pt>
                <c:pt idx="24">
                  <c:v>0.00018487738001676996</c:v>
                </c:pt>
                <c:pt idx="25">
                  <c:v>6.598007669601621e-05</c:v>
                </c:pt>
                <c:pt idx="26">
                  <c:v>0.00012972978494258928</c:v>
                </c:pt>
                <c:pt idx="27">
                  <c:v>0.00016278094579145076</c:v>
                </c:pt>
                <c:pt idx="28">
                  <c:v>0.00018395904607909524</c:v>
                </c:pt>
                <c:pt idx="29">
                  <c:v>6.598007669601621e-05</c:v>
                </c:pt>
                <c:pt idx="30">
                  <c:v>6.598007669601621e-05</c:v>
                </c:pt>
                <c:pt idx="31">
                  <c:v>0.00023971265414592222</c:v>
                </c:pt>
                <c:pt idx="32">
                  <c:v>0.0002101204440777507</c:v>
                </c:pt>
                <c:pt idx="33">
                  <c:v>0.00019852256653095813</c:v>
                </c:pt>
                <c:pt idx="34">
                  <c:v>6.598007669601621e-05</c:v>
                </c:pt>
                <c:pt idx="35">
                  <c:v>6.598007669601621e-05</c:v>
                </c:pt>
                <c:pt idx="36">
                  <c:v>0.0002034754726792589</c:v>
                </c:pt>
                <c:pt idx="37">
                  <c:v>6.598007669601621e-05</c:v>
                </c:pt>
                <c:pt idx="38">
                  <c:v>0.00013825934756382937</c:v>
                </c:pt>
                <c:pt idx="39">
                  <c:v>0.00012407990166460727</c:v>
                </c:pt>
                <c:pt idx="40">
                  <c:v>0.00012979468277137288</c:v>
                </c:pt>
                <c:pt idx="41">
                  <c:v>0.00017820943151424334</c:v>
                </c:pt>
                <c:pt idx="42">
                  <c:v>0.00011572389161097023</c:v>
                </c:pt>
                <c:pt idx="43">
                  <c:v>0.00010694599405567084</c:v>
                </c:pt>
                <c:pt idx="44">
                  <c:v>0.00011158226274939007</c:v>
                </c:pt>
                <c:pt idx="45">
                  <c:v>0.00013885940587084032</c:v>
                </c:pt>
                <c:pt idx="46">
                  <c:v>0.00011916578927967184</c:v>
                </c:pt>
                <c:pt idx="47">
                  <c:v>0.00012855937505529554</c:v>
                </c:pt>
                <c:pt idx="48">
                  <c:v>6.598007669601621e-05</c:v>
                </c:pt>
                <c:pt idx="49">
                  <c:v>0.00011991238432037464</c:v>
                </c:pt>
                <c:pt idx="50">
                  <c:v>8.800458219155177e-05</c:v>
                </c:pt>
                <c:pt idx="51">
                  <c:v>8.736551969022166e-05</c:v>
                </c:pt>
                <c:pt idx="52">
                  <c:v>0.00010319498322509264</c:v>
                </c:pt>
                <c:pt idx="53">
                  <c:v>6.598007669601621e-05</c:v>
                </c:pt>
                <c:pt idx="54">
                  <c:v>6.598007669601621e-05</c:v>
                </c:pt>
                <c:pt idx="55">
                  <c:v>6.598007669601621e-05</c:v>
                </c:pt>
                <c:pt idx="56">
                  <c:v>6.598007669601621e-05</c:v>
                </c:pt>
                <c:pt idx="57">
                  <c:v>0.00019550552179376597</c:v>
                </c:pt>
                <c:pt idx="58">
                  <c:v>0.0001641558699689361</c:v>
                </c:pt>
                <c:pt idx="59">
                  <c:v>0.0001867065711604215</c:v>
                </c:pt>
                <c:pt idx="60">
                  <c:v>6.598007669601621e-05</c:v>
                </c:pt>
                <c:pt idx="61">
                  <c:v>6.598007669601621e-05</c:v>
                </c:pt>
                <c:pt idx="62">
                  <c:v>6.598007669601621e-05</c:v>
                </c:pt>
                <c:pt idx="63">
                  <c:v>6.598007669601621e-05</c:v>
                </c:pt>
                <c:pt idx="64">
                  <c:v>6.598007669601621e-05</c:v>
                </c:pt>
                <c:pt idx="65">
                  <c:v>6.598007669601621e-05</c:v>
                </c:pt>
                <c:pt idx="66">
                  <c:v>6.598007669601621e-05</c:v>
                </c:pt>
                <c:pt idx="67">
                  <c:v>0.00013143513972693443</c:v>
                </c:pt>
                <c:pt idx="68">
                  <c:v>0.0002454658236138693</c:v>
                </c:pt>
                <c:pt idx="69">
                  <c:v>0.0003331044577193318</c:v>
                </c:pt>
                <c:pt idx="70">
                  <c:v>0.0009587265543628102</c:v>
                </c:pt>
                <c:pt idx="71">
                  <c:v>4.747617667113171e-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275960170697012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9622147734528931</c:v>
                </c:pt>
                <c:pt idx="1">
                  <c:v>0.10790074193560802</c:v>
                </c:pt>
                <c:pt idx="2">
                  <c:v>0.10897292086697698</c:v>
                </c:pt>
                <c:pt idx="3">
                  <c:v>0.10748239227249541</c:v>
                </c:pt>
                <c:pt idx="4">
                  <c:v>0.1085285409512891</c:v>
                </c:pt>
                <c:pt idx="5">
                  <c:v>0.10613652495665556</c:v>
                </c:pt>
                <c:pt idx="6">
                  <c:v>0.10298948843471367</c:v>
                </c:pt>
                <c:pt idx="7">
                  <c:v>0.10053866560861201</c:v>
                </c:pt>
                <c:pt idx="8">
                  <c:v>0.09957682900746379</c:v>
                </c:pt>
                <c:pt idx="9">
                  <c:v>0.09702589414018913</c:v>
                </c:pt>
                <c:pt idx="10">
                  <c:v>0.09704965840646985</c:v>
                </c:pt>
                <c:pt idx="11">
                  <c:v>0.09985797181562124</c:v>
                </c:pt>
                <c:pt idx="12">
                  <c:v>0.10006166320118368</c:v>
                </c:pt>
                <c:pt idx="13">
                  <c:v>0.09777907614642341</c:v>
                </c:pt>
                <c:pt idx="14">
                  <c:v>0.10349984502732548</c:v>
                </c:pt>
                <c:pt idx="15">
                  <c:v>0.1022588352038144</c:v>
                </c:pt>
                <c:pt idx="16">
                  <c:v>0.09963991249495571</c:v>
                </c:pt>
                <c:pt idx="17">
                  <c:v>0.09275827518744274</c:v>
                </c:pt>
                <c:pt idx="18">
                  <c:v>0.09989450361079825</c:v>
                </c:pt>
                <c:pt idx="19">
                  <c:v>0.10161503946493469</c:v>
                </c:pt>
                <c:pt idx="20">
                  <c:v>0.10345859948124109</c:v>
                </c:pt>
                <c:pt idx="21">
                  <c:v>0.10246419048653563</c:v>
                </c:pt>
                <c:pt idx="22">
                  <c:v>0.09521179728725787</c:v>
                </c:pt>
                <c:pt idx="23">
                  <c:v>0.09556088619766603</c:v>
                </c:pt>
                <c:pt idx="24">
                  <c:v>0.09596299353326697</c:v>
                </c:pt>
                <c:pt idx="25">
                  <c:v>0.09489833366106636</c:v>
                </c:pt>
                <c:pt idx="26">
                  <c:v>0.09956715819926878</c:v>
                </c:pt>
                <c:pt idx="27">
                  <c:v>0.09747298328211143</c:v>
                </c:pt>
                <c:pt idx="28">
                  <c:v>0.09921514309410925</c:v>
                </c:pt>
                <c:pt idx="29">
                  <c:v>0.10030689859613706</c:v>
                </c:pt>
                <c:pt idx="30">
                  <c:v>0.0997928223291679</c:v>
                </c:pt>
                <c:pt idx="31">
                  <c:v>0.09745495034953036</c:v>
                </c:pt>
                <c:pt idx="32">
                  <c:v>0.092838664068026</c:v>
                </c:pt>
                <c:pt idx="33">
                  <c:v>0.093306324997915</c:v>
                </c:pt>
                <c:pt idx="34">
                  <c:v>0.09477265869235625</c:v>
                </c:pt>
                <c:pt idx="35">
                  <c:v>0.10105896393236241</c:v>
                </c:pt>
                <c:pt idx="36">
                  <c:v>0.09842710615834543</c:v>
                </c:pt>
                <c:pt idx="37">
                  <c:v>0.099618098885223</c:v>
                </c:pt>
                <c:pt idx="38">
                  <c:v>0.10439856314149427</c:v>
                </c:pt>
                <c:pt idx="39">
                  <c:v>0.1106261270135992</c:v>
                </c:pt>
                <c:pt idx="40">
                  <c:v>0.11395179153875233</c:v>
                </c:pt>
                <c:pt idx="41">
                  <c:v>0.1140328765021332</c:v>
                </c:pt>
                <c:pt idx="42">
                  <c:v>0.11475808868799434</c:v>
                </c:pt>
                <c:pt idx="43">
                  <c:v>0.12213907486418345</c:v>
                </c:pt>
                <c:pt idx="44">
                  <c:v>0.1161830686930025</c:v>
                </c:pt>
                <c:pt idx="45">
                  <c:v>0.11316223400253729</c:v>
                </c:pt>
                <c:pt idx="46">
                  <c:v>0.11437670490289566</c:v>
                </c:pt>
                <c:pt idx="47">
                  <c:v>0.11040784297298996</c:v>
                </c:pt>
                <c:pt idx="48">
                  <c:v>0.11436814768657624</c:v>
                </c:pt>
                <c:pt idx="49">
                  <c:v>0.11966963511134371</c:v>
                </c:pt>
                <c:pt idx="50">
                  <c:v>0.108815625678095</c:v>
                </c:pt>
                <c:pt idx="51">
                  <c:v>0.10643603113450584</c:v>
                </c:pt>
                <c:pt idx="52">
                  <c:v>0.11053407986901212</c:v>
                </c:pt>
                <c:pt idx="53">
                  <c:v>0.12312439140930338</c:v>
                </c:pt>
                <c:pt idx="54">
                  <c:v>0.11791765659681577</c:v>
                </c:pt>
                <c:pt idx="55">
                  <c:v>0.1162430482681231</c:v>
                </c:pt>
                <c:pt idx="56">
                  <c:v>0.11454784061999995</c:v>
                </c:pt>
                <c:pt idx="57">
                  <c:v>0.11188722469264292</c:v>
                </c:pt>
                <c:pt idx="58">
                  <c:v>0.11237476172872457</c:v>
                </c:pt>
                <c:pt idx="59">
                  <c:v>0.11326034519127849</c:v>
                </c:pt>
                <c:pt idx="60">
                  <c:v>0.11429154470209438</c:v>
                </c:pt>
                <c:pt idx="61">
                  <c:v>0.11498383573669604</c:v>
                </c:pt>
                <c:pt idx="62">
                  <c:v>0.1042234718482614</c:v>
                </c:pt>
                <c:pt idx="63">
                  <c:v>0.10651159445001712</c:v>
                </c:pt>
                <c:pt idx="64">
                  <c:v>0.11232451371236546</c:v>
                </c:pt>
                <c:pt idx="65">
                  <c:v>0.10765163605295626</c:v>
                </c:pt>
                <c:pt idx="66">
                  <c:v>0.11144096827636349</c:v>
                </c:pt>
                <c:pt idx="67">
                  <c:v>0.11426455425690533</c:v>
                </c:pt>
                <c:pt idx="68">
                  <c:v>0.11323093820381484</c:v>
                </c:pt>
                <c:pt idx="69">
                  <c:v>0.11228029815782706</c:v>
                </c:pt>
                <c:pt idx="70">
                  <c:v>0.11048772446337113</c:v>
                </c:pt>
                <c:pt idx="71">
                  <c:v>0.11396588961433766</c:v>
                </c:pt>
                <c:pt idx="72">
                  <c:v>0.12015393125869835</c:v>
                </c:pt>
                <c:pt idx="73">
                  <c:v>0.11781339485721327</c:v>
                </c:pt>
                <c:pt idx="74">
                  <c:v>0.11607881443681103</c:v>
                </c:pt>
                <c:pt idx="75">
                  <c:v>0.11074032778468489</c:v>
                </c:pt>
                <c:pt idx="76">
                  <c:v>0.10949299666189576</c:v>
                </c:pt>
                <c:pt idx="77">
                  <c:v>0.10960231081581633</c:v>
                </c:pt>
                <c:pt idx="78">
                  <c:v>0.10943339306258557</c:v>
                </c:pt>
                <c:pt idx="79">
                  <c:v>0.10722214346064236</c:v>
                </c:pt>
                <c:pt idx="80">
                  <c:v>0.10791664289211439</c:v>
                </c:pt>
                <c:pt idx="81">
                  <c:v>0.11106547631336046</c:v>
                </c:pt>
                <c:pt idx="82">
                  <c:v>0.11243672535285888</c:v>
                </c:pt>
                <c:pt idx="83">
                  <c:v>0.10423227123587932</c:v>
                </c:pt>
                <c:pt idx="84">
                  <c:v>0.10887460892734545</c:v>
                </c:pt>
                <c:pt idx="85">
                  <c:v>0.10513521280193693</c:v>
                </c:pt>
                <c:pt idx="86">
                  <c:v>0.10785724878333892</c:v>
                </c:pt>
                <c:pt idx="87">
                  <c:v>0.10598613684113532</c:v>
                </c:pt>
                <c:pt idx="88">
                  <c:v>0.1101819202189713</c:v>
                </c:pt>
                <c:pt idx="89">
                  <c:v>0.10686690483482258</c:v>
                </c:pt>
                <c:pt idx="90">
                  <c:v>0.1127369458744462</c:v>
                </c:pt>
                <c:pt idx="91">
                  <c:v>0.11384918644472737</c:v>
                </c:pt>
                <c:pt idx="92">
                  <c:v>0.11125360558667512</c:v>
                </c:pt>
                <c:pt idx="93">
                  <c:v>0.11262190924339828</c:v>
                </c:pt>
                <c:pt idx="94">
                  <c:v>0.10923863834298427</c:v>
                </c:pt>
                <c:pt idx="95">
                  <c:v>0.10543124786976649</c:v>
                </c:pt>
                <c:pt idx="96">
                  <c:v>0.10626327666898627</c:v>
                </c:pt>
                <c:pt idx="97">
                  <c:v>0.10537634801967878</c:v>
                </c:pt>
                <c:pt idx="98">
                  <c:v>0.10419221361586373</c:v>
                </c:pt>
                <c:pt idx="99">
                  <c:v>0.10447184998359837</c:v>
                </c:pt>
                <c:pt idx="100">
                  <c:v>0.10655031617269795</c:v>
                </c:pt>
                <c:pt idx="101">
                  <c:v>0.10787694978362576</c:v>
                </c:pt>
                <c:pt idx="102">
                  <c:v>0.10738207737323509</c:v>
                </c:pt>
                <c:pt idx="103">
                  <c:v>0.10604190047446284</c:v>
                </c:pt>
                <c:pt idx="104">
                  <c:v>0.1076732033424913</c:v>
                </c:pt>
              </c:numCache>
            </c:numRef>
          </c:xVal>
          <c:yVal>
            <c:numRef>
              <c:f>Sheet1!$B$2:$B$106</c:f>
              <c:numCache>
                <c:formatCode>General</c:formatCode>
                <c:ptCount val="105"/>
                <c:pt idx="0">
                  <c:v>0.2222146569528608</c:v>
                </c:pt>
                <c:pt idx="1">
                  <c:v>0.21436831795331712</c:v>
                </c:pt>
                <c:pt idx="2">
                  <c:v>0.21788056610286502</c:v>
                </c:pt>
                <c:pt idx="3">
                  <c:v>0.22284236976901517</c:v>
                </c:pt>
                <c:pt idx="4">
                  <c:v>0.23230982175644757</c:v>
                </c:pt>
                <c:pt idx="5">
                  <c:v>0.23256081761911618</c:v>
                </c:pt>
                <c:pt idx="6">
                  <c:v>0.2603693782602566</c:v>
                </c:pt>
                <c:pt idx="7">
                  <c:v>0.2640731387654637</c:v>
                </c:pt>
                <c:pt idx="8">
                  <c:v>0.25708272083389017</c:v>
                </c:pt>
                <c:pt idx="9">
                  <c:v>0.2529252451947096</c:v>
                </c:pt>
                <c:pt idx="10">
                  <c:v>0.24543585113852945</c:v>
                </c:pt>
                <c:pt idx="11">
                  <c:v>0.22978744913690702</c:v>
                </c:pt>
                <c:pt idx="12">
                  <c:v>0.2215695379614581</c:v>
                </c:pt>
                <c:pt idx="13">
                  <c:v>0.21050827538928607</c:v>
                </c:pt>
                <c:pt idx="14">
                  <c:v>0.19294339713960748</c:v>
                </c:pt>
                <c:pt idx="15">
                  <c:v>0.19069216547261383</c:v>
                </c:pt>
                <c:pt idx="16">
                  <c:v>0.1803606557377049</c:v>
                </c:pt>
                <c:pt idx="17">
                  <c:v>0.1780209562636341</c:v>
                </c:pt>
                <c:pt idx="18">
                  <c:v>0.16206610591162185</c:v>
                </c:pt>
                <c:pt idx="19">
                  <c:v>0.16453110492107706</c:v>
                </c:pt>
                <c:pt idx="20">
                  <c:v>0.17074384594770492</c:v>
                </c:pt>
                <c:pt idx="21">
                  <c:v>0.16795410398879704</c:v>
                </c:pt>
                <c:pt idx="22">
                  <c:v>0.1887250326675378</c:v>
                </c:pt>
                <c:pt idx="23">
                  <c:v>0.19064005505849965</c:v>
                </c:pt>
                <c:pt idx="24">
                  <c:v>0.19543311454192475</c:v>
                </c:pt>
                <c:pt idx="25">
                  <c:v>0.1965275598786738</c:v>
                </c:pt>
                <c:pt idx="26">
                  <c:v>0.2142091277795907</c:v>
                </c:pt>
                <c:pt idx="27">
                  <c:v>0.21903288905063004</c:v>
                </c:pt>
                <c:pt idx="28">
                  <c:v>0.21609717650331495</c:v>
                </c:pt>
                <c:pt idx="29">
                  <c:v>0.21403309077604782</c:v>
                </c:pt>
                <c:pt idx="30">
                  <c:v>0.21525529915422367</c:v>
                </c:pt>
                <c:pt idx="31">
                  <c:v>0.21580469979190986</c:v>
                </c:pt>
                <c:pt idx="32">
                  <c:v>0.22579515903180636</c:v>
                </c:pt>
                <c:pt idx="33">
                  <c:v>0.2243625609463672</c:v>
                </c:pt>
                <c:pt idx="34">
                  <c:v>0.22853110411464553</c:v>
                </c:pt>
                <c:pt idx="35">
                  <c:v>0.24465431218816822</c:v>
                </c:pt>
                <c:pt idx="36">
                  <c:v>0.21023367645953867</c:v>
                </c:pt>
                <c:pt idx="37">
                  <c:v>0.21509433962264152</c:v>
                </c:pt>
                <c:pt idx="38">
                  <c:v>0.2002953183357943</c:v>
                </c:pt>
                <c:pt idx="39">
                  <c:v>0.18644224973338897</c:v>
                </c:pt>
                <c:pt idx="40">
                  <c:v>0.1933965902954563</c:v>
                </c:pt>
                <c:pt idx="41">
                  <c:v>0.1845035313668467</c:v>
                </c:pt>
                <c:pt idx="42">
                  <c:v>0.1825368689733409</c:v>
                </c:pt>
                <c:pt idx="43">
                  <c:v>0.18491152406925856</c:v>
                </c:pt>
                <c:pt idx="44">
                  <c:v>0.179719027169339</c:v>
                </c:pt>
                <c:pt idx="45">
                  <c:v>0.19425275927214875</c:v>
                </c:pt>
                <c:pt idx="46">
                  <c:v>0.20227789562193046</c:v>
                </c:pt>
                <c:pt idx="47">
                  <c:v>0.19447760619247506</c:v>
                </c:pt>
                <c:pt idx="48">
                  <c:v>0.1946365151844604</c:v>
                </c:pt>
                <c:pt idx="49">
                  <c:v>0.2024177181681814</c:v>
                </c:pt>
                <c:pt idx="50">
                  <c:v>0.19343004525223934</c:v>
                </c:pt>
                <c:pt idx="51">
                  <c:v>0.1905886056027699</c:v>
                </c:pt>
                <c:pt idx="52">
                  <c:v>0.19163722255841645</c:v>
                </c:pt>
                <c:pt idx="53">
                  <c:v>0.1821459475050476</c:v>
                </c:pt>
                <c:pt idx="54">
                  <c:v>0.18893706477466823</c:v>
                </c:pt>
                <c:pt idx="55">
                  <c:v>0.18618821936357483</c:v>
                </c:pt>
                <c:pt idx="56">
                  <c:v>0.1827687615728134</c:v>
                </c:pt>
                <c:pt idx="57">
                  <c:v>0.17984808924756707</c:v>
                </c:pt>
                <c:pt idx="58">
                  <c:v>0.19077375079479927</c:v>
                </c:pt>
                <c:pt idx="59">
                  <c:v>0.18824739239018656</c:v>
                </c:pt>
                <c:pt idx="60">
                  <c:v>0.1917924831352393</c:v>
                </c:pt>
                <c:pt idx="61">
                  <c:v>0.18711292376081656</c:v>
                </c:pt>
                <c:pt idx="62">
                  <c:v>0.19957863689034025</c:v>
                </c:pt>
                <c:pt idx="63">
                  <c:v>0.2039075557604749</c:v>
                </c:pt>
                <c:pt idx="64">
                  <c:v>0.1943246991790681</c:v>
                </c:pt>
                <c:pt idx="65">
                  <c:v>0.19147112834115487</c:v>
                </c:pt>
                <c:pt idx="66">
                  <c:v>0.18685303480699092</c:v>
                </c:pt>
                <c:pt idx="67">
                  <c:v>0.1743600914933014</c:v>
                </c:pt>
                <c:pt idx="68">
                  <c:v>0.16798753104031278</c:v>
                </c:pt>
                <c:pt idx="69">
                  <c:v>0.1637571027589512</c:v>
                </c:pt>
                <c:pt idx="70">
                  <c:v>0.16157501697216564</c:v>
                </c:pt>
                <c:pt idx="71">
                  <c:v>0.15957227341493604</c:v>
                </c:pt>
                <c:pt idx="72">
                  <c:v>0.16045343380263072</c:v>
                </c:pt>
                <c:pt idx="73">
                  <c:v>0.16063700882811147</c:v>
                </c:pt>
                <c:pt idx="74">
                  <c:v>0.16004937942079275</c:v>
                </c:pt>
                <c:pt idx="75">
                  <c:v>0.1704176288700145</c:v>
                </c:pt>
                <c:pt idx="76">
                  <c:v>0.17403464829889376</c:v>
                </c:pt>
                <c:pt idx="77">
                  <c:v>0.16306754103838603</c:v>
                </c:pt>
                <c:pt idx="78">
                  <c:v>0.17122101414413549</c:v>
                </c:pt>
                <c:pt idx="79">
                  <c:v>0.16867216425445977</c:v>
                </c:pt>
                <c:pt idx="80">
                  <c:v>0.15128412624047022</c:v>
                </c:pt>
                <c:pt idx="81">
                  <c:v>0.15918572867213351</c:v>
                </c:pt>
                <c:pt idx="82">
                  <c:v>0.1604518736223365</c:v>
                </c:pt>
                <c:pt idx="83">
                  <c:v>0.15352127547249497</c:v>
                </c:pt>
                <c:pt idx="84">
                  <c:v>0.1606915980776667</c:v>
                </c:pt>
                <c:pt idx="85">
                  <c:v>0.16671613733056298</c:v>
                </c:pt>
                <c:pt idx="86">
                  <c:v>0.1759307231144993</c:v>
                </c:pt>
                <c:pt idx="87">
                  <c:v>0.19704711230134958</c:v>
                </c:pt>
                <c:pt idx="88">
                  <c:v>0.18048567053161235</c:v>
                </c:pt>
                <c:pt idx="89">
                  <c:v>0.17244673736505206</c:v>
                </c:pt>
                <c:pt idx="90">
                  <c:v>0.1624969158647915</c:v>
                </c:pt>
                <c:pt idx="91">
                  <c:v>0.1546732452057345</c:v>
                </c:pt>
                <c:pt idx="92">
                  <c:v>0.17381197362905376</c:v>
                </c:pt>
                <c:pt idx="93">
                  <c:v>0.16256891670391893</c:v>
                </c:pt>
                <c:pt idx="94">
                  <c:v>0.16598507525612377</c:v>
                </c:pt>
                <c:pt idx="95">
                  <c:v>0.17649211625850134</c:v>
                </c:pt>
                <c:pt idx="96">
                  <c:v>0.17222309294046526</c:v>
                </c:pt>
                <c:pt idx="97">
                  <c:v>0.17688563038294014</c:v>
                </c:pt>
                <c:pt idx="98">
                  <c:v>0.184845203101095</c:v>
                </c:pt>
                <c:pt idx="99">
                  <c:v>0.1852970193428802</c:v>
                </c:pt>
                <c:pt idx="100">
                  <c:v>0.18696157822191592</c:v>
                </c:pt>
                <c:pt idx="101">
                  <c:v>0.17836053875657837</c:v>
                </c:pt>
                <c:pt idx="102">
                  <c:v>0.16761097479366496</c:v>
                </c:pt>
                <c:pt idx="103">
                  <c:v>0.16980733033013978</c:v>
                </c:pt>
                <c:pt idx="104">
                  <c:v>0.1651442481502012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472940506475111</c:v>
                </c:pt>
                <c:pt idx="1">
                  <c:v>0.11906274390310362</c:v>
                </c:pt>
                <c:pt idx="2">
                  <c:v>0.1161665648739643</c:v>
                </c:pt>
                <c:pt idx="3">
                  <c:v>0.11454985035564462</c:v>
                </c:pt>
                <c:pt idx="4">
                  <c:v>0.11449163297450499</c:v>
                </c:pt>
                <c:pt idx="5">
                  <c:v>0.10815563823142704</c:v>
                </c:pt>
                <c:pt idx="6">
                  <c:v>0.10234248797240796</c:v>
                </c:pt>
                <c:pt idx="7">
                  <c:v>0.10644056737799232</c:v>
                </c:pt>
                <c:pt idx="8">
                  <c:v>0.11231876709921845</c:v>
                </c:pt>
                <c:pt idx="9">
                  <c:v>0.11058876897206615</c:v>
                </c:pt>
                <c:pt idx="10">
                  <c:v>0.11148826692066278</c:v>
                </c:pt>
                <c:pt idx="11">
                  <c:v>0.10346076452917194</c:v>
                </c:pt>
                <c:pt idx="12">
                  <c:v>0.1063737824434978</c:v>
                </c:pt>
                <c:pt idx="13">
                  <c:v>0.10763537292649433</c:v>
                </c:pt>
                <c:pt idx="14">
                  <c:v>0.1073770783300555</c:v>
                </c:pt>
                <c:pt idx="15">
                  <c:v>0.1061257759336403</c:v>
                </c:pt>
                <c:pt idx="16">
                  <c:v>0.10994580527260069</c:v>
                </c:pt>
                <c:pt idx="17">
                  <c:v>0.10638413452895416</c:v>
                </c:pt>
                <c:pt idx="18">
                  <c:v>0.10574421493281155</c:v>
                </c:pt>
                <c:pt idx="19">
                  <c:v>0.11577528009189078</c:v>
                </c:pt>
                <c:pt idx="20">
                  <c:v>0.11298550543408335</c:v>
                </c:pt>
                <c:pt idx="21">
                  <c:v>0.10221207390542877</c:v>
                </c:pt>
                <c:pt idx="22">
                  <c:v>0.11253556991853013</c:v>
                </c:pt>
                <c:pt idx="23">
                  <c:v>0.11390277569116557</c:v>
                </c:pt>
                <c:pt idx="24">
                  <c:v>0.1089009145069108</c:v>
                </c:pt>
                <c:pt idx="25">
                  <c:v>0.10872500559853071</c:v>
                </c:pt>
                <c:pt idx="26">
                  <c:v>0.10842026941842389</c:v>
                </c:pt>
                <c:pt idx="27">
                  <c:v>0.108368381444172</c:v>
                </c:pt>
                <c:pt idx="28">
                  <c:v>0.11429655015004012</c:v>
                </c:pt>
                <c:pt idx="29">
                  <c:v>0.11524506098193411</c:v>
                </c:pt>
                <c:pt idx="30">
                  <c:v>0.11660471736125037</c:v>
                </c:pt>
                <c:pt idx="31">
                  <c:v>0.11386870508651224</c:v>
                </c:pt>
                <c:pt idx="32">
                  <c:v>0.11717775335086034</c:v>
                </c:pt>
                <c:pt idx="33">
                  <c:v>0.11906752158776206</c:v>
                </c:pt>
                <c:pt idx="34">
                  <c:v>0.11558871161845946</c:v>
                </c:pt>
                <c:pt idx="35">
                  <c:v>0.11509668689865633</c:v>
                </c:pt>
                <c:pt idx="36">
                  <c:v>0.11583941498405595</c:v>
                </c:pt>
                <c:pt idx="37">
                  <c:v>0.11400585186048422</c:v>
                </c:pt>
                <c:pt idx="38">
                  <c:v>0.11395403708672987</c:v>
                </c:pt>
                <c:pt idx="39">
                  <c:v>0.11213769326986213</c:v>
                </c:pt>
                <c:pt idx="40">
                  <c:v>0.11678469364306224</c:v>
                </c:pt>
                <c:pt idx="41">
                  <c:v>0.12002733751964496</c:v>
                </c:pt>
                <c:pt idx="42">
                  <c:v>0.11786776274376644</c:v>
                </c:pt>
                <c:pt idx="43">
                  <c:v>0.12128165454230924</c:v>
                </c:pt>
                <c:pt idx="44">
                  <c:v>0.11832815714550646</c:v>
                </c:pt>
                <c:pt idx="45">
                  <c:v>0.11732388349135797</c:v>
                </c:pt>
                <c:pt idx="46">
                  <c:v>0.11571873606383597</c:v>
                </c:pt>
                <c:pt idx="47">
                  <c:v>0.1127047000629279</c:v>
                </c:pt>
                <c:pt idx="48">
                  <c:v>0.11262564882500123</c:v>
                </c:pt>
                <c:pt idx="49">
                  <c:v>0.11716636273442503</c:v>
                </c:pt>
                <c:pt idx="50">
                  <c:v>0.11704497525584724</c:v>
                </c:pt>
                <c:pt idx="51">
                  <c:v>0.10915771030654148</c:v>
                </c:pt>
              </c:numCache>
            </c:numRef>
          </c:xVal>
          <c:yVal>
            <c:numRef>
              <c:f>Sheet1!$B$109:$B$160</c:f>
              <c:numCache>
                <c:formatCode>General</c:formatCode>
                <c:ptCount val="52"/>
                <c:pt idx="0">
                  <c:v>0.17802097185585664</c:v>
                </c:pt>
                <c:pt idx="1">
                  <c:v>0.17260350615442</c:v>
                </c:pt>
                <c:pt idx="2">
                  <c:v>0.1908182123655914</c:v>
                </c:pt>
                <c:pt idx="3">
                  <c:v>0.2053767718431356</c:v>
                </c:pt>
                <c:pt idx="4">
                  <c:v>0.1903469538408094</c:v>
                </c:pt>
                <c:pt idx="5">
                  <c:v>0.18622834490461904</c:v>
                </c:pt>
                <c:pt idx="6">
                  <c:v>0.1955257649123549</c:v>
                </c:pt>
                <c:pt idx="7">
                  <c:v>0.19260207710911936</c:v>
                </c:pt>
                <c:pt idx="8">
                  <c:v>0.18238248229826257</c:v>
                </c:pt>
                <c:pt idx="9">
                  <c:v>0.18989008472635677</c:v>
                </c:pt>
                <c:pt idx="10">
                  <c:v>0.19436705194339465</c:v>
                </c:pt>
                <c:pt idx="11">
                  <c:v>0.1953908232455593</c:v>
                </c:pt>
                <c:pt idx="12">
                  <c:v>0.19392331353166312</c:v>
                </c:pt>
                <c:pt idx="13">
                  <c:v>0.19547250296904917</c:v>
                </c:pt>
                <c:pt idx="14">
                  <c:v>0.19394758459866973</c:v>
                </c:pt>
                <c:pt idx="15">
                  <c:v>0.186550055192324</c:v>
                </c:pt>
                <c:pt idx="16">
                  <c:v>0.17574328415283133</c:v>
                </c:pt>
                <c:pt idx="17">
                  <c:v>0.17712701203841472</c:v>
                </c:pt>
                <c:pt idx="18">
                  <c:v>0.17935530898193894</c:v>
                </c:pt>
                <c:pt idx="19">
                  <c:v>0.18094147206621342</c:v>
                </c:pt>
                <c:pt idx="20">
                  <c:v>0.16802036610498242</c:v>
                </c:pt>
                <c:pt idx="21">
                  <c:v>0.18832418904610645</c:v>
                </c:pt>
                <c:pt idx="22">
                  <c:v>0.16631099039674072</c:v>
                </c:pt>
                <c:pt idx="23">
                  <c:v>0.1754661532225375</c:v>
                </c:pt>
                <c:pt idx="24">
                  <c:v>0.1894596397598399</c:v>
                </c:pt>
                <c:pt idx="25">
                  <c:v>0.1797612506867789</c:v>
                </c:pt>
                <c:pt idx="26">
                  <c:v>0.17359107520677053</c:v>
                </c:pt>
                <c:pt idx="27">
                  <c:v>0.17504155478839023</c:v>
                </c:pt>
                <c:pt idx="28">
                  <c:v>0.1650057115846693</c:v>
                </c:pt>
                <c:pt idx="29">
                  <c:v>0.16573712585982525</c:v>
                </c:pt>
                <c:pt idx="30">
                  <c:v>0.1741023903996903</c:v>
                </c:pt>
                <c:pt idx="31">
                  <c:v>0.16851621285118823</c:v>
                </c:pt>
                <c:pt idx="32">
                  <c:v>0.1653202538949798</c:v>
                </c:pt>
                <c:pt idx="33">
                  <c:v>0.18113479147506897</c:v>
                </c:pt>
                <c:pt idx="34">
                  <c:v>0.20092111034525972</c:v>
                </c:pt>
                <c:pt idx="35">
                  <c:v>0.19210507060803395</c:v>
                </c:pt>
                <c:pt idx="36">
                  <c:v>0.17825081976025373</c:v>
                </c:pt>
                <c:pt idx="37">
                  <c:v>0.16967456340905773</c:v>
                </c:pt>
                <c:pt idx="38">
                  <c:v>0.16960600375234522</c:v>
                </c:pt>
                <c:pt idx="39">
                  <c:v>0.18535355622597843</c:v>
                </c:pt>
                <c:pt idx="40">
                  <c:v>0.17469904101203837</c:v>
                </c:pt>
                <c:pt idx="41">
                  <c:v>0.1779274968418635</c:v>
                </c:pt>
                <c:pt idx="42">
                  <c:v>0.17411245116358076</c:v>
                </c:pt>
                <c:pt idx="43">
                  <c:v>0.17360419144354086</c:v>
                </c:pt>
                <c:pt idx="44">
                  <c:v>0.1737144383598237</c:v>
                </c:pt>
                <c:pt idx="45">
                  <c:v>0.19012611441684774</c:v>
                </c:pt>
                <c:pt idx="46">
                  <c:v>0.19959677419354838</c:v>
                </c:pt>
                <c:pt idx="47">
                  <c:v>0.19990393632350587</c:v>
                </c:pt>
                <c:pt idx="48">
                  <c:v>0.19524801357710406</c:v>
                </c:pt>
                <c:pt idx="49">
                  <c:v>0.20261610043016418</c:v>
                </c:pt>
                <c:pt idx="50">
                  <c:v>0.21060356975105685</c:v>
                </c:pt>
                <c:pt idx="51">
                  <c:v>0.1990467903334256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2600589829889304</c:v>
                </c:pt>
              </c:numCache>
            </c:numRef>
          </c:xVal>
          <c:yVal>
            <c:numRef>
              <c:f>Sheet1!$B$163:$B$164</c:f>
              <c:numCache>
                <c:formatCode>General</c:formatCode>
                <c:ptCount val="2"/>
                <c:pt idx="0">
                  <c:v>0.23596686533480357</c:v>
                </c:pt>
                <c:pt idx="1">
                  <c:v>0.2359668653348035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2600589829889304</c:v>
                </c:pt>
                <c:pt idx="1">
                  <c:v>0.02600589829889304</c:v>
                </c:pt>
              </c:numCache>
            </c:numRef>
          </c:xVal>
          <c:yVal>
            <c:numRef>
              <c:f>Sheet1!$B$167:$B$168</c:f>
              <c:numCache>
                <c:formatCode>General</c:formatCode>
                <c:ptCount val="2"/>
                <c:pt idx="0">
                  <c:v>0.2359668653348035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261691759421173</c:v>
                </c:pt>
              </c:numCache>
            </c:numRef>
          </c:xVal>
          <c:yVal>
            <c:numRef>
              <c:f>Sheet1!$B$171:$B$172</c:f>
              <c:numCache>
                <c:formatCode>General</c:formatCode>
                <c:ptCount val="2"/>
                <c:pt idx="0">
                  <c:v>0.20187861852293768</c:v>
                </c:pt>
                <c:pt idx="1">
                  <c:v>0.2018786185229376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261691759421173</c:v>
                </c:pt>
                <c:pt idx="1">
                  <c:v>0.08261691759421173</c:v>
                </c:pt>
              </c:numCache>
            </c:numRef>
          </c:xVal>
          <c:yVal>
            <c:numRef>
              <c:f>Sheet1!$B$175:$B$176</c:f>
              <c:numCache>
                <c:formatCode>General</c:formatCode>
                <c:ptCount val="2"/>
                <c:pt idx="0">
                  <c:v>0.2018786185229376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0406186206765193</c:v>
                </c:pt>
              </c:numCache>
            </c:numRef>
          </c:xVal>
          <c:yVal>
            <c:numRef>
              <c:f>Sheet1!$B$179:$B$180</c:f>
              <c:numCache>
                <c:formatCode>General</c:formatCode>
                <c:ptCount val="2"/>
                <c:pt idx="0">
                  <c:v>0.18896557492865215</c:v>
                </c:pt>
                <c:pt idx="1">
                  <c:v>0.1889655749286521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0406186206765193</c:v>
                </c:pt>
                <c:pt idx="1">
                  <c:v>0.10406186206765193</c:v>
                </c:pt>
              </c:numCache>
            </c:numRef>
          </c:xVal>
          <c:yVal>
            <c:numRef>
              <c:f>Sheet1!$B$183:$B$184</c:f>
              <c:numCache>
                <c:formatCode>General</c:formatCode>
                <c:ptCount val="2"/>
                <c:pt idx="0">
                  <c:v>0.188965574928652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472940506475111</c:v>
                </c:pt>
                <c:pt idx="1">
                  <c:v>0.11906274390310362</c:v>
                </c:pt>
                <c:pt idx="2">
                  <c:v>0.1161665648739643</c:v>
                </c:pt>
                <c:pt idx="3">
                  <c:v>0.11454985035564462</c:v>
                </c:pt>
                <c:pt idx="4">
                  <c:v>0.11449163297450499</c:v>
                </c:pt>
                <c:pt idx="5">
                  <c:v>0.10815563823142704</c:v>
                </c:pt>
                <c:pt idx="6">
                  <c:v>0.10234248797240796</c:v>
                </c:pt>
                <c:pt idx="7">
                  <c:v>0.10644056737799232</c:v>
                </c:pt>
                <c:pt idx="8">
                  <c:v>0.11231876709921845</c:v>
                </c:pt>
                <c:pt idx="9">
                  <c:v>0.11058876897206615</c:v>
                </c:pt>
                <c:pt idx="10">
                  <c:v>0.11148826692066278</c:v>
                </c:pt>
                <c:pt idx="11">
                  <c:v>0.10346076452917194</c:v>
                </c:pt>
                <c:pt idx="12">
                  <c:v>0.1063737824434978</c:v>
                </c:pt>
                <c:pt idx="13">
                  <c:v>0.10763537292649433</c:v>
                </c:pt>
                <c:pt idx="14">
                  <c:v>0.1073770783300555</c:v>
                </c:pt>
                <c:pt idx="15">
                  <c:v>0.1061257759336403</c:v>
                </c:pt>
                <c:pt idx="16">
                  <c:v>0.10994580527260069</c:v>
                </c:pt>
                <c:pt idx="17">
                  <c:v>0.10638413452895416</c:v>
                </c:pt>
                <c:pt idx="18">
                  <c:v>0.10574421493281155</c:v>
                </c:pt>
                <c:pt idx="19">
                  <c:v>0.11577528009189078</c:v>
                </c:pt>
                <c:pt idx="20">
                  <c:v>0.11298550543408335</c:v>
                </c:pt>
                <c:pt idx="21">
                  <c:v>0.10221207390542877</c:v>
                </c:pt>
                <c:pt idx="22">
                  <c:v>0.11253556991853013</c:v>
                </c:pt>
                <c:pt idx="23">
                  <c:v>0.11390277569116557</c:v>
                </c:pt>
                <c:pt idx="24">
                  <c:v>0.1089009145069108</c:v>
                </c:pt>
                <c:pt idx="25">
                  <c:v>0.10872500559853071</c:v>
                </c:pt>
                <c:pt idx="26">
                  <c:v>0.10842026941842389</c:v>
                </c:pt>
                <c:pt idx="27">
                  <c:v>0.108368381444172</c:v>
                </c:pt>
                <c:pt idx="28">
                  <c:v>0.11429655015004012</c:v>
                </c:pt>
                <c:pt idx="29">
                  <c:v>0.11524506098193411</c:v>
                </c:pt>
                <c:pt idx="30">
                  <c:v>0.11660471736125037</c:v>
                </c:pt>
                <c:pt idx="31">
                  <c:v>0.11386870508651224</c:v>
                </c:pt>
                <c:pt idx="32">
                  <c:v>0.11717775335086034</c:v>
                </c:pt>
                <c:pt idx="33">
                  <c:v>0.11906752158776206</c:v>
                </c:pt>
                <c:pt idx="34">
                  <c:v>0.11558871161845946</c:v>
                </c:pt>
                <c:pt idx="35">
                  <c:v>0.11509668689865633</c:v>
                </c:pt>
                <c:pt idx="36">
                  <c:v>0.11583941498405595</c:v>
                </c:pt>
                <c:pt idx="37">
                  <c:v>0.11400585186048422</c:v>
                </c:pt>
                <c:pt idx="38">
                  <c:v>0.11395403708672987</c:v>
                </c:pt>
                <c:pt idx="39">
                  <c:v>0.11213769326986213</c:v>
                </c:pt>
                <c:pt idx="40">
                  <c:v>0.11678469364306224</c:v>
                </c:pt>
                <c:pt idx="41">
                  <c:v>0.12002733751964496</c:v>
                </c:pt>
                <c:pt idx="42">
                  <c:v>0.11786776274376644</c:v>
                </c:pt>
                <c:pt idx="43">
                  <c:v>0.12128165454230924</c:v>
                </c:pt>
                <c:pt idx="44">
                  <c:v>0.11832815714550646</c:v>
                </c:pt>
                <c:pt idx="45">
                  <c:v>0.11732388349135797</c:v>
                </c:pt>
                <c:pt idx="46">
                  <c:v>0.11571873606383597</c:v>
                </c:pt>
                <c:pt idx="47">
                  <c:v>0.1127047000629279</c:v>
                </c:pt>
                <c:pt idx="48">
                  <c:v>0.11262564882500123</c:v>
                </c:pt>
                <c:pt idx="49">
                  <c:v>0.11716636273442503</c:v>
                </c:pt>
                <c:pt idx="50">
                  <c:v>0.11704497525584724</c:v>
                </c:pt>
                <c:pt idx="51">
                  <c:v>0.10915771030654148</c:v>
                </c:pt>
                <c:pt idx="52">
                  <c:v>0.08261691759421173</c:v>
                </c:pt>
                <c:pt idx="53">
                  <c:v>0.02600589829889304</c:v>
                </c:pt>
                <c:pt idx="54">
                  <c:v>0.10406186206765193</c:v>
                </c:pt>
              </c:numCache>
            </c:numRef>
          </c:xVal>
          <c:yVal>
            <c:numRef>
              <c:f>Sheet1!$B$187:$B$241</c:f>
              <c:numCache>
                <c:formatCode>General</c:formatCode>
                <c:ptCount val="55"/>
                <c:pt idx="0">
                  <c:v>0.18254212869702108</c:v>
                </c:pt>
                <c:pt idx="1">
                  <c:v>0.1799328147210507</c:v>
                </c:pt>
                <c:pt idx="2">
                  <c:v>0.18167674490965297</c:v>
                </c:pt>
                <c:pt idx="3">
                  <c:v>0.18265024731626595</c:v>
                </c:pt>
                <c:pt idx="4">
                  <c:v>0.18268530283163614</c:v>
                </c:pt>
                <c:pt idx="5">
                  <c:v>0.1865005132851703</c:v>
                </c:pt>
                <c:pt idx="6">
                  <c:v>0.19000089365723494</c:v>
                </c:pt>
                <c:pt idx="7">
                  <c:v>0.1875332408226615</c:v>
                </c:pt>
                <c:pt idx="8">
                  <c:v>0.18399369100708052</c:v>
                </c:pt>
                <c:pt idx="9">
                  <c:v>0.18503540698175314</c:v>
                </c:pt>
                <c:pt idx="10">
                  <c:v>0.1844937755386135</c:v>
                </c:pt>
                <c:pt idx="11">
                  <c:v>0.18932752497839106</c:v>
                </c:pt>
                <c:pt idx="12">
                  <c:v>0.18757345527841063</c:v>
                </c:pt>
                <c:pt idx="13">
                  <c:v>0.18681379031750356</c:v>
                </c:pt>
                <c:pt idx="14">
                  <c:v>0.18696932205078054</c:v>
                </c:pt>
                <c:pt idx="15">
                  <c:v>0.18772279205461084</c:v>
                </c:pt>
                <c:pt idx="16">
                  <c:v>0.18542256668230744</c:v>
                </c:pt>
                <c:pt idx="17">
                  <c:v>0.18756722178449994</c:v>
                </c:pt>
                <c:pt idx="18">
                  <c:v>0.18795254848245718</c:v>
                </c:pt>
                <c:pt idx="19">
                  <c:v>0.1819123564988997</c:v>
                </c:pt>
                <c:pt idx="20">
                  <c:v>0.18359221544276955</c:v>
                </c:pt>
                <c:pt idx="21">
                  <c:v>0.19007942230692654</c:v>
                </c:pt>
                <c:pt idx="22">
                  <c:v>0.18386314348989746</c:v>
                </c:pt>
                <c:pt idx="23">
                  <c:v>0.18303988242870584</c:v>
                </c:pt>
                <c:pt idx="24">
                  <c:v>0.1860517462087609</c:v>
                </c:pt>
                <c:pt idx="25">
                  <c:v>0.18615766951415105</c:v>
                </c:pt>
                <c:pt idx="26">
                  <c:v>0.18634116598267064</c:v>
                </c:pt>
                <c:pt idx="27">
                  <c:v>0.18637241025445528</c:v>
                </c:pt>
                <c:pt idx="28">
                  <c:v>0.18280277168402376</c:v>
                </c:pt>
                <c:pt idx="29">
                  <c:v>0.18223162720113323</c:v>
                </c:pt>
                <c:pt idx="30">
                  <c:v>0.18141291199666607</c:v>
                </c:pt>
                <c:pt idx="31">
                  <c:v>0.18306039799607962</c:v>
                </c:pt>
                <c:pt idx="32">
                  <c:v>0.18106785916968893</c:v>
                </c:pt>
                <c:pt idx="33">
                  <c:v>0.17992993784485498</c:v>
                </c:pt>
                <c:pt idx="34">
                  <c:v>0.18202469844661245</c:v>
                </c:pt>
                <c:pt idx="35">
                  <c:v>0.18232097044974835</c:v>
                </c:pt>
                <c:pt idx="36">
                  <c:v>0.18187373776246657</c:v>
                </c:pt>
                <c:pt idx="37">
                  <c:v>0.18297781525620316</c:v>
                </c:pt>
                <c:pt idx="38">
                  <c:v>0.1830090154504096</c:v>
                </c:pt>
                <c:pt idx="39">
                  <c:v>0.1841027243624785</c:v>
                </c:pt>
                <c:pt idx="40">
                  <c:v>0.1813045395280009</c:v>
                </c:pt>
                <c:pt idx="41">
                  <c:v>0.1793519860116738</c:v>
                </c:pt>
                <c:pt idx="42">
                  <c:v>0.18065237097002967</c:v>
                </c:pt>
                <c:pt idx="43">
                  <c:v>0.17859670075482553</c:v>
                </c:pt>
                <c:pt idx="44">
                  <c:v>0.18037514511907926</c:v>
                </c:pt>
                <c:pt idx="45">
                  <c:v>0.18097986710810904</c:v>
                </c:pt>
                <c:pt idx="46">
                  <c:v>0.18194640440702897</c:v>
                </c:pt>
                <c:pt idx="47">
                  <c:v>0.18376130200784463</c:v>
                </c:pt>
                <c:pt idx="48">
                  <c:v>0.18380890260120564</c:v>
                </c:pt>
                <c:pt idx="49">
                  <c:v>0.1810747180135893</c:v>
                </c:pt>
                <c:pt idx="50">
                  <c:v>0.18114781131558486</c:v>
                </c:pt>
                <c:pt idx="51">
                  <c:v>0.18589711697390476</c:v>
                </c:pt>
                <c:pt idx="52">
                  <c:v>0.20187861852293768</c:v>
                </c:pt>
                <c:pt idx="53">
                  <c:v>0.23596686533480357</c:v>
                </c:pt>
                <c:pt idx="54">
                  <c:v>0.188965574928652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8877665185564"/>
          <c:min val="0.1210273009923761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4387.0</c:v>
                </c:pt>
                <c:pt idx="18">
                  <c:v>3807.0</c:v>
                </c:pt>
                <c:pt idx="19">
                  <c:v>3804.25</c:v>
                </c:pt>
                <c:pt idx="20">
                  <c:v>3359.5</c:v>
                </c:pt>
                <c:pt idx="21">
                  <c:v>4369.8</c:v>
                </c:pt>
                <c:pt idx="22">
                  <c:v>6539.0</c:v>
                </c:pt>
                <c:pt idx="23">
                  <c:v>5053.4</c:v>
                </c:pt>
                <c:pt idx="24">
                  <c:v>3948.1429</c:v>
                </c:pt>
                <c:pt idx="25">
                  <c:v>6402.2</c:v>
                </c:pt>
                <c:pt idx="26">
                  <c:v>7763.5</c:v>
                </c:pt>
                <c:pt idx="27">
                  <c:v>3345.6</c:v>
                </c:pt>
                <c:pt idx="28">
                  <c:v>7017.25</c:v>
                </c:pt>
                <c:pt idx="29">
                  <c:v>3873.25</c:v>
                </c:pt>
                <c:pt idx="30">
                  <c:v>5011.5</c:v>
                </c:pt>
                <c:pt idx="31">
                  <c:v>5771.0</c:v>
                </c:pt>
                <c:pt idx="32">
                  <c:v>3461.5</c:v>
                </c:pt>
                <c:pt idx="33">
                  <c:v>3505.5833</c:v>
                </c:pt>
                <c:pt idx="34">
                  <c:v>3707.6429</c:v>
                </c:pt>
                <c:pt idx="35">
                  <c:v>6483.0</c:v>
                </c:pt>
                <c:pt idx="36">
                  <c:v>4574.5</c:v>
                </c:pt>
                <c:pt idx="37">
                  <c:v>7663.0</c:v>
                </c:pt>
                <c:pt idx="38">
                  <c:v>5601.0</c:v>
                </c:pt>
                <c:pt idx="39">
                  <c:v>5694.6667</c:v>
                </c:pt>
                <c:pt idx="40">
                  <c:v>5335.6667</c:v>
                </c:pt>
                <c:pt idx="41">
                  <c:v>10645.0</c:v>
                </c:pt>
                <c:pt idx="42">
                  <c:v>5430.5</c:v>
                </c:pt>
                <c:pt idx="43">
                  <c:v>3861.5714</c:v>
                </c:pt>
                <c:pt idx="44">
                  <c:v>4392.6</c:v>
                </c:pt>
                <c:pt idx="45">
                  <c:v>4084.4545</c:v>
                </c:pt>
                <c:pt idx="46">
                  <c:v>3682.6154</c:v>
                </c:pt>
                <c:pt idx="47">
                  <c:v>4401.9</c:v>
                </c:pt>
                <c:pt idx="48">
                  <c:v>3202.1176</c:v>
                </c:pt>
                <c:pt idx="49">
                  <c:v>3614.8333</c:v>
                </c:pt>
                <c:pt idx="50">
                  <c:v>4083.9</c:v>
                </c:pt>
                <c:pt idx="51">
                  <c:v>4174.75</c:v>
                </c:pt>
                <c:pt idx="52">
                  <c:v>3479.2</c:v>
                </c:pt>
                <c:pt idx="53">
                  <c:v>3423.5</c:v>
                </c:pt>
                <c:pt idx="54">
                  <c:v>4202.4</c:v>
                </c:pt>
                <c:pt idx="55">
                  <c:v>15202.0</c:v>
                </c:pt>
                <c:pt idx="56">
                  <c:v>6202.5</c:v>
                </c:pt>
                <c:pt idx="57">
                  <c:v>10480.0</c:v>
                </c:pt>
                <c:pt idx="58">
                  <c:v>4706.5</c:v>
                </c:pt>
                <c:pt idx="59">
                  <c:v>3925.25</c:v>
                </c:pt>
                <c:pt idx="60">
                  <c:v>3984.0</c:v>
                </c:pt>
                <c:pt idx="61">
                  <c:v>3894.25</c:v>
                </c:pt>
                <c:pt idx="62">
                  <c:v>3523.6667</c:v>
                </c:pt>
                <c:pt idx="63">
                  <c:v>2920.0</c:v>
                </c:pt>
                <c:pt idx="64">
                  <c:v>3077.6</c:v>
                </c:pt>
                <c:pt idx="65">
                  <c:v>6638.0</c:v>
                </c:pt>
                <c:pt idx="66">
                  <c:v>10119.0</c:v>
                </c:pt>
                <c:pt idx="67">
                  <c:v>5730.5</c:v>
                </c:pt>
                <c:pt idx="68">
                  <c:v>17630.0</c:v>
                </c:pt>
                <c:pt idx="69">
                  <c:v>5701.0</c:v>
                </c:pt>
                <c:pt idx="70">
                  <c:v>5620.2857</c:v>
                </c:pt>
                <c:pt idx="71">
                  <c:v>6033.2</c:v>
                </c:pt>
                <c:pt idx="72">
                  <c:v>5945.6</c:v>
                </c:pt>
                <c:pt idx="73">
                  <c:v>5831.6</c:v>
                </c:pt>
                <c:pt idx="74">
                  <c:v>5610.1429</c:v>
                </c:pt>
                <c:pt idx="75">
                  <c:v>8324.4</c:v>
                </c:pt>
                <c:pt idx="76">
                  <c:v>8366.5</c:v>
                </c:pt>
                <c:pt idx="77">
                  <c:v>4291.4545</c:v>
                </c:pt>
                <c:pt idx="78">
                  <c:v>22182.0</c:v>
                </c:pt>
                <c:pt idx="79">
                  <c:v>18169.0</c:v>
                </c:pt>
                <c:pt idx="80">
                  <c:v>17887.0</c:v>
                </c:pt>
                <c:pt idx="81">
                  <c:v>11855.0</c:v>
                </c:pt>
                <c:pt idx="82">
                  <c:v>14450.0</c:v>
                </c:pt>
                <c:pt idx="83">
                  <c:v>17175.0</c:v>
                </c:pt>
                <c:pt idx="84">
                  <c:v>6509.5</c:v>
                </c:pt>
                <c:pt idx="85">
                  <c:v>11668.0</c:v>
                </c:pt>
                <c:pt idx="86">
                  <c:v>5744.6667</c:v>
                </c:pt>
                <c:pt idx="87">
                  <c:v>10423.0</c:v>
                </c:pt>
              </c:numCache>
            </c:numRef>
          </c:xVal>
          <c:yVal>
            <c:numRef>
              <c:f>Sheet1!$B$2:$B$89</c:f>
              <c:numCache>
                <c:formatCode>General</c:formatCode>
                <c:ptCount val="88"/>
                <c:pt idx="0">
                  <c:v>0.0011991434689507495</c:v>
                </c:pt>
                <c:pt idx="1">
                  <c:v>0.00028042624789680314</c:v>
                </c:pt>
                <c:pt idx="2">
                  <c:v>0.0002781125428756837</c:v>
                </c:pt>
                <c:pt idx="3">
                  <c:v>0.00019022256039566293</c:v>
                </c:pt>
                <c:pt idx="4">
                  <c:v>0.00021652051531882645</c:v>
                </c:pt>
                <c:pt idx="5">
                  <c:v>0.0005534646889528448</c:v>
                </c:pt>
                <c:pt idx="6">
                  <c:v>0.000636604774535809</c:v>
                </c:pt>
                <c:pt idx="7">
                  <c:v>0.0008277166844034528</c:v>
                </c:pt>
                <c:pt idx="8">
                  <c:v>0.00046696240952603317</c:v>
                </c:pt>
                <c:pt idx="9">
                  <c:v>0.0005982650314089142</c:v>
                </c:pt>
                <c:pt idx="10">
                  <c:v>0.0002812675792237015</c:v>
                </c:pt>
                <c:pt idx="11">
                  <c:v>0.0006144123584657246</c:v>
                </c:pt>
                <c:pt idx="12">
                  <c:v>0.0004626773596545342</c:v>
                </c:pt>
                <c:pt idx="13">
                  <c:v>0.0005206525511975009</c:v>
                </c:pt>
                <c:pt idx="14">
                  <c:v>0.00018668906935498925</c:v>
                </c:pt>
                <c:pt idx="15">
                  <c:v>0.0005407743889249405</c:v>
                </c:pt>
                <c:pt idx="16">
                  <c:v>0.0004918234353866962</c:v>
                </c:pt>
                <c:pt idx="17">
                  <c:v>0.00040944452026750374</c:v>
                </c:pt>
                <c:pt idx="18">
                  <c:v>0.0005367686527106817</c:v>
                </c:pt>
                <c:pt idx="19">
                  <c:v>0.0005787874403125452</c:v>
                </c:pt>
                <c:pt idx="20">
                  <c:v>0.00034246575342465754</c:v>
                </c:pt>
                <c:pt idx="21">
                  <c:v>0.000943040362127499</c:v>
                </c:pt>
                <c:pt idx="22">
                  <c:v>0.0005824111822947001</c:v>
                </c:pt>
                <c:pt idx="23">
                  <c:v>0.0009082652134423251</c:v>
                </c:pt>
                <c:pt idx="24">
                  <c:v>0.0014447884416924665</c:v>
                </c:pt>
                <c:pt idx="25">
                  <c:v>0.000847457627118644</c:v>
                </c:pt>
                <c:pt idx="26">
                  <c:v>0.00035174111853675694</c:v>
                </c:pt>
                <c:pt idx="27">
                  <c:v>0.0008799718409010912</c:v>
                </c:pt>
                <c:pt idx="28">
                  <c:v>0.0006350214319733291</c:v>
                </c:pt>
                <c:pt idx="29">
                  <c:v>0.0007874015748031496</c:v>
                </c:pt>
                <c:pt idx="30">
                  <c:v>0.0008008008008008008</c:v>
                </c:pt>
                <c:pt idx="31">
                  <c:v>0.0006087662337662338</c:v>
                </c:pt>
                <c:pt idx="32">
                  <c:v>0.001777145903678692</c:v>
                </c:pt>
                <c:pt idx="33">
                  <c:v>0.001896633475580844</c:v>
                </c:pt>
                <c:pt idx="34">
                  <c:v>0.001708150317227916</c:v>
                </c:pt>
                <c:pt idx="35">
                  <c:v>0.0005660911406736484</c:v>
                </c:pt>
                <c:pt idx="36">
                  <c:v>0.0007027406886858749</c:v>
                </c:pt>
                <c:pt idx="37">
                  <c:v>0.0003351206434316354</c:v>
                </c:pt>
                <c:pt idx="38">
                  <c:v>0.0007473841554559044</c:v>
                </c:pt>
                <c:pt idx="39">
                  <c:v>0.00045676004872107184</c:v>
                </c:pt>
                <c:pt idx="40">
                  <c:v>0.0005029337803855825</c:v>
                </c:pt>
                <c:pt idx="41">
                  <c:v>0.0001405283867341203</c:v>
                </c:pt>
                <c:pt idx="42">
                  <c:v>0.0004873294346978557</c:v>
                </c:pt>
                <c:pt idx="43">
                  <c:v>0.0006576475009394964</c:v>
                </c:pt>
                <c:pt idx="44">
                  <c:v>0.00043825050398807957</c:v>
                </c:pt>
                <c:pt idx="45">
                  <c:v>0.0009446114212108201</c:v>
                </c:pt>
                <c:pt idx="46">
                  <c:v>0.0011339846475924634</c:v>
                </c:pt>
                <c:pt idx="47">
                  <c:v>0.0006391409945033875</c:v>
                </c:pt>
                <c:pt idx="48">
                  <c:v>0.0007207359986433205</c:v>
                </c:pt>
                <c:pt idx="49">
                  <c:v>0.0008355964069354502</c:v>
                </c:pt>
                <c:pt idx="50">
                  <c:v>0.0007998080460689434</c:v>
                </c:pt>
                <c:pt idx="51">
                  <c:v>0.00027660604384205796</c:v>
                </c:pt>
                <c:pt idx="52">
                  <c:v>0.00046048996131884323</c:v>
                </c:pt>
                <c:pt idx="53">
                  <c:v>0.0010156408693885843</c:v>
                </c:pt>
                <c:pt idx="54">
                  <c:v>0.000524824183898394</c:v>
                </c:pt>
                <c:pt idx="55">
                  <c:v>9.974067424695791e-05</c:v>
                </c:pt>
                <c:pt idx="56">
                  <c:v>0.0001799694052011158</c:v>
                </c:pt>
                <c:pt idx="57">
                  <c:v>8.116224332440549e-05</c:v>
                </c:pt>
                <c:pt idx="58">
                  <c:v>0.00021578464692237147</c:v>
                </c:pt>
                <c:pt idx="59">
                  <c:v>0.00022507314877335134</c:v>
                </c:pt>
                <c:pt idx="60">
                  <c:v>0.000373440884308014</c:v>
                </c:pt>
                <c:pt idx="61">
                  <c:v>0.00030483158055174517</c:v>
                </c:pt>
                <c:pt idx="62">
                  <c:v>0.0003925417075564279</c:v>
                </c:pt>
                <c:pt idx="63">
                  <c:v>0.0005675368898978433</c:v>
                </c:pt>
                <c:pt idx="64">
                  <c:v>0.0003447800303406427</c:v>
                </c:pt>
                <c:pt idx="65">
                  <c:v>7.407956144899622e-05</c:v>
                </c:pt>
                <c:pt idx="66">
                  <c:v>7.678722260615834e-05</c:v>
                </c:pt>
                <c:pt idx="67">
                  <c:v>0.00023070711731456916</c:v>
                </c:pt>
                <c:pt idx="68">
                  <c:v>0.00011132138483802739</c:v>
                </c:pt>
                <c:pt idx="69">
                  <c:v>0.0005693463903438852</c:v>
                </c:pt>
                <c:pt idx="70">
                  <c:v>0.0008230452674897119</c:v>
                </c:pt>
                <c:pt idx="71">
                  <c:v>0.0006932889628397116</c:v>
                </c:pt>
                <c:pt idx="72">
                  <c:v>0.0007217090069284065</c:v>
                </c:pt>
                <c:pt idx="73">
                  <c:v>0.0007265329845975008</c:v>
                </c:pt>
                <c:pt idx="74">
                  <c:v>0.0011488593467914</c:v>
                </c:pt>
                <c:pt idx="75">
                  <c:v>0.0008382229673093043</c:v>
                </c:pt>
                <c:pt idx="76">
                  <c:v>0.0006619228859837829</c:v>
                </c:pt>
                <c:pt idx="77">
                  <c:v>0.0014915254237288136</c:v>
                </c:pt>
                <c:pt idx="78">
                  <c:v>0.00016943409013893597</c:v>
                </c:pt>
                <c:pt idx="79">
                  <c:v>0.00021222410865874363</c:v>
                </c:pt>
                <c:pt idx="80">
                  <c:v>0.00021235931195582927</c:v>
                </c:pt>
                <c:pt idx="81">
                  <c:v>7.328154770628756e-05</c:v>
                </c:pt>
                <c:pt idx="82">
                  <c:v>5.774672287347693e-05</c:v>
                </c:pt>
                <c:pt idx="83">
                  <c:v>3.8968124074507054e-05</c:v>
                </c:pt>
                <c:pt idx="84">
                  <c:v>0.00012721027859051011</c:v>
                </c:pt>
                <c:pt idx="85">
                  <c:v>6.444544692917445e-05</c:v>
                </c:pt>
                <c:pt idx="86">
                  <c:v>0.00020827547903360177</c:v>
                </c:pt>
                <c:pt idx="87">
                  <c:v>7.61266747868453e-05</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6.82081713389264e-05</c:v>
                </c:pt>
                <c:pt idx="21">
                  <c:v>0.00014652014652014652</c:v>
                </c:pt>
                <c:pt idx="22">
                  <c:v>0.0</c:v>
                </c:pt>
                <c:pt idx="23">
                  <c:v>0.0</c:v>
                </c:pt>
                <c:pt idx="24">
                  <c:v>0.00010640561821664184</c:v>
                </c:pt>
                <c:pt idx="25">
                  <c:v>0.0</c:v>
                </c:pt>
                <c:pt idx="26">
                  <c:v>0.0001932367149758454</c:v>
                </c:pt>
                <c:pt idx="27">
                  <c:v>8.98069151324652e-05</c:v>
                </c:pt>
                <c:pt idx="28">
                  <c:v>0.00015350372246526978</c:v>
                </c:pt>
                <c:pt idx="29">
                  <c:v>0.0</c:v>
                </c:pt>
                <c:pt idx="30">
                  <c:v>0.0</c:v>
                </c:pt>
                <c:pt idx="31">
                  <c:v>8.553588230262595e-05</c:v>
                </c:pt>
                <c:pt idx="32">
                  <c:v>8.918219923303308e-05</c:v>
                </c:pt>
                <c:pt idx="33">
                  <c:v>0.00019843238416509574</c:v>
                </c:pt>
                <c:pt idx="34">
                  <c:v>0.0</c:v>
                </c:pt>
                <c:pt idx="35">
                  <c:v>0.0</c:v>
                </c:pt>
                <c:pt idx="36">
                  <c:v>0.00011122233344455567</c:v>
                </c:pt>
                <c:pt idx="37">
                  <c:v>0.0</c:v>
                </c:pt>
                <c:pt idx="38">
                  <c:v>0.0003213883978788366</c:v>
                </c:pt>
                <c:pt idx="39">
                  <c:v>0.0003180155827635554</c:v>
                </c:pt>
                <c:pt idx="40">
                  <c:v>0.00015946420028703555</c:v>
                </c:pt>
                <c:pt idx="41">
                  <c:v>0.00014990256333383302</c:v>
                </c:pt>
                <c:pt idx="42">
                  <c:v>0.00047244094488188977</c:v>
                </c:pt>
                <c:pt idx="43">
                  <c:v>0.0007918910357934748</c:v>
                </c:pt>
                <c:pt idx="44">
                  <c:v>0.0002881014116969173</c:v>
                </c:pt>
                <c:pt idx="45">
                  <c:v>0.0002621231979030144</c:v>
                </c:pt>
                <c:pt idx="46">
                  <c:v>0.00031660598385309483</c:v>
                </c:pt>
                <c:pt idx="47">
                  <c:v>0.00016561775422325274</c:v>
                </c:pt>
                <c:pt idx="48">
                  <c:v>0.0</c:v>
                </c:pt>
                <c:pt idx="49">
                  <c:v>0.00016857720836142953</c:v>
                </c:pt>
                <c:pt idx="50">
                  <c:v>0.0006700167504187605</c:v>
                </c:pt>
                <c:pt idx="51">
                  <c:v>0.0005676013168350551</c:v>
                </c:pt>
                <c:pt idx="52">
                  <c:v>0.000619041723412158</c:v>
                </c:pt>
                <c:pt idx="53">
                  <c:v>0.0</c:v>
                </c:pt>
                <c:pt idx="54">
                  <c:v>0.0</c:v>
                </c:pt>
                <c:pt idx="55">
                  <c:v>0.0</c:v>
                </c:pt>
                <c:pt idx="56">
                  <c:v>0.0</c:v>
                </c:pt>
                <c:pt idx="57">
                  <c:v>0.0001386001386001386</c:v>
                </c:pt>
                <c:pt idx="58">
                  <c:v>0.0001291155584247902</c:v>
                </c:pt>
                <c:pt idx="59">
                  <c:v>0.0001426330052774212</c:v>
                </c:pt>
                <c:pt idx="60">
                  <c:v>0.0</c:v>
                </c:pt>
                <c:pt idx="61">
                  <c:v>0.0</c:v>
                </c:pt>
                <c:pt idx="62">
                  <c:v>0.0</c:v>
                </c:pt>
                <c:pt idx="63">
                  <c:v>0.0</c:v>
                </c:pt>
                <c:pt idx="64">
                  <c:v>0.0</c:v>
                </c:pt>
                <c:pt idx="65">
                  <c:v>0.0</c:v>
                </c:pt>
                <c:pt idx="66">
                  <c:v>0.0</c:v>
                </c:pt>
                <c:pt idx="67">
                  <c:v>0.00014715079277489608</c:v>
                </c:pt>
                <c:pt idx="68">
                  <c:v>5.969080164746613e-0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6086.7831409705</c:v>
                </c:pt>
              </c:numCache>
            </c:numRef>
          </c:xVal>
          <c:yVal>
            <c:numRef>
              <c:f>Sheet1!$B$163:$B$164</c:f>
              <c:numCache>
                <c:formatCode>General</c:formatCode>
                <c:ptCount val="2"/>
                <c:pt idx="0">
                  <c:v>0.0009587265543628102</c:v>
                </c:pt>
                <c:pt idx="1">
                  <c:v>0.000958726554362810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6086.7831409705</c:v>
                </c:pt>
                <c:pt idx="1">
                  <c:v>66086.7831409705</c:v>
                </c:pt>
              </c:numCache>
            </c:numRef>
          </c:xVal>
          <c:yVal>
            <c:numRef>
              <c:f>Sheet1!$B$167:$B$168</c:f>
              <c:numCache>
                <c:formatCode>General</c:formatCode>
                <c:ptCount val="2"/>
                <c:pt idx="0">
                  <c:v>0.0009587265543628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20133.493543690813</c:v>
                </c:pt>
              </c:numCache>
            </c:numRef>
          </c:xVal>
          <c:yVal>
            <c:numRef>
              <c:f>Sheet1!$B$171:$B$172</c:f>
              <c:numCache>
                <c:formatCode>General</c:formatCode>
                <c:ptCount val="2"/>
                <c:pt idx="0">
                  <c:v>0.0003331044577193318</c:v>
                </c:pt>
                <c:pt idx="1">
                  <c:v>0.000333104457719331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20133.493543690813</c:v>
                </c:pt>
                <c:pt idx="1">
                  <c:v>20133.493543690813</c:v>
                </c:pt>
              </c:numCache>
            </c:numRef>
          </c:xVal>
          <c:yVal>
            <c:numRef>
              <c:f>Sheet1!$B$175:$B$176</c:f>
              <c:numCache>
                <c:formatCode>General</c:formatCode>
                <c:ptCount val="2"/>
                <c:pt idx="0">
                  <c:v>0.00033310445771933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46.518490092828</c:v>
                </c:pt>
              </c:numCache>
            </c:numRef>
          </c:xVal>
          <c:yVal>
            <c:numRef>
              <c:f>Sheet1!$B$179:$B$180</c:f>
              <c:numCache>
                <c:formatCode>General</c:formatCode>
                <c:ptCount val="2"/>
                <c:pt idx="0">
                  <c:v>4.747617667113171e-05</c:v>
                </c:pt>
                <c:pt idx="1">
                  <c:v>4.747617667113171e-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46.518490092828</c:v>
                </c:pt>
                <c:pt idx="1">
                  <c:v>-846.518490092828</c:v>
                </c:pt>
              </c:numCache>
            </c:numRef>
          </c:xVal>
          <c:yVal>
            <c:numRef>
              <c:f>Sheet1!$B$183:$B$184</c:f>
              <c:numCache>
                <c:formatCode>General</c:formatCode>
                <c:ptCount val="2"/>
                <c:pt idx="0">
                  <c:v>4.747617667113171e-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pt idx="69">
                  <c:v>20133.493543690813</c:v>
                </c:pt>
                <c:pt idx="70">
                  <c:v>66086.7831409705</c:v>
                </c:pt>
                <c:pt idx="71">
                  <c:v>-846.518490092828</c:v>
                </c:pt>
              </c:numCache>
            </c:numRef>
          </c:xVal>
          <c:yVal>
            <c:numRef>
              <c:f>Sheet1!$B$187:$B$258</c:f>
              <c:numCache>
                <c:formatCode>General</c:formatCode>
                <c:ptCount val="72"/>
                <c:pt idx="0">
                  <c:v>5.900093751547173e-05</c:v>
                </c:pt>
                <c:pt idx="1">
                  <c:v>5.900093751547173e-05</c:v>
                </c:pt>
                <c:pt idx="2">
                  <c:v>5.900093751547173e-05</c:v>
                </c:pt>
                <c:pt idx="3">
                  <c:v>5.900093751547173e-05</c:v>
                </c:pt>
                <c:pt idx="4">
                  <c:v>5.900093751547173e-05</c:v>
                </c:pt>
                <c:pt idx="5">
                  <c:v>5.900093751547173e-05</c:v>
                </c:pt>
                <c:pt idx="6">
                  <c:v>5.900093751547173e-05</c:v>
                </c:pt>
                <c:pt idx="7">
                  <c:v>5.900093751547173e-05</c:v>
                </c:pt>
                <c:pt idx="8">
                  <c:v>5.900093751547173e-05</c:v>
                </c:pt>
                <c:pt idx="9">
                  <c:v>5.900093751547173e-05</c:v>
                </c:pt>
                <c:pt idx="10">
                  <c:v>5.900093751547173e-05</c:v>
                </c:pt>
                <c:pt idx="11">
                  <c:v>5.900093751547173e-05</c:v>
                </c:pt>
                <c:pt idx="12">
                  <c:v>5.900093751547173e-05</c:v>
                </c:pt>
                <c:pt idx="13">
                  <c:v>5.900093751547173e-05</c:v>
                </c:pt>
                <c:pt idx="14">
                  <c:v>5.900093751547173e-05</c:v>
                </c:pt>
                <c:pt idx="15">
                  <c:v>5.900093751547173e-05</c:v>
                </c:pt>
                <c:pt idx="16">
                  <c:v>5.900093751547173e-05</c:v>
                </c:pt>
                <c:pt idx="17">
                  <c:v>5.900093751547173e-05</c:v>
                </c:pt>
                <c:pt idx="18">
                  <c:v>5.900093751547173e-05</c:v>
                </c:pt>
                <c:pt idx="19">
                  <c:v>5.900093751547173e-05</c:v>
                </c:pt>
                <c:pt idx="20">
                  <c:v>0.00021126332373808647</c:v>
                </c:pt>
                <c:pt idx="21">
                  <c:v>0.0001442741363803991</c:v>
                </c:pt>
                <c:pt idx="22">
                  <c:v>5.900093751547173e-05</c:v>
                </c:pt>
                <c:pt idx="23">
                  <c:v>5.900093751547173e-05</c:v>
                </c:pt>
                <c:pt idx="24">
                  <c:v>0.00018815984828925088</c:v>
                </c:pt>
                <c:pt idx="25">
                  <c:v>5.900093751547173e-05</c:v>
                </c:pt>
                <c:pt idx="26">
                  <c:v>0.00012655511852732924</c:v>
                </c:pt>
                <c:pt idx="27">
                  <c:v>0.00015781356262310208</c:v>
                </c:pt>
                <c:pt idx="28">
                  <c:v>0.00017652642473531453</c:v>
                </c:pt>
                <c:pt idx="29">
                  <c:v>5.900093751547173e-05</c:v>
                </c:pt>
                <c:pt idx="30">
                  <c:v>5.900093751547173e-05</c:v>
                </c:pt>
                <c:pt idx="31">
                  <c:v>0.0002438423554110762</c:v>
                </c:pt>
                <c:pt idx="32">
                  <c:v>0.00021905070615219015</c:v>
                </c:pt>
                <c:pt idx="33">
                  <c:v>0.0002107936302183547</c:v>
                </c:pt>
                <c:pt idx="34">
                  <c:v>5.900093751547173e-05</c:v>
                </c:pt>
                <c:pt idx="35">
                  <c:v>5.900093751547173e-05</c:v>
                </c:pt>
                <c:pt idx="36">
                  <c:v>0.00021736253234213974</c:v>
                </c:pt>
                <c:pt idx="37">
                  <c:v>5.900093751547173e-05</c:v>
                </c:pt>
                <c:pt idx="38">
                  <c:v>0.00015154417520755182</c:v>
                </c:pt>
                <c:pt idx="39">
                  <c:v>0.00013149030406074284</c:v>
                </c:pt>
                <c:pt idx="40">
                  <c:v>0.0001458329742937118</c:v>
                </c:pt>
                <c:pt idx="41">
                  <c:v>0.00021191681037423504</c:v>
                </c:pt>
                <c:pt idx="42">
                  <c:v>0.00012735382486976543</c:v>
                </c:pt>
                <c:pt idx="43">
                  <c:v>0.00011471067324713658</c:v>
                </c:pt>
                <c:pt idx="44">
                  <c:v>0.00012147017563979825</c:v>
                </c:pt>
                <c:pt idx="45">
                  <c:v>0.00015747320500010802</c:v>
                </c:pt>
                <c:pt idx="46">
                  <c:v>0.00013373666437250354</c:v>
                </c:pt>
                <c:pt idx="47">
                  <c:v>0.00014869197832686175</c:v>
                </c:pt>
                <c:pt idx="48">
                  <c:v>5.900093751547173e-05</c:v>
                </c:pt>
                <c:pt idx="49">
                  <c:v>0.00013880799295511477</c:v>
                </c:pt>
                <c:pt idx="50">
                  <c:v>8.96467378898553e-05</c:v>
                </c:pt>
                <c:pt idx="51">
                  <c:v>8.63793047091125e-05</c:v>
                </c:pt>
                <c:pt idx="52">
                  <c:v>0.0001069450737209045</c:v>
                </c:pt>
                <c:pt idx="53">
                  <c:v>5.900093751547173e-05</c:v>
                </c:pt>
                <c:pt idx="54">
                  <c:v>5.900093751547173e-05</c:v>
                </c:pt>
                <c:pt idx="55">
                  <c:v>5.900093751547173e-05</c:v>
                </c:pt>
                <c:pt idx="56">
                  <c:v>5.900093751547173e-05</c:v>
                </c:pt>
                <c:pt idx="57">
                  <c:v>0.00023063647963890736</c:v>
                </c:pt>
                <c:pt idx="58">
                  <c:v>0.00018603601672176806</c:v>
                </c:pt>
                <c:pt idx="59">
                  <c:v>0.00021994925027689441</c:v>
                </c:pt>
                <c:pt idx="60">
                  <c:v>5.900093751547173e-05</c:v>
                </c:pt>
                <c:pt idx="61">
                  <c:v>5.900093751547173e-05</c:v>
                </c:pt>
                <c:pt idx="62">
                  <c:v>5.900093751547173e-05</c:v>
                </c:pt>
                <c:pt idx="63">
                  <c:v>5.900093751547173e-05</c:v>
                </c:pt>
                <c:pt idx="64">
                  <c:v>5.900093751547173e-05</c:v>
                </c:pt>
                <c:pt idx="65">
                  <c:v>5.900093751547173e-05</c:v>
                </c:pt>
                <c:pt idx="66">
                  <c:v>5.900093751547173e-05</c:v>
                </c:pt>
                <c:pt idx="67">
                  <c:v>0.00012169481167097432</c:v>
                </c:pt>
                <c:pt idx="68">
                  <c:v>0.0002500368641495678</c:v>
                </c:pt>
                <c:pt idx="69">
                  <c:v>0.0003331044577193318</c:v>
                </c:pt>
                <c:pt idx="70">
                  <c:v>0.0009587265543628103</c:v>
                </c:pt>
                <c:pt idx="71">
                  <c:v>4.747617667113171e-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930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275960170697012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0.40416884914622303</c:v>
                </c:pt>
                <c:pt idx="1">
                  <c:v>0.7076684543984809</c:v>
                </c:pt>
                <c:pt idx="2">
                  <c:v>0.7062082679908103</c:v>
                </c:pt>
                <c:pt idx="3">
                  <c:v>0.8478114089127434</c:v>
                </c:pt>
                <c:pt idx="4">
                  <c:v>0.6445342679238509</c:v>
                </c:pt>
                <c:pt idx="5">
                  <c:v>0.49057616324575887</c:v>
                </c:pt>
                <c:pt idx="6">
                  <c:v>0.6381820943898863</c:v>
                </c:pt>
                <c:pt idx="7">
                  <c:v>0.38479890651612864</c:v>
                </c:pt>
                <c:pt idx="8">
                  <c:v>0.5582642963378369</c:v>
                </c:pt>
                <c:pt idx="9">
                  <c:v>0.5238014435980751</c:v>
                </c:pt>
                <c:pt idx="10">
                  <c:v>0.7443411213004102</c:v>
                </c:pt>
                <c:pt idx="11">
                  <c:v>0.48230597803071157</c:v>
                </c:pt>
                <c:pt idx="12">
                  <c:v>0.621511861980778</c:v>
                </c:pt>
                <c:pt idx="13">
                  <c:v>0.551651810275184</c:v>
                </c:pt>
                <c:pt idx="14">
                  <c:v>0.5930633935495974</c:v>
                </c:pt>
                <c:pt idx="15">
                  <c:v>0.357345622397112</c:v>
                </c:pt>
                <c:pt idx="16">
                  <c:v>0.2052546806035249</c:v>
                </c:pt>
                <c:pt idx="17">
                  <c:v>0.39866394960873136</c:v>
                </c:pt>
                <c:pt idx="18">
                  <c:v>0.3553147242869738</c:v>
                </c:pt>
                <c:pt idx="19">
                  <c:v>0.3563518870276139</c:v>
                </c:pt>
                <c:pt idx="20">
                  <c:v>0.30304330073374003</c:v>
                </c:pt>
                <c:pt idx="21">
                  <c:v>0.3840148615807807</c:v>
                </c:pt>
                <c:pt idx="22">
                  <c:v>0.5898404594762465</c:v>
                </c:pt>
                <c:pt idx="23">
                  <c:v>0.43822325937546197</c:v>
                </c:pt>
                <c:pt idx="24">
                  <c:v>0.34852275836562935</c:v>
                </c:pt>
                <c:pt idx="25">
                  <c:v>0.6156581873283173</c:v>
                </c:pt>
                <c:pt idx="26">
                  <c:v>0.7311262652847038</c:v>
                </c:pt>
                <c:pt idx="27">
                  <c:v>0.31666304091775643</c:v>
                </c:pt>
                <c:pt idx="28">
                  <c:v>0.6607519624279141</c:v>
                </c:pt>
                <c:pt idx="29">
                  <c:v>0.3479790755260811</c:v>
                </c:pt>
                <c:pt idx="30">
                  <c:v>0.4611432286759812</c:v>
                </c:pt>
                <c:pt idx="31">
                  <c:v>0.5163358748492741</c:v>
                </c:pt>
                <c:pt idx="32">
                  <c:v>0.3328944268818284</c:v>
                </c:pt>
                <c:pt idx="33">
                  <c:v>0.3267863150643196</c:v>
                </c:pt>
                <c:pt idx="34">
                  <c:v>0.36458156273488546</c:v>
                </c:pt>
                <c:pt idx="35">
                  <c:v>0.6080421722969233</c:v>
                </c:pt>
                <c:pt idx="36">
                  <c:v>0.43373787564205557</c:v>
                </c:pt>
                <c:pt idx="37">
                  <c:v>0.7349379911055528</c:v>
                </c:pt>
                <c:pt idx="38">
                  <c:v>0.5329988677413984</c:v>
                </c:pt>
                <c:pt idx="39">
                  <c:v>0.5531960081565389</c:v>
                </c:pt>
                <c:pt idx="40">
                  <c:v>0.5195534661458954</c:v>
                </c:pt>
                <c:pt idx="41">
                  <c:v>1.0040091703717073</c:v>
                </c:pt>
                <c:pt idx="42">
                  <c:v>0.5250127816273505</c:v>
                </c:pt>
                <c:pt idx="43">
                  <c:v>0.36720109579947774</c:v>
                </c:pt>
                <c:pt idx="44">
                  <c:v>0.4346480667190225</c:v>
                </c:pt>
                <c:pt idx="45">
                  <c:v>0.4115110219334443</c:v>
                </c:pt>
                <c:pt idx="46">
                  <c:v>0.36377164841456194</c:v>
                </c:pt>
                <c:pt idx="47">
                  <c:v>0.4604756612424323</c:v>
                </c:pt>
                <c:pt idx="48">
                  <c:v>0.3719237218733433</c:v>
                </c:pt>
                <c:pt idx="49">
                  <c:v>0.3731652302153691</c:v>
                </c:pt>
                <c:pt idx="50">
                  <c:v>0.42040818351773035</c:v>
                </c:pt>
                <c:pt idx="51">
                  <c:v>0.4371951506991447</c:v>
                </c:pt>
                <c:pt idx="52">
                  <c:v>0.3567757228764056</c:v>
                </c:pt>
                <c:pt idx="53">
                  <c:v>0.3478489032964706</c:v>
                </c:pt>
                <c:pt idx="54">
                  <c:v>0.4218507569638225</c:v>
                </c:pt>
                <c:pt idx="55">
                  <c:v>1.5209025048669982</c:v>
                </c:pt>
                <c:pt idx="56">
                  <c:v>0.6128738850598777</c:v>
                </c:pt>
                <c:pt idx="57">
                  <c:v>1.0340550847063787</c:v>
                </c:pt>
                <c:pt idx="58">
                  <c:v>0.47318318142995347</c:v>
                </c:pt>
                <c:pt idx="59">
                  <c:v>0.39259071575991106</c:v>
                </c:pt>
                <c:pt idx="60">
                  <c:v>0.39029783074934415</c:v>
                </c:pt>
                <c:pt idx="61">
                  <c:v>0.3762195653418489</c:v>
                </c:pt>
                <c:pt idx="62">
                  <c:v>0.3459699893504999</c:v>
                </c:pt>
                <c:pt idx="63">
                  <c:v>0.2961222287091921</c:v>
                </c:pt>
                <c:pt idx="64">
                  <c:v>0.30973747554939857</c:v>
                </c:pt>
                <c:pt idx="65">
                  <c:v>0.6619694294579428</c:v>
                </c:pt>
                <c:pt idx="66">
                  <c:v>0.9816115129498024</c:v>
                </c:pt>
                <c:pt idx="67">
                  <c:v>0.5325229481102317</c:v>
                </c:pt>
                <c:pt idx="68">
                  <c:v>1.6429566801248705</c:v>
                </c:pt>
                <c:pt idx="69">
                  <c:v>0.5200577545984197</c:v>
                </c:pt>
                <c:pt idx="70">
                  <c:v>0.5137775895281873</c:v>
                </c:pt>
                <c:pt idx="71">
                  <c:v>0.5369902979047401</c:v>
                </c:pt>
                <c:pt idx="72">
                  <c:v>0.527011175285445</c:v>
                </c:pt>
                <c:pt idx="73">
                  <c:v>0.5211360916930714</c:v>
                </c:pt>
                <c:pt idx="74">
                  <c:v>0.49253474619018495</c:v>
                </c:pt>
                <c:pt idx="75">
                  <c:v>0.7257175200261037</c:v>
                </c:pt>
                <c:pt idx="76">
                  <c:v>0.7285223423952957</c:v>
                </c:pt>
                <c:pt idx="77">
                  <c:v>0.38540585512376085</c:v>
                </c:pt>
                <c:pt idx="78">
                  <c:v>1.9224981389070512</c:v>
                </c:pt>
                <c:pt idx="79">
                  <c:v>1.5922110741351758</c:v>
                </c:pt>
                <c:pt idx="80">
                  <c:v>1.568487424193684</c:v>
                </c:pt>
                <c:pt idx="81">
                  <c:v>1.035881692297071</c:v>
                </c:pt>
                <c:pt idx="82">
                  <c:v>1.3034801675627814</c:v>
                </c:pt>
                <c:pt idx="83">
                  <c:v>1.602649699239339</c:v>
                </c:pt>
                <c:pt idx="84">
                  <c:v>0.5812715027259129</c:v>
                </c:pt>
                <c:pt idx="85">
                  <c:v>1.0567846302359216</c:v>
                </c:pt>
                <c:pt idx="86">
                  <c:v>0.5159216692245862</c:v>
                </c:pt>
                <c:pt idx="87">
                  <c:v>0.9393986817378553</c:v>
                </c:pt>
              </c:numCache>
            </c:numRef>
          </c:xVal>
          <c:yVal>
            <c:numRef>
              <c:f>Sheet1!$B$2:$B$89</c:f>
              <c:numCache>
                <c:formatCode>General</c:formatCode>
                <c:ptCount val="88"/>
                <c:pt idx="0">
                  <c:v>0.0011991434689507495</c:v>
                </c:pt>
                <c:pt idx="1">
                  <c:v>0.00028042624789680314</c:v>
                </c:pt>
                <c:pt idx="2">
                  <c:v>0.0002781125428756837</c:v>
                </c:pt>
                <c:pt idx="3">
                  <c:v>0.00019022256039566293</c:v>
                </c:pt>
                <c:pt idx="4">
                  <c:v>0.00021652051531882645</c:v>
                </c:pt>
                <c:pt idx="5">
                  <c:v>0.0005534646889528448</c:v>
                </c:pt>
                <c:pt idx="6">
                  <c:v>0.000636604774535809</c:v>
                </c:pt>
                <c:pt idx="7">
                  <c:v>0.0008277166844034528</c:v>
                </c:pt>
                <c:pt idx="8">
                  <c:v>0.00046696240952603317</c:v>
                </c:pt>
                <c:pt idx="9">
                  <c:v>0.0005982650314089142</c:v>
                </c:pt>
                <c:pt idx="10">
                  <c:v>0.0002812675792237015</c:v>
                </c:pt>
                <c:pt idx="11">
                  <c:v>0.0006144123584657246</c:v>
                </c:pt>
                <c:pt idx="12">
                  <c:v>0.0004626773596545342</c:v>
                </c:pt>
                <c:pt idx="13">
                  <c:v>0.0005206525511975009</c:v>
                </c:pt>
                <c:pt idx="14">
                  <c:v>0.00018668906935498925</c:v>
                </c:pt>
                <c:pt idx="15">
                  <c:v>0.0005407743889249405</c:v>
                </c:pt>
                <c:pt idx="16">
                  <c:v>0.0004918234353866962</c:v>
                </c:pt>
                <c:pt idx="17">
                  <c:v>0.00040944452026750374</c:v>
                </c:pt>
                <c:pt idx="18">
                  <c:v>0.0005367686527106817</c:v>
                </c:pt>
                <c:pt idx="19">
                  <c:v>0.0005787874403125452</c:v>
                </c:pt>
                <c:pt idx="20">
                  <c:v>0.00034246575342465754</c:v>
                </c:pt>
                <c:pt idx="21">
                  <c:v>0.000943040362127499</c:v>
                </c:pt>
                <c:pt idx="22">
                  <c:v>0.0005824111822947001</c:v>
                </c:pt>
                <c:pt idx="23">
                  <c:v>0.0009082652134423251</c:v>
                </c:pt>
                <c:pt idx="24">
                  <c:v>0.0014447884416924665</c:v>
                </c:pt>
                <c:pt idx="25">
                  <c:v>0.000847457627118644</c:v>
                </c:pt>
                <c:pt idx="26">
                  <c:v>0.00035174111853675694</c:v>
                </c:pt>
                <c:pt idx="27">
                  <c:v>0.0008799718409010912</c:v>
                </c:pt>
                <c:pt idx="28">
                  <c:v>0.0006350214319733291</c:v>
                </c:pt>
                <c:pt idx="29">
                  <c:v>0.0007874015748031496</c:v>
                </c:pt>
                <c:pt idx="30">
                  <c:v>0.0008008008008008008</c:v>
                </c:pt>
                <c:pt idx="31">
                  <c:v>0.0006087662337662338</c:v>
                </c:pt>
                <c:pt idx="32">
                  <c:v>0.001777145903678692</c:v>
                </c:pt>
                <c:pt idx="33">
                  <c:v>0.001896633475580844</c:v>
                </c:pt>
                <c:pt idx="34">
                  <c:v>0.001708150317227916</c:v>
                </c:pt>
                <c:pt idx="35">
                  <c:v>0.0005660911406736484</c:v>
                </c:pt>
                <c:pt idx="36">
                  <c:v>0.0007027406886858749</c:v>
                </c:pt>
                <c:pt idx="37">
                  <c:v>0.0003351206434316354</c:v>
                </c:pt>
                <c:pt idx="38">
                  <c:v>0.0007473841554559044</c:v>
                </c:pt>
                <c:pt idx="39">
                  <c:v>0.00045676004872107184</c:v>
                </c:pt>
                <c:pt idx="40">
                  <c:v>0.0005029337803855825</c:v>
                </c:pt>
                <c:pt idx="41">
                  <c:v>0.0001405283867341203</c:v>
                </c:pt>
                <c:pt idx="42">
                  <c:v>0.0004873294346978557</c:v>
                </c:pt>
                <c:pt idx="43">
                  <c:v>0.0006576475009394964</c:v>
                </c:pt>
                <c:pt idx="44">
                  <c:v>0.00043825050398807957</c:v>
                </c:pt>
                <c:pt idx="45">
                  <c:v>0.0009446114212108201</c:v>
                </c:pt>
                <c:pt idx="46">
                  <c:v>0.0011339846475924634</c:v>
                </c:pt>
                <c:pt idx="47">
                  <c:v>0.0006391409945033875</c:v>
                </c:pt>
                <c:pt idx="48">
                  <c:v>0.0007207359986433205</c:v>
                </c:pt>
                <c:pt idx="49">
                  <c:v>0.0008355964069354502</c:v>
                </c:pt>
                <c:pt idx="50">
                  <c:v>0.0007998080460689434</c:v>
                </c:pt>
                <c:pt idx="51">
                  <c:v>0.00027660604384205796</c:v>
                </c:pt>
                <c:pt idx="52">
                  <c:v>0.00046048996131884323</c:v>
                </c:pt>
                <c:pt idx="53">
                  <c:v>0.0010156408693885843</c:v>
                </c:pt>
                <c:pt idx="54">
                  <c:v>0.000524824183898394</c:v>
                </c:pt>
                <c:pt idx="55">
                  <c:v>9.974067424695791e-05</c:v>
                </c:pt>
                <c:pt idx="56">
                  <c:v>0.0001799694052011158</c:v>
                </c:pt>
                <c:pt idx="57">
                  <c:v>8.116224332440549e-05</c:v>
                </c:pt>
                <c:pt idx="58">
                  <c:v>0.00021578464692237147</c:v>
                </c:pt>
                <c:pt idx="59">
                  <c:v>0.00022507314877335134</c:v>
                </c:pt>
                <c:pt idx="60">
                  <c:v>0.000373440884308014</c:v>
                </c:pt>
                <c:pt idx="61">
                  <c:v>0.00030483158055174517</c:v>
                </c:pt>
                <c:pt idx="62">
                  <c:v>0.0003925417075564279</c:v>
                </c:pt>
                <c:pt idx="63">
                  <c:v>0.0005675368898978433</c:v>
                </c:pt>
                <c:pt idx="64">
                  <c:v>0.0003447800303406427</c:v>
                </c:pt>
                <c:pt idx="65">
                  <c:v>7.407956144899622e-05</c:v>
                </c:pt>
                <c:pt idx="66">
                  <c:v>7.678722260615834e-05</c:v>
                </c:pt>
                <c:pt idx="67">
                  <c:v>0.00023070711731456916</c:v>
                </c:pt>
                <c:pt idx="68">
                  <c:v>0.00011132138483802739</c:v>
                </c:pt>
                <c:pt idx="69">
                  <c:v>0.0005693463903438852</c:v>
                </c:pt>
                <c:pt idx="70">
                  <c:v>0.0008230452674897119</c:v>
                </c:pt>
                <c:pt idx="71">
                  <c:v>0.0006932889628397116</c:v>
                </c:pt>
                <c:pt idx="72">
                  <c:v>0.0007217090069284065</c:v>
                </c:pt>
                <c:pt idx="73">
                  <c:v>0.0007265329845975008</c:v>
                </c:pt>
                <c:pt idx="74">
                  <c:v>0.0011488593467914</c:v>
                </c:pt>
                <c:pt idx="75">
                  <c:v>0.0008382229673093043</c:v>
                </c:pt>
                <c:pt idx="76">
                  <c:v>0.0006619228859837829</c:v>
                </c:pt>
                <c:pt idx="77">
                  <c:v>0.0014915254237288136</c:v>
                </c:pt>
                <c:pt idx="78">
                  <c:v>0.00016943409013893597</c:v>
                </c:pt>
                <c:pt idx="79">
                  <c:v>0.00021222410865874363</c:v>
                </c:pt>
                <c:pt idx="80">
                  <c:v>0.00021235931195582927</c:v>
                </c:pt>
                <c:pt idx="81">
                  <c:v>7.328154770628756e-05</c:v>
                </c:pt>
                <c:pt idx="82">
                  <c:v>5.774672287347693e-05</c:v>
                </c:pt>
                <c:pt idx="83">
                  <c:v>3.8968124074507054e-05</c:v>
                </c:pt>
                <c:pt idx="84">
                  <c:v>0.00012721027859051011</c:v>
                </c:pt>
                <c:pt idx="85">
                  <c:v>6.444544692917445e-05</c:v>
                </c:pt>
                <c:pt idx="86">
                  <c:v>0.00020827547903360177</c:v>
                </c:pt>
                <c:pt idx="87">
                  <c:v>7.61266747868453e-05</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0385460392594361</c:v>
                </c:pt>
                <c:pt idx="21">
                  <c:v>0.586925498234482</c:v>
                </c:pt>
                <c:pt idx="22">
                  <c:v>0.0</c:v>
                </c:pt>
                <c:pt idx="23">
                  <c:v>0.0</c:v>
                </c:pt>
                <c:pt idx="24">
                  <c:v>0.8326108654673561</c:v>
                </c:pt>
                <c:pt idx="25">
                  <c:v>0.0</c:v>
                </c:pt>
                <c:pt idx="26">
                  <c:v>0.44737603676150745</c:v>
                </c:pt>
                <c:pt idx="27">
                  <c:v>0.6612224499907932</c:v>
                </c:pt>
                <c:pt idx="28">
                  <c:v>0.8004368173563965</c:v>
                </c:pt>
                <c:pt idx="29">
                  <c:v>0.0</c:v>
                </c:pt>
                <c:pt idx="30">
                  <c:v>0.0</c:v>
                </c:pt>
                <c:pt idx="31">
                  <c:v>1.2181776765392205</c:v>
                </c:pt>
                <c:pt idx="32">
                  <c:v>1.0287002288604248</c:v>
                </c:pt>
                <c:pt idx="33">
                  <c:v>0.9775897962194146</c:v>
                </c:pt>
                <c:pt idx="34">
                  <c:v>0.0</c:v>
                </c:pt>
                <c:pt idx="35">
                  <c:v>0.0</c:v>
                </c:pt>
                <c:pt idx="36">
                  <c:v>1.0317508369981094</c:v>
                </c:pt>
                <c:pt idx="37">
                  <c:v>0.0</c:v>
                </c:pt>
                <c:pt idx="38">
                  <c:v>0.5962516415779151</c:v>
                </c:pt>
                <c:pt idx="39">
                  <c:v>0.4711086941678354</c:v>
                </c:pt>
                <c:pt idx="40">
                  <c:v>0.569076460106723</c:v>
                </c:pt>
                <c:pt idx="41">
                  <c:v>0.9750623972221555</c:v>
                </c:pt>
                <c:pt idx="42">
                  <c:v>0.42613662728399804</c:v>
                </c:pt>
                <c:pt idx="43">
                  <c:v>0.3517238793576091</c:v>
                </c:pt>
                <c:pt idx="44">
                  <c:v>0.3978537763511363</c:v>
                </c:pt>
                <c:pt idx="45">
                  <c:v>0.6179880770593965</c:v>
                </c:pt>
                <c:pt idx="46">
                  <c:v>0.4746484344024667</c:v>
                </c:pt>
                <c:pt idx="47">
                  <c:v>0.5718540965486062</c:v>
                </c:pt>
                <c:pt idx="48">
                  <c:v>0.0</c:v>
                </c:pt>
                <c:pt idx="49">
                  <c:v>0.49542589715739294</c:v>
                </c:pt>
                <c:pt idx="50">
                  <c:v>0.1943106413924948</c:v>
                </c:pt>
                <c:pt idx="51">
                  <c:v>0.17580844499318748</c:v>
                </c:pt>
                <c:pt idx="52">
                  <c:v>0.30949160011006566</c:v>
                </c:pt>
                <c:pt idx="53">
                  <c:v>0.0</c:v>
                </c:pt>
                <c:pt idx="54">
                  <c:v>0.0</c:v>
                </c:pt>
                <c:pt idx="55">
                  <c:v>0.0</c:v>
                </c:pt>
                <c:pt idx="56">
                  <c:v>0.0</c:v>
                </c:pt>
                <c:pt idx="57">
                  <c:v>1.128433297691955</c:v>
                </c:pt>
                <c:pt idx="58">
                  <c:v>0.8262106496259429</c:v>
                </c:pt>
                <c:pt idx="59">
                  <c:v>1.0523779040449268</c:v>
                </c:pt>
                <c:pt idx="60">
                  <c:v>0.0</c:v>
                </c:pt>
                <c:pt idx="61">
                  <c:v>0.0</c:v>
                </c:pt>
                <c:pt idx="62">
                  <c:v>0.0</c:v>
                </c:pt>
                <c:pt idx="63">
                  <c:v>0.0</c:v>
                </c:pt>
                <c:pt idx="64">
                  <c:v>0.0</c:v>
                </c:pt>
                <c:pt idx="65">
                  <c:v>0.0</c:v>
                </c:pt>
                <c:pt idx="66">
                  <c:v>0.0</c:v>
                </c:pt>
                <c:pt idx="67">
                  <c:v>0.4608671267531716</c:v>
                </c:pt>
                <c:pt idx="68">
                  <c:v>1.3439260862106364</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6.82081713389264e-05</c:v>
                </c:pt>
                <c:pt idx="21">
                  <c:v>0.00014652014652014652</c:v>
                </c:pt>
                <c:pt idx="22">
                  <c:v>0.0</c:v>
                </c:pt>
                <c:pt idx="23">
                  <c:v>0.0</c:v>
                </c:pt>
                <c:pt idx="24">
                  <c:v>0.00010640561821664184</c:v>
                </c:pt>
                <c:pt idx="25">
                  <c:v>0.0</c:v>
                </c:pt>
                <c:pt idx="26">
                  <c:v>0.0001932367149758454</c:v>
                </c:pt>
                <c:pt idx="27">
                  <c:v>8.98069151324652e-05</c:v>
                </c:pt>
                <c:pt idx="28">
                  <c:v>0.00015350372246526978</c:v>
                </c:pt>
                <c:pt idx="29">
                  <c:v>0.0</c:v>
                </c:pt>
                <c:pt idx="30">
                  <c:v>0.0</c:v>
                </c:pt>
                <c:pt idx="31">
                  <c:v>8.553588230262595e-05</c:v>
                </c:pt>
                <c:pt idx="32">
                  <c:v>8.918219923303308e-05</c:v>
                </c:pt>
                <c:pt idx="33">
                  <c:v>0.00019843238416509574</c:v>
                </c:pt>
                <c:pt idx="34">
                  <c:v>0.0</c:v>
                </c:pt>
                <c:pt idx="35">
                  <c:v>0.0</c:v>
                </c:pt>
                <c:pt idx="36">
                  <c:v>0.00011122233344455567</c:v>
                </c:pt>
                <c:pt idx="37">
                  <c:v>0.0</c:v>
                </c:pt>
                <c:pt idx="38">
                  <c:v>0.0003213883978788366</c:v>
                </c:pt>
                <c:pt idx="39">
                  <c:v>0.0003180155827635554</c:v>
                </c:pt>
                <c:pt idx="40">
                  <c:v>0.00015946420028703555</c:v>
                </c:pt>
                <c:pt idx="41">
                  <c:v>0.00014990256333383302</c:v>
                </c:pt>
                <c:pt idx="42">
                  <c:v>0.00047244094488188977</c:v>
                </c:pt>
                <c:pt idx="43">
                  <c:v>0.0007918910357934748</c:v>
                </c:pt>
                <c:pt idx="44">
                  <c:v>0.0002881014116969173</c:v>
                </c:pt>
                <c:pt idx="45">
                  <c:v>0.0002621231979030144</c:v>
                </c:pt>
                <c:pt idx="46">
                  <c:v>0.00031660598385309483</c:v>
                </c:pt>
                <c:pt idx="47">
                  <c:v>0.00016561775422325274</c:v>
                </c:pt>
                <c:pt idx="48">
                  <c:v>0.0</c:v>
                </c:pt>
                <c:pt idx="49">
                  <c:v>0.00016857720836142953</c:v>
                </c:pt>
                <c:pt idx="50">
                  <c:v>0.0006700167504187605</c:v>
                </c:pt>
                <c:pt idx="51">
                  <c:v>0.0005676013168350551</c:v>
                </c:pt>
                <c:pt idx="52">
                  <c:v>0.000619041723412158</c:v>
                </c:pt>
                <c:pt idx="53">
                  <c:v>0.0</c:v>
                </c:pt>
                <c:pt idx="54">
                  <c:v>0.0</c:v>
                </c:pt>
                <c:pt idx="55">
                  <c:v>0.0</c:v>
                </c:pt>
                <c:pt idx="56">
                  <c:v>0.0</c:v>
                </c:pt>
                <c:pt idx="57">
                  <c:v>0.0001386001386001386</c:v>
                </c:pt>
                <c:pt idx="58">
                  <c:v>0.0001291155584247902</c:v>
                </c:pt>
                <c:pt idx="59">
                  <c:v>0.0001426330052774212</c:v>
                </c:pt>
                <c:pt idx="60">
                  <c:v>0.0</c:v>
                </c:pt>
                <c:pt idx="61">
                  <c:v>0.0</c:v>
                </c:pt>
                <c:pt idx="62">
                  <c:v>0.0</c:v>
                </c:pt>
                <c:pt idx="63">
                  <c:v>0.0</c:v>
                </c:pt>
                <c:pt idx="64">
                  <c:v>0.0</c:v>
                </c:pt>
                <c:pt idx="65">
                  <c:v>0.0</c:v>
                </c:pt>
                <c:pt idx="66">
                  <c:v>0.0</c:v>
                </c:pt>
                <c:pt idx="67">
                  <c:v>0.00014715079277489608</c:v>
                </c:pt>
                <c:pt idx="68">
                  <c:v>5.969080164746613e-0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6.12939709682766</c:v>
                </c:pt>
              </c:numCache>
            </c:numRef>
          </c:xVal>
          <c:yVal>
            <c:numRef>
              <c:f>Sheet1!$B$163:$B$164</c:f>
              <c:numCache>
                <c:formatCode>General</c:formatCode>
                <c:ptCount val="2"/>
                <c:pt idx="0">
                  <c:v>0.0009587265543628102</c:v>
                </c:pt>
                <c:pt idx="1">
                  <c:v>0.000958726554362810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6.12939709682766</c:v>
                </c:pt>
                <c:pt idx="1">
                  <c:v>6.12939709682766</c:v>
                </c:pt>
              </c:numCache>
            </c:numRef>
          </c:xVal>
          <c:yVal>
            <c:numRef>
              <c:f>Sheet1!$B$167:$B$168</c:f>
              <c:numCache>
                <c:formatCode>General</c:formatCode>
                <c:ptCount val="2"/>
                <c:pt idx="0">
                  <c:v>0.0009587265543628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8590951236214914</c:v>
                </c:pt>
              </c:numCache>
            </c:numRef>
          </c:xVal>
          <c:yVal>
            <c:numRef>
              <c:f>Sheet1!$B$171:$B$172</c:f>
              <c:numCache>
                <c:formatCode>General</c:formatCode>
                <c:ptCount val="2"/>
                <c:pt idx="0">
                  <c:v>0.0003331044577193318</c:v>
                </c:pt>
                <c:pt idx="1">
                  <c:v>0.000333104457719331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8590951236214914</c:v>
                </c:pt>
                <c:pt idx="1">
                  <c:v>1.8590951236214914</c:v>
                </c:pt>
              </c:numCache>
            </c:numRef>
          </c:xVal>
          <c:yVal>
            <c:numRef>
              <c:f>Sheet1!$B$175:$B$176</c:f>
              <c:numCache>
                <c:formatCode>General</c:formatCode>
                <c:ptCount val="2"/>
                <c:pt idx="0">
                  <c:v>0.00033310445771933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9051474263406836</c:v>
                </c:pt>
              </c:numCache>
            </c:numRef>
          </c:xVal>
          <c:yVal>
            <c:numRef>
              <c:f>Sheet1!$B$179:$B$180</c:f>
              <c:numCache>
                <c:formatCode>General</c:formatCode>
                <c:ptCount val="2"/>
                <c:pt idx="0">
                  <c:v>4.747617667113171e-05</c:v>
                </c:pt>
                <c:pt idx="1">
                  <c:v>4.747617667113171e-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9051474263406836</c:v>
                </c:pt>
                <c:pt idx="1">
                  <c:v>-0.09051474263406836</c:v>
                </c:pt>
              </c:numCache>
            </c:numRef>
          </c:xVal>
          <c:yVal>
            <c:numRef>
              <c:f>Sheet1!$B$183:$B$184</c:f>
              <c:numCache>
                <c:formatCode>General</c:formatCode>
                <c:ptCount val="2"/>
                <c:pt idx="0">
                  <c:v>4.747617667113171e-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0385460392594361</c:v>
                </c:pt>
                <c:pt idx="21">
                  <c:v>0.586925498234482</c:v>
                </c:pt>
                <c:pt idx="22">
                  <c:v>0.0</c:v>
                </c:pt>
                <c:pt idx="23">
                  <c:v>0.0</c:v>
                </c:pt>
                <c:pt idx="24">
                  <c:v>0.8326108654673561</c:v>
                </c:pt>
                <c:pt idx="25">
                  <c:v>0.0</c:v>
                </c:pt>
                <c:pt idx="26">
                  <c:v>0.44737603676150745</c:v>
                </c:pt>
                <c:pt idx="27">
                  <c:v>0.6612224499907932</c:v>
                </c:pt>
                <c:pt idx="28">
                  <c:v>0.8004368173563965</c:v>
                </c:pt>
                <c:pt idx="29">
                  <c:v>0.0</c:v>
                </c:pt>
                <c:pt idx="30">
                  <c:v>0.0</c:v>
                </c:pt>
                <c:pt idx="31">
                  <c:v>1.2181776765392205</c:v>
                </c:pt>
                <c:pt idx="32">
                  <c:v>1.0287002288604248</c:v>
                </c:pt>
                <c:pt idx="33">
                  <c:v>0.9775897962194146</c:v>
                </c:pt>
                <c:pt idx="34">
                  <c:v>0.0</c:v>
                </c:pt>
                <c:pt idx="35">
                  <c:v>0.0</c:v>
                </c:pt>
                <c:pt idx="36">
                  <c:v>1.0317508369981094</c:v>
                </c:pt>
                <c:pt idx="37">
                  <c:v>0.0</c:v>
                </c:pt>
                <c:pt idx="38">
                  <c:v>0.5962516415779151</c:v>
                </c:pt>
                <c:pt idx="39">
                  <c:v>0.4711086941678354</c:v>
                </c:pt>
                <c:pt idx="40">
                  <c:v>0.569076460106723</c:v>
                </c:pt>
                <c:pt idx="41">
                  <c:v>0.9750623972221555</c:v>
                </c:pt>
                <c:pt idx="42">
                  <c:v>0.42613662728399804</c:v>
                </c:pt>
                <c:pt idx="43">
                  <c:v>0.3517238793576091</c:v>
                </c:pt>
                <c:pt idx="44">
                  <c:v>0.3978537763511363</c:v>
                </c:pt>
                <c:pt idx="45">
                  <c:v>0.6179880770593965</c:v>
                </c:pt>
                <c:pt idx="46">
                  <c:v>0.4746484344024667</c:v>
                </c:pt>
                <c:pt idx="47">
                  <c:v>0.5718540965486062</c:v>
                </c:pt>
                <c:pt idx="48">
                  <c:v>0.0</c:v>
                </c:pt>
                <c:pt idx="49">
                  <c:v>0.49542589715739294</c:v>
                </c:pt>
                <c:pt idx="50">
                  <c:v>0.1943106413924948</c:v>
                </c:pt>
                <c:pt idx="51">
                  <c:v>0.17580844499318748</c:v>
                </c:pt>
                <c:pt idx="52">
                  <c:v>0.30949160011006566</c:v>
                </c:pt>
                <c:pt idx="53">
                  <c:v>0.0</c:v>
                </c:pt>
                <c:pt idx="54">
                  <c:v>0.0</c:v>
                </c:pt>
                <c:pt idx="55">
                  <c:v>0.0</c:v>
                </c:pt>
                <c:pt idx="56">
                  <c:v>0.0</c:v>
                </c:pt>
                <c:pt idx="57">
                  <c:v>1.128433297691955</c:v>
                </c:pt>
                <c:pt idx="58">
                  <c:v>0.8262106496259429</c:v>
                </c:pt>
                <c:pt idx="59">
                  <c:v>1.0523779040449268</c:v>
                </c:pt>
                <c:pt idx="60">
                  <c:v>0.0</c:v>
                </c:pt>
                <c:pt idx="61">
                  <c:v>0.0</c:v>
                </c:pt>
                <c:pt idx="62">
                  <c:v>0.0</c:v>
                </c:pt>
                <c:pt idx="63">
                  <c:v>0.0</c:v>
                </c:pt>
                <c:pt idx="64">
                  <c:v>0.0</c:v>
                </c:pt>
                <c:pt idx="65">
                  <c:v>0.0</c:v>
                </c:pt>
                <c:pt idx="66">
                  <c:v>0.0</c:v>
                </c:pt>
                <c:pt idx="67">
                  <c:v>0.4608671267531716</c:v>
                </c:pt>
                <c:pt idx="68">
                  <c:v>1.3439260862106364</c:v>
                </c:pt>
                <c:pt idx="69">
                  <c:v>1.8590951236214914</c:v>
                </c:pt>
                <c:pt idx="70">
                  <c:v>6.12939709682766</c:v>
                </c:pt>
                <c:pt idx="71">
                  <c:v>-0.09051474263406836</c:v>
                </c:pt>
              </c:numCache>
            </c:numRef>
          </c:xVal>
          <c:yVal>
            <c:numRef>
              <c:f>Sheet1!$B$187:$B$258</c:f>
              <c:numCache>
                <c:formatCode>General</c:formatCode>
                <c:ptCount val="72"/>
                <c:pt idx="0">
                  <c:v>6.073707096366204e-05</c:v>
                </c:pt>
                <c:pt idx="1">
                  <c:v>6.073707096366204e-05</c:v>
                </c:pt>
                <c:pt idx="2">
                  <c:v>6.073707096366204e-05</c:v>
                </c:pt>
                <c:pt idx="3">
                  <c:v>6.073707096366204e-05</c:v>
                </c:pt>
                <c:pt idx="4">
                  <c:v>6.073707096366204e-05</c:v>
                </c:pt>
                <c:pt idx="5">
                  <c:v>6.073707096366204e-05</c:v>
                </c:pt>
                <c:pt idx="6">
                  <c:v>6.073707096366204e-05</c:v>
                </c:pt>
                <c:pt idx="7">
                  <c:v>6.073707096366204e-05</c:v>
                </c:pt>
                <c:pt idx="8">
                  <c:v>6.073707096366204e-05</c:v>
                </c:pt>
                <c:pt idx="9">
                  <c:v>6.073707096366204e-05</c:v>
                </c:pt>
                <c:pt idx="10">
                  <c:v>6.073707096366204e-05</c:v>
                </c:pt>
                <c:pt idx="11">
                  <c:v>6.073707096366204e-05</c:v>
                </c:pt>
                <c:pt idx="12">
                  <c:v>6.073707096366204e-05</c:v>
                </c:pt>
                <c:pt idx="13">
                  <c:v>6.073707096366204e-05</c:v>
                </c:pt>
                <c:pt idx="14">
                  <c:v>6.073707096366204e-05</c:v>
                </c:pt>
                <c:pt idx="15">
                  <c:v>6.073707096366204e-05</c:v>
                </c:pt>
                <c:pt idx="16">
                  <c:v>6.073707096366204e-05</c:v>
                </c:pt>
                <c:pt idx="17">
                  <c:v>6.073707096366204e-05</c:v>
                </c:pt>
                <c:pt idx="18">
                  <c:v>6.073707096366204e-05</c:v>
                </c:pt>
                <c:pt idx="19">
                  <c:v>6.073707096366204e-05</c:v>
                </c:pt>
                <c:pt idx="20">
                  <c:v>0.0002128896247219252</c:v>
                </c:pt>
                <c:pt idx="21">
                  <c:v>0.00014672479808060026</c:v>
                </c:pt>
                <c:pt idx="22">
                  <c:v>6.073707096366204e-05</c:v>
                </c:pt>
                <c:pt idx="23">
                  <c:v>6.073707096366204e-05</c:v>
                </c:pt>
                <c:pt idx="24">
                  <c:v>0.0001827190194558746</c:v>
                </c:pt>
                <c:pt idx="25">
                  <c:v>6.073707096366204e-05</c:v>
                </c:pt>
                <c:pt idx="26">
                  <c:v>0.0001262800550109102</c:v>
                </c:pt>
                <c:pt idx="27">
                  <c:v>0.00015760969920086085</c:v>
                </c:pt>
                <c:pt idx="28">
                  <c:v>0.00017800534919016882</c:v>
                </c:pt>
                <c:pt idx="29">
                  <c:v>6.073707096366204e-05</c:v>
                </c:pt>
                <c:pt idx="30">
                  <c:v>6.073707096366204e-05</c:v>
                </c:pt>
                <c:pt idx="31">
                  <c:v>0.00023920662109445636</c:v>
                </c:pt>
                <c:pt idx="32">
                  <c:v>0.00021144716079697732</c:v>
                </c:pt>
                <c:pt idx="33">
                  <c:v>0.00020395920883717328</c:v>
                </c:pt>
                <c:pt idx="34">
                  <c:v>6.073707096366204e-05</c:v>
                </c:pt>
                <c:pt idx="35">
                  <c:v>6.073707096366204e-05</c:v>
                </c:pt>
                <c:pt idx="36">
                  <c:v>0.00021189409121808356</c:v>
                </c:pt>
                <c:pt idx="37">
                  <c:v>6.073707096366204e-05</c:v>
                </c:pt>
                <c:pt idx="38">
                  <c:v>0.0001480911280002934</c:v>
                </c:pt>
                <c:pt idx="39">
                  <c:v>0.00012975701635430684</c:v>
                </c:pt>
                <c:pt idx="40">
                  <c:v>0.00014410981845465736</c:v>
                </c:pt>
                <c:pt idx="41">
                  <c:v>0.00020358893135571156</c:v>
                </c:pt>
                <c:pt idx="42">
                  <c:v>0.0001231683678346489</c:v>
                </c:pt>
                <c:pt idx="43">
                  <c:v>0.00011226650195565187</c:v>
                </c:pt>
                <c:pt idx="44">
                  <c:v>0.00011902477878387581</c:v>
                </c:pt>
                <c:pt idx="45">
                  <c:v>0.00015127563214655874</c:v>
                </c:pt>
                <c:pt idx="46">
                  <c:v>0.00013027560724578437</c:v>
                </c:pt>
                <c:pt idx="47">
                  <c:v>0.000144516757061198</c:v>
                </c:pt>
                <c:pt idx="48">
                  <c:v>6.073707096366204e-05</c:v>
                </c:pt>
                <c:pt idx="49">
                  <c:v>0.00013331961675453326</c:v>
                </c:pt>
                <c:pt idx="50">
                  <c:v>8.920462001074733e-05</c:v>
                </c:pt>
                <c:pt idx="51">
                  <c:v>8.649394920187402e-05</c:v>
                </c:pt>
                <c:pt idx="52">
                  <c:v>0.00010607924698992317</c:v>
                </c:pt>
                <c:pt idx="53">
                  <c:v>6.073707096366204e-05</c:v>
                </c:pt>
                <c:pt idx="54">
                  <c:v>6.073707096366204e-05</c:v>
                </c:pt>
                <c:pt idx="55">
                  <c:v>6.073707096366204e-05</c:v>
                </c:pt>
                <c:pt idx="56">
                  <c:v>6.073707096366204e-05</c:v>
                </c:pt>
                <c:pt idx="57">
                  <c:v>0.00022605858922020508</c:v>
                </c:pt>
                <c:pt idx="58">
                  <c:v>0.00018178135357678704</c:v>
                </c:pt>
                <c:pt idx="59">
                  <c:v>0.0002149160669505741</c:v>
                </c:pt>
                <c:pt idx="60">
                  <c:v>6.073707096366204e-05</c:v>
                </c:pt>
                <c:pt idx="61">
                  <c:v>6.073707096366204e-05</c:v>
                </c:pt>
                <c:pt idx="62">
                  <c:v>6.073707096366204e-05</c:v>
                </c:pt>
                <c:pt idx="63">
                  <c:v>6.073707096366204e-05</c:v>
                </c:pt>
                <c:pt idx="64">
                  <c:v>6.073707096366204e-05</c:v>
                </c:pt>
                <c:pt idx="65">
                  <c:v>6.073707096366204e-05</c:v>
                </c:pt>
                <c:pt idx="66">
                  <c:v>6.073707096366204e-05</c:v>
                </c:pt>
                <c:pt idx="67">
                  <c:v>0.00012825657190820437</c:v>
                </c:pt>
                <c:pt idx="68">
                  <c:v>0.0002576294362025757</c:v>
                </c:pt>
                <c:pt idx="69">
                  <c:v>0.0003331044577193318</c:v>
                </c:pt>
                <c:pt idx="70">
                  <c:v>0.0009587265543628102</c:v>
                </c:pt>
                <c:pt idx="71">
                  <c:v>4.747617667113171e-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275960170697012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4387.0</c:v>
                </c:pt>
                <c:pt idx="18">
                  <c:v>3807.0</c:v>
                </c:pt>
                <c:pt idx="19">
                  <c:v>3804.25</c:v>
                </c:pt>
                <c:pt idx="20">
                  <c:v>3359.5</c:v>
                </c:pt>
                <c:pt idx="21">
                  <c:v>4369.8</c:v>
                </c:pt>
                <c:pt idx="22">
                  <c:v>6539.0</c:v>
                </c:pt>
                <c:pt idx="23">
                  <c:v>5053.4</c:v>
                </c:pt>
                <c:pt idx="24">
                  <c:v>3948.1429</c:v>
                </c:pt>
                <c:pt idx="25">
                  <c:v>6402.2</c:v>
                </c:pt>
                <c:pt idx="26">
                  <c:v>7763.5</c:v>
                </c:pt>
                <c:pt idx="27">
                  <c:v>3345.6</c:v>
                </c:pt>
                <c:pt idx="28">
                  <c:v>7017.25</c:v>
                </c:pt>
                <c:pt idx="29">
                  <c:v>3873.25</c:v>
                </c:pt>
                <c:pt idx="30">
                  <c:v>5011.5</c:v>
                </c:pt>
                <c:pt idx="31">
                  <c:v>5771.0</c:v>
                </c:pt>
                <c:pt idx="32">
                  <c:v>3461.5</c:v>
                </c:pt>
                <c:pt idx="33">
                  <c:v>3505.5833</c:v>
                </c:pt>
                <c:pt idx="34">
                  <c:v>3707.6429</c:v>
                </c:pt>
                <c:pt idx="35">
                  <c:v>6483.0</c:v>
                </c:pt>
                <c:pt idx="36">
                  <c:v>4574.5</c:v>
                </c:pt>
                <c:pt idx="37">
                  <c:v>7663.0</c:v>
                </c:pt>
                <c:pt idx="38">
                  <c:v>5601.0</c:v>
                </c:pt>
                <c:pt idx="39">
                  <c:v>5694.6667</c:v>
                </c:pt>
                <c:pt idx="40">
                  <c:v>5335.6667</c:v>
                </c:pt>
                <c:pt idx="41">
                  <c:v>10645.0</c:v>
                </c:pt>
                <c:pt idx="42">
                  <c:v>5430.5</c:v>
                </c:pt>
                <c:pt idx="43">
                  <c:v>3861.5714</c:v>
                </c:pt>
                <c:pt idx="44">
                  <c:v>4392.6</c:v>
                </c:pt>
                <c:pt idx="45">
                  <c:v>4084.4545</c:v>
                </c:pt>
                <c:pt idx="46">
                  <c:v>3682.6154</c:v>
                </c:pt>
                <c:pt idx="47">
                  <c:v>4401.9</c:v>
                </c:pt>
                <c:pt idx="48">
                  <c:v>3202.1176</c:v>
                </c:pt>
                <c:pt idx="49">
                  <c:v>3614.8333</c:v>
                </c:pt>
                <c:pt idx="50">
                  <c:v>4083.9</c:v>
                </c:pt>
                <c:pt idx="51">
                  <c:v>4174.75</c:v>
                </c:pt>
                <c:pt idx="52">
                  <c:v>3479.2</c:v>
                </c:pt>
                <c:pt idx="53">
                  <c:v>3423.5</c:v>
                </c:pt>
                <c:pt idx="54">
                  <c:v>4202.4</c:v>
                </c:pt>
                <c:pt idx="55">
                  <c:v>15202.0</c:v>
                </c:pt>
                <c:pt idx="56">
                  <c:v>6202.5</c:v>
                </c:pt>
                <c:pt idx="57">
                  <c:v>10480.0</c:v>
                </c:pt>
                <c:pt idx="58">
                  <c:v>4706.5</c:v>
                </c:pt>
                <c:pt idx="59">
                  <c:v>3925.25</c:v>
                </c:pt>
                <c:pt idx="60">
                  <c:v>3984.0</c:v>
                </c:pt>
                <c:pt idx="61">
                  <c:v>3894.25</c:v>
                </c:pt>
                <c:pt idx="62">
                  <c:v>3523.6667</c:v>
                </c:pt>
                <c:pt idx="63">
                  <c:v>2920.0</c:v>
                </c:pt>
                <c:pt idx="64">
                  <c:v>3077.6</c:v>
                </c:pt>
                <c:pt idx="65">
                  <c:v>6638.0</c:v>
                </c:pt>
                <c:pt idx="66">
                  <c:v>10119.0</c:v>
                </c:pt>
                <c:pt idx="67">
                  <c:v>5730.5</c:v>
                </c:pt>
                <c:pt idx="68">
                  <c:v>17630.0</c:v>
                </c:pt>
                <c:pt idx="69">
                  <c:v>5701.0</c:v>
                </c:pt>
                <c:pt idx="70">
                  <c:v>5620.2857</c:v>
                </c:pt>
                <c:pt idx="71">
                  <c:v>6033.2</c:v>
                </c:pt>
                <c:pt idx="72">
                  <c:v>5945.6</c:v>
                </c:pt>
                <c:pt idx="73">
                  <c:v>5831.6</c:v>
                </c:pt>
                <c:pt idx="74">
                  <c:v>5610.1429</c:v>
                </c:pt>
                <c:pt idx="75">
                  <c:v>8324.4</c:v>
                </c:pt>
                <c:pt idx="76">
                  <c:v>8366.5</c:v>
                </c:pt>
                <c:pt idx="77">
                  <c:v>4291.4545</c:v>
                </c:pt>
                <c:pt idx="78">
                  <c:v>22182.0</c:v>
                </c:pt>
                <c:pt idx="79">
                  <c:v>18169.0</c:v>
                </c:pt>
                <c:pt idx="80">
                  <c:v>17887.0</c:v>
                </c:pt>
                <c:pt idx="81">
                  <c:v>11855.0</c:v>
                </c:pt>
                <c:pt idx="82">
                  <c:v>14450.0</c:v>
                </c:pt>
                <c:pt idx="83">
                  <c:v>17175.0</c:v>
                </c:pt>
                <c:pt idx="84">
                  <c:v>6509.5</c:v>
                </c:pt>
                <c:pt idx="85">
                  <c:v>11668.0</c:v>
                </c:pt>
                <c:pt idx="86">
                  <c:v>5744.6667</c:v>
                </c:pt>
                <c:pt idx="87">
                  <c:v>10423.0</c:v>
                </c:pt>
              </c:numCache>
            </c:numRef>
          </c:xVal>
          <c:yVal>
            <c:numRef>
              <c:f>Sheet1!$B$2:$B$89</c:f>
              <c:numCache>
                <c:formatCode>General</c:formatCode>
                <c:ptCount val="88"/>
                <c:pt idx="0">
                  <c:v>0.0011991434689507495</c:v>
                </c:pt>
                <c:pt idx="1">
                  <c:v>0.00028042624789680314</c:v>
                </c:pt>
                <c:pt idx="2">
                  <c:v>0.0002781125428756837</c:v>
                </c:pt>
                <c:pt idx="3">
                  <c:v>0.00019022256039566293</c:v>
                </c:pt>
                <c:pt idx="4">
                  <c:v>0.00021652051531882645</c:v>
                </c:pt>
                <c:pt idx="5">
                  <c:v>0.0005534646889528448</c:v>
                </c:pt>
                <c:pt idx="6">
                  <c:v>0.000636604774535809</c:v>
                </c:pt>
                <c:pt idx="7">
                  <c:v>0.0008277166844034528</c:v>
                </c:pt>
                <c:pt idx="8">
                  <c:v>0.00046696240952603317</c:v>
                </c:pt>
                <c:pt idx="9">
                  <c:v>0.0005982650314089142</c:v>
                </c:pt>
                <c:pt idx="10">
                  <c:v>0.0002812675792237015</c:v>
                </c:pt>
                <c:pt idx="11">
                  <c:v>0.0006144123584657246</c:v>
                </c:pt>
                <c:pt idx="12">
                  <c:v>0.0004626773596545342</c:v>
                </c:pt>
                <c:pt idx="13">
                  <c:v>0.0005206525511975009</c:v>
                </c:pt>
                <c:pt idx="14">
                  <c:v>0.00018668906935498925</c:v>
                </c:pt>
                <c:pt idx="15">
                  <c:v>0.0005407743889249405</c:v>
                </c:pt>
                <c:pt idx="16">
                  <c:v>0.0004918234353866962</c:v>
                </c:pt>
                <c:pt idx="17">
                  <c:v>0.00040944452026750374</c:v>
                </c:pt>
                <c:pt idx="18">
                  <c:v>0.0005367686527106817</c:v>
                </c:pt>
                <c:pt idx="19">
                  <c:v>0.0005787874403125452</c:v>
                </c:pt>
                <c:pt idx="20">
                  <c:v>0.00034246575342465754</c:v>
                </c:pt>
                <c:pt idx="21">
                  <c:v>0.000943040362127499</c:v>
                </c:pt>
                <c:pt idx="22">
                  <c:v>0.0005824111822947001</c:v>
                </c:pt>
                <c:pt idx="23">
                  <c:v>0.0009082652134423251</c:v>
                </c:pt>
                <c:pt idx="24">
                  <c:v>0.0014447884416924665</c:v>
                </c:pt>
                <c:pt idx="25">
                  <c:v>0.000847457627118644</c:v>
                </c:pt>
                <c:pt idx="26">
                  <c:v>0.00035174111853675694</c:v>
                </c:pt>
                <c:pt idx="27">
                  <c:v>0.0008799718409010912</c:v>
                </c:pt>
                <c:pt idx="28">
                  <c:v>0.0006350214319733291</c:v>
                </c:pt>
                <c:pt idx="29">
                  <c:v>0.0007874015748031496</c:v>
                </c:pt>
                <c:pt idx="30">
                  <c:v>0.0008008008008008008</c:v>
                </c:pt>
                <c:pt idx="31">
                  <c:v>0.0006087662337662338</c:v>
                </c:pt>
                <c:pt idx="32">
                  <c:v>0.001777145903678692</c:v>
                </c:pt>
                <c:pt idx="33">
                  <c:v>0.001896633475580844</c:v>
                </c:pt>
                <c:pt idx="34">
                  <c:v>0.001708150317227916</c:v>
                </c:pt>
                <c:pt idx="35">
                  <c:v>0.0005660911406736484</c:v>
                </c:pt>
                <c:pt idx="36">
                  <c:v>0.0007027406886858749</c:v>
                </c:pt>
                <c:pt idx="37">
                  <c:v>0.0003351206434316354</c:v>
                </c:pt>
                <c:pt idx="38">
                  <c:v>0.0007473841554559044</c:v>
                </c:pt>
                <c:pt idx="39">
                  <c:v>0.00045676004872107184</c:v>
                </c:pt>
                <c:pt idx="40">
                  <c:v>0.0005029337803855825</c:v>
                </c:pt>
                <c:pt idx="41">
                  <c:v>0.0001405283867341203</c:v>
                </c:pt>
                <c:pt idx="42">
                  <c:v>0.0004873294346978557</c:v>
                </c:pt>
                <c:pt idx="43">
                  <c:v>0.0006576475009394964</c:v>
                </c:pt>
                <c:pt idx="44">
                  <c:v>0.00043825050398807957</c:v>
                </c:pt>
                <c:pt idx="45">
                  <c:v>0.0009446114212108201</c:v>
                </c:pt>
                <c:pt idx="46">
                  <c:v>0.0011339846475924634</c:v>
                </c:pt>
                <c:pt idx="47">
                  <c:v>0.0006391409945033875</c:v>
                </c:pt>
                <c:pt idx="48">
                  <c:v>0.0007207359986433205</c:v>
                </c:pt>
                <c:pt idx="49">
                  <c:v>0.0008355964069354502</c:v>
                </c:pt>
                <c:pt idx="50">
                  <c:v>0.0007998080460689434</c:v>
                </c:pt>
                <c:pt idx="51">
                  <c:v>0.00027660604384205796</c:v>
                </c:pt>
                <c:pt idx="52">
                  <c:v>0.00046048996131884323</c:v>
                </c:pt>
                <c:pt idx="53">
                  <c:v>0.0010156408693885843</c:v>
                </c:pt>
                <c:pt idx="54">
                  <c:v>0.000524824183898394</c:v>
                </c:pt>
                <c:pt idx="55">
                  <c:v>9.974067424695791e-05</c:v>
                </c:pt>
                <c:pt idx="56">
                  <c:v>0.0001799694052011158</c:v>
                </c:pt>
                <c:pt idx="57">
                  <c:v>8.116224332440549e-05</c:v>
                </c:pt>
                <c:pt idx="58">
                  <c:v>0.00021578464692237147</c:v>
                </c:pt>
                <c:pt idx="59">
                  <c:v>0.00022507314877335134</c:v>
                </c:pt>
                <c:pt idx="60">
                  <c:v>0.000373440884308014</c:v>
                </c:pt>
                <c:pt idx="61">
                  <c:v>0.00030483158055174517</c:v>
                </c:pt>
                <c:pt idx="62">
                  <c:v>0.0003925417075564279</c:v>
                </c:pt>
                <c:pt idx="63">
                  <c:v>0.0005675368898978433</c:v>
                </c:pt>
                <c:pt idx="64">
                  <c:v>0.0003447800303406427</c:v>
                </c:pt>
                <c:pt idx="65">
                  <c:v>7.407956144899622e-05</c:v>
                </c:pt>
                <c:pt idx="66">
                  <c:v>7.678722260615834e-05</c:v>
                </c:pt>
                <c:pt idx="67">
                  <c:v>0.00023070711731456916</c:v>
                </c:pt>
                <c:pt idx="68">
                  <c:v>0.00011132138483802739</c:v>
                </c:pt>
                <c:pt idx="69">
                  <c:v>0.0005693463903438852</c:v>
                </c:pt>
                <c:pt idx="70">
                  <c:v>0.0008230452674897119</c:v>
                </c:pt>
                <c:pt idx="71">
                  <c:v>0.0006932889628397116</c:v>
                </c:pt>
                <c:pt idx="72">
                  <c:v>0.0007217090069284065</c:v>
                </c:pt>
                <c:pt idx="73">
                  <c:v>0.0007265329845975008</c:v>
                </c:pt>
                <c:pt idx="74">
                  <c:v>0.0011488593467914</c:v>
                </c:pt>
                <c:pt idx="75">
                  <c:v>0.0008382229673093043</c:v>
                </c:pt>
                <c:pt idx="76">
                  <c:v>0.0006619228859837829</c:v>
                </c:pt>
                <c:pt idx="77">
                  <c:v>0.0014915254237288136</c:v>
                </c:pt>
                <c:pt idx="78">
                  <c:v>0.00016943409013893597</c:v>
                </c:pt>
                <c:pt idx="79">
                  <c:v>0.00021222410865874363</c:v>
                </c:pt>
                <c:pt idx="80">
                  <c:v>0.00021235931195582927</c:v>
                </c:pt>
                <c:pt idx="81">
                  <c:v>7.328154770628756e-05</c:v>
                </c:pt>
                <c:pt idx="82">
                  <c:v>5.774672287347693e-05</c:v>
                </c:pt>
                <c:pt idx="83">
                  <c:v>3.8968124074507054e-05</c:v>
                </c:pt>
                <c:pt idx="84">
                  <c:v>0.00012721027859051011</c:v>
                </c:pt>
                <c:pt idx="85">
                  <c:v>6.444544692917445e-05</c:v>
                </c:pt>
                <c:pt idx="86">
                  <c:v>0.00020827547903360177</c:v>
                </c:pt>
                <c:pt idx="87">
                  <c:v>7.61266747868453e-05</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6.82081713389264e-05</c:v>
                </c:pt>
                <c:pt idx="21">
                  <c:v>0.00014652014652014652</c:v>
                </c:pt>
                <c:pt idx="22">
                  <c:v>0.0</c:v>
                </c:pt>
                <c:pt idx="23">
                  <c:v>0.0</c:v>
                </c:pt>
                <c:pt idx="24">
                  <c:v>0.00010640561821664184</c:v>
                </c:pt>
                <c:pt idx="25">
                  <c:v>0.0</c:v>
                </c:pt>
                <c:pt idx="26">
                  <c:v>0.0001932367149758454</c:v>
                </c:pt>
                <c:pt idx="27">
                  <c:v>8.98069151324652e-05</c:v>
                </c:pt>
                <c:pt idx="28">
                  <c:v>0.00015350372246526978</c:v>
                </c:pt>
                <c:pt idx="29">
                  <c:v>0.0</c:v>
                </c:pt>
                <c:pt idx="30">
                  <c:v>0.0</c:v>
                </c:pt>
                <c:pt idx="31">
                  <c:v>8.553588230262595e-05</c:v>
                </c:pt>
                <c:pt idx="32">
                  <c:v>8.918219923303308e-05</c:v>
                </c:pt>
                <c:pt idx="33">
                  <c:v>0.00019843238416509574</c:v>
                </c:pt>
                <c:pt idx="34">
                  <c:v>0.0</c:v>
                </c:pt>
                <c:pt idx="35">
                  <c:v>0.0</c:v>
                </c:pt>
                <c:pt idx="36">
                  <c:v>0.00011122233344455567</c:v>
                </c:pt>
                <c:pt idx="37">
                  <c:v>0.0</c:v>
                </c:pt>
                <c:pt idx="38">
                  <c:v>0.0003213883978788366</c:v>
                </c:pt>
                <c:pt idx="39">
                  <c:v>0.0003180155827635554</c:v>
                </c:pt>
                <c:pt idx="40">
                  <c:v>0.00015946420028703555</c:v>
                </c:pt>
                <c:pt idx="41">
                  <c:v>0.00014990256333383302</c:v>
                </c:pt>
                <c:pt idx="42">
                  <c:v>0.00047244094488188977</c:v>
                </c:pt>
                <c:pt idx="43">
                  <c:v>0.0007918910357934748</c:v>
                </c:pt>
                <c:pt idx="44">
                  <c:v>0.0002881014116969173</c:v>
                </c:pt>
                <c:pt idx="45">
                  <c:v>0.0002621231979030144</c:v>
                </c:pt>
                <c:pt idx="46">
                  <c:v>0.00031660598385309483</c:v>
                </c:pt>
                <c:pt idx="47">
                  <c:v>0.00016561775422325274</c:v>
                </c:pt>
                <c:pt idx="48">
                  <c:v>0.0</c:v>
                </c:pt>
                <c:pt idx="49">
                  <c:v>0.00016857720836142953</c:v>
                </c:pt>
                <c:pt idx="50">
                  <c:v>0.0006700167504187605</c:v>
                </c:pt>
                <c:pt idx="51">
                  <c:v>0.0005676013168350551</c:v>
                </c:pt>
                <c:pt idx="52">
                  <c:v>0.000619041723412158</c:v>
                </c:pt>
                <c:pt idx="53">
                  <c:v>0.0</c:v>
                </c:pt>
                <c:pt idx="54">
                  <c:v>0.0</c:v>
                </c:pt>
                <c:pt idx="55">
                  <c:v>0.0</c:v>
                </c:pt>
                <c:pt idx="56">
                  <c:v>0.0</c:v>
                </c:pt>
                <c:pt idx="57">
                  <c:v>0.0001386001386001386</c:v>
                </c:pt>
                <c:pt idx="58">
                  <c:v>0.0001291155584247902</c:v>
                </c:pt>
                <c:pt idx="59">
                  <c:v>0.0001426330052774212</c:v>
                </c:pt>
                <c:pt idx="60">
                  <c:v>0.0</c:v>
                </c:pt>
                <c:pt idx="61">
                  <c:v>0.0</c:v>
                </c:pt>
                <c:pt idx="62">
                  <c:v>0.0</c:v>
                </c:pt>
                <c:pt idx="63">
                  <c:v>0.0</c:v>
                </c:pt>
                <c:pt idx="64">
                  <c:v>0.0</c:v>
                </c:pt>
                <c:pt idx="65">
                  <c:v>0.0</c:v>
                </c:pt>
                <c:pt idx="66">
                  <c:v>0.0</c:v>
                </c:pt>
                <c:pt idx="67">
                  <c:v>0.00014715079277489608</c:v>
                </c:pt>
                <c:pt idx="68">
                  <c:v>5.969080164746613e-0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6086.7831409705</c:v>
                </c:pt>
              </c:numCache>
            </c:numRef>
          </c:xVal>
          <c:yVal>
            <c:numRef>
              <c:f>Sheet1!$B$163:$B$164</c:f>
              <c:numCache>
                <c:formatCode>General</c:formatCode>
                <c:ptCount val="2"/>
                <c:pt idx="0">
                  <c:v>0.0009587265543628102</c:v>
                </c:pt>
                <c:pt idx="1">
                  <c:v>0.000958726554362810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6086.7831409705</c:v>
                </c:pt>
                <c:pt idx="1">
                  <c:v>66086.7831409705</c:v>
                </c:pt>
              </c:numCache>
            </c:numRef>
          </c:xVal>
          <c:yVal>
            <c:numRef>
              <c:f>Sheet1!$B$167:$B$168</c:f>
              <c:numCache>
                <c:formatCode>General</c:formatCode>
                <c:ptCount val="2"/>
                <c:pt idx="0">
                  <c:v>0.0009587265543628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20133.493543690813</c:v>
                </c:pt>
              </c:numCache>
            </c:numRef>
          </c:xVal>
          <c:yVal>
            <c:numRef>
              <c:f>Sheet1!$B$171:$B$172</c:f>
              <c:numCache>
                <c:formatCode>General</c:formatCode>
                <c:ptCount val="2"/>
                <c:pt idx="0">
                  <c:v>0.0003331044577193318</c:v>
                </c:pt>
                <c:pt idx="1">
                  <c:v>0.000333104457719331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20133.493543690813</c:v>
                </c:pt>
                <c:pt idx="1">
                  <c:v>20133.493543690813</c:v>
                </c:pt>
              </c:numCache>
            </c:numRef>
          </c:xVal>
          <c:yVal>
            <c:numRef>
              <c:f>Sheet1!$B$175:$B$176</c:f>
              <c:numCache>
                <c:formatCode>General</c:formatCode>
                <c:ptCount val="2"/>
                <c:pt idx="0">
                  <c:v>0.00033310445771933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46.518490092828</c:v>
                </c:pt>
              </c:numCache>
            </c:numRef>
          </c:xVal>
          <c:yVal>
            <c:numRef>
              <c:f>Sheet1!$B$179:$B$180</c:f>
              <c:numCache>
                <c:formatCode>General</c:formatCode>
                <c:ptCount val="2"/>
                <c:pt idx="0">
                  <c:v>4.747617667113171e-05</c:v>
                </c:pt>
                <c:pt idx="1">
                  <c:v>4.747617667113171e-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46.518490092828</c:v>
                </c:pt>
                <c:pt idx="1">
                  <c:v>-846.518490092828</c:v>
                </c:pt>
              </c:numCache>
            </c:numRef>
          </c:xVal>
          <c:yVal>
            <c:numRef>
              <c:f>Sheet1!$B$183:$B$184</c:f>
              <c:numCache>
                <c:formatCode>General</c:formatCode>
                <c:ptCount val="2"/>
                <c:pt idx="0">
                  <c:v>4.747617667113171e-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pt idx="69">
                  <c:v>20133.493543690813</c:v>
                </c:pt>
                <c:pt idx="70">
                  <c:v>66086.7831409705</c:v>
                </c:pt>
                <c:pt idx="71">
                  <c:v>-846.518490092828</c:v>
                </c:pt>
              </c:numCache>
            </c:numRef>
          </c:xVal>
          <c:yVal>
            <c:numRef>
              <c:f>Sheet1!$B$187:$B$258</c:f>
              <c:numCache>
                <c:formatCode>General</c:formatCode>
                <c:ptCount val="72"/>
                <c:pt idx="0">
                  <c:v>5.900093751547173e-05</c:v>
                </c:pt>
                <c:pt idx="1">
                  <c:v>5.900093751547173e-05</c:v>
                </c:pt>
                <c:pt idx="2">
                  <c:v>5.900093751547173e-05</c:v>
                </c:pt>
                <c:pt idx="3">
                  <c:v>5.900093751547173e-05</c:v>
                </c:pt>
                <c:pt idx="4">
                  <c:v>5.900093751547173e-05</c:v>
                </c:pt>
                <c:pt idx="5">
                  <c:v>5.900093751547173e-05</c:v>
                </c:pt>
                <c:pt idx="6">
                  <c:v>5.900093751547173e-05</c:v>
                </c:pt>
                <c:pt idx="7">
                  <c:v>5.900093751547173e-05</c:v>
                </c:pt>
                <c:pt idx="8">
                  <c:v>5.900093751547173e-05</c:v>
                </c:pt>
                <c:pt idx="9">
                  <c:v>5.900093751547173e-05</c:v>
                </c:pt>
                <c:pt idx="10">
                  <c:v>5.900093751547173e-05</c:v>
                </c:pt>
                <c:pt idx="11">
                  <c:v>5.900093751547173e-05</c:v>
                </c:pt>
                <c:pt idx="12">
                  <c:v>5.900093751547173e-05</c:v>
                </c:pt>
                <c:pt idx="13">
                  <c:v>5.900093751547173e-05</c:v>
                </c:pt>
                <c:pt idx="14">
                  <c:v>5.900093751547173e-05</c:v>
                </c:pt>
                <c:pt idx="15">
                  <c:v>5.900093751547173e-05</c:v>
                </c:pt>
                <c:pt idx="16">
                  <c:v>5.900093751547173e-05</c:v>
                </c:pt>
                <c:pt idx="17">
                  <c:v>5.900093751547173e-05</c:v>
                </c:pt>
                <c:pt idx="18">
                  <c:v>5.900093751547173e-05</c:v>
                </c:pt>
                <c:pt idx="19">
                  <c:v>5.900093751547173e-05</c:v>
                </c:pt>
                <c:pt idx="20">
                  <c:v>0.00021126332373808647</c:v>
                </c:pt>
                <c:pt idx="21">
                  <c:v>0.0001442741363803991</c:v>
                </c:pt>
                <c:pt idx="22">
                  <c:v>5.900093751547173e-05</c:v>
                </c:pt>
                <c:pt idx="23">
                  <c:v>5.900093751547173e-05</c:v>
                </c:pt>
                <c:pt idx="24">
                  <c:v>0.00018815984828925088</c:v>
                </c:pt>
                <c:pt idx="25">
                  <c:v>5.900093751547173e-05</c:v>
                </c:pt>
                <c:pt idx="26">
                  <c:v>0.00012655511852732924</c:v>
                </c:pt>
                <c:pt idx="27">
                  <c:v>0.00015781356262310208</c:v>
                </c:pt>
                <c:pt idx="28">
                  <c:v>0.00017652642473531453</c:v>
                </c:pt>
                <c:pt idx="29">
                  <c:v>5.900093751547173e-05</c:v>
                </c:pt>
                <c:pt idx="30">
                  <c:v>5.900093751547173e-05</c:v>
                </c:pt>
                <c:pt idx="31">
                  <c:v>0.0002438423554110762</c:v>
                </c:pt>
                <c:pt idx="32">
                  <c:v>0.00021905070615219015</c:v>
                </c:pt>
                <c:pt idx="33">
                  <c:v>0.0002107936302183547</c:v>
                </c:pt>
                <c:pt idx="34">
                  <c:v>5.900093751547173e-05</c:v>
                </c:pt>
                <c:pt idx="35">
                  <c:v>5.900093751547173e-05</c:v>
                </c:pt>
                <c:pt idx="36">
                  <c:v>0.00021736253234213974</c:v>
                </c:pt>
                <c:pt idx="37">
                  <c:v>5.900093751547173e-05</c:v>
                </c:pt>
                <c:pt idx="38">
                  <c:v>0.00015154417520755182</c:v>
                </c:pt>
                <c:pt idx="39">
                  <c:v>0.00013149030406074284</c:v>
                </c:pt>
                <c:pt idx="40">
                  <c:v>0.0001458329742937118</c:v>
                </c:pt>
                <c:pt idx="41">
                  <c:v>0.00021191681037423504</c:v>
                </c:pt>
                <c:pt idx="42">
                  <c:v>0.00012735382486976543</c:v>
                </c:pt>
                <c:pt idx="43">
                  <c:v>0.00011471067324713658</c:v>
                </c:pt>
                <c:pt idx="44">
                  <c:v>0.00012147017563979825</c:v>
                </c:pt>
                <c:pt idx="45">
                  <c:v>0.00015747320500010802</c:v>
                </c:pt>
                <c:pt idx="46">
                  <c:v>0.00013373666437250354</c:v>
                </c:pt>
                <c:pt idx="47">
                  <c:v>0.00014869197832686175</c:v>
                </c:pt>
                <c:pt idx="48">
                  <c:v>5.900093751547173e-05</c:v>
                </c:pt>
                <c:pt idx="49">
                  <c:v>0.00013880799295511477</c:v>
                </c:pt>
                <c:pt idx="50">
                  <c:v>8.96467378898553e-05</c:v>
                </c:pt>
                <c:pt idx="51">
                  <c:v>8.63793047091125e-05</c:v>
                </c:pt>
                <c:pt idx="52">
                  <c:v>0.0001069450737209045</c:v>
                </c:pt>
                <c:pt idx="53">
                  <c:v>5.900093751547173e-05</c:v>
                </c:pt>
                <c:pt idx="54">
                  <c:v>5.900093751547173e-05</c:v>
                </c:pt>
                <c:pt idx="55">
                  <c:v>5.900093751547173e-05</c:v>
                </c:pt>
                <c:pt idx="56">
                  <c:v>5.900093751547173e-05</c:v>
                </c:pt>
                <c:pt idx="57">
                  <c:v>0.00023063647963890736</c:v>
                </c:pt>
                <c:pt idx="58">
                  <c:v>0.00018603601672176806</c:v>
                </c:pt>
                <c:pt idx="59">
                  <c:v>0.00021994925027689441</c:v>
                </c:pt>
                <c:pt idx="60">
                  <c:v>5.900093751547173e-05</c:v>
                </c:pt>
                <c:pt idx="61">
                  <c:v>5.900093751547173e-05</c:v>
                </c:pt>
                <c:pt idx="62">
                  <c:v>5.900093751547173e-05</c:v>
                </c:pt>
                <c:pt idx="63">
                  <c:v>5.900093751547173e-05</c:v>
                </c:pt>
                <c:pt idx="64">
                  <c:v>5.900093751547173e-05</c:v>
                </c:pt>
                <c:pt idx="65">
                  <c:v>5.900093751547173e-05</c:v>
                </c:pt>
                <c:pt idx="66">
                  <c:v>5.900093751547173e-05</c:v>
                </c:pt>
                <c:pt idx="67">
                  <c:v>0.00012169481167097432</c:v>
                </c:pt>
                <c:pt idx="68">
                  <c:v>0.0002500368641495678</c:v>
                </c:pt>
                <c:pt idx="69">
                  <c:v>0.0003331044577193318</c:v>
                </c:pt>
                <c:pt idx="70">
                  <c:v>0.0009587265543628103</c:v>
                </c:pt>
                <c:pt idx="71">
                  <c:v>4.747617667113171e-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930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275960170697012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0.46939870490747543</c:v>
                </c:pt>
                <c:pt idx="1">
                  <c:v>0.8468787028004118</c:v>
                </c:pt>
                <c:pt idx="2">
                  <c:v>0.8432909799305868</c:v>
                </c:pt>
                <c:pt idx="3">
                  <c:v>1.0278422858473413</c:v>
                </c:pt>
                <c:pt idx="4">
                  <c:v>0.7761020353249886</c:v>
                </c:pt>
                <c:pt idx="5">
                  <c:v>0.6743251537582148</c:v>
                </c:pt>
                <c:pt idx="6">
                  <c:v>0.8215244724662535</c:v>
                </c:pt>
                <c:pt idx="7">
                  <c:v>0.48192287067651035</c:v>
                </c:pt>
                <c:pt idx="8">
                  <c:v>0.6975907723832414</c:v>
                </c:pt>
                <c:pt idx="9">
                  <c:v>0.624720515530503</c:v>
                </c:pt>
                <c:pt idx="10">
                  <c:v>0.847705653523736</c:v>
                </c:pt>
                <c:pt idx="11">
                  <c:v>0.5455385160861428</c:v>
                </c:pt>
                <c:pt idx="12">
                  <c:v>0.7293494365884099</c:v>
                </c:pt>
                <c:pt idx="13">
                  <c:v>0.647332375316749</c:v>
                </c:pt>
                <c:pt idx="14">
                  <c:v>0.7535114051369222</c:v>
                </c:pt>
                <c:pt idx="15">
                  <c:v>0.4562402154574116</c:v>
                </c:pt>
                <c:pt idx="16">
                  <c:v>0.26178290241674257</c:v>
                </c:pt>
                <c:pt idx="17">
                  <c:v>0.5366862157301935</c:v>
                </c:pt>
                <c:pt idx="18">
                  <c:v>0.4515921291536882</c:v>
                </c:pt>
                <c:pt idx="19">
                  <c:v>0.4629319944655761</c:v>
                </c:pt>
                <c:pt idx="20">
                  <c:v>0.37044814665437303</c:v>
                </c:pt>
                <c:pt idx="21">
                  <c:v>0.46587487838323405</c:v>
                </c:pt>
                <c:pt idx="22">
                  <c:v>0.7310771948982819</c:v>
                </c:pt>
                <c:pt idx="23">
                  <c:v>0.5484811287228032</c:v>
                </c:pt>
                <c:pt idx="24">
                  <c:v>0.4239125139802586</c:v>
                </c:pt>
                <c:pt idx="25">
                  <c:v>0.7322847165344301</c:v>
                </c:pt>
                <c:pt idx="26">
                  <c:v>0.8499404258926833</c:v>
                </c:pt>
                <c:pt idx="27">
                  <c:v>0.35719248754673416</c:v>
                </c:pt>
                <c:pt idx="28">
                  <c:v>0.7466745304643794</c:v>
                </c:pt>
                <c:pt idx="29">
                  <c:v>0.4072747037988054</c:v>
                </c:pt>
                <c:pt idx="30">
                  <c:v>0.5311045347573554</c:v>
                </c:pt>
                <c:pt idx="31">
                  <c:v>0.6059877957565125</c:v>
                </c:pt>
                <c:pt idx="32">
                  <c:v>0.35941442289636527</c:v>
                </c:pt>
                <c:pt idx="33">
                  <c:v>0.38381208122380844</c:v>
                </c:pt>
                <c:pt idx="34">
                  <c:v>0.4096953940708383</c:v>
                </c:pt>
                <c:pt idx="35">
                  <c:v>0.7174246387634702</c:v>
                </c:pt>
                <c:pt idx="36">
                  <c:v>0.4914422970359965</c:v>
                </c:pt>
                <c:pt idx="37">
                  <c:v>0.823440513488177</c:v>
                </c:pt>
                <c:pt idx="38">
                  <c:v>0.5886489316268869</c:v>
                </c:pt>
                <c:pt idx="39">
                  <c:v>0.6271599615267982</c:v>
                </c:pt>
                <c:pt idx="40">
                  <c:v>0.5634890306988272</c:v>
                </c:pt>
                <c:pt idx="41">
                  <c:v>1.1671518579253948</c:v>
                </c:pt>
                <c:pt idx="42">
                  <c:v>0.6068095891625875</c:v>
                </c:pt>
                <c:pt idx="43">
                  <c:v>0.457159224968731</c:v>
                </c:pt>
                <c:pt idx="44">
                  <c:v>0.5259305957915064</c:v>
                </c:pt>
                <c:pt idx="45">
                  <c:v>0.4984293595332867</c:v>
                </c:pt>
                <c:pt idx="46">
                  <c:v>0.4393709517098195</c:v>
                </c:pt>
                <c:pt idx="47">
                  <c:v>0.5579663451949507</c:v>
                </c:pt>
                <c:pt idx="48">
                  <c:v>0.4346208832143825</c:v>
                </c:pt>
                <c:pt idx="49">
                  <c:v>0.4432641846512594</c:v>
                </c:pt>
                <c:pt idx="50">
                  <c:v>0.49750227399068864</c:v>
                </c:pt>
                <c:pt idx="51">
                  <c:v>0.512740377872126</c:v>
                </c:pt>
                <c:pt idx="52">
                  <c:v>0.41253297761968283</c:v>
                </c:pt>
                <c:pt idx="53">
                  <c:v>0.39590591536171044</c:v>
                </c:pt>
                <c:pt idx="54">
                  <c:v>0.4590181267595203</c:v>
                </c:pt>
                <c:pt idx="55">
                  <c:v>1.6606905512246182</c:v>
                </c:pt>
                <c:pt idx="56">
                  <c:v>0.701360187586627</c:v>
                </c:pt>
                <c:pt idx="57">
                  <c:v>1.2381268011023485</c:v>
                </c:pt>
                <c:pt idx="58">
                  <c:v>0.5851382857130354</c:v>
                </c:pt>
                <c:pt idx="59">
                  <c:v>0.4982778329917671</c:v>
                </c:pt>
                <c:pt idx="60">
                  <c:v>0.48971734323768634</c:v>
                </c:pt>
                <c:pt idx="61">
                  <c:v>0.4651161624107169</c:v>
                </c:pt>
                <c:pt idx="62">
                  <c:v>0.4344544753382768</c:v>
                </c:pt>
                <c:pt idx="63">
                  <c:v>0.3551141114199712</c:v>
                </c:pt>
                <c:pt idx="64">
                  <c:v>0.37245060699973087</c:v>
                </c:pt>
                <c:pt idx="65">
                  <c:v>0.7573224023348165</c:v>
                </c:pt>
                <c:pt idx="66">
                  <c:v>1.1224509207807993</c:v>
                </c:pt>
                <c:pt idx="67">
                  <c:v>0.5815735241223311</c:v>
                </c:pt>
                <c:pt idx="68">
                  <c:v>1.8851591015470728</c:v>
                </c:pt>
                <c:pt idx="69">
                  <c:v>0.5861912728447894</c:v>
                </c:pt>
                <c:pt idx="70">
                  <c:v>0.577930590259763</c:v>
                </c:pt>
                <c:pt idx="71">
                  <c:v>0.5943328610187201</c:v>
                </c:pt>
                <c:pt idx="72">
                  <c:v>0.5912258351132043</c:v>
                </c:pt>
                <c:pt idx="73">
                  <c:v>0.5765760378633162</c:v>
                </c:pt>
                <c:pt idx="74">
                  <c:v>0.5500125862419336</c:v>
                </c:pt>
                <c:pt idx="75">
                  <c:v>0.7782212405654674</c:v>
                </c:pt>
                <c:pt idx="76">
                  <c:v>0.7980863022759048</c:v>
                </c:pt>
                <c:pt idx="77">
                  <c:v>0.4109154490871366</c:v>
                </c:pt>
                <c:pt idx="78">
                  <c:v>2.070102352198826</c:v>
                </c:pt>
                <c:pt idx="79">
                  <c:v>1.6883111018130672</c:v>
                </c:pt>
                <c:pt idx="80">
                  <c:v>1.654211191007365</c:v>
                </c:pt>
                <c:pt idx="81">
                  <c:v>1.2706470090625375</c:v>
                </c:pt>
                <c:pt idx="82">
                  <c:v>1.6428009563034274</c:v>
                </c:pt>
                <c:pt idx="83">
                  <c:v>2.08931405818351</c:v>
                </c:pt>
                <c:pt idx="84">
                  <c:v>0.6812206100320882</c:v>
                </c:pt>
                <c:pt idx="85">
                  <c:v>1.2201791785228386</c:v>
                </c:pt>
                <c:pt idx="86">
                  <c:v>0.6039706355464437</c:v>
                </c:pt>
                <c:pt idx="87">
                  <c:v>1.083198532811069</c:v>
                </c:pt>
              </c:numCache>
            </c:numRef>
          </c:xVal>
          <c:yVal>
            <c:numRef>
              <c:f>Sheet1!$B$2:$B$89</c:f>
              <c:numCache>
                <c:formatCode>General</c:formatCode>
                <c:ptCount val="88"/>
                <c:pt idx="0">
                  <c:v>0.0011991434689507495</c:v>
                </c:pt>
                <c:pt idx="1">
                  <c:v>0.00028042624789680314</c:v>
                </c:pt>
                <c:pt idx="2">
                  <c:v>0.0002781125428756837</c:v>
                </c:pt>
                <c:pt idx="3">
                  <c:v>0.00019022256039566293</c:v>
                </c:pt>
                <c:pt idx="4">
                  <c:v>0.00021652051531882645</c:v>
                </c:pt>
                <c:pt idx="5">
                  <c:v>0.0005534646889528448</c:v>
                </c:pt>
                <c:pt idx="6">
                  <c:v>0.000636604774535809</c:v>
                </c:pt>
                <c:pt idx="7">
                  <c:v>0.0008277166844034528</c:v>
                </c:pt>
                <c:pt idx="8">
                  <c:v>0.00046696240952603317</c:v>
                </c:pt>
                <c:pt idx="9">
                  <c:v>0.0005982650314089142</c:v>
                </c:pt>
                <c:pt idx="10">
                  <c:v>0.0002812675792237015</c:v>
                </c:pt>
                <c:pt idx="11">
                  <c:v>0.0006144123584657246</c:v>
                </c:pt>
                <c:pt idx="12">
                  <c:v>0.0004626773596545342</c:v>
                </c:pt>
                <c:pt idx="13">
                  <c:v>0.0005206525511975009</c:v>
                </c:pt>
                <c:pt idx="14">
                  <c:v>0.00018668906935498925</c:v>
                </c:pt>
                <c:pt idx="15">
                  <c:v>0.0005407743889249405</c:v>
                </c:pt>
                <c:pt idx="16">
                  <c:v>0.0004918234353866962</c:v>
                </c:pt>
                <c:pt idx="17">
                  <c:v>0.00040944452026750374</c:v>
                </c:pt>
                <c:pt idx="18">
                  <c:v>0.0005367686527106817</c:v>
                </c:pt>
                <c:pt idx="19">
                  <c:v>0.0005787874403125452</c:v>
                </c:pt>
                <c:pt idx="20">
                  <c:v>0.00034246575342465754</c:v>
                </c:pt>
                <c:pt idx="21">
                  <c:v>0.000943040362127499</c:v>
                </c:pt>
                <c:pt idx="22">
                  <c:v>0.0005824111822947001</c:v>
                </c:pt>
                <c:pt idx="23">
                  <c:v>0.0009082652134423251</c:v>
                </c:pt>
                <c:pt idx="24">
                  <c:v>0.0014447884416924665</c:v>
                </c:pt>
                <c:pt idx="25">
                  <c:v>0.000847457627118644</c:v>
                </c:pt>
                <c:pt idx="26">
                  <c:v>0.00035174111853675694</c:v>
                </c:pt>
                <c:pt idx="27">
                  <c:v>0.0008799718409010912</c:v>
                </c:pt>
                <c:pt idx="28">
                  <c:v>0.0006350214319733291</c:v>
                </c:pt>
                <c:pt idx="29">
                  <c:v>0.0007874015748031496</c:v>
                </c:pt>
                <c:pt idx="30">
                  <c:v>0.0008008008008008008</c:v>
                </c:pt>
                <c:pt idx="31">
                  <c:v>0.0006087662337662338</c:v>
                </c:pt>
                <c:pt idx="32">
                  <c:v>0.001777145903678692</c:v>
                </c:pt>
                <c:pt idx="33">
                  <c:v>0.001896633475580844</c:v>
                </c:pt>
                <c:pt idx="34">
                  <c:v>0.001708150317227916</c:v>
                </c:pt>
                <c:pt idx="35">
                  <c:v>0.0005660911406736484</c:v>
                </c:pt>
                <c:pt idx="36">
                  <c:v>0.0007027406886858749</c:v>
                </c:pt>
                <c:pt idx="37">
                  <c:v>0.0003351206434316354</c:v>
                </c:pt>
                <c:pt idx="38">
                  <c:v>0.0007473841554559044</c:v>
                </c:pt>
                <c:pt idx="39">
                  <c:v>0.00045676004872107184</c:v>
                </c:pt>
                <c:pt idx="40">
                  <c:v>0.0005029337803855825</c:v>
                </c:pt>
                <c:pt idx="41">
                  <c:v>0.0001405283867341203</c:v>
                </c:pt>
                <c:pt idx="42">
                  <c:v>0.0004873294346978557</c:v>
                </c:pt>
                <c:pt idx="43">
                  <c:v>0.0006576475009394964</c:v>
                </c:pt>
                <c:pt idx="44">
                  <c:v>0.00043825050398807957</c:v>
                </c:pt>
                <c:pt idx="45">
                  <c:v>0.0009446114212108201</c:v>
                </c:pt>
                <c:pt idx="46">
                  <c:v>0.0011339846475924634</c:v>
                </c:pt>
                <c:pt idx="47">
                  <c:v>0.0006391409945033875</c:v>
                </c:pt>
                <c:pt idx="48">
                  <c:v>0.0007207359986433205</c:v>
                </c:pt>
                <c:pt idx="49">
                  <c:v>0.0008355964069354502</c:v>
                </c:pt>
                <c:pt idx="50">
                  <c:v>0.0007998080460689434</c:v>
                </c:pt>
                <c:pt idx="51">
                  <c:v>0.00027660604384205796</c:v>
                </c:pt>
                <c:pt idx="52">
                  <c:v>0.00046048996131884323</c:v>
                </c:pt>
                <c:pt idx="53">
                  <c:v>0.0010156408693885843</c:v>
                </c:pt>
                <c:pt idx="54">
                  <c:v>0.000524824183898394</c:v>
                </c:pt>
                <c:pt idx="55">
                  <c:v>9.974067424695791e-05</c:v>
                </c:pt>
                <c:pt idx="56">
                  <c:v>0.0001799694052011158</c:v>
                </c:pt>
                <c:pt idx="57">
                  <c:v>8.116224332440549e-05</c:v>
                </c:pt>
                <c:pt idx="58">
                  <c:v>0.00021578464692237147</c:v>
                </c:pt>
                <c:pt idx="59">
                  <c:v>0.00022507314877335134</c:v>
                </c:pt>
                <c:pt idx="60">
                  <c:v>0.000373440884308014</c:v>
                </c:pt>
                <c:pt idx="61">
                  <c:v>0.00030483158055174517</c:v>
                </c:pt>
                <c:pt idx="62">
                  <c:v>0.0003925417075564279</c:v>
                </c:pt>
                <c:pt idx="63">
                  <c:v>0.0005675368898978433</c:v>
                </c:pt>
                <c:pt idx="64">
                  <c:v>0.0003447800303406427</c:v>
                </c:pt>
                <c:pt idx="65">
                  <c:v>7.407956144899622e-05</c:v>
                </c:pt>
                <c:pt idx="66">
                  <c:v>7.678722260615834e-05</c:v>
                </c:pt>
                <c:pt idx="67">
                  <c:v>0.00023070711731456916</c:v>
                </c:pt>
                <c:pt idx="68">
                  <c:v>0.00011132138483802739</c:v>
                </c:pt>
                <c:pt idx="69">
                  <c:v>0.0005693463903438852</c:v>
                </c:pt>
                <c:pt idx="70">
                  <c:v>0.0008230452674897119</c:v>
                </c:pt>
                <c:pt idx="71">
                  <c:v>0.0006932889628397116</c:v>
                </c:pt>
                <c:pt idx="72">
                  <c:v>0.0007217090069284065</c:v>
                </c:pt>
                <c:pt idx="73">
                  <c:v>0.0007265329845975008</c:v>
                </c:pt>
                <c:pt idx="74">
                  <c:v>0.0011488593467914</c:v>
                </c:pt>
                <c:pt idx="75">
                  <c:v>0.0008382229673093043</c:v>
                </c:pt>
                <c:pt idx="76">
                  <c:v>0.0006619228859837829</c:v>
                </c:pt>
                <c:pt idx="77">
                  <c:v>0.0014915254237288136</c:v>
                </c:pt>
                <c:pt idx="78">
                  <c:v>0.00016943409013893597</c:v>
                </c:pt>
                <c:pt idx="79">
                  <c:v>0.00021222410865874363</c:v>
                </c:pt>
                <c:pt idx="80">
                  <c:v>0.00021235931195582927</c:v>
                </c:pt>
                <c:pt idx="81">
                  <c:v>7.328154770628756e-05</c:v>
                </c:pt>
                <c:pt idx="82">
                  <c:v>5.774672287347693e-05</c:v>
                </c:pt>
                <c:pt idx="83">
                  <c:v>3.8968124074507054e-05</c:v>
                </c:pt>
                <c:pt idx="84">
                  <c:v>0.00012721027859051011</c:v>
                </c:pt>
                <c:pt idx="85">
                  <c:v>6.444544692917445e-05</c:v>
                </c:pt>
                <c:pt idx="86">
                  <c:v>0.00020827547903360177</c:v>
                </c:pt>
                <c:pt idx="87">
                  <c:v>7.61266747868453e-05</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25163992360699</c:v>
                </c:pt>
                <c:pt idx="21">
                  <c:v>0.7070767711186564</c:v>
                </c:pt>
                <c:pt idx="22">
                  <c:v>0.0</c:v>
                </c:pt>
                <c:pt idx="23">
                  <c:v>0.0</c:v>
                </c:pt>
                <c:pt idx="24">
                  <c:v>0.9476271249978911</c:v>
                </c:pt>
                <c:pt idx="25">
                  <c:v>0.0</c:v>
                </c:pt>
                <c:pt idx="26">
                  <c:v>0.502130106342899</c:v>
                </c:pt>
                <c:pt idx="27">
                  <c:v>0.7526455652351084</c:v>
                </c:pt>
                <c:pt idx="28">
                  <c:v>0.9288213107470388</c:v>
                </c:pt>
                <c:pt idx="29">
                  <c:v>0.0</c:v>
                </c:pt>
                <c:pt idx="30">
                  <c:v>0.0</c:v>
                </c:pt>
                <c:pt idx="31">
                  <c:v>1.413762453191181</c:v>
                </c:pt>
                <c:pt idx="32">
                  <c:v>1.192933163788536</c:v>
                </c:pt>
                <c:pt idx="33">
                  <c:v>1.151082146268363</c:v>
                </c:pt>
                <c:pt idx="34">
                  <c:v>0.0</c:v>
                </c:pt>
                <c:pt idx="35">
                  <c:v>0.0</c:v>
                </c:pt>
                <c:pt idx="36">
                  <c:v>1.1546386660437256</c:v>
                </c:pt>
                <c:pt idx="37">
                  <c:v>0.0</c:v>
                </c:pt>
                <c:pt idx="38">
                  <c:v>0.6443383681966601</c:v>
                </c:pt>
                <c:pt idx="39">
                  <c:v>0.6698011102684592</c:v>
                </c:pt>
                <c:pt idx="40">
                  <c:v>0.6506565637867918</c:v>
                </c:pt>
                <c:pt idx="41">
                  <c:v>1.1213666552280346</c:v>
                </c:pt>
                <c:pt idx="42">
                  <c:v>0.5176271049895297</c:v>
                </c:pt>
                <c:pt idx="43">
                  <c:v>0.40236945262247686</c:v>
                </c:pt>
                <c:pt idx="44">
                  <c:v>0.47364274386645294</c:v>
                </c:pt>
                <c:pt idx="45">
                  <c:v>0.7426863797037254</c:v>
                </c:pt>
                <c:pt idx="46">
                  <c:v>0.5499595662754074</c:v>
                </c:pt>
                <c:pt idx="47">
                  <c:v>0.6473292798480431</c:v>
                </c:pt>
                <c:pt idx="48">
                  <c:v>0.0</c:v>
                </c:pt>
                <c:pt idx="49">
                  <c:v>0.5453417423752396</c:v>
                </c:pt>
                <c:pt idx="50">
                  <c:v>0.22258304208920734</c:v>
                </c:pt>
                <c:pt idx="51">
                  <c:v>0.20503969210562828</c:v>
                </c:pt>
                <c:pt idx="52">
                  <c:v>0.35088331806488726</c:v>
                </c:pt>
                <c:pt idx="53">
                  <c:v>0.0</c:v>
                </c:pt>
                <c:pt idx="54">
                  <c:v>0.0</c:v>
                </c:pt>
                <c:pt idx="55">
                  <c:v>0.0</c:v>
                </c:pt>
                <c:pt idx="56">
                  <c:v>0.0</c:v>
                </c:pt>
                <c:pt idx="57">
                  <c:v>1.2489977652381543</c:v>
                </c:pt>
                <c:pt idx="58">
                  <c:v>0.9141552656714879</c:v>
                </c:pt>
                <c:pt idx="59">
                  <c:v>1.1495811409414873</c:v>
                </c:pt>
                <c:pt idx="60">
                  <c:v>0.0</c:v>
                </c:pt>
                <c:pt idx="61">
                  <c:v>0.0</c:v>
                </c:pt>
                <c:pt idx="62">
                  <c:v>0.0</c:v>
                </c:pt>
                <c:pt idx="63">
                  <c:v>0.0</c:v>
                </c:pt>
                <c:pt idx="64">
                  <c:v>0.0</c:v>
                </c:pt>
                <c:pt idx="65">
                  <c:v>0.0</c:v>
                </c:pt>
                <c:pt idx="66">
                  <c:v>0.0</c:v>
                </c:pt>
                <c:pt idx="67">
                  <c:v>0.5660424183706909</c:v>
                </c:pt>
                <c:pt idx="68">
                  <c:v>1.5382123597972106</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6.82081713389264e-05</c:v>
                </c:pt>
                <c:pt idx="21">
                  <c:v>0.00014652014652014652</c:v>
                </c:pt>
                <c:pt idx="22">
                  <c:v>0.0</c:v>
                </c:pt>
                <c:pt idx="23">
                  <c:v>0.0</c:v>
                </c:pt>
                <c:pt idx="24">
                  <c:v>0.00010640561821664184</c:v>
                </c:pt>
                <c:pt idx="25">
                  <c:v>0.0</c:v>
                </c:pt>
                <c:pt idx="26">
                  <c:v>0.0001932367149758454</c:v>
                </c:pt>
                <c:pt idx="27">
                  <c:v>8.98069151324652e-05</c:v>
                </c:pt>
                <c:pt idx="28">
                  <c:v>0.00015350372246526978</c:v>
                </c:pt>
                <c:pt idx="29">
                  <c:v>0.0</c:v>
                </c:pt>
                <c:pt idx="30">
                  <c:v>0.0</c:v>
                </c:pt>
                <c:pt idx="31">
                  <c:v>8.553588230262595e-05</c:v>
                </c:pt>
                <c:pt idx="32">
                  <c:v>8.918219923303308e-05</c:v>
                </c:pt>
                <c:pt idx="33">
                  <c:v>0.00019843238416509574</c:v>
                </c:pt>
                <c:pt idx="34">
                  <c:v>0.0</c:v>
                </c:pt>
                <c:pt idx="35">
                  <c:v>0.0</c:v>
                </c:pt>
                <c:pt idx="36">
                  <c:v>0.00011122233344455567</c:v>
                </c:pt>
                <c:pt idx="37">
                  <c:v>0.0</c:v>
                </c:pt>
                <c:pt idx="38">
                  <c:v>0.0003213883978788366</c:v>
                </c:pt>
                <c:pt idx="39">
                  <c:v>0.0003180155827635554</c:v>
                </c:pt>
                <c:pt idx="40">
                  <c:v>0.00015946420028703555</c:v>
                </c:pt>
                <c:pt idx="41">
                  <c:v>0.00014990256333383302</c:v>
                </c:pt>
                <c:pt idx="42">
                  <c:v>0.00047244094488188977</c:v>
                </c:pt>
                <c:pt idx="43">
                  <c:v>0.0007918910357934748</c:v>
                </c:pt>
                <c:pt idx="44">
                  <c:v>0.0002881014116969173</c:v>
                </c:pt>
                <c:pt idx="45">
                  <c:v>0.0002621231979030144</c:v>
                </c:pt>
                <c:pt idx="46">
                  <c:v>0.00031660598385309483</c:v>
                </c:pt>
                <c:pt idx="47">
                  <c:v>0.00016561775422325274</c:v>
                </c:pt>
                <c:pt idx="48">
                  <c:v>0.0</c:v>
                </c:pt>
                <c:pt idx="49">
                  <c:v>0.00016857720836142953</c:v>
                </c:pt>
                <c:pt idx="50">
                  <c:v>0.0006700167504187605</c:v>
                </c:pt>
                <c:pt idx="51">
                  <c:v>0.0005676013168350551</c:v>
                </c:pt>
                <c:pt idx="52">
                  <c:v>0.000619041723412158</c:v>
                </c:pt>
                <c:pt idx="53">
                  <c:v>0.0</c:v>
                </c:pt>
                <c:pt idx="54">
                  <c:v>0.0</c:v>
                </c:pt>
                <c:pt idx="55">
                  <c:v>0.0</c:v>
                </c:pt>
                <c:pt idx="56">
                  <c:v>0.0</c:v>
                </c:pt>
                <c:pt idx="57">
                  <c:v>0.0001386001386001386</c:v>
                </c:pt>
                <c:pt idx="58">
                  <c:v>0.0001291155584247902</c:v>
                </c:pt>
                <c:pt idx="59">
                  <c:v>0.0001426330052774212</c:v>
                </c:pt>
                <c:pt idx="60">
                  <c:v>0.0</c:v>
                </c:pt>
                <c:pt idx="61">
                  <c:v>0.0</c:v>
                </c:pt>
                <c:pt idx="62">
                  <c:v>0.0</c:v>
                </c:pt>
                <c:pt idx="63">
                  <c:v>0.0</c:v>
                </c:pt>
                <c:pt idx="64">
                  <c:v>0.0</c:v>
                </c:pt>
                <c:pt idx="65">
                  <c:v>0.0</c:v>
                </c:pt>
                <c:pt idx="66">
                  <c:v>0.0</c:v>
                </c:pt>
                <c:pt idx="67">
                  <c:v>0.00014715079277489608</c:v>
                </c:pt>
                <c:pt idx="68">
                  <c:v>5.969080164746613e-0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6.929145080691242</c:v>
                </c:pt>
              </c:numCache>
            </c:numRef>
          </c:xVal>
          <c:yVal>
            <c:numRef>
              <c:f>Sheet1!$B$163:$B$164</c:f>
              <c:numCache>
                <c:formatCode>General</c:formatCode>
                <c:ptCount val="2"/>
                <c:pt idx="0">
                  <c:v>0.0009587265543628102</c:v>
                </c:pt>
                <c:pt idx="1">
                  <c:v>0.000958726554362810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6.929145080691242</c:v>
                </c:pt>
                <c:pt idx="1">
                  <c:v>6.929145080691242</c:v>
                </c:pt>
              </c:numCache>
            </c:numRef>
          </c:xVal>
          <c:yVal>
            <c:numRef>
              <c:f>Sheet1!$B$167:$B$168</c:f>
              <c:numCache>
                <c:formatCode>General</c:formatCode>
                <c:ptCount val="2"/>
                <c:pt idx="0">
                  <c:v>0.0009587265543628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106789602967332</c:v>
                </c:pt>
              </c:numCache>
            </c:numRef>
          </c:xVal>
          <c:yVal>
            <c:numRef>
              <c:f>Sheet1!$B$171:$B$172</c:f>
              <c:numCache>
                <c:formatCode>General</c:formatCode>
                <c:ptCount val="2"/>
                <c:pt idx="0">
                  <c:v>0.0003331044577193318</c:v>
                </c:pt>
                <c:pt idx="1">
                  <c:v>0.000333104457719331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106789602967332</c:v>
                </c:pt>
                <c:pt idx="1">
                  <c:v>2.106789602967332</c:v>
                </c:pt>
              </c:numCache>
            </c:numRef>
          </c:xVal>
          <c:yVal>
            <c:numRef>
              <c:f>Sheet1!$B$175:$B$176</c:f>
              <c:numCache>
                <c:formatCode>General</c:formatCode>
                <c:ptCount val="2"/>
                <c:pt idx="0">
                  <c:v>0.00033310445771933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9486074329687236</c:v>
                </c:pt>
              </c:numCache>
            </c:numRef>
          </c:xVal>
          <c:yVal>
            <c:numRef>
              <c:f>Sheet1!$B$179:$B$180</c:f>
              <c:numCache>
                <c:formatCode>General</c:formatCode>
                <c:ptCount val="2"/>
                <c:pt idx="0">
                  <c:v>4.747617667113171e-05</c:v>
                </c:pt>
                <c:pt idx="1">
                  <c:v>4.747617667113171e-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9486074329687236</c:v>
                </c:pt>
                <c:pt idx="1">
                  <c:v>-0.09486074329687236</c:v>
                </c:pt>
              </c:numCache>
            </c:numRef>
          </c:xVal>
          <c:yVal>
            <c:numRef>
              <c:f>Sheet1!$B$183:$B$184</c:f>
              <c:numCache>
                <c:formatCode>General</c:formatCode>
                <c:ptCount val="2"/>
                <c:pt idx="0">
                  <c:v>4.747617667113171e-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25163992360699</c:v>
                </c:pt>
                <c:pt idx="21">
                  <c:v>0.7070767711186564</c:v>
                </c:pt>
                <c:pt idx="22">
                  <c:v>0.0</c:v>
                </c:pt>
                <c:pt idx="23">
                  <c:v>0.0</c:v>
                </c:pt>
                <c:pt idx="24">
                  <c:v>0.9476271249978911</c:v>
                </c:pt>
                <c:pt idx="25">
                  <c:v>0.0</c:v>
                </c:pt>
                <c:pt idx="26">
                  <c:v>0.502130106342899</c:v>
                </c:pt>
                <c:pt idx="27">
                  <c:v>0.7526455652351084</c:v>
                </c:pt>
                <c:pt idx="28">
                  <c:v>0.9288213107470388</c:v>
                </c:pt>
                <c:pt idx="29">
                  <c:v>0.0</c:v>
                </c:pt>
                <c:pt idx="30">
                  <c:v>0.0</c:v>
                </c:pt>
                <c:pt idx="31">
                  <c:v>1.413762453191181</c:v>
                </c:pt>
                <c:pt idx="32">
                  <c:v>1.192933163788536</c:v>
                </c:pt>
                <c:pt idx="33">
                  <c:v>1.151082146268363</c:v>
                </c:pt>
                <c:pt idx="34">
                  <c:v>0.0</c:v>
                </c:pt>
                <c:pt idx="35">
                  <c:v>0.0</c:v>
                </c:pt>
                <c:pt idx="36">
                  <c:v>1.1546386660437256</c:v>
                </c:pt>
                <c:pt idx="37">
                  <c:v>0.0</c:v>
                </c:pt>
                <c:pt idx="38">
                  <c:v>0.6443383681966601</c:v>
                </c:pt>
                <c:pt idx="39">
                  <c:v>0.6698011102684592</c:v>
                </c:pt>
                <c:pt idx="40">
                  <c:v>0.6506565637867918</c:v>
                </c:pt>
                <c:pt idx="41">
                  <c:v>1.1213666552280346</c:v>
                </c:pt>
                <c:pt idx="42">
                  <c:v>0.5176271049895297</c:v>
                </c:pt>
                <c:pt idx="43">
                  <c:v>0.40236945262247686</c:v>
                </c:pt>
                <c:pt idx="44">
                  <c:v>0.47364274386645294</c:v>
                </c:pt>
                <c:pt idx="45">
                  <c:v>0.7426863797037254</c:v>
                </c:pt>
                <c:pt idx="46">
                  <c:v>0.5499595662754074</c:v>
                </c:pt>
                <c:pt idx="47">
                  <c:v>0.6473292798480431</c:v>
                </c:pt>
                <c:pt idx="48">
                  <c:v>0.0</c:v>
                </c:pt>
                <c:pt idx="49">
                  <c:v>0.5453417423752396</c:v>
                </c:pt>
                <c:pt idx="50">
                  <c:v>0.22258304208920734</c:v>
                </c:pt>
                <c:pt idx="51">
                  <c:v>0.20503969210562828</c:v>
                </c:pt>
                <c:pt idx="52">
                  <c:v>0.35088331806488726</c:v>
                </c:pt>
                <c:pt idx="53">
                  <c:v>0.0</c:v>
                </c:pt>
                <c:pt idx="54">
                  <c:v>0.0</c:v>
                </c:pt>
                <c:pt idx="55">
                  <c:v>0.0</c:v>
                </c:pt>
                <c:pt idx="56">
                  <c:v>0.0</c:v>
                </c:pt>
                <c:pt idx="57">
                  <c:v>1.2489977652381543</c:v>
                </c:pt>
                <c:pt idx="58">
                  <c:v>0.9141552656714879</c:v>
                </c:pt>
                <c:pt idx="59">
                  <c:v>1.1495811409414873</c:v>
                </c:pt>
                <c:pt idx="60">
                  <c:v>0.0</c:v>
                </c:pt>
                <c:pt idx="61">
                  <c:v>0.0</c:v>
                </c:pt>
                <c:pt idx="62">
                  <c:v>0.0</c:v>
                </c:pt>
                <c:pt idx="63">
                  <c:v>0.0</c:v>
                </c:pt>
                <c:pt idx="64">
                  <c:v>0.0</c:v>
                </c:pt>
                <c:pt idx="65">
                  <c:v>0.0</c:v>
                </c:pt>
                <c:pt idx="66">
                  <c:v>0.0</c:v>
                </c:pt>
                <c:pt idx="67">
                  <c:v>0.5660424183706909</c:v>
                </c:pt>
                <c:pt idx="68">
                  <c:v>1.5382123597972106</c:v>
                </c:pt>
                <c:pt idx="69">
                  <c:v>2.106789602967332</c:v>
                </c:pt>
                <c:pt idx="70">
                  <c:v>6.929145080691242</c:v>
                </c:pt>
                <c:pt idx="71">
                  <c:v>-0.09486074329687236</c:v>
                </c:pt>
              </c:numCache>
            </c:numRef>
          </c:xVal>
          <c:yVal>
            <c:numRef>
              <c:f>Sheet1!$B$187:$B$258</c:f>
              <c:numCache>
                <c:formatCode>General</c:formatCode>
                <c:ptCount val="72"/>
                <c:pt idx="0">
                  <c:v>5.978281341425275e-05</c:v>
                </c:pt>
                <c:pt idx="1">
                  <c:v>5.978281341425275e-05</c:v>
                </c:pt>
                <c:pt idx="2">
                  <c:v>5.978281341425275e-05</c:v>
                </c:pt>
                <c:pt idx="3">
                  <c:v>5.978281341425275e-05</c:v>
                </c:pt>
                <c:pt idx="4">
                  <c:v>5.978281341425275e-05</c:v>
                </c:pt>
                <c:pt idx="5">
                  <c:v>5.978281341425275e-05</c:v>
                </c:pt>
                <c:pt idx="6">
                  <c:v>5.978281341425275e-05</c:v>
                </c:pt>
                <c:pt idx="7">
                  <c:v>5.978281341425275e-05</c:v>
                </c:pt>
                <c:pt idx="8">
                  <c:v>5.978281341425275e-05</c:v>
                </c:pt>
                <c:pt idx="9">
                  <c:v>5.978281341425275e-05</c:v>
                </c:pt>
                <c:pt idx="10">
                  <c:v>5.978281341425275e-05</c:v>
                </c:pt>
                <c:pt idx="11">
                  <c:v>5.978281341425275e-05</c:v>
                </c:pt>
                <c:pt idx="12">
                  <c:v>5.978281341425275e-05</c:v>
                </c:pt>
                <c:pt idx="13">
                  <c:v>5.978281341425275e-05</c:v>
                </c:pt>
                <c:pt idx="14">
                  <c:v>5.978281341425275e-05</c:v>
                </c:pt>
                <c:pt idx="15">
                  <c:v>5.978281341425275e-05</c:v>
                </c:pt>
                <c:pt idx="16">
                  <c:v>5.978281341425275e-05</c:v>
                </c:pt>
                <c:pt idx="17">
                  <c:v>5.978281341425275e-05</c:v>
                </c:pt>
                <c:pt idx="18">
                  <c:v>5.978281341425275e-05</c:v>
                </c:pt>
                <c:pt idx="19">
                  <c:v>5.978281341425275e-05</c:v>
                </c:pt>
                <c:pt idx="20">
                  <c:v>0.00022216271196525702</c:v>
                </c:pt>
                <c:pt idx="21">
                  <c:v>0.00015151451052338922</c:v>
                </c:pt>
                <c:pt idx="22">
                  <c:v>5.978281341425275e-05</c:v>
                </c:pt>
                <c:pt idx="23">
                  <c:v>5.978281341425275e-05</c:v>
                </c:pt>
                <c:pt idx="24">
                  <c:v>0.00018272200184945144</c:v>
                </c:pt>
                <c:pt idx="25">
                  <c:v>5.978281341425275e-05</c:v>
                </c:pt>
                <c:pt idx="26">
                  <c:v>0.00012492601809279484</c:v>
                </c:pt>
                <c:pt idx="27">
                  <c:v>0.00015742631952385416</c:v>
                </c:pt>
                <c:pt idx="28">
                  <c:v>0.00018028225368176573</c:v>
                </c:pt>
                <c:pt idx="29">
                  <c:v>5.978281341425275e-05</c:v>
                </c:pt>
                <c:pt idx="30">
                  <c:v>5.978281341425275e-05</c:v>
                </c:pt>
                <c:pt idx="31">
                  <c:v>0.00024319547019723177</c:v>
                </c:pt>
                <c:pt idx="32">
                  <c:v>0.0002145464658518325</c:v>
                </c:pt>
                <c:pt idx="33">
                  <c:v>0.00020911697782495818</c:v>
                </c:pt>
                <c:pt idx="34">
                  <c:v>5.978281341425275e-05</c:v>
                </c:pt>
                <c:pt idx="35">
                  <c:v>5.978281341425275e-05</c:v>
                </c:pt>
                <c:pt idx="36">
                  <c:v>0.0002095783783519195</c:v>
                </c:pt>
                <c:pt idx="37">
                  <c:v>5.978281341425275e-05</c:v>
                </c:pt>
                <c:pt idx="38">
                  <c:v>0.0001433752243680168</c:v>
                </c:pt>
                <c:pt idx="39">
                  <c:v>0.00014667860051994862</c:v>
                </c:pt>
                <c:pt idx="40">
                  <c:v>0.000144194907361185</c:v>
                </c:pt>
                <c:pt idx="41">
                  <c:v>0.00020526187674555472</c:v>
                </c:pt>
                <c:pt idx="42">
                  <c:v>0.00012693650131614324</c:v>
                </c:pt>
                <c:pt idx="43">
                  <c:v>0.00011198369776170376</c:v>
                </c:pt>
                <c:pt idx="44">
                  <c:v>0.00012123024669587392</c:v>
                </c:pt>
                <c:pt idx="45">
                  <c:v>0.00015613427737520152</c:v>
                </c:pt>
                <c:pt idx="46">
                  <c:v>0.00013113111167051354</c:v>
                </c:pt>
                <c:pt idx="47">
                  <c:v>0.00014376324645117868</c:v>
                </c:pt>
                <c:pt idx="48">
                  <c:v>5.978281341425275e-05</c:v>
                </c:pt>
                <c:pt idx="49">
                  <c:v>0.0001305320242154931</c:v>
                </c:pt>
                <c:pt idx="50">
                  <c:v>8.865933861285945e-05</c:v>
                </c:pt>
                <c:pt idx="51">
                  <c:v>8.638337462605329e-05</c:v>
                </c:pt>
                <c:pt idx="52">
                  <c:v>0.00010530421019618101</c:v>
                </c:pt>
                <c:pt idx="53">
                  <c:v>5.978281341425275e-05</c:v>
                </c:pt>
                <c:pt idx="54">
                  <c:v>5.978281341425275e-05</c:v>
                </c:pt>
                <c:pt idx="55">
                  <c:v>5.978281341425275e-05</c:v>
                </c:pt>
                <c:pt idx="56">
                  <c:v>5.978281341425275e-05</c:v>
                </c:pt>
                <c:pt idx="57">
                  <c:v>0.0002218199349414539</c:v>
                </c:pt>
                <c:pt idx="58">
                  <c:v>0.00017837957315312817</c:v>
                </c:pt>
                <c:pt idx="59">
                  <c:v>0.00020892224682596597</c:v>
                </c:pt>
                <c:pt idx="60">
                  <c:v>5.978281341425275e-05</c:v>
                </c:pt>
                <c:pt idx="61">
                  <c:v>5.978281341425275e-05</c:v>
                </c:pt>
                <c:pt idx="62">
                  <c:v>5.978281341425275e-05</c:v>
                </c:pt>
                <c:pt idx="63">
                  <c:v>5.978281341425275e-05</c:v>
                </c:pt>
                <c:pt idx="64">
                  <c:v>5.978281341425275e-05</c:v>
                </c:pt>
                <c:pt idx="65">
                  <c:v>5.978281341425275e-05</c:v>
                </c:pt>
                <c:pt idx="66">
                  <c:v>5.978281341425275e-05</c:v>
                </c:pt>
                <c:pt idx="67">
                  <c:v>0.0001332175998388655</c:v>
                </c:pt>
                <c:pt idx="68">
                  <c:v>0.0002593408190537407</c:v>
                </c:pt>
                <c:pt idx="69">
                  <c:v>0.0003331044577193318</c:v>
                </c:pt>
                <c:pt idx="70">
                  <c:v>0.0009587265543628102</c:v>
                </c:pt>
                <c:pt idx="71">
                  <c:v>4.747617667113171e-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275960170697012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4387.0</c:v>
                </c:pt>
                <c:pt idx="18">
                  <c:v>3807.0</c:v>
                </c:pt>
                <c:pt idx="19">
                  <c:v>3804.25</c:v>
                </c:pt>
                <c:pt idx="20">
                  <c:v>3359.5</c:v>
                </c:pt>
                <c:pt idx="21">
                  <c:v>4369.8</c:v>
                </c:pt>
                <c:pt idx="22">
                  <c:v>6539.0</c:v>
                </c:pt>
                <c:pt idx="23">
                  <c:v>5053.4</c:v>
                </c:pt>
                <c:pt idx="24">
                  <c:v>3948.1429</c:v>
                </c:pt>
                <c:pt idx="25">
                  <c:v>6402.2</c:v>
                </c:pt>
                <c:pt idx="26">
                  <c:v>7763.5</c:v>
                </c:pt>
                <c:pt idx="27">
                  <c:v>3345.6</c:v>
                </c:pt>
                <c:pt idx="28">
                  <c:v>7017.25</c:v>
                </c:pt>
                <c:pt idx="29">
                  <c:v>3873.25</c:v>
                </c:pt>
                <c:pt idx="30">
                  <c:v>5011.5</c:v>
                </c:pt>
                <c:pt idx="31">
                  <c:v>5771.0</c:v>
                </c:pt>
                <c:pt idx="32">
                  <c:v>3461.5</c:v>
                </c:pt>
                <c:pt idx="33">
                  <c:v>3505.5833</c:v>
                </c:pt>
                <c:pt idx="34">
                  <c:v>3707.6429</c:v>
                </c:pt>
                <c:pt idx="35">
                  <c:v>6483.0</c:v>
                </c:pt>
                <c:pt idx="36">
                  <c:v>4574.5</c:v>
                </c:pt>
                <c:pt idx="37">
                  <c:v>7663.0</c:v>
                </c:pt>
                <c:pt idx="38">
                  <c:v>5601.0</c:v>
                </c:pt>
                <c:pt idx="39">
                  <c:v>5694.6667</c:v>
                </c:pt>
                <c:pt idx="40">
                  <c:v>5335.6667</c:v>
                </c:pt>
                <c:pt idx="41">
                  <c:v>10645.0</c:v>
                </c:pt>
                <c:pt idx="42">
                  <c:v>5430.5</c:v>
                </c:pt>
                <c:pt idx="43">
                  <c:v>3861.5714</c:v>
                </c:pt>
                <c:pt idx="44">
                  <c:v>4392.6</c:v>
                </c:pt>
                <c:pt idx="45">
                  <c:v>4084.4545</c:v>
                </c:pt>
                <c:pt idx="46">
                  <c:v>3682.6154</c:v>
                </c:pt>
                <c:pt idx="47">
                  <c:v>4401.9</c:v>
                </c:pt>
                <c:pt idx="48">
                  <c:v>3202.1176</c:v>
                </c:pt>
                <c:pt idx="49">
                  <c:v>3614.8333</c:v>
                </c:pt>
                <c:pt idx="50">
                  <c:v>4083.9</c:v>
                </c:pt>
                <c:pt idx="51">
                  <c:v>4174.75</c:v>
                </c:pt>
                <c:pt idx="52">
                  <c:v>3479.2</c:v>
                </c:pt>
                <c:pt idx="53">
                  <c:v>3423.5</c:v>
                </c:pt>
                <c:pt idx="54">
                  <c:v>4202.4</c:v>
                </c:pt>
                <c:pt idx="55">
                  <c:v>15202.0</c:v>
                </c:pt>
                <c:pt idx="56">
                  <c:v>6202.5</c:v>
                </c:pt>
                <c:pt idx="57">
                  <c:v>10480.0</c:v>
                </c:pt>
                <c:pt idx="58">
                  <c:v>4706.5</c:v>
                </c:pt>
                <c:pt idx="59">
                  <c:v>3925.25</c:v>
                </c:pt>
                <c:pt idx="60">
                  <c:v>3984.0</c:v>
                </c:pt>
                <c:pt idx="61">
                  <c:v>3894.25</c:v>
                </c:pt>
                <c:pt idx="62">
                  <c:v>3523.6667</c:v>
                </c:pt>
                <c:pt idx="63">
                  <c:v>2920.0</c:v>
                </c:pt>
                <c:pt idx="64">
                  <c:v>3077.6</c:v>
                </c:pt>
                <c:pt idx="65">
                  <c:v>6638.0</c:v>
                </c:pt>
                <c:pt idx="66">
                  <c:v>10119.0</c:v>
                </c:pt>
                <c:pt idx="67">
                  <c:v>5730.5</c:v>
                </c:pt>
                <c:pt idx="68">
                  <c:v>17630.0</c:v>
                </c:pt>
                <c:pt idx="69">
                  <c:v>5701.0</c:v>
                </c:pt>
                <c:pt idx="70">
                  <c:v>5620.2857</c:v>
                </c:pt>
                <c:pt idx="71">
                  <c:v>6033.2</c:v>
                </c:pt>
                <c:pt idx="72">
                  <c:v>5945.6</c:v>
                </c:pt>
                <c:pt idx="73">
                  <c:v>5831.6</c:v>
                </c:pt>
                <c:pt idx="74">
                  <c:v>5610.1429</c:v>
                </c:pt>
                <c:pt idx="75">
                  <c:v>8324.4</c:v>
                </c:pt>
                <c:pt idx="76">
                  <c:v>8366.5</c:v>
                </c:pt>
                <c:pt idx="77">
                  <c:v>4291.4545</c:v>
                </c:pt>
                <c:pt idx="78">
                  <c:v>22182.0</c:v>
                </c:pt>
                <c:pt idx="79">
                  <c:v>18169.0</c:v>
                </c:pt>
                <c:pt idx="80">
                  <c:v>17887.0</c:v>
                </c:pt>
                <c:pt idx="81">
                  <c:v>11855.0</c:v>
                </c:pt>
                <c:pt idx="82">
                  <c:v>14450.0</c:v>
                </c:pt>
                <c:pt idx="83">
                  <c:v>17175.0</c:v>
                </c:pt>
                <c:pt idx="84">
                  <c:v>6509.5</c:v>
                </c:pt>
                <c:pt idx="85">
                  <c:v>11668.0</c:v>
                </c:pt>
                <c:pt idx="86">
                  <c:v>5744.6667</c:v>
                </c:pt>
                <c:pt idx="87">
                  <c:v>10423.0</c:v>
                </c:pt>
              </c:numCache>
            </c:numRef>
          </c:xVal>
          <c:yVal>
            <c:numRef>
              <c:f>Sheet1!$B$2:$B$89</c:f>
              <c:numCache>
                <c:formatCode>General</c:formatCode>
                <c:ptCount val="88"/>
                <c:pt idx="0">
                  <c:v>0.0011991434689507495</c:v>
                </c:pt>
                <c:pt idx="1">
                  <c:v>0.00028042624789680314</c:v>
                </c:pt>
                <c:pt idx="2">
                  <c:v>0.0002781125428756837</c:v>
                </c:pt>
                <c:pt idx="3">
                  <c:v>0.00019022256039566293</c:v>
                </c:pt>
                <c:pt idx="4">
                  <c:v>0.00021652051531882645</c:v>
                </c:pt>
                <c:pt idx="5">
                  <c:v>0.0005534646889528448</c:v>
                </c:pt>
                <c:pt idx="6">
                  <c:v>0.000636604774535809</c:v>
                </c:pt>
                <c:pt idx="7">
                  <c:v>0.0008277166844034528</c:v>
                </c:pt>
                <c:pt idx="8">
                  <c:v>0.00046696240952603317</c:v>
                </c:pt>
                <c:pt idx="9">
                  <c:v>0.0005982650314089142</c:v>
                </c:pt>
                <c:pt idx="10">
                  <c:v>0.0002812675792237015</c:v>
                </c:pt>
                <c:pt idx="11">
                  <c:v>0.0006144123584657246</c:v>
                </c:pt>
                <c:pt idx="12">
                  <c:v>0.0004626773596545342</c:v>
                </c:pt>
                <c:pt idx="13">
                  <c:v>0.0005206525511975009</c:v>
                </c:pt>
                <c:pt idx="14">
                  <c:v>0.00018668906935498925</c:v>
                </c:pt>
                <c:pt idx="15">
                  <c:v>0.0005407743889249405</c:v>
                </c:pt>
                <c:pt idx="16">
                  <c:v>0.0004918234353866962</c:v>
                </c:pt>
                <c:pt idx="17">
                  <c:v>0.00040944452026750374</c:v>
                </c:pt>
                <c:pt idx="18">
                  <c:v>0.0005367686527106817</c:v>
                </c:pt>
                <c:pt idx="19">
                  <c:v>0.0005787874403125452</c:v>
                </c:pt>
                <c:pt idx="20">
                  <c:v>0.00034246575342465754</c:v>
                </c:pt>
                <c:pt idx="21">
                  <c:v>0.000943040362127499</c:v>
                </c:pt>
                <c:pt idx="22">
                  <c:v>0.0005824111822947001</c:v>
                </c:pt>
                <c:pt idx="23">
                  <c:v>0.0009082652134423251</c:v>
                </c:pt>
                <c:pt idx="24">
                  <c:v>0.0014447884416924665</c:v>
                </c:pt>
                <c:pt idx="25">
                  <c:v>0.000847457627118644</c:v>
                </c:pt>
                <c:pt idx="26">
                  <c:v>0.00035174111853675694</c:v>
                </c:pt>
                <c:pt idx="27">
                  <c:v>0.0008799718409010912</c:v>
                </c:pt>
                <c:pt idx="28">
                  <c:v>0.0006350214319733291</c:v>
                </c:pt>
                <c:pt idx="29">
                  <c:v>0.0007874015748031496</c:v>
                </c:pt>
                <c:pt idx="30">
                  <c:v>0.0008008008008008008</c:v>
                </c:pt>
                <c:pt idx="31">
                  <c:v>0.0006087662337662338</c:v>
                </c:pt>
                <c:pt idx="32">
                  <c:v>0.001777145903678692</c:v>
                </c:pt>
                <c:pt idx="33">
                  <c:v>0.001896633475580844</c:v>
                </c:pt>
                <c:pt idx="34">
                  <c:v>0.001708150317227916</c:v>
                </c:pt>
                <c:pt idx="35">
                  <c:v>0.0005660911406736484</c:v>
                </c:pt>
                <c:pt idx="36">
                  <c:v>0.0007027406886858749</c:v>
                </c:pt>
                <c:pt idx="37">
                  <c:v>0.0003351206434316354</c:v>
                </c:pt>
                <c:pt idx="38">
                  <c:v>0.0007473841554559044</c:v>
                </c:pt>
                <c:pt idx="39">
                  <c:v>0.00045676004872107184</c:v>
                </c:pt>
                <c:pt idx="40">
                  <c:v>0.0005029337803855825</c:v>
                </c:pt>
                <c:pt idx="41">
                  <c:v>0.0001405283867341203</c:v>
                </c:pt>
                <c:pt idx="42">
                  <c:v>0.0004873294346978557</c:v>
                </c:pt>
                <c:pt idx="43">
                  <c:v>0.0006576475009394964</c:v>
                </c:pt>
                <c:pt idx="44">
                  <c:v>0.00043825050398807957</c:v>
                </c:pt>
                <c:pt idx="45">
                  <c:v>0.0009446114212108201</c:v>
                </c:pt>
                <c:pt idx="46">
                  <c:v>0.0011339846475924634</c:v>
                </c:pt>
                <c:pt idx="47">
                  <c:v>0.0006391409945033875</c:v>
                </c:pt>
                <c:pt idx="48">
                  <c:v>0.0007207359986433205</c:v>
                </c:pt>
                <c:pt idx="49">
                  <c:v>0.0008355964069354502</c:v>
                </c:pt>
                <c:pt idx="50">
                  <c:v>0.0007998080460689434</c:v>
                </c:pt>
                <c:pt idx="51">
                  <c:v>0.00027660604384205796</c:v>
                </c:pt>
                <c:pt idx="52">
                  <c:v>0.00046048996131884323</c:v>
                </c:pt>
                <c:pt idx="53">
                  <c:v>0.0010156408693885843</c:v>
                </c:pt>
                <c:pt idx="54">
                  <c:v>0.000524824183898394</c:v>
                </c:pt>
                <c:pt idx="55">
                  <c:v>9.974067424695791e-05</c:v>
                </c:pt>
                <c:pt idx="56">
                  <c:v>0.0001799694052011158</c:v>
                </c:pt>
                <c:pt idx="57">
                  <c:v>8.116224332440549e-05</c:v>
                </c:pt>
                <c:pt idx="58">
                  <c:v>0.00021578464692237147</c:v>
                </c:pt>
                <c:pt idx="59">
                  <c:v>0.00022507314877335134</c:v>
                </c:pt>
                <c:pt idx="60">
                  <c:v>0.000373440884308014</c:v>
                </c:pt>
                <c:pt idx="61">
                  <c:v>0.00030483158055174517</c:v>
                </c:pt>
                <c:pt idx="62">
                  <c:v>0.0003925417075564279</c:v>
                </c:pt>
                <c:pt idx="63">
                  <c:v>0.0005675368898978433</c:v>
                </c:pt>
                <c:pt idx="64">
                  <c:v>0.0003447800303406427</c:v>
                </c:pt>
                <c:pt idx="65">
                  <c:v>7.407956144899622e-05</c:v>
                </c:pt>
                <c:pt idx="66">
                  <c:v>7.678722260615834e-05</c:v>
                </c:pt>
                <c:pt idx="67">
                  <c:v>0.00023070711731456916</c:v>
                </c:pt>
                <c:pt idx="68">
                  <c:v>0.00011132138483802739</c:v>
                </c:pt>
                <c:pt idx="69">
                  <c:v>0.0005693463903438852</c:v>
                </c:pt>
                <c:pt idx="70">
                  <c:v>0.0008230452674897119</c:v>
                </c:pt>
                <c:pt idx="71">
                  <c:v>0.0006932889628397116</c:v>
                </c:pt>
                <c:pt idx="72">
                  <c:v>0.0007217090069284065</c:v>
                </c:pt>
                <c:pt idx="73">
                  <c:v>0.0007265329845975008</c:v>
                </c:pt>
                <c:pt idx="74">
                  <c:v>0.0011488593467914</c:v>
                </c:pt>
                <c:pt idx="75">
                  <c:v>0.0008382229673093043</c:v>
                </c:pt>
                <c:pt idx="76">
                  <c:v>0.0006619228859837829</c:v>
                </c:pt>
                <c:pt idx="77">
                  <c:v>0.0014915254237288136</c:v>
                </c:pt>
                <c:pt idx="78">
                  <c:v>0.00016943409013893597</c:v>
                </c:pt>
                <c:pt idx="79">
                  <c:v>0.00021222410865874363</c:v>
                </c:pt>
                <c:pt idx="80">
                  <c:v>0.00021235931195582927</c:v>
                </c:pt>
                <c:pt idx="81">
                  <c:v>7.328154770628756e-05</c:v>
                </c:pt>
                <c:pt idx="82">
                  <c:v>5.774672287347693e-05</c:v>
                </c:pt>
                <c:pt idx="83">
                  <c:v>3.8968124074507054e-05</c:v>
                </c:pt>
                <c:pt idx="84">
                  <c:v>0.00012721027859051011</c:v>
                </c:pt>
                <c:pt idx="85">
                  <c:v>6.444544692917445e-05</c:v>
                </c:pt>
                <c:pt idx="86">
                  <c:v>0.00020827547903360177</c:v>
                </c:pt>
                <c:pt idx="87">
                  <c:v>7.61266747868453e-05</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6.82081713389264e-05</c:v>
                </c:pt>
                <c:pt idx="21">
                  <c:v>0.00014652014652014652</c:v>
                </c:pt>
                <c:pt idx="22">
                  <c:v>0.0</c:v>
                </c:pt>
                <c:pt idx="23">
                  <c:v>0.0</c:v>
                </c:pt>
                <c:pt idx="24">
                  <c:v>0.00010640561821664184</c:v>
                </c:pt>
                <c:pt idx="25">
                  <c:v>0.0</c:v>
                </c:pt>
                <c:pt idx="26">
                  <c:v>0.0001932367149758454</c:v>
                </c:pt>
                <c:pt idx="27">
                  <c:v>8.98069151324652e-05</c:v>
                </c:pt>
                <c:pt idx="28">
                  <c:v>0.00015350372246526978</c:v>
                </c:pt>
                <c:pt idx="29">
                  <c:v>0.0</c:v>
                </c:pt>
                <c:pt idx="30">
                  <c:v>0.0</c:v>
                </c:pt>
                <c:pt idx="31">
                  <c:v>8.553588230262595e-05</c:v>
                </c:pt>
                <c:pt idx="32">
                  <c:v>8.918219923303308e-05</c:v>
                </c:pt>
                <c:pt idx="33">
                  <c:v>0.00019843238416509574</c:v>
                </c:pt>
                <c:pt idx="34">
                  <c:v>0.0</c:v>
                </c:pt>
                <c:pt idx="35">
                  <c:v>0.0</c:v>
                </c:pt>
                <c:pt idx="36">
                  <c:v>0.00011122233344455567</c:v>
                </c:pt>
                <c:pt idx="37">
                  <c:v>0.0</c:v>
                </c:pt>
                <c:pt idx="38">
                  <c:v>0.0003213883978788366</c:v>
                </c:pt>
                <c:pt idx="39">
                  <c:v>0.0003180155827635554</c:v>
                </c:pt>
                <c:pt idx="40">
                  <c:v>0.00015946420028703555</c:v>
                </c:pt>
                <c:pt idx="41">
                  <c:v>0.00014990256333383302</c:v>
                </c:pt>
                <c:pt idx="42">
                  <c:v>0.00047244094488188977</c:v>
                </c:pt>
                <c:pt idx="43">
                  <c:v>0.0007918910357934748</c:v>
                </c:pt>
                <c:pt idx="44">
                  <c:v>0.0002881014116969173</c:v>
                </c:pt>
                <c:pt idx="45">
                  <c:v>0.0002621231979030144</c:v>
                </c:pt>
                <c:pt idx="46">
                  <c:v>0.00031660598385309483</c:v>
                </c:pt>
                <c:pt idx="47">
                  <c:v>0.00016561775422325274</c:v>
                </c:pt>
                <c:pt idx="48">
                  <c:v>0.0</c:v>
                </c:pt>
                <c:pt idx="49">
                  <c:v>0.00016857720836142953</c:v>
                </c:pt>
                <c:pt idx="50">
                  <c:v>0.0006700167504187605</c:v>
                </c:pt>
                <c:pt idx="51">
                  <c:v>0.0005676013168350551</c:v>
                </c:pt>
                <c:pt idx="52">
                  <c:v>0.000619041723412158</c:v>
                </c:pt>
                <c:pt idx="53">
                  <c:v>0.0</c:v>
                </c:pt>
                <c:pt idx="54">
                  <c:v>0.0</c:v>
                </c:pt>
                <c:pt idx="55">
                  <c:v>0.0</c:v>
                </c:pt>
                <c:pt idx="56">
                  <c:v>0.0</c:v>
                </c:pt>
                <c:pt idx="57">
                  <c:v>0.0001386001386001386</c:v>
                </c:pt>
                <c:pt idx="58">
                  <c:v>0.0001291155584247902</c:v>
                </c:pt>
                <c:pt idx="59">
                  <c:v>0.0001426330052774212</c:v>
                </c:pt>
                <c:pt idx="60">
                  <c:v>0.0</c:v>
                </c:pt>
                <c:pt idx="61">
                  <c:v>0.0</c:v>
                </c:pt>
                <c:pt idx="62">
                  <c:v>0.0</c:v>
                </c:pt>
                <c:pt idx="63">
                  <c:v>0.0</c:v>
                </c:pt>
                <c:pt idx="64">
                  <c:v>0.0</c:v>
                </c:pt>
                <c:pt idx="65">
                  <c:v>0.0</c:v>
                </c:pt>
                <c:pt idx="66">
                  <c:v>0.0</c:v>
                </c:pt>
                <c:pt idx="67">
                  <c:v>0.00014715079277489608</c:v>
                </c:pt>
                <c:pt idx="68">
                  <c:v>5.969080164746613e-0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6086.7831409705</c:v>
                </c:pt>
              </c:numCache>
            </c:numRef>
          </c:xVal>
          <c:yVal>
            <c:numRef>
              <c:f>Sheet1!$B$163:$B$164</c:f>
              <c:numCache>
                <c:formatCode>General</c:formatCode>
                <c:ptCount val="2"/>
                <c:pt idx="0">
                  <c:v>0.0009587265543628102</c:v>
                </c:pt>
                <c:pt idx="1">
                  <c:v>0.000958726554362810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6086.7831409705</c:v>
                </c:pt>
                <c:pt idx="1">
                  <c:v>66086.7831409705</c:v>
                </c:pt>
              </c:numCache>
            </c:numRef>
          </c:xVal>
          <c:yVal>
            <c:numRef>
              <c:f>Sheet1!$B$167:$B$168</c:f>
              <c:numCache>
                <c:formatCode>General</c:formatCode>
                <c:ptCount val="2"/>
                <c:pt idx="0">
                  <c:v>0.0009587265543628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20133.493543690813</c:v>
                </c:pt>
              </c:numCache>
            </c:numRef>
          </c:xVal>
          <c:yVal>
            <c:numRef>
              <c:f>Sheet1!$B$171:$B$172</c:f>
              <c:numCache>
                <c:formatCode>General</c:formatCode>
                <c:ptCount val="2"/>
                <c:pt idx="0">
                  <c:v>0.0003331044577193318</c:v>
                </c:pt>
                <c:pt idx="1">
                  <c:v>0.000333104457719331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20133.493543690813</c:v>
                </c:pt>
                <c:pt idx="1">
                  <c:v>20133.493543690813</c:v>
                </c:pt>
              </c:numCache>
            </c:numRef>
          </c:xVal>
          <c:yVal>
            <c:numRef>
              <c:f>Sheet1!$B$175:$B$176</c:f>
              <c:numCache>
                <c:formatCode>General</c:formatCode>
                <c:ptCount val="2"/>
                <c:pt idx="0">
                  <c:v>0.00033310445771933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46.518490092828</c:v>
                </c:pt>
              </c:numCache>
            </c:numRef>
          </c:xVal>
          <c:yVal>
            <c:numRef>
              <c:f>Sheet1!$B$179:$B$180</c:f>
              <c:numCache>
                <c:formatCode>General</c:formatCode>
                <c:ptCount val="2"/>
                <c:pt idx="0">
                  <c:v>4.747617667113171e-05</c:v>
                </c:pt>
                <c:pt idx="1">
                  <c:v>4.747617667113171e-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46.518490092828</c:v>
                </c:pt>
                <c:pt idx="1">
                  <c:v>-846.518490092828</c:v>
                </c:pt>
              </c:numCache>
            </c:numRef>
          </c:xVal>
          <c:yVal>
            <c:numRef>
              <c:f>Sheet1!$B$183:$B$184</c:f>
              <c:numCache>
                <c:formatCode>General</c:formatCode>
                <c:ptCount val="2"/>
                <c:pt idx="0">
                  <c:v>4.747617667113171e-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pt idx="69">
                  <c:v>20133.493543690813</c:v>
                </c:pt>
                <c:pt idx="70">
                  <c:v>66086.7831409705</c:v>
                </c:pt>
                <c:pt idx="71">
                  <c:v>-846.518490092828</c:v>
                </c:pt>
              </c:numCache>
            </c:numRef>
          </c:xVal>
          <c:yVal>
            <c:numRef>
              <c:f>Sheet1!$B$187:$B$258</c:f>
              <c:numCache>
                <c:formatCode>General</c:formatCode>
                <c:ptCount val="72"/>
                <c:pt idx="0">
                  <c:v>5.900093751547173e-05</c:v>
                </c:pt>
                <c:pt idx="1">
                  <c:v>5.900093751547173e-05</c:v>
                </c:pt>
                <c:pt idx="2">
                  <c:v>5.900093751547173e-05</c:v>
                </c:pt>
                <c:pt idx="3">
                  <c:v>5.900093751547173e-05</c:v>
                </c:pt>
                <c:pt idx="4">
                  <c:v>5.900093751547173e-05</c:v>
                </c:pt>
                <c:pt idx="5">
                  <c:v>5.900093751547173e-05</c:v>
                </c:pt>
                <c:pt idx="6">
                  <c:v>5.900093751547173e-05</c:v>
                </c:pt>
                <c:pt idx="7">
                  <c:v>5.900093751547173e-05</c:v>
                </c:pt>
                <c:pt idx="8">
                  <c:v>5.900093751547173e-05</c:v>
                </c:pt>
                <c:pt idx="9">
                  <c:v>5.900093751547173e-05</c:v>
                </c:pt>
                <c:pt idx="10">
                  <c:v>5.900093751547173e-05</c:v>
                </c:pt>
                <c:pt idx="11">
                  <c:v>5.900093751547173e-05</c:v>
                </c:pt>
                <c:pt idx="12">
                  <c:v>5.900093751547173e-05</c:v>
                </c:pt>
                <c:pt idx="13">
                  <c:v>5.900093751547173e-05</c:v>
                </c:pt>
                <c:pt idx="14">
                  <c:v>5.900093751547173e-05</c:v>
                </c:pt>
                <c:pt idx="15">
                  <c:v>5.900093751547173e-05</c:v>
                </c:pt>
                <c:pt idx="16">
                  <c:v>5.900093751547173e-05</c:v>
                </c:pt>
                <c:pt idx="17">
                  <c:v>5.900093751547173e-05</c:v>
                </c:pt>
                <c:pt idx="18">
                  <c:v>5.900093751547173e-05</c:v>
                </c:pt>
                <c:pt idx="19">
                  <c:v>5.900093751547173e-05</c:v>
                </c:pt>
                <c:pt idx="20">
                  <c:v>0.00021126332373808647</c:v>
                </c:pt>
                <c:pt idx="21">
                  <c:v>0.0001442741363803991</c:v>
                </c:pt>
                <c:pt idx="22">
                  <c:v>5.900093751547173e-05</c:v>
                </c:pt>
                <c:pt idx="23">
                  <c:v>5.900093751547173e-05</c:v>
                </c:pt>
                <c:pt idx="24">
                  <c:v>0.00018815984828925088</c:v>
                </c:pt>
                <c:pt idx="25">
                  <c:v>5.900093751547173e-05</c:v>
                </c:pt>
                <c:pt idx="26">
                  <c:v>0.00012655511852732924</c:v>
                </c:pt>
                <c:pt idx="27">
                  <c:v>0.00015781356262310208</c:v>
                </c:pt>
                <c:pt idx="28">
                  <c:v>0.00017652642473531453</c:v>
                </c:pt>
                <c:pt idx="29">
                  <c:v>5.900093751547173e-05</c:v>
                </c:pt>
                <c:pt idx="30">
                  <c:v>5.900093751547173e-05</c:v>
                </c:pt>
                <c:pt idx="31">
                  <c:v>0.0002438423554110762</c:v>
                </c:pt>
                <c:pt idx="32">
                  <c:v>0.00021905070615219015</c:v>
                </c:pt>
                <c:pt idx="33">
                  <c:v>0.0002107936302183547</c:v>
                </c:pt>
                <c:pt idx="34">
                  <c:v>5.900093751547173e-05</c:v>
                </c:pt>
                <c:pt idx="35">
                  <c:v>5.900093751547173e-05</c:v>
                </c:pt>
                <c:pt idx="36">
                  <c:v>0.00021736253234213974</c:v>
                </c:pt>
                <c:pt idx="37">
                  <c:v>5.900093751547173e-05</c:v>
                </c:pt>
                <c:pt idx="38">
                  <c:v>0.00015154417520755182</c:v>
                </c:pt>
                <c:pt idx="39">
                  <c:v>0.00013149030406074284</c:v>
                </c:pt>
                <c:pt idx="40">
                  <c:v>0.0001458329742937118</c:v>
                </c:pt>
                <c:pt idx="41">
                  <c:v>0.00021191681037423504</c:v>
                </c:pt>
                <c:pt idx="42">
                  <c:v>0.00012735382486976543</c:v>
                </c:pt>
                <c:pt idx="43">
                  <c:v>0.00011471067324713658</c:v>
                </c:pt>
                <c:pt idx="44">
                  <c:v>0.00012147017563979825</c:v>
                </c:pt>
                <c:pt idx="45">
                  <c:v>0.00015747320500010802</c:v>
                </c:pt>
                <c:pt idx="46">
                  <c:v>0.00013373666437250354</c:v>
                </c:pt>
                <c:pt idx="47">
                  <c:v>0.00014869197832686175</c:v>
                </c:pt>
                <c:pt idx="48">
                  <c:v>5.900093751547173e-05</c:v>
                </c:pt>
                <c:pt idx="49">
                  <c:v>0.00013880799295511477</c:v>
                </c:pt>
                <c:pt idx="50">
                  <c:v>8.96467378898553e-05</c:v>
                </c:pt>
                <c:pt idx="51">
                  <c:v>8.63793047091125e-05</c:v>
                </c:pt>
                <c:pt idx="52">
                  <c:v>0.0001069450737209045</c:v>
                </c:pt>
                <c:pt idx="53">
                  <c:v>5.900093751547173e-05</c:v>
                </c:pt>
                <c:pt idx="54">
                  <c:v>5.900093751547173e-05</c:v>
                </c:pt>
                <c:pt idx="55">
                  <c:v>5.900093751547173e-05</c:v>
                </c:pt>
                <c:pt idx="56">
                  <c:v>5.900093751547173e-05</c:v>
                </c:pt>
                <c:pt idx="57">
                  <c:v>0.00023063647963890736</c:v>
                </c:pt>
                <c:pt idx="58">
                  <c:v>0.00018603601672176806</c:v>
                </c:pt>
                <c:pt idx="59">
                  <c:v>0.00021994925027689441</c:v>
                </c:pt>
                <c:pt idx="60">
                  <c:v>5.900093751547173e-05</c:v>
                </c:pt>
                <c:pt idx="61">
                  <c:v>5.900093751547173e-05</c:v>
                </c:pt>
                <c:pt idx="62">
                  <c:v>5.900093751547173e-05</c:v>
                </c:pt>
                <c:pt idx="63">
                  <c:v>5.900093751547173e-05</c:v>
                </c:pt>
                <c:pt idx="64">
                  <c:v>5.900093751547173e-05</c:v>
                </c:pt>
                <c:pt idx="65">
                  <c:v>5.900093751547173e-05</c:v>
                </c:pt>
                <c:pt idx="66">
                  <c:v>5.900093751547173e-05</c:v>
                </c:pt>
                <c:pt idx="67">
                  <c:v>0.00012169481167097432</c:v>
                </c:pt>
                <c:pt idx="68">
                  <c:v>0.0002500368641495678</c:v>
                </c:pt>
                <c:pt idx="69">
                  <c:v>0.0003331044577193318</c:v>
                </c:pt>
                <c:pt idx="70">
                  <c:v>0.0009587265543628103</c:v>
                </c:pt>
                <c:pt idx="71">
                  <c:v>4.747617667113171e-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930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275960170697012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8</c:f>
              <c:numCache>
                <c:formatCode>General</c:formatCode>
                <c:ptCount val="67"/>
                <c:pt idx="0">
                  <c:v>0.5071582710641587</c:v>
                </c:pt>
                <c:pt idx="1">
                  <c:v>0.5739445921587571</c:v>
                </c:pt>
                <c:pt idx="2">
                  <c:v>1.3585501423195427</c:v>
                </c:pt>
                <c:pt idx="3">
                  <c:v>1.8840716302429925</c:v>
                </c:pt>
                <c:pt idx="4">
                  <c:v>1.1597627222713167</c:v>
                </c:pt>
                <c:pt idx="5">
                  <c:v>0.6065086411103211</c:v>
                </c:pt>
                <c:pt idx="6">
                  <c:v>1.33493985719449</c:v>
                </c:pt>
                <c:pt idx="7">
                  <c:v>1.1424309290916939</c:v>
                </c:pt>
                <c:pt idx="8">
                  <c:v>0.1572361710497458</c:v>
                </c:pt>
                <c:pt idx="9">
                  <c:v>3.555115346534653</c:v>
                </c:pt>
                <c:pt idx="10">
                  <c:v>0.7203599331488734</c:v>
                </c:pt>
                <c:pt idx="11">
                  <c:v>0.4819435148159293</c:v>
                </c:pt>
                <c:pt idx="12">
                  <c:v>0.8744278501850733</c:v>
                </c:pt>
                <c:pt idx="13">
                  <c:v>0.43869678592376643</c:v>
                </c:pt>
                <c:pt idx="14">
                  <c:v>1.3294152192274329</c:v>
                </c:pt>
                <c:pt idx="15">
                  <c:v>0.8237409130719002</c:v>
                </c:pt>
                <c:pt idx="16">
                  <c:v>1.4442000235505494</c:v>
                </c:pt>
                <c:pt idx="17">
                  <c:v>0.6282469637329217</c:v>
                </c:pt>
                <c:pt idx="18">
                  <c:v>0.11258310286646003</c:v>
                </c:pt>
                <c:pt idx="19">
                  <c:v>1.0918559325478199</c:v>
                </c:pt>
                <c:pt idx="20">
                  <c:v>1.3516320411169886</c:v>
                </c:pt>
                <c:pt idx="21">
                  <c:v>1.3614504467424908</c:v>
                </c:pt>
                <c:pt idx="22">
                  <c:v>1.218674532573721</c:v>
                </c:pt>
                <c:pt idx="23">
                  <c:v>0.7628660828119546</c:v>
                </c:pt>
                <c:pt idx="24">
                  <c:v>1.215433825692832</c:v>
                </c:pt>
                <c:pt idx="25">
                  <c:v>1.731630011328372</c:v>
                </c:pt>
                <c:pt idx="26">
                  <c:v>0.759687212575834</c:v>
                </c:pt>
                <c:pt idx="27">
                  <c:v>0.38293867506080986</c:v>
                </c:pt>
                <c:pt idx="28">
                  <c:v>0.6405511636317215</c:v>
                </c:pt>
                <c:pt idx="29">
                  <c:v>0.6104183372238755</c:v>
                </c:pt>
                <c:pt idx="30">
                  <c:v>0.826687223489573</c:v>
                </c:pt>
                <c:pt idx="31">
                  <c:v>0.4474106323142455</c:v>
                </c:pt>
                <c:pt idx="32">
                  <c:v>0.8458970675103747</c:v>
                </c:pt>
                <c:pt idx="33">
                  <c:v>0.7157944568268234</c:v>
                </c:pt>
                <c:pt idx="34">
                  <c:v>0.6141526268439195</c:v>
                </c:pt>
                <c:pt idx="35">
                  <c:v>0.569276432917999</c:v>
                </c:pt>
                <c:pt idx="36">
                  <c:v>0.7953713304015829</c:v>
                </c:pt>
                <c:pt idx="37">
                  <c:v>3.852141143206809</c:v>
                </c:pt>
                <c:pt idx="38">
                  <c:v>0.7797992983151094</c:v>
                </c:pt>
                <c:pt idx="39">
                  <c:v>0.4389942424543636</c:v>
                </c:pt>
                <c:pt idx="40">
                  <c:v>1.3467134977917805</c:v>
                </c:pt>
                <c:pt idx="41">
                  <c:v>0.9058909963287355</c:v>
                </c:pt>
                <c:pt idx="42">
                  <c:v>1.0895503146228591</c:v>
                </c:pt>
                <c:pt idx="43">
                  <c:v>0.49561791937871635</c:v>
                </c:pt>
                <c:pt idx="44">
                  <c:v>0.8311626864684943</c:v>
                </c:pt>
                <c:pt idx="45">
                  <c:v>0.752318242545098</c:v>
                </c:pt>
                <c:pt idx="46">
                  <c:v>0.3186403342534174</c:v>
                </c:pt>
                <c:pt idx="47">
                  <c:v>0.8103443189056</c:v>
                </c:pt>
                <c:pt idx="48">
                  <c:v>0.44150229784845785</c:v>
                </c:pt>
                <c:pt idx="49">
                  <c:v>1.5879683336261432</c:v>
                </c:pt>
                <c:pt idx="50">
                  <c:v>0.7523819931616583</c:v>
                </c:pt>
                <c:pt idx="51">
                  <c:v>0.37864826334755947</c:v>
                </c:pt>
                <c:pt idx="52">
                  <c:v>0.7373960859881613</c:v>
                </c:pt>
                <c:pt idx="53">
                  <c:v>0.5941407507521668</c:v>
                </c:pt>
                <c:pt idx="54">
                  <c:v>0.8482298359089759</c:v>
                </c:pt>
                <c:pt idx="55">
                  <c:v>1.0729827173156528</c:v>
                </c:pt>
                <c:pt idx="56">
                  <c:v>0.785904152616578</c:v>
                </c:pt>
                <c:pt idx="57">
                  <c:v>0.8441600639157039</c:v>
                </c:pt>
                <c:pt idx="58">
                  <c:v>0.6639918001904691</c:v>
                </c:pt>
                <c:pt idx="59">
                  <c:v>1.092483615992633</c:v>
                </c:pt>
                <c:pt idx="60">
                  <c:v>0.5729275680910048</c:v>
                </c:pt>
                <c:pt idx="61">
                  <c:v>0.5368127208768535</c:v>
                </c:pt>
                <c:pt idx="62">
                  <c:v>0.4344497095552685</c:v>
                </c:pt>
                <c:pt idx="63">
                  <c:v>0.6142044736608111</c:v>
                </c:pt>
                <c:pt idx="64">
                  <c:v>0.5688565887541087</c:v>
                </c:pt>
                <c:pt idx="65">
                  <c:v>1.0290618534819296</c:v>
                </c:pt>
                <c:pt idx="66">
                  <c:v>1.1762948209203918</c:v>
                </c:pt>
              </c:numCache>
            </c:numRef>
          </c:xVal>
          <c:yVal>
            <c:numRef>
              <c:f>Sheet1!$B$2:$B$68</c:f>
              <c:numCache>
                <c:formatCode>General</c:formatCode>
                <c:ptCount val="67"/>
                <c:pt idx="0">
                  <c:v>0.01330671989354624</c:v>
                </c:pt>
                <c:pt idx="1">
                  <c:v>0.011824324324324325</c:v>
                </c:pt>
                <c:pt idx="2">
                  <c:v>0.23372781065088757</c:v>
                </c:pt>
                <c:pt idx="3">
                  <c:v>0.05628517823639775</c:v>
                </c:pt>
                <c:pt idx="4">
                  <c:v>0.20408163265306123</c:v>
                </c:pt>
                <c:pt idx="5">
                  <c:v>0.04195804195804196</c:v>
                </c:pt>
                <c:pt idx="6">
                  <c:v>0.0472972972972973</c:v>
                </c:pt>
                <c:pt idx="7">
                  <c:v>0.057803468208092484</c:v>
                </c:pt>
                <c:pt idx="8">
                  <c:v>0.7692307692307693</c:v>
                </c:pt>
                <c:pt idx="9">
                  <c:v>0.06342494714587738</c:v>
                </c:pt>
                <c:pt idx="10">
                  <c:v>0.04032258064516129</c:v>
                </c:pt>
                <c:pt idx="11">
                  <c:v>0.2944550669216061</c:v>
                </c:pt>
                <c:pt idx="12">
                  <c:v>0.1978021978021978</c:v>
                </c:pt>
                <c:pt idx="13">
                  <c:v>0.12</c:v>
                </c:pt>
                <c:pt idx="14">
                  <c:v>0.18754833720030936</c:v>
                </c:pt>
                <c:pt idx="15">
                  <c:v>0.09417040358744394</c:v>
                </c:pt>
                <c:pt idx="16">
                  <c:v>0.017991004497751123</c:v>
                </c:pt>
                <c:pt idx="17">
                  <c:v>0.016203703703703703</c:v>
                </c:pt>
                <c:pt idx="18">
                  <c:v>0.09486166007905138</c:v>
                </c:pt>
                <c:pt idx="19">
                  <c:v>0.028985507246376812</c:v>
                </c:pt>
                <c:pt idx="20">
                  <c:v>0.0032310177705977385</c:v>
                </c:pt>
                <c:pt idx="21">
                  <c:v>0.06790123456790123</c:v>
                </c:pt>
                <c:pt idx="22">
                  <c:v>0.04936854190585534</c:v>
                </c:pt>
                <c:pt idx="23">
                  <c:v>0.0863905325443787</c:v>
                </c:pt>
                <c:pt idx="24">
                  <c:v>0.024551927326295114</c:v>
                </c:pt>
                <c:pt idx="25">
                  <c:v>0.00949367088607595</c:v>
                </c:pt>
                <c:pt idx="26">
                  <c:v>0.15783602900167318</c:v>
                </c:pt>
                <c:pt idx="27">
                  <c:v>0.059961315280464215</c:v>
                </c:pt>
                <c:pt idx="28">
                  <c:v>0.00909090909090909</c:v>
                </c:pt>
                <c:pt idx="29">
                  <c:v>0.1600633914421553</c:v>
                </c:pt>
                <c:pt idx="30">
                  <c:v>0.04511970534069982</c:v>
                </c:pt>
                <c:pt idx="31">
                  <c:v>0.052489905787348586</c:v>
                </c:pt>
                <c:pt idx="32">
                  <c:v>0.006517690875232775</c:v>
                </c:pt>
                <c:pt idx="33">
                  <c:v>0.035246727089627394</c:v>
                </c:pt>
                <c:pt idx="34">
                  <c:v>0.18499353169469598</c:v>
                </c:pt>
                <c:pt idx="35">
                  <c:v>0.23780487804878048</c:v>
                </c:pt>
                <c:pt idx="36">
                  <c:v>0.026272577996715927</c:v>
                </c:pt>
                <c:pt idx="37">
                  <c:v>0.00228310502283105</c:v>
                </c:pt>
                <c:pt idx="38">
                  <c:v>0.07373271889400922</c:v>
                </c:pt>
                <c:pt idx="39">
                  <c:v>0.20151133501259447</c:v>
                </c:pt>
                <c:pt idx="40">
                  <c:v>0.009510869565217392</c:v>
                </c:pt>
                <c:pt idx="41">
                  <c:v>0.011892963330029732</c:v>
                </c:pt>
                <c:pt idx="42">
                  <c:v>0.08888888888888889</c:v>
                </c:pt>
                <c:pt idx="43">
                  <c:v>0.11895910780669144</c:v>
                </c:pt>
                <c:pt idx="44">
                  <c:v>0.0730050933786078</c:v>
                </c:pt>
                <c:pt idx="45">
                  <c:v>0.027700831024930747</c:v>
                </c:pt>
                <c:pt idx="46">
                  <c:v>0.07571801566579635</c:v>
                </c:pt>
                <c:pt idx="47">
                  <c:v>0.008620689655172414</c:v>
                </c:pt>
                <c:pt idx="48">
                  <c:v>0.016361886429258902</c:v>
                </c:pt>
                <c:pt idx="49">
                  <c:v>0.022494887525562373</c:v>
                </c:pt>
                <c:pt idx="50">
                  <c:v>0.02666666666666667</c:v>
                </c:pt>
                <c:pt idx="51">
                  <c:v>0.04398148148148148</c:v>
                </c:pt>
                <c:pt idx="52">
                  <c:v>0.2540045766590389</c:v>
                </c:pt>
                <c:pt idx="53">
                  <c:v>0.002544529262086514</c:v>
                </c:pt>
                <c:pt idx="54">
                  <c:v>0.15236686390532544</c:v>
                </c:pt>
                <c:pt idx="55">
                  <c:v>0.3309608540925267</c:v>
                </c:pt>
                <c:pt idx="56">
                  <c:v>0.030211480362537766</c:v>
                </c:pt>
                <c:pt idx="57">
                  <c:v>0.1267123287671233</c:v>
                </c:pt>
                <c:pt idx="58">
                  <c:v>0.007782101167315175</c:v>
                </c:pt>
                <c:pt idx="59">
                  <c:v>0.04391891891891892</c:v>
                </c:pt>
                <c:pt idx="60">
                  <c:v>0.11757269279393173</c:v>
                </c:pt>
                <c:pt idx="61">
                  <c:v>0.08660508083140878</c:v>
                </c:pt>
                <c:pt idx="62">
                  <c:v>0.09256449165402124</c:v>
                </c:pt>
                <c:pt idx="63">
                  <c:v>0.08416389811738649</c:v>
                </c:pt>
                <c:pt idx="64">
                  <c:v>0.1959531416400426</c:v>
                </c:pt>
                <c:pt idx="65">
                  <c:v>0.05219206680584551</c:v>
                </c:pt>
                <c:pt idx="66">
                  <c:v>0.02278481012658228</c:v>
                </c:pt>
              </c:numCache>
            </c:numRef>
          </c:yVal>
          <c:smooth val="0"/>
          <c:extLst>
            <c:ext xmlns:c16="http://schemas.microsoft.com/office/drawing/2014/chart" uri="{C3380CC4-5D6E-409C-BE32-E72D297353CC}">
              <c16:uniqueId val="{00000000-096C-4121-9522-6AB7243CCAAE}"/>
            </c:ext>
          </c:extLst>
        </c:ser>
        <c:ser>
          <c:idx val="1"/>
          <c:order val="1"/>
          <c:tx>
            <c:strRef>
              <c:f>Sheet1!$B$7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1:$A$99</c:f>
              <c:numCache>
                <c:formatCode>General</c:formatCode>
                <c:ptCount val="29"/>
                <c:pt idx="0">
                  <c:v>0.5062190665323414</c:v>
                </c:pt>
                <c:pt idx="1">
                  <c:v>1.1250381846931512</c:v>
                </c:pt>
                <c:pt idx="2">
                  <c:v>0.6770051852488636</c:v>
                </c:pt>
                <c:pt idx="3">
                  <c:v>0.5262235850267426</c:v>
                </c:pt>
                <c:pt idx="4">
                  <c:v>0.5955250007772035</c:v>
                </c:pt>
                <c:pt idx="5">
                  <c:v>0.5088805722851449</c:v>
                </c:pt>
                <c:pt idx="6">
                  <c:v>0.5173892295043354</c:v>
                </c:pt>
                <c:pt idx="7">
                  <c:v>0.26116290404040404</c:v>
                </c:pt>
                <c:pt idx="8">
                  <c:v>0.8520012462323313</c:v>
                </c:pt>
                <c:pt idx="9">
                  <c:v>0.7015888795207962</c:v>
                </c:pt>
                <c:pt idx="10">
                  <c:v>0.46443640898614647</c:v>
                </c:pt>
                <c:pt idx="11">
                  <c:v>0.6054217991761228</c:v>
                </c:pt>
                <c:pt idx="12">
                  <c:v>0.59934849809264</c:v>
                </c:pt>
                <c:pt idx="13">
                  <c:v>0.7200037725817506</c:v>
                </c:pt>
                <c:pt idx="14">
                  <c:v>0.8354192117059582</c:v>
                </c:pt>
                <c:pt idx="15">
                  <c:v>0.49117602287367507</c:v>
                </c:pt>
                <c:pt idx="16">
                  <c:v>0.5790584309155461</c:v>
                </c:pt>
                <c:pt idx="17">
                  <c:v>0.28328158431914735</c:v>
                </c:pt>
                <c:pt idx="18">
                  <c:v>0.7982730129368906</c:v>
                </c:pt>
                <c:pt idx="19">
                  <c:v>0.4945246699621219</c:v>
                </c:pt>
                <c:pt idx="20">
                  <c:v>0.7273594435149309</c:v>
                </c:pt>
                <c:pt idx="21">
                  <c:v>0.8871050952306868</c:v>
                </c:pt>
                <c:pt idx="22">
                  <c:v>0.7597088582149558</c:v>
                </c:pt>
                <c:pt idx="23">
                  <c:v>0.7142909976278693</c:v>
                </c:pt>
                <c:pt idx="24">
                  <c:v>0.3245592763301997</c:v>
                </c:pt>
                <c:pt idx="25">
                  <c:v>0.7178989459564737</c:v>
                </c:pt>
                <c:pt idx="26">
                  <c:v>0.6795692287496449</c:v>
                </c:pt>
                <c:pt idx="27">
                  <c:v>0.799673802064837</c:v>
                </c:pt>
                <c:pt idx="28">
                  <c:v>0.6308031786311622</c:v>
                </c:pt>
              </c:numCache>
            </c:numRef>
          </c:xVal>
          <c:yVal>
            <c:numRef>
              <c:f>Sheet1!$B$71:$B$99</c:f>
              <c:numCache>
                <c:formatCode>General</c:formatCode>
                <c:ptCount val="29"/>
                <c:pt idx="0">
                  <c:v>0.08333333333333333</c:v>
                </c:pt>
                <c:pt idx="1">
                  <c:v>0.21608040201005024</c:v>
                </c:pt>
                <c:pt idx="2">
                  <c:v>0.20379746835443038</c:v>
                </c:pt>
                <c:pt idx="3">
                  <c:v>0.24662965900079303</c:v>
                </c:pt>
                <c:pt idx="4">
                  <c:v>0.006711409395973154</c:v>
                </c:pt>
                <c:pt idx="5">
                  <c:v>0.012987012987012988</c:v>
                </c:pt>
                <c:pt idx="6">
                  <c:v>0.013015184381778741</c:v>
                </c:pt>
                <c:pt idx="7">
                  <c:v>0.21666666666666667</c:v>
                </c:pt>
                <c:pt idx="8">
                  <c:v>0.020761245674740483</c:v>
                </c:pt>
                <c:pt idx="9">
                  <c:v>0.0380952380952381</c:v>
                </c:pt>
                <c:pt idx="10">
                  <c:v>0.05384615384615385</c:v>
                </c:pt>
                <c:pt idx="11">
                  <c:v>0.0898021308980213</c:v>
                </c:pt>
                <c:pt idx="12">
                  <c:v>0.1332518337408313</c:v>
                </c:pt>
                <c:pt idx="13">
                  <c:v>0.01090909090909091</c:v>
                </c:pt>
                <c:pt idx="14">
                  <c:v>0.03783102143757881</c:v>
                </c:pt>
                <c:pt idx="15">
                  <c:v>0.04588607594936709</c:v>
                </c:pt>
                <c:pt idx="16">
                  <c:v>0.0681265206812652</c:v>
                </c:pt>
                <c:pt idx="17">
                  <c:v>0.6246612466124661</c:v>
                </c:pt>
                <c:pt idx="18">
                  <c:v>0.24915824915824916</c:v>
                </c:pt>
                <c:pt idx="19">
                  <c:v>0.026128266033254157</c:v>
                </c:pt>
                <c:pt idx="20">
                  <c:v>0.12180746561886051</c:v>
                </c:pt>
                <c:pt idx="21">
                  <c:v>0.021207177814029365</c:v>
                </c:pt>
                <c:pt idx="22">
                  <c:v>0.10401459854014598</c:v>
                </c:pt>
                <c:pt idx="23">
                  <c:v>0.04664723032069971</c:v>
                </c:pt>
                <c:pt idx="24">
                  <c:v>0.22491349480968859</c:v>
                </c:pt>
                <c:pt idx="25">
                  <c:v>0.16913319238900634</c:v>
                </c:pt>
                <c:pt idx="26">
                  <c:v>0.01870503597122302</c:v>
                </c:pt>
                <c:pt idx="27">
                  <c:v>0.04660194174757282</c:v>
                </c:pt>
                <c:pt idx="28">
                  <c:v>0.1286549707602339</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0007616911202110599</c:v>
                </c:pt>
              </c:numCache>
            </c:numRef>
          </c:xVal>
          <c:yVal>
            <c:numRef>
              <c:f>Sheet1!$B$102:$B$103</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0007616911202110599</c:v>
                </c:pt>
                <c:pt idx="1">
                  <c:v>-0.0007616911202110599</c:v>
                </c:pt>
              </c:numCache>
            </c:numRef>
          </c:xVal>
          <c:yVal>
            <c:numRef>
              <c:f>Sheet1!$B$106:$B$107</c:f>
              <c:numCache>
                <c:formatCode>General</c:formatCode>
                <c:ptCount val="2"/>
                <c:pt idx="0">
                  <c:v>0.2491582491582491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0007616911202110599</c:v>
                </c:pt>
              </c:numCache>
            </c:numRef>
          </c:xVal>
          <c:yVal>
            <c:numRef>
              <c:f>Sheet1!$B$110:$B$111</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0007616911202110599</c:v>
                </c:pt>
                <c:pt idx="1">
                  <c:v>-0.0007616911202110599</c:v>
                </c:pt>
              </c:numCache>
            </c:numRef>
          </c:xVal>
          <c:yVal>
            <c:numRef>
              <c:f>Sheet1!$B$114:$B$115</c:f>
              <c:numCache>
                <c:formatCode>General</c:formatCode>
                <c:ptCount val="2"/>
                <c:pt idx="0">
                  <c:v>0.2491582491582491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7182973687045071</c:v>
                </c:pt>
              </c:numCache>
            </c:numRef>
          </c:xVal>
          <c:yVal>
            <c:numRef>
              <c:f>Sheet1!$B$118:$B$119</c:f>
              <c:numCache>
                <c:formatCode>General</c:formatCode>
                <c:ptCount val="2"/>
                <c:pt idx="0">
                  <c:v>0.09498470529407496</c:v>
                </c:pt>
                <c:pt idx="1">
                  <c:v>0.09498470529407496</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7182973687045071</c:v>
                </c:pt>
                <c:pt idx="1">
                  <c:v>0.7182973687045071</c:v>
                </c:pt>
              </c:numCache>
            </c:numRef>
          </c:xVal>
          <c:yVal>
            <c:numRef>
              <c:f>Sheet1!$B$122:$B$123</c:f>
              <c:numCache>
                <c:formatCode>General</c:formatCode>
                <c:ptCount val="2"/>
                <c:pt idx="0">
                  <c:v>0.0949847052940749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57</c:f>
              <c:numCache>
                <c:formatCode>General</c:formatCode>
                <c:ptCount val="32"/>
                <c:pt idx="0">
                  <c:v>0.5062190665323414</c:v>
                </c:pt>
                <c:pt idx="1">
                  <c:v>1.1250381846931512</c:v>
                </c:pt>
                <c:pt idx="2">
                  <c:v>0.6770051852488636</c:v>
                </c:pt>
                <c:pt idx="3">
                  <c:v>0.5262235850267426</c:v>
                </c:pt>
                <c:pt idx="4">
                  <c:v>0.5955250007772035</c:v>
                </c:pt>
                <c:pt idx="5">
                  <c:v>0.5088805722851449</c:v>
                </c:pt>
                <c:pt idx="6">
                  <c:v>0.5173892295043354</c:v>
                </c:pt>
                <c:pt idx="7">
                  <c:v>0.26116290404040404</c:v>
                </c:pt>
                <c:pt idx="8">
                  <c:v>0.8520012462323313</c:v>
                </c:pt>
                <c:pt idx="9">
                  <c:v>0.7015888795207962</c:v>
                </c:pt>
                <c:pt idx="10">
                  <c:v>0.46443640898614647</c:v>
                </c:pt>
                <c:pt idx="11">
                  <c:v>0.6054217991761228</c:v>
                </c:pt>
                <c:pt idx="12">
                  <c:v>0.59934849809264</c:v>
                </c:pt>
                <c:pt idx="13">
                  <c:v>0.7200037725817506</c:v>
                </c:pt>
                <c:pt idx="14">
                  <c:v>0.8354192117059582</c:v>
                </c:pt>
                <c:pt idx="15">
                  <c:v>0.49117602287367507</c:v>
                </c:pt>
                <c:pt idx="16">
                  <c:v>0.5790584309155461</c:v>
                </c:pt>
                <c:pt idx="17">
                  <c:v>0.28328158431914735</c:v>
                </c:pt>
                <c:pt idx="18">
                  <c:v>0.7982730129368906</c:v>
                </c:pt>
                <c:pt idx="19">
                  <c:v>0.4945246699621219</c:v>
                </c:pt>
                <c:pt idx="20">
                  <c:v>0.7273594435149309</c:v>
                </c:pt>
                <c:pt idx="21">
                  <c:v>0.8871050952306868</c:v>
                </c:pt>
                <c:pt idx="22">
                  <c:v>0.7597088582149558</c:v>
                </c:pt>
                <c:pt idx="23">
                  <c:v>0.7142909976278693</c:v>
                </c:pt>
                <c:pt idx="24">
                  <c:v>0.3245592763301997</c:v>
                </c:pt>
                <c:pt idx="25">
                  <c:v>0.7178989459564737</c:v>
                </c:pt>
                <c:pt idx="26">
                  <c:v>0.6795692287496449</c:v>
                </c:pt>
                <c:pt idx="27">
                  <c:v>0.799673802064837</c:v>
                </c:pt>
                <c:pt idx="28">
                  <c:v>0.6308031786311622</c:v>
                </c:pt>
                <c:pt idx="29">
                  <c:v>-0.0007616911202110599</c:v>
                </c:pt>
                <c:pt idx="30">
                  <c:v>-0.0007616911202110599</c:v>
                </c:pt>
                <c:pt idx="31">
                  <c:v>0.7182973687045071</c:v>
                </c:pt>
              </c:numCache>
            </c:numRef>
          </c:xVal>
          <c:yVal>
            <c:numRef>
              <c:f>Sheet1!$B$126:$B$157</c:f>
              <c:numCache>
                <c:formatCode>General</c:formatCode>
                <c:ptCount val="32"/>
                <c:pt idx="0">
                  <c:v>0.14045644085714587</c:v>
                </c:pt>
                <c:pt idx="1">
                  <c:v>0.0077753555496166415</c:v>
                </c:pt>
                <c:pt idx="2">
                  <c:v>0.10383816756572486</c:v>
                </c:pt>
                <c:pt idx="3">
                  <c:v>0.1361672695193561</c:v>
                </c:pt>
                <c:pt idx="4">
                  <c:v>0.12130834421263992</c:v>
                </c:pt>
                <c:pt idx="5">
                  <c:v>0.13988578707242807</c:v>
                </c:pt>
                <c:pt idx="6">
                  <c:v>0.1380614448030631</c:v>
                </c:pt>
                <c:pt idx="7">
                  <c:v>0.19299896361785857</c:v>
                </c:pt>
                <c:pt idx="8">
                  <c:v>0.06631724002095668</c:v>
                </c:pt>
                <c:pt idx="9">
                  <c:v>0.09856717457093364</c:v>
                </c:pt>
                <c:pt idx="10">
                  <c:v>0.14941506574051824</c:v>
                </c:pt>
                <c:pt idx="11">
                  <c:v>0.11918637041754912</c:v>
                </c:pt>
                <c:pt idx="12">
                  <c:v>0.12048854767016995</c:v>
                </c:pt>
                <c:pt idx="13">
                  <c:v>0.09461883502316518</c:v>
                </c:pt>
                <c:pt idx="14">
                  <c:v>0.06987259613875907</c:v>
                </c:pt>
                <c:pt idx="15">
                  <c:v>0.1436818217485645</c:v>
                </c:pt>
                <c:pt idx="16">
                  <c:v>0.12483894353709259</c:v>
                </c:pt>
                <c:pt idx="17">
                  <c:v>0.18825649458478116</c:v>
                </c:pt>
                <c:pt idx="18">
                  <c:v>0.07783711730994941</c:v>
                </c:pt>
                <c:pt idx="19">
                  <c:v>0.14296383790325679</c:v>
                </c:pt>
                <c:pt idx="20">
                  <c:v>0.0930417046890539</c:v>
                </c:pt>
                <c:pt idx="21">
                  <c:v>0.05879061932213872</c:v>
                </c:pt>
                <c:pt idx="22">
                  <c:v>0.08610566259614097</c:v>
                </c:pt>
                <c:pt idx="23">
                  <c:v>0.09584371182278867</c:v>
                </c:pt>
                <c:pt idx="24">
                  <c:v>0.1794061394255969</c:v>
                </c:pt>
                <c:pt idx="25">
                  <c:v>0.09507013116581822</c:v>
                </c:pt>
                <c:pt idx="26">
                  <c:v>0.10328841067477668</c:v>
                </c:pt>
                <c:pt idx="27">
                  <c:v>0.0775367739360483</c:v>
                </c:pt>
                <c:pt idx="28">
                  <c:v>0.11374434564186706</c:v>
                </c:pt>
                <c:pt idx="29">
                  <c:v>0.24915824915824916</c:v>
                </c:pt>
                <c:pt idx="30">
                  <c:v>0.24915824915824916</c:v>
                </c:pt>
                <c:pt idx="31">
                  <c:v>0.0949847052940749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30769230769231"/>
          <c:min val="0.001826484018264840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8</c:f>
              <c:numCache>
                <c:formatCode>General</c:formatCode>
                <c:ptCount val="67"/>
                <c:pt idx="0">
                  <c:v>629.85</c:v>
                </c:pt>
                <c:pt idx="1">
                  <c:v>599.8571</c:v>
                </c:pt>
                <c:pt idx="2">
                  <c:v>1419.8861</c:v>
                </c:pt>
                <c:pt idx="3">
                  <c:v>1810.5333</c:v>
                </c:pt>
                <c:pt idx="4">
                  <c:v>1305.5667</c:v>
                </c:pt>
                <c:pt idx="5">
                  <c:v>703.6</c:v>
                </c:pt>
                <c:pt idx="6">
                  <c:v>1517.2857</c:v>
                </c:pt>
                <c:pt idx="7">
                  <c:v>1697.7</c:v>
                </c:pt>
                <c:pt idx="8">
                  <c:v>718.15</c:v>
                </c:pt>
                <c:pt idx="9">
                  <c:v>718.1333</c:v>
                </c:pt>
                <c:pt idx="10">
                  <c:v>714.0333</c:v>
                </c:pt>
                <c:pt idx="11">
                  <c:v>678.1299</c:v>
                </c:pt>
                <c:pt idx="12">
                  <c:v>925.4167</c:v>
                </c:pt>
                <c:pt idx="13">
                  <c:v>925.4167</c:v>
                </c:pt>
                <c:pt idx="14">
                  <c:v>1304.3588</c:v>
                </c:pt>
                <c:pt idx="15">
                  <c:v>1108.1429</c:v>
                </c:pt>
                <c:pt idx="16">
                  <c:v>1524.5</c:v>
                </c:pt>
                <c:pt idx="17">
                  <c:v>1269.0</c:v>
                </c:pt>
                <c:pt idx="18">
                  <c:v>146.375</c:v>
                </c:pt>
                <c:pt idx="19">
                  <c:v>1773.0714</c:v>
                </c:pt>
                <c:pt idx="20">
                  <c:v>3436.5</c:v>
                </c:pt>
                <c:pt idx="21">
                  <c:v>1666.8182</c:v>
                </c:pt>
                <c:pt idx="22">
                  <c:v>1546.7093</c:v>
                </c:pt>
                <c:pt idx="23">
                  <c:v>1180.3151</c:v>
                </c:pt>
                <c:pt idx="24">
                  <c:v>1639.58</c:v>
                </c:pt>
                <c:pt idx="25">
                  <c:v>2228.6667</c:v>
                </c:pt>
                <c:pt idx="26">
                  <c:v>955.9717</c:v>
                </c:pt>
                <c:pt idx="27">
                  <c:v>1505.4516</c:v>
                </c:pt>
                <c:pt idx="28">
                  <c:v>984.4545</c:v>
                </c:pt>
                <c:pt idx="29">
                  <c:v>873.5297</c:v>
                </c:pt>
                <c:pt idx="30">
                  <c:v>1894.9184</c:v>
                </c:pt>
                <c:pt idx="31">
                  <c:v>1117.3077</c:v>
                </c:pt>
                <c:pt idx="32">
                  <c:v>1129.8571</c:v>
                </c:pt>
                <c:pt idx="33">
                  <c:v>1160.4857</c:v>
                </c:pt>
                <c:pt idx="34">
                  <c:v>1310.4895</c:v>
                </c:pt>
                <c:pt idx="35">
                  <c:v>1116.6154</c:v>
                </c:pt>
                <c:pt idx="36">
                  <c:v>1335.625</c:v>
                </c:pt>
                <c:pt idx="37">
                  <c:v>7344.0</c:v>
                </c:pt>
                <c:pt idx="38">
                  <c:v>1130.75</c:v>
                </c:pt>
                <c:pt idx="39">
                  <c:v>1090.8625</c:v>
                </c:pt>
                <c:pt idx="40">
                  <c:v>2083.1429</c:v>
                </c:pt>
                <c:pt idx="41">
                  <c:v>1374.3333</c:v>
                </c:pt>
                <c:pt idx="42">
                  <c:v>1366.5833</c:v>
                </c:pt>
                <c:pt idx="43">
                  <c:v>1101.4063</c:v>
                </c:pt>
                <c:pt idx="44">
                  <c:v>1129.0233</c:v>
                </c:pt>
                <c:pt idx="45">
                  <c:v>1097.4</c:v>
                </c:pt>
                <c:pt idx="46">
                  <c:v>1128.2069</c:v>
                </c:pt>
                <c:pt idx="47">
                  <c:v>1214.0</c:v>
                </c:pt>
                <c:pt idx="48">
                  <c:v>1160.4706</c:v>
                </c:pt>
                <c:pt idx="49">
                  <c:v>2249.7273</c:v>
                </c:pt>
                <c:pt idx="50">
                  <c:v>1615.8571</c:v>
                </c:pt>
                <c:pt idx="51">
                  <c:v>1480.3684</c:v>
                </c:pt>
                <c:pt idx="52">
                  <c:v>1443.1216</c:v>
                </c:pt>
                <c:pt idx="53">
                  <c:v>2792.0</c:v>
                </c:pt>
                <c:pt idx="54">
                  <c:v>1790.6796</c:v>
                </c:pt>
                <c:pt idx="55">
                  <c:v>1830.7097</c:v>
                </c:pt>
                <c:pt idx="56">
                  <c:v>1145.8</c:v>
                </c:pt>
                <c:pt idx="57">
                  <c:v>1147.036</c:v>
                </c:pt>
                <c:pt idx="58">
                  <c:v>1141.8333</c:v>
                </c:pt>
                <c:pt idx="59">
                  <c:v>1423.6154</c:v>
                </c:pt>
                <c:pt idx="60">
                  <c:v>788.5484</c:v>
                </c:pt>
                <c:pt idx="61">
                  <c:v>711.4</c:v>
                </c:pt>
                <c:pt idx="62">
                  <c:v>597.5082</c:v>
                </c:pt>
                <c:pt idx="63">
                  <c:v>787.4605</c:v>
                </c:pt>
                <c:pt idx="64">
                  <c:v>796.3098</c:v>
                </c:pt>
                <c:pt idx="65">
                  <c:v>1397.76</c:v>
                </c:pt>
                <c:pt idx="66">
                  <c:v>1729.2222</c:v>
                </c:pt>
              </c:numCache>
            </c:numRef>
          </c:xVal>
          <c:yVal>
            <c:numRef>
              <c:f>Sheet1!$B$2:$B$68</c:f>
              <c:numCache>
                <c:formatCode>General</c:formatCode>
                <c:ptCount val="67"/>
                <c:pt idx="0">
                  <c:v>0.01330671989354624</c:v>
                </c:pt>
                <c:pt idx="1">
                  <c:v>0.011824324324324325</c:v>
                </c:pt>
                <c:pt idx="2">
                  <c:v>0.23372781065088757</c:v>
                </c:pt>
                <c:pt idx="3">
                  <c:v>0.05628517823639775</c:v>
                </c:pt>
                <c:pt idx="4">
                  <c:v>0.20408163265306123</c:v>
                </c:pt>
                <c:pt idx="5">
                  <c:v>0.04195804195804196</c:v>
                </c:pt>
                <c:pt idx="6">
                  <c:v>0.0472972972972973</c:v>
                </c:pt>
                <c:pt idx="7">
                  <c:v>0.057803468208092484</c:v>
                </c:pt>
                <c:pt idx="8">
                  <c:v>0.7692307692307693</c:v>
                </c:pt>
                <c:pt idx="9">
                  <c:v>0.06342494714587738</c:v>
                </c:pt>
                <c:pt idx="10">
                  <c:v>0.04032258064516129</c:v>
                </c:pt>
                <c:pt idx="11">
                  <c:v>0.2944550669216061</c:v>
                </c:pt>
                <c:pt idx="12">
                  <c:v>0.1978021978021978</c:v>
                </c:pt>
                <c:pt idx="13">
                  <c:v>0.12</c:v>
                </c:pt>
                <c:pt idx="14">
                  <c:v>0.18754833720030936</c:v>
                </c:pt>
                <c:pt idx="15">
                  <c:v>0.09417040358744394</c:v>
                </c:pt>
                <c:pt idx="16">
                  <c:v>0.017991004497751123</c:v>
                </c:pt>
                <c:pt idx="17">
                  <c:v>0.016203703703703703</c:v>
                </c:pt>
                <c:pt idx="18">
                  <c:v>0.09486166007905138</c:v>
                </c:pt>
                <c:pt idx="19">
                  <c:v>0.028985507246376812</c:v>
                </c:pt>
                <c:pt idx="20">
                  <c:v>0.0032310177705977385</c:v>
                </c:pt>
                <c:pt idx="21">
                  <c:v>0.06790123456790123</c:v>
                </c:pt>
                <c:pt idx="22">
                  <c:v>0.04936854190585534</c:v>
                </c:pt>
                <c:pt idx="23">
                  <c:v>0.0863905325443787</c:v>
                </c:pt>
                <c:pt idx="24">
                  <c:v>0.024551927326295114</c:v>
                </c:pt>
                <c:pt idx="25">
                  <c:v>0.00949367088607595</c:v>
                </c:pt>
                <c:pt idx="26">
                  <c:v>0.15783602900167318</c:v>
                </c:pt>
                <c:pt idx="27">
                  <c:v>0.059961315280464215</c:v>
                </c:pt>
                <c:pt idx="28">
                  <c:v>0.00909090909090909</c:v>
                </c:pt>
                <c:pt idx="29">
                  <c:v>0.1600633914421553</c:v>
                </c:pt>
                <c:pt idx="30">
                  <c:v>0.04511970534069982</c:v>
                </c:pt>
                <c:pt idx="31">
                  <c:v>0.052489905787348586</c:v>
                </c:pt>
                <c:pt idx="32">
                  <c:v>0.006517690875232775</c:v>
                </c:pt>
                <c:pt idx="33">
                  <c:v>0.035246727089627394</c:v>
                </c:pt>
                <c:pt idx="34">
                  <c:v>0.18499353169469598</c:v>
                </c:pt>
                <c:pt idx="35">
                  <c:v>0.23780487804878048</c:v>
                </c:pt>
                <c:pt idx="36">
                  <c:v>0.026272577996715927</c:v>
                </c:pt>
                <c:pt idx="37">
                  <c:v>0.00228310502283105</c:v>
                </c:pt>
                <c:pt idx="38">
                  <c:v>0.07373271889400922</c:v>
                </c:pt>
                <c:pt idx="39">
                  <c:v>0.20151133501259447</c:v>
                </c:pt>
                <c:pt idx="40">
                  <c:v>0.009510869565217392</c:v>
                </c:pt>
                <c:pt idx="41">
                  <c:v>0.011892963330029732</c:v>
                </c:pt>
                <c:pt idx="42">
                  <c:v>0.08888888888888889</c:v>
                </c:pt>
                <c:pt idx="43">
                  <c:v>0.11895910780669144</c:v>
                </c:pt>
                <c:pt idx="44">
                  <c:v>0.0730050933786078</c:v>
                </c:pt>
                <c:pt idx="45">
                  <c:v>0.027700831024930747</c:v>
                </c:pt>
                <c:pt idx="46">
                  <c:v>0.07571801566579635</c:v>
                </c:pt>
                <c:pt idx="47">
                  <c:v>0.008620689655172414</c:v>
                </c:pt>
                <c:pt idx="48">
                  <c:v>0.016361886429258902</c:v>
                </c:pt>
                <c:pt idx="49">
                  <c:v>0.022494887525562373</c:v>
                </c:pt>
                <c:pt idx="50">
                  <c:v>0.02666666666666667</c:v>
                </c:pt>
                <c:pt idx="51">
                  <c:v>0.04398148148148148</c:v>
                </c:pt>
                <c:pt idx="52">
                  <c:v>0.2540045766590389</c:v>
                </c:pt>
                <c:pt idx="53">
                  <c:v>0.002544529262086514</c:v>
                </c:pt>
                <c:pt idx="54">
                  <c:v>0.15236686390532544</c:v>
                </c:pt>
                <c:pt idx="55">
                  <c:v>0.3309608540925267</c:v>
                </c:pt>
                <c:pt idx="56">
                  <c:v>0.030211480362537766</c:v>
                </c:pt>
                <c:pt idx="57">
                  <c:v>0.1267123287671233</c:v>
                </c:pt>
                <c:pt idx="58">
                  <c:v>0.007782101167315175</c:v>
                </c:pt>
                <c:pt idx="59">
                  <c:v>0.04391891891891892</c:v>
                </c:pt>
                <c:pt idx="60">
                  <c:v>0.11757269279393173</c:v>
                </c:pt>
                <c:pt idx="61">
                  <c:v>0.08660508083140878</c:v>
                </c:pt>
                <c:pt idx="62">
                  <c:v>0.09256449165402124</c:v>
                </c:pt>
                <c:pt idx="63">
                  <c:v>0.08416389811738649</c:v>
                </c:pt>
                <c:pt idx="64">
                  <c:v>0.1959531416400426</c:v>
                </c:pt>
                <c:pt idx="65">
                  <c:v>0.05219206680584551</c:v>
                </c:pt>
                <c:pt idx="66">
                  <c:v>0.02278481012658228</c:v>
                </c:pt>
              </c:numCache>
            </c:numRef>
          </c:yVal>
          <c:smooth val="0"/>
          <c:extLst>
            <c:ext xmlns:c16="http://schemas.microsoft.com/office/drawing/2014/chart" uri="{C3380CC4-5D6E-409C-BE32-E72D297353CC}">
              <c16:uniqueId val="{00000000-F32D-48B7-BC20-E66FC6253BAD}"/>
            </c:ext>
          </c:extLst>
        </c:ser>
        <c:ser>
          <c:idx val="1"/>
          <c:order val="1"/>
          <c:tx>
            <c:strRef>
              <c:f>Sheet1!$B$70</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1:$A$99</c:f>
              <c:numCache>
                <c:formatCode>General</c:formatCode>
                <c:ptCount val="29"/>
                <c:pt idx="0">
                  <c:v>1247.0568</c:v>
                </c:pt>
                <c:pt idx="1">
                  <c:v>1592.1105</c:v>
                </c:pt>
                <c:pt idx="2">
                  <c:v>1038.7516</c:v>
                </c:pt>
                <c:pt idx="3">
                  <c:v>975.8006</c:v>
                </c:pt>
                <c:pt idx="4">
                  <c:v>2398.3333</c:v>
                </c:pt>
                <c:pt idx="5">
                  <c:v>737.4167</c:v>
                </c:pt>
                <c:pt idx="6">
                  <c:v>825.5</c:v>
                </c:pt>
                <c:pt idx="7">
                  <c:v>1034.2051</c:v>
                </c:pt>
                <c:pt idx="8">
                  <c:v>2360.0</c:v>
                </c:pt>
                <c:pt idx="9">
                  <c:v>1066.5357</c:v>
                </c:pt>
                <c:pt idx="10">
                  <c:v>768.5</c:v>
                </c:pt>
                <c:pt idx="11">
                  <c:v>1055.8983</c:v>
                </c:pt>
                <c:pt idx="12">
                  <c:v>838.0183</c:v>
                </c:pt>
                <c:pt idx="13">
                  <c:v>1452.0</c:v>
                </c:pt>
                <c:pt idx="14">
                  <c:v>792.7333</c:v>
                </c:pt>
                <c:pt idx="15">
                  <c:v>817.9655</c:v>
                </c:pt>
                <c:pt idx="16">
                  <c:v>774.6071</c:v>
                </c:pt>
                <c:pt idx="17">
                  <c:v>416.4273</c:v>
                </c:pt>
                <c:pt idx="18">
                  <c:v>1034.3514</c:v>
                </c:pt>
                <c:pt idx="19">
                  <c:v>723.1818</c:v>
                </c:pt>
                <c:pt idx="20">
                  <c:v>1033.2258</c:v>
                </c:pt>
                <c:pt idx="21">
                  <c:v>1345.6923</c:v>
                </c:pt>
                <c:pt idx="22">
                  <c:v>1133.7895</c:v>
                </c:pt>
                <c:pt idx="23">
                  <c:v>907.75</c:v>
                </c:pt>
                <c:pt idx="24">
                  <c:v>1001.5231</c:v>
                </c:pt>
                <c:pt idx="25">
                  <c:v>1051.7875</c:v>
                </c:pt>
                <c:pt idx="26">
                  <c:v>973.2308</c:v>
                </c:pt>
                <c:pt idx="27">
                  <c:v>1008.7917</c:v>
                </c:pt>
                <c:pt idx="28">
                  <c:v>1067.1515</c:v>
                </c:pt>
              </c:numCache>
            </c:numRef>
          </c:xVal>
          <c:yVal>
            <c:numRef>
              <c:f>Sheet1!$B$71:$B$99</c:f>
              <c:numCache>
                <c:formatCode>General</c:formatCode>
                <c:ptCount val="29"/>
                <c:pt idx="0">
                  <c:v>0.08333333333333333</c:v>
                </c:pt>
                <c:pt idx="1">
                  <c:v>0.21608040201005024</c:v>
                </c:pt>
                <c:pt idx="2">
                  <c:v>0.20379746835443038</c:v>
                </c:pt>
                <c:pt idx="3">
                  <c:v>0.24662965900079303</c:v>
                </c:pt>
                <c:pt idx="4">
                  <c:v>0.006711409395973154</c:v>
                </c:pt>
                <c:pt idx="5">
                  <c:v>0.012987012987012988</c:v>
                </c:pt>
                <c:pt idx="6">
                  <c:v>0.013015184381778741</c:v>
                </c:pt>
                <c:pt idx="7">
                  <c:v>0.21666666666666667</c:v>
                </c:pt>
                <c:pt idx="8">
                  <c:v>0.020761245674740483</c:v>
                </c:pt>
                <c:pt idx="9">
                  <c:v>0.0380952380952381</c:v>
                </c:pt>
                <c:pt idx="10">
                  <c:v>0.05384615384615385</c:v>
                </c:pt>
                <c:pt idx="11">
                  <c:v>0.0898021308980213</c:v>
                </c:pt>
                <c:pt idx="12">
                  <c:v>0.1332518337408313</c:v>
                </c:pt>
                <c:pt idx="13">
                  <c:v>0.01090909090909091</c:v>
                </c:pt>
                <c:pt idx="14">
                  <c:v>0.03783102143757881</c:v>
                </c:pt>
                <c:pt idx="15">
                  <c:v>0.04588607594936709</c:v>
                </c:pt>
                <c:pt idx="16">
                  <c:v>0.0681265206812652</c:v>
                </c:pt>
                <c:pt idx="17">
                  <c:v>0.6246612466124661</c:v>
                </c:pt>
                <c:pt idx="18">
                  <c:v>0.24915824915824916</c:v>
                </c:pt>
                <c:pt idx="19">
                  <c:v>0.026128266033254157</c:v>
                </c:pt>
                <c:pt idx="20">
                  <c:v>0.12180746561886051</c:v>
                </c:pt>
                <c:pt idx="21">
                  <c:v>0.021207177814029365</c:v>
                </c:pt>
                <c:pt idx="22">
                  <c:v>0.10401459854014598</c:v>
                </c:pt>
                <c:pt idx="23">
                  <c:v>0.04664723032069971</c:v>
                </c:pt>
                <c:pt idx="24">
                  <c:v>0.22491349480968859</c:v>
                </c:pt>
                <c:pt idx="25">
                  <c:v>0.16913319238900634</c:v>
                </c:pt>
                <c:pt idx="26">
                  <c:v>0.01870503597122302</c:v>
                </c:pt>
                <c:pt idx="27">
                  <c:v>0.04660194174757282</c:v>
                </c:pt>
                <c:pt idx="28">
                  <c:v>0.1286549707602339</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399.5090500812805</c:v>
                </c:pt>
              </c:numCache>
            </c:numRef>
          </c:xVal>
          <c:yVal>
            <c:numRef>
              <c:f>Sheet1!$B$102:$B$103</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399.5090500812805</c:v>
                </c:pt>
                <c:pt idx="1">
                  <c:v>-399.5090500812805</c:v>
                </c:pt>
              </c:numCache>
            </c:numRef>
          </c:xVal>
          <c:yVal>
            <c:numRef>
              <c:f>Sheet1!$B$106:$B$107</c:f>
              <c:numCache>
                <c:formatCode>General</c:formatCode>
                <c:ptCount val="2"/>
                <c:pt idx="0">
                  <c:v>0.2491582491582491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399.5090500812805</c:v>
                </c:pt>
              </c:numCache>
            </c:numRef>
          </c:xVal>
          <c:yVal>
            <c:numRef>
              <c:f>Sheet1!$B$110:$B$111</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399.5090500812805</c:v>
                </c:pt>
                <c:pt idx="1">
                  <c:v>-399.5090500812805</c:v>
                </c:pt>
              </c:numCache>
            </c:numRef>
          </c:xVal>
          <c:yVal>
            <c:numRef>
              <c:f>Sheet1!$B$114:$B$115</c:f>
              <c:numCache>
                <c:formatCode>General</c:formatCode>
                <c:ptCount val="2"/>
                <c:pt idx="0">
                  <c:v>0.2491582491582491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1282.7107993065642</c:v>
                </c:pt>
              </c:numCache>
            </c:numRef>
          </c:xVal>
          <c:yVal>
            <c:numRef>
              <c:f>Sheet1!$B$118:$B$119</c:f>
              <c:numCache>
                <c:formatCode>General</c:formatCode>
                <c:ptCount val="2"/>
                <c:pt idx="0">
                  <c:v>0.09498470529407496</c:v>
                </c:pt>
                <c:pt idx="1">
                  <c:v>0.09498470529407496</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282.7107993065642</c:v>
                </c:pt>
                <c:pt idx="1">
                  <c:v>1282.7107993065642</c:v>
                </c:pt>
              </c:numCache>
            </c:numRef>
          </c:xVal>
          <c:yVal>
            <c:numRef>
              <c:f>Sheet1!$B$122:$B$123</c:f>
              <c:numCache>
                <c:formatCode>General</c:formatCode>
                <c:ptCount val="2"/>
                <c:pt idx="0">
                  <c:v>0.0949847052940749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57</c:f>
              <c:numCache>
                <c:formatCode>General</c:formatCode>
                <c:ptCount val="32"/>
                <c:pt idx="0">
                  <c:v>1247.0568</c:v>
                </c:pt>
                <c:pt idx="1">
                  <c:v>1592.1105</c:v>
                </c:pt>
                <c:pt idx="2">
                  <c:v>1038.7516</c:v>
                </c:pt>
                <c:pt idx="3">
                  <c:v>975.8006</c:v>
                </c:pt>
                <c:pt idx="4">
                  <c:v>2398.3333</c:v>
                </c:pt>
                <c:pt idx="5">
                  <c:v>737.4167</c:v>
                </c:pt>
                <c:pt idx="6">
                  <c:v>825.5</c:v>
                </c:pt>
                <c:pt idx="7">
                  <c:v>1034.2051</c:v>
                </c:pt>
                <c:pt idx="8">
                  <c:v>2360.0</c:v>
                </c:pt>
                <c:pt idx="9">
                  <c:v>1066.5357</c:v>
                </c:pt>
                <c:pt idx="10">
                  <c:v>768.5</c:v>
                </c:pt>
                <c:pt idx="11">
                  <c:v>1055.8983</c:v>
                </c:pt>
                <c:pt idx="12">
                  <c:v>838.0183</c:v>
                </c:pt>
                <c:pt idx="13">
                  <c:v>1452.0</c:v>
                </c:pt>
                <c:pt idx="14">
                  <c:v>792.7333</c:v>
                </c:pt>
                <c:pt idx="15">
                  <c:v>817.9655</c:v>
                </c:pt>
                <c:pt idx="16">
                  <c:v>774.6071</c:v>
                </c:pt>
                <c:pt idx="17">
                  <c:v>416.4273</c:v>
                </c:pt>
                <c:pt idx="18">
                  <c:v>1034.3514</c:v>
                </c:pt>
                <c:pt idx="19">
                  <c:v>723.1818</c:v>
                </c:pt>
                <c:pt idx="20">
                  <c:v>1033.2258</c:v>
                </c:pt>
                <c:pt idx="21">
                  <c:v>1345.6923</c:v>
                </c:pt>
                <c:pt idx="22">
                  <c:v>1133.7895</c:v>
                </c:pt>
                <c:pt idx="23">
                  <c:v>907.75</c:v>
                </c:pt>
                <c:pt idx="24">
                  <c:v>1001.5231</c:v>
                </c:pt>
                <c:pt idx="25">
                  <c:v>1051.7875</c:v>
                </c:pt>
                <c:pt idx="26">
                  <c:v>973.2308</c:v>
                </c:pt>
                <c:pt idx="27">
                  <c:v>1008.7917</c:v>
                </c:pt>
                <c:pt idx="28">
                  <c:v>1067.1515</c:v>
                </c:pt>
                <c:pt idx="29">
                  <c:v>-399.5090500812805</c:v>
                </c:pt>
                <c:pt idx="30">
                  <c:v>-399.5090500812805</c:v>
                </c:pt>
                <c:pt idx="31">
                  <c:v>1282.7107993065642</c:v>
                </c:pt>
              </c:numCache>
            </c:numRef>
          </c:xVal>
          <c:yVal>
            <c:numRef>
              <c:f>Sheet1!$B$126:$B$157</c:f>
              <c:numCache>
                <c:formatCode>General</c:formatCode>
                <c:ptCount val="32"/>
                <c:pt idx="0">
                  <c:v>0.09825235394774179</c:v>
                </c:pt>
                <c:pt idx="1">
                  <c:v>0.06662857316082249</c:v>
                </c:pt>
                <c:pt idx="2">
                  <c:v>0.11734328959507838</c:v>
                </c:pt>
                <c:pt idx="3">
                  <c:v>0.12311267744490395</c:v>
                </c:pt>
                <c:pt idx="4">
                  <c:v>-0.007260833307261377</c:v>
                </c:pt>
                <c:pt idx="5">
                  <c:v>0.14496029187921053</c:v>
                </c:pt>
                <c:pt idx="6">
                  <c:v>0.13688755719997525</c:v>
                </c:pt>
                <c:pt idx="7">
                  <c:v>0.1177599711705773</c:v>
                </c:pt>
                <c:pt idx="8">
                  <c:v>-0.0037476297796968094</c:v>
                </c:pt>
                <c:pt idx="9">
                  <c:v>0.1147969082991762</c:v>
                </c:pt>
                <c:pt idx="10">
                  <c:v>0.14211154264008036</c:v>
                </c:pt>
                <c:pt idx="11">
                  <c:v>0.11577181396094065</c:v>
                </c:pt>
                <c:pt idx="12">
                  <c:v>0.13574026918357407</c:v>
                </c:pt>
                <c:pt idx="13">
                  <c:v>0.07946954179250404</c:v>
                </c:pt>
                <c:pt idx="14">
                  <c:v>0.13989058814243652</c:v>
                </c:pt>
                <c:pt idx="15">
                  <c:v>0.1375780855911765</c:v>
                </c:pt>
                <c:pt idx="16">
                  <c:v>0.1415518338421634</c:v>
                </c:pt>
                <c:pt idx="17">
                  <c:v>0.17437860682707157</c:v>
                </c:pt>
                <c:pt idx="18">
                  <c:v>0.11774656294128102</c:v>
                </c:pt>
                <c:pt idx="19">
                  <c:v>0.14626490434133954</c:v>
                </c:pt>
                <c:pt idx="20">
                  <c:v>0.11784972290639299</c:v>
                </c:pt>
                <c:pt idx="21">
                  <c:v>0.08921252209024201</c:v>
                </c:pt>
                <c:pt idx="22">
                  <c:v>0.10863317370282984</c:v>
                </c:pt>
                <c:pt idx="23">
                  <c:v>0.12934943785877093</c:v>
                </c:pt>
                <c:pt idx="24">
                  <c:v>0.1207552394539723</c:v>
                </c:pt>
                <c:pt idx="25">
                  <c:v>0.11614856412492634</c:v>
                </c:pt>
                <c:pt idx="26">
                  <c:v>0.12334819670427205</c:v>
                </c:pt>
                <c:pt idx="27">
                  <c:v>0.12008908049660479</c:v>
                </c:pt>
                <c:pt idx="28">
                  <c:v>0.11474047092664959</c:v>
                </c:pt>
                <c:pt idx="29">
                  <c:v>0.24915824915824916</c:v>
                </c:pt>
                <c:pt idx="30">
                  <c:v>0.24915824915824916</c:v>
                </c:pt>
                <c:pt idx="31">
                  <c:v>0.0949847052940749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81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30769230769231"/>
          <c:min val="0.001826484018264840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3</c:f>
              <c:numCache>
                <c:formatCode>General</c:formatCode>
                <c:ptCount val="62"/>
                <c:pt idx="0">
                  <c:v>0.671397701098455</c:v>
                </c:pt>
                <c:pt idx="1">
                  <c:v>0.5975547811835777</c:v>
                </c:pt>
                <c:pt idx="2">
                  <c:v>1.5053488167698283</c:v>
                </c:pt>
                <c:pt idx="3">
                  <c:v>1.158833983398537</c:v>
                </c:pt>
                <c:pt idx="4">
                  <c:v>1.4936866602498309</c:v>
                </c:pt>
                <c:pt idx="5">
                  <c:v>1.017530034415044</c:v>
                </c:pt>
                <c:pt idx="6">
                  <c:v>1.1638871851077492</c:v>
                </c:pt>
                <c:pt idx="7">
                  <c:v>1.2916268541220943</c:v>
                </c:pt>
                <c:pt idx="8">
                  <c:v>0.7636136662932905</c:v>
                </c:pt>
                <c:pt idx="9">
                  <c:v>0.6863662955465587</c:v>
                </c:pt>
                <c:pt idx="10">
                  <c:v>0.7330447836812316</c:v>
                </c:pt>
                <c:pt idx="11">
                  <c:v>1.245938319761189</c:v>
                </c:pt>
                <c:pt idx="12">
                  <c:v>1.1532792219274979</c:v>
                </c:pt>
                <c:pt idx="13">
                  <c:v>1.3087466945453892</c:v>
                </c:pt>
                <c:pt idx="14">
                  <c:v>0.9976113144374167</c:v>
                </c:pt>
                <c:pt idx="15">
                  <c:v>0.15222478538775175</c:v>
                </c:pt>
                <c:pt idx="16">
                  <c:v>1.9185083370600093</c:v>
                </c:pt>
                <c:pt idx="17">
                  <c:v>3.9568221070811744</c:v>
                </c:pt>
                <c:pt idx="18">
                  <c:v>1.5463760559599407</c:v>
                </c:pt>
                <c:pt idx="19">
                  <c:v>1.2335440040265506</c:v>
                </c:pt>
                <c:pt idx="20">
                  <c:v>1.2725790258628686</c:v>
                </c:pt>
                <c:pt idx="21">
                  <c:v>1.979994269684633</c:v>
                </c:pt>
                <c:pt idx="22">
                  <c:v>0.5362499124220753</c:v>
                </c:pt>
                <c:pt idx="23">
                  <c:v>1.6984582850649554</c:v>
                </c:pt>
                <c:pt idx="24">
                  <c:v>0.9005644041711277</c:v>
                </c:pt>
                <c:pt idx="25">
                  <c:v>1.0034529785400468</c:v>
                </c:pt>
                <c:pt idx="26">
                  <c:v>1.8171214348723783</c:v>
                </c:pt>
                <c:pt idx="27">
                  <c:v>1.0759600611924596</c:v>
                </c:pt>
                <c:pt idx="28">
                  <c:v>1.2692392419773653</c:v>
                </c:pt>
                <c:pt idx="29">
                  <c:v>1.2467404399452608</c:v>
                </c:pt>
                <c:pt idx="30">
                  <c:v>0.9208446683158384</c:v>
                </c:pt>
                <c:pt idx="31">
                  <c:v>0.9410369197250787</c:v>
                </c:pt>
                <c:pt idx="32">
                  <c:v>1.117316262595192</c:v>
                </c:pt>
                <c:pt idx="33">
                  <c:v>7.233449028463287</c:v>
                </c:pt>
                <c:pt idx="34">
                  <c:v>1.0752264869623975</c:v>
                </c:pt>
                <c:pt idx="35">
                  <c:v>1.2603576678110293</c:v>
                </c:pt>
                <c:pt idx="36">
                  <c:v>1.6725820462440821</c:v>
                </c:pt>
                <c:pt idx="37">
                  <c:v>1.2331255084624027</c:v>
                </c:pt>
                <c:pt idx="38">
                  <c:v>1.796953714661407</c:v>
                </c:pt>
                <c:pt idx="39">
                  <c:v>0.7252057942386831</c:v>
                </c:pt>
                <c:pt idx="40">
                  <c:v>0.8070495214380883</c:v>
                </c:pt>
                <c:pt idx="41">
                  <c:v>0.921421952059358</c:v>
                </c:pt>
                <c:pt idx="42">
                  <c:v>1.106886282387479</c:v>
                </c:pt>
                <c:pt idx="43">
                  <c:v>0.4731753348427214</c:v>
                </c:pt>
                <c:pt idx="44">
                  <c:v>2.6940667304219996</c:v>
                </c:pt>
                <c:pt idx="45">
                  <c:v>1.8923323430891146</c:v>
                </c:pt>
                <c:pt idx="46">
                  <c:v>1.7369672753495689</c:v>
                </c:pt>
                <c:pt idx="47">
                  <c:v>1.5892112769211233</c:v>
                </c:pt>
                <c:pt idx="48">
                  <c:v>1.3732433662188723</c:v>
                </c:pt>
                <c:pt idx="49">
                  <c:v>1.55105750203878</c:v>
                </c:pt>
                <c:pt idx="50">
                  <c:v>1.4137656193360286</c:v>
                </c:pt>
                <c:pt idx="51">
                  <c:v>0.9807304190512662</c:v>
                </c:pt>
                <c:pt idx="52">
                  <c:v>0.9894544033263948</c:v>
                </c:pt>
                <c:pt idx="53">
                  <c:v>1.003105865345091</c:v>
                </c:pt>
                <c:pt idx="54">
                  <c:v>1.3406816382658568</c:v>
                </c:pt>
                <c:pt idx="55">
                  <c:v>0.76350608748594</c:v>
                </c:pt>
                <c:pt idx="56">
                  <c:v>0.6898558032640633</c:v>
                </c:pt>
                <c:pt idx="57">
                  <c:v>0.4682103631280035</c:v>
                </c:pt>
                <c:pt idx="58">
                  <c:v>0.562975447677297</c:v>
                </c:pt>
                <c:pt idx="59">
                  <c:v>0.7730056883121774</c:v>
                </c:pt>
                <c:pt idx="60">
                  <c:v>0.8078088652653804</c:v>
                </c:pt>
                <c:pt idx="61">
                  <c:v>1.5316670217067523</c:v>
                </c:pt>
              </c:numCache>
            </c:numRef>
          </c:xVal>
          <c:yVal>
            <c:numRef>
              <c:f>Sheet1!$B$2:$B$63</c:f>
              <c:numCache>
                <c:formatCode>General</c:formatCode>
                <c:ptCount val="62"/>
                <c:pt idx="0">
                  <c:v>0.01330671989354624</c:v>
                </c:pt>
                <c:pt idx="1">
                  <c:v>0.011824324324324325</c:v>
                </c:pt>
                <c:pt idx="2">
                  <c:v>0.23372781065088757</c:v>
                </c:pt>
                <c:pt idx="3">
                  <c:v>0.049429657794676805</c:v>
                </c:pt>
                <c:pt idx="4">
                  <c:v>0.05628517823639775</c:v>
                </c:pt>
                <c:pt idx="5">
                  <c:v>0.05263157894736842</c:v>
                </c:pt>
                <c:pt idx="6">
                  <c:v>0.0472972972972973</c:v>
                </c:pt>
                <c:pt idx="7">
                  <c:v>0.057803468208092484</c:v>
                </c:pt>
                <c:pt idx="8">
                  <c:v>0.04032258064516129</c:v>
                </c:pt>
                <c:pt idx="9">
                  <c:v>0.2944550669216061</c:v>
                </c:pt>
                <c:pt idx="10">
                  <c:v>0.1978021978021978</c:v>
                </c:pt>
                <c:pt idx="11">
                  <c:v>0.12</c:v>
                </c:pt>
                <c:pt idx="12">
                  <c:v>0.18754833720030936</c:v>
                </c:pt>
                <c:pt idx="13">
                  <c:v>0.017991004497751123</c:v>
                </c:pt>
                <c:pt idx="14">
                  <c:v>0.016203703703703703</c:v>
                </c:pt>
                <c:pt idx="15">
                  <c:v>0.09486166007905138</c:v>
                </c:pt>
                <c:pt idx="16">
                  <c:v>0.028985507246376812</c:v>
                </c:pt>
                <c:pt idx="17">
                  <c:v>0.0032310177705977385</c:v>
                </c:pt>
                <c:pt idx="18">
                  <c:v>0.04936854190585534</c:v>
                </c:pt>
                <c:pt idx="19">
                  <c:v>0.0863905325443787</c:v>
                </c:pt>
                <c:pt idx="20">
                  <c:v>0.024551927326295114</c:v>
                </c:pt>
                <c:pt idx="21">
                  <c:v>0.00949367088607595</c:v>
                </c:pt>
                <c:pt idx="22">
                  <c:v>0.15783602900167318</c:v>
                </c:pt>
                <c:pt idx="23">
                  <c:v>0.059961315280464215</c:v>
                </c:pt>
                <c:pt idx="24">
                  <c:v>0.00909090909090909</c:v>
                </c:pt>
                <c:pt idx="25">
                  <c:v>0.1600633914421553</c:v>
                </c:pt>
                <c:pt idx="26">
                  <c:v>0.04511970534069982</c:v>
                </c:pt>
                <c:pt idx="27">
                  <c:v>0.052489905787348586</c:v>
                </c:pt>
                <c:pt idx="28">
                  <c:v>0.006517690875232775</c:v>
                </c:pt>
                <c:pt idx="29">
                  <c:v>0.035246727089627394</c:v>
                </c:pt>
                <c:pt idx="30">
                  <c:v>0.18499353169469598</c:v>
                </c:pt>
                <c:pt idx="31">
                  <c:v>0.23780487804878048</c:v>
                </c:pt>
                <c:pt idx="32">
                  <c:v>0.026272577996715927</c:v>
                </c:pt>
                <c:pt idx="33">
                  <c:v>0.00228310502283105</c:v>
                </c:pt>
                <c:pt idx="34">
                  <c:v>0.07373271889400922</c:v>
                </c:pt>
                <c:pt idx="35">
                  <c:v>0.20151133501259447</c:v>
                </c:pt>
                <c:pt idx="36">
                  <c:v>0.009510869565217392</c:v>
                </c:pt>
                <c:pt idx="37">
                  <c:v>0.011892963330029732</c:v>
                </c:pt>
                <c:pt idx="38">
                  <c:v>0.08888888888888889</c:v>
                </c:pt>
                <c:pt idx="39">
                  <c:v>0.11895910780669144</c:v>
                </c:pt>
                <c:pt idx="40">
                  <c:v>0.0730050933786078</c:v>
                </c:pt>
                <c:pt idx="41">
                  <c:v>0.027700831024930747</c:v>
                </c:pt>
                <c:pt idx="42">
                  <c:v>0.008620689655172414</c:v>
                </c:pt>
                <c:pt idx="43">
                  <c:v>0.016361886429258902</c:v>
                </c:pt>
                <c:pt idx="44">
                  <c:v>0.022494887525562373</c:v>
                </c:pt>
                <c:pt idx="45">
                  <c:v>0.02666666666666667</c:v>
                </c:pt>
                <c:pt idx="46">
                  <c:v>0.04398148148148148</c:v>
                </c:pt>
                <c:pt idx="47">
                  <c:v>0.2540045766590389</c:v>
                </c:pt>
                <c:pt idx="48">
                  <c:v>0.002544529262086514</c:v>
                </c:pt>
                <c:pt idx="49">
                  <c:v>0.15236686390532544</c:v>
                </c:pt>
                <c:pt idx="50">
                  <c:v>0.3309608540925267</c:v>
                </c:pt>
                <c:pt idx="51">
                  <c:v>0.030211480362537766</c:v>
                </c:pt>
                <c:pt idx="52">
                  <c:v>0.1267123287671233</c:v>
                </c:pt>
                <c:pt idx="53">
                  <c:v>0.007782101167315175</c:v>
                </c:pt>
                <c:pt idx="54">
                  <c:v>0.04391891891891892</c:v>
                </c:pt>
                <c:pt idx="55">
                  <c:v>0.11757269279393173</c:v>
                </c:pt>
                <c:pt idx="56">
                  <c:v>0.08660508083140878</c:v>
                </c:pt>
                <c:pt idx="57">
                  <c:v>0.09256449165402124</c:v>
                </c:pt>
                <c:pt idx="58">
                  <c:v>0.08416389811738649</c:v>
                </c:pt>
                <c:pt idx="59">
                  <c:v>0.1959531416400426</c:v>
                </c:pt>
                <c:pt idx="60">
                  <c:v>0.05219206680584551</c:v>
                </c:pt>
                <c:pt idx="61">
                  <c:v>0.02278481012658228</c:v>
                </c:pt>
              </c:numCache>
            </c:numRef>
          </c:yVal>
          <c:smooth val="0"/>
          <c:extLst>
            <c:ext xmlns:c16="http://schemas.microsoft.com/office/drawing/2014/chart" uri="{C3380CC4-5D6E-409C-BE32-E72D297353CC}">
              <c16:uniqueId val="{00000000-096C-4121-9522-6AB7243CCAAE}"/>
            </c:ext>
          </c:extLst>
        </c:ser>
        <c:ser>
          <c:idx val="1"/>
          <c:order val="1"/>
          <c:tx>
            <c:strRef>
              <c:f>Sheet1!$B$6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6:$A$95</c:f>
              <c:numCache>
                <c:formatCode>General</c:formatCode>
                <c:ptCount val="30"/>
                <c:pt idx="0">
                  <c:v>0.9502077256065281</c:v>
                </c:pt>
                <c:pt idx="1">
                  <c:v>1.4614852837177605</c:v>
                </c:pt>
                <c:pt idx="2">
                  <c:v>0.8232873410661593</c:v>
                </c:pt>
                <c:pt idx="3">
                  <c:v>0.7742697881828317</c:v>
                </c:pt>
                <c:pt idx="4">
                  <c:v>1.6307292909332831</c:v>
                </c:pt>
                <c:pt idx="5">
                  <c:v>0.6626337739140092</c:v>
                </c:pt>
                <c:pt idx="6">
                  <c:v>0.7667952306544205</c:v>
                </c:pt>
                <c:pt idx="7">
                  <c:v>1.058179966036499</c:v>
                </c:pt>
                <c:pt idx="8">
                  <c:v>1.37851908615166</c:v>
                </c:pt>
                <c:pt idx="9">
                  <c:v>1.1031114562435207</c:v>
                </c:pt>
                <c:pt idx="10">
                  <c:v>0.5340637834079135</c:v>
                </c:pt>
                <c:pt idx="11">
                  <c:v>0.9053016432378729</c:v>
                </c:pt>
                <c:pt idx="12">
                  <c:v>0.4962058254712875</c:v>
                </c:pt>
                <c:pt idx="13">
                  <c:v>1.0887508937954995</c:v>
                </c:pt>
                <c:pt idx="14">
                  <c:v>0.5837710511797026</c:v>
                </c:pt>
                <c:pt idx="15">
                  <c:v>0.8187452729980034</c:v>
                </c:pt>
                <c:pt idx="16">
                  <c:v>0.5525320802349688</c:v>
                </c:pt>
                <c:pt idx="17">
                  <c:v>0.3933877591120827</c:v>
                </c:pt>
                <c:pt idx="18">
                  <c:v>0.7218019770515641</c:v>
                </c:pt>
                <c:pt idx="19">
                  <c:v>0.765700051902048</c:v>
                </c:pt>
                <c:pt idx="20">
                  <c:v>2.354404385930151</c:v>
                </c:pt>
                <c:pt idx="21">
                  <c:v>0.929755704959851</c:v>
                </c:pt>
                <c:pt idx="22">
                  <c:v>1.0955803010327025</c:v>
                </c:pt>
                <c:pt idx="23">
                  <c:v>1.361976058406226</c:v>
                </c:pt>
                <c:pt idx="24">
                  <c:v>0.8312084979497011</c:v>
                </c:pt>
                <c:pt idx="25">
                  <c:v>0.8633633757893148</c:v>
                </c:pt>
                <c:pt idx="26">
                  <c:v>0.629393441939201</c:v>
                </c:pt>
                <c:pt idx="27">
                  <c:v>0.9880907962945534</c:v>
                </c:pt>
                <c:pt idx="28">
                  <c:v>0.8357228565122964</c:v>
                </c:pt>
                <c:pt idx="29">
                  <c:v>0.8166097493187977</c:v>
                </c:pt>
              </c:numCache>
            </c:numRef>
          </c:xVal>
          <c:yVal>
            <c:numRef>
              <c:f>Sheet1!$B$66:$B$95</c:f>
              <c:numCache>
                <c:formatCode>General</c:formatCode>
                <c:ptCount val="30"/>
                <c:pt idx="0">
                  <c:v>0.08333333333333333</c:v>
                </c:pt>
                <c:pt idx="1">
                  <c:v>0.21608040201005024</c:v>
                </c:pt>
                <c:pt idx="2">
                  <c:v>0.20379746835443038</c:v>
                </c:pt>
                <c:pt idx="3">
                  <c:v>0.24662965900079303</c:v>
                </c:pt>
                <c:pt idx="4">
                  <c:v>0.006711409395973154</c:v>
                </c:pt>
                <c:pt idx="5">
                  <c:v>0.012987012987012988</c:v>
                </c:pt>
                <c:pt idx="6">
                  <c:v>0.013015184381778741</c:v>
                </c:pt>
                <c:pt idx="7">
                  <c:v>0.21666666666666667</c:v>
                </c:pt>
                <c:pt idx="8">
                  <c:v>0.020761245674740483</c:v>
                </c:pt>
                <c:pt idx="9">
                  <c:v>0.0380952380952381</c:v>
                </c:pt>
                <c:pt idx="10">
                  <c:v>0.05384615384615385</c:v>
                </c:pt>
                <c:pt idx="11">
                  <c:v>0.0898021308980213</c:v>
                </c:pt>
                <c:pt idx="12">
                  <c:v>0.1332518337408313</c:v>
                </c:pt>
                <c:pt idx="13">
                  <c:v>0.01090909090909091</c:v>
                </c:pt>
                <c:pt idx="14">
                  <c:v>0.03783102143757881</c:v>
                </c:pt>
                <c:pt idx="15">
                  <c:v>0.04588607594936709</c:v>
                </c:pt>
                <c:pt idx="16">
                  <c:v>0.0681265206812652</c:v>
                </c:pt>
                <c:pt idx="17">
                  <c:v>0.6246612466124661</c:v>
                </c:pt>
                <c:pt idx="18">
                  <c:v>0.24915824915824916</c:v>
                </c:pt>
                <c:pt idx="19">
                  <c:v>0.026128266033254157</c:v>
                </c:pt>
                <c:pt idx="20">
                  <c:v>0.7531380753138075</c:v>
                </c:pt>
                <c:pt idx="21">
                  <c:v>0.12180746561886051</c:v>
                </c:pt>
                <c:pt idx="22">
                  <c:v>0.021207177814029365</c:v>
                </c:pt>
                <c:pt idx="23">
                  <c:v>0.10401459854014598</c:v>
                </c:pt>
                <c:pt idx="24">
                  <c:v>0.04664723032069971</c:v>
                </c:pt>
                <c:pt idx="25">
                  <c:v>0.22491349480968859</c:v>
                </c:pt>
                <c:pt idx="26">
                  <c:v>0.16913319238900634</c:v>
                </c:pt>
                <c:pt idx="27">
                  <c:v>0.01870503597122302</c:v>
                </c:pt>
                <c:pt idx="28">
                  <c:v>0.04660194174757282</c:v>
                </c:pt>
                <c:pt idx="29">
                  <c:v>0.1286549707602339</c:v>
                </c:pt>
              </c:numCache>
            </c:numRef>
          </c:yVal>
          <c:smooth val="0"/>
          <c:extLst>
            <c:ext xmlns:c16="http://schemas.microsoft.com/office/drawing/2014/chart" uri="{C3380CC4-5D6E-409C-BE32-E72D297353CC}">
              <c16:uniqueId val="{00000002-096C-4121-9522-6AB7243CCAAE}"/>
            </c:ext>
          </c:extLst>
        </c:ser>
        <c:ser>
          <c:idx val="2"/>
          <c:order val="2"/>
          <c:tx>
            <c:strRef>
              <c:f>Sheet1!$B$9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98:$A$99</c:f>
              <c:numCache>
                <c:formatCode>General</c:formatCode>
                <c:ptCount val="2"/>
                <c:pt idx="0">
                  <c:v>0</c:v>
                </c:pt>
                <c:pt idx="1">
                  <c:v>1.8350727720402715</c:v>
                </c:pt>
              </c:numCache>
            </c:numRef>
          </c:xVal>
          <c:yVal>
            <c:numRef>
              <c:f>Sheet1!$B$98:$B$99</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5-096C-4121-9522-6AB7243CCAAE}"/>
            </c:ext>
          </c:extLst>
        </c:ser>
        <c:ser>
          <c:idx val="3"/>
          <c:order val="3"/>
          <c:tx>
            <c:strRef>
              <c:f>Sheet1!$B$10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2:$A$103</c:f>
              <c:numCache>
                <c:formatCode>General</c:formatCode>
                <c:ptCount val="2"/>
                <c:pt idx="0">
                  <c:v>1.8350727720402715</c:v>
                </c:pt>
                <c:pt idx="1">
                  <c:v>1.8350727720402715</c:v>
                </c:pt>
              </c:numCache>
            </c:numRef>
          </c:xVal>
          <c:yVal>
            <c:numRef>
              <c:f>Sheet1!$B$102:$B$103</c:f>
              <c:numCache>
                <c:formatCode>General</c:formatCode>
                <c:ptCount val="2"/>
                <c:pt idx="0">
                  <c:v>0.2491582491582491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06:$A$107</c:f>
              <c:numCache>
                <c:formatCode>General</c:formatCode>
                <c:ptCount val="2"/>
                <c:pt idx="0">
                  <c:v>0</c:v>
                </c:pt>
                <c:pt idx="1">
                  <c:v>1.8350727720402715</c:v>
                </c:pt>
              </c:numCache>
            </c:numRef>
          </c:xVal>
          <c:yVal>
            <c:numRef>
              <c:f>Sheet1!$B$106:$B$107</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D-096C-4121-9522-6AB7243CCAAE}"/>
            </c:ext>
          </c:extLst>
        </c:ser>
        <c:ser>
          <c:idx val="5"/>
          <c:order val="5"/>
          <c:tx>
            <c:strRef>
              <c:f>Sheet1!$B$10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0:$A$111</c:f>
              <c:numCache>
                <c:formatCode>General</c:formatCode>
                <c:ptCount val="2"/>
                <c:pt idx="0">
                  <c:v>1.8350727720402715</c:v>
                </c:pt>
                <c:pt idx="1">
                  <c:v>1.8350727720402715</c:v>
                </c:pt>
              </c:numCache>
            </c:numRef>
          </c:xVal>
          <c:yVal>
            <c:numRef>
              <c:f>Sheet1!$B$110:$B$111</c:f>
              <c:numCache>
                <c:formatCode>General</c:formatCode>
                <c:ptCount val="2"/>
                <c:pt idx="0">
                  <c:v>0.2491582491582491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4:$A$115</c:f>
              <c:numCache>
                <c:formatCode>General</c:formatCode>
                <c:ptCount val="2"/>
                <c:pt idx="0">
                  <c:v>0</c:v>
                </c:pt>
                <c:pt idx="1">
                  <c:v>0.6313062860289058</c:v>
                </c:pt>
              </c:numCache>
            </c:numRef>
          </c:xVal>
          <c:yVal>
            <c:numRef>
              <c:f>Sheet1!$B$114:$B$115</c:f>
              <c:numCache>
                <c:formatCode>General</c:formatCode>
                <c:ptCount val="2"/>
                <c:pt idx="0">
                  <c:v>0.09498470529407496</c:v>
                </c:pt>
                <c:pt idx="1">
                  <c:v>0.09498470529407496</c:v>
                </c:pt>
              </c:numCache>
            </c:numRef>
          </c:yVal>
          <c:smooth val="0"/>
          <c:extLst>
            <c:ext xmlns:c16="http://schemas.microsoft.com/office/drawing/2014/chart" uri="{C3380CC4-5D6E-409C-BE32-E72D297353CC}">
              <c16:uniqueId val="{00000015-096C-4121-9522-6AB7243CCAAE}"/>
            </c:ext>
          </c:extLst>
        </c:ser>
        <c:ser>
          <c:idx val="7"/>
          <c:order val="7"/>
          <c:tx>
            <c:strRef>
              <c:f>Sheet1!$B$11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8:$A$119</c:f>
              <c:numCache>
                <c:formatCode>General</c:formatCode>
                <c:ptCount val="2"/>
                <c:pt idx="0">
                  <c:v>0.6313062860289058</c:v>
                </c:pt>
                <c:pt idx="1">
                  <c:v>0.6313062860289058</c:v>
                </c:pt>
              </c:numCache>
            </c:numRef>
          </c:xVal>
          <c:yVal>
            <c:numRef>
              <c:f>Sheet1!$B$118:$B$119</c:f>
              <c:numCache>
                <c:formatCode>General</c:formatCode>
                <c:ptCount val="2"/>
                <c:pt idx="0">
                  <c:v>0.0949847052940749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2:$A$154</c:f>
              <c:numCache>
                <c:formatCode>General</c:formatCode>
                <c:ptCount val="33"/>
                <c:pt idx="0">
                  <c:v>0.9502077256065281</c:v>
                </c:pt>
                <c:pt idx="1">
                  <c:v>1.4614852837177605</c:v>
                </c:pt>
                <c:pt idx="2">
                  <c:v>0.8232873410661593</c:v>
                </c:pt>
                <c:pt idx="3">
                  <c:v>0.7742697881828317</c:v>
                </c:pt>
                <c:pt idx="4">
                  <c:v>1.6307292909332831</c:v>
                </c:pt>
                <c:pt idx="5">
                  <c:v>0.6626337739140092</c:v>
                </c:pt>
                <c:pt idx="6">
                  <c:v>0.7667952306544205</c:v>
                </c:pt>
                <c:pt idx="7">
                  <c:v>1.058179966036499</c:v>
                </c:pt>
                <c:pt idx="8">
                  <c:v>1.37851908615166</c:v>
                </c:pt>
                <c:pt idx="9">
                  <c:v>1.1031114562435207</c:v>
                </c:pt>
                <c:pt idx="10">
                  <c:v>0.5340637834079135</c:v>
                </c:pt>
                <c:pt idx="11">
                  <c:v>0.9053016432378729</c:v>
                </c:pt>
                <c:pt idx="12">
                  <c:v>0.4962058254712875</c:v>
                </c:pt>
                <c:pt idx="13">
                  <c:v>1.0887508937954995</c:v>
                </c:pt>
                <c:pt idx="14">
                  <c:v>0.5837710511797026</c:v>
                </c:pt>
                <c:pt idx="15">
                  <c:v>0.8187452729980034</c:v>
                </c:pt>
                <c:pt idx="16">
                  <c:v>0.5525320802349688</c:v>
                </c:pt>
                <c:pt idx="17">
                  <c:v>0.3933877591120827</c:v>
                </c:pt>
                <c:pt idx="18">
                  <c:v>0.7218019770515641</c:v>
                </c:pt>
                <c:pt idx="19">
                  <c:v>0.765700051902048</c:v>
                </c:pt>
                <c:pt idx="20">
                  <c:v>2.354404385930151</c:v>
                </c:pt>
                <c:pt idx="21">
                  <c:v>0.929755704959851</c:v>
                </c:pt>
                <c:pt idx="22">
                  <c:v>1.0955803010327025</c:v>
                </c:pt>
                <c:pt idx="23">
                  <c:v>1.361976058406226</c:v>
                </c:pt>
                <c:pt idx="24">
                  <c:v>0.8312084979497011</c:v>
                </c:pt>
                <c:pt idx="25">
                  <c:v>0.8633633757893148</c:v>
                </c:pt>
                <c:pt idx="26">
                  <c:v>0.629393441939201</c:v>
                </c:pt>
                <c:pt idx="27">
                  <c:v>0.9880907962945534</c:v>
                </c:pt>
                <c:pt idx="28">
                  <c:v>0.8357228565122964</c:v>
                </c:pt>
                <c:pt idx="29">
                  <c:v>0.8166097493187977</c:v>
                </c:pt>
                <c:pt idx="30">
                  <c:v>1.8350727720402715</c:v>
                </c:pt>
                <c:pt idx="31">
                  <c:v>1.8350727720402715</c:v>
                </c:pt>
                <c:pt idx="32">
                  <c:v>0.6313062860289058</c:v>
                </c:pt>
              </c:numCache>
            </c:numRef>
          </c:xVal>
          <c:yVal>
            <c:numRef>
              <c:f>Sheet1!$B$122:$B$154</c:f>
              <c:numCache>
                <c:formatCode>General</c:formatCode>
                <c:ptCount val="33"/>
                <c:pt idx="0">
                  <c:v>0.13582831213511526</c:v>
                </c:pt>
                <c:pt idx="1">
                  <c:v>0.2013106743276491</c:v>
                </c:pt>
                <c:pt idx="2">
                  <c:v>0.11957286251047132</c:v>
                </c:pt>
                <c:pt idx="3">
                  <c:v>0.1132948925491936</c:v>
                </c:pt>
                <c:pt idx="4">
                  <c:v>0.22298676240071796</c:v>
                </c:pt>
                <c:pt idx="5">
                  <c:v>0.09899700326360224</c:v>
                </c:pt>
                <c:pt idx="6">
                  <c:v>0.11233758144578336</c:v>
                </c:pt>
                <c:pt idx="7">
                  <c:v>0.14965696008260937</c:v>
                </c:pt>
                <c:pt idx="8">
                  <c:v>0.19068469923335646</c:v>
                </c:pt>
                <c:pt idx="9">
                  <c:v>0.15541160365909581</c:v>
                </c:pt>
                <c:pt idx="10">
                  <c:v>0.0825302787773709</c:v>
                </c:pt>
                <c:pt idx="11">
                  <c:v>0.13007692269182525</c:v>
                </c:pt>
                <c:pt idx="12">
                  <c:v>0.07768158461087177</c:v>
                </c:pt>
                <c:pt idx="13">
                  <c:v>0.15357236089048357</c:v>
                </c:pt>
                <c:pt idx="14">
                  <c:v>0.08889658463256632</c:v>
                </c:pt>
                <c:pt idx="15">
                  <c:v>0.11899113279903849</c:v>
                </c:pt>
                <c:pt idx="16">
                  <c:v>0.08489562355482612</c:v>
                </c:pt>
                <c:pt idx="17">
                  <c:v>0.06451306243645498</c:v>
                </c:pt>
                <c:pt idx="18">
                  <c:v>0.10657502746331073</c:v>
                </c:pt>
                <c:pt idx="19">
                  <c:v>0.11219731537974803</c:v>
                </c:pt>
                <c:pt idx="20">
                  <c:v>0.3156721422467694</c:v>
                </c:pt>
                <c:pt idx="21">
                  <c:v>0.13320890003241637</c:v>
                </c:pt>
                <c:pt idx="22">
                  <c:v>0.15444704375338666</c:v>
                </c:pt>
                <c:pt idx="23">
                  <c:v>0.1885659351346749</c:v>
                </c:pt>
                <c:pt idx="24">
                  <c:v>0.12058737225337524</c:v>
                </c:pt>
                <c:pt idx="25">
                  <c:v>0.1247056389825638</c:v>
                </c:pt>
                <c:pt idx="26">
                  <c:v>0.09473971595802308</c:v>
                </c:pt>
                <c:pt idx="27">
                  <c:v>0.1406802226412653</c:v>
                </c:pt>
                <c:pt idx="28">
                  <c:v>0.12116555304338464</c:v>
                </c:pt>
                <c:pt idx="29">
                  <c:v>0.11871762356161161</c:v>
                </c:pt>
                <c:pt idx="30">
                  <c:v>0.24915824915824916</c:v>
                </c:pt>
                <c:pt idx="31">
                  <c:v>0.24915824915824916</c:v>
                </c:pt>
                <c:pt idx="32">
                  <c:v>0.0949847052940749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765690376569"/>
          <c:min val="0.001826484018264840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3</c:f>
              <c:numCache>
                <c:formatCode>General</c:formatCode>
                <c:ptCount val="62"/>
                <c:pt idx="0">
                  <c:v>629.85</c:v>
                </c:pt>
                <c:pt idx="1">
                  <c:v>599.8571</c:v>
                </c:pt>
                <c:pt idx="2">
                  <c:v>1419.8861</c:v>
                </c:pt>
                <c:pt idx="3">
                  <c:v>646.0</c:v>
                </c:pt>
                <c:pt idx="4">
                  <c:v>1810.5333</c:v>
                </c:pt>
                <c:pt idx="5">
                  <c:v>1285.6667</c:v>
                </c:pt>
                <c:pt idx="6">
                  <c:v>1517.2857</c:v>
                </c:pt>
                <c:pt idx="7">
                  <c:v>1697.7</c:v>
                </c:pt>
                <c:pt idx="8">
                  <c:v>714.0333</c:v>
                </c:pt>
                <c:pt idx="9">
                  <c:v>678.1299</c:v>
                </c:pt>
                <c:pt idx="10">
                  <c:v>925.4167</c:v>
                </c:pt>
                <c:pt idx="11">
                  <c:v>925.4167</c:v>
                </c:pt>
                <c:pt idx="12">
                  <c:v>1304.3588</c:v>
                </c:pt>
                <c:pt idx="13">
                  <c:v>1524.5</c:v>
                </c:pt>
                <c:pt idx="14">
                  <c:v>1269.0</c:v>
                </c:pt>
                <c:pt idx="15">
                  <c:v>146.375</c:v>
                </c:pt>
                <c:pt idx="16">
                  <c:v>1773.0714</c:v>
                </c:pt>
                <c:pt idx="17">
                  <c:v>3436.5</c:v>
                </c:pt>
                <c:pt idx="18">
                  <c:v>1546.7093</c:v>
                </c:pt>
                <c:pt idx="19">
                  <c:v>1180.3151</c:v>
                </c:pt>
                <c:pt idx="20">
                  <c:v>1639.58</c:v>
                </c:pt>
                <c:pt idx="21">
                  <c:v>2228.6667</c:v>
                </c:pt>
                <c:pt idx="22">
                  <c:v>955.9717</c:v>
                </c:pt>
                <c:pt idx="23">
                  <c:v>1505.4516</c:v>
                </c:pt>
                <c:pt idx="24">
                  <c:v>984.4545</c:v>
                </c:pt>
                <c:pt idx="25">
                  <c:v>873.5297</c:v>
                </c:pt>
                <c:pt idx="26">
                  <c:v>1894.9184</c:v>
                </c:pt>
                <c:pt idx="27">
                  <c:v>1117.3077</c:v>
                </c:pt>
                <c:pt idx="28">
                  <c:v>1129.8571</c:v>
                </c:pt>
                <c:pt idx="29">
                  <c:v>1160.4857</c:v>
                </c:pt>
                <c:pt idx="30">
                  <c:v>1310.4895</c:v>
                </c:pt>
                <c:pt idx="31">
                  <c:v>1116.6154</c:v>
                </c:pt>
                <c:pt idx="32">
                  <c:v>1335.625</c:v>
                </c:pt>
                <c:pt idx="33">
                  <c:v>7344.0</c:v>
                </c:pt>
                <c:pt idx="34">
                  <c:v>1130.75</c:v>
                </c:pt>
                <c:pt idx="35">
                  <c:v>1090.8625</c:v>
                </c:pt>
                <c:pt idx="36">
                  <c:v>2083.1429</c:v>
                </c:pt>
                <c:pt idx="37">
                  <c:v>1374.3333</c:v>
                </c:pt>
                <c:pt idx="38">
                  <c:v>1366.5833</c:v>
                </c:pt>
                <c:pt idx="39">
                  <c:v>1101.4063</c:v>
                </c:pt>
                <c:pt idx="40">
                  <c:v>1129.0233</c:v>
                </c:pt>
                <c:pt idx="41">
                  <c:v>1097.4</c:v>
                </c:pt>
                <c:pt idx="42">
                  <c:v>1214.0</c:v>
                </c:pt>
                <c:pt idx="43">
                  <c:v>1160.4706</c:v>
                </c:pt>
                <c:pt idx="44">
                  <c:v>2249.7273</c:v>
                </c:pt>
                <c:pt idx="45">
                  <c:v>1615.8571</c:v>
                </c:pt>
                <c:pt idx="46">
                  <c:v>1480.3684</c:v>
                </c:pt>
                <c:pt idx="47">
                  <c:v>1443.1216</c:v>
                </c:pt>
                <c:pt idx="48">
                  <c:v>2792.0</c:v>
                </c:pt>
                <c:pt idx="49">
                  <c:v>1790.6796</c:v>
                </c:pt>
                <c:pt idx="50">
                  <c:v>1830.7097</c:v>
                </c:pt>
                <c:pt idx="51">
                  <c:v>1145.8</c:v>
                </c:pt>
                <c:pt idx="52">
                  <c:v>1147.036</c:v>
                </c:pt>
                <c:pt idx="53">
                  <c:v>1141.8333</c:v>
                </c:pt>
                <c:pt idx="54">
                  <c:v>1423.6154</c:v>
                </c:pt>
                <c:pt idx="55">
                  <c:v>788.5484</c:v>
                </c:pt>
                <c:pt idx="56">
                  <c:v>711.4</c:v>
                </c:pt>
                <c:pt idx="57">
                  <c:v>597.5082</c:v>
                </c:pt>
                <c:pt idx="58">
                  <c:v>787.4605</c:v>
                </c:pt>
                <c:pt idx="59">
                  <c:v>796.3098</c:v>
                </c:pt>
                <c:pt idx="60">
                  <c:v>1397.76</c:v>
                </c:pt>
                <c:pt idx="61">
                  <c:v>1729.2222</c:v>
                </c:pt>
              </c:numCache>
            </c:numRef>
          </c:xVal>
          <c:yVal>
            <c:numRef>
              <c:f>Sheet1!$B$2:$B$63</c:f>
              <c:numCache>
                <c:formatCode>General</c:formatCode>
                <c:ptCount val="62"/>
                <c:pt idx="0">
                  <c:v>0.01330671989354624</c:v>
                </c:pt>
                <c:pt idx="1">
                  <c:v>0.011824324324324325</c:v>
                </c:pt>
                <c:pt idx="2">
                  <c:v>0.23372781065088757</c:v>
                </c:pt>
                <c:pt idx="3">
                  <c:v>0.049429657794676805</c:v>
                </c:pt>
                <c:pt idx="4">
                  <c:v>0.05628517823639775</c:v>
                </c:pt>
                <c:pt idx="5">
                  <c:v>0.05263157894736842</c:v>
                </c:pt>
                <c:pt idx="6">
                  <c:v>0.0472972972972973</c:v>
                </c:pt>
                <c:pt idx="7">
                  <c:v>0.057803468208092484</c:v>
                </c:pt>
                <c:pt idx="8">
                  <c:v>0.04032258064516129</c:v>
                </c:pt>
                <c:pt idx="9">
                  <c:v>0.2944550669216061</c:v>
                </c:pt>
                <c:pt idx="10">
                  <c:v>0.1978021978021978</c:v>
                </c:pt>
                <c:pt idx="11">
                  <c:v>0.12</c:v>
                </c:pt>
                <c:pt idx="12">
                  <c:v>0.18754833720030936</c:v>
                </c:pt>
                <c:pt idx="13">
                  <c:v>0.017991004497751123</c:v>
                </c:pt>
                <c:pt idx="14">
                  <c:v>0.016203703703703703</c:v>
                </c:pt>
                <c:pt idx="15">
                  <c:v>0.09486166007905138</c:v>
                </c:pt>
                <c:pt idx="16">
                  <c:v>0.028985507246376812</c:v>
                </c:pt>
                <c:pt idx="17">
                  <c:v>0.0032310177705977385</c:v>
                </c:pt>
                <c:pt idx="18">
                  <c:v>0.04936854190585534</c:v>
                </c:pt>
                <c:pt idx="19">
                  <c:v>0.0863905325443787</c:v>
                </c:pt>
                <c:pt idx="20">
                  <c:v>0.024551927326295114</c:v>
                </c:pt>
                <c:pt idx="21">
                  <c:v>0.00949367088607595</c:v>
                </c:pt>
                <c:pt idx="22">
                  <c:v>0.15783602900167318</c:v>
                </c:pt>
                <c:pt idx="23">
                  <c:v>0.059961315280464215</c:v>
                </c:pt>
                <c:pt idx="24">
                  <c:v>0.00909090909090909</c:v>
                </c:pt>
                <c:pt idx="25">
                  <c:v>0.1600633914421553</c:v>
                </c:pt>
                <c:pt idx="26">
                  <c:v>0.04511970534069982</c:v>
                </c:pt>
                <c:pt idx="27">
                  <c:v>0.052489905787348586</c:v>
                </c:pt>
                <c:pt idx="28">
                  <c:v>0.006517690875232775</c:v>
                </c:pt>
                <c:pt idx="29">
                  <c:v>0.035246727089627394</c:v>
                </c:pt>
                <c:pt idx="30">
                  <c:v>0.18499353169469598</c:v>
                </c:pt>
                <c:pt idx="31">
                  <c:v>0.23780487804878048</c:v>
                </c:pt>
                <c:pt idx="32">
                  <c:v>0.026272577996715927</c:v>
                </c:pt>
                <c:pt idx="33">
                  <c:v>0.00228310502283105</c:v>
                </c:pt>
                <c:pt idx="34">
                  <c:v>0.07373271889400922</c:v>
                </c:pt>
                <c:pt idx="35">
                  <c:v>0.20151133501259447</c:v>
                </c:pt>
                <c:pt idx="36">
                  <c:v>0.009510869565217392</c:v>
                </c:pt>
                <c:pt idx="37">
                  <c:v>0.011892963330029732</c:v>
                </c:pt>
                <c:pt idx="38">
                  <c:v>0.08888888888888889</c:v>
                </c:pt>
                <c:pt idx="39">
                  <c:v>0.11895910780669144</c:v>
                </c:pt>
                <c:pt idx="40">
                  <c:v>0.0730050933786078</c:v>
                </c:pt>
                <c:pt idx="41">
                  <c:v>0.027700831024930747</c:v>
                </c:pt>
                <c:pt idx="42">
                  <c:v>0.008620689655172414</c:v>
                </c:pt>
                <c:pt idx="43">
                  <c:v>0.016361886429258902</c:v>
                </c:pt>
                <c:pt idx="44">
                  <c:v>0.022494887525562373</c:v>
                </c:pt>
                <c:pt idx="45">
                  <c:v>0.02666666666666667</c:v>
                </c:pt>
                <c:pt idx="46">
                  <c:v>0.04398148148148148</c:v>
                </c:pt>
                <c:pt idx="47">
                  <c:v>0.2540045766590389</c:v>
                </c:pt>
                <c:pt idx="48">
                  <c:v>0.002544529262086514</c:v>
                </c:pt>
                <c:pt idx="49">
                  <c:v>0.15236686390532544</c:v>
                </c:pt>
                <c:pt idx="50">
                  <c:v>0.3309608540925267</c:v>
                </c:pt>
                <c:pt idx="51">
                  <c:v>0.030211480362537766</c:v>
                </c:pt>
                <c:pt idx="52">
                  <c:v>0.1267123287671233</c:v>
                </c:pt>
                <c:pt idx="53">
                  <c:v>0.007782101167315175</c:v>
                </c:pt>
                <c:pt idx="54">
                  <c:v>0.04391891891891892</c:v>
                </c:pt>
                <c:pt idx="55">
                  <c:v>0.11757269279393173</c:v>
                </c:pt>
                <c:pt idx="56">
                  <c:v>0.08660508083140878</c:v>
                </c:pt>
                <c:pt idx="57">
                  <c:v>0.09256449165402124</c:v>
                </c:pt>
                <c:pt idx="58">
                  <c:v>0.08416389811738649</c:v>
                </c:pt>
                <c:pt idx="59">
                  <c:v>0.1959531416400426</c:v>
                </c:pt>
                <c:pt idx="60">
                  <c:v>0.05219206680584551</c:v>
                </c:pt>
                <c:pt idx="61">
                  <c:v>0.02278481012658228</c:v>
                </c:pt>
              </c:numCache>
            </c:numRef>
          </c:yVal>
          <c:smooth val="0"/>
          <c:extLst>
            <c:ext xmlns:c16="http://schemas.microsoft.com/office/drawing/2014/chart" uri="{C3380CC4-5D6E-409C-BE32-E72D297353CC}">
              <c16:uniqueId val="{00000000-F32D-48B7-BC20-E66FC6253BAD}"/>
            </c:ext>
          </c:extLst>
        </c:ser>
        <c:ser>
          <c:idx val="1"/>
          <c:order val="1"/>
          <c:tx>
            <c:strRef>
              <c:f>Sheet1!$B$6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6:$A$95</c:f>
              <c:numCache>
                <c:formatCode>General</c:formatCode>
                <c:ptCount val="30"/>
                <c:pt idx="0">
                  <c:v>1247.0568</c:v>
                </c:pt>
                <c:pt idx="1">
                  <c:v>1592.1105</c:v>
                </c:pt>
                <c:pt idx="2">
                  <c:v>1038.7516</c:v>
                </c:pt>
                <c:pt idx="3">
                  <c:v>975.8006</c:v>
                </c:pt>
                <c:pt idx="4">
                  <c:v>2398.3333</c:v>
                </c:pt>
                <c:pt idx="5">
                  <c:v>737.4167</c:v>
                </c:pt>
                <c:pt idx="6">
                  <c:v>825.5</c:v>
                </c:pt>
                <c:pt idx="7">
                  <c:v>1034.2051</c:v>
                </c:pt>
                <c:pt idx="8">
                  <c:v>2360.0</c:v>
                </c:pt>
                <c:pt idx="9">
                  <c:v>1066.5357</c:v>
                </c:pt>
                <c:pt idx="10">
                  <c:v>768.5</c:v>
                </c:pt>
                <c:pt idx="11">
                  <c:v>1055.8983</c:v>
                </c:pt>
                <c:pt idx="12">
                  <c:v>838.0183</c:v>
                </c:pt>
                <c:pt idx="13">
                  <c:v>1452.0</c:v>
                </c:pt>
                <c:pt idx="14">
                  <c:v>792.7333</c:v>
                </c:pt>
                <c:pt idx="15">
                  <c:v>817.9655</c:v>
                </c:pt>
                <c:pt idx="16">
                  <c:v>774.6071</c:v>
                </c:pt>
                <c:pt idx="17">
                  <c:v>416.4273</c:v>
                </c:pt>
                <c:pt idx="18">
                  <c:v>1034.3514</c:v>
                </c:pt>
                <c:pt idx="19">
                  <c:v>723.1818</c:v>
                </c:pt>
                <c:pt idx="20">
                  <c:v>1057.5556</c:v>
                </c:pt>
                <c:pt idx="21">
                  <c:v>1033.2258</c:v>
                </c:pt>
                <c:pt idx="22">
                  <c:v>1345.6923</c:v>
                </c:pt>
                <c:pt idx="23">
                  <c:v>1133.7895</c:v>
                </c:pt>
                <c:pt idx="24">
                  <c:v>907.75</c:v>
                </c:pt>
                <c:pt idx="25">
                  <c:v>1001.5231</c:v>
                </c:pt>
                <c:pt idx="26">
                  <c:v>1051.7875</c:v>
                </c:pt>
                <c:pt idx="27">
                  <c:v>973.2308</c:v>
                </c:pt>
                <c:pt idx="28">
                  <c:v>1008.7917</c:v>
                </c:pt>
                <c:pt idx="29">
                  <c:v>1067.1515</c:v>
                </c:pt>
              </c:numCache>
            </c:numRef>
          </c:xVal>
          <c:yVal>
            <c:numRef>
              <c:f>Sheet1!$B$66:$B$95</c:f>
              <c:numCache>
                <c:formatCode>General</c:formatCode>
                <c:ptCount val="30"/>
                <c:pt idx="0">
                  <c:v>0.08333333333333333</c:v>
                </c:pt>
                <c:pt idx="1">
                  <c:v>0.21608040201005024</c:v>
                </c:pt>
                <c:pt idx="2">
                  <c:v>0.20379746835443038</c:v>
                </c:pt>
                <c:pt idx="3">
                  <c:v>0.24662965900079303</c:v>
                </c:pt>
                <c:pt idx="4">
                  <c:v>0.006711409395973154</c:v>
                </c:pt>
                <c:pt idx="5">
                  <c:v>0.012987012987012988</c:v>
                </c:pt>
                <c:pt idx="6">
                  <c:v>0.013015184381778741</c:v>
                </c:pt>
                <c:pt idx="7">
                  <c:v>0.21666666666666667</c:v>
                </c:pt>
                <c:pt idx="8">
                  <c:v>0.020761245674740483</c:v>
                </c:pt>
                <c:pt idx="9">
                  <c:v>0.0380952380952381</c:v>
                </c:pt>
                <c:pt idx="10">
                  <c:v>0.05384615384615385</c:v>
                </c:pt>
                <c:pt idx="11">
                  <c:v>0.0898021308980213</c:v>
                </c:pt>
                <c:pt idx="12">
                  <c:v>0.1332518337408313</c:v>
                </c:pt>
                <c:pt idx="13">
                  <c:v>0.01090909090909091</c:v>
                </c:pt>
                <c:pt idx="14">
                  <c:v>0.03783102143757881</c:v>
                </c:pt>
                <c:pt idx="15">
                  <c:v>0.04588607594936709</c:v>
                </c:pt>
                <c:pt idx="16">
                  <c:v>0.0681265206812652</c:v>
                </c:pt>
                <c:pt idx="17">
                  <c:v>0.6246612466124661</c:v>
                </c:pt>
                <c:pt idx="18">
                  <c:v>0.24915824915824916</c:v>
                </c:pt>
                <c:pt idx="19">
                  <c:v>0.026128266033254157</c:v>
                </c:pt>
                <c:pt idx="20">
                  <c:v>0.7531380753138075</c:v>
                </c:pt>
                <c:pt idx="21">
                  <c:v>0.12180746561886051</c:v>
                </c:pt>
                <c:pt idx="22">
                  <c:v>0.021207177814029365</c:v>
                </c:pt>
                <c:pt idx="23">
                  <c:v>0.10401459854014598</c:v>
                </c:pt>
                <c:pt idx="24">
                  <c:v>0.04664723032069971</c:v>
                </c:pt>
                <c:pt idx="25">
                  <c:v>0.22491349480968859</c:v>
                </c:pt>
                <c:pt idx="26">
                  <c:v>0.16913319238900634</c:v>
                </c:pt>
                <c:pt idx="27">
                  <c:v>0.01870503597122302</c:v>
                </c:pt>
                <c:pt idx="28">
                  <c:v>0.04660194174757282</c:v>
                </c:pt>
                <c:pt idx="29">
                  <c:v>0.1286549707602339</c:v>
                </c:pt>
              </c:numCache>
            </c:numRef>
          </c:yVal>
          <c:smooth val="0"/>
          <c:extLst>
            <c:ext xmlns:c16="http://schemas.microsoft.com/office/drawing/2014/chart" uri="{C3380CC4-5D6E-409C-BE32-E72D297353CC}">
              <c16:uniqueId val="{00000002-F32D-48B7-BC20-E66FC6253BAD}"/>
            </c:ext>
          </c:extLst>
        </c:ser>
        <c:ser>
          <c:idx val="2"/>
          <c:order val="2"/>
          <c:tx>
            <c:strRef>
              <c:f>Sheet1!$B$97</c:f>
              <c:strCache>
                <c:ptCount val="1"/>
                <c:pt idx="0">
                  <c:v>Custom Linep3yQ</c:v>
                </c:pt>
              </c:strCache>
            </c:strRef>
          </c:tx>
          <c:spPr>
            <a:ln w="19050" cap="rnd">
              <a:solidFill>
                <a:srgbClr val="C00000"/>
              </a:solidFill>
              <a:prstDash val="sysDot"/>
              <a:round/>
            </a:ln>
            <a:effectLst/>
          </c:spPr>
          <c:marker>
            <c:symbol val="none"/>
          </c:marker>
          <c:xVal>
            <c:numRef>
              <c:f>Sheet1!$A$98:$A$99</c:f>
              <c:numCache>
                <c:formatCode>General</c:formatCode>
                <c:ptCount val="2"/>
                <c:pt idx="0">
                  <c:v>0</c:v>
                </c:pt>
                <c:pt idx="1">
                  <c:v>-123.53985282128855</c:v>
                </c:pt>
              </c:numCache>
            </c:numRef>
          </c:xVal>
          <c:yVal>
            <c:numRef>
              <c:f>Sheet1!$B$98:$B$99</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3-F32D-48B7-BC20-E66FC6253BAD}"/>
            </c:ext>
          </c:extLst>
        </c:ser>
        <c:ser>
          <c:idx val="3"/>
          <c:order val="3"/>
          <c:tx>
            <c:strRef>
              <c:f>Sheet1!$B$10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2:$A$103</c:f>
              <c:numCache>
                <c:formatCode>General</c:formatCode>
                <c:ptCount val="2"/>
                <c:pt idx="0">
                  <c:v>-123.53985282128855</c:v>
                </c:pt>
                <c:pt idx="1">
                  <c:v>-123.53985282128855</c:v>
                </c:pt>
              </c:numCache>
            </c:numRef>
          </c:xVal>
          <c:yVal>
            <c:numRef>
              <c:f>Sheet1!$B$102:$B$103</c:f>
              <c:numCache>
                <c:formatCode>General</c:formatCode>
                <c:ptCount val="2"/>
                <c:pt idx="0">
                  <c:v>0.2491582491582491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06:$A$107</c:f>
              <c:numCache>
                <c:formatCode>General</c:formatCode>
                <c:ptCount val="2"/>
                <c:pt idx="0">
                  <c:v>0</c:v>
                </c:pt>
                <c:pt idx="1">
                  <c:v>-123.53985282128855</c:v>
                </c:pt>
              </c:numCache>
            </c:numRef>
          </c:xVal>
          <c:yVal>
            <c:numRef>
              <c:f>Sheet1!$B$106:$B$107</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A-F32D-48B7-BC20-E66FC6253BAD}"/>
            </c:ext>
          </c:extLst>
        </c:ser>
        <c:ser>
          <c:idx val="5"/>
          <c:order val="5"/>
          <c:tx>
            <c:strRef>
              <c:f>Sheet1!$B$10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0:$A$111</c:f>
              <c:numCache>
                <c:formatCode>General</c:formatCode>
                <c:ptCount val="2"/>
                <c:pt idx="0">
                  <c:v>-123.53985282128855</c:v>
                </c:pt>
                <c:pt idx="1">
                  <c:v>-123.53985282128855</c:v>
                </c:pt>
              </c:numCache>
            </c:numRef>
          </c:xVal>
          <c:yVal>
            <c:numRef>
              <c:f>Sheet1!$B$110:$B$111</c:f>
              <c:numCache>
                <c:formatCode>General</c:formatCode>
                <c:ptCount val="2"/>
                <c:pt idx="0">
                  <c:v>0.2491582491582491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4:$A$115</c:f>
              <c:numCache>
                <c:formatCode>General</c:formatCode>
                <c:ptCount val="2"/>
                <c:pt idx="0">
                  <c:v>0</c:v>
                </c:pt>
                <c:pt idx="1">
                  <c:v>1499.4254339062584</c:v>
                </c:pt>
              </c:numCache>
            </c:numRef>
          </c:xVal>
          <c:yVal>
            <c:numRef>
              <c:f>Sheet1!$B$114:$B$115</c:f>
              <c:numCache>
                <c:formatCode>General</c:formatCode>
                <c:ptCount val="2"/>
                <c:pt idx="0">
                  <c:v>0.09498470529407496</c:v>
                </c:pt>
                <c:pt idx="1">
                  <c:v>0.09498470529407496</c:v>
                </c:pt>
              </c:numCache>
            </c:numRef>
          </c:yVal>
          <c:smooth val="0"/>
          <c:extLst>
            <c:ext xmlns:c16="http://schemas.microsoft.com/office/drawing/2014/chart" uri="{C3380CC4-5D6E-409C-BE32-E72D297353CC}">
              <c16:uniqueId val="{00000011-F32D-48B7-BC20-E66FC6253BAD}"/>
            </c:ext>
          </c:extLst>
        </c:ser>
        <c:ser>
          <c:idx val="7"/>
          <c:order val="7"/>
          <c:tx>
            <c:strRef>
              <c:f>Sheet1!$B$11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8:$A$119</c:f>
              <c:numCache>
                <c:formatCode>General</c:formatCode>
                <c:ptCount val="2"/>
                <c:pt idx="0">
                  <c:v>1499.4254339062584</c:v>
                </c:pt>
                <c:pt idx="1">
                  <c:v>1499.4254339062584</c:v>
                </c:pt>
              </c:numCache>
            </c:numRef>
          </c:xVal>
          <c:yVal>
            <c:numRef>
              <c:f>Sheet1!$B$118:$B$119</c:f>
              <c:numCache>
                <c:formatCode>General</c:formatCode>
                <c:ptCount val="2"/>
                <c:pt idx="0">
                  <c:v>0.0949847052940749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2:$A$154</c:f>
              <c:numCache>
                <c:formatCode>General</c:formatCode>
                <c:ptCount val="33"/>
                <c:pt idx="0">
                  <c:v>1247.0568</c:v>
                </c:pt>
                <c:pt idx="1">
                  <c:v>1592.1105</c:v>
                </c:pt>
                <c:pt idx="2">
                  <c:v>1038.7516</c:v>
                </c:pt>
                <c:pt idx="3">
                  <c:v>975.8006</c:v>
                </c:pt>
                <c:pt idx="4">
                  <c:v>2398.3333</c:v>
                </c:pt>
                <c:pt idx="5">
                  <c:v>737.4167</c:v>
                </c:pt>
                <c:pt idx="6">
                  <c:v>825.5</c:v>
                </c:pt>
                <c:pt idx="7">
                  <c:v>1034.2051</c:v>
                </c:pt>
                <c:pt idx="8">
                  <c:v>2360.0</c:v>
                </c:pt>
                <c:pt idx="9">
                  <c:v>1066.5357</c:v>
                </c:pt>
                <c:pt idx="10">
                  <c:v>768.5</c:v>
                </c:pt>
                <c:pt idx="11">
                  <c:v>1055.8983</c:v>
                </c:pt>
                <c:pt idx="12">
                  <c:v>838.0183</c:v>
                </c:pt>
                <c:pt idx="13">
                  <c:v>1452.0</c:v>
                </c:pt>
                <c:pt idx="14">
                  <c:v>792.7333</c:v>
                </c:pt>
                <c:pt idx="15">
                  <c:v>817.9655</c:v>
                </c:pt>
                <c:pt idx="16">
                  <c:v>774.6071</c:v>
                </c:pt>
                <c:pt idx="17">
                  <c:v>416.4273</c:v>
                </c:pt>
                <c:pt idx="18">
                  <c:v>1034.3514</c:v>
                </c:pt>
                <c:pt idx="19">
                  <c:v>723.1818</c:v>
                </c:pt>
                <c:pt idx="20">
                  <c:v>1057.5556</c:v>
                </c:pt>
                <c:pt idx="21">
                  <c:v>1033.2258</c:v>
                </c:pt>
                <c:pt idx="22">
                  <c:v>1345.6923</c:v>
                </c:pt>
                <c:pt idx="23">
                  <c:v>1133.7895</c:v>
                </c:pt>
                <c:pt idx="24">
                  <c:v>907.75</c:v>
                </c:pt>
                <c:pt idx="25">
                  <c:v>1001.5231</c:v>
                </c:pt>
                <c:pt idx="26">
                  <c:v>1051.7875</c:v>
                </c:pt>
                <c:pt idx="27">
                  <c:v>973.2308</c:v>
                </c:pt>
                <c:pt idx="28">
                  <c:v>1008.7917</c:v>
                </c:pt>
                <c:pt idx="29">
                  <c:v>1067.1515</c:v>
                </c:pt>
                <c:pt idx="30">
                  <c:v>-123.53985282128855</c:v>
                </c:pt>
                <c:pt idx="31">
                  <c:v>-123.53985282128855</c:v>
                </c:pt>
                <c:pt idx="32">
                  <c:v>1499.4254339062584</c:v>
                </c:pt>
              </c:numCache>
            </c:numRef>
          </c:xVal>
          <c:yVal>
            <c:numRef>
              <c:f>Sheet1!$B$122:$B$154</c:f>
              <c:numCache>
                <c:formatCode>General</c:formatCode>
                <c:ptCount val="33"/>
                <c:pt idx="0">
                  <c:v>0.11895845690027303</c:v>
                </c:pt>
                <c:pt idx="1">
                  <c:v>0.08618008992748874</c:v>
                </c:pt>
                <c:pt idx="2">
                  <c:v>0.13874640378488612</c:v>
                </c:pt>
                <c:pt idx="3">
                  <c:v>0.14472643234074206</c:v>
                </c:pt>
                <c:pt idx="4">
                  <c:v>0.009592976674607623</c:v>
                </c:pt>
                <c:pt idx="5">
                  <c:v>0.16737170452476302</c:v>
                </c:pt>
                <c:pt idx="6">
                  <c:v>0.15900423380477408</c:v>
                </c:pt>
                <c:pt idx="7">
                  <c:v>0.13917829843039137</c:v>
                </c:pt>
                <c:pt idx="8">
                  <c:v>0.013234447479522432</c:v>
                </c:pt>
                <c:pt idx="9">
                  <c:v>0.13610705395090805</c:v>
                </c:pt>
                <c:pt idx="10">
                  <c:v>0.16441894727531128</c:v>
                </c:pt>
                <c:pt idx="11">
                  <c:v>0.13711755347847807</c:v>
                </c:pt>
                <c:pt idx="12">
                  <c:v>0.15781505823217362</c:v>
                </c:pt>
                <c:pt idx="13">
                  <c:v>0.09948988311544846</c:v>
                </c:pt>
                <c:pt idx="14">
                  <c:v>0.1621169055920557</c:v>
                </c:pt>
                <c:pt idx="15">
                  <c:v>0.15971997343010325</c:v>
                </c:pt>
                <c:pt idx="16">
                  <c:v>0.16383880347468116</c:v>
                </c:pt>
                <c:pt idx="17">
                  <c:v>0.197864083964757</c:v>
                </c:pt>
                <c:pt idx="18">
                  <c:v>0.13916440066581698</c:v>
                </c:pt>
                <c:pt idx="19">
                  <c:v>0.16872394846830252</c:v>
                </c:pt>
                <c:pt idx="20">
                  <c:v>0.13696011830944788</c:v>
                </c:pt>
                <c:pt idx="21">
                  <c:v>0.13927132700761413</c:v>
                </c:pt>
                <c:pt idx="22">
                  <c:v>0.10958858022442791</c:v>
                </c:pt>
                <c:pt idx="23">
                  <c:v>0.12971828102450775</c:v>
                </c:pt>
                <c:pt idx="24">
                  <c:v>0.15119089726176205</c:v>
                </c:pt>
                <c:pt idx="25">
                  <c:v>0.14228292414344568</c:v>
                </c:pt>
                <c:pt idx="26">
                  <c:v>0.1375080588141743</c:v>
                </c:pt>
                <c:pt idx="27">
                  <c:v>0.14497055042278745</c:v>
                </c:pt>
                <c:pt idx="28">
                  <c:v>0.14159244368148172</c:v>
                </c:pt>
                <c:pt idx="29">
                  <c:v>0.1360485560464316</c:v>
                </c:pt>
                <c:pt idx="30">
                  <c:v>0.24915824915824916</c:v>
                </c:pt>
                <c:pt idx="31">
                  <c:v>0.24915824915824916</c:v>
                </c:pt>
                <c:pt idx="32">
                  <c:v>0.0949847052940749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81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765690376569"/>
          <c:min val="0.001826484018264840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2</c:f>
              <c:numCache>
                <c:formatCode>General</c:formatCode>
                <c:ptCount val="61"/>
                <c:pt idx="0">
                  <c:v>0.8723950037258754</c:v>
                </c:pt>
                <c:pt idx="1">
                  <c:v>0.933632633875903</c:v>
                </c:pt>
                <c:pt idx="2">
                  <c:v>2.1125956509771537</c:v>
                </c:pt>
                <c:pt idx="3">
                  <c:v>1.1285191104055052</c:v>
                </c:pt>
                <c:pt idx="4">
                  <c:v>1.2091372588424436</c:v>
                </c:pt>
                <c:pt idx="5">
                  <c:v>2.621561625619216</c:v>
                </c:pt>
                <c:pt idx="6">
                  <c:v>1.0061490061490062</c:v>
                </c:pt>
                <c:pt idx="7">
                  <c:v>1.0779685955070264</c:v>
                </c:pt>
                <c:pt idx="8">
                  <c:v>1.0217555087439734</c:v>
                </c:pt>
                <c:pt idx="9">
                  <c:v>0.9916734398539507</c:v>
                </c:pt>
                <c:pt idx="10">
                  <c:v>1.596096412556054</c:v>
                </c:pt>
                <c:pt idx="11">
                  <c:v>3.657279334513398</c:v>
                </c:pt>
                <c:pt idx="12">
                  <c:v>2.032409635460608</c:v>
                </c:pt>
                <c:pt idx="13">
                  <c:v>2.1248784589034986</c:v>
                </c:pt>
                <c:pt idx="14">
                  <c:v>1.6759329426080791</c:v>
                </c:pt>
                <c:pt idx="15">
                  <c:v>0.311336807401893</c:v>
                </c:pt>
                <c:pt idx="16">
                  <c:v>2.363176082049155</c:v>
                </c:pt>
                <c:pt idx="17">
                  <c:v>6.096173185601288</c:v>
                </c:pt>
                <c:pt idx="18">
                  <c:v>3.0926795508353186</c:v>
                </c:pt>
                <c:pt idx="19">
                  <c:v>2.368373681090839</c:v>
                </c:pt>
                <c:pt idx="20">
                  <c:v>1.3388582791892722</c:v>
                </c:pt>
                <c:pt idx="21">
                  <c:v>2.509721923521123</c:v>
                </c:pt>
                <c:pt idx="22">
                  <c:v>4.010969455382225</c:v>
                </c:pt>
                <c:pt idx="23">
                  <c:v>3.6912655353400874</c:v>
                </c:pt>
                <c:pt idx="24">
                  <c:v>2.9447591968246045</c:v>
                </c:pt>
                <c:pt idx="25">
                  <c:v>1.3924291352353755</c:v>
                </c:pt>
                <c:pt idx="26">
                  <c:v>1.312848828681082</c:v>
                </c:pt>
                <c:pt idx="27">
                  <c:v>3.098803597710548</c:v>
                </c:pt>
                <c:pt idx="28">
                  <c:v>1.193479755153008</c:v>
                </c:pt>
                <c:pt idx="29">
                  <c:v>1.3553458542343901</c:v>
                </c:pt>
                <c:pt idx="30">
                  <c:v>1.841129289335259</c:v>
                </c:pt>
                <c:pt idx="31">
                  <c:v>1.5317083676268861</c:v>
                </c:pt>
                <c:pt idx="32">
                  <c:v>3.5535446849347796</c:v>
                </c:pt>
                <c:pt idx="33">
                  <c:v>11.12025180465606</c:v>
                </c:pt>
                <c:pt idx="34">
                  <c:v>1.6888269034195627</c:v>
                </c:pt>
                <c:pt idx="35">
                  <c:v>1.537508809020437</c:v>
                </c:pt>
                <c:pt idx="36">
                  <c:v>3.7920499110940886</c:v>
                </c:pt>
                <c:pt idx="37">
                  <c:v>1.467236045367808</c:v>
                </c:pt>
                <c:pt idx="38">
                  <c:v>1.1450604733549818</c:v>
                </c:pt>
                <c:pt idx="39">
                  <c:v>2.7800649571302642</c:v>
                </c:pt>
                <c:pt idx="40">
                  <c:v>2.301691955425116</c:v>
                </c:pt>
                <c:pt idx="41">
                  <c:v>1.610327528796097</c:v>
                </c:pt>
                <c:pt idx="42">
                  <c:v>1.4667295242021245</c:v>
                </c:pt>
                <c:pt idx="43">
                  <c:v>2.308594375560627</c:v>
                </c:pt>
                <c:pt idx="44">
                  <c:v>3.2956330206204187</c:v>
                </c:pt>
                <c:pt idx="45">
                  <c:v>2.56603739726804</c:v>
                </c:pt>
                <c:pt idx="46">
                  <c:v>1.991917786561265</c:v>
                </c:pt>
                <c:pt idx="47">
                  <c:v>2.155891107242885</c:v>
                </c:pt>
                <c:pt idx="48">
                  <c:v>5.847067764625366</c:v>
                </c:pt>
                <c:pt idx="49">
                  <c:v>2.6855475492955887</c:v>
                </c:pt>
                <c:pt idx="50">
                  <c:v>14.801591645759776</c:v>
                </c:pt>
                <c:pt idx="51">
                  <c:v>9.322971910856655</c:v>
                </c:pt>
                <c:pt idx="52">
                  <c:v>2.7630844008373705</c:v>
                </c:pt>
                <c:pt idx="53">
                  <c:v>2.4534978769958795</c:v>
                </c:pt>
                <c:pt idx="54">
                  <c:v>1.3876996642624069</c:v>
                </c:pt>
                <c:pt idx="55">
                  <c:v>1.1614527007611972</c:v>
                </c:pt>
                <c:pt idx="56">
                  <c:v>0.7873431742632051</c:v>
                </c:pt>
                <c:pt idx="57">
                  <c:v>0.9042429321401398</c:v>
                </c:pt>
                <c:pt idx="58">
                  <c:v>0.8186171164225134</c:v>
                </c:pt>
                <c:pt idx="59">
                  <c:v>1.4922463530304528</c:v>
                </c:pt>
                <c:pt idx="60">
                  <c:v>3.1581942417938134</c:v>
                </c:pt>
              </c:numCache>
            </c:numRef>
          </c:xVal>
          <c:yVal>
            <c:numRef>
              <c:f>Sheet1!$B$2:$B$62</c:f>
              <c:numCache>
                <c:formatCode>General</c:formatCode>
                <c:ptCount val="61"/>
                <c:pt idx="0">
                  <c:v>0.01330671989354624</c:v>
                </c:pt>
                <c:pt idx="1">
                  <c:v>0.011824324324324325</c:v>
                </c:pt>
                <c:pt idx="2">
                  <c:v>0.23372781065088757</c:v>
                </c:pt>
                <c:pt idx="3">
                  <c:v>0.049429657794676805</c:v>
                </c:pt>
                <c:pt idx="4">
                  <c:v>0.039473684210526314</c:v>
                </c:pt>
                <c:pt idx="5">
                  <c:v>0.05628517823639775</c:v>
                </c:pt>
                <c:pt idx="6">
                  <c:v>0.04195804195804196</c:v>
                </c:pt>
                <c:pt idx="7">
                  <c:v>0.06342494714587738</c:v>
                </c:pt>
                <c:pt idx="8">
                  <c:v>0.04032258064516129</c:v>
                </c:pt>
                <c:pt idx="9">
                  <c:v>0.2944550669216061</c:v>
                </c:pt>
                <c:pt idx="10">
                  <c:v>0.12</c:v>
                </c:pt>
                <c:pt idx="11">
                  <c:v>0.18754833720030936</c:v>
                </c:pt>
                <c:pt idx="12">
                  <c:v>0.09417040358744394</c:v>
                </c:pt>
                <c:pt idx="13">
                  <c:v>0.017991004497751123</c:v>
                </c:pt>
                <c:pt idx="14">
                  <c:v>0.016203703703703703</c:v>
                </c:pt>
                <c:pt idx="15">
                  <c:v>0.09486166007905138</c:v>
                </c:pt>
                <c:pt idx="16">
                  <c:v>0.028985507246376812</c:v>
                </c:pt>
                <c:pt idx="17">
                  <c:v>0.0032310177705977385</c:v>
                </c:pt>
                <c:pt idx="18">
                  <c:v>0.06790123456790123</c:v>
                </c:pt>
                <c:pt idx="19">
                  <c:v>0.04936854190585534</c:v>
                </c:pt>
                <c:pt idx="20">
                  <c:v>0.0863905325443787</c:v>
                </c:pt>
                <c:pt idx="21">
                  <c:v>0.024551927326295114</c:v>
                </c:pt>
                <c:pt idx="22">
                  <c:v>0.00949367088607595</c:v>
                </c:pt>
                <c:pt idx="23">
                  <c:v>0.15783602900167318</c:v>
                </c:pt>
                <c:pt idx="24">
                  <c:v>0.059961315280464215</c:v>
                </c:pt>
                <c:pt idx="25">
                  <c:v>0.00909090909090909</c:v>
                </c:pt>
                <c:pt idx="26">
                  <c:v>0.1600633914421553</c:v>
                </c:pt>
                <c:pt idx="27">
                  <c:v>0.04511970534069982</c:v>
                </c:pt>
                <c:pt idx="28">
                  <c:v>0.052489905787348586</c:v>
                </c:pt>
                <c:pt idx="29">
                  <c:v>0.006517690875232775</c:v>
                </c:pt>
                <c:pt idx="30">
                  <c:v>0.18499353169469598</c:v>
                </c:pt>
                <c:pt idx="31">
                  <c:v>0.23780487804878048</c:v>
                </c:pt>
                <c:pt idx="32">
                  <c:v>0.026272577996715927</c:v>
                </c:pt>
                <c:pt idx="33">
                  <c:v>0.00228310502283105</c:v>
                </c:pt>
                <c:pt idx="34">
                  <c:v>0.07373271889400922</c:v>
                </c:pt>
                <c:pt idx="35">
                  <c:v>0.20151133501259447</c:v>
                </c:pt>
                <c:pt idx="36">
                  <c:v>0.009510869565217392</c:v>
                </c:pt>
                <c:pt idx="37">
                  <c:v>0.011892963330029732</c:v>
                </c:pt>
                <c:pt idx="38">
                  <c:v>0.08888888888888889</c:v>
                </c:pt>
                <c:pt idx="39">
                  <c:v>0.0730050933786078</c:v>
                </c:pt>
                <c:pt idx="40">
                  <c:v>0.027700831024930747</c:v>
                </c:pt>
                <c:pt idx="41">
                  <c:v>0.07571801566579635</c:v>
                </c:pt>
                <c:pt idx="42">
                  <c:v>0.008620689655172414</c:v>
                </c:pt>
                <c:pt idx="43">
                  <c:v>0.016361886429258902</c:v>
                </c:pt>
                <c:pt idx="44">
                  <c:v>0.022494887525562373</c:v>
                </c:pt>
                <c:pt idx="45">
                  <c:v>0.02666666666666667</c:v>
                </c:pt>
                <c:pt idx="46">
                  <c:v>0.04398148148148148</c:v>
                </c:pt>
                <c:pt idx="47">
                  <c:v>0.2540045766590389</c:v>
                </c:pt>
                <c:pt idx="48">
                  <c:v>0.002544529262086514</c:v>
                </c:pt>
                <c:pt idx="49">
                  <c:v>0.15236686390532544</c:v>
                </c:pt>
                <c:pt idx="50">
                  <c:v>0.3309608540925267</c:v>
                </c:pt>
                <c:pt idx="51">
                  <c:v>0.1267123287671233</c:v>
                </c:pt>
                <c:pt idx="52">
                  <c:v>0.007782101167315175</c:v>
                </c:pt>
                <c:pt idx="53">
                  <c:v>0.04391891891891892</c:v>
                </c:pt>
                <c:pt idx="54">
                  <c:v>0.11757269279393173</c:v>
                </c:pt>
                <c:pt idx="55">
                  <c:v>0.08660508083140878</c:v>
                </c:pt>
                <c:pt idx="56">
                  <c:v>0.09256449165402124</c:v>
                </c:pt>
                <c:pt idx="57">
                  <c:v>0.08416389811738649</c:v>
                </c:pt>
                <c:pt idx="58">
                  <c:v>0.1959531416400426</c:v>
                </c:pt>
                <c:pt idx="59">
                  <c:v>0.05219206680584551</c:v>
                </c:pt>
                <c:pt idx="60">
                  <c:v>0.02278481012658228</c:v>
                </c:pt>
              </c:numCache>
            </c:numRef>
          </c:yVal>
          <c:smooth val="0"/>
          <c:extLst>
            <c:ext xmlns:c16="http://schemas.microsoft.com/office/drawing/2014/chart" uri="{C3380CC4-5D6E-409C-BE32-E72D297353CC}">
              <c16:uniqueId val="{00000000-096C-4121-9522-6AB7243CCAAE}"/>
            </c:ext>
          </c:extLst>
        </c:ser>
        <c:ser>
          <c:idx val="1"/>
          <c:order val="1"/>
          <c:tx>
            <c:strRef>
              <c:f>Sheet1!$B$6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5:$A$89</c:f>
              <c:numCache>
                <c:formatCode>General</c:formatCode>
                <c:ptCount val="25"/>
                <c:pt idx="0">
                  <c:v>1.991447227535079</c:v>
                </c:pt>
                <c:pt idx="1">
                  <c:v>1.7425018247390285</c:v>
                </c:pt>
                <c:pt idx="2">
                  <c:v>1.1448190885545821</c:v>
                </c:pt>
                <c:pt idx="3">
                  <c:v>1.1508439674489916</c:v>
                </c:pt>
                <c:pt idx="4">
                  <c:v>4.171988866269113</c:v>
                </c:pt>
                <c:pt idx="5">
                  <c:v>1.015918565815324</c:v>
                </c:pt>
                <c:pt idx="6">
                  <c:v>3.3713707765009744</c:v>
                </c:pt>
                <c:pt idx="7">
                  <c:v>1.3047715973760103</c:v>
                </c:pt>
                <c:pt idx="8">
                  <c:v>0.8393005399263512</c:v>
                </c:pt>
                <c:pt idx="9">
                  <c:v>1.3919928969885367</c:v>
                </c:pt>
                <c:pt idx="10">
                  <c:v>1.6708382879186274</c:v>
                </c:pt>
                <c:pt idx="11">
                  <c:v>3.033425972602648</c:v>
                </c:pt>
                <c:pt idx="12">
                  <c:v>1.0758304425647796</c:v>
                </c:pt>
                <c:pt idx="13">
                  <c:v>1.7608055702355339</c:v>
                </c:pt>
                <c:pt idx="14">
                  <c:v>1.691184763844347</c:v>
                </c:pt>
                <c:pt idx="15">
                  <c:v>0.7070073005093379</c:v>
                </c:pt>
                <c:pt idx="16">
                  <c:v>2.20947791796052</c:v>
                </c:pt>
                <c:pt idx="17">
                  <c:v>1.4799266722642035</c:v>
                </c:pt>
                <c:pt idx="18">
                  <c:v>1.3148054570444618</c:v>
                </c:pt>
                <c:pt idx="19">
                  <c:v>1.5621238633232297</c:v>
                </c:pt>
                <c:pt idx="20">
                  <c:v>1.3466166876923313</c:v>
                </c:pt>
                <c:pt idx="21">
                  <c:v>1.1591702546296296</c:v>
                </c:pt>
                <c:pt idx="22">
                  <c:v>1.6825002005382723</c:v>
                </c:pt>
                <c:pt idx="23">
                  <c:v>1.287662589800781</c:v>
                </c:pt>
                <c:pt idx="24">
                  <c:v>0.9219323169673406</c:v>
                </c:pt>
              </c:numCache>
            </c:numRef>
          </c:xVal>
          <c:yVal>
            <c:numRef>
              <c:f>Sheet1!$B$65:$B$89</c:f>
              <c:numCache>
                <c:formatCode>General</c:formatCode>
                <c:ptCount val="25"/>
                <c:pt idx="0">
                  <c:v>0.08333333333333333</c:v>
                </c:pt>
                <c:pt idx="1">
                  <c:v>0.21608040201005024</c:v>
                </c:pt>
                <c:pt idx="2">
                  <c:v>0.20379746835443038</c:v>
                </c:pt>
                <c:pt idx="3">
                  <c:v>0.24662965900079303</c:v>
                </c:pt>
                <c:pt idx="4">
                  <c:v>0.006711409395973154</c:v>
                </c:pt>
                <c:pt idx="5">
                  <c:v>0.21666666666666667</c:v>
                </c:pt>
                <c:pt idx="6">
                  <c:v>0.020761245674740483</c:v>
                </c:pt>
                <c:pt idx="7">
                  <c:v>0.0380952380952381</c:v>
                </c:pt>
                <c:pt idx="8">
                  <c:v>0.05384615384615385</c:v>
                </c:pt>
                <c:pt idx="9">
                  <c:v>0.0898021308980213</c:v>
                </c:pt>
                <c:pt idx="10">
                  <c:v>0.1332518337408313</c:v>
                </c:pt>
                <c:pt idx="11">
                  <c:v>0.01090909090909091</c:v>
                </c:pt>
                <c:pt idx="12">
                  <c:v>0.03783102143757881</c:v>
                </c:pt>
                <c:pt idx="13">
                  <c:v>0.04588607594936709</c:v>
                </c:pt>
                <c:pt idx="14">
                  <c:v>0.0681265206812652</c:v>
                </c:pt>
                <c:pt idx="15">
                  <c:v>0.6246612466124661</c:v>
                </c:pt>
                <c:pt idx="16">
                  <c:v>0.24915824915824916</c:v>
                </c:pt>
                <c:pt idx="17">
                  <c:v>0.7531380753138075</c:v>
                </c:pt>
                <c:pt idx="18">
                  <c:v>0.12180746561886051</c:v>
                </c:pt>
                <c:pt idx="19">
                  <c:v>0.10401459854014598</c:v>
                </c:pt>
                <c:pt idx="20">
                  <c:v>0.04664723032069971</c:v>
                </c:pt>
                <c:pt idx="21">
                  <c:v>0.22491349480968859</c:v>
                </c:pt>
                <c:pt idx="22">
                  <c:v>0.01870503597122302</c:v>
                </c:pt>
                <c:pt idx="23">
                  <c:v>0.04660194174757282</c:v>
                </c:pt>
                <c:pt idx="24">
                  <c:v>0.1286549707602339</c:v>
                </c:pt>
              </c:numCache>
            </c:numRef>
          </c:yVal>
          <c:smooth val="0"/>
          <c:extLst>
            <c:ext xmlns:c16="http://schemas.microsoft.com/office/drawing/2014/chart" uri="{C3380CC4-5D6E-409C-BE32-E72D297353CC}">
              <c16:uniqueId val="{00000002-096C-4121-9522-6AB7243CCAAE}"/>
            </c:ext>
          </c:extLst>
        </c:ser>
        <c:ser>
          <c:idx val="2"/>
          <c:order val="2"/>
          <c:tx>
            <c:strRef>
              <c:f>Sheet1!$B$9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92:$A$93</c:f>
              <c:numCache>
                <c:formatCode>General</c:formatCode>
                <c:ptCount val="2"/>
                <c:pt idx="0">
                  <c:v>0</c:v>
                </c:pt>
                <c:pt idx="1">
                  <c:v>0.307286294607384</c:v>
                </c:pt>
              </c:numCache>
            </c:numRef>
          </c:xVal>
          <c:yVal>
            <c:numRef>
              <c:f>Sheet1!$B$92:$B$93</c:f>
              <c:numCache>
                <c:formatCode>General</c:formatCode>
                <c:ptCount val="2"/>
                <c:pt idx="0">
                  <c:v>0.25010417292064047</c:v>
                </c:pt>
                <c:pt idx="1">
                  <c:v>0.25010417292064047</c:v>
                </c:pt>
              </c:numCache>
            </c:numRef>
          </c:yVal>
          <c:smooth val="0"/>
          <c:extLst>
            <c:ext xmlns:c16="http://schemas.microsoft.com/office/drawing/2014/chart" uri="{C3380CC4-5D6E-409C-BE32-E72D297353CC}">
              <c16:uniqueId val="{00000005-096C-4121-9522-6AB7243CCAAE}"/>
            </c:ext>
          </c:extLst>
        </c:ser>
        <c:ser>
          <c:idx val="3"/>
          <c:order val="3"/>
          <c:tx>
            <c:strRef>
              <c:f>Sheet1!$B$9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96:$A$97</c:f>
              <c:numCache>
                <c:formatCode>General</c:formatCode>
                <c:ptCount val="2"/>
                <c:pt idx="0">
                  <c:v>0.307286294607384</c:v>
                </c:pt>
                <c:pt idx="1">
                  <c:v>0.307286294607384</c:v>
                </c:pt>
              </c:numCache>
            </c:numRef>
          </c:xVal>
          <c:yVal>
            <c:numRef>
              <c:f>Sheet1!$B$96:$B$97</c:f>
              <c:numCache>
                <c:formatCode>General</c:formatCode>
                <c:ptCount val="2"/>
                <c:pt idx="0">
                  <c:v>0.250104172920640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9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00:$A$101</c:f>
              <c:numCache>
                <c:formatCode>General</c:formatCode>
                <c:ptCount val="2"/>
                <c:pt idx="0">
                  <c:v>0</c:v>
                </c:pt>
                <c:pt idx="1">
                  <c:v>0.307286294607384</c:v>
                </c:pt>
              </c:numCache>
            </c:numRef>
          </c:xVal>
          <c:yVal>
            <c:numRef>
              <c:f>Sheet1!$B$100:$B$101</c:f>
              <c:numCache>
                <c:formatCode>General</c:formatCode>
                <c:ptCount val="2"/>
                <c:pt idx="0">
                  <c:v>0.25010417292064047</c:v>
                </c:pt>
                <c:pt idx="1">
                  <c:v>0.25010417292064047</c:v>
                </c:pt>
              </c:numCache>
            </c:numRef>
          </c:yVal>
          <c:smooth val="0"/>
          <c:extLst>
            <c:ext xmlns:c16="http://schemas.microsoft.com/office/drawing/2014/chart" uri="{C3380CC4-5D6E-409C-BE32-E72D297353CC}">
              <c16:uniqueId val="{0000000D-096C-4121-9522-6AB7243CCAAE}"/>
            </c:ext>
          </c:extLst>
        </c:ser>
        <c:ser>
          <c:idx val="5"/>
          <c:order val="5"/>
          <c:tx>
            <c:strRef>
              <c:f>Sheet1!$B$10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4:$A$105</c:f>
              <c:numCache>
                <c:formatCode>General</c:formatCode>
                <c:ptCount val="2"/>
                <c:pt idx="0">
                  <c:v>0.307286294607384</c:v>
                </c:pt>
                <c:pt idx="1">
                  <c:v>0.307286294607384</c:v>
                </c:pt>
              </c:numCache>
            </c:numRef>
          </c:xVal>
          <c:yVal>
            <c:numRef>
              <c:f>Sheet1!$B$104:$B$105</c:f>
              <c:numCache>
                <c:formatCode>General</c:formatCode>
                <c:ptCount val="2"/>
                <c:pt idx="0">
                  <c:v>0.250104172920640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0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08:$A$109</c:f>
              <c:numCache>
                <c:formatCode>General</c:formatCode>
                <c:ptCount val="2"/>
                <c:pt idx="0">
                  <c:v>0</c:v>
                </c:pt>
                <c:pt idx="1">
                  <c:v>2.4086210874657303</c:v>
                </c:pt>
              </c:numCache>
            </c:numRef>
          </c:xVal>
          <c:yVal>
            <c:numRef>
              <c:f>Sheet1!$B$108:$B$109</c:f>
              <c:numCache>
                <c:formatCode>General</c:formatCode>
                <c:ptCount val="2"/>
                <c:pt idx="0">
                  <c:v>0.09492287869159399</c:v>
                </c:pt>
                <c:pt idx="1">
                  <c:v>0.09492287869159399</c:v>
                </c:pt>
              </c:numCache>
            </c:numRef>
          </c:yVal>
          <c:smooth val="0"/>
          <c:extLst>
            <c:ext xmlns:c16="http://schemas.microsoft.com/office/drawing/2014/chart" uri="{C3380CC4-5D6E-409C-BE32-E72D297353CC}">
              <c16:uniqueId val="{00000015-096C-4121-9522-6AB7243CCAAE}"/>
            </c:ext>
          </c:extLst>
        </c:ser>
        <c:ser>
          <c:idx val="7"/>
          <c:order val="7"/>
          <c:tx>
            <c:strRef>
              <c:f>Sheet1!$B$11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2.4086210874657303</c:v>
                </c:pt>
                <c:pt idx="1">
                  <c:v>2.4086210874657303</c:v>
                </c:pt>
              </c:numCache>
            </c:numRef>
          </c:xVal>
          <c:yVal>
            <c:numRef>
              <c:f>Sheet1!$B$112:$B$113</c:f>
              <c:numCache>
                <c:formatCode>General</c:formatCode>
                <c:ptCount val="2"/>
                <c:pt idx="0">
                  <c:v>0.0949228786915939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1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16:$A$143</c:f>
              <c:numCache>
                <c:formatCode>General</c:formatCode>
                <c:ptCount val="28"/>
                <c:pt idx="0">
                  <c:v>1.991447227535079</c:v>
                </c:pt>
                <c:pt idx="1">
                  <c:v>1.7425018247390285</c:v>
                </c:pt>
                <c:pt idx="2">
                  <c:v>1.1448190885545821</c:v>
                </c:pt>
                <c:pt idx="3">
                  <c:v>1.1508439674489916</c:v>
                </c:pt>
                <c:pt idx="4">
                  <c:v>4.171988866269113</c:v>
                </c:pt>
                <c:pt idx="5">
                  <c:v>1.015918565815324</c:v>
                </c:pt>
                <c:pt idx="6">
                  <c:v>3.3713707765009744</c:v>
                </c:pt>
                <c:pt idx="7">
                  <c:v>1.3047715973760103</c:v>
                </c:pt>
                <c:pt idx="8">
                  <c:v>0.8393005399263512</c:v>
                </c:pt>
                <c:pt idx="9">
                  <c:v>1.3919928969885367</c:v>
                </c:pt>
                <c:pt idx="10">
                  <c:v>1.6708382879186274</c:v>
                </c:pt>
                <c:pt idx="11">
                  <c:v>3.033425972602648</c:v>
                </c:pt>
                <c:pt idx="12">
                  <c:v>1.0758304425647796</c:v>
                </c:pt>
                <c:pt idx="13">
                  <c:v>1.7608055702355339</c:v>
                </c:pt>
                <c:pt idx="14">
                  <c:v>1.691184763844347</c:v>
                </c:pt>
                <c:pt idx="15">
                  <c:v>0.7070073005093379</c:v>
                </c:pt>
                <c:pt idx="16">
                  <c:v>2.20947791796052</c:v>
                </c:pt>
                <c:pt idx="17">
                  <c:v>1.4799266722642035</c:v>
                </c:pt>
                <c:pt idx="18">
                  <c:v>1.3148054570444618</c:v>
                </c:pt>
                <c:pt idx="19">
                  <c:v>1.5621238633232297</c:v>
                </c:pt>
                <c:pt idx="20">
                  <c:v>1.3466166876923313</c:v>
                </c:pt>
                <c:pt idx="21">
                  <c:v>1.1591702546296296</c:v>
                </c:pt>
                <c:pt idx="22">
                  <c:v>1.6825002005382723</c:v>
                </c:pt>
                <c:pt idx="23">
                  <c:v>1.287662589800781</c:v>
                </c:pt>
                <c:pt idx="24">
                  <c:v>0.9219323169673406</c:v>
                </c:pt>
                <c:pt idx="25">
                  <c:v>0.307286294607384</c:v>
                </c:pt>
                <c:pt idx="26">
                  <c:v>0.307286294607384</c:v>
                </c:pt>
                <c:pt idx="27">
                  <c:v>2.4086210874657303</c:v>
                </c:pt>
              </c:numCache>
            </c:numRef>
          </c:xVal>
          <c:yVal>
            <c:numRef>
              <c:f>Sheet1!$B$116:$B$143</c:f>
              <c:numCache>
                <c:formatCode>General</c:formatCode>
                <c:ptCount val="28"/>
                <c:pt idx="0">
                  <c:v>0.12573071555918136</c:v>
                </c:pt>
                <c:pt idx="1">
                  <c:v>0.14411506341729377</c:v>
                </c:pt>
                <c:pt idx="2">
                  <c:v>0.18825328492044502</c:v>
                </c:pt>
                <c:pt idx="3">
                  <c:v>0.18780835415187577</c:v>
                </c:pt>
                <c:pt idx="4">
                  <c:v>-0.035299918287980125</c:v>
                </c:pt>
                <c:pt idx="5">
                  <c:v>0.19777244865078503</c:v>
                </c:pt>
                <c:pt idx="6">
                  <c:v>0.023824858865881954</c:v>
                </c:pt>
                <c:pt idx="7">
                  <c:v>0.1764409657134097</c:v>
                </c:pt>
                <c:pt idx="8">
                  <c:v>0.21081549820898915</c:v>
                </c:pt>
                <c:pt idx="9">
                  <c:v>0.16999976738356143</c:v>
                </c:pt>
                <c:pt idx="10">
                  <c:v>0.14940733784715443</c:v>
                </c:pt>
                <c:pt idx="11">
                  <c:v>0.04878171591938757</c:v>
                </c:pt>
                <c:pt idx="12">
                  <c:v>0.19334802156507294</c:v>
                </c:pt>
                <c:pt idx="13">
                  <c:v>0.14276335167433865</c:v>
                </c:pt>
                <c:pt idx="14">
                  <c:v>0.14790477267863195</c:v>
                </c:pt>
                <c:pt idx="15">
                  <c:v>0.22058521038443932</c:v>
                </c:pt>
                <c:pt idx="16">
                  <c:v>0.10962938566312547</c:v>
                </c:pt>
                <c:pt idx="17">
                  <c:v>0.16350595349911964</c:v>
                </c:pt>
                <c:pt idx="18">
                  <c:v>0.1756999760649468</c:v>
                </c:pt>
                <c:pt idx="19">
                  <c:v>0.15743578013413137</c:v>
                </c:pt>
                <c:pt idx="20">
                  <c:v>0.17335075120095444</c:v>
                </c:pt>
                <c:pt idx="21">
                  <c:v>0.18719346687869806</c:v>
                </c:pt>
                <c:pt idx="22">
                  <c:v>0.14854611825489664</c:v>
                </c:pt>
                <c:pt idx="23">
                  <c:v>0.17770444735732577</c:v>
                </c:pt>
                <c:pt idx="24">
                  <c:v>0.20471323114081563</c:v>
                </c:pt>
                <c:pt idx="25">
                  <c:v>0.25010417292064047</c:v>
                </c:pt>
                <c:pt idx="26">
                  <c:v>0.25010417292064047</c:v>
                </c:pt>
                <c:pt idx="27">
                  <c:v>0.0949228786915939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8.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765690376569"/>
          <c:min val="0.001826484018264840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2.5666</c:v>
                </c:pt>
                <c:pt idx="1">
                  <c:v>872.0111</c:v>
                </c:pt>
                <c:pt idx="2">
                  <c:v>900.1709</c:v>
                </c:pt>
                <c:pt idx="3">
                  <c:v>925.0432</c:v>
                </c:pt>
                <c:pt idx="4">
                  <c:v>912.1921</c:v>
                </c:pt>
                <c:pt idx="5">
                  <c:v>901.0272</c:v>
                </c:pt>
                <c:pt idx="6">
                  <c:v>865.8392</c:v>
                </c:pt>
                <c:pt idx="7">
                  <c:v>870.6566</c:v>
                </c:pt>
                <c:pt idx="8">
                  <c:v>877.8398</c:v>
                </c:pt>
                <c:pt idx="9">
                  <c:v>847.7171</c:v>
                </c:pt>
                <c:pt idx="10">
                  <c:v>833.988</c:v>
                </c:pt>
                <c:pt idx="11">
                  <c:v>871.5871</c:v>
                </c:pt>
                <c:pt idx="12">
                  <c:v>871.9647</c:v>
                </c:pt>
                <c:pt idx="13">
                  <c:v>878.4732</c:v>
                </c:pt>
                <c:pt idx="14">
                  <c:v>903.0785</c:v>
                </c:pt>
                <c:pt idx="15">
                  <c:v>917.3083</c:v>
                </c:pt>
                <c:pt idx="16">
                  <c:v>938.2692</c:v>
                </c:pt>
                <c:pt idx="17">
                  <c:v>922.7628</c:v>
                </c:pt>
                <c:pt idx="18">
                  <c:v>979.7761</c:v>
                </c:pt>
                <c:pt idx="19">
                  <c:v>988.3479</c:v>
                </c:pt>
                <c:pt idx="20">
                  <c:v>1012.9016</c:v>
                </c:pt>
                <c:pt idx="21">
                  <c:v>1022.9061</c:v>
                </c:pt>
                <c:pt idx="22">
                  <c:v>998.707</c:v>
                </c:pt>
                <c:pt idx="23">
                  <c:v>1006.9474</c:v>
                </c:pt>
                <c:pt idx="24">
                  <c:v>1019.6003</c:v>
                </c:pt>
                <c:pt idx="25">
                  <c:v>1003.4215</c:v>
                </c:pt>
                <c:pt idx="26">
                  <c:v>986.5536</c:v>
                </c:pt>
                <c:pt idx="27">
                  <c:v>999.7904</c:v>
                </c:pt>
                <c:pt idx="28">
                  <c:v>1006.4917</c:v>
                </c:pt>
                <c:pt idx="29">
                  <c:v>993.4089</c:v>
                </c:pt>
                <c:pt idx="30">
                  <c:v>995.3143</c:v>
                </c:pt>
                <c:pt idx="31">
                  <c:v>981.2178</c:v>
                </c:pt>
                <c:pt idx="32">
                  <c:v>970.219</c:v>
                </c:pt>
                <c:pt idx="33">
                  <c:v>928.2519</c:v>
                </c:pt>
                <c:pt idx="34">
                  <c:v>940.4915</c:v>
                </c:pt>
                <c:pt idx="35">
                  <c:v>981.2692</c:v>
                </c:pt>
                <c:pt idx="36">
                  <c:v>1026.2341</c:v>
                </c:pt>
                <c:pt idx="37">
                  <c:v>1027.2868</c:v>
                </c:pt>
                <c:pt idx="38">
                  <c:v>1059.2012</c:v>
                </c:pt>
                <c:pt idx="39">
                  <c:v>1112.4994</c:v>
                </c:pt>
                <c:pt idx="40">
                  <c:v>1110.5343</c:v>
                </c:pt>
                <c:pt idx="41">
                  <c:v>1130.2013</c:v>
                </c:pt>
                <c:pt idx="42">
                  <c:v>1150.4098</c:v>
                </c:pt>
                <c:pt idx="43">
                  <c:v>1140.076</c:v>
                </c:pt>
                <c:pt idx="44">
                  <c:v>1111.1514</c:v>
                </c:pt>
                <c:pt idx="45">
                  <c:v>1077.0212</c:v>
                </c:pt>
                <c:pt idx="46">
                  <c:v>1061.1769</c:v>
                </c:pt>
                <c:pt idx="47">
                  <c:v>1045.8912</c:v>
                </c:pt>
                <c:pt idx="48">
                  <c:v>1043.8683</c:v>
                </c:pt>
                <c:pt idx="49">
                  <c:v>1001.6732</c:v>
                </c:pt>
                <c:pt idx="50">
                  <c:v>1006.6643</c:v>
                </c:pt>
                <c:pt idx="51">
                  <c:v>1007.4755</c:v>
                </c:pt>
                <c:pt idx="52">
                  <c:v>1022.2327</c:v>
                </c:pt>
                <c:pt idx="53">
                  <c:v>1115.2755</c:v>
                </c:pt>
                <c:pt idx="54">
                  <c:v>1104.3599</c:v>
                </c:pt>
                <c:pt idx="55">
                  <c:v>1123.1172</c:v>
                </c:pt>
                <c:pt idx="56">
                  <c:v>1121.0377</c:v>
                </c:pt>
                <c:pt idx="57">
                  <c:v>1098.7739</c:v>
                </c:pt>
                <c:pt idx="58">
                  <c:v>1083.7183</c:v>
                </c:pt>
                <c:pt idx="59">
                  <c:v>1072.0835</c:v>
                </c:pt>
                <c:pt idx="60">
                  <c:v>1087.6664</c:v>
                </c:pt>
                <c:pt idx="61">
                  <c:v>1099.122</c:v>
                </c:pt>
                <c:pt idx="62">
                  <c:v>1035.1867</c:v>
                </c:pt>
                <c:pt idx="63">
                  <c:v>1056.0471</c:v>
                </c:pt>
                <c:pt idx="64">
                  <c:v>1061.5768</c:v>
                </c:pt>
                <c:pt idx="65">
                  <c:v>1054.6548</c:v>
                </c:pt>
                <c:pt idx="66">
                  <c:v>1084.64</c:v>
                </c:pt>
                <c:pt idx="67">
                  <c:v>1105.461</c:v>
                </c:pt>
                <c:pt idx="68">
                  <c:v>1118.696</c:v>
                </c:pt>
                <c:pt idx="69">
                  <c:v>1149.0121</c:v>
                </c:pt>
                <c:pt idx="70">
                  <c:v>1139.1925</c:v>
                </c:pt>
                <c:pt idx="71">
                  <c:v>1186.6311</c:v>
                </c:pt>
                <c:pt idx="72">
                  <c:v>1254.1648</c:v>
                </c:pt>
                <c:pt idx="73">
                  <c:v>1235.9873</c:v>
                </c:pt>
                <c:pt idx="74">
                  <c:v>1231.8107</c:v>
                </c:pt>
                <c:pt idx="75">
                  <c:v>1199.4123</c:v>
                </c:pt>
                <c:pt idx="76">
                  <c:v>1167.563</c:v>
                </c:pt>
                <c:pt idx="77">
                  <c:v>1171.0387</c:v>
                </c:pt>
                <c:pt idx="78">
                  <c:v>1200.0509</c:v>
                </c:pt>
                <c:pt idx="79">
                  <c:v>1187.2492</c:v>
                </c:pt>
                <c:pt idx="80">
                  <c:v>1206.8508</c:v>
                </c:pt>
                <c:pt idx="81">
                  <c:v>1203.4817</c:v>
                </c:pt>
                <c:pt idx="82">
                  <c:v>1233.5346</c:v>
                </c:pt>
                <c:pt idx="83">
                  <c:v>1180.8858</c:v>
                </c:pt>
                <c:pt idx="84">
                  <c:v>1203.088</c:v>
                </c:pt>
                <c:pt idx="85">
                  <c:v>1186.1807</c:v>
                </c:pt>
                <c:pt idx="86">
                  <c:v>1179.256</c:v>
                </c:pt>
                <c:pt idx="87">
                  <c:v>1185.655</c:v>
                </c:pt>
                <c:pt idx="88">
                  <c:v>1225.303</c:v>
                </c:pt>
                <c:pt idx="89">
                  <c:v>1217.4435</c:v>
                </c:pt>
                <c:pt idx="90">
                  <c:v>1275.8005</c:v>
                </c:pt>
                <c:pt idx="91">
                  <c:v>1262.028</c:v>
                </c:pt>
                <c:pt idx="92">
                  <c:v>1217.7472</c:v>
                </c:pt>
                <c:pt idx="93">
                  <c:v>1247.006</c:v>
                </c:pt>
                <c:pt idx="94">
                  <c:v>1227.8971</c:v>
                </c:pt>
                <c:pt idx="95">
                  <c:v>1181.5481</c:v>
                </c:pt>
                <c:pt idx="96">
                  <c:v>1151.501</c:v>
                </c:pt>
                <c:pt idx="97">
                  <c:v>1146.4279</c:v>
                </c:pt>
                <c:pt idx="98">
                  <c:v>1128.289</c:v>
                </c:pt>
                <c:pt idx="99">
                  <c:v>1098.9471</c:v>
                </c:pt>
                <c:pt idx="100">
                  <c:v>1084.0729</c:v>
                </c:pt>
                <c:pt idx="101">
                  <c:v>1119.4264</c:v>
                </c:pt>
                <c:pt idx="102">
                  <c:v>1135.817</c:v>
                </c:pt>
                <c:pt idx="103">
                  <c:v>1118.4844</c:v>
                </c:pt>
                <c:pt idx="104">
                  <c:v>1151.7239</c:v>
                </c:pt>
              </c:numCache>
            </c:numRef>
          </c:xVal>
          <c:yVal>
            <c:numRef>
              <c:f>Sheet1!$B$2:$B$106</c:f>
              <c:numCache>
                <c:formatCode>General</c:formatCode>
                <c:ptCount val="105"/>
                <c:pt idx="0">
                  <c:v>0.2222146569528608</c:v>
                </c:pt>
                <c:pt idx="1">
                  <c:v>0.21436831795331712</c:v>
                </c:pt>
                <c:pt idx="2">
                  <c:v>0.21788056610286502</c:v>
                </c:pt>
                <c:pt idx="3">
                  <c:v>0.22284236976901517</c:v>
                </c:pt>
                <c:pt idx="4">
                  <c:v>0.23230982175644757</c:v>
                </c:pt>
                <c:pt idx="5">
                  <c:v>0.23256081761911618</c:v>
                </c:pt>
                <c:pt idx="6">
                  <c:v>0.2603693782602566</c:v>
                </c:pt>
                <c:pt idx="7">
                  <c:v>0.2640731387654637</c:v>
                </c:pt>
                <c:pt idx="8">
                  <c:v>0.25708272083389017</c:v>
                </c:pt>
                <c:pt idx="9">
                  <c:v>0.2529252451947096</c:v>
                </c:pt>
                <c:pt idx="10">
                  <c:v>0.24543585113852945</c:v>
                </c:pt>
                <c:pt idx="11">
                  <c:v>0.22978744913690702</c:v>
                </c:pt>
                <c:pt idx="12">
                  <c:v>0.2215695379614581</c:v>
                </c:pt>
                <c:pt idx="13">
                  <c:v>0.21050827538928607</c:v>
                </c:pt>
                <c:pt idx="14">
                  <c:v>0.19294339713960748</c:v>
                </c:pt>
                <c:pt idx="15">
                  <c:v>0.19069216547261383</c:v>
                </c:pt>
                <c:pt idx="16">
                  <c:v>0.1803606557377049</c:v>
                </c:pt>
                <c:pt idx="17">
                  <c:v>0.1780209562636341</c:v>
                </c:pt>
                <c:pt idx="18">
                  <c:v>0.16206610591162185</c:v>
                </c:pt>
                <c:pt idx="19">
                  <c:v>0.16453110492107706</c:v>
                </c:pt>
                <c:pt idx="20">
                  <c:v>0.17074384594770492</c:v>
                </c:pt>
                <c:pt idx="21">
                  <c:v>0.16795410398879704</c:v>
                </c:pt>
                <c:pt idx="22">
                  <c:v>0.1887250326675378</c:v>
                </c:pt>
                <c:pt idx="23">
                  <c:v>0.19064005505849965</c:v>
                </c:pt>
                <c:pt idx="24">
                  <c:v>0.19543311454192475</c:v>
                </c:pt>
                <c:pt idx="25">
                  <c:v>0.1965275598786738</c:v>
                </c:pt>
                <c:pt idx="26">
                  <c:v>0.2142091277795907</c:v>
                </c:pt>
                <c:pt idx="27">
                  <c:v>0.21903288905063004</c:v>
                </c:pt>
                <c:pt idx="28">
                  <c:v>0.21609717650331495</c:v>
                </c:pt>
                <c:pt idx="29">
                  <c:v>0.21403309077604782</c:v>
                </c:pt>
                <c:pt idx="30">
                  <c:v>0.21525529915422367</c:v>
                </c:pt>
                <c:pt idx="31">
                  <c:v>0.21580469979190986</c:v>
                </c:pt>
                <c:pt idx="32">
                  <c:v>0.22579515903180636</c:v>
                </c:pt>
                <c:pt idx="33">
                  <c:v>0.2243625609463672</c:v>
                </c:pt>
                <c:pt idx="34">
                  <c:v>0.22853110411464553</c:v>
                </c:pt>
                <c:pt idx="35">
                  <c:v>0.24465431218816822</c:v>
                </c:pt>
                <c:pt idx="36">
                  <c:v>0.21023367645953867</c:v>
                </c:pt>
                <c:pt idx="37">
                  <c:v>0.21509433962264152</c:v>
                </c:pt>
                <c:pt idx="38">
                  <c:v>0.2002953183357943</c:v>
                </c:pt>
                <c:pt idx="39">
                  <c:v>0.18644224973338897</c:v>
                </c:pt>
                <c:pt idx="40">
                  <c:v>0.1933965902954563</c:v>
                </c:pt>
                <c:pt idx="41">
                  <c:v>0.1845035313668467</c:v>
                </c:pt>
                <c:pt idx="42">
                  <c:v>0.1825368689733409</c:v>
                </c:pt>
                <c:pt idx="43">
                  <c:v>0.18491152406925856</c:v>
                </c:pt>
                <c:pt idx="44">
                  <c:v>0.179719027169339</c:v>
                </c:pt>
                <c:pt idx="45">
                  <c:v>0.19425275927214875</c:v>
                </c:pt>
                <c:pt idx="46">
                  <c:v>0.20227789562193046</c:v>
                </c:pt>
                <c:pt idx="47">
                  <c:v>0.19447760619247506</c:v>
                </c:pt>
                <c:pt idx="48">
                  <c:v>0.1946365151844604</c:v>
                </c:pt>
                <c:pt idx="49">
                  <c:v>0.2024177181681814</c:v>
                </c:pt>
                <c:pt idx="50">
                  <c:v>0.19343004525223934</c:v>
                </c:pt>
                <c:pt idx="51">
                  <c:v>0.1905886056027699</c:v>
                </c:pt>
                <c:pt idx="52">
                  <c:v>0.19163722255841645</c:v>
                </c:pt>
                <c:pt idx="53">
                  <c:v>0.1821459475050476</c:v>
                </c:pt>
                <c:pt idx="54">
                  <c:v>0.18893706477466823</c:v>
                </c:pt>
                <c:pt idx="55">
                  <c:v>0.18618821936357483</c:v>
                </c:pt>
                <c:pt idx="56">
                  <c:v>0.1827687615728134</c:v>
                </c:pt>
                <c:pt idx="57">
                  <c:v>0.17984808924756707</c:v>
                </c:pt>
                <c:pt idx="58">
                  <c:v>0.19077375079479927</c:v>
                </c:pt>
                <c:pt idx="59">
                  <c:v>0.18824739239018656</c:v>
                </c:pt>
                <c:pt idx="60">
                  <c:v>0.1917924831352393</c:v>
                </c:pt>
                <c:pt idx="61">
                  <c:v>0.18711292376081656</c:v>
                </c:pt>
                <c:pt idx="62">
                  <c:v>0.19957863689034025</c:v>
                </c:pt>
                <c:pt idx="63">
                  <c:v>0.2039075557604749</c:v>
                </c:pt>
                <c:pt idx="64">
                  <c:v>0.1943246991790681</c:v>
                </c:pt>
                <c:pt idx="65">
                  <c:v>0.19147112834115487</c:v>
                </c:pt>
                <c:pt idx="66">
                  <c:v>0.18685303480699092</c:v>
                </c:pt>
                <c:pt idx="67">
                  <c:v>0.1743600914933014</c:v>
                </c:pt>
                <c:pt idx="68">
                  <c:v>0.16798753104031278</c:v>
                </c:pt>
                <c:pt idx="69">
                  <c:v>0.1637571027589512</c:v>
                </c:pt>
                <c:pt idx="70">
                  <c:v>0.16157501697216564</c:v>
                </c:pt>
                <c:pt idx="71">
                  <c:v>0.15957227341493604</c:v>
                </c:pt>
                <c:pt idx="72">
                  <c:v>0.16045343380263072</c:v>
                </c:pt>
                <c:pt idx="73">
                  <c:v>0.16063700882811147</c:v>
                </c:pt>
                <c:pt idx="74">
                  <c:v>0.16004937942079275</c:v>
                </c:pt>
                <c:pt idx="75">
                  <c:v>0.1704176288700145</c:v>
                </c:pt>
                <c:pt idx="76">
                  <c:v>0.17403464829889376</c:v>
                </c:pt>
                <c:pt idx="77">
                  <c:v>0.16306754103838603</c:v>
                </c:pt>
                <c:pt idx="78">
                  <c:v>0.17122101414413549</c:v>
                </c:pt>
                <c:pt idx="79">
                  <c:v>0.16867216425445977</c:v>
                </c:pt>
                <c:pt idx="80">
                  <c:v>0.15128412624047022</c:v>
                </c:pt>
                <c:pt idx="81">
                  <c:v>0.15918572867213351</c:v>
                </c:pt>
                <c:pt idx="82">
                  <c:v>0.1604518736223365</c:v>
                </c:pt>
                <c:pt idx="83">
                  <c:v>0.15352127547249497</c:v>
                </c:pt>
                <c:pt idx="84">
                  <c:v>0.1606915980776667</c:v>
                </c:pt>
                <c:pt idx="85">
                  <c:v>0.16671613733056298</c:v>
                </c:pt>
                <c:pt idx="86">
                  <c:v>0.1759307231144993</c:v>
                </c:pt>
                <c:pt idx="87">
                  <c:v>0.19704711230134958</c:v>
                </c:pt>
                <c:pt idx="88">
                  <c:v>0.18048567053161235</c:v>
                </c:pt>
                <c:pt idx="89">
                  <c:v>0.17244673736505206</c:v>
                </c:pt>
                <c:pt idx="90">
                  <c:v>0.1624969158647915</c:v>
                </c:pt>
                <c:pt idx="91">
                  <c:v>0.1546732452057345</c:v>
                </c:pt>
                <c:pt idx="92">
                  <c:v>0.17381197362905376</c:v>
                </c:pt>
                <c:pt idx="93">
                  <c:v>0.16256891670391893</c:v>
                </c:pt>
                <c:pt idx="94">
                  <c:v>0.16598507525612377</c:v>
                </c:pt>
                <c:pt idx="95">
                  <c:v>0.17649211625850134</c:v>
                </c:pt>
                <c:pt idx="96">
                  <c:v>0.17222309294046526</c:v>
                </c:pt>
                <c:pt idx="97">
                  <c:v>0.17688563038294014</c:v>
                </c:pt>
                <c:pt idx="98">
                  <c:v>0.184845203101095</c:v>
                </c:pt>
                <c:pt idx="99">
                  <c:v>0.1852970193428802</c:v>
                </c:pt>
                <c:pt idx="100">
                  <c:v>0.18696157822191592</c:v>
                </c:pt>
                <c:pt idx="101">
                  <c:v>0.17836053875657837</c:v>
                </c:pt>
                <c:pt idx="102">
                  <c:v>0.16761097479366496</c:v>
                </c:pt>
                <c:pt idx="103">
                  <c:v>0.16980733033013978</c:v>
                </c:pt>
                <c:pt idx="104">
                  <c:v>0.1651442481502012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87.3113</c:v>
                </c:pt>
                <c:pt idx="1">
                  <c:v>1205.9892</c:v>
                </c:pt>
                <c:pt idx="2">
                  <c:v>1198.2105</c:v>
                </c:pt>
                <c:pt idx="3">
                  <c:v>1171.3652</c:v>
                </c:pt>
                <c:pt idx="4">
                  <c:v>1182.2029</c:v>
                </c:pt>
                <c:pt idx="5">
                  <c:v>1187.2975</c:v>
                </c:pt>
                <c:pt idx="6">
                  <c:v>1118.0794</c:v>
                </c:pt>
                <c:pt idx="7">
                  <c:v>1139.9863</c:v>
                </c:pt>
                <c:pt idx="8">
                  <c:v>1185.7356</c:v>
                </c:pt>
                <c:pt idx="9">
                  <c:v>1126.6432</c:v>
                </c:pt>
                <c:pt idx="10">
                  <c:v>1147.6971</c:v>
                </c:pt>
                <c:pt idx="11">
                  <c:v>1070.2266</c:v>
                </c:pt>
                <c:pt idx="12">
                  <c:v>1103.7668</c:v>
                </c:pt>
                <c:pt idx="13">
                  <c:v>1128.5695</c:v>
                </c:pt>
                <c:pt idx="14">
                  <c:v>1134.3797</c:v>
                </c:pt>
                <c:pt idx="15">
                  <c:v>1149.4107</c:v>
                </c:pt>
                <c:pt idx="16">
                  <c:v>1191.8027</c:v>
                </c:pt>
                <c:pt idx="17">
                  <c:v>1155.8286</c:v>
                </c:pt>
                <c:pt idx="18">
                  <c:v>1166.5389</c:v>
                </c:pt>
                <c:pt idx="19">
                  <c:v>1241.8705</c:v>
                </c:pt>
                <c:pt idx="20">
                  <c:v>1234.2292</c:v>
                </c:pt>
                <c:pt idx="21">
                  <c:v>1089.6954</c:v>
                </c:pt>
                <c:pt idx="22">
                  <c:v>1203.3258</c:v>
                </c:pt>
                <c:pt idx="23">
                  <c:v>1198.4213</c:v>
                </c:pt>
                <c:pt idx="24">
                  <c:v>1176.2103</c:v>
                </c:pt>
                <c:pt idx="25">
                  <c:v>1176.0433</c:v>
                </c:pt>
                <c:pt idx="26">
                  <c:v>1192.2911</c:v>
                </c:pt>
                <c:pt idx="27">
                  <c:v>1191.1064</c:v>
                </c:pt>
                <c:pt idx="28">
                  <c:v>1237.1884</c:v>
                </c:pt>
                <c:pt idx="29">
                  <c:v>1238.2347</c:v>
                </c:pt>
                <c:pt idx="30">
                  <c:v>1235.1392</c:v>
                </c:pt>
                <c:pt idx="31">
                  <c:v>1220.5075</c:v>
                </c:pt>
                <c:pt idx="32">
                  <c:v>1240.6515</c:v>
                </c:pt>
                <c:pt idx="33">
                  <c:v>1237.6143</c:v>
                </c:pt>
                <c:pt idx="34">
                  <c:v>1245.0728</c:v>
                </c:pt>
                <c:pt idx="35">
                  <c:v>1266.4226</c:v>
                </c:pt>
                <c:pt idx="36">
                  <c:v>1274.9988</c:v>
                </c:pt>
                <c:pt idx="37">
                  <c:v>1267.3615</c:v>
                </c:pt>
                <c:pt idx="38">
                  <c:v>1270.0503</c:v>
                </c:pt>
                <c:pt idx="39">
                  <c:v>1238.4698</c:v>
                </c:pt>
                <c:pt idx="40">
                  <c:v>1266.1894</c:v>
                </c:pt>
                <c:pt idx="41">
                  <c:v>1289.9675</c:v>
                </c:pt>
                <c:pt idx="42">
                  <c:v>1282.2537</c:v>
                </c:pt>
                <c:pt idx="43">
                  <c:v>1291.4705</c:v>
                </c:pt>
                <c:pt idx="44">
                  <c:v>1219.8948</c:v>
                </c:pt>
                <c:pt idx="45">
                  <c:v>1184.8793</c:v>
                </c:pt>
                <c:pt idx="46">
                  <c:v>1182.9872</c:v>
                </c:pt>
                <c:pt idx="47">
                  <c:v>1162.7617</c:v>
                </c:pt>
                <c:pt idx="48">
                  <c:v>1147.8243</c:v>
                </c:pt>
                <c:pt idx="49">
                  <c:v>1156.9224</c:v>
                </c:pt>
                <c:pt idx="50">
                  <c:v>1116.4614</c:v>
                </c:pt>
                <c:pt idx="51">
                  <c:v>1094.5253</c:v>
                </c:pt>
              </c:numCache>
            </c:numRef>
          </c:xVal>
          <c:yVal>
            <c:numRef>
              <c:f>Sheet1!$B$109:$B$160</c:f>
              <c:numCache>
                <c:formatCode>General</c:formatCode>
                <c:ptCount val="52"/>
                <c:pt idx="0">
                  <c:v>0.17802097185585664</c:v>
                </c:pt>
                <c:pt idx="1">
                  <c:v>0.17260350615442</c:v>
                </c:pt>
                <c:pt idx="2">
                  <c:v>0.1908182123655914</c:v>
                </c:pt>
                <c:pt idx="3">
                  <c:v>0.2053767718431356</c:v>
                </c:pt>
                <c:pt idx="4">
                  <c:v>0.1903469538408094</c:v>
                </c:pt>
                <c:pt idx="5">
                  <c:v>0.18622834490461904</c:v>
                </c:pt>
                <c:pt idx="6">
                  <c:v>0.1955257649123549</c:v>
                </c:pt>
                <c:pt idx="7">
                  <c:v>0.19260207710911936</c:v>
                </c:pt>
                <c:pt idx="8">
                  <c:v>0.18238248229826257</c:v>
                </c:pt>
                <c:pt idx="9">
                  <c:v>0.18989008472635677</c:v>
                </c:pt>
                <c:pt idx="10">
                  <c:v>0.19436705194339465</c:v>
                </c:pt>
                <c:pt idx="11">
                  <c:v>0.1953908232455593</c:v>
                </c:pt>
                <c:pt idx="12">
                  <c:v>0.19392331353166312</c:v>
                </c:pt>
                <c:pt idx="13">
                  <c:v>0.19547250296904917</c:v>
                </c:pt>
                <c:pt idx="14">
                  <c:v>0.19394758459866973</c:v>
                </c:pt>
                <c:pt idx="15">
                  <c:v>0.186550055192324</c:v>
                </c:pt>
                <c:pt idx="16">
                  <c:v>0.17574328415283133</c:v>
                </c:pt>
                <c:pt idx="17">
                  <c:v>0.17712701203841472</c:v>
                </c:pt>
                <c:pt idx="18">
                  <c:v>0.17935530898193894</c:v>
                </c:pt>
                <c:pt idx="19">
                  <c:v>0.18094147206621342</c:v>
                </c:pt>
                <c:pt idx="20">
                  <c:v>0.16802036610498242</c:v>
                </c:pt>
                <c:pt idx="21">
                  <c:v>0.18832418904610645</c:v>
                </c:pt>
                <c:pt idx="22">
                  <c:v>0.16631099039674072</c:v>
                </c:pt>
                <c:pt idx="23">
                  <c:v>0.1754661532225375</c:v>
                </c:pt>
                <c:pt idx="24">
                  <c:v>0.1894596397598399</c:v>
                </c:pt>
                <c:pt idx="25">
                  <c:v>0.1797612506867789</c:v>
                </c:pt>
                <c:pt idx="26">
                  <c:v>0.17359107520677053</c:v>
                </c:pt>
                <c:pt idx="27">
                  <c:v>0.17504155478839023</c:v>
                </c:pt>
                <c:pt idx="28">
                  <c:v>0.1650057115846693</c:v>
                </c:pt>
                <c:pt idx="29">
                  <c:v>0.16573712585982525</c:v>
                </c:pt>
                <c:pt idx="30">
                  <c:v>0.1741023903996903</c:v>
                </c:pt>
                <c:pt idx="31">
                  <c:v>0.16851621285118823</c:v>
                </c:pt>
                <c:pt idx="32">
                  <c:v>0.1653202538949798</c:v>
                </c:pt>
                <c:pt idx="33">
                  <c:v>0.18113479147506897</c:v>
                </c:pt>
                <c:pt idx="34">
                  <c:v>0.20092111034525972</c:v>
                </c:pt>
                <c:pt idx="35">
                  <c:v>0.19210507060803395</c:v>
                </c:pt>
                <c:pt idx="36">
                  <c:v>0.17825081976025373</c:v>
                </c:pt>
                <c:pt idx="37">
                  <c:v>0.16967456340905773</c:v>
                </c:pt>
                <c:pt idx="38">
                  <c:v>0.16960600375234522</c:v>
                </c:pt>
                <c:pt idx="39">
                  <c:v>0.18535355622597843</c:v>
                </c:pt>
                <c:pt idx="40">
                  <c:v>0.17469904101203837</c:v>
                </c:pt>
                <c:pt idx="41">
                  <c:v>0.1779274968418635</c:v>
                </c:pt>
                <c:pt idx="42">
                  <c:v>0.17411245116358076</c:v>
                </c:pt>
                <c:pt idx="43">
                  <c:v>0.17360419144354086</c:v>
                </c:pt>
                <c:pt idx="44">
                  <c:v>0.1737144383598237</c:v>
                </c:pt>
                <c:pt idx="45">
                  <c:v>0.19012611441684774</c:v>
                </c:pt>
                <c:pt idx="46">
                  <c:v>0.19959677419354838</c:v>
                </c:pt>
                <c:pt idx="47">
                  <c:v>0.19990393632350587</c:v>
                </c:pt>
                <c:pt idx="48">
                  <c:v>0.19524801357710406</c:v>
                </c:pt>
                <c:pt idx="49">
                  <c:v>0.20261610043016418</c:v>
                </c:pt>
                <c:pt idx="50">
                  <c:v>0.21060356975105685</c:v>
                </c:pt>
                <c:pt idx="51">
                  <c:v>0.1990467903334256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01.5548035807337</c:v>
                </c:pt>
              </c:numCache>
            </c:numRef>
          </c:xVal>
          <c:yVal>
            <c:numRef>
              <c:f>Sheet1!$B$163:$B$164</c:f>
              <c:numCache>
                <c:formatCode>General</c:formatCode>
                <c:ptCount val="2"/>
                <c:pt idx="0">
                  <c:v>0.23596686533480357</c:v>
                </c:pt>
                <c:pt idx="1">
                  <c:v>0.2359668653348035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01.5548035807337</c:v>
                </c:pt>
                <c:pt idx="1">
                  <c:v>801.5548035807337</c:v>
                </c:pt>
              </c:numCache>
            </c:numRef>
          </c:xVal>
          <c:yVal>
            <c:numRef>
              <c:f>Sheet1!$B$167:$B$168</c:f>
              <c:numCache>
                <c:formatCode>General</c:formatCode>
                <c:ptCount val="2"/>
                <c:pt idx="0">
                  <c:v>0.2359668653348035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57.3489651372704</c:v>
                </c:pt>
              </c:numCache>
            </c:numRef>
          </c:xVal>
          <c:yVal>
            <c:numRef>
              <c:f>Sheet1!$B$171:$B$172</c:f>
              <c:numCache>
                <c:formatCode>General</c:formatCode>
                <c:ptCount val="2"/>
                <c:pt idx="0">
                  <c:v>0.20187861852293768</c:v>
                </c:pt>
                <c:pt idx="1">
                  <c:v>0.2018786185229376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57.3489651372704</c:v>
                </c:pt>
                <c:pt idx="1">
                  <c:v>1057.3489651372704</c:v>
                </c:pt>
              </c:numCache>
            </c:numRef>
          </c:xVal>
          <c:yVal>
            <c:numRef>
              <c:f>Sheet1!$B$175:$B$176</c:f>
              <c:numCache>
                <c:formatCode>General</c:formatCode>
                <c:ptCount val="2"/>
                <c:pt idx="0">
                  <c:v>0.2018786185229376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4.2469129130268</c:v>
                </c:pt>
              </c:numCache>
            </c:numRef>
          </c:xVal>
          <c:yVal>
            <c:numRef>
              <c:f>Sheet1!$B$179:$B$180</c:f>
              <c:numCache>
                <c:formatCode>General</c:formatCode>
                <c:ptCount val="2"/>
                <c:pt idx="0">
                  <c:v>0.18896557492865215</c:v>
                </c:pt>
                <c:pt idx="1">
                  <c:v>0.1889655749286521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4.2469129130268</c:v>
                </c:pt>
                <c:pt idx="1">
                  <c:v>1154.2469129130268</c:v>
                </c:pt>
              </c:numCache>
            </c:numRef>
          </c:xVal>
          <c:yVal>
            <c:numRef>
              <c:f>Sheet1!$B$183:$B$184</c:f>
              <c:numCache>
                <c:formatCode>General</c:formatCode>
                <c:ptCount val="2"/>
                <c:pt idx="0">
                  <c:v>0.188965574928652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87.3113</c:v>
                </c:pt>
                <c:pt idx="1">
                  <c:v>1205.9892</c:v>
                </c:pt>
                <c:pt idx="2">
                  <c:v>1198.2105</c:v>
                </c:pt>
                <c:pt idx="3">
                  <c:v>1171.3652</c:v>
                </c:pt>
                <c:pt idx="4">
                  <c:v>1182.2029</c:v>
                </c:pt>
                <c:pt idx="5">
                  <c:v>1187.2975</c:v>
                </c:pt>
                <c:pt idx="6">
                  <c:v>1118.0794</c:v>
                </c:pt>
                <c:pt idx="7">
                  <c:v>1139.9863</c:v>
                </c:pt>
                <c:pt idx="8">
                  <c:v>1185.7356</c:v>
                </c:pt>
                <c:pt idx="9">
                  <c:v>1126.6432</c:v>
                </c:pt>
                <c:pt idx="10">
                  <c:v>1147.6971</c:v>
                </c:pt>
                <c:pt idx="11">
                  <c:v>1070.2266</c:v>
                </c:pt>
                <c:pt idx="12">
                  <c:v>1103.7668</c:v>
                </c:pt>
                <c:pt idx="13">
                  <c:v>1128.5695</c:v>
                </c:pt>
                <c:pt idx="14">
                  <c:v>1134.3797</c:v>
                </c:pt>
                <c:pt idx="15">
                  <c:v>1149.4107</c:v>
                </c:pt>
                <c:pt idx="16">
                  <c:v>1191.8027</c:v>
                </c:pt>
                <c:pt idx="17">
                  <c:v>1155.8286</c:v>
                </c:pt>
                <c:pt idx="18">
                  <c:v>1166.5389</c:v>
                </c:pt>
                <c:pt idx="19">
                  <c:v>1241.8705</c:v>
                </c:pt>
                <c:pt idx="20">
                  <c:v>1234.2292</c:v>
                </c:pt>
                <c:pt idx="21">
                  <c:v>1089.6954</c:v>
                </c:pt>
                <c:pt idx="22">
                  <c:v>1203.3258</c:v>
                </c:pt>
                <c:pt idx="23">
                  <c:v>1198.4213</c:v>
                </c:pt>
                <c:pt idx="24">
                  <c:v>1176.2103</c:v>
                </c:pt>
                <c:pt idx="25">
                  <c:v>1176.0433</c:v>
                </c:pt>
                <c:pt idx="26">
                  <c:v>1192.2911</c:v>
                </c:pt>
                <c:pt idx="27">
                  <c:v>1191.1064</c:v>
                </c:pt>
                <c:pt idx="28">
                  <c:v>1237.1884</c:v>
                </c:pt>
                <c:pt idx="29">
                  <c:v>1238.2347</c:v>
                </c:pt>
                <c:pt idx="30">
                  <c:v>1235.1392</c:v>
                </c:pt>
                <c:pt idx="31">
                  <c:v>1220.5075</c:v>
                </c:pt>
                <c:pt idx="32">
                  <c:v>1240.6515</c:v>
                </c:pt>
                <c:pt idx="33">
                  <c:v>1237.6143</c:v>
                </c:pt>
                <c:pt idx="34">
                  <c:v>1245.0728</c:v>
                </c:pt>
                <c:pt idx="35">
                  <c:v>1266.4226</c:v>
                </c:pt>
                <c:pt idx="36">
                  <c:v>1274.9988</c:v>
                </c:pt>
                <c:pt idx="37">
                  <c:v>1267.3615</c:v>
                </c:pt>
                <c:pt idx="38">
                  <c:v>1270.0503</c:v>
                </c:pt>
                <c:pt idx="39">
                  <c:v>1238.4698</c:v>
                </c:pt>
                <c:pt idx="40">
                  <c:v>1266.1894</c:v>
                </c:pt>
                <c:pt idx="41">
                  <c:v>1289.9675</c:v>
                </c:pt>
                <c:pt idx="42">
                  <c:v>1282.2537</c:v>
                </c:pt>
                <c:pt idx="43">
                  <c:v>1291.4705</c:v>
                </c:pt>
                <c:pt idx="44">
                  <c:v>1219.8948</c:v>
                </c:pt>
                <c:pt idx="45">
                  <c:v>1184.8793</c:v>
                </c:pt>
                <c:pt idx="46">
                  <c:v>1182.9872</c:v>
                </c:pt>
                <c:pt idx="47">
                  <c:v>1162.7617</c:v>
                </c:pt>
                <c:pt idx="48">
                  <c:v>1147.8243</c:v>
                </c:pt>
                <c:pt idx="49">
                  <c:v>1156.9224</c:v>
                </c:pt>
                <c:pt idx="50">
                  <c:v>1116.4614</c:v>
                </c:pt>
                <c:pt idx="51">
                  <c:v>1094.5253</c:v>
                </c:pt>
                <c:pt idx="52">
                  <c:v>1057.3489651372704</c:v>
                </c:pt>
                <c:pt idx="53">
                  <c:v>801.5548035807337</c:v>
                </c:pt>
                <c:pt idx="54">
                  <c:v>1154.2469129130268</c:v>
                </c:pt>
              </c:numCache>
            </c:numRef>
          </c:xVal>
          <c:yVal>
            <c:numRef>
              <c:f>Sheet1!$B$187:$B$241</c:f>
              <c:numCache>
                <c:formatCode>General</c:formatCode>
                <c:ptCount val="55"/>
                <c:pt idx="0">
                  <c:v>0.18455927034044248</c:v>
                </c:pt>
                <c:pt idx="1">
                  <c:v>0.18207017183540633</c:v>
                </c:pt>
                <c:pt idx="2">
                  <c:v>0.18310679536059518</c:v>
                </c:pt>
                <c:pt idx="3">
                  <c:v>0.18668431724995355</c:v>
                </c:pt>
                <c:pt idx="4">
                  <c:v>0.18524003802862618</c:v>
                </c:pt>
                <c:pt idx="5">
                  <c:v>0.18456110938869574</c:v>
                </c:pt>
                <c:pt idx="6">
                  <c:v>0.19378541561324145</c:v>
                </c:pt>
                <c:pt idx="7">
                  <c:v>0.19086600646981652</c:v>
                </c:pt>
                <c:pt idx="8">
                  <c:v>0.18476925500222915</c:v>
                </c:pt>
                <c:pt idx="9">
                  <c:v>0.19264416623416625</c:v>
                </c:pt>
                <c:pt idx="10">
                  <c:v>0.18983843159509117</c:v>
                </c:pt>
                <c:pt idx="11">
                  <c:v>0.20016248867508427</c:v>
                </c:pt>
                <c:pt idx="12">
                  <c:v>0.19569277518060074</c:v>
                </c:pt>
                <c:pt idx="13">
                  <c:v>0.19238745908559757</c:v>
                </c:pt>
                <c:pt idx="14">
                  <c:v>0.19161316646523013</c:v>
                </c:pt>
                <c:pt idx="15">
                  <c:v>0.18961006977720857</c:v>
                </c:pt>
                <c:pt idx="16">
                  <c:v>0.1839607267661906</c:v>
                </c:pt>
                <c:pt idx="17">
                  <c:v>0.18875479240151471</c:v>
                </c:pt>
                <c:pt idx="18">
                  <c:v>0.18732749106043844</c:v>
                </c:pt>
                <c:pt idx="19">
                  <c:v>0.1772884731332635</c:v>
                </c:pt>
                <c:pt idx="20">
                  <c:v>0.17830678613453949</c:v>
                </c:pt>
                <c:pt idx="21">
                  <c:v>0.19756799138283793</c:v>
                </c:pt>
                <c:pt idx="22">
                  <c:v>0.18242510814828483</c:v>
                </c:pt>
                <c:pt idx="23">
                  <c:v>0.18307870323220485</c:v>
                </c:pt>
                <c:pt idx="24">
                  <c:v>0.1860386380693845</c:v>
                </c:pt>
                <c:pt idx="25">
                  <c:v>0.18606089321853622</c:v>
                </c:pt>
                <c:pt idx="26">
                  <c:v>0.18389564044974926</c:v>
                </c:pt>
                <c:pt idx="27">
                  <c:v>0.18405351874436035</c:v>
                </c:pt>
                <c:pt idx="28">
                  <c:v>0.17791243022214553</c:v>
                </c:pt>
                <c:pt idx="29">
                  <c:v>0.1777729957158135</c:v>
                </c:pt>
                <c:pt idx="30">
                  <c:v>0.1781855155613175</c:v>
                </c:pt>
                <c:pt idx="31">
                  <c:v>0.18013539978792423</c:v>
                </c:pt>
                <c:pt idx="32">
                  <c:v>0.1774509223956345</c:v>
                </c:pt>
                <c:pt idx="33">
                  <c:v>0.17785567292859034</c:v>
                </c:pt>
                <c:pt idx="34">
                  <c:v>0.17686172065345168</c:v>
                </c:pt>
                <c:pt idx="35">
                  <c:v>0.1740165530884245</c:v>
                </c:pt>
                <c:pt idx="36">
                  <c:v>0.1728736512312087</c:v>
                </c:pt>
                <c:pt idx="37">
                  <c:v>0.17389143117502</c:v>
                </c:pt>
                <c:pt idx="38">
                  <c:v>0.17353310994724055</c:v>
                </c:pt>
                <c:pt idx="39">
                  <c:v>0.17774166526332502</c:v>
                </c:pt>
                <c:pt idx="40">
                  <c:v>0.17404763033861725</c:v>
                </c:pt>
                <c:pt idx="41">
                  <c:v>0.17087885691320004</c:v>
                </c:pt>
                <c:pt idx="42">
                  <c:v>0.17190683158102393</c:v>
                </c:pt>
                <c:pt idx="43">
                  <c:v>0.1706785605708345</c:v>
                </c:pt>
                <c:pt idx="44">
                  <c:v>0.18021705086508147</c:v>
                </c:pt>
                <c:pt idx="45">
                  <c:v>0.18488336927898738</c:v>
                </c:pt>
                <c:pt idx="46">
                  <c:v>0.18513551878623277</c:v>
                </c:pt>
                <c:pt idx="47">
                  <c:v>0.18783085722436602</c:v>
                </c:pt>
                <c:pt idx="48">
                  <c:v>0.18982148036771332</c:v>
                </c:pt>
                <c:pt idx="49">
                  <c:v>0.18860902783778924</c:v>
                </c:pt>
                <c:pt idx="50">
                  <c:v>0.19400103735771748</c:v>
                </c:pt>
                <c:pt idx="51">
                  <c:v>0.1969243378206348</c:v>
                </c:pt>
                <c:pt idx="52">
                  <c:v>0.20187861852293768</c:v>
                </c:pt>
                <c:pt idx="53">
                  <c:v>0.23596686533480357</c:v>
                </c:pt>
                <c:pt idx="54">
                  <c:v>0.188965574928652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50.0"/>
          <c:min val="64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8877665185564"/>
          <c:min val="0.1210273009923761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2</c:f>
              <c:numCache>
                <c:formatCode>General</c:formatCode>
                <c:ptCount val="61"/>
                <c:pt idx="0">
                  <c:v>629.85</c:v>
                </c:pt>
                <c:pt idx="1">
                  <c:v>599.8571</c:v>
                </c:pt>
                <c:pt idx="2">
                  <c:v>1419.8861</c:v>
                </c:pt>
                <c:pt idx="3">
                  <c:v>646.0</c:v>
                </c:pt>
                <c:pt idx="4">
                  <c:v>601.6667</c:v>
                </c:pt>
                <c:pt idx="5">
                  <c:v>1810.5333</c:v>
                </c:pt>
                <c:pt idx="6">
                  <c:v>703.6</c:v>
                </c:pt>
                <c:pt idx="7">
                  <c:v>718.1333</c:v>
                </c:pt>
                <c:pt idx="8">
                  <c:v>714.0333</c:v>
                </c:pt>
                <c:pt idx="9">
                  <c:v>678.1299</c:v>
                </c:pt>
                <c:pt idx="10">
                  <c:v>925.4167</c:v>
                </c:pt>
                <c:pt idx="11">
                  <c:v>1304.3588</c:v>
                </c:pt>
                <c:pt idx="12">
                  <c:v>1108.1429</c:v>
                </c:pt>
                <c:pt idx="13">
                  <c:v>1524.5</c:v>
                </c:pt>
                <c:pt idx="14">
                  <c:v>1269.0</c:v>
                </c:pt>
                <c:pt idx="15">
                  <c:v>146.375</c:v>
                </c:pt>
                <c:pt idx="16">
                  <c:v>1773.0714</c:v>
                </c:pt>
                <c:pt idx="17">
                  <c:v>3436.5</c:v>
                </c:pt>
                <c:pt idx="18">
                  <c:v>1666.8182</c:v>
                </c:pt>
                <c:pt idx="19">
                  <c:v>1546.7093</c:v>
                </c:pt>
                <c:pt idx="20">
                  <c:v>1180.3151</c:v>
                </c:pt>
                <c:pt idx="21">
                  <c:v>1639.58</c:v>
                </c:pt>
                <c:pt idx="22">
                  <c:v>2228.6667</c:v>
                </c:pt>
                <c:pt idx="23">
                  <c:v>955.9717</c:v>
                </c:pt>
                <c:pt idx="24">
                  <c:v>1505.4516</c:v>
                </c:pt>
                <c:pt idx="25">
                  <c:v>984.4545</c:v>
                </c:pt>
                <c:pt idx="26">
                  <c:v>873.5297</c:v>
                </c:pt>
                <c:pt idx="27">
                  <c:v>1894.9184</c:v>
                </c:pt>
                <c:pt idx="28">
                  <c:v>1117.3077</c:v>
                </c:pt>
                <c:pt idx="29">
                  <c:v>1129.8571</c:v>
                </c:pt>
                <c:pt idx="30">
                  <c:v>1310.4895</c:v>
                </c:pt>
                <c:pt idx="31">
                  <c:v>1116.6154</c:v>
                </c:pt>
                <c:pt idx="32">
                  <c:v>1335.625</c:v>
                </c:pt>
                <c:pt idx="33">
                  <c:v>7344.0</c:v>
                </c:pt>
                <c:pt idx="34">
                  <c:v>1130.75</c:v>
                </c:pt>
                <c:pt idx="35">
                  <c:v>1090.8625</c:v>
                </c:pt>
                <c:pt idx="36">
                  <c:v>2083.1429</c:v>
                </c:pt>
                <c:pt idx="37">
                  <c:v>1374.3333</c:v>
                </c:pt>
                <c:pt idx="38">
                  <c:v>1366.5833</c:v>
                </c:pt>
                <c:pt idx="39">
                  <c:v>1129.0233</c:v>
                </c:pt>
                <c:pt idx="40">
                  <c:v>1097.4</c:v>
                </c:pt>
                <c:pt idx="41">
                  <c:v>1128.2069</c:v>
                </c:pt>
                <c:pt idx="42">
                  <c:v>1214.0</c:v>
                </c:pt>
                <c:pt idx="43">
                  <c:v>1160.4706</c:v>
                </c:pt>
                <c:pt idx="44">
                  <c:v>2249.7273</c:v>
                </c:pt>
                <c:pt idx="45">
                  <c:v>1615.8571</c:v>
                </c:pt>
                <c:pt idx="46">
                  <c:v>1480.3684</c:v>
                </c:pt>
                <c:pt idx="47">
                  <c:v>1443.1216</c:v>
                </c:pt>
                <c:pt idx="48">
                  <c:v>2792.0</c:v>
                </c:pt>
                <c:pt idx="49">
                  <c:v>1790.6796</c:v>
                </c:pt>
                <c:pt idx="50">
                  <c:v>1830.7097</c:v>
                </c:pt>
                <c:pt idx="51">
                  <c:v>1147.036</c:v>
                </c:pt>
                <c:pt idx="52">
                  <c:v>1141.8333</c:v>
                </c:pt>
                <c:pt idx="53">
                  <c:v>1423.6154</c:v>
                </c:pt>
                <c:pt idx="54">
                  <c:v>788.5484</c:v>
                </c:pt>
                <c:pt idx="55">
                  <c:v>711.4</c:v>
                </c:pt>
                <c:pt idx="56">
                  <c:v>597.5082</c:v>
                </c:pt>
                <c:pt idx="57">
                  <c:v>787.4605</c:v>
                </c:pt>
                <c:pt idx="58">
                  <c:v>796.3098</c:v>
                </c:pt>
                <c:pt idx="59">
                  <c:v>1397.76</c:v>
                </c:pt>
                <c:pt idx="60">
                  <c:v>1729.2222</c:v>
                </c:pt>
              </c:numCache>
            </c:numRef>
          </c:xVal>
          <c:yVal>
            <c:numRef>
              <c:f>Sheet1!$B$2:$B$62</c:f>
              <c:numCache>
                <c:formatCode>General</c:formatCode>
                <c:ptCount val="61"/>
                <c:pt idx="0">
                  <c:v>0.01330671989354624</c:v>
                </c:pt>
                <c:pt idx="1">
                  <c:v>0.011824324324324325</c:v>
                </c:pt>
                <c:pt idx="2">
                  <c:v>0.23372781065088757</c:v>
                </c:pt>
                <c:pt idx="3">
                  <c:v>0.049429657794676805</c:v>
                </c:pt>
                <c:pt idx="4">
                  <c:v>0.039473684210526314</c:v>
                </c:pt>
                <c:pt idx="5">
                  <c:v>0.05628517823639775</c:v>
                </c:pt>
                <c:pt idx="6">
                  <c:v>0.04195804195804196</c:v>
                </c:pt>
                <c:pt idx="7">
                  <c:v>0.06342494714587738</c:v>
                </c:pt>
                <c:pt idx="8">
                  <c:v>0.04032258064516129</c:v>
                </c:pt>
                <c:pt idx="9">
                  <c:v>0.2944550669216061</c:v>
                </c:pt>
                <c:pt idx="10">
                  <c:v>0.12</c:v>
                </c:pt>
                <c:pt idx="11">
                  <c:v>0.18754833720030936</c:v>
                </c:pt>
                <c:pt idx="12">
                  <c:v>0.09417040358744394</c:v>
                </c:pt>
                <c:pt idx="13">
                  <c:v>0.017991004497751123</c:v>
                </c:pt>
                <c:pt idx="14">
                  <c:v>0.016203703703703703</c:v>
                </c:pt>
                <c:pt idx="15">
                  <c:v>0.09486166007905138</c:v>
                </c:pt>
                <c:pt idx="16">
                  <c:v>0.028985507246376812</c:v>
                </c:pt>
                <c:pt idx="17">
                  <c:v>0.0032310177705977385</c:v>
                </c:pt>
                <c:pt idx="18">
                  <c:v>0.06790123456790123</c:v>
                </c:pt>
                <c:pt idx="19">
                  <c:v>0.04936854190585534</c:v>
                </c:pt>
                <c:pt idx="20">
                  <c:v>0.0863905325443787</c:v>
                </c:pt>
                <c:pt idx="21">
                  <c:v>0.024551927326295114</c:v>
                </c:pt>
                <c:pt idx="22">
                  <c:v>0.00949367088607595</c:v>
                </c:pt>
                <c:pt idx="23">
                  <c:v>0.15783602900167318</c:v>
                </c:pt>
                <c:pt idx="24">
                  <c:v>0.059961315280464215</c:v>
                </c:pt>
                <c:pt idx="25">
                  <c:v>0.00909090909090909</c:v>
                </c:pt>
                <c:pt idx="26">
                  <c:v>0.1600633914421553</c:v>
                </c:pt>
                <c:pt idx="27">
                  <c:v>0.04511970534069982</c:v>
                </c:pt>
                <c:pt idx="28">
                  <c:v>0.052489905787348586</c:v>
                </c:pt>
                <c:pt idx="29">
                  <c:v>0.006517690875232775</c:v>
                </c:pt>
                <c:pt idx="30">
                  <c:v>0.18499353169469598</c:v>
                </c:pt>
                <c:pt idx="31">
                  <c:v>0.23780487804878048</c:v>
                </c:pt>
                <c:pt idx="32">
                  <c:v>0.026272577996715927</c:v>
                </c:pt>
                <c:pt idx="33">
                  <c:v>0.00228310502283105</c:v>
                </c:pt>
                <c:pt idx="34">
                  <c:v>0.07373271889400922</c:v>
                </c:pt>
                <c:pt idx="35">
                  <c:v>0.20151133501259447</c:v>
                </c:pt>
                <c:pt idx="36">
                  <c:v>0.009510869565217392</c:v>
                </c:pt>
                <c:pt idx="37">
                  <c:v>0.011892963330029732</c:v>
                </c:pt>
                <c:pt idx="38">
                  <c:v>0.08888888888888889</c:v>
                </c:pt>
                <c:pt idx="39">
                  <c:v>0.0730050933786078</c:v>
                </c:pt>
                <c:pt idx="40">
                  <c:v>0.027700831024930747</c:v>
                </c:pt>
                <c:pt idx="41">
                  <c:v>0.07571801566579635</c:v>
                </c:pt>
                <c:pt idx="42">
                  <c:v>0.008620689655172414</c:v>
                </c:pt>
                <c:pt idx="43">
                  <c:v>0.016361886429258902</c:v>
                </c:pt>
                <c:pt idx="44">
                  <c:v>0.022494887525562373</c:v>
                </c:pt>
                <c:pt idx="45">
                  <c:v>0.02666666666666667</c:v>
                </c:pt>
                <c:pt idx="46">
                  <c:v>0.04398148148148148</c:v>
                </c:pt>
                <c:pt idx="47">
                  <c:v>0.2540045766590389</c:v>
                </c:pt>
                <c:pt idx="48">
                  <c:v>0.002544529262086514</c:v>
                </c:pt>
                <c:pt idx="49">
                  <c:v>0.15236686390532544</c:v>
                </c:pt>
                <c:pt idx="50">
                  <c:v>0.3309608540925267</c:v>
                </c:pt>
                <c:pt idx="51">
                  <c:v>0.1267123287671233</c:v>
                </c:pt>
                <c:pt idx="52">
                  <c:v>0.007782101167315175</c:v>
                </c:pt>
                <c:pt idx="53">
                  <c:v>0.04391891891891892</c:v>
                </c:pt>
                <c:pt idx="54">
                  <c:v>0.11757269279393173</c:v>
                </c:pt>
                <c:pt idx="55">
                  <c:v>0.08660508083140878</c:v>
                </c:pt>
                <c:pt idx="56">
                  <c:v>0.09256449165402124</c:v>
                </c:pt>
                <c:pt idx="57">
                  <c:v>0.08416389811738649</c:v>
                </c:pt>
                <c:pt idx="58">
                  <c:v>0.1959531416400426</c:v>
                </c:pt>
                <c:pt idx="59">
                  <c:v>0.05219206680584551</c:v>
                </c:pt>
                <c:pt idx="60">
                  <c:v>0.02278481012658228</c:v>
                </c:pt>
              </c:numCache>
            </c:numRef>
          </c:yVal>
          <c:smooth val="0"/>
          <c:extLst>
            <c:ext xmlns:c16="http://schemas.microsoft.com/office/drawing/2014/chart" uri="{C3380CC4-5D6E-409C-BE32-E72D297353CC}">
              <c16:uniqueId val="{00000000-F32D-48B7-BC20-E66FC6253BAD}"/>
            </c:ext>
          </c:extLst>
        </c:ser>
        <c:ser>
          <c:idx val="1"/>
          <c:order val="1"/>
          <c:tx>
            <c:strRef>
              <c:f>Sheet1!$B$6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5:$A$89</c:f>
              <c:numCache>
                <c:formatCode>General</c:formatCode>
                <c:ptCount val="25"/>
                <c:pt idx="0">
                  <c:v>1247.0568</c:v>
                </c:pt>
                <c:pt idx="1">
                  <c:v>1592.1105</c:v>
                </c:pt>
                <c:pt idx="2">
                  <c:v>1038.7516</c:v>
                </c:pt>
                <c:pt idx="3">
                  <c:v>975.8006</c:v>
                </c:pt>
                <c:pt idx="4">
                  <c:v>2398.3333</c:v>
                </c:pt>
                <c:pt idx="5">
                  <c:v>1034.2051</c:v>
                </c:pt>
                <c:pt idx="6">
                  <c:v>2360.0</c:v>
                </c:pt>
                <c:pt idx="7">
                  <c:v>1066.5357</c:v>
                </c:pt>
                <c:pt idx="8">
                  <c:v>768.5</c:v>
                </c:pt>
                <c:pt idx="9">
                  <c:v>1055.8983</c:v>
                </c:pt>
                <c:pt idx="10">
                  <c:v>838.0183</c:v>
                </c:pt>
                <c:pt idx="11">
                  <c:v>1452.0</c:v>
                </c:pt>
                <c:pt idx="12">
                  <c:v>792.7333</c:v>
                </c:pt>
                <c:pt idx="13">
                  <c:v>817.9655</c:v>
                </c:pt>
                <c:pt idx="14">
                  <c:v>774.6071</c:v>
                </c:pt>
                <c:pt idx="15">
                  <c:v>416.4273</c:v>
                </c:pt>
                <c:pt idx="16">
                  <c:v>1034.3514</c:v>
                </c:pt>
                <c:pt idx="17">
                  <c:v>1057.5556</c:v>
                </c:pt>
                <c:pt idx="18">
                  <c:v>1033.2258</c:v>
                </c:pt>
                <c:pt idx="19">
                  <c:v>1133.7895</c:v>
                </c:pt>
                <c:pt idx="20">
                  <c:v>907.75</c:v>
                </c:pt>
                <c:pt idx="21">
                  <c:v>1001.5231</c:v>
                </c:pt>
                <c:pt idx="22">
                  <c:v>973.2308</c:v>
                </c:pt>
                <c:pt idx="23">
                  <c:v>1008.7917</c:v>
                </c:pt>
                <c:pt idx="24">
                  <c:v>1067.1515</c:v>
                </c:pt>
              </c:numCache>
            </c:numRef>
          </c:xVal>
          <c:yVal>
            <c:numRef>
              <c:f>Sheet1!$B$65:$B$89</c:f>
              <c:numCache>
                <c:formatCode>General</c:formatCode>
                <c:ptCount val="25"/>
                <c:pt idx="0">
                  <c:v>0.08333333333333333</c:v>
                </c:pt>
                <c:pt idx="1">
                  <c:v>0.21608040201005024</c:v>
                </c:pt>
                <c:pt idx="2">
                  <c:v>0.20379746835443038</c:v>
                </c:pt>
                <c:pt idx="3">
                  <c:v>0.24662965900079303</c:v>
                </c:pt>
                <c:pt idx="4">
                  <c:v>0.006711409395973154</c:v>
                </c:pt>
                <c:pt idx="5">
                  <c:v>0.21666666666666667</c:v>
                </c:pt>
                <c:pt idx="6">
                  <c:v>0.020761245674740483</c:v>
                </c:pt>
                <c:pt idx="7">
                  <c:v>0.0380952380952381</c:v>
                </c:pt>
                <c:pt idx="8">
                  <c:v>0.05384615384615385</c:v>
                </c:pt>
                <c:pt idx="9">
                  <c:v>0.0898021308980213</c:v>
                </c:pt>
                <c:pt idx="10">
                  <c:v>0.1332518337408313</c:v>
                </c:pt>
                <c:pt idx="11">
                  <c:v>0.01090909090909091</c:v>
                </c:pt>
                <c:pt idx="12">
                  <c:v>0.03783102143757881</c:v>
                </c:pt>
                <c:pt idx="13">
                  <c:v>0.04588607594936709</c:v>
                </c:pt>
                <c:pt idx="14">
                  <c:v>0.0681265206812652</c:v>
                </c:pt>
                <c:pt idx="15">
                  <c:v>0.6246612466124661</c:v>
                </c:pt>
                <c:pt idx="16">
                  <c:v>0.24915824915824916</c:v>
                </c:pt>
                <c:pt idx="17">
                  <c:v>0.7531380753138075</c:v>
                </c:pt>
                <c:pt idx="18">
                  <c:v>0.12180746561886051</c:v>
                </c:pt>
                <c:pt idx="19">
                  <c:v>0.10401459854014598</c:v>
                </c:pt>
                <c:pt idx="20">
                  <c:v>0.04664723032069971</c:v>
                </c:pt>
                <c:pt idx="21">
                  <c:v>0.22491349480968859</c:v>
                </c:pt>
                <c:pt idx="22">
                  <c:v>0.01870503597122302</c:v>
                </c:pt>
                <c:pt idx="23">
                  <c:v>0.04660194174757282</c:v>
                </c:pt>
                <c:pt idx="24">
                  <c:v>0.1286549707602339</c:v>
                </c:pt>
              </c:numCache>
            </c:numRef>
          </c:yVal>
          <c:smooth val="0"/>
          <c:extLst>
            <c:ext xmlns:c16="http://schemas.microsoft.com/office/drawing/2014/chart" uri="{C3380CC4-5D6E-409C-BE32-E72D297353CC}">
              <c16:uniqueId val="{00000002-F32D-48B7-BC20-E66FC6253BAD}"/>
            </c:ext>
          </c:extLst>
        </c:ser>
        <c:ser>
          <c:idx val="2"/>
          <c:order val="2"/>
          <c:tx>
            <c:strRef>
              <c:f>Sheet1!$B$91</c:f>
              <c:strCache>
                <c:ptCount val="1"/>
                <c:pt idx="0">
                  <c:v>Custom Linep3yQ</c:v>
                </c:pt>
              </c:strCache>
            </c:strRef>
          </c:tx>
          <c:spPr>
            <a:ln w="19050" cap="rnd">
              <a:solidFill>
                <a:srgbClr val="C00000"/>
              </a:solidFill>
              <a:prstDash val="sysDot"/>
              <a:round/>
            </a:ln>
            <a:effectLst/>
          </c:spPr>
          <c:marker>
            <c:symbol val="none"/>
          </c:marker>
          <c:xVal>
            <c:numRef>
              <c:f>Sheet1!$A$92:$A$93</c:f>
              <c:numCache>
                <c:formatCode>General</c:formatCode>
                <c:ptCount val="2"/>
                <c:pt idx="0">
                  <c:v>0</c:v>
                </c:pt>
                <c:pt idx="1">
                  <c:v>315.86564958234936</c:v>
                </c:pt>
              </c:numCache>
            </c:numRef>
          </c:xVal>
          <c:yVal>
            <c:numRef>
              <c:f>Sheet1!$B$92:$B$93</c:f>
              <c:numCache>
                <c:formatCode>General</c:formatCode>
                <c:ptCount val="2"/>
                <c:pt idx="0">
                  <c:v>0.25010417292064047</c:v>
                </c:pt>
                <c:pt idx="1">
                  <c:v>0.25010417292064047</c:v>
                </c:pt>
              </c:numCache>
            </c:numRef>
          </c:yVal>
          <c:smooth val="0"/>
          <c:extLst>
            <c:ext xmlns:c16="http://schemas.microsoft.com/office/drawing/2014/chart" uri="{C3380CC4-5D6E-409C-BE32-E72D297353CC}">
              <c16:uniqueId val="{00000003-F32D-48B7-BC20-E66FC6253BAD}"/>
            </c:ext>
          </c:extLst>
        </c:ser>
        <c:ser>
          <c:idx val="3"/>
          <c:order val="3"/>
          <c:tx>
            <c:strRef>
              <c:f>Sheet1!$B$9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96:$A$97</c:f>
              <c:numCache>
                <c:formatCode>General</c:formatCode>
                <c:ptCount val="2"/>
                <c:pt idx="0">
                  <c:v>315.86564958234936</c:v>
                </c:pt>
                <c:pt idx="1">
                  <c:v>315.86564958234936</c:v>
                </c:pt>
              </c:numCache>
            </c:numRef>
          </c:xVal>
          <c:yVal>
            <c:numRef>
              <c:f>Sheet1!$B$96:$B$97</c:f>
              <c:numCache>
                <c:formatCode>General</c:formatCode>
                <c:ptCount val="2"/>
                <c:pt idx="0">
                  <c:v>0.250104172920640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9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00:$A$101</c:f>
              <c:numCache>
                <c:formatCode>General</c:formatCode>
                <c:ptCount val="2"/>
                <c:pt idx="0">
                  <c:v>0</c:v>
                </c:pt>
                <c:pt idx="1">
                  <c:v>315.86564958234936</c:v>
                </c:pt>
              </c:numCache>
            </c:numRef>
          </c:xVal>
          <c:yVal>
            <c:numRef>
              <c:f>Sheet1!$B$100:$B$101</c:f>
              <c:numCache>
                <c:formatCode>General</c:formatCode>
                <c:ptCount val="2"/>
                <c:pt idx="0">
                  <c:v>0.25010417292064047</c:v>
                </c:pt>
                <c:pt idx="1">
                  <c:v>0.25010417292064047</c:v>
                </c:pt>
              </c:numCache>
            </c:numRef>
          </c:yVal>
          <c:smooth val="0"/>
          <c:extLst>
            <c:ext xmlns:c16="http://schemas.microsoft.com/office/drawing/2014/chart" uri="{C3380CC4-5D6E-409C-BE32-E72D297353CC}">
              <c16:uniqueId val="{0000000A-F32D-48B7-BC20-E66FC6253BAD}"/>
            </c:ext>
          </c:extLst>
        </c:ser>
        <c:ser>
          <c:idx val="5"/>
          <c:order val="5"/>
          <c:tx>
            <c:strRef>
              <c:f>Sheet1!$B$10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4:$A$105</c:f>
              <c:numCache>
                <c:formatCode>General</c:formatCode>
                <c:ptCount val="2"/>
                <c:pt idx="0">
                  <c:v>315.86564958234936</c:v>
                </c:pt>
                <c:pt idx="1">
                  <c:v>315.86564958234936</c:v>
                </c:pt>
              </c:numCache>
            </c:numRef>
          </c:xVal>
          <c:yVal>
            <c:numRef>
              <c:f>Sheet1!$B$104:$B$105</c:f>
              <c:numCache>
                <c:formatCode>General</c:formatCode>
                <c:ptCount val="2"/>
                <c:pt idx="0">
                  <c:v>0.250104172920640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0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08:$A$109</c:f>
              <c:numCache>
                <c:formatCode>General</c:formatCode>
                <c:ptCount val="2"/>
                <c:pt idx="0">
                  <c:v>0</c:v>
                </c:pt>
                <c:pt idx="1">
                  <c:v>1573.0120941834489</c:v>
                </c:pt>
              </c:numCache>
            </c:numRef>
          </c:xVal>
          <c:yVal>
            <c:numRef>
              <c:f>Sheet1!$B$108:$B$109</c:f>
              <c:numCache>
                <c:formatCode>General</c:formatCode>
                <c:ptCount val="2"/>
                <c:pt idx="0">
                  <c:v>0.09492287869159399</c:v>
                </c:pt>
                <c:pt idx="1">
                  <c:v>0.09492287869159399</c:v>
                </c:pt>
              </c:numCache>
            </c:numRef>
          </c:yVal>
          <c:smooth val="0"/>
          <c:extLst>
            <c:ext xmlns:c16="http://schemas.microsoft.com/office/drawing/2014/chart" uri="{C3380CC4-5D6E-409C-BE32-E72D297353CC}">
              <c16:uniqueId val="{00000011-F32D-48B7-BC20-E66FC6253BAD}"/>
            </c:ext>
          </c:extLst>
        </c:ser>
        <c:ser>
          <c:idx val="7"/>
          <c:order val="7"/>
          <c:tx>
            <c:strRef>
              <c:f>Sheet1!$B$11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1573.0120941834489</c:v>
                </c:pt>
                <c:pt idx="1">
                  <c:v>1573.0120941834489</c:v>
                </c:pt>
              </c:numCache>
            </c:numRef>
          </c:xVal>
          <c:yVal>
            <c:numRef>
              <c:f>Sheet1!$B$112:$B$113</c:f>
              <c:numCache>
                <c:formatCode>General</c:formatCode>
                <c:ptCount val="2"/>
                <c:pt idx="0">
                  <c:v>0.0949228786915939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1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16:$A$143</c:f>
              <c:numCache>
                <c:formatCode>General</c:formatCode>
                <c:ptCount val="28"/>
                <c:pt idx="0">
                  <c:v>1247.0568</c:v>
                </c:pt>
                <c:pt idx="1">
                  <c:v>1592.1105</c:v>
                </c:pt>
                <c:pt idx="2">
                  <c:v>1038.7516</c:v>
                </c:pt>
                <c:pt idx="3">
                  <c:v>975.8006</c:v>
                </c:pt>
                <c:pt idx="4">
                  <c:v>2398.3333</c:v>
                </c:pt>
                <c:pt idx="5">
                  <c:v>1034.2051</c:v>
                </c:pt>
                <c:pt idx="6">
                  <c:v>2360.0</c:v>
                </c:pt>
                <c:pt idx="7">
                  <c:v>1066.5357</c:v>
                </c:pt>
                <c:pt idx="8">
                  <c:v>768.5</c:v>
                </c:pt>
                <c:pt idx="9">
                  <c:v>1055.8983</c:v>
                </c:pt>
                <c:pt idx="10">
                  <c:v>838.0183</c:v>
                </c:pt>
                <c:pt idx="11">
                  <c:v>1452.0</c:v>
                </c:pt>
                <c:pt idx="12">
                  <c:v>792.7333</c:v>
                </c:pt>
                <c:pt idx="13">
                  <c:v>817.9655</c:v>
                </c:pt>
                <c:pt idx="14">
                  <c:v>774.6071</c:v>
                </c:pt>
                <c:pt idx="15">
                  <c:v>416.4273</c:v>
                </c:pt>
                <c:pt idx="16">
                  <c:v>1034.3514</c:v>
                </c:pt>
                <c:pt idx="17">
                  <c:v>1057.5556</c:v>
                </c:pt>
                <c:pt idx="18">
                  <c:v>1033.2258</c:v>
                </c:pt>
                <c:pt idx="19">
                  <c:v>1133.7895</c:v>
                </c:pt>
                <c:pt idx="20">
                  <c:v>907.75</c:v>
                </c:pt>
                <c:pt idx="21">
                  <c:v>1001.5231</c:v>
                </c:pt>
                <c:pt idx="22">
                  <c:v>973.2308</c:v>
                </c:pt>
                <c:pt idx="23">
                  <c:v>1008.7917</c:v>
                </c:pt>
                <c:pt idx="24">
                  <c:v>1067.1515</c:v>
                </c:pt>
                <c:pt idx="25">
                  <c:v>315.86564958234936</c:v>
                </c:pt>
                <c:pt idx="26">
                  <c:v>315.86564958234936</c:v>
                </c:pt>
                <c:pt idx="27">
                  <c:v>1573.0120941834489</c:v>
                </c:pt>
              </c:numCache>
            </c:numRef>
          </c:xVal>
          <c:yVal>
            <c:numRef>
              <c:f>Sheet1!$B$116:$B$143</c:f>
              <c:numCache>
                <c:formatCode>General</c:formatCode>
                <c:ptCount val="28"/>
                <c:pt idx="0">
                  <c:v>0.13515857647320542</c:v>
                </c:pt>
                <c:pt idx="1">
                  <c:v>0.09256538458655011</c:v>
                </c:pt>
                <c:pt idx="2">
                  <c:v>0.16087162738263813</c:v>
                </c:pt>
                <c:pt idx="3">
                  <c:v>0.168642255613713</c:v>
                </c:pt>
                <c:pt idx="4">
                  <c:v>-0.0069542044623328025</c:v>
                </c:pt>
                <c:pt idx="5">
                  <c:v>0.16143284422196685</c:v>
                </c:pt>
                <c:pt idx="6">
                  <c:v>-0.0022223682219194574</c:v>
                </c:pt>
                <c:pt idx="7">
                  <c:v>0.15744197714936134</c:v>
                </c:pt>
                <c:pt idx="8">
                  <c:v>0.19423129938869288</c:v>
                </c:pt>
                <c:pt idx="9">
                  <c:v>0.15875505050395833</c:v>
                </c:pt>
                <c:pt idx="10">
                  <c:v>0.18565000815334584</c:v>
                </c:pt>
                <c:pt idx="11">
                  <c:v>0.10986052853613021</c:v>
                </c:pt>
                <c:pt idx="12">
                  <c:v>0.19123995747018316</c:v>
                </c:pt>
                <c:pt idx="13">
                  <c:v>0.1881253120213082</c:v>
                </c:pt>
                <c:pt idx="14">
                  <c:v>0.19347744315654414</c:v>
                </c:pt>
                <c:pt idx="15">
                  <c:v>0.23769091181757812</c:v>
                </c:pt>
                <c:pt idx="16">
                  <c:v>0.16141478505038567</c:v>
                </c:pt>
                <c:pt idx="17">
                  <c:v>0.15855047452951218</c:v>
                </c:pt>
                <c:pt idx="18">
                  <c:v>0.1615537283417853</c:v>
                </c:pt>
                <c:pt idx="19">
                  <c:v>0.14914021423968454</c:v>
                </c:pt>
                <c:pt idx="20">
                  <c:v>0.17704237496847436</c:v>
                </c:pt>
                <c:pt idx="21">
                  <c:v>0.16546708786937497</c:v>
                </c:pt>
                <c:pt idx="22">
                  <c:v>0.16895946996182845</c:v>
                </c:pt>
                <c:pt idx="23">
                  <c:v>0.16456985687446796</c:v>
                </c:pt>
                <c:pt idx="24">
                  <c:v>0.15736596322004018</c:v>
                </c:pt>
                <c:pt idx="25">
                  <c:v>0.25010417292064047</c:v>
                </c:pt>
                <c:pt idx="26">
                  <c:v>0.25010417292064047</c:v>
                </c:pt>
                <c:pt idx="27">
                  <c:v>0.0949228786915939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813.0"/>
          <c:min val="11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765690376569"/>
          <c:min val="0.001826484018264840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0</c:f>
              <c:numCache>
                <c:formatCode>General</c:formatCode>
                <c:ptCount val="79"/>
                <c:pt idx="0">
                  <c:v>0.7705597880138664</c:v>
                </c:pt>
                <c:pt idx="1">
                  <c:v>0.8303684617366657</c:v>
                </c:pt>
                <c:pt idx="2">
                  <c:v>0.9852524249912523</c:v>
                </c:pt>
                <c:pt idx="3">
                  <c:v>0.8495720367285745</c:v>
                </c:pt>
                <c:pt idx="4">
                  <c:v>1.214204811307873</c:v>
                </c:pt>
                <c:pt idx="5">
                  <c:v>1.0851541749092302</c:v>
                </c:pt>
                <c:pt idx="6">
                  <c:v>1.1995890980944797</c:v>
                </c:pt>
                <c:pt idx="7">
                  <c:v>1.3909746411117003</c:v>
                </c:pt>
                <c:pt idx="8">
                  <c:v>0.4229317137858102</c:v>
                </c:pt>
                <c:pt idx="9">
                  <c:v>0.8909035998114994</c:v>
                </c:pt>
                <c:pt idx="10">
                  <c:v>8.09429504950495</c:v>
                </c:pt>
                <c:pt idx="11">
                  <c:v>1.0809688167298113</c:v>
                </c:pt>
                <c:pt idx="12">
                  <c:v>0.7534747364432899</c:v>
                </c:pt>
                <c:pt idx="13">
                  <c:v>0.6873623032839985</c:v>
                </c:pt>
                <c:pt idx="14">
                  <c:v>0.21764560077102318</c:v>
                </c:pt>
                <c:pt idx="15">
                  <c:v>0.855585302755018</c:v>
                </c:pt>
                <c:pt idx="16">
                  <c:v>0.1482735792076284</c:v>
                </c:pt>
                <c:pt idx="17">
                  <c:v>0.6292167924638049</c:v>
                </c:pt>
                <c:pt idx="18">
                  <c:v>0.8667487198470615</c:v>
                </c:pt>
                <c:pt idx="19">
                  <c:v>0.9009202687009348</c:v>
                </c:pt>
                <c:pt idx="20">
                  <c:v>1.1223118530407825</c:v>
                </c:pt>
                <c:pt idx="21">
                  <c:v>0.8752027754950811</c:v>
                </c:pt>
                <c:pt idx="22">
                  <c:v>0.7567473278947764</c:v>
                </c:pt>
                <c:pt idx="23">
                  <c:v>0.8904061732760482</c:v>
                </c:pt>
                <c:pt idx="24">
                  <c:v>1.3605759701548445</c:v>
                </c:pt>
                <c:pt idx="25">
                  <c:v>0.5059148128032042</c:v>
                </c:pt>
                <c:pt idx="26">
                  <c:v>0.7011202321636979</c:v>
                </c:pt>
                <c:pt idx="27">
                  <c:v>1.0665647087440218</c:v>
                </c:pt>
                <c:pt idx="28">
                  <c:v>0.887536171180392</c:v>
                </c:pt>
                <c:pt idx="29">
                  <c:v>0.6650514596777145</c:v>
                </c:pt>
                <c:pt idx="30">
                  <c:v>0.524977966471972</c:v>
                </c:pt>
                <c:pt idx="31">
                  <c:v>0.4928838709777674</c:v>
                </c:pt>
                <c:pt idx="32">
                  <c:v>0.7470894615390606</c:v>
                </c:pt>
                <c:pt idx="33">
                  <c:v>0.142021653073878</c:v>
                </c:pt>
                <c:pt idx="34">
                  <c:v>0.6554789403460216</c:v>
                </c:pt>
                <c:pt idx="35">
                  <c:v>0.3443638151281468</c:v>
                </c:pt>
                <c:pt idx="36">
                  <c:v>0.8164409211655439</c:v>
                </c:pt>
                <c:pt idx="37">
                  <c:v>0.3169307657941011</c:v>
                </c:pt>
                <c:pt idx="38">
                  <c:v>0.8993863850246802</c:v>
                </c:pt>
                <c:pt idx="39">
                  <c:v>0.12382189766241224</c:v>
                </c:pt>
                <c:pt idx="40">
                  <c:v>0.6085877889080407</c:v>
                </c:pt>
                <c:pt idx="41">
                  <c:v>0.5367381734134408</c:v>
                </c:pt>
                <c:pt idx="42">
                  <c:v>0.4010877485764079</c:v>
                </c:pt>
                <c:pt idx="43">
                  <c:v>0.3063945740921631</c:v>
                </c:pt>
                <c:pt idx="44">
                  <c:v>0.2789817758685388</c:v>
                </c:pt>
                <c:pt idx="45">
                  <c:v>1.1149433475723571</c:v>
                </c:pt>
                <c:pt idx="46">
                  <c:v>0.2469654672014674</c:v>
                </c:pt>
                <c:pt idx="47">
                  <c:v>0.7417826535417978</c:v>
                </c:pt>
                <c:pt idx="48">
                  <c:v>0.3592595695477451</c:v>
                </c:pt>
                <c:pt idx="49">
                  <c:v>0.7655467319628825</c:v>
                </c:pt>
                <c:pt idx="50">
                  <c:v>0.25446734180534836</c:v>
                </c:pt>
                <c:pt idx="51">
                  <c:v>0.38179034490110253</c:v>
                </c:pt>
                <c:pt idx="52">
                  <c:v>0.34080825331639764</c:v>
                </c:pt>
                <c:pt idx="53">
                  <c:v>0.13347991301584428</c:v>
                </c:pt>
                <c:pt idx="54">
                  <c:v>1.2877224959192421</c:v>
                </c:pt>
                <c:pt idx="55">
                  <c:v>0.4443015427900182</c:v>
                </c:pt>
                <c:pt idx="56">
                  <c:v>0.41231917753983627</c:v>
                </c:pt>
                <c:pt idx="57">
                  <c:v>0.3668167497277961</c:v>
                </c:pt>
                <c:pt idx="58">
                  <c:v>0.21748154344460027</c:v>
                </c:pt>
                <c:pt idx="59">
                  <c:v>0.8329783263674096</c:v>
                </c:pt>
                <c:pt idx="60">
                  <c:v>0.17524624069782427</c:v>
                </c:pt>
                <c:pt idx="61">
                  <c:v>0.19860299179170782</c:v>
                </c:pt>
                <c:pt idx="62">
                  <c:v>0.23690063982941795</c:v>
                </c:pt>
                <c:pt idx="63">
                  <c:v>0.7630401716749586</c:v>
                </c:pt>
                <c:pt idx="64">
                  <c:v>0.43582583516640105</c:v>
                </c:pt>
                <c:pt idx="65">
                  <c:v>0.7639308571350858</c:v>
                </c:pt>
                <c:pt idx="66">
                  <c:v>0.7651596781035047</c:v>
                </c:pt>
                <c:pt idx="67">
                  <c:v>0.9297887897709928</c:v>
                </c:pt>
                <c:pt idx="68">
                  <c:v>1.1607713109454678</c:v>
                </c:pt>
                <c:pt idx="69">
                  <c:v>0.8250940524497646</c:v>
                </c:pt>
                <c:pt idx="70">
                  <c:v>0.4294214688026289</c:v>
                </c:pt>
                <c:pt idx="71">
                  <c:v>0.8142761875527589</c:v>
                </c:pt>
                <c:pt idx="72">
                  <c:v>1.6169992324622269</c:v>
                </c:pt>
                <c:pt idx="73">
                  <c:v>0.6969700491099882</c:v>
                </c:pt>
                <c:pt idx="74">
                  <c:v>0.7405613914822414</c:v>
                </c:pt>
                <c:pt idx="75">
                  <c:v>0.39371725053467715</c:v>
                </c:pt>
                <c:pt idx="76">
                  <c:v>2.7291159407327736</c:v>
                </c:pt>
                <c:pt idx="77">
                  <c:v>1.4151149496751678</c:v>
                </c:pt>
                <c:pt idx="78">
                  <c:v>1.1768239155108453</c:v>
                </c:pt>
              </c:numCache>
            </c:numRef>
          </c:xVal>
          <c:yVal>
            <c:numRef>
              <c:f>Sheet1!$B$2:$B$80</c:f>
              <c:numCache>
                <c:formatCode>General</c:formatCode>
                <c:ptCount val="79"/>
                <c:pt idx="0">
                  <c:v>0.2413793103448276</c:v>
                </c:pt>
                <c:pt idx="1">
                  <c:v>0.1430472388556221</c:v>
                </c:pt>
                <c:pt idx="2">
                  <c:v>0.16554054054054054</c:v>
                </c:pt>
                <c:pt idx="3">
                  <c:v>0.13806706114398423</c:v>
                </c:pt>
                <c:pt idx="4">
                  <c:v>0.020361990950226245</c:v>
                </c:pt>
                <c:pt idx="5">
                  <c:v>0.21818181818181817</c:v>
                </c:pt>
                <c:pt idx="6">
                  <c:v>0.20408163265306123</c:v>
                </c:pt>
                <c:pt idx="7">
                  <c:v>0.17342657342657342</c:v>
                </c:pt>
                <c:pt idx="8">
                  <c:v>0.6501650165016502</c:v>
                </c:pt>
                <c:pt idx="9">
                  <c:v>0.649325626204239</c:v>
                </c:pt>
                <c:pt idx="10">
                  <c:v>0.08879492600422834</c:v>
                </c:pt>
                <c:pt idx="11">
                  <c:v>0.2970430107526882</c:v>
                </c:pt>
                <c:pt idx="12">
                  <c:v>0.11469534050179211</c:v>
                </c:pt>
                <c:pt idx="13">
                  <c:v>0.2711864406779661</c:v>
                </c:pt>
                <c:pt idx="14">
                  <c:v>0.2066115702479339</c:v>
                </c:pt>
                <c:pt idx="15">
                  <c:v>0.2389937106918239</c:v>
                </c:pt>
                <c:pt idx="16">
                  <c:v>0.17901234567901234</c:v>
                </c:pt>
                <c:pt idx="17">
                  <c:v>0.16</c:v>
                </c:pt>
                <c:pt idx="18">
                  <c:v>0.29156999226604796</c:v>
                </c:pt>
                <c:pt idx="19">
                  <c:v>0.5154894671623296</c:v>
                </c:pt>
                <c:pt idx="20">
                  <c:v>0.010494752623688156</c:v>
                </c:pt>
                <c:pt idx="21">
                  <c:v>0.06712962962962964</c:v>
                </c:pt>
                <c:pt idx="22">
                  <c:v>0.16901408450704225</c:v>
                </c:pt>
                <c:pt idx="23">
                  <c:v>0.1746031746031746</c:v>
                </c:pt>
                <c:pt idx="24">
                  <c:v>0.34189723320158105</c:v>
                </c:pt>
                <c:pt idx="25">
                  <c:v>0.08902691511387163</c:v>
                </c:pt>
                <c:pt idx="26">
                  <c:v>0.31179321486268174</c:v>
                </c:pt>
                <c:pt idx="27">
                  <c:v>0.3148148148148148</c:v>
                </c:pt>
                <c:pt idx="28">
                  <c:v>0.15097588978185994</c:v>
                </c:pt>
                <c:pt idx="29">
                  <c:v>0.38224852071005916</c:v>
                </c:pt>
                <c:pt idx="30">
                  <c:v>0.25951387183893937</c:v>
                </c:pt>
                <c:pt idx="31">
                  <c:v>0.24287974683544303</c:v>
                </c:pt>
                <c:pt idx="32">
                  <c:v>0.24372559955382042</c:v>
                </c:pt>
                <c:pt idx="33">
                  <c:v>0.35880077369439073</c:v>
                </c:pt>
                <c:pt idx="34">
                  <c:v>0.10413223140495868</c:v>
                </c:pt>
                <c:pt idx="35">
                  <c:v>0.089540412044374</c:v>
                </c:pt>
                <c:pt idx="36">
                  <c:v>0.1151012891344383</c:v>
                </c:pt>
                <c:pt idx="37">
                  <c:v>0.423956931359354</c:v>
                </c:pt>
                <c:pt idx="38">
                  <c:v>0.24022346368715083</c:v>
                </c:pt>
                <c:pt idx="39">
                  <c:v>0.343042071197411</c:v>
                </c:pt>
                <c:pt idx="40">
                  <c:v>0.2799597180261833</c:v>
                </c:pt>
                <c:pt idx="41">
                  <c:v>0.2147477360931436</c:v>
                </c:pt>
                <c:pt idx="42">
                  <c:v>0.2780487804878049</c:v>
                </c:pt>
                <c:pt idx="43">
                  <c:v>0.4039408866995074</c:v>
                </c:pt>
                <c:pt idx="44">
                  <c:v>0.2831050228310502</c:v>
                </c:pt>
                <c:pt idx="45">
                  <c:v>0.2695852534562212</c:v>
                </c:pt>
                <c:pt idx="46">
                  <c:v>0.3589420654911839</c:v>
                </c:pt>
                <c:pt idx="47">
                  <c:v>0.4157608695652174</c:v>
                </c:pt>
                <c:pt idx="48">
                  <c:v>0.2259663032705649</c:v>
                </c:pt>
                <c:pt idx="49">
                  <c:v>0.37530864197530867</c:v>
                </c:pt>
                <c:pt idx="50">
                  <c:v>0.022304832713754646</c:v>
                </c:pt>
                <c:pt idx="51">
                  <c:v>0.030560271646859084</c:v>
                </c:pt>
                <c:pt idx="52">
                  <c:v>0.13434903047091412</c:v>
                </c:pt>
                <c:pt idx="53">
                  <c:v>0.04699738903394256</c:v>
                </c:pt>
                <c:pt idx="54">
                  <c:v>0.16522988505747127</c:v>
                </c:pt>
                <c:pt idx="55">
                  <c:v>0.2858517805582291</c:v>
                </c:pt>
                <c:pt idx="56">
                  <c:v>0.24726477024070023</c:v>
                </c:pt>
                <c:pt idx="57">
                  <c:v>0.32666666666666666</c:v>
                </c:pt>
                <c:pt idx="58">
                  <c:v>0.2152777777777778</c:v>
                </c:pt>
                <c:pt idx="59">
                  <c:v>0.10755148741418764</c:v>
                </c:pt>
                <c:pt idx="60">
                  <c:v>0.30025445292620867</c:v>
                </c:pt>
                <c:pt idx="61">
                  <c:v>0.5105708245243129</c:v>
                </c:pt>
                <c:pt idx="62">
                  <c:v>0.14053254437869822</c:v>
                </c:pt>
                <c:pt idx="63">
                  <c:v>0.2050561797752809</c:v>
                </c:pt>
                <c:pt idx="64">
                  <c:v>0.24172185430463577</c:v>
                </c:pt>
                <c:pt idx="65">
                  <c:v>0.42153846153846153</c:v>
                </c:pt>
                <c:pt idx="66">
                  <c:v>0.05714285714285714</c:v>
                </c:pt>
                <c:pt idx="67">
                  <c:v>0.3397129186602871</c:v>
                </c:pt>
                <c:pt idx="68">
                  <c:v>0.00906344410876133</c:v>
                </c:pt>
                <c:pt idx="69">
                  <c:v>0.1324200913242009</c:v>
                </c:pt>
                <c:pt idx="70">
                  <c:v>0.028534370946822308</c:v>
                </c:pt>
                <c:pt idx="71">
                  <c:v>0.02027027027027027</c:v>
                </c:pt>
                <c:pt idx="72">
                  <c:v>0.011378002528445006</c:v>
                </c:pt>
                <c:pt idx="73">
                  <c:v>0.10739030023094688</c:v>
                </c:pt>
                <c:pt idx="74">
                  <c:v>0.11001517450682853</c:v>
                </c:pt>
                <c:pt idx="75">
                  <c:v>0.03986710963455149</c:v>
                </c:pt>
                <c:pt idx="76">
                  <c:v>0.003194888178913738</c:v>
                </c:pt>
                <c:pt idx="77">
                  <c:v>0.04801670146137787</c:v>
                </c:pt>
                <c:pt idx="78">
                  <c:v>0.005063291139240506</c:v>
                </c:pt>
              </c:numCache>
            </c:numRef>
          </c:yVal>
          <c:smooth val="0"/>
          <c:extLst>
            <c:ext xmlns:c16="http://schemas.microsoft.com/office/drawing/2014/chart" uri="{C3380CC4-5D6E-409C-BE32-E72D297353CC}">
              <c16:uniqueId val="{00000000-096C-4121-9522-6AB7243CCAAE}"/>
            </c:ext>
          </c:extLst>
        </c:ser>
        <c:ser>
          <c:idx val="1"/>
          <c:order val="1"/>
          <c:tx>
            <c:strRef>
              <c:f>Sheet1!$B$8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3:$A$107</c:f>
              <c:numCache>
                <c:formatCode>General</c:formatCode>
                <c:ptCount val="25"/>
                <c:pt idx="0">
                  <c:v>0.47322097270332947</c:v>
                </c:pt>
                <c:pt idx="1">
                  <c:v>0.8080974232407288</c:v>
                </c:pt>
                <c:pt idx="2">
                  <c:v>1.2319707325385878</c:v>
                </c:pt>
                <c:pt idx="3">
                  <c:v>3.527026991590204</c:v>
                </c:pt>
                <c:pt idx="4">
                  <c:v>0.6897504786242097</c:v>
                </c:pt>
                <c:pt idx="5">
                  <c:v>0.24258765151515152</c:v>
                </c:pt>
                <c:pt idx="6">
                  <c:v>3.4515444015444015</c:v>
                </c:pt>
                <c:pt idx="7">
                  <c:v>0.30336299611479156</c:v>
                </c:pt>
                <c:pt idx="8">
                  <c:v>0.6824593981772719</c:v>
                </c:pt>
                <c:pt idx="9">
                  <c:v>0.689866034658576</c:v>
                </c:pt>
                <c:pt idx="10">
                  <c:v>0.7284695905938384</c:v>
                </c:pt>
                <c:pt idx="11">
                  <c:v>1.0726376344602746</c:v>
                </c:pt>
                <c:pt idx="12">
                  <c:v>0.3862119634028405</c:v>
                </c:pt>
                <c:pt idx="13">
                  <c:v>0.5606816121582886</c:v>
                </c:pt>
                <c:pt idx="14">
                  <c:v>0.9151355261650005</c:v>
                </c:pt>
                <c:pt idx="15">
                  <c:v>1.0175032596674898</c:v>
                </c:pt>
                <c:pt idx="16">
                  <c:v>1.0125103248440206</c:v>
                </c:pt>
                <c:pt idx="17">
                  <c:v>1.5818695277471153</c:v>
                </c:pt>
                <c:pt idx="18">
                  <c:v>0.7481354709768558</c:v>
                </c:pt>
                <c:pt idx="19">
                  <c:v>1.1325863184514415</c:v>
                </c:pt>
                <c:pt idx="20">
                  <c:v>1.699157103448276</c:v>
                </c:pt>
                <c:pt idx="21">
                  <c:v>1.0344315867059768</c:v>
                </c:pt>
                <c:pt idx="22">
                  <c:v>2.9285555560626566</c:v>
                </c:pt>
                <c:pt idx="23">
                  <c:v>0.22494478811791102</c:v>
                </c:pt>
                <c:pt idx="24">
                  <c:v>0.8291888095479683</c:v>
                </c:pt>
              </c:numCache>
            </c:numRef>
          </c:xVal>
          <c:yVal>
            <c:numRef>
              <c:f>Sheet1!$B$83:$B$107</c:f>
              <c:numCache>
                <c:formatCode>General</c:formatCode>
                <c:ptCount val="25"/>
                <c:pt idx="0">
                  <c:v>0.1543560606060606</c:v>
                </c:pt>
                <c:pt idx="1">
                  <c:v>0.02135678391959799</c:v>
                </c:pt>
                <c:pt idx="2">
                  <c:v>0.012688342585249802</c:v>
                </c:pt>
                <c:pt idx="3">
                  <c:v>0.0010822510822510823</c:v>
                </c:pt>
                <c:pt idx="4">
                  <c:v>0.25813449023861174</c:v>
                </c:pt>
                <c:pt idx="5">
                  <c:v>0.18888888888888888</c:v>
                </c:pt>
                <c:pt idx="6">
                  <c:v>0.02531645569620253</c:v>
                </c:pt>
                <c:pt idx="7">
                  <c:v>0.28117359413202936</c:v>
                </c:pt>
                <c:pt idx="8">
                  <c:v>0.582312925170068</c:v>
                </c:pt>
                <c:pt idx="9">
                  <c:v>0.121765601217656</c:v>
                </c:pt>
                <c:pt idx="10">
                  <c:v>0.2982885085574572</c:v>
                </c:pt>
                <c:pt idx="11">
                  <c:v>0.544766708701135</c:v>
                </c:pt>
                <c:pt idx="12">
                  <c:v>0.00949367088607595</c:v>
                </c:pt>
                <c:pt idx="13">
                  <c:v>0.04572564612326044</c:v>
                </c:pt>
                <c:pt idx="14">
                  <c:v>0.10948905109489052</c:v>
                </c:pt>
                <c:pt idx="15">
                  <c:v>0.04200542005420054</c:v>
                </c:pt>
                <c:pt idx="16">
                  <c:v>0.2049469964664311</c:v>
                </c:pt>
                <c:pt idx="17">
                  <c:v>0.006430868167202572</c:v>
                </c:pt>
                <c:pt idx="18">
                  <c:v>0.2948960302457467</c:v>
                </c:pt>
                <c:pt idx="19">
                  <c:v>0.0412573673870334</c:v>
                </c:pt>
                <c:pt idx="20">
                  <c:v>0.004746835443037975</c:v>
                </c:pt>
                <c:pt idx="21">
                  <c:v>0.025547445255474453</c:v>
                </c:pt>
                <c:pt idx="22">
                  <c:v>0.03206997084548105</c:v>
                </c:pt>
                <c:pt idx="23">
                  <c:v>0.05190311418685121</c:v>
                </c:pt>
                <c:pt idx="24">
                  <c:v>0.1553398058252427</c:v>
                </c:pt>
              </c:numCache>
            </c:numRef>
          </c:yVal>
          <c:smooth val="0"/>
          <c:extLst>
            <c:ext xmlns:c16="http://schemas.microsoft.com/office/drawing/2014/chart" uri="{C3380CC4-5D6E-409C-BE32-E72D297353CC}">
              <c16:uniqueId val="{00000002-096C-4121-9522-6AB7243CCAAE}"/>
            </c:ext>
          </c:extLst>
        </c:ser>
        <c:ser>
          <c:idx val="2"/>
          <c:order val="2"/>
          <c:tx>
            <c:strRef>
              <c:f>Sheet1!$B$10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0:$A$111</c:f>
              <c:numCache>
                <c:formatCode>General</c:formatCode>
                <c:ptCount val="2"/>
                <c:pt idx="0">
                  <c:v>0</c:v>
                </c:pt>
                <c:pt idx="1">
                  <c:v>-1.879292891829592</c:v>
                </c:pt>
              </c:numCache>
            </c:numRef>
          </c:xVal>
          <c:yVal>
            <c:numRef>
              <c:f>Sheet1!$B$110:$B$111</c:f>
              <c:numCache>
                <c:formatCode>General</c:formatCode>
                <c:ptCount val="2"/>
                <c:pt idx="0">
                  <c:v>0.32585980053203695</c:v>
                </c:pt>
                <c:pt idx="1">
                  <c:v>0.32585980053203695</c:v>
                </c:pt>
              </c:numCache>
            </c:numRef>
          </c:yVal>
          <c:smooth val="0"/>
          <c:extLst>
            <c:ext xmlns:c16="http://schemas.microsoft.com/office/drawing/2014/chart" uri="{C3380CC4-5D6E-409C-BE32-E72D297353CC}">
              <c16:uniqueId val="{00000005-096C-4121-9522-6AB7243CCAAE}"/>
            </c:ext>
          </c:extLst>
        </c:ser>
        <c:ser>
          <c:idx val="3"/>
          <c:order val="3"/>
          <c:tx>
            <c:strRef>
              <c:f>Sheet1!$B$1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879292891829592</c:v>
                </c:pt>
                <c:pt idx="1">
                  <c:v>-1.879292891829592</c:v>
                </c:pt>
              </c:numCache>
            </c:numRef>
          </c:xVal>
          <c:yVal>
            <c:numRef>
              <c:f>Sheet1!$B$114:$B$115</c:f>
              <c:numCache>
                <c:formatCode>General</c:formatCode>
                <c:ptCount val="2"/>
                <c:pt idx="0">
                  <c:v>0.3258598005320369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8:$A$119</c:f>
              <c:numCache>
                <c:formatCode>General</c:formatCode>
                <c:ptCount val="2"/>
                <c:pt idx="0">
                  <c:v>0</c:v>
                </c:pt>
                <c:pt idx="1">
                  <c:v>-0.26539317156056075</c:v>
                </c:pt>
              </c:numCache>
            </c:numRef>
          </c:xVal>
          <c:yVal>
            <c:numRef>
              <c:f>Sheet1!$B$118:$B$119</c:f>
              <c:numCache>
                <c:formatCode>General</c:formatCode>
                <c:ptCount val="2"/>
                <c:pt idx="0">
                  <c:v>0.22611345843741923</c:v>
                </c:pt>
                <c:pt idx="1">
                  <c:v>0.22611345843741923</c:v>
                </c:pt>
              </c:numCache>
            </c:numRef>
          </c:yVal>
          <c:smooth val="0"/>
          <c:extLst>
            <c:ext xmlns:c16="http://schemas.microsoft.com/office/drawing/2014/chart" uri="{C3380CC4-5D6E-409C-BE32-E72D297353CC}">
              <c16:uniqueId val="{0000000D-096C-4121-9522-6AB7243CCAAE}"/>
            </c:ext>
          </c:extLst>
        </c:ser>
        <c:ser>
          <c:idx val="5"/>
          <c:order val="5"/>
          <c:tx>
            <c:strRef>
              <c:f>Sheet1!$B$1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26539317156056075</c:v>
                </c:pt>
                <c:pt idx="1">
                  <c:v>-0.26539317156056075</c:v>
                </c:pt>
              </c:numCache>
            </c:numRef>
          </c:xVal>
          <c:yVal>
            <c:numRef>
              <c:f>Sheet1!$B$122:$B$123</c:f>
              <c:numCache>
                <c:formatCode>General</c:formatCode>
                <c:ptCount val="2"/>
                <c:pt idx="0">
                  <c:v>0.2261134584374192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6:$A$127</c:f>
              <c:numCache>
                <c:formatCode>General</c:formatCode>
                <c:ptCount val="2"/>
                <c:pt idx="0">
                  <c:v>0</c:v>
                </c:pt>
                <c:pt idx="1">
                  <c:v>2.52068052030699</c:v>
                </c:pt>
              </c:numCache>
            </c:numRef>
          </c:xVal>
          <c:yVal>
            <c:numRef>
              <c:f>Sheet1!$B$126:$B$127</c:f>
              <c:numCache>
                <c:formatCode>General</c:formatCode>
                <c:ptCount val="2"/>
                <c:pt idx="0">
                  <c:v>0.05392143431121747</c:v>
                </c:pt>
                <c:pt idx="1">
                  <c:v>0.05392143431121747</c:v>
                </c:pt>
              </c:numCache>
            </c:numRef>
          </c:yVal>
          <c:smooth val="0"/>
          <c:extLst>
            <c:ext xmlns:c16="http://schemas.microsoft.com/office/drawing/2014/chart" uri="{C3380CC4-5D6E-409C-BE32-E72D297353CC}">
              <c16:uniqueId val="{00000015-096C-4121-9522-6AB7243CCAAE}"/>
            </c:ext>
          </c:extLst>
        </c:ser>
        <c:ser>
          <c:idx val="7"/>
          <c:order val="7"/>
          <c:tx>
            <c:strRef>
              <c:f>Sheet1!$B$1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0:$A$131</c:f>
              <c:numCache>
                <c:formatCode>General</c:formatCode>
                <c:ptCount val="2"/>
                <c:pt idx="0">
                  <c:v>2.52068052030699</c:v>
                </c:pt>
                <c:pt idx="1">
                  <c:v>2.52068052030699</c:v>
                </c:pt>
              </c:numCache>
            </c:numRef>
          </c:xVal>
          <c:yVal>
            <c:numRef>
              <c:f>Sheet1!$B$130:$B$131</c:f>
              <c:numCache>
                <c:formatCode>General</c:formatCode>
                <c:ptCount val="2"/>
                <c:pt idx="0">
                  <c:v>0.053921434311217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4:$A$161</c:f>
              <c:numCache>
                <c:formatCode>General</c:formatCode>
                <c:ptCount val="28"/>
                <c:pt idx="0">
                  <c:v>0.47322097270332947</c:v>
                </c:pt>
                <c:pt idx="1">
                  <c:v>0.8080974232407288</c:v>
                </c:pt>
                <c:pt idx="2">
                  <c:v>1.2319707325385878</c:v>
                </c:pt>
                <c:pt idx="3">
                  <c:v>3.527026991590204</c:v>
                </c:pt>
                <c:pt idx="4">
                  <c:v>0.6897504786242097</c:v>
                </c:pt>
                <c:pt idx="5">
                  <c:v>0.24258765151515152</c:v>
                </c:pt>
                <c:pt idx="6">
                  <c:v>3.4515444015444015</c:v>
                </c:pt>
                <c:pt idx="7">
                  <c:v>0.30336299611479156</c:v>
                </c:pt>
                <c:pt idx="8">
                  <c:v>0.6824593981772719</c:v>
                </c:pt>
                <c:pt idx="9">
                  <c:v>0.689866034658576</c:v>
                </c:pt>
                <c:pt idx="10">
                  <c:v>0.7284695905938384</c:v>
                </c:pt>
                <c:pt idx="11">
                  <c:v>1.0726376344602746</c:v>
                </c:pt>
                <c:pt idx="12">
                  <c:v>0.3862119634028405</c:v>
                </c:pt>
                <c:pt idx="13">
                  <c:v>0.5606816121582886</c:v>
                </c:pt>
                <c:pt idx="14">
                  <c:v>0.9151355261650005</c:v>
                </c:pt>
                <c:pt idx="15">
                  <c:v>1.0175032596674898</c:v>
                </c:pt>
                <c:pt idx="16">
                  <c:v>1.0125103248440206</c:v>
                </c:pt>
                <c:pt idx="17">
                  <c:v>1.5818695277471153</c:v>
                </c:pt>
                <c:pt idx="18">
                  <c:v>0.7481354709768558</c:v>
                </c:pt>
                <c:pt idx="19">
                  <c:v>1.1325863184514415</c:v>
                </c:pt>
                <c:pt idx="20">
                  <c:v>1.699157103448276</c:v>
                </c:pt>
                <c:pt idx="21">
                  <c:v>1.0344315867059768</c:v>
                </c:pt>
                <c:pt idx="22">
                  <c:v>2.9285555560626566</c:v>
                </c:pt>
                <c:pt idx="23">
                  <c:v>0.22494478811791102</c:v>
                </c:pt>
                <c:pt idx="24">
                  <c:v>0.8291888095479683</c:v>
                </c:pt>
                <c:pt idx="25">
                  <c:v>-0.26539317156056075</c:v>
                </c:pt>
                <c:pt idx="26">
                  <c:v>-1.879292891829592</c:v>
                </c:pt>
                <c:pt idx="27">
                  <c:v>2.52068052030699</c:v>
                </c:pt>
              </c:numCache>
            </c:numRef>
          </c:xVal>
          <c:yVal>
            <c:numRef>
              <c:f>Sheet1!$B$134:$B$161</c:f>
              <c:numCache>
                <c:formatCode>General</c:formatCode>
                <c:ptCount val="28"/>
                <c:pt idx="0">
                  <c:v>0.18046374539490867</c:v>
                </c:pt>
                <c:pt idx="1">
                  <c:v>0.15976685786513908</c:v>
                </c:pt>
                <c:pt idx="2">
                  <c:v>0.1335695597412172</c:v>
                </c:pt>
                <c:pt idx="3">
                  <c:v>-0.0082753540825459</c:v>
                </c:pt>
                <c:pt idx="4">
                  <c:v>0.16708123723785767</c:v>
                </c:pt>
                <c:pt idx="5">
                  <c:v>0.19471793347409058</c:v>
                </c:pt>
                <c:pt idx="6">
                  <c:v>-0.0036101867525451803</c:v>
                </c:pt>
                <c:pt idx="7">
                  <c:v>0.190961740795438</c:v>
                </c:pt>
                <c:pt idx="8">
                  <c:v>0.16753185916644836</c:v>
                </c:pt>
                <c:pt idx="9">
                  <c:v>0.16707409534943035</c:v>
                </c:pt>
                <c:pt idx="10">
                  <c:v>0.16468822003882214</c:v>
                </c:pt>
                <c:pt idx="11">
                  <c:v>0.14341706978680133</c:v>
                </c:pt>
                <c:pt idx="12">
                  <c:v>0.18584129785247624</c:v>
                </c:pt>
                <c:pt idx="13">
                  <c:v>0.1750582801399583</c:v>
                </c:pt>
                <c:pt idx="14">
                  <c:v>0.15315141633717133</c:v>
                </c:pt>
                <c:pt idx="15">
                  <c:v>0.1468246248784753</c:v>
                </c:pt>
                <c:pt idx="16">
                  <c:v>0.14713321095647208</c:v>
                </c:pt>
                <c:pt idx="17">
                  <c:v>0.11194422299504904</c:v>
                </c:pt>
                <c:pt idx="18">
                  <c:v>0.1634727791984524</c:v>
                </c:pt>
                <c:pt idx="19">
                  <c:v>0.13971196849308012</c:v>
                </c:pt>
                <c:pt idx="20">
                  <c:v>0.10469531743889332</c:v>
                </c:pt>
                <c:pt idx="21">
                  <c:v>0.14577837728411486</c:v>
                </c:pt>
                <c:pt idx="22">
                  <c:v>0.028712902246067068</c:v>
                </c:pt>
                <c:pt idx="23">
                  <c:v>0.1958083426648527</c:v>
                </c:pt>
                <c:pt idx="24">
                  <c:v>0.1584633142760114</c:v>
                </c:pt>
                <c:pt idx="25">
                  <c:v>0.22611345843741923</c:v>
                </c:pt>
                <c:pt idx="26">
                  <c:v>0.32585980053203695</c:v>
                </c:pt>
                <c:pt idx="27">
                  <c:v>0.0539214343112174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801980198019801"/>
          <c:min val="0.000865800865800865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0</c:f>
              <c:numCache>
                <c:formatCode>General</c:formatCode>
                <c:ptCount val="79"/>
                <c:pt idx="0">
                  <c:v>889.3714</c:v>
                </c:pt>
                <c:pt idx="1">
                  <c:v>1031.2512</c:v>
                </c:pt>
                <c:pt idx="2">
                  <c:v>1029.7347</c:v>
                </c:pt>
                <c:pt idx="3">
                  <c:v>887.9286</c:v>
                </c:pt>
                <c:pt idx="4">
                  <c:v>1437.8889</c:v>
                </c:pt>
                <c:pt idx="5">
                  <c:v>1368.9667</c:v>
                </c:pt>
                <c:pt idx="6">
                  <c:v>1350.4</c:v>
                </c:pt>
                <c:pt idx="7">
                  <c:v>1613.6452</c:v>
                </c:pt>
                <c:pt idx="8">
                  <c:v>1931.6701</c:v>
                </c:pt>
                <c:pt idx="9">
                  <c:v>1323.9199</c:v>
                </c:pt>
                <c:pt idx="10">
                  <c:v>1635.0476</c:v>
                </c:pt>
                <c:pt idx="11">
                  <c:v>1071.4751</c:v>
                </c:pt>
                <c:pt idx="12">
                  <c:v>832.875</c:v>
                </c:pt>
                <c:pt idx="13">
                  <c:v>1091.9375</c:v>
                </c:pt>
                <c:pt idx="14">
                  <c:v>994.06</c:v>
                </c:pt>
                <c:pt idx="15">
                  <c:v>1396.1974</c:v>
                </c:pt>
                <c:pt idx="16">
                  <c:v>695.9138</c:v>
                </c:pt>
                <c:pt idx="17">
                  <c:v>1327.3125</c:v>
                </c:pt>
                <c:pt idx="18">
                  <c:v>850.4125</c:v>
                </c:pt>
                <c:pt idx="19">
                  <c:v>1204.9423</c:v>
                </c:pt>
                <c:pt idx="20">
                  <c:v>1184.7143</c:v>
                </c:pt>
                <c:pt idx="21">
                  <c:v>1767.8276</c:v>
                </c:pt>
                <c:pt idx="22">
                  <c:v>1331.2083</c:v>
                </c:pt>
                <c:pt idx="23">
                  <c:v>1173.697</c:v>
                </c:pt>
                <c:pt idx="24">
                  <c:v>1768.9538</c:v>
                </c:pt>
                <c:pt idx="25">
                  <c:v>821.5581</c:v>
                </c:pt>
                <c:pt idx="26">
                  <c:v>1782.5855</c:v>
                </c:pt>
                <c:pt idx="27">
                  <c:v>1305.7908</c:v>
                </c:pt>
                <c:pt idx="28">
                  <c:v>1126.4373</c:v>
                </c:pt>
                <c:pt idx="29">
                  <c:v>1028.9752</c:v>
                </c:pt>
                <c:pt idx="30">
                  <c:v>708.1779</c:v>
                </c:pt>
                <c:pt idx="31">
                  <c:v>634.3583</c:v>
                </c:pt>
                <c:pt idx="32">
                  <c:v>940.119</c:v>
                </c:pt>
                <c:pt idx="33">
                  <c:v>558.3315</c:v>
                </c:pt>
                <c:pt idx="34">
                  <c:v>1007.3968</c:v>
                </c:pt>
                <c:pt idx="35">
                  <c:v>492.7965</c:v>
                </c:pt>
                <c:pt idx="36">
                  <c:v>1871.432</c:v>
                </c:pt>
                <c:pt idx="37">
                  <c:v>791.4635</c:v>
                </c:pt>
                <c:pt idx="38">
                  <c:v>1201.3023</c:v>
                </c:pt>
                <c:pt idx="39">
                  <c:v>504.3491</c:v>
                </c:pt>
                <c:pt idx="40">
                  <c:v>986.6763</c:v>
                </c:pt>
                <c:pt idx="41">
                  <c:v>1145.3012</c:v>
                </c:pt>
                <c:pt idx="42">
                  <c:v>786.7193</c:v>
                </c:pt>
                <c:pt idx="43">
                  <c:v>514.5122</c:v>
                </c:pt>
                <c:pt idx="44">
                  <c:v>531.871</c:v>
                </c:pt>
                <c:pt idx="45">
                  <c:v>1616.7265</c:v>
                </c:pt>
                <c:pt idx="46">
                  <c:v>613.6877</c:v>
                </c:pt>
                <c:pt idx="47">
                  <c:v>1147.415</c:v>
                </c:pt>
                <c:pt idx="48">
                  <c:v>545.0351</c:v>
                </c:pt>
                <c:pt idx="49">
                  <c:v>960.1974</c:v>
                </c:pt>
                <c:pt idx="50">
                  <c:v>565.5</c:v>
                </c:pt>
                <c:pt idx="51">
                  <c:v>518.6111</c:v>
                </c:pt>
                <c:pt idx="52">
                  <c:v>497.134</c:v>
                </c:pt>
                <c:pt idx="53">
                  <c:v>472.6111</c:v>
                </c:pt>
                <c:pt idx="54">
                  <c:v>1929.1739</c:v>
                </c:pt>
                <c:pt idx="55">
                  <c:v>1167.8283</c:v>
                </c:pt>
                <c:pt idx="56">
                  <c:v>1918.1947</c:v>
                </c:pt>
                <c:pt idx="57">
                  <c:v>787.7959</c:v>
                </c:pt>
                <c:pt idx="58">
                  <c:v>850.2688</c:v>
                </c:pt>
                <c:pt idx="59">
                  <c:v>1630.1809</c:v>
                </c:pt>
                <c:pt idx="60">
                  <c:v>823.5212</c:v>
                </c:pt>
                <c:pt idx="61">
                  <c:v>916.5197</c:v>
                </c:pt>
                <c:pt idx="62">
                  <c:v>500.1158</c:v>
                </c:pt>
                <c:pt idx="63">
                  <c:v>1219.3356</c:v>
                </c:pt>
                <c:pt idx="64">
                  <c:v>1167.7466</c:v>
                </c:pt>
                <c:pt idx="65">
                  <c:v>1162.7664</c:v>
                </c:pt>
                <c:pt idx="66">
                  <c:v>1095.5</c:v>
                </c:pt>
                <c:pt idx="67">
                  <c:v>1166.1901</c:v>
                </c:pt>
                <c:pt idx="68">
                  <c:v>1692.3333</c:v>
                </c:pt>
                <c:pt idx="69">
                  <c:v>1121.1293</c:v>
                </c:pt>
                <c:pt idx="70">
                  <c:v>738.4545</c:v>
                </c:pt>
                <c:pt idx="71">
                  <c:v>1061.0833</c:v>
                </c:pt>
                <c:pt idx="72">
                  <c:v>2225.5556</c:v>
                </c:pt>
                <c:pt idx="73">
                  <c:v>923.6452</c:v>
                </c:pt>
                <c:pt idx="74">
                  <c:v>1018.5103</c:v>
                </c:pt>
                <c:pt idx="75">
                  <c:v>504.7778</c:v>
                </c:pt>
                <c:pt idx="76">
                  <c:v>3820.3333</c:v>
                </c:pt>
                <c:pt idx="77">
                  <c:v>1922.1304</c:v>
                </c:pt>
                <c:pt idx="78">
                  <c:v>1730.0</c:v>
                </c:pt>
              </c:numCache>
            </c:numRef>
          </c:xVal>
          <c:yVal>
            <c:numRef>
              <c:f>Sheet1!$B$2:$B$80</c:f>
              <c:numCache>
                <c:formatCode>General</c:formatCode>
                <c:ptCount val="79"/>
                <c:pt idx="0">
                  <c:v>0.2413793103448276</c:v>
                </c:pt>
                <c:pt idx="1">
                  <c:v>0.1430472388556221</c:v>
                </c:pt>
                <c:pt idx="2">
                  <c:v>0.16554054054054054</c:v>
                </c:pt>
                <c:pt idx="3">
                  <c:v>0.13806706114398423</c:v>
                </c:pt>
                <c:pt idx="4">
                  <c:v>0.020361990950226245</c:v>
                </c:pt>
                <c:pt idx="5">
                  <c:v>0.21818181818181817</c:v>
                </c:pt>
                <c:pt idx="6">
                  <c:v>0.20408163265306123</c:v>
                </c:pt>
                <c:pt idx="7">
                  <c:v>0.17342657342657342</c:v>
                </c:pt>
                <c:pt idx="8">
                  <c:v>0.6501650165016502</c:v>
                </c:pt>
                <c:pt idx="9">
                  <c:v>0.649325626204239</c:v>
                </c:pt>
                <c:pt idx="10">
                  <c:v>0.08879492600422834</c:v>
                </c:pt>
                <c:pt idx="11">
                  <c:v>0.2970430107526882</c:v>
                </c:pt>
                <c:pt idx="12">
                  <c:v>0.11469534050179211</c:v>
                </c:pt>
                <c:pt idx="13">
                  <c:v>0.2711864406779661</c:v>
                </c:pt>
                <c:pt idx="14">
                  <c:v>0.2066115702479339</c:v>
                </c:pt>
                <c:pt idx="15">
                  <c:v>0.2389937106918239</c:v>
                </c:pt>
                <c:pt idx="16">
                  <c:v>0.17901234567901234</c:v>
                </c:pt>
                <c:pt idx="17">
                  <c:v>0.16</c:v>
                </c:pt>
                <c:pt idx="18">
                  <c:v>0.29156999226604796</c:v>
                </c:pt>
                <c:pt idx="19">
                  <c:v>0.5154894671623296</c:v>
                </c:pt>
                <c:pt idx="20">
                  <c:v>0.010494752623688156</c:v>
                </c:pt>
                <c:pt idx="21">
                  <c:v>0.06712962962962964</c:v>
                </c:pt>
                <c:pt idx="22">
                  <c:v>0.16901408450704225</c:v>
                </c:pt>
                <c:pt idx="23">
                  <c:v>0.1746031746031746</c:v>
                </c:pt>
                <c:pt idx="24">
                  <c:v>0.34189723320158105</c:v>
                </c:pt>
                <c:pt idx="25">
                  <c:v>0.08902691511387163</c:v>
                </c:pt>
                <c:pt idx="26">
                  <c:v>0.31179321486268174</c:v>
                </c:pt>
                <c:pt idx="27">
                  <c:v>0.3148148148148148</c:v>
                </c:pt>
                <c:pt idx="28">
                  <c:v>0.15097588978185994</c:v>
                </c:pt>
                <c:pt idx="29">
                  <c:v>0.38224852071005916</c:v>
                </c:pt>
                <c:pt idx="30">
                  <c:v>0.25951387183893937</c:v>
                </c:pt>
                <c:pt idx="31">
                  <c:v>0.24287974683544303</c:v>
                </c:pt>
                <c:pt idx="32">
                  <c:v>0.24372559955382042</c:v>
                </c:pt>
                <c:pt idx="33">
                  <c:v>0.35880077369439073</c:v>
                </c:pt>
                <c:pt idx="34">
                  <c:v>0.10413223140495868</c:v>
                </c:pt>
                <c:pt idx="35">
                  <c:v>0.089540412044374</c:v>
                </c:pt>
                <c:pt idx="36">
                  <c:v>0.1151012891344383</c:v>
                </c:pt>
                <c:pt idx="37">
                  <c:v>0.423956931359354</c:v>
                </c:pt>
                <c:pt idx="38">
                  <c:v>0.24022346368715083</c:v>
                </c:pt>
                <c:pt idx="39">
                  <c:v>0.343042071197411</c:v>
                </c:pt>
                <c:pt idx="40">
                  <c:v>0.2799597180261833</c:v>
                </c:pt>
                <c:pt idx="41">
                  <c:v>0.2147477360931436</c:v>
                </c:pt>
                <c:pt idx="42">
                  <c:v>0.2780487804878049</c:v>
                </c:pt>
                <c:pt idx="43">
                  <c:v>0.4039408866995074</c:v>
                </c:pt>
                <c:pt idx="44">
                  <c:v>0.2831050228310502</c:v>
                </c:pt>
                <c:pt idx="45">
                  <c:v>0.2695852534562212</c:v>
                </c:pt>
                <c:pt idx="46">
                  <c:v>0.3589420654911839</c:v>
                </c:pt>
                <c:pt idx="47">
                  <c:v>0.4157608695652174</c:v>
                </c:pt>
                <c:pt idx="48">
                  <c:v>0.2259663032705649</c:v>
                </c:pt>
                <c:pt idx="49">
                  <c:v>0.37530864197530867</c:v>
                </c:pt>
                <c:pt idx="50">
                  <c:v>0.022304832713754646</c:v>
                </c:pt>
                <c:pt idx="51">
                  <c:v>0.030560271646859084</c:v>
                </c:pt>
                <c:pt idx="52">
                  <c:v>0.13434903047091412</c:v>
                </c:pt>
                <c:pt idx="53">
                  <c:v>0.04699738903394256</c:v>
                </c:pt>
                <c:pt idx="54">
                  <c:v>0.16522988505747127</c:v>
                </c:pt>
                <c:pt idx="55">
                  <c:v>0.2858517805582291</c:v>
                </c:pt>
                <c:pt idx="56">
                  <c:v>0.24726477024070023</c:v>
                </c:pt>
                <c:pt idx="57">
                  <c:v>0.32666666666666666</c:v>
                </c:pt>
                <c:pt idx="58">
                  <c:v>0.2152777777777778</c:v>
                </c:pt>
                <c:pt idx="59">
                  <c:v>0.10755148741418764</c:v>
                </c:pt>
                <c:pt idx="60">
                  <c:v>0.30025445292620867</c:v>
                </c:pt>
                <c:pt idx="61">
                  <c:v>0.5105708245243129</c:v>
                </c:pt>
                <c:pt idx="62">
                  <c:v>0.14053254437869822</c:v>
                </c:pt>
                <c:pt idx="63">
                  <c:v>0.2050561797752809</c:v>
                </c:pt>
                <c:pt idx="64">
                  <c:v>0.24172185430463577</c:v>
                </c:pt>
                <c:pt idx="65">
                  <c:v>0.42153846153846153</c:v>
                </c:pt>
                <c:pt idx="66">
                  <c:v>0.05714285714285714</c:v>
                </c:pt>
                <c:pt idx="67">
                  <c:v>0.3397129186602871</c:v>
                </c:pt>
                <c:pt idx="68">
                  <c:v>0.00906344410876133</c:v>
                </c:pt>
                <c:pt idx="69">
                  <c:v>0.1324200913242009</c:v>
                </c:pt>
                <c:pt idx="70">
                  <c:v>0.028534370946822308</c:v>
                </c:pt>
                <c:pt idx="71">
                  <c:v>0.02027027027027027</c:v>
                </c:pt>
                <c:pt idx="72">
                  <c:v>0.011378002528445006</c:v>
                </c:pt>
                <c:pt idx="73">
                  <c:v>0.10739030023094688</c:v>
                </c:pt>
                <c:pt idx="74">
                  <c:v>0.11001517450682853</c:v>
                </c:pt>
                <c:pt idx="75">
                  <c:v>0.03986710963455149</c:v>
                </c:pt>
                <c:pt idx="76">
                  <c:v>0.003194888178913738</c:v>
                </c:pt>
                <c:pt idx="77">
                  <c:v>0.04801670146137787</c:v>
                </c:pt>
                <c:pt idx="78">
                  <c:v>0.005063291139240506</c:v>
                </c:pt>
              </c:numCache>
            </c:numRef>
          </c:yVal>
          <c:smooth val="0"/>
          <c:extLst>
            <c:ext xmlns:c16="http://schemas.microsoft.com/office/drawing/2014/chart" uri="{C3380CC4-5D6E-409C-BE32-E72D297353CC}">
              <c16:uniqueId val="{00000000-F32D-48B7-BC20-E66FC6253BAD}"/>
            </c:ext>
          </c:extLst>
        </c:ser>
        <c:ser>
          <c:idx val="1"/>
          <c:order val="1"/>
          <c:tx>
            <c:strRef>
              <c:f>Sheet1!$B$8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3:$A$107</c:f>
              <c:numCache>
                <c:formatCode>General</c:formatCode>
                <c:ptCount val="25"/>
                <c:pt idx="0">
                  <c:v>1165.7669</c:v>
                </c:pt>
                <c:pt idx="1">
                  <c:v>1143.5882</c:v>
                </c:pt>
                <c:pt idx="2">
                  <c:v>2284.5</c:v>
                </c:pt>
                <c:pt idx="3">
                  <c:v>5111.0</c:v>
                </c:pt>
                <c:pt idx="4">
                  <c:v>1100.5042</c:v>
                </c:pt>
                <c:pt idx="5">
                  <c:v>960.6471</c:v>
                </c:pt>
                <c:pt idx="6">
                  <c:v>4469.75</c:v>
                </c:pt>
                <c:pt idx="7">
                  <c:v>1082.3739</c:v>
                </c:pt>
                <c:pt idx="8">
                  <c:v>1037.4556</c:v>
                </c:pt>
                <c:pt idx="9">
                  <c:v>1203.175</c:v>
                </c:pt>
                <c:pt idx="10">
                  <c:v>1018.5574</c:v>
                </c:pt>
                <c:pt idx="11">
                  <c:v>1017.831</c:v>
                </c:pt>
                <c:pt idx="12">
                  <c:v>643.1667</c:v>
                </c:pt>
                <c:pt idx="13">
                  <c:v>708.5652</c:v>
                </c:pt>
                <c:pt idx="14">
                  <c:v>1224.1778</c:v>
                </c:pt>
                <c:pt idx="15">
                  <c:v>1495.7419</c:v>
                </c:pt>
                <c:pt idx="16">
                  <c:v>1634.1379</c:v>
                </c:pt>
                <c:pt idx="17">
                  <c:v>2379.0</c:v>
                </c:pt>
                <c:pt idx="18">
                  <c:v>1219.2372</c:v>
                </c:pt>
                <c:pt idx="19">
                  <c:v>1608.8571</c:v>
                </c:pt>
                <c:pt idx="20">
                  <c:v>3695.6667</c:v>
                </c:pt>
                <c:pt idx="21">
                  <c:v>1543.7857</c:v>
                </c:pt>
                <c:pt idx="22">
                  <c:v>3721.7273</c:v>
                </c:pt>
                <c:pt idx="23">
                  <c:v>694.1333</c:v>
                </c:pt>
                <c:pt idx="24">
                  <c:v>1046.025</c:v>
                </c:pt>
              </c:numCache>
            </c:numRef>
          </c:xVal>
          <c:yVal>
            <c:numRef>
              <c:f>Sheet1!$B$83:$B$107</c:f>
              <c:numCache>
                <c:formatCode>General</c:formatCode>
                <c:ptCount val="25"/>
                <c:pt idx="0">
                  <c:v>0.1543560606060606</c:v>
                </c:pt>
                <c:pt idx="1">
                  <c:v>0.02135678391959799</c:v>
                </c:pt>
                <c:pt idx="2">
                  <c:v>0.012688342585249802</c:v>
                </c:pt>
                <c:pt idx="3">
                  <c:v>0.0010822510822510823</c:v>
                </c:pt>
                <c:pt idx="4">
                  <c:v>0.25813449023861174</c:v>
                </c:pt>
                <c:pt idx="5">
                  <c:v>0.18888888888888888</c:v>
                </c:pt>
                <c:pt idx="6">
                  <c:v>0.02531645569620253</c:v>
                </c:pt>
                <c:pt idx="7">
                  <c:v>0.28117359413202936</c:v>
                </c:pt>
                <c:pt idx="8">
                  <c:v>0.582312925170068</c:v>
                </c:pt>
                <c:pt idx="9">
                  <c:v>0.121765601217656</c:v>
                </c:pt>
                <c:pt idx="10">
                  <c:v>0.2982885085574572</c:v>
                </c:pt>
                <c:pt idx="11">
                  <c:v>0.544766708701135</c:v>
                </c:pt>
                <c:pt idx="12">
                  <c:v>0.00949367088607595</c:v>
                </c:pt>
                <c:pt idx="13">
                  <c:v>0.04572564612326044</c:v>
                </c:pt>
                <c:pt idx="14">
                  <c:v>0.10948905109489052</c:v>
                </c:pt>
                <c:pt idx="15">
                  <c:v>0.04200542005420054</c:v>
                </c:pt>
                <c:pt idx="16">
                  <c:v>0.2049469964664311</c:v>
                </c:pt>
                <c:pt idx="17">
                  <c:v>0.006430868167202572</c:v>
                </c:pt>
                <c:pt idx="18">
                  <c:v>0.2948960302457467</c:v>
                </c:pt>
                <c:pt idx="19">
                  <c:v>0.0412573673870334</c:v>
                </c:pt>
                <c:pt idx="20">
                  <c:v>0.004746835443037975</c:v>
                </c:pt>
                <c:pt idx="21">
                  <c:v>0.025547445255474453</c:v>
                </c:pt>
                <c:pt idx="22">
                  <c:v>0.03206997084548105</c:v>
                </c:pt>
                <c:pt idx="23">
                  <c:v>0.05190311418685121</c:v>
                </c:pt>
                <c:pt idx="24">
                  <c:v>0.1553398058252427</c:v>
                </c:pt>
              </c:numCache>
            </c:numRef>
          </c:yVal>
          <c:smooth val="0"/>
          <c:extLst>
            <c:ext xmlns:c16="http://schemas.microsoft.com/office/drawing/2014/chart" uri="{C3380CC4-5D6E-409C-BE32-E72D297353CC}">
              <c16:uniqueId val="{00000002-F32D-48B7-BC20-E66FC6253BAD}"/>
            </c:ext>
          </c:extLst>
        </c:ser>
        <c:ser>
          <c:idx val="2"/>
          <c:order val="2"/>
          <c:tx>
            <c:strRef>
              <c:f>Sheet1!$B$109</c:f>
              <c:strCache>
                <c:ptCount val="1"/>
                <c:pt idx="0">
                  <c:v>Custom Linep3yQ</c:v>
                </c:pt>
              </c:strCache>
            </c:strRef>
          </c:tx>
          <c:spPr>
            <a:ln w="19050" cap="rnd">
              <a:solidFill>
                <a:srgbClr val="C00000"/>
              </a:solidFill>
              <a:prstDash val="sysDot"/>
              <a:round/>
            </a:ln>
            <a:effectLst/>
          </c:spPr>
          <c:marker>
            <c:symbol val="none"/>
          </c:marker>
          <c:xVal>
            <c:numRef>
              <c:f>Sheet1!$A$110:$A$111</c:f>
              <c:numCache>
                <c:formatCode>General</c:formatCode>
                <c:ptCount val="2"/>
                <c:pt idx="0">
                  <c:v>0</c:v>
                </c:pt>
                <c:pt idx="1">
                  <c:v>-1656.263620388509</c:v>
                </c:pt>
              </c:numCache>
            </c:numRef>
          </c:xVal>
          <c:yVal>
            <c:numRef>
              <c:f>Sheet1!$B$110:$B$111</c:f>
              <c:numCache>
                <c:formatCode>General</c:formatCode>
                <c:ptCount val="2"/>
                <c:pt idx="0">
                  <c:v>0.32585980053203695</c:v>
                </c:pt>
                <c:pt idx="1">
                  <c:v>0.32585980053203695</c:v>
                </c:pt>
              </c:numCache>
            </c:numRef>
          </c:yVal>
          <c:smooth val="0"/>
          <c:extLst>
            <c:ext xmlns:c16="http://schemas.microsoft.com/office/drawing/2014/chart" uri="{C3380CC4-5D6E-409C-BE32-E72D297353CC}">
              <c16:uniqueId val="{00000003-F32D-48B7-BC20-E66FC6253BAD}"/>
            </c:ext>
          </c:extLst>
        </c:ser>
        <c:ser>
          <c:idx val="3"/>
          <c:order val="3"/>
          <c:tx>
            <c:strRef>
              <c:f>Sheet1!$B$1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1656.263620388509</c:v>
                </c:pt>
                <c:pt idx="1">
                  <c:v>-1656.263620388509</c:v>
                </c:pt>
              </c:numCache>
            </c:numRef>
          </c:xVal>
          <c:yVal>
            <c:numRef>
              <c:f>Sheet1!$B$114:$B$115</c:f>
              <c:numCache>
                <c:formatCode>General</c:formatCode>
                <c:ptCount val="2"/>
                <c:pt idx="0">
                  <c:v>0.3258598005320369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8:$A$119</c:f>
              <c:numCache>
                <c:formatCode>General</c:formatCode>
                <c:ptCount val="2"/>
                <c:pt idx="0">
                  <c:v>0</c:v>
                </c:pt>
                <c:pt idx="1">
                  <c:v>165.6706400048035</c:v>
                </c:pt>
              </c:numCache>
            </c:numRef>
          </c:xVal>
          <c:yVal>
            <c:numRef>
              <c:f>Sheet1!$B$118:$B$119</c:f>
              <c:numCache>
                <c:formatCode>General</c:formatCode>
                <c:ptCount val="2"/>
                <c:pt idx="0">
                  <c:v>0.22611345843741923</c:v>
                </c:pt>
                <c:pt idx="1">
                  <c:v>0.22611345843741923</c:v>
                </c:pt>
              </c:numCache>
            </c:numRef>
          </c:yVal>
          <c:smooth val="0"/>
          <c:extLst>
            <c:ext xmlns:c16="http://schemas.microsoft.com/office/drawing/2014/chart" uri="{C3380CC4-5D6E-409C-BE32-E72D297353CC}">
              <c16:uniqueId val="{0000000A-F32D-48B7-BC20-E66FC6253BAD}"/>
            </c:ext>
          </c:extLst>
        </c:ser>
        <c:ser>
          <c:idx val="5"/>
          <c:order val="5"/>
          <c:tx>
            <c:strRef>
              <c:f>Sheet1!$B$1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65.6706400048035</c:v>
                </c:pt>
                <c:pt idx="1">
                  <c:v>165.6706400048035</c:v>
                </c:pt>
              </c:numCache>
            </c:numRef>
          </c:xVal>
          <c:yVal>
            <c:numRef>
              <c:f>Sheet1!$B$122:$B$123</c:f>
              <c:numCache>
                <c:formatCode>General</c:formatCode>
                <c:ptCount val="2"/>
                <c:pt idx="0">
                  <c:v>0.2261134584374192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6:$A$127</c:f>
              <c:numCache>
                <c:formatCode>General</c:formatCode>
                <c:ptCount val="2"/>
                <c:pt idx="0">
                  <c:v>0</c:v>
                </c:pt>
                <c:pt idx="1">
                  <c:v>3310.874178640906</c:v>
                </c:pt>
              </c:numCache>
            </c:numRef>
          </c:xVal>
          <c:yVal>
            <c:numRef>
              <c:f>Sheet1!$B$126:$B$127</c:f>
              <c:numCache>
                <c:formatCode>General</c:formatCode>
                <c:ptCount val="2"/>
                <c:pt idx="0">
                  <c:v>0.05392143431121747</c:v>
                </c:pt>
                <c:pt idx="1">
                  <c:v>0.05392143431121747</c:v>
                </c:pt>
              </c:numCache>
            </c:numRef>
          </c:yVal>
          <c:smooth val="0"/>
          <c:extLst>
            <c:ext xmlns:c16="http://schemas.microsoft.com/office/drawing/2014/chart" uri="{C3380CC4-5D6E-409C-BE32-E72D297353CC}">
              <c16:uniqueId val="{00000011-F32D-48B7-BC20-E66FC6253BAD}"/>
            </c:ext>
          </c:extLst>
        </c:ser>
        <c:ser>
          <c:idx val="7"/>
          <c:order val="7"/>
          <c:tx>
            <c:strRef>
              <c:f>Sheet1!$B$1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0:$A$131</c:f>
              <c:numCache>
                <c:formatCode>General</c:formatCode>
                <c:ptCount val="2"/>
                <c:pt idx="0">
                  <c:v>3310.874178640906</c:v>
                </c:pt>
                <c:pt idx="1">
                  <c:v>3310.874178640906</c:v>
                </c:pt>
              </c:numCache>
            </c:numRef>
          </c:xVal>
          <c:yVal>
            <c:numRef>
              <c:f>Sheet1!$B$130:$B$131</c:f>
              <c:numCache>
                <c:formatCode>General</c:formatCode>
                <c:ptCount val="2"/>
                <c:pt idx="0">
                  <c:v>0.053921434311217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4:$A$161</c:f>
              <c:numCache>
                <c:formatCode>General</c:formatCode>
                <c:ptCount val="28"/>
                <c:pt idx="0">
                  <c:v>1165.7669</c:v>
                </c:pt>
                <c:pt idx="1">
                  <c:v>1143.5882</c:v>
                </c:pt>
                <c:pt idx="2">
                  <c:v>2284.5</c:v>
                </c:pt>
                <c:pt idx="3">
                  <c:v>5111.0</c:v>
                </c:pt>
                <c:pt idx="4">
                  <c:v>1100.5042</c:v>
                </c:pt>
                <c:pt idx="5">
                  <c:v>960.6471</c:v>
                </c:pt>
                <c:pt idx="6">
                  <c:v>4469.75</c:v>
                </c:pt>
                <c:pt idx="7">
                  <c:v>1082.3739</c:v>
                </c:pt>
                <c:pt idx="8">
                  <c:v>1037.4556</c:v>
                </c:pt>
                <c:pt idx="9">
                  <c:v>1203.175</c:v>
                </c:pt>
                <c:pt idx="10">
                  <c:v>1018.5574</c:v>
                </c:pt>
                <c:pt idx="11">
                  <c:v>1017.831</c:v>
                </c:pt>
                <c:pt idx="12">
                  <c:v>643.1667</c:v>
                </c:pt>
                <c:pt idx="13">
                  <c:v>708.5652</c:v>
                </c:pt>
                <c:pt idx="14">
                  <c:v>1224.1778</c:v>
                </c:pt>
                <c:pt idx="15">
                  <c:v>1495.7419</c:v>
                </c:pt>
                <c:pt idx="16">
                  <c:v>1634.1379</c:v>
                </c:pt>
                <c:pt idx="17">
                  <c:v>2379.0</c:v>
                </c:pt>
                <c:pt idx="18">
                  <c:v>1219.2372</c:v>
                </c:pt>
                <c:pt idx="19">
                  <c:v>1608.8571</c:v>
                </c:pt>
                <c:pt idx="20">
                  <c:v>3695.6667</c:v>
                </c:pt>
                <c:pt idx="21">
                  <c:v>1543.7857</c:v>
                </c:pt>
                <c:pt idx="22">
                  <c:v>3721.7273</c:v>
                </c:pt>
                <c:pt idx="23">
                  <c:v>694.1333</c:v>
                </c:pt>
                <c:pt idx="24">
                  <c:v>1046.025</c:v>
                </c:pt>
                <c:pt idx="25">
                  <c:v>165.6706400048035</c:v>
                </c:pt>
                <c:pt idx="26">
                  <c:v>-1656.263620388509</c:v>
                </c:pt>
                <c:pt idx="27">
                  <c:v>3310.874178640906</c:v>
                </c:pt>
              </c:numCache>
            </c:numRef>
          </c:xVal>
          <c:yVal>
            <c:numRef>
              <c:f>Sheet1!$B$134:$B$161</c:f>
              <c:numCache>
                <c:formatCode>General</c:formatCode>
                <c:ptCount val="28"/>
                <c:pt idx="0">
                  <c:v>0.1713606905436459</c:v>
                </c:pt>
                <c:pt idx="1">
                  <c:v>0.17257491887531817</c:v>
                </c:pt>
                <c:pt idx="2">
                  <c:v>0.1101128525008602</c:v>
                </c:pt>
                <c:pt idx="3">
                  <c:v>-0.04463095031317457</c:v>
                </c:pt>
                <c:pt idx="4">
                  <c:v>0.17493366007483696</c:v>
                </c:pt>
                <c:pt idx="5">
                  <c:v>0.18259048636337144</c:v>
                </c:pt>
                <c:pt idx="6">
                  <c:v>-0.00952411728487107</c:v>
                </c:pt>
                <c:pt idx="7">
                  <c:v>0.1759262486360113</c:v>
                </c:pt>
                <c:pt idx="8">
                  <c:v>0.17838541317092788</c:v>
                </c:pt>
                <c:pt idx="9">
                  <c:v>0.16931269066745708</c:v>
                </c:pt>
                <c:pt idx="10">
                  <c:v>0.17942004233573952</c:v>
                </c:pt>
                <c:pt idx="11">
                  <c:v>0.179459810918214</c:v>
                </c:pt>
                <c:pt idx="12">
                  <c:v>0.1999717438956272</c:v>
                </c:pt>
                <c:pt idx="13">
                  <c:v>0.19639133965422134</c:v>
                </c:pt>
                <c:pt idx="14">
                  <c:v>0.16816283991856532</c:v>
                </c:pt>
                <c:pt idx="15">
                  <c:v>0.1532953849241302</c:v>
                </c:pt>
                <c:pt idx="16">
                  <c:v>0.14571855020477725</c:v>
                </c:pt>
                <c:pt idx="17">
                  <c:v>0.10493921394932074</c:v>
                </c:pt>
                <c:pt idx="18">
                  <c:v>0.16843332540668948</c:v>
                </c:pt>
                <c:pt idx="19">
                  <c:v>0.14710261074968473</c:v>
                </c:pt>
                <c:pt idx="20">
                  <c:v>0.03285500655621765</c:v>
                </c:pt>
                <c:pt idx="21">
                  <c:v>0.15066510708452754</c:v>
                </c:pt>
                <c:pt idx="22">
                  <c:v>0.03142825391244783</c:v>
                </c:pt>
                <c:pt idx="23">
                  <c:v>0.19718145006916274</c:v>
                </c:pt>
                <c:pt idx="24">
                  <c:v>0.17791625996242455</c:v>
                </c:pt>
                <c:pt idx="25">
                  <c:v>0.22611345843741923</c:v>
                </c:pt>
                <c:pt idx="26">
                  <c:v>0.32585980053203695</c:v>
                </c:pt>
                <c:pt idx="27">
                  <c:v>0.0539214343112174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3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801980198019801"/>
          <c:min val="0.000865800865800865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4</c:f>
              <c:numCache>
                <c:formatCode>General</c:formatCode>
                <c:ptCount val="73"/>
                <c:pt idx="0">
                  <c:v>1.0477574336445095</c:v>
                </c:pt>
                <c:pt idx="1">
                  <c:v>1.099277105556915</c:v>
                </c:pt>
                <c:pt idx="2">
                  <c:v>1.0257824627492733</c:v>
                </c:pt>
                <c:pt idx="3">
                  <c:v>0.9413728801106583</c:v>
                </c:pt>
                <c:pt idx="4">
                  <c:v>1.757017448344437</c:v>
                </c:pt>
                <c:pt idx="5">
                  <c:v>1.1934153081684247</c:v>
                </c:pt>
                <c:pt idx="6">
                  <c:v>0.8287269061315509</c:v>
                </c:pt>
                <c:pt idx="7">
                  <c:v>1.6641808243116656</c:v>
                </c:pt>
                <c:pt idx="8">
                  <c:v>1.0072512785219048</c:v>
                </c:pt>
                <c:pt idx="9">
                  <c:v>1.1458751706019457</c:v>
                </c:pt>
                <c:pt idx="10">
                  <c:v>0.6343757749990707</c:v>
                </c:pt>
                <c:pt idx="11">
                  <c:v>1.6956387624800613</c:v>
                </c:pt>
                <c:pt idx="12">
                  <c:v>1.086869171482843</c:v>
                </c:pt>
                <c:pt idx="13">
                  <c:v>1.4113067084904278</c:v>
                </c:pt>
                <c:pt idx="14">
                  <c:v>1.7870322699471743</c:v>
                </c:pt>
                <c:pt idx="15">
                  <c:v>0.7519120247568524</c:v>
                </c:pt>
                <c:pt idx="16">
                  <c:v>1.3243655023745746</c:v>
                </c:pt>
                <c:pt idx="17">
                  <c:v>1.0170488186983633</c:v>
                </c:pt>
                <c:pt idx="18">
                  <c:v>1.3897595080652039</c:v>
                </c:pt>
                <c:pt idx="19">
                  <c:v>1.3412049094830067</c:v>
                </c:pt>
                <c:pt idx="20">
                  <c:v>1.8396489329861516</c:v>
                </c:pt>
                <c:pt idx="21">
                  <c:v>0.8889467532041748</c:v>
                </c:pt>
                <c:pt idx="22">
                  <c:v>2.052487622337363</c:v>
                </c:pt>
                <c:pt idx="23">
                  <c:v>1.126194605062609</c:v>
                </c:pt>
                <c:pt idx="24">
                  <c:v>1.0753790985576823</c:v>
                </c:pt>
                <c:pt idx="25">
                  <c:v>0.5496604875148586</c:v>
                </c:pt>
                <c:pt idx="26">
                  <c:v>0.5635772271048359</c:v>
                </c:pt>
                <c:pt idx="27">
                  <c:v>0.5273573803663111</c:v>
                </c:pt>
                <c:pt idx="28">
                  <c:v>0.6299124873810251</c:v>
                </c:pt>
                <c:pt idx="29">
                  <c:v>0.9215516806067733</c:v>
                </c:pt>
                <c:pt idx="30">
                  <c:v>0.5660919322366602</c:v>
                </c:pt>
                <c:pt idx="31">
                  <c:v>1.7945992825369603</c:v>
                </c:pt>
                <c:pt idx="32">
                  <c:v>0.762174212073897</c:v>
                </c:pt>
                <c:pt idx="33">
                  <c:v>1.3494981096615366</c:v>
                </c:pt>
                <c:pt idx="34">
                  <c:v>0.3422459490249078</c:v>
                </c:pt>
                <c:pt idx="35">
                  <c:v>1.0600124106187283</c:v>
                </c:pt>
                <c:pt idx="36">
                  <c:v>0.8047714259715412</c:v>
                </c:pt>
                <c:pt idx="37">
                  <c:v>0.6630142363792136</c:v>
                </c:pt>
                <c:pt idx="38">
                  <c:v>0.43041486073084134</c:v>
                </c:pt>
                <c:pt idx="39">
                  <c:v>0.5238646198553645</c:v>
                </c:pt>
                <c:pt idx="40">
                  <c:v>1.5373399557585785</c:v>
                </c:pt>
                <c:pt idx="41">
                  <c:v>0.7090407804249523</c:v>
                </c:pt>
                <c:pt idx="42">
                  <c:v>0.9212741615523129</c:v>
                </c:pt>
                <c:pt idx="43">
                  <c:v>0.4890347085509436</c:v>
                </c:pt>
                <c:pt idx="44">
                  <c:v>1.2625869822485207</c:v>
                </c:pt>
                <c:pt idx="45">
                  <c:v>0.37234567901234567</c:v>
                </c:pt>
                <c:pt idx="46">
                  <c:v>0.3707140854112404</c:v>
                </c:pt>
                <c:pt idx="47">
                  <c:v>0.4174140520458145</c:v>
                </c:pt>
                <c:pt idx="48">
                  <c:v>1.7589589178335703</c:v>
                </c:pt>
                <c:pt idx="49">
                  <c:v>0.47617539547430676</c:v>
                </c:pt>
                <c:pt idx="50">
                  <c:v>2.011069509891927</c:v>
                </c:pt>
                <c:pt idx="51">
                  <c:v>0.9225887990485035</c:v>
                </c:pt>
                <c:pt idx="52">
                  <c:v>0.9976496937186361</c:v>
                </c:pt>
                <c:pt idx="53">
                  <c:v>1.7952069109778597</c:v>
                </c:pt>
                <c:pt idx="54">
                  <c:v>0.405048361332595</c:v>
                </c:pt>
                <c:pt idx="55">
                  <c:v>0.7545889797303561</c:v>
                </c:pt>
                <c:pt idx="56">
                  <c:v>0.43319215982475373</c:v>
                </c:pt>
                <c:pt idx="57">
                  <c:v>1.3751507710171837</c:v>
                </c:pt>
                <c:pt idx="58">
                  <c:v>1.2692372196325348</c:v>
                </c:pt>
                <c:pt idx="59">
                  <c:v>1.2719075116687868</c:v>
                </c:pt>
                <c:pt idx="60">
                  <c:v>0.8984045876286039</c:v>
                </c:pt>
                <c:pt idx="61">
                  <c:v>1.0479221321289884</c:v>
                </c:pt>
                <c:pt idx="62">
                  <c:v>1.4485274450021053</c:v>
                </c:pt>
                <c:pt idx="63">
                  <c:v>0.9671068062233781</c:v>
                </c:pt>
                <c:pt idx="64">
                  <c:v>0.6487357132082912</c:v>
                </c:pt>
                <c:pt idx="65">
                  <c:v>0.9992691122760696</c:v>
                </c:pt>
                <c:pt idx="66">
                  <c:v>2.154877555567196</c:v>
                </c:pt>
                <c:pt idx="67">
                  <c:v>0.8956733221492781</c:v>
                </c:pt>
                <c:pt idx="68">
                  <c:v>0.7981096785158962</c:v>
                </c:pt>
                <c:pt idx="69">
                  <c:v>0.36087842873713805</c:v>
                </c:pt>
                <c:pt idx="70">
                  <c:v>3.708530740358127</c:v>
                </c:pt>
                <c:pt idx="71">
                  <c:v>1.11085878642692</c:v>
                </c:pt>
                <c:pt idx="72">
                  <c:v>1.532355961861166</c:v>
                </c:pt>
              </c:numCache>
            </c:numRef>
          </c:xVal>
          <c:yVal>
            <c:numRef>
              <c:f>Sheet1!$B$2:$B$74</c:f>
              <c:numCache>
                <c:formatCode>General</c:formatCode>
                <c:ptCount val="73"/>
                <c:pt idx="0">
                  <c:v>0.2413793103448276</c:v>
                </c:pt>
                <c:pt idx="1">
                  <c:v>0.1430472388556221</c:v>
                </c:pt>
                <c:pt idx="2">
                  <c:v>0.16554054054054054</c:v>
                </c:pt>
                <c:pt idx="3">
                  <c:v>0.13806706114398423</c:v>
                </c:pt>
                <c:pt idx="4">
                  <c:v>0.1482889733840304</c:v>
                </c:pt>
                <c:pt idx="5">
                  <c:v>0.21818181818181817</c:v>
                </c:pt>
                <c:pt idx="6">
                  <c:v>0.7694235588972431</c:v>
                </c:pt>
                <c:pt idx="7">
                  <c:v>0.6501650165016502</c:v>
                </c:pt>
                <c:pt idx="8">
                  <c:v>0.649325626204239</c:v>
                </c:pt>
                <c:pt idx="9">
                  <c:v>0.2970430107526882</c:v>
                </c:pt>
                <c:pt idx="10">
                  <c:v>0.11469534050179211</c:v>
                </c:pt>
                <c:pt idx="11">
                  <c:v>0.5182926829268293</c:v>
                </c:pt>
                <c:pt idx="12">
                  <c:v>0.2066115702479339</c:v>
                </c:pt>
                <c:pt idx="13">
                  <c:v>0.2389937106918239</c:v>
                </c:pt>
                <c:pt idx="14">
                  <c:v>0.16</c:v>
                </c:pt>
                <c:pt idx="15">
                  <c:v>0.29156999226604796</c:v>
                </c:pt>
                <c:pt idx="16">
                  <c:v>0.5154894671623296</c:v>
                </c:pt>
                <c:pt idx="17">
                  <c:v>0.010494752623688156</c:v>
                </c:pt>
                <c:pt idx="18">
                  <c:v>0.06712962962962964</c:v>
                </c:pt>
                <c:pt idx="19">
                  <c:v>0.1746031746031746</c:v>
                </c:pt>
                <c:pt idx="20">
                  <c:v>0.34189723320158105</c:v>
                </c:pt>
                <c:pt idx="21">
                  <c:v>0.08902691511387163</c:v>
                </c:pt>
                <c:pt idx="22">
                  <c:v>0.31179321486268174</c:v>
                </c:pt>
                <c:pt idx="23">
                  <c:v>0.15097588978185994</c:v>
                </c:pt>
                <c:pt idx="24">
                  <c:v>0.38224852071005916</c:v>
                </c:pt>
                <c:pt idx="25">
                  <c:v>0.25951387183893937</c:v>
                </c:pt>
                <c:pt idx="26">
                  <c:v>0.24287974683544303</c:v>
                </c:pt>
                <c:pt idx="27">
                  <c:v>0.24372559955382042</c:v>
                </c:pt>
                <c:pt idx="28">
                  <c:v>0.35880077369439073</c:v>
                </c:pt>
                <c:pt idx="29">
                  <c:v>0.10413223140495868</c:v>
                </c:pt>
                <c:pt idx="30">
                  <c:v>0.089540412044374</c:v>
                </c:pt>
                <c:pt idx="31">
                  <c:v>0.1151012891344383</c:v>
                </c:pt>
                <c:pt idx="32">
                  <c:v>0.423956931359354</c:v>
                </c:pt>
                <c:pt idx="33">
                  <c:v>0.24022346368715083</c:v>
                </c:pt>
                <c:pt idx="34">
                  <c:v>0.343042071197411</c:v>
                </c:pt>
                <c:pt idx="35">
                  <c:v>0.2799597180261833</c:v>
                </c:pt>
                <c:pt idx="36">
                  <c:v>0.2147477360931436</c:v>
                </c:pt>
                <c:pt idx="37">
                  <c:v>0.2780487804878049</c:v>
                </c:pt>
                <c:pt idx="38">
                  <c:v>0.4039408866995074</c:v>
                </c:pt>
                <c:pt idx="39">
                  <c:v>0.2831050228310502</c:v>
                </c:pt>
                <c:pt idx="40">
                  <c:v>0.2695852534562212</c:v>
                </c:pt>
                <c:pt idx="41">
                  <c:v>0.3589420654911839</c:v>
                </c:pt>
                <c:pt idx="42">
                  <c:v>0.4157608695652174</c:v>
                </c:pt>
                <c:pt idx="43">
                  <c:v>0.2259663032705649</c:v>
                </c:pt>
                <c:pt idx="44">
                  <c:v>0.37530864197530867</c:v>
                </c:pt>
                <c:pt idx="45">
                  <c:v>0.022304832713754646</c:v>
                </c:pt>
                <c:pt idx="46">
                  <c:v>0.030560271646859084</c:v>
                </c:pt>
                <c:pt idx="47">
                  <c:v>0.13434903047091412</c:v>
                </c:pt>
                <c:pt idx="48">
                  <c:v>0.16522988505747127</c:v>
                </c:pt>
                <c:pt idx="49">
                  <c:v>0.2858517805582291</c:v>
                </c:pt>
                <c:pt idx="50">
                  <c:v>0.24726477024070023</c:v>
                </c:pt>
                <c:pt idx="51">
                  <c:v>0.32666666666666666</c:v>
                </c:pt>
                <c:pt idx="52">
                  <c:v>0.2152777777777778</c:v>
                </c:pt>
                <c:pt idx="53">
                  <c:v>0.10755148741418764</c:v>
                </c:pt>
                <c:pt idx="54">
                  <c:v>0.30025445292620867</c:v>
                </c:pt>
                <c:pt idx="55">
                  <c:v>0.5105708245243129</c:v>
                </c:pt>
                <c:pt idx="56">
                  <c:v>0.14053254437869822</c:v>
                </c:pt>
                <c:pt idx="57">
                  <c:v>0.2050561797752809</c:v>
                </c:pt>
                <c:pt idx="58">
                  <c:v>0.24172185430463577</c:v>
                </c:pt>
                <c:pt idx="59">
                  <c:v>0.42153846153846153</c:v>
                </c:pt>
                <c:pt idx="60">
                  <c:v>0.05714285714285714</c:v>
                </c:pt>
                <c:pt idx="61">
                  <c:v>0.3397129186602871</c:v>
                </c:pt>
                <c:pt idx="62">
                  <c:v>0.00906344410876133</c:v>
                </c:pt>
                <c:pt idx="63">
                  <c:v>0.1324200913242009</c:v>
                </c:pt>
                <c:pt idx="64">
                  <c:v>0.028534370946822308</c:v>
                </c:pt>
                <c:pt idx="65">
                  <c:v>0.02027027027027027</c:v>
                </c:pt>
                <c:pt idx="66">
                  <c:v>0.011378002528445006</c:v>
                </c:pt>
                <c:pt idx="67">
                  <c:v>0.10739030023094688</c:v>
                </c:pt>
                <c:pt idx="68">
                  <c:v>0.11001517450682853</c:v>
                </c:pt>
                <c:pt idx="69">
                  <c:v>0.03986710963455149</c:v>
                </c:pt>
                <c:pt idx="70">
                  <c:v>0.003194888178913738</c:v>
                </c:pt>
                <c:pt idx="71">
                  <c:v>0.04801670146137787</c:v>
                </c:pt>
                <c:pt idx="72">
                  <c:v>0.005063291139240506</c:v>
                </c:pt>
              </c:numCache>
            </c:numRef>
          </c:yVal>
          <c:smooth val="0"/>
          <c:extLst>
            <c:ext xmlns:c16="http://schemas.microsoft.com/office/drawing/2014/chart" uri="{C3380CC4-5D6E-409C-BE32-E72D297353CC}">
              <c16:uniqueId val="{00000000-096C-4121-9522-6AB7243CCAAE}"/>
            </c:ext>
          </c:extLst>
        </c:ser>
        <c:ser>
          <c:idx val="1"/>
          <c:order val="1"/>
          <c:tx>
            <c:strRef>
              <c:f>Sheet1!$B$7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7:$A$103</c:f>
              <c:numCache>
                <c:formatCode>General</c:formatCode>
                <c:ptCount val="27"/>
                <c:pt idx="0">
                  <c:v>0.8882680521339308</c:v>
                </c:pt>
                <c:pt idx="1">
                  <c:v>1.049762139583454</c:v>
                </c:pt>
                <c:pt idx="2">
                  <c:v>1.8126852259607944</c:v>
                </c:pt>
                <c:pt idx="3">
                  <c:v>4.592683103697681</c:v>
                </c:pt>
                <c:pt idx="4">
                  <c:v>1.0222427278923785</c:v>
                </c:pt>
                <c:pt idx="5">
                  <c:v>0.982916749928096</c:v>
                </c:pt>
                <c:pt idx="6">
                  <c:v>5.277242513718351</c:v>
                </c:pt>
                <c:pt idx="7">
                  <c:v>0.7578124513184428</c:v>
                </c:pt>
                <c:pt idx="8">
                  <c:v>1.073034083813599</c:v>
                </c:pt>
                <c:pt idx="9">
                  <c:v>1.0315731208230259</c:v>
                </c:pt>
                <c:pt idx="10">
                  <c:v>0.6031062990592072</c:v>
                </c:pt>
                <c:pt idx="11">
                  <c:v>0.7495336360832678</c:v>
                </c:pt>
                <c:pt idx="12">
                  <c:v>0.6437798359157262</c:v>
                </c:pt>
                <c:pt idx="13">
                  <c:v>0.5351835510666545</c:v>
                </c:pt>
                <c:pt idx="14">
                  <c:v>0.8732136671758722</c:v>
                </c:pt>
                <c:pt idx="15">
                  <c:v>1.4129874632403996</c:v>
                </c:pt>
                <c:pt idx="16">
                  <c:v>1.3880456038979554</c:v>
                </c:pt>
                <c:pt idx="17">
                  <c:v>1.730780605333787</c:v>
                </c:pt>
                <c:pt idx="18">
                  <c:v>0.9253264879072199</c:v>
                </c:pt>
                <c:pt idx="19">
                  <c:v>7.158571429207505</c:v>
                </c:pt>
                <c:pt idx="20">
                  <c:v>1.447741691303258</c:v>
                </c:pt>
                <c:pt idx="21">
                  <c:v>1.697802803547962</c:v>
                </c:pt>
                <c:pt idx="22">
                  <c:v>3.0609131935020297</c:v>
                </c:pt>
                <c:pt idx="23">
                  <c:v>1.8544881238624065</c:v>
                </c:pt>
                <c:pt idx="24">
                  <c:v>3.407911163658933</c:v>
                </c:pt>
                <c:pt idx="25">
                  <c:v>0.5983778797870735</c:v>
                </c:pt>
                <c:pt idx="26">
                  <c:v>0.8665683916543672</c:v>
                </c:pt>
              </c:numCache>
            </c:numRef>
          </c:xVal>
          <c:yVal>
            <c:numRef>
              <c:f>Sheet1!$B$77:$B$103</c:f>
              <c:numCache>
                <c:formatCode>General</c:formatCode>
                <c:ptCount val="27"/>
                <c:pt idx="0">
                  <c:v>0.1543560606060606</c:v>
                </c:pt>
                <c:pt idx="1">
                  <c:v>0.02135678391959799</c:v>
                </c:pt>
                <c:pt idx="2">
                  <c:v>0.012688342585249802</c:v>
                </c:pt>
                <c:pt idx="3">
                  <c:v>0.0010822510822510823</c:v>
                </c:pt>
                <c:pt idx="4">
                  <c:v>0.25813449023861174</c:v>
                </c:pt>
                <c:pt idx="5">
                  <c:v>0.18888888888888888</c:v>
                </c:pt>
                <c:pt idx="6">
                  <c:v>0.02531645569620253</c:v>
                </c:pt>
                <c:pt idx="7">
                  <c:v>0.28117359413202936</c:v>
                </c:pt>
                <c:pt idx="8">
                  <c:v>0.582312925170068</c:v>
                </c:pt>
                <c:pt idx="9">
                  <c:v>0.121765601217656</c:v>
                </c:pt>
                <c:pt idx="10">
                  <c:v>0.2982885085574572</c:v>
                </c:pt>
                <c:pt idx="11">
                  <c:v>0.544766708701135</c:v>
                </c:pt>
                <c:pt idx="12">
                  <c:v>0.00949367088607595</c:v>
                </c:pt>
                <c:pt idx="13">
                  <c:v>0.04572564612326044</c:v>
                </c:pt>
                <c:pt idx="14">
                  <c:v>0.10948905109489052</c:v>
                </c:pt>
                <c:pt idx="15">
                  <c:v>0.04200542005420054</c:v>
                </c:pt>
                <c:pt idx="16">
                  <c:v>0.2049469964664311</c:v>
                </c:pt>
                <c:pt idx="17">
                  <c:v>0.006430868167202572</c:v>
                </c:pt>
                <c:pt idx="18">
                  <c:v>0.2948960302457467</c:v>
                </c:pt>
                <c:pt idx="19">
                  <c:v>0.008368200836820083</c:v>
                </c:pt>
                <c:pt idx="20">
                  <c:v>0.0412573673870334</c:v>
                </c:pt>
                <c:pt idx="21">
                  <c:v>0.006289308176100629</c:v>
                </c:pt>
                <c:pt idx="22">
                  <c:v>0.004746835443037975</c:v>
                </c:pt>
                <c:pt idx="23">
                  <c:v>0.025547445255474453</c:v>
                </c:pt>
                <c:pt idx="24">
                  <c:v>0.03206997084548105</c:v>
                </c:pt>
                <c:pt idx="25">
                  <c:v>0.05190311418685121</c:v>
                </c:pt>
                <c:pt idx="26">
                  <c:v>0.1553398058252427</c:v>
                </c:pt>
              </c:numCache>
            </c:numRef>
          </c:yVal>
          <c:smooth val="0"/>
          <c:extLst>
            <c:ext xmlns:c16="http://schemas.microsoft.com/office/drawing/2014/chart" uri="{C3380CC4-5D6E-409C-BE32-E72D297353CC}">
              <c16:uniqueId val="{00000002-096C-4121-9522-6AB7243CCAAE}"/>
            </c:ext>
          </c:extLst>
        </c:ser>
        <c:ser>
          <c:idx val="2"/>
          <c:order val="2"/>
          <c:tx>
            <c:strRef>
              <c:f>Sheet1!$B$10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6:$A$107</c:f>
              <c:numCache>
                <c:formatCode>General</c:formatCode>
                <c:ptCount val="2"/>
                <c:pt idx="0">
                  <c:v>0</c:v>
                </c:pt>
                <c:pt idx="1">
                  <c:v>-8.050149974611656</c:v>
                </c:pt>
              </c:numCache>
            </c:numRef>
          </c:xVal>
          <c:yVal>
            <c:numRef>
              <c:f>Sheet1!$B$106:$B$107</c:f>
              <c:numCache>
                <c:formatCode>General</c:formatCode>
                <c:ptCount val="2"/>
                <c:pt idx="0">
                  <c:v>0.5168278061075278</c:v>
                </c:pt>
                <c:pt idx="1">
                  <c:v>0.5168278061075278</c:v>
                </c:pt>
              </c:numCache>
            </c:numRef>
          </c:yVal>
          <c:smooth val="0"/>
          <c:extLst>
            <c:ext xmlns:c16="http://schemas.microsoft.com/office/drawing/2014/chart" uri="{C3380CC4-5D6E-409C-BE32-E72D297353CC}">
              <c16:uniqueId val="{00000005-096C-4121-9522-6AB7243CCAAE}"/>
            </c:ext>
          </c:extLst>
        </c:ser>
        <c:ser>
          <c:idx val="3"/>
          <c:order val="3"/>
          <c:tx>
            <c:strRef>
              <c:f>Sheet1!$B$10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0:$A$111</c:f>
              <c:numCache>
                <c:formatCode>General</c:formatCode>
                <c:ptCount val="2"/>
                <c:pt idx="0">
                  <c:v>-8.050149974611656</c:v>
                </c:pt>
                <c:pt idx="1">
                  <c:v>-8.050149974611656</c:v>
                </c:pt>
              </c:numCache>
            </c:numRef>
          </c:xVal>
          <c:yVal>
            <c:numRef>
              <c:f>Sheet1!$B$110:$B$111</c:f>
              <c:numCache>
                <c:formatCode>General</c:formatCode>
                <c:ptCount val="2"/>
                <c:pt idx="0">
                  <c:v>0.516827806107527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4:$A$115</c:f>
              <c:numCache>
                <c:formatCode>General</c:formatCode>
                <c:ptCount val="2"/>
                <c:pt idx="0">
                  <c:v>0</c:v>
                </c:pt>
                <c:pt idx="1">
                  <c:v>-0.666464058656156</c:v>
                </c:pt>
              </c:numCache>
            </c:numRef>
          </c:xVal>
          <c:yVal>
            <c:numRef>
              <c:f>Sheet1!$B$114:$B$115</c:f>
              <c:numCache>
                <c:formatCode>General</c:formatCode>
                <c:ptCount val="2"/>
                <c:pt idx="0">
                  <c:v>0.22611345843741923</c:v>
                </c:pt>
                <c:pt idx="1">
                  <c:v>0.22611345843741923</c:v>
                </c:pt>
              </c:numCache>
            </c:numRef>
          </c:yVal>
          <c:smooth val="0"/>
          <c:extLst>
            <c:ext xmlns:c16="http://schemas.microsoft.com/office/drawing/2014/chart" uri="{C3380CC4-5D6E-409C-BE32-E72D297353CC}">
              <c16:uniqueId val="{0000000D-096C-4121-9522-6AB7243CCAAE}"/>
            </c:ext>
          </c:extLst>
        </c:ser>
        <c:ser>
          <c:idx val="5"/>
          <c:order val="5"/>
          <c:tx>
            <c:strRef>
              <c:f>Sheet1!$B$11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8:$A$119</c:f>
              <c:numCache>
                <c:formatCode>General</c:formatCode>
                <c:ptCount val="2"/>
                <c:pt idx="0">
                  <c:v>-0.666464058656156</c:v>
                </c:pt>
                <c:pt idx="1">
                  <c:v>-0.666464058656156</c:v>
                </c:pt>
              </c:numCache>
            </c:numRef>
          </c:xVal>
          <c:yVal>
            <c:numRef>
              <c:f>Sheet1!$B$118:$B$119</c:f>
              <c:numCache>
                <c:formatCode>General</c:formatCode>
                <c:ptCount val="2"/>
                <c:pt idx="0">
                  <c:v>0.2261134584374192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2:$A$123</c:f>
              <c:numCache>
                <c:formatCode>General</c:formatCode>
                <c:ptCount val="2"/>
                <c:pt idx="0">
                  <c:v>0</c:v>
                </c:pt>
                <c:pt idx="1">
                  <c:v>3.908571919174508</c:v>
                </c:pt>
              </c:numCache>
            </c:numRef>
          </c:xVal>
          <c:yVal>
            <c:numRef>
              <c:f>Sheet1!$B$122:$B$123</c:f>
              <c:numCache>
                <c:formatCode>General</c:formatCode>
                <c:ptCount val="2"/>
                <c:pt idx="0">
                  <c:v>0.045982746622031334</c:v>
                </c:pt>
                <c:pt idx="1">
                  <c:v>0.045982746622031334</c:v>
                </c:pt>
              </c:numCache>
            </c:numRef>
          </c:yVal>
          <c:smooth val="0"/>
          <c:extLst>
            <c:ext xmlns:c16="http://schemas.microsoft.com/office/drawing/2014/chart" uri="{C3380CC4-5D6E-409C-BE32-E72D297353CC}">
              <c16:uniqueId val="{00000015-096C-4121-9522-6AB7243CCAAE}"/>
            </c:ext>
          </c:extLst>
        </c:ser>
        <c:ser>
          <c:idx val="7"/>
          <c:order val="7"/>
          <c:tx>
            <c:strRef>
              <c:f>Sheet1!$B$12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3.908571919174508</c:v>
                </c:pt>
                <c:pt idx="1">
                  <c:v>3.908571919174508</c:v>
                </c:pt>
              </c:numCache>
            </c:numRef>
          </c:xVal>
          <c:yVal>
            <c:numRef>
              <c:f>Sheet1!$B$126:$B$127</c:f>
              <c:numCache>
                <c:formatCode>General</c:formatCode>
                <c:ptCount val="2"/>
                <c:pt idx="0">
                  <c:v>0.04598274662203133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0:$A$159</c:f>
              <c:numCache>
                <c:formatCode>General</c:formatCode>
                <c:ptCount val="30"/>
                <c:pt idx="0">
                  <c:v>0.8882680521339308</c:v>
                </c:pt>
                <c:pt idx="1">
                  <c:v>1.049762139583454</c:v>
                </c:pt>
                <c:pt idx="2">
                  <c:v>1.8126852259607944</c:v>
                </c:pt>
                <c:pt idx="3">
                  <c:v>4.592683103697681</c:v>
                </c:pt>
                <c:pt idx="4">
                  <c:v>1.0222427278923785</c:v>
                </c:pt>
                <c:pt idx="5">
                  <c:v>0.982916749928096</c:v>
                </c:pt>
                <c:pt idx="6">
                  <c:v>5.277242513718351</c:v>
                </c:pt>
                <c:pt idx="7">
                  <c:v>0.7578124513184428</c:v>
                </c:pt>
                <c:pt idx="8">
                  <c:v>1.073034083813599</c:v>
                </c:pt>
                <c:pt idx="9">
                  <c:v>1.0315731208230259</c:v>
                </c:pt>
                <c:pt idx="10">
                  <c:v>0.6031062990592072</c:v>
                </c:pt>
                <c:pt idx="11">
                  <c:v>0.7495336360832678</c:v>
                </c:pt>
                <c:pt idx="12">
                  <c:v>0.6437798359157262</c:v>
                </c:pt>
                <c:pt idx="13">
                  <c:v>0.5351835510666545</c:v>
                </c:pt>
                <c:pt idx="14">
                  <c:v>0.8732136671758722</c:v>
                </c:pt>
                <c:pt idx="15">
                  <c:v>1.4129874632403996</c:v>
                </c:pt>
                <c:pt idx="16">
                  <c:v>1.3880456038979554</c:v>
                </c:pt>
                <c:pt idx="17">
                  <c:v>1.730780605333787</c:v>
                </c:pt>
                <c:pt idx="18">
                  <c:v>0.9253264879072199</c:v>
                </c:pt>
                <c:pt idx="19">
                  <c:v>7.158571429207505</c:v>
                </c:pt>
                <c:pt idx="20">
                  <c:v>1.447741691303258</c:v>
                </c:pt>
                <c:pt idx="21">
                  <c:v>1.697802803547962</c:v>
                </c:pt>
                <c:pt idx="22">
                  <c:v>3.0609131935020297</c:v>
                </c:pt>
                <c:pt idx="23">
                  <c:v>1.8544881238624065</c:v>
                </c:pt>
                <c:pt idx="24">
                  <c:v>3.407911163658933</c:v>
                </c:pt>
                <c:pt idx="25">
                  <c:v>0.5983778797870735</c:v>
                </c:pt>
                <c:pt idx="26">
                  <c:v>0.8665683916543672</c:v>
                </c:pt>
                <c:pt idx="27">
                  <c:v>-0.666464058656156</c:v>
                </c:pt>
                <c:pt idx="28">
                  <c:v>-8.050149974611656</c:v>
                </c:pt>
                <c:pt idx="29">
                  <c:v>3.908571919174508</c:v>
                </c:pt>
              </c:numCache>
            </c:numRef>
          </c:xVal>
          <c:yVal>
            <c:numRef>
              <c:f>Sheet1!$B$130:$B$159</c:f>
              <c:numCache>
                <c:formatCode>General</c:formatCode>
                <c:ptCount val="30"/>
                <c:pt idx="0">
                  <c:v>0.16489973177910955</c:v>
                </c:pt>
                <c:pt idx="1">
                  <c:v>0.15854130201654126</c:v>
                </c:pt>
                <c:pt idx="2">
                  <c:v>0.128503094825282</c:v>
                </c:pt>
                <c:pt idx="3">
                  <c:v>0.019047562893168335</c:v>
                </c:pt>
                <c:pt idx="4">
                  <c:v>0.15962481070164775</c:v>
                </c:pt>
                <c:pt idx="5">
                  <c:v>0.161173173695484</c:v>
                </c:pt>
                <c:pt idx="6">
                  <c:v>-0.007905268604654098</c:v>
                </c:pt>
                <c:pt idx="7">
                  <c:v>0.17003609799547764</c:v>
                </c:pt>
                <c:pt idx="8">
                  <c:v>0.1576250268441017</c:v>
                </c:pt>
                <c:pt idx="9">
                  <c:v>0.15925744958618135</c:v>
                </c:pt>
                <c:pt idx="10">
                  <c:v>0.17612726961985678</c:v>
                </c:pt>
                <c:pt idx="11">
                  <c:v>0.17036205584335606</c:v>
                </c:pt>
                <c:pt idx="12">
                  <c:v>0.1745258498317903</c:v>
                </c:pt>
                <c:pt idx="13">
                  <c:v>0.17880155961531102</c:v>
                </c:pt>
                <c:pt idx="14">
                  <c:v>0.16549246090552044</c:v>
                </c:pt>
                <c:pt idx="15">
                  <c:v>0.14424020440403154</c:v>
                </c:pt>
                <c:pt idx="16">
                  <c:v>0.1452222283485698</c:v>
                </c:pt>
                <c:pt idx="17">
                  <c:v>0.13172788643041988</c:v>
                </c:pt>
                <c:pt idx="18">
                  <c:v>0.16344064764360672</c:v>
                </c:pt>
                <c:pt idx="19">
                  <c:v>-0.08197793564991343</c:v>
                </c:pt>
                <c:pt idx="20">
                  <c:v>0.14287184274088993</c:v>
                </c:pt>
                <c:pt idx="21">
                  <c:v>0.1330263057081201</c:v>
                </c:pt>
                <c:pt idx="22">
                  <c:v>0.07935720976763233</c:v>
                </c:pt>
                <c:pt idx="23">
                  <c:v>0.1268572092428622</c:v>
                </c:pt>
                <c:pt idx="24">
                  <c:v>0.06569502401308541</c:v>
                </c:pt>
                <c:pt idx="25">
                  <c:v>0.1763134394190405</c:v>
                </c:pt>
                <c:pt idx="26">
                  <c:v>0.16575410217253964</c:v>
                </c:pt>
                <c:pt idx="27">
                  <c:v>0.22611345843741923</c:v>
                </c:pt>
                <c:pt idx="28">
                  <c:v>0.5168278061075278</c:v>
                </c:pt>
                <c:pt idx="29">
                  <c:v>0.04598274662203133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33082706766917"/>
          <c:min val="0.000865800865800865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4</c:f>
              <c:numCache>
                <c:formatCode>General</c:formatCode>
                <c:ptCount val="73"/>
                <c:pt idx="0">
                  <c:v>889.3714</c:v>
                </c:pt>
                <c:pt idx="1">
                  <c:v>1031.2512</c:v>
                </c:pt>
                <c:pt idx="2">
                  <c:v>1029.7347</c:v>
                </c:pt>
                <c:pt idx="3">
                  <c:v>887.9286</c:v>
                </c:pt>
                <c:pt idx="4">
                  <c:v>979.4615</c:v>
                </c:pt>
                <c:pt idx="5">
                  <c:v>1368.9667</c:v>
                </c:pt>
                <c:pt idx="6">
                  <c:v>1047.1107</c:v>
                </c:pt>
                <c:pt idx="7">
                  <c:v>1931.6701</c:v>
                </c:pt>
                <c:pt idx="8">
                  <c:v>1323.9199</c:v>
                </c:pt>
                <c:pt idx="9">
                  <c:v>1071.4751</c:v>
                </c:pt>
                <c:pt idx="10">
                  <c:v>832.875</c:v>
                </c:pt>
                <c:pt idx="11">
                  <c:v>1764.0059</c:v>
                </c:pt>
                <c:pt idx="12">
                  <c:v>994.06</c:v>
                </c:pt>
                <c:pt idx="13">
                  <c:v>1396.1974</c:v>
                </c:pt>
                <c:pt idx="14">
                  <c:v>1327.3125</c:v>
                </c:pt>
                <c:pt idx="15">
                  <c:v>850.4125</c:v>
                </c:pt>
                <c:pt idx="16">
                  <c:v>1204.9423</c:v>
                </c:pt>
                <c:pt idx="17">
                  <c:v>1184.7143</c:v>
                </c:pt>
                <c:pt idx="18">
                  <c:v>1767.8276</c:v>
                </c:pt>
                <c:pt idx="19">
                  <c:v>1173.697</c:v>
                </c:pt>
                <c:pt idx="20">
                  <c:v>1768.9538</c:v>
                </c:pt>
                <c:pt idx="21">
                  <c:v>821.5581</c:v>
                </c:pt>
                <c:pt idx="22">
                  <c:v>1782.5855</c:v>
                </c:pt>
                <c:pt idx="23">
                  <c:v>1126.4373</c:v>
                </c:pt>
                <c:pt idx="24">
                  <c:v>1028.9752</c:v>
                </c:pt>
                <c:pt idx="25">
                  <c:v>708.1779</c:v>
                </c:pt>
                <c:pt idx="26">
                  <c:v>634.3583</c:v>
                </c:pt>
                <c:pt idx="27">
                  <c:v>940.119</c:v>
                </c:pt>
                <c:pt idx="28">
                  <c:v>558.3315</c:v>
                </c:pt>
                <c:pt idx="29">
                  <c:v>1007.3968</c:v>
                </c:pt>
                <c:pt idx="30">
                  <c:v>492.7965</c:v>
                </c:pt>
                <c:pt idx="31">
                  <c:v>1871.432</c:v>
                </c:pt>
                <c:pt idx="32">
                  <c:v>791.4635</c:v>
                </c:pt>
                <c:pt idx="33">
                  <c:v>1201.3023</c:v>
                </c:pt>
                <c:pt idx="34">
                  <c:v>504.3491</c:v>
                </c:pt>
                <c:pt idx="35">
                  <c:v>986.6763</c:v>
                </c:pt>
                <c:pt idx="36">
                  <c:v>1145.3012</c:v>
                </c:pt>
                <c:pt idx="37">
                  <c:v>786.7193</c:v>
                </c:pt>
                <c:pt idx="38">
                  <c:v>514.5122</c:v>
                </c:pt>
                <c:pt idx="39">
                  <c:v>531.871</c:v>
                </c:pt>
                <c:pt idx="40">
                  <c:v>1616.7265</c:v>
                </c:pt>
                <c:pt idx="41">
                  <c:v>613.6877</c:v>
                </c:pt>
                <c:pt idx="42">
                  <c:v>1147.415</c:v>
                </c:pt>
                <c:pt idx="43">
                  <c:v>545.0351</c:v>
                </c:pt>
                <c:pt idx="44">
                  <c:v>960.1974</c:v>
                </c:pt>
                <c:pt idx="45">
                  <c:v>565.5</c:v>
                </c:pt>
                <c:pt idx="46">
                  <c:v>518.6111</c:v>
                </c:pt>
                <c:pt idx="47">
                  <c:v>497.134</c:v>
                </c:pt>
                <c:pt idx="48">
                  <c:v>1929.1739</c:v>
                </c:pt>
                <c:pt idx="49">
                  <c:v>1167.8283</c:v>
                </c:pt>
                <c:pt idx="50">
                  <c:v>1918.1947</c:v>
                </c:pt>
                <c:pt idx="51">
                  <c:v>787.7959</c:v>
                </c:pt>
                <c:pt idx="52">
                  <c:v>850.2688</c:v>
                </c:pt>
                <c:pt idx="53">
                  <c:v>1630.1809</c:v>
                </c:pt>
                <c:pt idx="54">
                  <c:v>823.5212</c:v>
                </c:pt>
                <c:pt idx="55">
                  <c:v>916.5197</c:v>
                </c:pt>
                <c:pt idx="56">
                  <c:v>500.1158</c:v>
                </c:pt>
                <c:pt idx="57">
                  <c:v>1219.3356</c:v>
                </c:pt>
                <c:pt idx="58">
                  <c:v>1167.7466</c:v>
                </c:pt>
                <c:pt idx="59">
                  <c:v>1162.7664</c:v>
                </c:pt>
                <c:pt idx="60">
                  <c:v>1095.5</c:v>
                </c:pt>
                <c:pt idx="61">
                  <c:v>1166.1901</c:v>
                </c:pt>
                <c:pt idx="62">
                  <c:v>1692.3333</c:v>
                </c:pt>
                <c:pt idx="63">
                  <c:v>1121.1293</c:v>
                </c:pt>
                <c:pt idx="64">
                  <c:v>738.4545</c:v>
                </c:pt>
                <c:pt idx="65">
                  <c:v>1061.0833</c:v>
                </c:pt>
                <c:pt idx="66">
                  <c:v>2225.5556</c:v>
                </c:pt>
                <c:pt idx="67">
                  <c:v>923.6452</c:v>
                </c:pt>
                <c:pt idx="68">
                  <c:v>1018.5103</c:v>
                </c:pt>
                <c:pt idx="69">
                  <c:v>504.7778</c:v>
                </c:pt>
                <c:pt idx="70">
                  <c:v>3820.3333</c:v>
                </c:pt>
                <c:pt idx="71">
                  <c:v>1922.1304</c:v>
                </c:pt>
                <c:pt idx="72">
                  <c:v>1730.0</c:v>
                </c:pt>
              </c:numCache>
            </c:numRef>
          </c:xVal>
          <c:yVal>
            <c:numRef>
              <c:f>Sheet1!$B$2:$B$74</c:f>
              <c:numCache>
                <c:formatCode>General</c:formatCode>
                <c:ptCount val="73"/>
                <c:pt idx="0">
                  <c:v>0.2413793103448276</c:v>
                </c:pt>
                <c:pt idx="1">
                  <c:v>0.1430472388556221</c:v>
                </c:pt>
                <c:pt idx="2">
                  <c:v>0.16554054054054054</c:v>
                </c:pt>
                <c:pt idx="3">
                  <c:v>0.13806706114398423</c:v>
                </c:pt>
                <c:pt idx="4">
                  <c:v>0.1482889733840304</c:v>
                </c:pt>
                <c:pt idx="5">
                  <c:v>0.21818181818181817</c:v>
                </c:pt>
                <c:pt idx="6">
                  <c:v>0.7694235588972431</c:v>
                </c:pt>
                <c:pt idx="7">
                  <c:v>0.6501650165016502</c:v>
                </c:pt>
                <c:pt idx="8">
                  <c:v>0.649325626204239</c:v>
                </c:pt>
                <c:pt idx="9">
                  <c:v>0.2970430107526882</c:v>
                </c:pt>
                <c:pt idx="10">
                  <c:v>0.11469534050179211</c:v>
                </c:pt>
                <c:pt idx="11">
                  <c:v>0.5182926829268293</c:v>
                </c:pt>
                <c:pt idx="12">
                  <c:v>0.2066115702479339</c:v>
                </c:pt>
                <c:pt idx="13">
                  <c:v>0.2389937106918239</c:v>
                </c:pt>
                <c:pt idx="14">
                  <c:v>0.16</c:v>
                </c:pt>
                <c:pt idx="15">
                  <c:v>0.29156999226604796</c:v>
                </c:pt>
                <c:pt idx="16">
                  <c:v>0.5154894671623296</c:v>
                </c:pt>
                <c:pt idx="17">
                  <c:v>0.010494752623688156</c:v>
                </c:pt>
                <c:pt idx="18">
                  <c:v>0.06712962962962964</c:v>
                </c:pt>
                <c:pt idx="19">
                  <c:v>0.1746031746031746</c:v>
                </c:pt>
                <c:pt idx="20">
                  <c:v>0.34189723320158105</c:v>
                </c:pt>
                <c:pt idx="21">
                  <c:v>0.08902691511387163</c:v>
                </c:pt>
                <c:pt idx="22">
                  <c:v>0.31179321486268174</c:v>
                </c:pt>
                <c:pt idx="23">
                  <c:v>0.15097588978185994</c:v>
                </c:pt>
                <c:pt idx="24">
                  <c:v>0.38224852071005916</c:v>
                </c:pt>
                <c:pt idx="25">
                  <c:v>0.25951387183893937</c:v>
                </c:pt>
                <c:pt idx="26">
                  <c:v>0.24287974683544303</c:v>
                </c:pt>
                <c:pt idx="27">
                  <c:v>0.24372559955382042</c:v>
                </c:pt>
                <c:pt idx="28">
                  <c:v>0.35880077369439073</c:v>
                </c:pt>
                <c:pt idx="29">
                  <c:v>0.10413223140495868</c:v>
                </c:pt>
                <c:pt idx="30">
                  <c:v>0.089540412044374</c:v>
                </c:pt>
                <c:pt idx="31">
                  <c:v>0.1151012891344383</c:v>
                </c:pt>
                <c:pt idx="32">
                  <c:v>0.423956931359354</c:v>
                </c:pt>
                <c:pt idx="33">
                  <c:v>0.24022346368715083</c:v>
                </c:pt>
                <c:pt idx="34">
                  <c:v>0.343042071197411</c:v>
                </c:pt>
                <c:pt idx="35">
                  <c:v>0.2799597180261833</c:v>
                </c:pt>
                <c:pt idx="36">
                  <c:v>0.2147477360931436</c:v>
                </c:pt>
                <c:pt idx="37">
                  <c:v>0.2780487804878049</c:v>
                </c:pt>
                <c:pt idx="38">
                  <c:v>0.4039408866995074</c:v>
                </c:pt>
                <c:pt idx="39">
                  <c:v>0.2831050228310502</c:v>
                </c:pt>
                <c:pt idx="40">
                  <c:v>0.2695852534562212</c:v>
                </c:pt>
                <c:pt idx="41">
                  <c:v>0.3589420654911839</c:v>
                </c:pt>
                <c:pt idx="42">
                  <c:v>0.4157608695652174</c:v>
                </c:pt>
                <c:pt idx="43">
                  <c:v>0.2259663032705649</c:v>
                </c:pt>
                <c:pt idx="44">
                  <c:v>0.37530864197530867</c:v>
                </c:pt>
                <c:pt idx="45">
                  <c:v>0.022304832713754646</c:v>
                </c:pt>
                <c:pt idx="46">
                  <c:v>0.030560271646859084</c:v>
                </c:pt>
                <c:pt idx="47">
                  <c:v>0.13434903047091412</c:v>
                </c:pt>
                <c:pt idx="48">
                  <c:v>0.16522988505747127</c:v>
                </c:pt>
                <c:pt idx="49">
                  <c:v>0.2858517805582291</c:v>
                </c:pt>
                <c:pt idx="50">
                  <c:v>0.24726477024070023</c:v>
                </c:pt>
                <c:pt idx="51">
                  <c:v>0.32666666666666666</c:v>
                </c:pt>
                <c:pt idx="52">
                  <c:v>0.2152777777777778</c:v>
                </c:pt>
                <c:pt idx="53">
                  <c:v>0.10755148741418764</c:v>
                </c:pt>
                <c:pt idx="54">
                  <c:v>0.30025445292620867</c:v>
                </c:pt>
                <c:pt idx="55">
                  <c:v>0.5105708245243129</c:v>
                </c:pt>
                <c:pt idx="56">
                  <c:v>0.14053254437869822</c:v>
                </c:pt>
                <c:pt idx="57">
                  <c:v>0.2050561797752809</c:v>
                </c:pt>
                <c:pt idx="58">
                  <c:v>0.24172185430463577</c:v>
                </c:pt>
                <c:pt idx="59">
                  <c:v>0.42153846153846153</c:v>
                </c:pt>
                <c:pt idx="60">
                  <c:v>0.05714285714285714</c:v>
                </c:pt>
                <c:pt idx="61">
                  <c:v>0.3397129186602871</c:v>
                </c:pt>
                <c:pt idx="62">
                  <c:v>0.00906344410876133</c:v>
                </c:pt>
                <c:pt idx="63">
                  <c:v>0.1324200913242009</c:v>
                </c:pt>
                <c:pt idx="64">
                  <c:v>0.028534370946822308</c:v>
                </c:pt>
                <c:pt idx="65">
                  <c:v>0.02027027027027027</c:v>
                </c:pt>
                <c:pt idx="66">
                  <c:v>0.011378002528445006</c:v>
                </c:pt>
                <c:pt idx="67">
                  <c:v>0.10739030023094688</c:v>
                </c:pt>
                <c:pt idx="68">
                  <c:v>0.11001517450682853</c:v>
                </c:pt>
                <c:pt idx="69">
                  <c:v>0.03986710963455149</c:v>
                </c:pt>
                <c:pt idx="70">
                  <c:v>0.003194888178913738</c:v>
                </c:pt>
                <c:pt idx="71">
                  <c:v>0.04801670146137787</c:v>
                </c:pt>
                <c:pt idx="72">
                  <c:v>0.005063291139240506</c:v>
                </c:pt>
              </c:numCache>
            </c:numRef>
          </c:yVal>
          <c:smooth val="0"/>
          <c:extLst>
            <c:ext xmlns:c16="http://schemas.microsoft.com/office/drawing/2014/chart" uri="{C3380CC4-5D6E-409C-BE32-E72D297353CC}">
              <c16:uniqueId val="{00000000-F32D-48B7-BC20-E66FC6253BAD}"/>
            </c:ext>
          </c:extLst>
        </c:ser>
        <c:ser>
          <c:idx val="1"/>
          <c:order val="1"/>
          <c:tx>
            <c:strRef>
              <c:f>Sheet1!$B$7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7:$A$103</c:f>
              <c:numCache>
                <c:formatCode>General</c:formatCode>
                <c:ptCount val="27"/>
                <c:pt idx="0">
                  <c:v>1165.7669</c:v>
                </c:pt>
                <c:pt idx="1">
                  <c:v>1143.5882</c:v>
                </c:pt>
                <c:pt idx="2">
                  <c:v>2284.5</c:v>
                </c:pt>
                <c:pt idx="3">
                  <c:v>5111.0</c:v>
                </c:pt>
                <c:pt idx="4">
                  <c:v>1100.5042</c:v>
                </c:pt>
                <c:pt idx="5">
                  <c:v>960.6471</c:v>
                </c:pt>
                <c:pt idx="6">
                  <c:v>4469.75</c:v>
                </c:pt>
                <c:pt idx="7">
                  <c:v>1082.3739</c:v>
                </c:pt>
                <c:pt idx="8">
                  <c:v>1037.4556</c:v>
                </c:pt>
                <c:pt idx="9">
                  <c:v>1203.175</c:v>
                </c:pt>
                <c:pt idx="10">
                  <c:v>1018.5574</c:v>
                </c:pt>
                <c:pt idx="11">
                  <c:v>1017.831</c:v>
                </c:pt>
                <c:pt idx="12">
                  <c:v>643.1667</c:v>
                </c:pt>
                <c:pt idx="13">
                  <c:v>708.5652</c:v>
                </c:pt>
                <c:pt idx="14">
                  <c:v>1224.1778</c:v>
                </c:pt>
                <c:pt idx="15">
                  <c:v>1495.7419</c:v>
                </c:pt>
                <c:pt idx="16">
                  <c:v>1634.1379</c:v>
                </c:pt>
                <c:pt idx="17">
                  <c:v>2379.0</c:v>
                </c:pt>
                <c:pt idx="18">
                  <c:v>1219.2372</c:v>
                </c:pt>
                <c:pt idx="19">
                  <c:v>3215.5</c:v>
                </c:pt>
                <c:pt idx="20">
                  <c:v>1608.8571</c:v>
                </c:pt>
                <c:pt idx="21">
                  <c:v>1828.0</c:v>
                </c:pt>
                <c:pt idx="22">
                  <c:v>3695.6667</c:v>
                </c:pt>
                <c:pt idx="23">
                  <c:v>1543.7857</c:v>
                </c:pt>
                <c:pt idx="24">
                  <c:v>3721.7273</c:v>
                </c:pt>
                <c:pt idx="25">
                  <c:v>694.1333</c:v>
                </c:pt>
                <c:pt idx="26">
                  <c:v>1046.025</c:v>
                </c:pt>
              </c:numCache>
            </c:numRef>
          </c:xVal>
          <c:yVal>
            <c:numRef>
              <c:f>Sheet1!$B$77:$B$103</c:f>
              <c:numCache>
                <c:formatCode>General</c:formatCode>
                <c:ptCount val="27"/>
                <c:pt idx="0">
                  <c:v>0.1543560606060606</c:v>
                </c:pt>
                <c:pt idx="1">
                  <c:v>0.02135678391959799</c:v>
                </c:pt>
                <c:pt idx="2">
                  <c:v>0.012688342585249802</c:v>
                </c:pt>
                <c:pt idx="3">
                  <c:v>0.0010822510822510823</c:v>
                </c:pt>
                <c:pt idx="4">
                  <c:v>0.25813449023861174</c:v>
                </c:pt>
                <c:pt idx="5">
                  <c:v>0.18888888888888888</c:v>
                </c:pt>
                <c:pt idx="6">
                  <c:v>0.02531645569620253</c:v>
                </c:pt>
                <c:pt idx="7">
                  <c:v>0.28117359413202936</c:v>
                </c:pt>
                <c:pt idx="8">
                  <c:v>0.582312925170068</c:v>
                </c:pt>
                <c:pt idx="9">
                  <c:v>0.121765601217656</c:v>
                </c:pt>
                <c:pt idx="10">
                  <c:v>0.2982885085574572</c:v>
                </c:pt>
                <c:pt idx="11">
                  <c:v>0.544766708701135</c:v>
                </c:pt>
                <c:pt idx="12">
                  <c:v>0.00949367088607595</c:v>
                </c:pt>
                <c:pt idx="13">
                  <c:v>0.04572564612326044</c:v>
                </c:pt>
                <c:pt idx="14">
                  <c:v>0.10948905109489052</c:v>
                </c:pt>
                <c:pt idx="15">
                  <c:v>0.04200542005420054</c:v>
                </c:pt>
                <c:pt idx="16">
                  <c:v>0.2049469964664311</c:v>
                </c:pt>
                <c:pt idx="17">
                  <c:v>0.006430868167202572</c:v>
                </c:pt>
                <c:pt idx="18">
                  <c:v>0.2948960302457467</c:v>
                </c:pt>
                <c:pt idx="19">
                  <c:v>0.008368200836820083</c:v>
                </c:pt>
                <c:pt idx="20">
                  <c:v>0.0412573673870334</c:v>
                </c:pt>
                <c:pt idx="21">
                  <c:v>0.006289308176100629</c:v>
                </c:pt>
                <c:pt idx="22">
                  <c:v>0.004746835443037975</c:v>
                </c:pt>
                <c:pt idx="23">
                  <c:v>0.025547445255474453</c:v>
                </c:pt>
                <c:pt idx="24">
                  <c:v>0.03206997084548105</c:v>
                </c:pt>
                <c:pt idx="25">
                  <c:v>0.05190311418685121</c:v>
                </c:pt>
                <c:pt idx="26">
                  <c:v>0.1553398058252427</c:v>
                </c:pt>
              </c:numCache>
            </c:numRef>
          </c:yVal>
          <c:smooth val="0"/>
          <c:extLst>
            <c:ext xmlns:c16="http://schemas.microsoft.com/office/drawing/2014/chart" uri="{C3380CC4-5D6E-409C-BE32-E72D297353CC}">
              <c16:uniqueId val="{00000002-F32D-48B7-BC20-E66FC6253BAD}"/>
            </c:ext>
          </c:extLst>
        </c:ser>
        <c:ser>
          <c:idx val="2"/>
          <c:order val="2"/>
          <c:tx>
            <c:strRef>
              <c:f>Sheet1!$B$105</c:f>
              <c:strCache>
                <c:ptCount val="1"/>
                <c:pt idx="0">
                  <c:v>Custom Linep3yQ</c:v>
                </c:pt>
              </c:strCache>
            </c:strRef>
          </c:tx>
          <c:spPr>
            <a:ln w="19050" cap="rnd">
              <a:solidFill>
                <a:srgbClr val="C00000"/>
              </a:solidFill>
              <a:prstDash val="sysDot"/>
              <a:round/>
            </a:ln>
            <a:effectLst/>
          </c:spPr>
          <c:marker>
            <c:symbol val="none"/>
          </c:marker>
          <c:xVal>
            <c:numRef>
              <c:f>Sheet1!$A$106:$A$107</c:f>
              <c:numCache>
                <c:formatCode>General</c:formatCode>
                <c:ptCount val="2"/>
                <c:pt idx="0">
                  <c:v>0</c:v>
                </c:pt>
                <c:pt idx="1">
                  <c:v>-5010.804607090216</c:v>
                </c:pt>
              </c:numCache>
            </c:numRef>
          </c:xVal>
          <c:yVal>
            <c:numRef>
              <c:f>Sheet1!$B$106:$B$107</c:f>
              <c:numCache>
                <c:formatCode>General</c:formatCode>
                <c:ptCount val="2"/>
                <c:pt idx="0">
                  <c:v>0.5168278061075278</c:v>
                </c:pt>
                <c:pt idx="1">
                  <c:v>0.5168278061075278</c:v>
                </c:pt>
              </c:numCache>
            </c:numRef>
          </c:yVal>
          <c:smooth val="0"/>
          <c:extLst>
            <c:ext xmlns:c16="http://schemas.microsoft.com/office/drawing/2014/chart" uri="{C3380CC4-5D6E-409C-BE32-E72D297353CC}">
              <c16:uniqueId val="{00000003-F32D-48B7-BC20-E66FC6253BAD}"/>
            </c:ext>
          </c:extLst>
        </c:ser>
        <c:ser>
          <c:idx val="3"/>
          <c:order val="3"/>
          <c:tx>
            <c:strRef>
              <c:f>Sheet1!$B$10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0:$A$111</c:f>
              <c:numCache>
                <c:formatCode>General</c:formatCode>
                <c:ptCount val="2"/>
                <c:pt idx="0">
                  <c:v>-5010.804607090216</c:v>
                </c:pt>
                <c:pt idx="1">
                  <c:v>-5010.804607090216</c:v>
                </c:pt>
              </c:numCache>
            </c:numRef>
          </c:xVal>
          <c:yVal>
            <c:numRef>
              <c:f>Sheet1!$B$110:$B$111</c:f>
              <c:numCache>
                <c:formatCode>General</c:formatCode>
                <c:ptCount val="2"/>
                <c:pt idx="0">
                  <c:v>0.516827806107527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4:$A$115</c:f>
              <c:numCache>
                <c:formatCode>General</c:formatCode>
                <c:ptCount val="2"/>
                <c:pt idx="0">
                  <c:v>0</c:v>
                </c:pt>
                <c:pt idx="1">
                  <c:v>107.22046565376607</c:v>
                </c:pt>
              </c:numCache>
            </c:numRef>
          </c:xVal>
          <c:yVal>
            <c:numRef>
              <c:f>Sheet1!$B$114:$B$115</c:f>
              <c:numCache>
                <c:formatCode>General</c:formatCode>
                <c:ptCount val="2"/>
                <c:pt idx="0">
                  <c:v>0.22611345843741923</c:v>
                </c:pt>
                <c:pt idx="1">
                  <c:v>0.22611345843741923</c:v>
                </c:pt>
              </c:numCache>
            </c:numRef>
          </c:yVal>
          <c:smooth val="0"/>
          <c:extLst>
            <c:ext xmlns:c16="http://schemas.microsoft.com/office/drawing/2014/chart" uri="{C3380CC4-5D6E-409C-BE32-E72D297353CC}">
              <c16:uniqueId val="{0000000A-F32D-48B7-BC20-E66FC6253BAD}"/>
            </c:ext>
          </c:extLst>
        </c:ser>
        <c:ser>
          <c:idx val="5"/>
          <c:order val="5"/>
          <c:tx>
            <c:strRef>
              <c:f>Sheet1!$B$11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8:$A$119</c:f>
              <c:numCache>
                <c:formatCode>General</c:formatCode>
                <c:ptCount val="2"/>
                <c:pt idx="0">
                  <c:v>107.22046565376607</c:v>
                </c:pt>
                <c:pt idx="1">
                  <c:v>107.22046565376607</c:v>
                </c:pt>
              </c:numCache>
            </c:numRef>
          </c:xVal>
          <c:yVal>
            <c:numRef>
              <c:f>Sheet1!$B$118:$B$119</c:f>
              <c:numCache>
                <c:formatCode>General</c:formatCode>
                <c:ptCount val="2"/>
                <c:pt idx="0">
                  <c:v>0.2261134584374192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2:$A$123</c:f>
              <c:numCache>
                <c:formatCode>General</c:formatCode>
                <c:ptCount val="2"/>
                <c:pt idx="0">
                  <c:v>0</c:v>
                </c:pt>
                <c:pt idx="1">
                  <c:v>3278.421016403769</c:v>
                </c:pt>
              </c:numCache>
            </c:numRef>
          </c:xVal>
          <c:yVal>
            <c:numRef>
              <c:f>Sheet1!$B$122:$B$123</c:f>
              <c:numCache>
                <c:formatCode>General</c:formatCode>
                <c:ptCount val="2"/>
                <c:pt idx="0">
                  <c:v>0.045982746622031334</c:v>
                </c:pt>
                <c:pt idx="1">
                  <c:v>0.045982746622031334</c:v>
                </c:pt>
              </c:numCache>
            </c:numRef>
          </c:yVal>
          <c:smooth val="0"/>
          <c:extLst>
            <c:ext xmlns:c16="http://schemas.microsoft.com/office/drawing/2014/chart" uri="{C3380CC4-5D6E-409C-BE32-E72D297353CC}">
              <c16:uniqueId val="{00000011-F32D-48B7-BC20-E66FC6253BAD}"/>
            </c:ext>
          </c:extLst>
        </c:ser>
        <c:ser>
          <c:idx val="7"/>
          <c:order val="7"/>
          <c:tx>
            <c:strRef>
              <c:f>Sheet1!$B$12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3278.421016403769</c:v>
                </c:pt>
                <c:pt idx="1">
                  <c:v>3278.421016403769</c:v>
                </c:pt>
              </c:numCache>
            </c:numRef>
          </c:xVal>
          <c:yVal>
            <c:numRef>
              <c:f>Sheet1!$B$126:$B$127</c:f>
              <c:numCache>
                <c:formatCode>General</c:formatCode>
                <c:ptCount val="2"/>
                <c:pt idx="0">
                  <c:v>0.04598274662203133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0:$A$159</c:f>
              <c:numCache>
                <c:formatCode>General</c:formatCode>
                <c:ptCount val="30"/>
                <c:pt idx="0">
                  <c:v>1165.7669</c:v>
                </c:pt>
                <c:pt idx="1">
                  <c:v>1143.5882</c:v>
                </c:pt>
                <c:pt idx="2">
                  <c:v>2284.5</c:v>
                </c:pt>
                <c:pt idx="3">
                  <c:v>5111.0</c:v>
                </c:pt>
                <c:pt idx="4">
                  <c:v>1100.5042</c:v>
                </c:pt>
                <c:pt idx="5">
                  <c:v>960.6471</c:v>
                </c:pt>
                <c:pt idx="6">
                  <c:v>4469.75</c:v>
                </c:pt>
                <c:pt idx="7">
                  <c:v>1082.3739</c:v>
                </c:pt>
                <c:pt idx="8">
                  <c:v>1037.4556</c:v>
                </c:pt>
                <c:pt idx="9">
                  <c:v>1203.175</c:v>
                </c:pt>
                <c:pt idx="10">
                  <c:v>1018.5574</c:v>
                </c:pt>
                <c:pt idx="11">
                  <c:v>1017.831</c:v>
                </c:pt>
                <c:pt idx="12">
                  <c:v>643.1667</c:v>
                </c:pt>
                <c:pt idx="13">
                  <c:v>708.5652</c:v>
                </c:pt>
                <c:pt idx="14">
                  <c:v>1224.1778</c:v>
                </c:pt>
                <c:pt idx="15">
                  <c:v>1495.7419</c:v>
                </c:pt>
                <c:pt idx="16">
                  <c:v>1634.1379</c:v>
                </c:pt>
                <c:pt idx="17">
                  <c:v>2379.0</c:v>
                </c:pt>
                <c:pt idx="18">
                  <c:v>1219.2372</c:v>
                </c:pt>
                <c:pt idx="19">
                  <c:v>3215.5</c:v>
                </c:pt>
                <c:pt idx="20">
                  <c:v>1608.8571</c:v>
                </c:pt>
                <c:pt idx="21">
                  <c:v>1828.0</c:v>
                </c:pt>
                <c:pt idx="22">
                  <c:v>3695.6667</c:v>
                </c:pt>
                <c:pt idx="23">
                  <c:v>1543.7857</c:v>
                </c:pt>
                <c:pt idx="24">
                  <c:v>3721.7273</c:v>
                </c:pt>
                <c:pt idx="25">
                  <c:v>694.1333</c:v>
                </c:pt>
                <c:pt idx="26">
                  <c:v>1046.025</c:v>
                </c:pt>
                <c:pt idx="27">
                  <c:v>107.22046565376607</c:v>
                </c:pt>
                <c:pt idx="28">
                  <c:v>-5010.804607090216</c:v>
                </c:pt>
                <c:pt idx="29">
                  <c:v>3278.421016403769</c:v>
                </c:pt>
              </c:numCache>
            </c:numRef>
          </c:xVal>
          <c:yVal>
            <c:numRef>
              <c:f>Sheet1!$B$130:$B$159</c:f>
              <c:numCache>
                <c:formatCode>General</c:formatCode>
                <c:ptCount val="30"/>
                <c:pt idx="0">
                  <c:v>0.16598584441334496</c:v>
                </c:pt>
                <c:pt idx="1">
                  <c:v>0.16724564017655996</c:v>
                </c:pt>
                <c:pt idx="2">
                  <c:v>0.10243950402601892</c:v>
                </c:pt>
                <c:pt idx="3">
                  <c:v>-0.05811150774325574</c:v>
                </c:pt>
                <c:pt idx="4">
                  <c:v>0.16969289996466097</c:v>
                </c:pt>
                <c:pt idx="5">
                  <c:v>0.17763707081487026</c:v>
                </c:pt>
                <c:pt idx="6">
                  <c:v>-0.021687189223161152</c:v>
                </c:pt>
                <c:pt idx="7">
                  <c:v>0.1707227382836705</c:v>
                </c:pt>
                <c:pt idx="8">
                  <c:v>0.17327419008340722</c:v>
                </c:pt>
                <c:pt idx="9">
                  <c:v>0.16386098741586885</c:v>
                </c:pt>
                <c:pt idx="10">
                  <c:v>0.174347646701351</c:v>
                </c:pt>
                <c:pt idx="11">
                  <c:v>0.1743889077149541</c:v>
                </c:pt>
                <c:pt idx="12">
                  <c:v>0.19567061032908006</c:v>
                </c:pt>
                <c:pt idx="13">
                  <c:v>0.19195584105853597</c:v>
                </c:pt>
                <c:pt idx="14">
                  <c:v>0.16266798519050615</c:v>
                </c:pt>
                <c:pt idx="15">
                  <c:v>0.1472425859280924</c:v>
                </c:pt>
                <c:pt idx="16">
                  <c:v>0.13938140856215553</c:v>
                </c:pt>
                <c:pt idx="17">
                  <c:v>0.09707170971779444</c:v>
                </c:pt>
                <c:pt idx="18">
                  <c:v>0.162948621429228</c:v>
                </c:pt>
                <c:pt idx="19">
                  <c:v>0.04955678973017788</c:v>
                </c:pt>
                <c:pt idx="20">
                  <c:v>0.14081740998382075</c:v>
                </c:pt>
                <c:pt idx="21">
                  <c:v>0.12836964266839423</c:v>
                </c:pt>
                <c:pt idx="22">
                  <c:v>0.022282333865004056</c:v>
                </c:pt>
                <c:pt idx="23">
                  <c:v>0.14451359930179108</c:v>
                </c:pt>
                <c:pt idx="24">
                  <c:v>0.0208020381999362</c:v>
                </c:pt>
                <c:pt idx="25">
                  <c:v>0.19277560265300014</c:v>
                </c:pt>
                <c:pt idx="26">
                  <c:v>0.17278743054324955</c:v>
                </c:pt>
                <c:pt idx="27">
                  <c:v>0.22611345843741923</c:v>
                </c:pt>
                <c:pt idx="28">
                  <c:v>0.5168278061075278</c:v>
                </c:pt>
                <c:pt idx="29">
                  <c:v>0.0459827466220313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3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33082706766917"/>
          <c:min val="0.000865800865800865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2</c:f>
              <c:numCache>
                <c:formatCode>General</c:formatCode>
                <c:ptCount val="71"/>
                <c:pt idx="0">
                  <c:v>1.4283692854906935</c:v>
                </c:pt>
                <c:pt idx="1">
                  <c:v>1.6027049111436922</c:v>
                </c:pt>
                <c:pt idx="2">
                  <c:v>1.3211158970696542</c:v>
                </c:pt>
                <c:pt idx="3">
                  <c:v>1.7110542115424794</c:v>
                </c:pt>
                <c:pt idx="4">
                  <c:v>2.2329086596807564</c:v>
                </c:pt>
                <c:pt idx="5">
                  <c:v>1.7929200160771703</c:v>
                </c:pt>
                <c:pt idx="6">
                  <c:v>1.9821952832740348</c:v>
                </c:pt>
                <c:pt idx="7">
                  <c:v>2.3075149435149434</c:v>
                </c:pt>
                <c:pt idx="8">
                  <c:v>2.454321453912713</c:v>
                </c:pt>
                <c:pt idx="9">
                  <c:v>1.5332416371995534</c:v>
                </c:pt>
                <c:pt idx="10">
                  <c:v>1.3576759489345942</c:v>
                </c:pt>
                <c:pt idx="11">
                  <c:v>1.8350348710192421</c:v>
                </c:pt>
                <c:pt idx="12">
                  <c:v>4.045668889713004</c:v>
                </c:pt>
                <c:pt idx="13">
                  <c:v>1.535913563878482</c:v>
                </c:pt>
                <c:pt idx="14">
                  <c:v>1.880137699268439</c:v>
                </c:pt>
                <c:pt idx="15">
                  <c:v>0.9150060514899288</c:v>
                </c:pt>
                <c:pt idx="16">
                  <c:v>2.2892592273197656</c:v>
                </c:pt>
                <c:pt idx="17">
                  <c:v>2.384463586293798</c:v>
                </c:pt>
                <c:pt idx="18">
                  <c:v>1.7494505663627413</c:v>
                </c:pt>
                <c:pt idx="19">
                  <c:v>1.6512783837487288</c:v>
                </c:pt>
                <c:pt idx="20">
                  <c:v>2.3347206553914726</c:v>
                </c:pt>
                <c:pt idx="21">
                  <c:v>2.4921749075119823</c:v>
                </c:pt>
                <c:pt idx="22">
                  <c:v>3.762530681697331</c:v>
                </c:pt>
                <c:pt idx="23">
                  <c:v>1.094984923863612</c:v>
                </c:pt>
                <c:pt idx="24">
                  <c:v>3.162214440896745</c:v>
                </c:pt>
                <c:pt idx="25">
                  <c:v>2.4228152205374833</c:v>
                </c:pt>
                <c:pt idx="26">
                  <c:v>1.7248389563048634</c:v>
                </c:pt>
                <c:pt idx="27">
                  <c:v>1.1671899864709325</c:v>
                </c:pt>
                <c:pt idx="28">
                  <c:v>1.08401517546149</c:v>
                </c:pt>
                <c:pt idx="29">
                  <c:v>1.1416654473583663</c:v>
                </c:pt>
                <c:pt idx="30">
                  <c:v>3.6300539689808677</c:v>
                </c:pt>
                <c:pt idx="31">
                  <c:v>1.0921319685746633</c:v>
                </c:pt>
                <c:pt idx="32">
                  <c:v>1.4248791133189846</c:v>
                </c:pt>
                <c:pt idx="33">
                  <c:v>0.7406357308779962</c:v>
                </c:pt>
                <c:pt idx="34">
                  <c:v>3.0603957481602615</c:v>
                </c:pt>
                <c:pt idx="35">
                  <c:v>0.845421242682336</c:v>
                </c:pt>
                <c:pt idx="36">
                  <c:v>1.4410495734259117</c:v>
                </c:pt>
                <c:pt idx="37">
                  <c:v>0.7492522320135319</c:v>
                </c:pt>
                <c:pt idx="38">
                  <c:v>1.6090533990778406</c:v>
                </c:pt>
                <c:pt idx="39">
                  <c:v>1.0791759945130315</c:v>
                </c:pt>
                <c:pt idx="40">
                  <c:v>1.3689037668837438</c:v>
                </c:pt>
                <c:pt idx="41">
                  <c:v>0.8053566785939846</c:v>
                </c:pt>
                <c:pt idx="42">
                  <c:v>2.414655059625335</c:v>
                </c:pt>
                <c:pt idx="43">
                  <c:v>0.8649579985905567</c:v>
                </c:pt>
                <c:pt idx="44">
                  <c:v>2.088697299036962</c:v>
                </c:pt>
                <c:pt idx="45">
                  <c:v>0.5818786059470784</c:v>
                </c:pt>
                <c:pt idx="46">
                  <c:v>0.8045496307164174</c:v>
                </c:pt>
                <c:pt idx="47">
                  <c:v>1.2770086724417282</c:v>
                </c:pt>
                <c:pt idx="48">
                  <c:v>1.0426912051834423</c:v>
                </c:pt>
                <c:pt idx="49">
                  <c:v>0.6745736661818016</c:v>
                </c:pt>
                <c:pt idx="50">
                  <c:v>2.3307877400742645</c:v>
                </c:pt>
                <c:pt idx="51">
                  <c:v>2.3232314933273863</c:v>
                </c:pt>
                <c:pt idx="52">
                  <c:v>2.8812909937702536</c:v>
                </c:pt>
                <c:pt idx="53">
                  <c:v>1.2510473486884657</c:v>
                </c:pt>
                <c:pt idx="54">
                  <c:v>1.1440838281052899</c:v>
                </c:pt>
                <c:pt idx="55">
                  <c:v>2.43534051843393</c:v>
                </c:pt>
                <c:pt idx="56">
                  <c:v>1.7246361969934094</c:v>
                </c:pt>
                <c:pt idx="57">
                  <c:v>2.2866248172174033</c:v>
                </c:pt>
                <c:pt idx="58">
                  <c:v>0.7500419176350714</c:v>
                </c:pt>
                <c:pt idx="59">
                  <c:v>1.7038267421025473</c:v>
                </c:pt>
                <c:pt idx="60">
                  <c:v>1.7689458400301756</c:v>
                </c:pt>
                <c:pt idx="61">
                  <c:v>9.112405340667934</c:v>
                </c:pt>
                <c:pt idx="62">
                  <c:v>1.7869614677362802</c:v>
                </c:pt>
                <c:pt idx="63">
                  <c:v>1.8287000996658103</c:v>
                </c:pt>
                <c:pt idx="64">
                  <c:v>3.9165671491024767</c:v>
                </c:pt>
                <c:pt idx="65">
                  <c:v>1.507970497729992</c:v>
                </c:pt>
                <c:pt idx="66">
                  <c:v>1.342102305243291</c:v>
                </c:pt>
                <c:pt idx="67">
                  <c:v>0.5796376554141434</c:v>
                </c:pt>
                <c:pt idx="68">
                  <c:v>3.9273536879979436</c:v>
                </c:pt>
                <c:pt idx="69">
                  <c:v>2.0520633581222567</c:v>
                </c:pt>
                <c:pt idx="70">
                  <c:v>3.1596147899924585</c:v>
                </c:pt>
              </c:numCache>
            </c:numRef>
          </c:xVal>
          <c:yVal>
            <c:numRef>
              <c:f>Sheet1!$B$2:$B$72</c:f>
              <c:numCache>
                <c:formatCode>General</c:formatCode>
                <c:ptCount val="71"/>
                <c:pt idx="0">
                  <c:v>0.1430472388556221</c:v>
                </c:pt>
                <c:pt idx="1">
                  <c:v>0.16554054054054054</c:v>
                </c:pt>
                <c:pt idx="2">
                  <c:v>0.13806706114398423</c:v>
                </c:pt>
                <c:pt idx="3">
                  <c:v>0.1482889733840304</c:v>
                </c:pt>
                <c:pt idx="4">
                  <c:v>0.020361990950226245</c:v>
                </c:pt>
                <c:pt idx="5">
                  <c:v>0.7960526315789473</c:v>
                </c:pt>
                <c:pt idx="6">
                  <c:v>0.21818181818181817</c:v>
                </c:pt>
                <c:pt idx="7">
                  <c:v>0.17342657342657342</c:v>
                </c:pt>
                <c:pt idx="8">
                  <c:v>0.08879492600422834</c:v>
                </c:pt>
                <c:pt idx="9">
                  <c:v>0.2970430107526882</c:v>
                </c:pt>
                <c:pt idx="10">
                  <c:v>0.11469534050179211</c:v>
                </c:pt>
                <c:pt idx="11">
                  <c:v>0.2711864406779661</c:v>
                </c:pt>
                <c:pt idx="12">
                  <c:v>0.5182926829268293</c:v>
                </c:pt>
                <c:pt idx="13">
                  <c:v>0.2066115702479339</c:v>
                </c:pt>
                <c:pt idx="14">
                  <c:v>0.2389937106918239</c:v>
                </c:pt>
                <c:pt idx="15">
                  <c:v>0.17901234567901234</c:v>
                </c:pt>
                <c:pt idx="16">
                  <c:v>0.16</c:v>
                </c:pt>
                <c:pt idx="17">
                  <c:v>0.29156999226604796</c:v>
                </c:pt>
                <c:pt idx="18">
                  <c:v>0.5154894671623296</c:v>
                </c:pt>
                <c:pt idx="19">
                  <c:v>0.010494752623688156</c:v>
                </c:pt>
                <c:pt idx="20">
                  <c:v>0.06712962962962964</c:v>
                </c:pt>
                <c:pt idx="21">
                  <c:v>0.1746031746031746</c:v>
                </c:pt>
                <c:pt idx="22">
                  <c:v>0.34189723320158105</c:v>
                </c:pt>
                <c:pt idx="23">
                  <c:v>0.08902691511387163</c:v>
                </c:pt>
                <c:pt idx="24">
                  <c:v>0.31179321486268174</c:v>
                </c:pt>
                <c:pt idx="25">
                  <c:v>0.3148148148148148</c:v>
                </c:pt>
                <c:pt idx="26">
                  <c:v>0.15097588978185994</c:v>
                </c:pt>
                <c:pt idx="27">
                  <c:v>0.38224852071005916</c:v>
                </c:pt>
                <c:pt idx="28">
                  <c:v>0.25951387183893937</c:v>
                </c:pt>
                <c:pt idx="29">
                  <c:v>0.24287974683544303</c:v>
                </c:pt>
                <c:pt idx="30">
                  <c:v>0.24372559955382042</c:v>
                </c:pt>
                <c:pt idx="31">
                  <c:v>0.35880077369439073</c:v>
                </c:pt>
                <c:pt idx="32">
                  <c:v>0.10413223140495868</c:v>
                </c:pt>
                <c:pt idx="33">
                  <c:v>0.089540412044374</c:v>
                </c:pt>
                <c:pt idx="34">
                  <c:v>0.1151012891344383</c:v>
                </c:pt>
                <c:pt idx="35">
                  <c:v>0.423956931359354</c:v>
                </c:pt>
                <c:pt idx="36">
                  <c:v>0.24022346368715083</c:v>
                </c:pt>
                <c:pt idx="37">
                  <c:v>0.343042071197411</c:v>
                </c:pt>
                <c:pt idx="38">
                  <c:v>0.2147477360931436</c:v>
                </c:pt>
                <c:pt idx="39">
                  <c:v>0.2780487804878049</c:v>
                </c:pt>
                <c:pt idx="40">
                  <c:v>0.4039408866995074</c:v>
                </c:pt>
                <c:pt idx="41">
                  <c:v>0.2831050228310502</c:v>
                </c:pt>
                <c:pt idx="42">
                  <c:v>0.2695852534562212</c:v>
                </c:pt>
                <c:pt idx="43">
                  <c:v>0.3589420654911839</c:v>
                </c:pt>
                <c:pt idx="44">
                  <c:v>0.4157608695652174</c:v>
                </c:pt>
                <c:pt idx="45">
                  <c:v>0.2259663032705649</c:v>
                </c:pt>
                <c:pt idx="46">
                  <c:v>0.37530864197530867</c:v>
                </c:pt>
                <c:pt idx="47">
                  <c:v>0.030560271646859084</c:v>
                </c:pt>
                <c:pt idx="48">
                  <c:v>0.13434903047091412</c:v>
                </c:pt>
                <c:pt idx="49">
                  <c:v>0.04699738903394256</c:v>
                </c:pt>
                <c:pt idx="50">
                  <c:v>0.16522988505747127</c:v>
                </c:pt>
                <c:pt idx="51">
                  <c:v>0.2858517805582291</c:v>
                </c:pt>
                <c:pt idx="52">
                  <c:v>0.24726477024070023</c:v>
                </c:pt>
                <c:pt idx="53">
                  <c:v>0.32666666666666666</c:v>
                </c:pt>
                <c:pt idx="54">
                  <c:v>0.2152777777777778</c:v>
                </c:pt>
                <c:pt idx="55">
                  <c:v>0.10755148741418764</c:v>
                </c:pt>
                <c:pt idx="56">
                  <c:v>0.30025445292620867</c:v>
                </c:pt>
                <c:pt idx="57">
                  <c:v>0.5105708245243129</c:v>
                </c:pt>
                <c:pt idx="58">
                  <c:v>0.14053254437869822</c:v>
                </c:pt>
                <c:pt idx="59">
                  <c:v>0.2050561797752809</c:v>
                </c:pt>
                <c:pt idx="60">
                  <c:v>0.24172185430463577</c:v>
                </c:pt>
                <c:pt idx="61">
                  <c:v>0.1324200913242009</c:v>
                </c:pt>
                <c:pt idx="62">
                  <c:v>0.028534370946822308</c:v>
                </c:pt>
                <c:pt idx="63">
                  <c:v>0.02027027027027027</c:v>
                </c:pt>
                <c:pt idx="64">
                  <c:v>0.011378002528445006</c:v>
                </c:pt>
                <c:pt idx="65">
                  <c:v>0.10739030023094688</c:v>
                </c:pt>
                <c:pt idx="66">
                  <c:v>0.11001517450682853</c:v>
                </c:pt>
                <c:pt idx="67">
                  <c:v>0.03986710963455149</c:v>
                </c:pt>
                <c:pt idx="68">
                  <c:v>0.003194888178913738</c:v>
                </c:pt>
                <c:pt idx="69">
                  <c:v>0.04801670146137787</c:v>
                </c:pt>
                <c:pt idx="70">
                  <c:v>0.005063291139240506</c:v>
                </c:pt>
              </c:numCache>
            </c:numRef>
          </c:yVal>
          <c:smooth val="0"/>
          <c:extLst>
            <c:ext xmlns:c16="http://schemas.microsoft.com/office/drawing/2014/chart" uri="{C3380CC4-5D6E-409C-BE32-E72D297353CC}">
              <c16:uniqueId val="{00000000-096C-4121-9522-6AB7243CCAAE}"/>
            </c:ext>
          </c:extLst>
        </c:ser>
        <c:ser>
          <c:idx val="1"/>
          <c:order val="1"/>
          <c:tx>
            <c:strRef>
              <c:f>Sheet1!$B$7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5:$A$96</c:f>
              <c:numCache>
                <c:formatCode>General</c:formatCode>
                <c:ptCount val="22"/>
                <c:pt idx="0">
                  <c:v>1.8616339375697752</c:v>
                </c:pt>
                <c:pt idx="1">
                  <c:v>1.2516119485739343</c:v>
                </c:pt>
                <c:pt idx="2">
                  <c:v>2.694303573534615</c:v>
                </c:pt>
                <c:pt idx="3">
                  <c:v>0.9436611984282908</c:v>
                </c:pt>
                <c:pt idx="4">
                  <c:v>5.406559091492443</c:v>
                </c:pt>
                <c:pt idx="5">
                  <c:v>1.1643436962134253</c:v>
                </c:pt>
                <c:pt idx="6">
                  <c:v>1.2691957713358188</c:v>
                </c:pt>
                <c:pt idx="7">
                  <c:v>1.5861480730049309</c:v>
                </c:pt>
                <c:pt idx="8">
                  <c:v>2.0307965856626864</c:v>
                </c:pt>
                <c:pt idx="9">
                  <c:v>1.3813139616894512</c:v>
                </c:pt>
                <c:pt idx="10">
                  <c:v>1.3845223398175186</c:v>
                </c:pt>
                <c:pt idx="11">
                  <c:v>2.672723815204498</c:v>
                </c:pt>
                <c:pt idx="12">
                  <c:v>2.539459932088285</c:v>
                </c:pt>
                <c:pt idx="13">
                  <c:v>3.493347274189869</c:v>
                </c:pt>
                <c:pt idx="14">
                  <c:v>4.964129521421607</c:v>
                </c:pt>
                <c:pt idx="15">
                  <c:v>2.011112907216495</c:v>
                </c:pt>
                <c:pt idx="16">
                  <c:v>4.499720123145815</c:v>
                </c:pt>
                <c:pt idx="17">
                  <c:v>2.047310563368363</c:v>
                </c:pt>
                <c:pt idx="18">
                  <c:v>2.1270125378892257</c:v>
                </c:pt>
                <c:pt idx="19">
                  <c:v>5.521057658187964</c:v>
                </c:pt>
                <c:pt idx="20">
                  <c:v>0.8033950231481481</c:v>
                </c:pt>
                <c:pt idx="21">
                  <c:v>1.335188682159421</c:v>
                </c:pt>
              </c:numCache>
            </c:numRef>
          </c:xVal>
          <c:yVal>
            <c:numRef>
              <c:f>Sheet1!$B$75:$B$96</c:f>
              <c:numCache>
                <c:formatCode>General</c:formatCode>
                <c:ptCount val="22"/>
                <c:pt idx="0">
                  <c:v>0.1543560606060606</c:v>
                </c:pt>
                <c:pt idx="1">
                  <c:v>0.02135678391959799</c:v>
                </c:pt>
                <c:pt idx="2">
                  <c:v>0.012688342585249802</c:v>
                </c:pt>
                <c:pt idx="3">
                  <c:v>0.18888888888888888</c:v>
                </c:pt>
                <c:pt idx="4">
                  <c:v>0.02531645569620253</c:v>
                </c:pt>
                <c:pt idx="5">
                  <c:v>0.28117359413202936</c:v>
                </c:pt>
                <c:pt idx="6">
                  <c:v>0.582312925170068</c:v>
                </c:pt>
                <c:pt idx="7">
                  <c:v>0.121765601217656</c:v>
                </c:pt>
                <c:pt idx="8">
                  <c:v>0.2982885085574572</c:v>
                </c:pt>
                <c:pt idx="9">
                  <c:v>0.544766708701135</c:v>
                </c:pt>
                <c:pt idx="10">
                  <c:v>0.00949367088607595</c:v>
                </c:pt>
                <c:pt idx="11">
                  <c:v>0.10948905109489052</c:v>
                </c:pt>
                <c:pt idx="12">
                  <c:v>0.04200542005420054</c:v>
                </c:pt>
                <c:pt idx="13">
                  <c:v>0.2049469964664311</c:v>
                </c:pt>
                <c:pt idx="14">
                  <c:v>0.006430868167202572</c:v>
                </c:pt>
                <c:pt idx="15">
                  <c:v>0.2948960302457467</c:v>
                </c:pt>
                <c:pt idx="16">
                  <c:v>0.008368200836820083</c:v>
                </c:pt>
                <c:pt idx="17">
                  <c:v>0.0412573673870334</c:v>
                </c:pt>
                <c:pt idx="18">
                  <c:v>0.025547445255474453</c:v>
                </c:pt>
                <c:pt idx="19">
                  <c:v>0.03206997084548105</c:v>
                </c:pt>
                <c:pt idx="20">
                  <c:v>0.05190311418685121</c:v>
                </c:pt>
                <c:pt idx="21">
                  <c:v>0.1553398058252427</c:v>
                </c:pt>
              </c:numCache>
            </c:numRef>
          </c:yVal>
          <c:smooth val="0"/>
          <c:extLst>
            <c:ext xmlns:c16="http://schemas.microsoft.com/office/drawing/2014/chart" uri="{C3380CC4-5D6E-409C-BE32-E72D297353CC}">
              <c16:uniqueId val="{00000002-096C-4121-9522-6AB7243CCAAE}"/>
            </c:ext>
          </c:extLst>
        </c:ser>
        <c:ser>
          <c:idx val="2"/>
          <c:order val="2"/>
          <c:tx>
            <c:strRef>
              <c:f>Sheet1!$B$9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99:$A$100</c:f>
              <c:numCache>
                <c:formatCode>General</c:formatCode>
                <c:ptCount val="2"/>
                <c:pt idx="0">
                  <c:v>0</c:v>
                </c:pt>
                <c:pt idx="1">
                  <c:v>0.031086605372945424</c:v>
                </c:pt>
              </c:numCache>
            </c:numRef>
          </c:xVal>
          <c:yVal>
            <c:numRef>
              <c:f>Sheet1!$B$99:$B$100</c:f>
              <c:numCache>
                <c:formatCode>General</c:formatCode>
                <c:ptCount val="2"/>
                <c:pt idx="0">
                  <c:v>0.2580748338566698</c:v>
                </c:pt>
                <c:pt idx="1">
                  <c:v>0.2580748338566698</c:v>
                </c:pt>
              </c:numCache>
            </c:numRef>
          </c:yVal>
          <c:smooth val="0"/>
          <c:extLst>
            <c:ext xmlns:c16="http://schemas.microsoft.com/office/drawing/2014/chart" uri="{C3380CC4-5D6E-409C-BE32-E72D297353CC}">
              <c16:uniqueId val="{00000005-096C-4121-9522-6AB7243CCAAE}"/>
            </c:ext>
          </c:extLst>
        </c:ser>
        <c:ser>
          <c:idx val="3"/>
          <c:order val="3"/>
          <c:tx>
            <c:strRef>
              <c:f>Sheet1!$B$10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3:$A$104</c:f>
              <c:numCache>
                <c:formatCode>General</c:formatCode>
                <c:ptCount val="2"/>
                <c:pt idx="0">
                  <c:v>0.031086605372945424</c:v>
                </c:pt>
                <c:pt idx="1">
                  <c:v>0.031086605372945424</c:v>
                </c:pt>
              </c:numCache>
            </c:numRef>
          </c:xVal>
          <c:yVal>
            <c:numRef>
              <c:f>Sheet1!$B$103:$B$104</c:f>
              <c:numCache>
                <c:formatCode>General</c:formatCode>
                <c:ptCount val="2"/>
                <c:pt idx="0">
                  <c:v>0.25807483385666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07:$A$108</c:f>
              <c:numCache>
                <c:formatCode>General</c:formatCode>
                <c:ptCount val="2"/>
                <c:pt idx="0">
                  <c:v>0</c:v>
                </c:pt>
                <c:pt idx="1">
                  <c:v>0.2308194263011044</c:v>
                </c:pt>
              </c:numCache>
            </c:numRef>
          </c:xVal>
          <c:yVal>
            <c:numRef>
              <c:f>Sheet1!$B$107:$B$108</c:f>
              <c:numCache>
                <c:formatCode>General</c:formatCode>
                <c:ptCount val="2"/>
                <c:pt idx="0">
                  <c:v>0.2486619349766891</c:v>
                </c:pt>
                <c:pt idx="1">
                  <c:v>0.2486619349766891</c:v>
                </c:pt>
              </c:numCache>
            </c:numRef>
          </c:yVal>
          <c:smooth val="0"/>
          <c:extLst>
            <c:ext xmlns:c16="http://schemas.microsoft.com/office/drawing/2014/chart" uri="{C3380CC4-5D6E-409C-BE32-E72D297353CC}">
              <c16:uniqueId val="{0000000D-096C-4121-9522-6AB7243CCAAE}"/>
            </c:ext>
          </c:extLst>
        </c:ser>
        <c:ser>
          <c:idx val="5"/>
          <c:order val="5"/>
          <c:tx>
            <c:strRef>
              <c:f>Sheet1!$B$11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1:$A$112</c:f>
              <c:numCache>
                <c:formatCode>General</c:formatCode>
                <c:ptCount val="2"/>
                <c:pt idx="0">
                  <c:v>0.2308194263011044</c:v>
                </c:pt>
                <c:pt idx="1">
                  <c:v>0.2308194263011044</c:v>
                </c:pt>
              </c:numCache>
            </c:numRef>
          </c:xVal>
          <c:yVal>
            <c:numRef>
              <c:f>Sheet1!$B$111:$B$112</c:f>
              <c:numCache>
                <c:formatCode>General</c:formatCode>
                <c:ptCount val="2"/>
                <c:pt idx="0">
                  <c:v>0.248661934976689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5:$A$116</c:f>
              <c:numCache>
                <c:formatCode>General</c:formatCode>
                <c:ptCount val="2"/>
                <c:pt idx="0">
                  <c:v>0</c:v>
                </c:pt>
                <c:pt idx="1">
                  <c:v>4.10216922767742</c:v>
                </c:pt>
              </c:numCache>
            </c:numRef>
          </c:xVal>
          <c:yVal>
            <c:numRef>
              <c:f>Sheet1!$B$115:$B$116</c:f>
              <c:numCache>
                <c:formatCode>General</c:formatCode>
                <c:ptCount val="2"/>
                <c:pt idx="0">
                  <c:v>0.06621508402826234</c:v>
                </c:pt>
                <c:pt idx="1">
                  <c:v>0.06621508402826234</c:v>
                </c:pt>
              </c:numCache>
            </c:numRef>
          </c:yVal>
          <c:smooth val="0"/>
          <c:extLst>
            <c:ext xmlns:c16="http://schemas.microsoft.com/office/drawing/2014/chart" uri="{C3380CC4-5D6E-409C-BE32-E72D297353CC}">
              <c16:uniqueId val="{00000015-096C-4121-9522-6AB7243CCAAE}"/>
            </c:ext>
          </c:extLst>
        </c:ser>
        <c:ser>
          <c:idx val="7"/>
          <c:order val="7"/>
          <c:tx>
            <c:strRef>
              <c:f>Sheet1!$B$11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9:$A$120</c:f>
              <c:numCache>
                <c:formatCode>General</c:formatCode>
                <c:ptCount val="2"/>
                <c:pt idx="0">
                  <c:v>4.10216922767742</c:v>
                </c:pt>
                <c:pt idx="1">
                  <c:v>4.10216922767742</c:v>
                </c:pt>
              </c:numCache>
            </c:numRef>
          </c:xVal>
          <c:yVal>
            <c:numRef>
              <c:f>Sheet1!$B$119:$B$120</c:f>
              <c:numCache>
                <c:formatCode>General</c:formatCode>
                <c:ptCount val="2"/>
                <c:pt idx="0">
                  <c:v>0.0662150840282623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3:$A$147</c:f>
              <c:numCache>
                <c:formatCode>General</c:formatCode>
                <c:ptCount val="25"/>
                <c:pt idx="0">
                  <c:v>1.8616339375697752</c:v>
                </c:pt>
                <c:pt idx="1">
                  <c:v>1.2516119485739343</c:v>
                </c:pt>
                <c:pt idx="2">
                  <c:v>2.694303573534615</c:v>
                </c:pt>
                <c:pt idx="3">
                  <c:v>0.9436611984282908</c:v>
                </c:pt>
                <c:pt idx="4">
                  <c:v>5.406559091492443</c:v>
                </c:pt>
                <c:pt idx="5">
                  <c:v>1.1643436962134253</c:v>
                </c:pt>
                <c:pt idx="6">
                  <c:v>1.2691957713358188</c:v>
                </c:pt>
                <c:pt idx="7">
                  <c:v>1.5861480730049309</c:v>
                </c:pt>
                <c:pt idx="8">
                  <c:v>2.0307965856626864</c:v>
                </c:pt>
                <c:pt idx="9">
                  <c:v>1.3813139616894512</c:v>
                </c:pt>
                <c:pt idx="10">
                  <c:v>1.3845223398175186</c:v>
                </c:pt>
                <c:pt idx="11">
                  <c:v>2.672723815204498</c:v>
                </c:pt>
                <c:pt idx="12">
                  <c:v>2.539459932088285</c:v>
                </c:pt>
                <c:pt idx="13">
                  <c:v>3.493347274189869</c:v>
                </c:pt>
                <c:pt idx="14">
                  <c:v>4.964129521421607</c:v>
                </c:pt>
                <c:pt idx="15">
                  <c:v>2.011112907216495</c:v>
                </c:pt>
                <c:pt idx="16">
                  <c:v>4.499720123145815</c:v>
                </c:pt>
                <c:pt idx="17">
                  <c:v>2.047310563368363</c:v>
                </c:pt>
                <c:pt idx="18">
                  <c:v>2.1270125378892257</c:v>
                </c:pt>
                <c:pt idx="19">
                  <c:v>5.521057658187964</c:v>
                </c:pt>
                <c:pt idx="20">
                  <c:v>0.8033950231481481</c:v>
                </c:pt>
                <c:pt idx="21">
                  <c:v>1.335188682159421</c:v>
                </c:pt>
                <c:pt idx="22">
                  <c:v>0.2308194263011044</c:v>
                </c:pt>
                <c:pt idx="23">
                  <c:v>0.031086605372945424</c:v>
                </c:pt>
                <c:pt idx="24">
                  <c:v>4.10216922767742</c:v>
                </c:pt>
              </c:numCache>
            </c:numRef>
          </c:xVal>
          <c:yVal>
            <c:numRef>
              <c:f>Sheet1!$B$123:$B$147</c:f>
              <c:numCache>
                <c:formatCode>General</c:formatCode>
                <c:ptCount val="25"/>
                <c:pt idx="0">
                  <c:v>0.17180580279349336</c:v>
                </c:pt>
                <c:pt idx="1">
                  <c:v>0.20055458464266124</c:v>
                </c:pt>
                <c:pt idx="2">
                  <c:v>0.13256420470588345</c:v>
                </c:pt>
                <c:pt idx="3">
                  <c:v>0.2150675187596723</c:v>
                </c:pt>
                <c:pt idx="4">
                  <c:v>0.004742513665983938</c:v>
                </c:pt>
                <c:pt idx="5">
                  <c:v>0.20466731499456253</c:v>
                </c:pt>
                <c:pt idx="6">
                  <c:v>0.19972590388397582</c:v>
                </c:pt>
                <c:pt idx="7">
                  <c:v>0.18478874958192154</c:v>
                </c:pt>
                <c:pt idx="8">
                  <c:v>0.16383359825861094</c:v>
                </c:pt>
                <c:pt idx="9">
                  <c:v>0.1944420592784627</c:v>
                </c:pt>
                <c:pt idx="10">
                  <c:v>0.19429085659305578</c:v>
                </c:pt>
                <c:pt idx="11">
                  <c:v>0.13358120372523277</c:v>
                </c:pt>
                <c:pt idx="12">
                  <c:v>0.13986159094600742</c:v>
                </c:pt>
                <c:pt idx="13">
                  <c:v>0.0949073112619222</c:v>
                </c:pt>
                <c:pt idx="14">
                  <c:v>0.02559309187960679</c:v>
                </c:pt>
                <c:pt idx="15">
                  <c:v>0.1647612398647278</c:v>
                </c:pt>
                <c:pt idx="16">
                  <c:v>0.04747952338629971</c:v>
                </c:pt>
                <c:pt idx="17">
                  <c:v>0.16305533657118548</c:v>
                </c:pt>
                <c:pt idx="18">
                  <c:v>0.15929918561305367</c:v>
                </c:pt>
                <c:pt idx="19">
                  <c:v>-0.0006535120107140635</c:v>
                </c:pt>
                <c:pt idx="20">
                  <c:v>0.2216779061664998</c:v>
                </c:pt>
                <c:pt idx="21">
                  <c:v>0.19661582616369178</c:v>
                </c:pt>
                <c:pt idx="22">
                  <c:v>0.2486619349766891</c:v>
                </c:pt>
                <c:pt idx="23">
                  <c:v>0.2580748338566698</c:v>
                </c:pt>
                <c:pt idx="24">
                  <c:v>0.0662150840282623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552631578947368"/>
          <c:min val="0.00255591054313099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2</c:f>
              <c:numCache>
                <c:formatCode>General</c:formatCode>
                <c:ptCount val="71"/>
                <c:pt idx="0">
                  <c:v>1031.2512</c:v>
                </c:pt>
                <c:pt idx="1">
                  <c:v>1029.7347</c:v>
                </c:pt>
                <c:pt idx="2">
                  <c:v>887.9286</c:v>
                </c:pt>
                <c:pt idx="3">
                  <c:v>979.4615</c:v>
                </c:pt>
                <c:pt idx="4">
                  <c:v>1437.8889</c:v>
                </c:pt>
                <c:pt idx="5">
                  <c:v>892.157</c:v>
                </c:pt>
                <c:pt idx="6">
                  <c:v>1368.9667</c:v>
                </c:pt>
                <c:pt idx="7">
                  <c:v>1613.6452</c:v>
                </c:pt>
                <c:pt idx="8">
                  <c:v>1635.0476</c:v>
                </c:pt>
                <c:pt idx="9">
                  <c:v>1071.4751</c:v>
                </c:pt>
                <c:pt idx="10">
                  <c:v>832.875</c:v>
                </c:pt>
                <c:pt idx="11">
                  <c:v>1091.9375</c:v>
                </c:pt>
                <c:pt idx="12">
                  <c:v>1764.0059</c:v>
                </c:pt>
                <c:pt idx="13">
                  <c:v>994.06</c:v>
                </c:pt>
                <c:pt idx="14">
                  <c:v>1396.1974</c:v>
                </c:pt>
                <c:pt idx="15">
                  <c:v>695.9138</c:v>
                </c:pt>
                <c:pt idx="16">
                  <c:v>1327.3125</c:v>
                </c:pt>
                <c:pt idx="17">
                  <c:v>850.4125</c:v>
                </c:pt>
                <c:pt idx="18">
                  <c:v>1204.9423</c:v>
                </c:pt>
                <c:pt idx="19">
                  <c:v>1184.7143</c:v>
                </c:pt>
                <c:pt idx="20">
                  <c:v>1767.8276</c:v>
                </c:pt>
                <c:pt idx="21">
                  <c:v>1173.697</c:v>
                </c:pt>
                <c:pt idx="22">
                  <c:v>1768.9538</c:v>
                </c:pt>
                <c:pt idx="23">
                  <c:v>821.5581</c:v>
                </c:pt>
                <c:pt idx="24">
                  <c:v>1782.5855</c:v>
                </c:pt>
                <c:pt idx="25">
                  <c:v>1305.7908</c:v>
                </c:pt>
                <c:pt idx="26">
                  <c:v>1126.4373</c:v>
                </c:pt>
                <c:pt idx="27">
                  <c:v>1028.9752</c:v>
                </c:pt>
                <c:pt idx="28">
                  <c:v>708.1779</c:v>
                </c:pt>
                <c:pt idx="29">
                  <c:v>634.3583</c:v>
                </c:pt>
                <c:pt idx="30">
                  <c:v>940.119</c:v>
                </c:pt>
                <c:pt idx="31">
                  <c:v>558.3315</c:v>
                </c:pt>
                <c:pt idx="32">
                  <c:v>1007.3968</c:v>
                </c:pt>
                <c:pt idx="33">
                  <c:v>492.7965</c:v>
                </c:pt>
                <c:pt idx="34">
                  <c:v>1871.432</c:v>
                </c:pt>
                <c:pt idx="35">
                  <c:v>791.4635</c:v>
                </c:pt>
                <c:pt idx="36">
                  <c:v>1201.3023</c:v>
                </c:pt>
                <c:pt idx="37">
                  <c:v>504.3491</c:v>
                </c:pt>
                <c:pt idx="38">
                  <c:v>1145.3012</c:v>
                </c:pt>
                <c:pt idx="39">
                  <c:v>786.7193</c:v>
                </c:pt>
                <c:pt idx="40">
                  <c:v>514.5122</c:v>
                </c:pt>
                <c:pt idx="41">
                  <c:v>531.871</c:v>
                </c:pt>
                <c:pt idx="42">
                  <c:v>1616.7265</c:v>
                </c:pt>
                <c:pt idx="43">
                  <c:v>613.6877</c:v>
                </c:pt>
                <c:pt idx="44">
                  <c:v>1147.415</c:v>
                </c:pt>
                <c:pt idx="45">
                  <c:v>545.0351</c:v>
                </c:pt>
                <c:pt idx="46">
                  <c:v>960.1974</c:v>
                </c:pt>
                <c:pt idx="47">
                  <c:v>518.6111</c:v>
                </c:pt>
                <c:pt idx="48">
                  <c:v>497.134</c:v>
                </c:pt>
                <c:pt idx="49">
                  <c:v>472.6111</c:v>
                </c:pt>
                <c:pt idx="50">
                  <c:v>1929.1739</c:v>
                </c:pt>
                <c:pt idx="51">
                  <c:v>1167.8283</c:v>
                </c:pt>
                <c:pt idx="52">
                  <c:v>1918.1947</c:v>
                </c:pt>
                <c:pt idx="53">
                  <c:v>787.7959</c:v>
                </c:pt>
                <c:pt idx="54">
                  <c:v>850.2688</c:v>
                </c:pt>
                <c:pt idx="55">
                  <c:v>1630.1809</c:v>
                </c:pt>
                <c:pt idx="56">
                  <c:v>823.5212</c:v>
                </c:pt>
                <c:pt idx="57">
                  <c:v>916.5197</c:v>
                </c:pt>
                <c:pt idx="58">
                  <c:v>500.1158</c:v>
                </c:pt>
                <c:pt idx="59">
                  <c:v>1219.3356</c:v>
                </c:pt>
                <c:pt idx="60">
                  <c:v>1167.7466</c:v>
                </c:pt>
                <c:pt idx="61">
                  <c:v>1121.1293</c:v>
                </c:pt>
                <c:pt idx="62">
                  <c:v>738.4545</c:v>
                </c:pt>
                <c:pt idx="63">
                  <c:v>1061.0833</c:v>
                </c:pt>
                <c:pt idx="64">
                  <c:v>2225.5556</c:v>
                </c:pt>
                <c:pt idx="65">
                  <c:v>923.6452</c:v>
                </c:pt>
                <c:pt idx="66">
                  <c:v>1018.5103</c:v>
                </c:pt>
                <c:pt idx="67">
                  <c:v>504.7778</c:v>
                </c:pt>
                <c:pt idx="68">
                  <c:v>3820.3333</c:v>
                </c:pt>
                <c:pt idx="69">
                  <c:v>1922.1304</c:v>
                </c:pt>
                <c:pt idx="70">
                  <c:v>1730.0</c:v>
                </c:pt>
              </c:numCache>
            </c:numRef>
          </c:xVal>
          <c:yVal>
            <c:numRef>
              <c:f>Sheet1!$B$2:$B$72</c:f>
              <c:numCache>
                <c:formatCode>General</c:formatCode>
                <c:ptCount val="71"/>
                <c:pt idx="0">
                  <c:v>0.1430472388556221</c:v>
                </c:pt>
                <c:pt idx="1">
                  <c:v>0.16554054054054054</c:v>
                </c:pt>
                <c:pt idx="2">
                  <c:v>0.13806706114398423</c:v>
                </c:pt>
                <c:pt idx="3">
                  <c:v>0.1482889733840304</c:v>
                </c:pt>
                <c:pt idx="4">
                  <c:v>0.020361990950226245</c:v>
                </c:pt>
                <c:pt idx="5">
                  <c:v>0.7960526315789473</c:v>
                </c:pt>
                <c:pt idx="6">
                  <c:v>0.21818181818181817</c:v>
                </c:pt>
                <c:pt idx="7">
                  <c:v>0.17342657342657342</c:v>
                </c:pt>
                <c:pt idx="8">
                  <c:v>0.08879492600422834</c:v>
                </c:pt>
                <c:pt idx="9">
                  <c:v>0.2970430107526882</c:v>
                </c:pt>
                <c:pt idx="10">
                  <c:v>0.11469534050179211</c:v>
                </c:pt>
                <c:pt idx="11">
                  <c:v>0.2711864406779661</c:v>
                </c:pt>
                <c:pt idx="12">
                  <c:v>0.5182926829268293</c:v>
                </c:pt>
                <c:pt idx="13">
                  <c:v>0.2066115702479339</c:v>
                </c:pt>
                <c:pt idx="14">
                  <c:v>0.2389937106918239</c:v>
                </c:pt>
                <c:pt idx="15">
                  <c:v>0.17901234567901234</c:v>
                </c:pt>
                <c:pt idx="16">
                  <c:v>0.16</c:v>
                </c:pt>
                <c:pt idx="17">
                  <c:v>0.29156999226604796</c:v>
                </c:pt>
                <c:pt idx="18">
                  <c:v>0.5154894671623296</c:v>
                </c:pt>
                <c:pt idx="19">
                  <c:v>0.010494752623688156</c:v>
                </c:pt>
                <c:pt idx="20">
                  <c:v>0.06712962962962964</c:v>
                </c:pt>
                <c:pt idx="21">
                  <c:v>0.1746031746031746</c:v>
                </c:pt>
                <c:pt idx="22">
                  <c:v>0.34189723320158105</c:v>
                </c:pt>
                <c:pt idx="23">
                  <c:v>0.08902691511387163</c:v>
                </c:pt>
                <c:pt idx="24">
                  <c:v>0.31179321486268174</c:v>
                </c:pt>
                <c:pt idx="25">
                  <c:v>0.3148148148148148</c:v>
                </c:pt>
                <c:pt idx="26">
                  <c:v>0.15097588978185994</c:v>
                </c:pt>
                <c:pt idx="27">
                  <c:v>0.38224852071005916</c:v>
                </c:pt>
                <c:pt idx="28">
                  <c:v>0.25951387183893937</c:v>
                </c:pt>
                <c:pt idx="29">
                  <c:v>0.24287974683544303</c:v>
                </c:pt>
                <c:pt idx="30">
                  <c:v>0.24372559955382042</c:v>
                </c:pt>
                <c:pt idx="31">
                  <c:v>0.35880077369439073</c:v>
                </c:pt>
                <c:pt idx="32">
                  <c:v>0.10413223140495868</c:v>
                </c:pt>
                <c:pt idx="33">
                  <c:v>0.089540412044374</c:v>
                </c:pt>
                <c:pt idx="34">
                  <c:v>0.1151012891344383</c:v>
                </c:pt>
                <c:pt idx="35">
                  <c:v>0.423956931359354</c:v>
                </c:pt>
                <c:pt idx="36">
                  <c:v>0.24022346368715083</c:v>
                </c:pt>
                <c:pt idx="37">
                  <c:v>0.343042071197411</c:v>
                </c:pt>
                <c:pt idx="38">
                  <c:v>0.2147477360931436</c:v>
                </c:pt>
                <c:pt idx="39">
                  <c:v>0.2780487804878049</c:v>
                </c:pt>
                <c:pt idx="40">
                  <c:v>0.4039408866995074</c:v>
                </c:pt>
                <c:pt idx="41">
                  <c:v>0.2831050228310502</c:v>
                </c:pt>
                <c:pt idx="42">
                  <c:v>0.2695852534562212</c:v>
                </c:pt>
                <c:pt idx="43">
                  <c:v>0.3589420654911839</c:v>
                </c:pt>
                <c:pt idx="44">
                  <c:v>0.4157608695652174</c:v>
                </c:pt>
                <c:pt idx="45">
                  <c:v>0.2259663032705649</c:v>
                </c:pt>
                <c:pt idx="46">
                  <c:v>0.37530864197530867</c:v>
                </c:pt>
                <c:pt idx="47">
                  <c:v>0.030560271646859084</c:v>
                </c:pt>
                <c:pt idx="48">
                  <c:v>0.13434903047091412</c:v>
                </c:pt>
                <c:pt idx="49">
                  <c:v>0.04699738903394256</c:v>
                </c:pt>
                <c:pt idx="50">
                  <c:v>0.16522988505747127</c:v>
                </c:pt>
                <c:pt idx="51">
                  <c:v>0.2858517805582291</c:v>
                </c:pt>
                <c:pt idx="52">
                  <c:v>0.24726477024070023</c:v>
                </c:pt>
                <c:pt idx="53">
                  <c:v>0.32666666666666666</c:v>
                </c:pt>
                <c:pt idx="54">
                  <c:v>0.2152777777777778</c:v>
                </c:pt>
                <c:pt idx="55">
                  <c:v>0.10755148741418764</c:v>
                </c:pt>
                <c:pt idx="56">
                  <c:v>0.30025445292620867</c:v>
                </c:pt>
                <c:pt idx="57">
                  <c:v>0.5105708245243129</c:v>
                </c:pt>
                <c:pt idx="58">
                  <c:v>0.14053254437869822</c:v>
                </c:pt>
                <c:pt idx="59">
                  <c:v>0.2050561797752809</c:v>
                </c:pt>
                <c:pt idx="60">
                  <c:v>0.24172185430463577</c:v>
                </c:pt>
                <c:pt idx="61">
                  <c:v>0.1324200913242009</c:v>
                </c:pt>
                <c:pt idx="62">
                  <c:v>0.028534370946822308</c:v>
                </c:pt>
                <c:pt idx="63">
                  <c:v>0.02027027027027027</c:v>
                </c:pt>
                <c:pt idx="64">
                  <c:v>0.011378002528445006</c:v>
                </c:pt>
                <c:pt idx="65">
                  <c:v>0.10739030023094688</c:v>
                </c:pt>
                <c:pt idx="66">
                  <c:v>0.11001517450682853</c:v>
                </c:pt>
                <c:pt idx="67">
                  <c:v>0.03986710963455149</c:v>
                </c:pt>
                <c:pt idx="68">
                  <c:v>0.003194888178913738</c:v>
                </c:pt>
                <c:pt idx="69">
                  <c:v>0.04801670146137787</c:v>
                </c:pt>
                <c:pt idx="70">
                  <c:v>0.005063291139240506</c:v>
                </c:pt>
              </c:numCache>
            </c:numRef>
          </c:yVal>
          <c:smooth val="0"/>
          <c:extLst>
            <c:ext xmlns:c16="http://schemas.microsoft.com/office/drawing/2014/chart" uri="{C3380CC4-5D6E-409C-BE32-E72D297353CC}">
              <c16:uniqueId val="{00000000-F32D-48B7-BC20-E66FC6253BAD}"/>
            </c:ext>
          </c:extLst>
        </c:ser>
        <c:ser>
          <c:idx val="1"/>
          <c:order val="1"/>
          <c:tx>
            <c:strRef>
              <c:f>Sheet1!$B$7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5:$A$96</c:f>
              <c:numCache>
                <c:formatCode>General</c:formatCode>
                <c:ptCount val="22"/>
                <c:pt idx="0">
                  <c:v>1165.7669</c:v>
                </c:pt>
                <c:pt idx="1">
                  <c:v>1143.5882</c:v>
                </c:pt>
                <c:pt idx="2">
                  <c:v>2284.5</c:v>
                </c:pt>
                <c:pt idx="3">
                  <c:v>960.6471</c:v>
                </c:pt>
                <c:pt idx="4">
                  <c:v>4469.75</c:v>
                </c:pt>
                <c:pt idx="5">
                  <c:v>1082.3739</c:v>
                </c:pt>
                <c:pt idx="6">
                  <c:v>1037.4556</c:v>
                </c:pt>
                <c:pt idx="7">
                  <c:v>1203.175</c:v>
                </c:pt>
                <c:pt idx="8">
                  <c:v>1018.5574</c:v>
                </c:pt>
                <c:pt idx="9">
                  <c:v>1017.831</c:v>
                </c:pt>
                <c:pt idx="10">
                  <c:v>643.1667</c:v>
                </c:pt>
                <c:pt idx="11">
                  <c:v>1224.1778</c:v>
                </c:pt>
                <c:pt idx="12">
                  <c:v>1495.7419</c:v>
                </c:pt>
                <c:pt idx="13">
                  <c:v>1634.1379</c:v>
                </c:pt>
                <c:pt idx="14">
                  <c:v>2379.0</c:v>
                </c:pt>
                <c:pt idx="15">
                  <c:v>1219.2372</c:v>
                </c:pt>
                <c:pt idx="16">
                  <c:v>3215.5</c:v>
                </c:pt>
                <c:pt idx="17">
                  <c:v>1608.8571</c:v>
                </c:pt>
                <c:pt idx="18">
                  <c:v>1543.7857</c:v>
                </c:pt>
                <c:pt idx="19">
                  <c:v>3721.7273</c:v>
                </c:pt>
                <c:pt idx="20">
                  <c:v>694.1333</c:v>
                </c:pt>
                <c:pt idx="21">
                  <c:v>1046.025</c:v>
                </c:pt>
              </c:numCache>
            </c:numRef>
          </c:xVal>
          <c:yVal>
            <c:numRef>
              <c:f>Sheet1!$B$75:$B$96</c:f>
              <c:numCache>
                <c:formatCode>General</c:formatCode>
                <c:ptCount val="22"/>
                <c:pt idx="0">
                  <c:v>0.1543560606060606</c:v>
                </c:pt>
                <c:pt idx="1">
                  <c:v>0.02135678391959799</c:v>
                </c:pt>
                <c:pt idx="2">
                  <c:v>0.012688342585249802</c:v>
                </c:pt>
                <c:pt idx="3">
                  <c:v>0.18888888888888888</c:v>
                </c:pt>
                <c:pt idx="4">
                  <c:v>0.02531645569620253</c:v>
                </c:pt>
                <c:pt idx="5">
                  <c:v>0.28117359413202936</c:v>
                </c:pt>
                <c:pt idx="6">
                  <c:v>0.582312925170068</c:v>
                </c:pt>
                <c:pt idx="7">
                  <c:v>0.121765601217656</c:v>
                </c:pt>
                <c:pt idx="8">
                  <c:v>0.2982885085574572</c:v>
                </c:pt>
                <c:pt idx="9">
                  <c:v>0.544766708701135</c:v>
                </c:pt>
                <c:pt idx="10">
                  <c:v>0.00949367088607595</c:v>
                </c:pt>
                <c:pt idx="11">
                  <c:v>0.10948905109489052</c:v>
                </c:pt>
                <c:pt idx="12">
                  <c:v>0.04200542005420054</c:v>
                </c:pt>
                <c:pt idx="13">
                  <c:v>0.2049469964664311</c:v>
                </c:pt>
                <c:pt idx="14">
                  <c:v>0.006430868167202572</c:v>
                </c:pt>
                <c:pt idx="15">
                  <c:v>0.2948960302457467</c:v>
                </c:pt>
                <c:pt idx="16">
                  <c:v>0.008368200836820083</c:v>
                </c:pt>
                <c:pt idx="17">
                  <c:v>0.0412573673870334</c:v>
                </c:pt>
                <c:pt idx="18">
                  <c:v>0.025547445255474453</c:v>
                </c:pt>
                <c:pt idx="19">
                  <c:v>0.03206997084548105</c:v>
                </c:pt>
                <c:pt idx="20">
                  <c:v>0.05190311418685121</c:v>
                </c:pt>
                <c:pt idx="21">
                  <c:v>0.1553398058252427</c:v>
                </c:pt>
              </c:numCache>
            </c:numRef>
          </c:yVal>
          <c:smooth val="0"/>
          <c:extLst>
            <c:ext xmlns:c16="http://schemas.microsoft.com/office/drawing/2014/chart" uri="{C3380CC4-5D6E-409C-BE32-E72D297353CC}">
              <c16:uniqueId val="{00000002-F32D-48B7-BC20-E66FC6253BAD}"/>
            </c:ext>
          </c:extLst>
        </c:ser>
        <c:ser>
          <c:idx val="2"/>
          <c:order val="2"/>
          <c:tx>
            <c:strRef>
              <c:f>Sheet1!$B$98</c:f>
              <c:strCache>
                <c:ptCount val="1"/>
                <c:pt idx="0">
                  <c:v>Custom Linep3yQ</c:v>
                </c:pt>
              </c:strCache>
            </c:strRef>
          </c:tx>
          <c:spPr>
            <a:ln w="19050" cap="rnd">
              <a:solidFill>
                <a:srgbClr val="C00000"/>
              </a:solidFill>
              <a:prstDash val="sysDot"/>
              <a:round/>
            </a:ln>
            <a:effectLst/>
          </c:spPr>
          <c:marker>
            <c:symbol val="none"/>
          </c:marker>
          <c:xVal>
            <c:numRef>
              <c:f>Sheet1!$A$99:$A$100</c:f>
              <c:numCache>
                <c:formatCode>General</c:formatCode>
                <c:ptCount val="2"/>
                <c:pt idx="0">
                  <c:v>0</c:v>
                </c:pt>
                <c:pt idx="1">
                  <c:v>-21.90293608047156</c:v>
                </c:pt>
              </c:numCache>
            </c:numRef>
          </c:xVal>
          <c:yVal>
            <c:numRef>
              <c:f>Sheet1!$B$99:$B$100</c:f>
              <c:numCache>
                <c:formatCode>General</c:formatCode>
                <c:ptCount val="2"/>
                <c:pt idx="0">
                  <c:v>0.2580748338566698</c:v>
                </c:pt>
                <c:pt idx="1">
                  <c:v>0.2580748338566698</c:v>
                </c:pt>
              </c:numCache>
            </c:numRef>
          </c:yVal>
          <c:smooth val="0"/>
          <c:extLst>
            <c:ext xmlns:c16="http://schemas.microsoft.com/office/drawing/2014/chart" uri="{C3380CC4-5D6E-409C-BE32-E72D297353CC}">
              <c16:uniqueId val="{00000003-F32D-48B7-BC20-E66FC6253BAD}"/>
            </c:ext>
          </c:extLst>
        </c:ser>
        <c:ser>
          <c:idx val="3"/>
          <c:order val="3"/>
          <c:tx>
            <c:strRef>
              <c:f>Sheet1!$B$10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3:$A$104</c:f>
              <c:numCache>
                <c:formatCode>General</c:formatCode>
                <c:ptCount val="2"/>
                <c:pt idx="0">
                  <c:v>-21.90293608047156</c:v>
                </c:pt>
                <c:pt idx="1">
                  <c:v>-21.90293608047156</c:v>
                </c:pt>
              </c:numCache>
            </c:numRef>
          </c:xVal>
          <c:yVal>
            <c:numRef>
              <c:f>Sheet1!$B$103:$B$104</c:f>
              <c:numCache>
                <c:formatCode>General</c:formatCode>
                <c:ptCount val="2"/>
                <c:pt idx="0">
                  <c:v>0.25807483385666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07:$A$108</c:f>
              <c:numCache>
                <c:formatCode>General</c:formatCode>
                <c:ptCount val="2"/>
                <c:pt idx="0">
                  <c:v>0</c:v>
                </c:pt>
                <c:pt idx="1">
                  <c:v>116.67947881950818</c:v>
                </c:pt>
              </c:numCache>
            </c:numRef>
          </c:xVal>
          <c:yVal>
            <c:numRef>
              <c:f>Sheet1!$B$107:$B$108</c:f>
              <c:numCache>
                <c:formatCode>General</c:formatCode>
                <c:ptCount val="2"/>
                <c:pt idx="0">
                  <c:v>0.2486619349766891</c:v>
                </c:pt>
                <c:pt idx="1">
                  <c:v>0.2486619349766891</c:v>
                </c:pt>
              </c:numCache>
            </c:numRef>
          </c:yVal>
          <c:smooth val="0"/>
          <c:extLst>
            <c:ext xmlns:c16="http://schemas.microsoft.com/office/drawing/2014/chart" uri="{C3380CC4-5D6E-409C-BE32-E72D297353CC}">
              <c16:uniqueId val="{0000000A-F32D-48B7-BC20-E66FC6253BAD}"/>
            </c:ext>
          </c:extLst>
        </c:ser>
        <c:ser>
          <c:idx val="5"/>
          <c:order val="5"/>
          <c:tx>
            <c:strRef>
              <c:f>Sheet1!$B$11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1:$A$112</c:f>
              <c:numCache>
                <c:formatCode>General</c:formatCode>
                <c:ptCount val="2"/>
                <c:pt idx="0">
                  <c:v>116.67947881950818</c:v>
                </c:pt>
                <c:pt idx="1">
                  <c:v>116.67947881950818</c:v>
                </c:pt>
              </c:numCache>
            </c:numRef>
          </c:xVal>
          <c:yVal>
            <c:numRef>
              <c:f>Sheet1!$B$111:$B$112</c:f>
              <c:numCache>
                <c:formatCode>General</c:formatCode>
                <c:ptCount val="2"/>
                <c:pt idx="0">
                  <c:v>0.248661934976689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5:$A$116</c:f>
              <c:numCache>
                <c:formatCode>General</c:formatCode>
                <c:ptCount val="2"/>
                <c:pt idx="0">
                  <c:v>0</c:v>
                </c:pt>
                <c:pt idx="1">
                  <c:v>2802.7728404621516</c:v>
                </c:pt>
              </c:numCache>
            </c:numRef>
          </c:xVal>
          <c:yVal>
            <c:numRef>
              <c:f>Sheet1!$B$115:$B$116</c:f>
              <c:numCache>
                <c:formatCode>General</c:formatCode>
                <c:ptCount val="2"/>
                <c:pt idx="0">
                  <c:v>0.06621508402826234</c:v>
                </c:pt>
                <c:pt idx="1">
                  <c:v>0.06621508402826234</c:v>
                </c:pt>
              </c:numCache>
            </c:numRef>
          </c:yVal>
          <c:smooth val="0"/>
          <c:extLst>
            <c:ext xmlns:c16="http://schemas.microsoft.com/office/drawing/2014/chart" uri="{C3380CC4-5D6E-409C-BE32-E72D297353CC}">
              <c16:uniqueId val="{00000011-F32D-48B7-BC20-E66FC6253BAD}"/>
            </c:ext>
          </c:extLst>
        </c:ser>
        <c:ser>
          <c:idx val="7"/>
          <c:order val="7"/>
          <c:tx>
            <c:strRef>
              <c:f>Sheet1!$B$11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9:$A$120</c:f>
              <c:numCache>
                <c:formatCode>General</c:formatCode>
                <c:ptCount val="2"/>
                <c:pt idx="0">
                  <c:v>2802.7728404621516</c:v>
                </c:pt>
                <c:pt idx="1">
                  <c:v>2802.7728404621516</c:v>
                </c:pt>
              </c:numCache>
            </c:numRef>
          </c:xVal>
          <c:yVal>
            <c:numRef>
              <c:f>Sheet1!$B$119:$B$120</c:f>
              <c:numCache>
                <c:formatCode>General</c:formatCode>
                <c:ptCount val="2"/>
                <c:pt idx="0">
                  <c:v>0.0662150840282623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3:$A$147</c:f>
              <c:numCache>
                <c:formatCode>General</c:formatCode>
                <c:ptCount val="25"/>
                <c:pt idx="0">
                  <c:v>1165.7669</c:v>
                </c:pt>
                <c:pt idx="1">
                  <c:v>1143.5882</c:v>
                </c:pt>
                <c:pt idx="2">
                  <c:v>2284.5</c:v>
                </c:pt>
                <c:pt idx="3">
                  <c:v>960.6471</c:v>
                </c:pt>
                <c:pt idx="4">
                  <c:v>4469.75</c:v>
                </c:pt>
                <c:pt idx="5">
                  <c:v>1082.3739</c:v>
                </c:pt>
                <c:pt idx="6">
                  <c:v>1037.4556</c:v>
                </c:pt>
                <c:pt idx="7">
                  <c:v>1203.175</c:v>
                </c:pt>
                <c:pt idx="8">
                  <c:v>1018.5574</c:v>
                </c:pt>
                <c:pt idx="9">
                  <c:v>1017.831</c:v>
                </c:pt>
                <c:pt idx="10">
                  <c:v>643.1667</c:v>
                </c:pt>
                <c:pt idx="11">
                  <c:v>1224.1778</c:v>
                </c:pt>
                <c:pt idx="12">
                  <c:v>1495.7419</c:v>
                </c:pt>
                <c:pt idx="13">
                  <c:v>1634.1379</c:v>
                </c:pt>
                <c:pt idx="14">
                  <c:v>2379.0</c:v>
                </c:pt>
                <c:pt idx="15">
                  <c:v>1219.2372</c:v>
                </c:pt>
                <c:pt idx="16">
                  <c:v>3215.5</c:v>
                </c:pt>
                <c:pt idx="17">
                  <c:v>1608.8571</c:v>
                </c:pt>
                <c:pt idx="18">
                  <c:v>1543.7857</c:v>
                </c:pt>
                <c:pt idx="19">
                  <c:v>3721.7273</c:v>
                </c:pt>
                <c:pt idx="20">
                  <c:v>694.1333</c:v>
                </c:pt>
                <c:pt idx="21">
                  <c:v>1046.025</c:v>
                </c:pt>
                <c:pt idx="22">
                  <c:v>116.67947881950818</c:v>
                </c:pt>
                <c:pt idx="23">
                  <c:v>-21.90293608047156</c:v>
                </c:pt>
                <c:pt idx="24">
                  <c:v>2802.7728404621516</c:v>
                </c:pt>
              </c:numCache>
            </c:numRef>
          </c:xVal>
          <c:yVal>
            <c:numRef>
              <c:f>Sheet1!$B$123:$B$147</c:f>
              <c:numCache>
                <c:formatCode>General</c:formatCode>
                <c:ptCount val="25"/>
                <c:pt idx="0">
                  <c:v>0.17740503114109907</c:v>
                </c:pt>
                <c:pt idx="1">
                  <c:v>0.17891146946186365</c:v>
                </c:pt>
                <c:pt idx="2">
                  <c:v>0.10141760119489973</c:v>
                </c:pt>
                <c:pt idx="3">
                  <c:v>0.19133733227090244</c:v>
                </c:pt>
                <c:pt idx="4">
                  <c:v>-0.04701059073929087</c:v>
                </c:pt>
                <c:pt idx="5">
                  <c:v>0.18306931312712718</c:v>
                </c:pt>
                <c:pt idx="6">
                  <c:v>0.18612028763977223</c:v>
                </c:pt>
                <c:pt idx="7">
                  <c:v>0.17486417007408459</c:v>
                </c:pt>
                <c:pt idx="8">
                  <c:v>0.1874039053754138</c:v>
                </c:pt>
                <c:pt idx="9">
                  <c:v>0.1874532444618437</c:v>
                </c:pt>
                <c:pt idx="10">
                  <c:v>0.21290147447272995</c:v>
                </c:pt>
                <c:pt idx="11">
                  <c:v>0.17343760211638848</c:v>
                </c:pt>
                <c:pt idx="12">
                  <c:v>0.1549922213328462</c:v>
                </c:pt>
                <c:pt idx="13">
                  <c:v>0.1455919842657261</c:v>
                </c:pt>
                <c:pt idx="14">
                  <c:v>0.09499890121193166</c:v>
                </c:pt>
                <c:pt idx="15">
                  <c:v>0.1737731812606832</c:v>
                </c:pt>
                <c:pt idx="16">
                  <c:v>0.03818151988121413</c:v>
                </c:pt>
                <c:pt idx="17">
                  <c:v>0.1473091257528099</c:v>
                </c:pt>
                <c:pt idx="18">
                  <c:v>0.15172895426150523</c:v>
                </c:pt>
                <c:pt idx="19">
                  <c:v>0.00379716896176463</c:v>
                </c:pt>
                <c:pt idx="20">
                  <c:v>0.20943968278434963</c:v>
                </c:pt>
                <c:pt idx="21">
                  <c:v>0.1855382304161315</c:v>
                </c:pt>
                <c:pt idx="22">
                  <c:v>0.2486619349766891</c:v>
                </c:pt>
                <c:pt idx="23">
                  <c:v>0.2580748338566698</c:v>
                </c:pt>
                <c:pt idx="24">
                  <c:v>0.066215084028262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36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552631578947368"/>
          <c:min val="0.00255591054313099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c:f>
              <c:numCache>
                <c:formatCode>General</c:formatCode>
                <c:ptCount val="6"/>
                <c:pt idx="0">
                  <c:v>1.090065208488093</c:v>
                </c:pt>
                <c:pt idx="1">
                  <c:v>1.173144798046696</c:v>
                </c:pt>
                <c:pt idx="2">
                  <c:v>1.3293770860450165</c:v>
                </c:pt>
                <c:pt idx="3">
                  <c:v>1.4913036915067515</c:v>
                </c:pt>
                <c:pt idx="4">
                  <c:v>1.312644350583748</c:v>
                </c:pt>
                <c:pt idx="5">
                  <c:v>0.8393814668077446</c:v>
                </c:pt>
              </c:numCache>
            </c:numRef>
          </c:xVal>
          <c:yVal>
            <c:numRef>
              <c:f>Sheet1!$B$2:$B$7</c:f>
              <c:numCache>
                <c:formatCode>General</c:formatCode>
                <c:ptCount val="6"/>
                <c:pt idx="0">
                  <c:v>0.00646830530401035</c:v>
                </c:pt>
                <c:pt idx="1">
                  <c:v>0.0049261083743842365</c:v>
                </c:pt>
                <c:pt idx="2">
                  <c:v>0.006912442396313364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096C-4121-9522-6AB7243CCAAE}"/>
            </c:ext>
          </c:extLst>
        </c:ser>
        <c:ser>
          <c:idx val="1"/>
          <c:order val="1"/>
          <c:tx>
            <c:strRef>
              <c:f>Sheet1!$B$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A$11</c:f>
              <c:numCache>
                <c:formatCode>General</c:formatCode>
                <c:ptCount val="2"/>
                <c:pt idx="0">
                  <c:v>0.8507482758215444</c:v>
                </c:pt>
                <c:pt idx="1">
                  <c:v>0.6765779675557466</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096C-4121-9522-6AB7243CCAAE}"/>
            </c:ext>
          </c:extLst>
        </c:ser>
        <c:ser>
          <c:idx val="2"/>
          <c:order val="2"/>
          <c:tx>
            <c:strRef>
              <c:f>Sheet1!$B$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A$15</c:f>
              <c:numCache>
                <c:formatCode>General</c:formatCode>
                <c:ptCount val="2"/>
                <c:pt idx="0">
                  <c:v>0</c:v>
                </c:pt>
                <c:pt idx="1">
                  <c:v>0.6765779675557465</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5-096C-4121-9522-6AB7243CCAAE}"/>
            </c:ext>
          </c:extLst>
        </c:ser>
        <c:ser>
          <c:idx val="3"/>
          <c:order val="3"/>
          <c:tx>
            <c:strRef>
              <c:f>Sheet1!$B$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A$19</c:f>
              <c:numCache>
                <c:formatCode>General</c:formatCode>
                <c:ptCount val="2"/>
                <c:pt idx="0">
                  <c:v>0.6765779675557465</c:v>
                </c:pt>
                <c:pt idx="1">
                  <c:v>0.6765779675557465</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2:$A$23</c:f>
              <c:numCache>
                <c:formatCode>General</c:formatCode>
                <c:ptCount val="2"/>
                <c:pt idx="0">
                  <c:v>0</c:v>
                </c:pt>
                <c:pt idx="1">
                  <c:v>0.6765779675557465</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D-096C-4121-9522-6AB7243CCAAE}"/>
            </c:ext>
          </c:extLst>
        </c:ser>
        <c:ser>
          <c:idx val="5"/>
          <c:order val="5"/>
          <c:tx>
            <c:strRef>
              <c:f>Sheet1!$B$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0.6765779675557465</c:v>
                </c:pt>
                <c:pt idx="1">
                  <c:v>0.6765779675557465</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9</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0:$A$34</c:f>
              <c:numCache>
                <c:formatCode>General</c:formatCode>
                <c:ptCount val="5"/>
                <c:pt idx="0">
                  <c:v>0.8507482758215444</c:v>
                </c:pt>
                <c:pt idx="1">
                  <c:v>0.6765779675557466</c:v>
                </c:pt>
                <c:pt idx="2">
                  <c:v>0.6765779675557465</c:v>
                </c:pt>
                <c:pt idx="3">
                  <c:v>0.6765779675557465</c:v>
                </c:pt>
                <c:pt idx="4">
                  <c:v>0</c:v>
                </c:pt>
              </c:numCache>
            </c:numRef>
          </c:xVal>
          <c:yVal>
            <c:numRef>
              <c:f>Sheet1!$B$30:$B$34</c:f>
              <c:numCache>
                <c:formatCode>General</c:formatCode>
                <c:ptCount val="5"/>
                <c:pt idx="0">
                  <c:v>0.005454545454545462</c:v>
                </c:pt>
                <c:pt idx="1">
                  <c:v>0.0101010101010101</c:v>
                </c:pt>
                <c:pt idx="2">
                  <c:v>0.010101010101010104</c:v>
                </c:pt>
                <c:pt idx="3">
                  <c:v>0.010101010101010104</c:v>
                </c:pt>
                <c:pt idx="4">
                  <c:v>0.02815055963747383</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c:f>
              <c:numCache>
                <c:formatCode>General</c:formatCode>
                <c:ptCount val="6"/>
                <c:pt idx="0">
                  <c:v>2326.0</c:v>
                </c:pt>
                <c:pt idx="1">
                  <c:v>1970.0</c:v>
                </c:pt>
                <c:pt idx="2">
                  <c:v>1927.6667</c:v>
                </c:pt>
                <c:pt idx="3">
                  <c:v>2306.8</c:v>
                </c:pt>
                <c:pt idx="4">
                  <c:v>1859.6667</c:v>
                </c:pt>
                <c:pt idx="5">
                  <c:v>1772.0</c:v>
                </c:pt>
              </c:numCache>
            </c:numRef>
          </c:xVal>
          <c:yVal>
            <c:numRef>
              <c:f>Sheet1!$B$2:$B$7</c:f>
              <c:numCache>
                <c:formatCode>General</c:formatCode>
                <c:ptCount val="6"/>
                <c:pt idx="0">
                  <c:v>0.00646830530401035</c:v>
                </c:pt>
                <c:pt idx="1">
                  <c:v>0.0049261083743842365</c:v>
                </c:pt>
                <c:pt idx="2">
                  <c:v>0.006912442396313364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F32D-48B7-BC20-E66FC6253BAD}"/>
            </c:ext>
          </c:extLst>
        </c:ser>
        <c:ser>
          <c:idx val="1"/>
          <c:order val="1"/>
          <c:tx>
            <c:strRef>
              <c:f>Sheet1!$B$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A$11</c:f>
              <c:numCache>
                <c:formatCode>General</c:formatCode>
                <c:ptCount val="2"/>
                <c:pt idx="0">
                  <c:v>1715.6667</c:v>
                </c:pt>
                <c:pt idx="1">
                  <c:v>876.6667</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F32D-48B7-BC20-E66FC6253BAD}"/>
            </c:ext>
          </c:extLst>
        </c:ser>
        <c:ser>
          <c:idx val="2"/>
          <c:order val="2"/>
          <c:tx>
            <c:strRef>
              <c:f>Sheet1!$B$13</c:f>
              <c:strCache>
                <c:ptCount val="1"/>
                <c:pt idx="0">
                  <c:v>Custom Linep3yQ</c:v>
                </c:pt>
              </c:strCache>
            </c:strRef>
          </c:tx>
          <c:spPr>
            <a:ln w="19050" cap="rnd">
              <a:solidFill>
                <a:srgbClr val="C00000"/>
              </a:solidFill>
              <a:prstDash val="sysDot"/>
              <a:round/>
            </a:ln>
            <a:effectLst/>
          </c:spPr>
          <c:marker>
            <c:symbol val="none"/>
          </c:marker>
          <c:xVal>
            <c:numRef>
              <c:f>Sheet1!$A$14:$A$15</c:f>
              <c:numCache>
                <c:formatCode>General</c:formatCode>
                <c:ptCount val="2"/>
                <c:pt idx="0">
                  <c:v>0</c:v>
                </c:pt>
                <c:pt idx="1">
                  <c:v>876.6666999999995</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3-F32D-48B7-BC20-E66FC6253BAD}"/>
            </c:ext>
          </c:extLst>
        </c:ser>
        <c:ser>
          <c:idx val="3"/>
          <c:order val="3"/>
          <c:tx>
            <c:strRef>
              <c:f>Sheet1!$B$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A$19</c:f>
              <c:numCache>
                <c:formatCode>General</c:formatCode>
                <c:ptCount val="2"/>
                <c:pt idx="0">
                  <c:v>876.6666999999995</c:v>
                </c:pt>
                <c:pt idx="1">
                  <c:v>876.6666999999995</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2:$A$23</c:f>
              <c:numCache>
                <c:formatCode>General</c:formatCode>
                <c:ptCount val="2"/>
                <c:pt idx="0">
                  <c:v>0</c:v>
                </c:pt>
                <c:pt idx="1">
                  <c:v>876.6666999999995</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A-F32D-48B7-BC20-E66FC6253BAD}"/>
            </c:ext>
          </c:extLst>
        </c:ser>
        <c:ser>
          <c:idx val="5"/>
          <c:order val="5"/>
          <c:tx>
            <c:strRef>
              <c:f>Sheet1!$B$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876.6666999999995</c:v>
                </c:pt>
                <c:pt idx="1">
                  <c:v>876.6666999999995</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9</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0:$A$34</c:f>
              <c:numCache>
                <c:formatCode>General</c:formatCode>
                <c:ptCount val="5"/>
                <c:pt idx="0">
                  <c:v>1715.6667</c:v>
                </c:pt>
                <c:pt idx="1">
                  <c:v>876.6667</c:v>
                </c:pt>
                <c:pt idx="2">
                  <c:v>876.6666999999995</c:v>
                </c:pt>
                <c:pt idx="3">
                  <c:v>876.6666999999995</c:v>
                </c:pt>
                <c:pt idx="4">
                  <c:v>0</c:v>
                </c:pt>
              </c:numCache>
            </c:numRef>
          </c:xVal>
          <c:yVal>
            <c:numRef>
              <c:f>Sheet1!$B$30:$B$34</c:f>
              <c:numCache>
                <c:formatCode>General</c:formatCode>
                <c:ptCount val="5"/>
                <c:pt idx="0">
                  <c:v>0.0054545454545454515</c:v>
                </c:pt>
                <c:pt idx="1">
                  <c:v>0.0101010101010101</c:v>
                </c:pt>
                <c:pt idx="2">
                  <c:v>0.010101010101010102</c:v>
                </c:pt>
                <c:pt idx="3">
                  <c:v>0.010101010101010102</c:v>
                </c:pt>
                <c:pt idx="4">
                  <c:v>0.014956076642467583</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9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c:f>
              <c:numCache>
                <c:formatCode>General</c:formatCode>
                <c:ptCount val="6"/>
                <c:pt idx="0">
                  <c:v>1.6344157648746063</c:v>
                </c:pt>
                <c:pt idx="1">
                  <c:v>1.6480022740758282</c:v>
                </c:pt>
                <c:pt idx="2">
                  <c:v>1.8330119777805862</c:v>
                </c:pt>
                <c:pt idx="3">
                  <c:v>1.8521591890195577</c:v>
                </c:pt>
                <c:pt idx="4">
                  <c:v>2.2269659910086297</c:v>
                </c:pt>
                <c:pt idx="5">
                  <c:v>1.5348775367814087</c:v>
                </c:pt>
              </c:numCache>
            </c:numRef>
          </c:xVal>
          <c:yVal>
            <c:numRef>
              <c:f>Sheet1!$B$2:$B$7</c:f>
              <c:numCache>
                <c:formatCode>General</c:formatCode>
                <c:ptCount val="6"/>
                <c:pt idx="0">
                  <c:v>0.00646830530401035</c:v>
                </c:pt>
                <c:pt idx="1">
                  <c:v>0.0049261083743842365</c:v>
                </c:pt>
                <c:pt idx="2">
                  <c:v>0.006912442396313364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096C-4121-9522-6AB7243CCAAE}"/>
            </c:ext>
          </c:extLst>
        </c:ser>
        <c:ser>
          <c:idx val="1"/>
          <c:order val="1"/>
          <c:tx>
            <c:strRef>
              <c:f>Sheet1!$B$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A$11</c:f>
              <c:numCache>
                <c:formatCode>General</c:formatCode>
                <c:ptCount val="2"/>
                <c:pt idx="0">
                  <c:v>1.2864556839395145</c:v>
                </c:pt>
                <c:pt idx="1">
                  <c:v>0.6117647805912676</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096C-4121-9522-6AB7243CCAAE}"/>
            </c:ext>
          </c:extLst>
        </c:ser>
        <c:ser>
          <c:idx val="2"/>
          <c:order val="2"/>
          <c:tx>
            <c:strRef>
              <c:f>Sheet1!$B$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A$15</c:f>
              <c:numCache>
                <c:formatCode>General</c:formatCode>
                <c:ptCount val="2"/>
                <c:pt idx="0">
                  <c:v>0</c:v>
                </c:pt>
                <c:pt idx="1">
                  <c:v>0.6117647805912674</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5-096C-4121-9522-6AB7243CCAAE}"/>
            </c:ext>
          </c:extLst>
        </c:ser>
        <c:ser>
          <c:idx val="3"/>
          <c:order val="3"/>
          <c:tx>
            <c:strRef>
              <c:f>Sheet1!$B$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A$19</c:f>
              <c:numCache>
                <c:formatCode>General</c:formatCode>
                <c:ptCount val="2"/>
                <c:pt idx="0">
                  <c:v>0.6117647805912674</c:v>
                </c:pt>
                <c:pt idx="1">
                  <c:v>0.6117647805912674</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2:$A$23</c:f>
              <c:numCache>
                <c:formatCode>General</c:formatCode>
                <c:ptCount val="2"/>
                <c:pt idx="0">
                  <c:v>0</c:v>
                </c:pt>
                <c:pt idx="1">
                  <c:v>0.6117647805912674</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D-096C-4121-9522-6AB7243CCAAE}"/>
            </c:ext>
          </c:extLst>
        </c:ser>
        <c:ser>
          <c:idx val="5"/>
          <c:order val="5"/>
          <c:tx>
            <c:strRef>
              <c:f>Sheet1!$B$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0.6117647805912674</c:v>
                </c:pt>
                <c:pt idx="1">
                  <c:v>0.6117647805912674</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9</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0:$A$34</c:f>
              <c:numCache>
                <c:formatCode>General</c:formatCode>
                <c:ptCount val="5"/>
                <c:pt idx="0">
                  <c:v>1.2864556839395145</c:v>
                </c:pt>
                <c:pt idx="1">
                  <c:v>0.6117647805912676</c:v>
                </c:pt>
                <c:pt idx="2">
                  <c:v>0.6117647805912674</c:v>
                </c:pt>
                <c:pt idx="3">
                  <c:v>0.6117647805912674</c:v>
                </c:pt>
                <c:pt idx="4">
                  <c:v>0</c:v>
                </c:pt>
              </c:numCache>
            </c:numRef>
          </c:xVal>
          <c:yVal>
            <c:numRef>
              <c:f>Sheet1!$B$30:$B$34</c:f>
              <c:numCache>
                <c:formatCode>General</c:formatCode>
                <c:ptCount val="5"/>
                <c:pt idx="0">
                  <c:v>0.0054545454545454515</c:v>
                </c:pt>
                <c:pt idx="1">
                  <c:v>0.0101010101010101</c:v>
                </c:pt>
                <c:pt idx="2">
                  <c:v>0.010101010101010102</c:v>
                </c:pt>
                <c:pt idx="3">
                  <c:v>0.010101010101010102</c:v>
                </c:pt>
                <c:pt idx="4">
                  <c:v>0.014314114814387756</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337452777475052</c:v>
                </c:pt>
                <c:pt idx="1">
                  <c:v>0.6920754628422863</c:v>
                </c:pt>
                <c:pt idx="2">
                  <c:v>0.680899018201256</c:v>
                </c:pt>
                <c:pt idx="3">
                  <c:v>0.6838140943331468</c:v>
                </c:pt>
                <c:pt idx="4">
                  <c:v>0.6746441175417874</c:v>
                </c:pt>
                <c:pt idx="5">
                  <c:v>0.6768571598878343</c:v>
                </c:pt>
                <c:pt idx="6">
                  <c:v>0.6423953637828793</c:v>
                </c:pt>
                <c:pt idx="7">
                  <c:v>0.6445624984400019</c:v>
                </c:pt>
                <c:pt idx="8">
                  <c:v>0.6594245812676313</c:v>
                </c:pt>
                <c:pt idx="9">
                  <c:v>0.667014930899588</c:v>
                </c:pt>
                <c:pt idx="10">
                  <c:v>0.6681492145122929</c:v>
                </c:pt>
                <c:pt idx="11">
                  <c:v>0.6781603287317141</c:v>
                </c:pt>
                <c:pt idx="12">
                  <c:v>0.6838893013479894</c:v>
                </c:pt>
                <c:pt idx="13">
                  <c:v>0.666615797721821</c:v>
                </c:pt>
                <c:pt idx="14">
                  <c:v>0.6950813939190427</c:v>
                </c:pt>
                <c:pt idx="15">
                  <c:v>0.6920313949669364</c:v>
                </c:pt>
                <c:pt idx="16">
                  <c:v>0.7124158143362671</c:v>
                </c:pt>
                <c:pt idx="17">
                  <c:v>0.6837630576333494</c:v>
                </c:pt>
                <c:pt idx="18">
                  <c:v>0.7183941413702594</c:v>
                </c:pt>
                <c:pt idx="19">
                  <c:v>0.7167682741593782</c:v>
                </c:pt>
                <c:pt idx="20">
                  <c:v>0.7402181453808193</c:v>
                </c:pt>
                <c:pt idx="21">
                  <c:v>0.6800644878190706</c:v>
                </c:pt>
                <c:pt idx="22">
                  <c:v>0.634507168313067</c:v>
                </c:pt>
                <c:pt idx="23">
                  <c:v>0.6176717148596023</c:v>
                </c:pt>
                <c:pt idx="24">
                  <c:v>0.6122191580036526</c:v>
                </c:pt>
                <c:pt idx="25">
                  <c:v>0.5833282064150513</c:v>
                </c:pt>
                <c:pt idx="26">
                  <c:v>0.6112092940360129</c:v>
                </c:pt>
                <c:pt idx="27">
                  <c:v>0.6394889160352503</c:v>
                </c:pt>
                <c:pt idx="28">
                  <c:v>0.6040366840302542</c:v>
                </c:pt>
                <c:pt idx="29">
                  <c:v>0.5798120479736526</c:v>
                </c:pt>
                <c:pt idx="30">
                  <c:v>0.5848306709211524</c:v>
                </c:pt>
                <c:pt idx="31">
                  <c:v>0.5855075703588987</c:v>
                </c:pt>
                <c:pt idx="32">
                  <c:v>0.5700803667640852</c:v>
                </c:pt>
                <c:pt idx="33">
                  <c:v>0.5484201828192041</c:v>
                </c:pt>
                <c:pt idx="34">
                  <c:v>0.6074430646553566</c:v>
                </c:pt>
                <c:pt idx="35">
                  <c:v>0.6849543604389047</c:v>
                </c:pt>
                <c:pt idx="36">
                  <c:v>0.6930627732514696</c:v>
                </c:pt>
                <c:pt idx="37">
                  <c:v>0.6675880901994088</c:v>
                </c:pt>
                <c:pt idx="38">
                  <c:v>0.6991610746350508</c:v>
                </c:pt>
                <c:pt idx="39">
                  <c:v>0.7123232559743736</c:v>
                </c:pt>
                <c:pt idx="40">
                  <c:v>0.7196784900178393</c:v>
                </c:pt>
                <c:pt idx="41">
                  <c:v>0.7005494108848422</c:v>
                </c:pt>
                <c:pt idx="42">
                  <c:v>0.7164156901398718</c:v>
                </c:pt>
                <c:pt idx="43">
                  <c:v>0.7303395764044793</c:v>
                </c:pt>
                <c:pt idx="44">
                  <c:v>0.6731406152107633</c:v>
                </c:pt>
                <c:pt idx="45">
                  <c:v>0.6673158019732444</c:v>
                </c:pt>
                <c:pt idx="46">
                  <c:v>0.6715203445533515</c:v>
                </c:pt>
                <c:pt idx="47">
                  <c:v>0.6629611888687666</c:v>
                </c:pt>
                <c:pt idx="48">
                  <c:v>0.6723186354955005</c:v>
                </c:pt>
                <c:pt idx="49">
                  <c:v>0.669151272329884</c:v>
                </c:pt>
                <c:pt idx="50">
                  <c:v>0.6303242698064788</c:v>
                </c:pt>
                <c:pt idx="51">
                  <c:v>0.6383331261604916</c:v>
                </c:pt>
                <c:pt idx="52">
                  <c:v>0.6472813824090454</c:v>
                </c:pt>
                <c:pt idx="53">
                  <c:v>0.6355956283759585</c:v>
                </c:pt>
                <c:pt idx="54">
                  <c:v>0.6212343877065015</c:v>
                </c:pt>
                <c:pt idx="55">
                  <c:v>0.6348136072760987</c:v>
                </c:pt>
                <c:pt idx="56">
                  <c:v>0.6118999736476097</c:v>
                </c:pt>
                <c:pt idx="57">
                  <c:v>0.6257072151681337</c:v>
                </c:pt>
                <c:pt idx="58">
                  <c:v>0.5996533455024163</c:v>
                </c:pt>
                <c:pt idx="59">
                  <c:v>0.6378304016874503</c:v>
                </c:pt>
                <c:pt idx="60">
                  <c:v>0.6492391908376834</c:v>
                </c:pt>
                <c:pt idx="61">
                  <c:v>0.6410356241256309</c:v>
                </c:pt>
                <c:pt idx="62">
                  <c:v>0.6243299662766097</c:v>
                </c:pt>
                <c:pt idx="63">
                  <c:v>0.6418346524282112</c:v>
                </c:pt>
                <c:pt idx="64">
                  <c:v>0.6835130986650679</c:v>
                </c:pt>
                <c:pt idx="65">
                  <c:v>0.6736947083567681</c:v>
                </c:pt>
                <c:pt idx="66">
                  <c:v>0.6754137085138958</c:v>
                </c:pt>
                <c:pt idx="67">
                  <c:v>0.6705862080497984</c:v>
                </c:pt>
                <c:pt idx="68">
                  <c:v>0.6691018498657206</c:v>
                </c:pt>
                <c:pt idx="69">
                  <c:v>0.6628238300607215</c:v>
                </c:pt>
                <c:pt idx="70">
                  <c:v>0.6522495186250528</c:v>
                </c:pt>
                <c:pt idx="71">
                  <c:v>0.619080970557902</c:v>
                </c:pt>
                <c:pt idx="72">
                  <c:v>0.620873582945166</c:v>
                </c:pt>
                <c:pt idx="73">
                  <c:v>0.640339671810404</c:v>
                </c:pt>
                <c:pt idx="74">
                  <c:v>0.6079719491157779</c:v>
                </c:pt>
                <c:pt idx="75">
                  <c:v>0.6167417331527034</c:v>
                </c:pt>
                <c:pt idx="76">
                  <c:v>0.6121626610034668</c:v>
                </c:pt>
                <c:pt idx="77">
                  <c:v>0.5890264729416604</c:v>
                </c:pt>
                <c:pt idx="78">
                  <c:v>0.6168544527541557</c:v>
                </c:pt>
                <c:pt idx="79">
                  <c:v>0.4682017470756716</c:v>
                </c:pt>
                <c:pt idx="80">
                  <c:v>0.47208218615603187</c:v>
                </c:pt>
                <c:pt idx="81">
                  <c:v>0.5809463195674632</c:v>
                </c:pt>
                <c:pt idx="82">
                  <c:v>0.5843239771105152</c:v>
                </c:pt>
                <c:pt idx="83">
                  <c:v>0.5989558507581478</c:v>
                </c:pt>
                <c:pt idx="84">
                  <c:v>0.595407529581683</c:v>
                </c:pt>
                <c:pt idx="85">
                  <c:v>0.6074664226008101</c:v>
                </c:pt>
                <c:pt idx="86">
                  <c:v>0.6729244547388128</c:v>
                </c:pt>
                <c:pt idx="87">
                  <c:v>0.7011298816491299</c:v>
                </c:pt>
                <c:pt idx="88">
                  <c:v>0.6635760354849278</c:v>
                </c:pt>
                <c:pt idx="89">
                  <c:v>0.613297910993095</c:v>
                </c:pt>
                <c:pt idx="90">
                  <c:v>0.6227954194437402</c:v>
                </c:pt>
                <c:pt idx="91">
                  <c:v>0.664078623928387</c:v>
                </c:pt>
                <c:pt idx="92">
                  <c:v>0.6743760463783095</c:v>
                </c:pt>
                <c:pt idx="93">
                  <c:v>0.6834118768647748</c:v>
                </c:pt>
                <c:pt idx="94">
                  <c:v>0.6928776586151921</c:v>
                </c:pt>
                <c:pt idx="95">
                  <c:v>0.728411429918918</c:v>
                </c:pt>
                <c:pt idx="96">
                  <c:v>0.7139593807684184</c:v>
                </c:pt>
                <c:pt idx="97">
                  <c:v>0.7661779251117533</c:v>
                </c:pt>
                <c:pt idx="98">
                  <c:v>0.7770895467099411</c:v>
                </c:pt>
                <c:pt idx="99">
                  <c:v>0.7582069008294557</c:v>
                </c:pt>
                <c:pt idx="100">
                  <c:v>0.7511341122117456</c:v>
                </c:pt>
                <c:pt idx="101">
                  <c:v>0.7175850129498588</c:v>
                </c:pt>
                <c:pt idx="102">
                  <c:v>0.7007526345449182</c:v>
                </c:pt>
                <c:pt idx="103">
                  <c:v>0.6510461942442087</c:v>
                </c:pt>
                <c:pt idx="104">
                  <c:v>0.6853006472207714</c:v>
                </c:pt>
              </c:numCache>
            </c:numRef>
          </c:xVal>
          <c:yVal>
            <c:numRef>
              <c:f>Sheet1!$B$2:$B$106</c:f>
              <c:numCache>
                <c:formatCode>General</c:formatCode>
                <c:ptCount val="105"/>
                <c:pt idx="0">
                  <c:v>0.22194230725584985</c:v>
                </c:pt>
                <c:pt idx="1">
                  <c:v>0.22026857992494867</c:v>
                </c:pt>
                <c:pt idx="2">
                  <c:v>0.20593717638936831</c:v>
                </c:pt>
                <c:pt idx="3">
                  <c:v>0.2040204890306369</c:v>
                </c:pt>
                <c:pt idx="4">
                  <c:v>0.19666111126804328</c:v>
                </c:pt>
                <c:pt idx="5">
                  <c:v>0.18609471714409098</c:v>
                </c:pt>
                <c:pt idx="6">
                  <c:v>0.2048780487804878</c:v>
                </c:pt>
                <c:pt idx="7">
                  <c:v>0.1934277403062366</c:v>
                </c:pt>
                <c:pt idx="8">
                  <c:v>0.20359481491380463</c:v>
                </c:pt>
                <c:pt idx="9">
                  <c:v>0.20617391075701402</c:v>
                </c:pt>
                <c:pt idx="10">
                  <c:v>0.21707292607081954</c:v>
                </c:pt>
                <c:pt idx="11">
                  <c:v>0.2116915611494427</c:v>
                </c:pt>
                <c:pt idx="12">
                  <c:v>0.22563269096819133</c:v>
                </c:pt>
                <c:pt idx="13">
                  <c:v>0.23082949760062677</c:v>
                </c:pt>
                <c:pt idx="14">
                  <c:v>0.22157152191273624</c:v>
                </c:pt>
                <c:pt idx="15">
                  <c:v>0.21490062398890686</c:v>
                </c:pt>
                <c:pt idx="16">
                  <c:v>0.20514754098360655</c:v>
                </c:pt>
                <c:pt idx="17">
                  <c:v>0.19200371920037193</c:v>
                </c:pt>
                <c:pt idx="18">
                  <c:v>0.18350906290723848</c:v>
                </c:pt>
                <c:pt idx="19">
                  <c:v>0.15793871866295264</c:v>
                </c:pt>
                <c:pt idx="20">
                  <c:v>0.17411278281842196</c:v>
                </c:pt>
                <c:pt idx="21">
                  <c:v>0.16994172652120884</c:v>
                </c:pt>
                <c:pt idx="22">
                  <c:v>0.1656244166511107</c:v>
                </c:pt>
                <c:pt idx="23">
                  <c:v>0.16955068331530823</c:v>
                </c:pt>
                <c:pt idx="24">
                  <c:v>0.1800869002496071</c:v>
                </c:pt>
                <c:pt idx="25">
                  <c:v>0.17639368266917688</c:v>
                </c:pt>
                <c:pt idx="26">
                  <c:v>0.17197333457647662</c:v>
                </c:pt>
                <c:pt idx="27">
                  <c:v>0.17267888823181549</c:v>
                </c:pt>
                <c:pt idx="28">
                  <c:v>0.16393898650841485</c:v>
                </c:pt>
                <c:pt idx="29">
                  <c:v>0.17797471441928533</c:v>
                </c:pt>
                <c:pt idx="30">
                  <c:v>0.16221154850161845</c:v>
                </c:pt>
                <c:pt idx="31">
                  <c:v>0.15748870730345632</c:v>
                </c:pt>
                <c:pt idx="32">
                  <c:v>0.16348269653930786</c:v>
                </c:pt>
                <c:pt idx="33">
                  <c:v>0.18088082487411078</c:v>
                </c:pt>
                <c:pt idx="34">
                  <c:v>0.18054500054282924</c:v>
                </c:pt>
                <c:pt idx="35">
                  <c:v>0.19449394155381325</c:v>
                </c:pt>
                <c:pt idx="36">
                  <c:v>0.16721767225185966</c:v>
                </c:pt>
                <c:pt idx="37">
                  <c:v>0.13747257569109259</c:v>
                </c:pt>
                <c:pt idx="38">
                  <c:v>0.13328411361070094</c:v>
                </c:pt>
                <c:pt idx="39">
                  <c:v>0.13529929985626188</c:v>
                </c:pt>
                <c:pt idx="40">
                  <c:v>0.14140245313584818</c:v>
                </c:pt>
                <c:pt idx="41">
                  <c:v>0.1320315745741587</c:v>
                </c:pt>
                <c:pt idx="42">
                  <c:v>0.13478445830969937</c:v>
                </c:pt>
                <c:pt idx="43">
                  <c:v>0.14850637407242975</c:v>
                </c:pt>
                <c:pt idx="44">
                  <c:v>0.160577483329377</c:v>
                </c:pt>
                <c:pt idx="45">
                  <c:v>0.17985482748334494</c:v>
                </c:pt>
                <c:pt idx="46">
                  <c:v>0.1890920904278698</c:v>
                </c:pt>
                <c:pt idx="47">
                  <c:v>0.1872183925751916</c:v>
                </c:pt>
                <c:pt idx="48">
                  <c:v>0.20402986156410813</c:v>
                </c:pt>
                <c:pt idx="49">
                  <c:v>0.2373207055109464</c:v>
                </c:pt>
                <c:pt idx="50">
                  <c:v>0.19963127804987058</c:v>
                </c:pt>
                <c:pt idx="51">
                  <c:v>0.18215747110931246</c:v>
                </c:pt>
                <c:pt idx="52">
                  <c:v>0.19546332988463117</c:v>
                </c:pt>
                <c:pt idx="53">
                  <c:v>0.18087203153542927</c:v>
                </c:pt>
                <c:pt idx="54">
                  <c:v>0.1730390224674813</c:v>
                </c:pt>
                <c:pt idx="55">
                  <c:v>0.1718077183480027</c:v>
                </c:pt>
                <c:pt idx="56">
                  <c:v>0.18865047380459646</c:v>
                </c:pt>
                <c:pt idx="57">
                  <c:v>0.1838357464989319</c:v>
                </c:pt>
                <c:pt idx="58">
                  <c:v>0.19846960029818675</c:v>
                </c:pt>
                <c:pt idx="59">
                  <c:v>0.20095489936829733</c:v>
                </c:pt>
                <c:pt idx="60">
                  <c:v>0.20754898811435915</c:v>
                </c:pt>
                <c:pt idx="61">
                  <c:v>0.20793681621026736</c:v>
                </c:pt>
                <c:pt idx="62">
                  <c:v>0.215126935636785</c:v>
                </c:pt>
                <c:pt idx="63">
                  <c:v>0.22940080302768331</c:v>
                </c:pt>
                <c:pt idx="64">
                  <c:v>0.21880271394834502</c:v>
                </c:pt>
                <c:pt idx="65">
                  <c:v>0.21689451132421955</c:v>
                </c:pt>
                <c:pt idx="66">
                  <c:v>0.2178862817026121</c:v>
                </c:pt>
                <c:pt idx="67">
                  <c:v>0.21287441455179174</c:v>
                </c:pt>
                <c:pt idx="68">
                  <c:v>0.19509166798753105</c:v>
                </c:pt>
                <c:pt idx="69">
                  <c:v>0.1761484219894571</c:v>
                </c:pt>
                <c:pt idx="70">
                  <c:v>0.1632560695697152</c:v>
                </c:pt>
                <c:pt idx="71">
                  <c:v>0.1733943061477101</c:v>
                </c:pt>
                <c:pt idx="72">
                  <c:v>0.1759865159627206</c:v>
                </c:pt>
                <c:pt idx="73">
                  <c:v>0.17940107322139517</c:v>
                </c:pt>
                <c:pt idx="74">
                  <c:v>0.1715601227812625</c:v>
                </c:pt>
                <c:pt idx="75">
                  <c:v>0.16595561470116246</c:v>
                </c:pt>
                <c:pt idx="76">
                  <c:v>0.1590899603423085</c:v>
                </c:pt>
                <c:pt idx="77">
                  <c:v>0.16565724071676205</c:v>
                </c:pt>
                <c:pt idx="78">
                  <c:v>0.15544116232079283</c:v>
                </c:pt>
                <c:pt idx="79">
                  <c:v>0.18983507236620667</c:v>
                </c:pt>
                <c:pt idx="80">
                  <c:v>0.18471825886962817</c:v>
                </c:pt>
                <c:pt idx="81">
                  <c:v>0.16555171917709682</c:v>
                </c:pt>
                <c:pt idx="82">
                  <c:v>0.15227773695811903</c:v>
                </c:pt>
                <c:pt idx="83">
                  <c:v>0.14037588427832332</c:v>
                </c:pt>
                <c:pt idx="84">
                  <c:v>0.13738054466110589</c:v>
                </c:pt>
                <c:pt idx="85">
                  <c:v>0.1408924507766894</c:v>
                </c:pt>
                <c:pt idx="86">
                  <c:v>0.14388276219376805</c:v>
                </c:pt>
                <c:pt idx="87">
                  <c:v>0.16424116424116425</c:v>
                </c:pt>
                <c:pt idx="88">
                  <c:v>0.15143294683876612</c:v>
                </c:pt>
                <c:pt idx="89">
                  <c:v>0.13790962071271615</c:v>
                </c:pt>
                <c:pt idx="90">
                  <c:v>0.13506044905008635</c:v>
                </c:pt>
                <c:pt idx="91">
                  <c:v>0.13018990876931671</c:v>
                </c:pt>
                <c:pt idx="92">
                  <c:v>0.14122937388056858</c:v>
                </c:pt>
                <c:pt idx="93">
                  <c:v>0.13123975562509313</c:v>
                </c:pt>
                <c:pt idx="94">
                  <c:v>0.13373245077785742</c:v>
                </c:pt>
                <c:pt idx="95">
                  <c:v>0.14385922108024032</c:v>
                </c:pt>
                <c:pt idx="96">
                  <c:v>0.13698139399502945</c:v>
                </c:pt>
                <c:pt idx="97">
                  <c:v>0.14533199314137055</c:v>
                </c:pt>
                <c:pt idx="98">
                  <c:v>0.16315129011740842</c:v>
                </c:pt>
                <c:pt idx="99">
                  <c:v>0.17124577715327813</c:v>
                </c:pt>
                <c:pt idx="100">
                  <c:v>0.19575939007580978</c:v>
                </c:pt>
                <c:pt idx="101">
                  <c:v>0.17001159575417002</c:v>
                </c:pt>
                <c:pt idx="102">
                  <c:v>0.14514833816640643</c:v>
                </c:pt>
                <c:pt idx="103">
                  <c:v>0.16519679377366073</c:v>
                </c:pt>
                <c:pt idx="104">
                  <c:v>0.1671687835916222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825865242682587</c:v>
                </c:pt>
                <c:pt idx="1">
                  <c:v>0.657926025007753</c:v>
                </c:pt>
                <c:pt idx="2">
                  <c:v>0.6571827248573081</c:v>
                </c:pt>
                <c:pt idx="3">
                  <c:v>0.6466094105504513</c:v>
                </c:pt>
                <c:pt idx="4">
                  <c:v>0.6302048273006583</c:v>
                </c:pt>
                <c:pt idx="5">
                  <c:v>0.6726810575582481</c:v>
                </c:pt>
                <c:pt idx="6">
                  <c:v>0.6718118247647918</c:v>
                </c:pt>
                <c:pt idx="7">
                  <c:v>0.6633042562632502</c:v>
                </c:pt>
                <c:pt idx="8">
                  <c:v>0.6859682340202388</c:v>
                </c:pt>
                <c:pt idx="9">
                  <c:v>0.6656415677409644</c:v>
                </c:pt>
                <c:pt idx="10">
                  <c:v>0.6784967564281204</c:v>
                </c:pt>
                <c:pt idx="11">
                  <c:v>0.6893712506447774</c:v>
                </c:pt>
                <c:pt idx="12">
                  <c:v>0.6851716390729701</c:v>
                </c:pt>
                <c:pt idx="13">
                  <c:v>0.649487220684329</c:v>
                </c:pt>
                <c:pt idx="14">
                  <c:v>0.6637889500854219</c:v>
                </c:pt>
                <c:pt idx="15">
                  <c:v>0.6651769071428366</c:v>
                </c:pt>
                <c:pt idx="16">
                  <c:v>0.6558898934820269</c:v>
                </c:pt>
                <c:pt idx="17">
                  <c:v>0.6524790617215044</c:v>
                </c:pt>
                <c:pt idx="18">
                  <c:v>0.6464108897611512</c:v>
                </c:pt>
                <c:pt idx="19">
                  <c:v>0.6459692184063413</c:v>
                </c:pt>
                <c:pt idx="20">
                  <c:v>0.6051883235869616</c:v>
                </c:pt>
                <c:pt idx="21">
                  <c:v>0.623518972098071</c:v>
                </c:pt>
                <c:pt idx="22">
                  <c:v>0.606054846065761</c:v>
                </c:pt>
                <c:pt idx="23">
                  <c:v>0.5912689931657411</c:v>
                </c:pt>
                <c:pt idx="24">
                  <c:v>0.5896988401087822</c:v>
                </c:pt>
                <c:pt idx="25">
                  <c:v>0.6215500730984834</c:v>
                </c:pt>
                <c:pt idx="26">
                  <c:v>0.6331676829074726</c:v>
                </c:pt>
                <c:pt idx="27">
                  <c:v>0.6760125796026772</c:v>
                </c:pt>
                <c:pt idx="28">
                  <c:v>0.6747537836890943</c:v>
                </c:pt>
                <c:pt idx="29">
                  <c:v>0.6375588631568083</c:v>
                </c:pt>
                <c:pt idx="30">
                  <c:v>0.6455401921521146</c:v>
                </c:pt>
                <c:pt idx="31">
                  <c:v>0.6012652407413209</c:v>
                </c:pt>
                <c:pt idx="32">
                  <c:v>0.6060447014278875</c:v>
                </c:pt>
                <c:pt idx="33">
                  <c:v>0.6591453727160057</c:v>
                </c:pt>
                <c:pt idx="34">
                  <c:v>0.709723522604299</c:v>
                </c:pt>
                <c:pt idx="35">
                  <c:v>0.6748878633322319</c:v>
                </c:pt>
                <c:pt idx="36">
                  <c:v>0.6069137102293862</c:v>
                </c:pt>
                <c:pt idx="37">
                  <c:v>0.6383644032334169</c:v>
                </c:pt>
                <c:pt idx="38">
                  <c:v>0.613777910828523</c:v>
                </c:pt>
                <c:pt idx="39">
                  <c:v>0.6611113583657802</c:v>
                </c:pt>
                <c:pt idx="40">
                  <c:v>0.6410059858225187</c:v>
                </c:pt>
                <c:pt idx="41">
                  <c:v>0.6709262433274975</c:v>
                </c:pt>
                <c:pt idx="42">
                  <c:v>0.6382475054687655</c:v>
                </c:pt>
                <c:pt idx="43">
                  <c:v>0.6887705000165194</c:v>
                </c:pt>
                <c:pt idx="44">
                  <c:v>0.7143396714878101</c:v>
                </c:pt>
                <c:pt idx="45">
                  <c:v>0.7245039797275752</c:v>
                </c:pt>
                <c:pt idx="46">
                  <c:v>0.6970289577563923</c:v>
                </c:pt>
                <c:pt idx="47">
                  <c:v>0.6950249481596682</c:v>
                </c:pt>
                <c:pt idx="48">
                  <c:v>0.7259062240332327</c:v>
                </c:pt>
                <c:pt idx="49">
                  <c:v>0.7471009840084005</c:v>
                </c:pt>
                <c:pt idx="50">
                  <c:v>0.7040909785849491</c:v>
                </c:pt>
                <c:pt idx="51">
                  <c:v>0.6692127464988188</c:v>
                </c:pt>
              </c:numCache>
            </c:numRef>
          </c:xVal>
          <c:yVal>
            <c:numRef>
              <c:f>Sheet1!$B$109:$B$160</c:f>
              <c:numCache>
                <c:formatCode>General</c:formatCode>
                <c:ptCount val="52"/>
                <c:pt idx="0">
                  <c:v>0.16764404525735213</c:v>
                </c:pt>
                <c:pt idx="1">
                  <c:v>0.1625792614696009</c:v>
                </c:pt>
                <c:pt idx="2">
                  <c:v>0.17124495967741934</c:v>
                </c:pt>
                <c:pt idx="3">
                  <c:v>0.17870228847804695</c:v>
                </c:pt>
                <c:pt idx="4">
                  <c:v>0.16702852924573364</c:v>
                </c:pt>
                <c:pt idx="5">
                  <c:v>0.16200530015988085</c:v>
                </c:pt>
                <c:pt idx="6">
                  <c:v>0.16994058317298544</c:v>
                </c:pt>
                <c:pt idx="7">
                  <c:v>0.16670934699103712</c:v>
                </c:pt>
                <c:pt idx="8">
                  <c:v>0.16762843507283445</c:v>
                </c:pt>
                <c:pt idx="9">
                  <c:v>0.18330661781543395</c:v>
                </c:pt>
                <c:pt idx="10">
                  <c:v>0.18040881630851563</c:v>
                </c:pt>
                <c:pt idx="11">
                  <c:v>0.2011106951204293</c:v>
                </c:pt>
                <c:pt idx="12">
                  <c:v>0.1919274930146282</c:v>
                </c:pt>
                <c:pt idx="13">
                  <c:v>0.18640781405269152</c:v>
                </c:pt>
                <c:pt idx="14">
                  <c:v>0.18856824866841562</c:v>
                </c:pt>
                <c:pt idx="15">
                  <c:v>0.1724264809940279</c:v>
                </c:pt>
                <c:pt idx="16">
                  <c:v>0.17109078741913897</c:v>
                </c:pt>
                <c:pt idx="17">
                  <c:v>0.15125794670634385</c:v>
                </c:pt>
                <c:pt idx="18">
                  <c:v>0.14926702842795822</c:v>
                </c:pt>
                <c:pt idx="19">
                  <c:v>0.159806384865504</c:v>
                </c:pt>
                <c:pt idx="20">
                  <c:v>0.1573928152907423</c:v>
                </c:pt>
                <c:pt idx="21">
                  <c:v>0.15343151410145345</c:v>
                </c:pt>
                <c:pt idx="22">
                  <c:v>0.15176059753613347</c:v>
                </c:pt>
                <c:pt idx="23">
                  <c:v>0.15393190109444668</c:v>
                </c:pt>
                <c:pt idx="24">
                  <c:v>0.15267321071190318</c:v>
                </c:pt>
                <c:pt idx="25">
                  <c:v>0.15868338244842914</c:v>
                </c:pt>
                <c:pt idx="26">
                  <c:v>0.14334487401423351</c:v>
                </c:pt>
                <c:pt idx="27">
                  <c:v>0.13084430805949793</c:v>
                </c:pt>
                <c:pt idx="28">
                  <c:v>0.14007169023515972</c:v>
                </c:pt>
                <c:pt idx="29">
                  <c:v>0.12953151143335193</c:v>
                </c:pt>
                <c:pt idx="30">
                  <c:v>0.14574663698828993</c:v>
                </c:pt>
                <c:pt idx="31">
                  <c:v>0.13473718399826773</c:v>
                </c:pt>
                <c:pt idx="32">
                  <c:v>0.1377187920753991</c:v>
                </c:pt>
                <c:pt idx="33">
                  <c:v>0.15714342836578832</c:v>
                </c:pt>
                <c:pt idx="34">
                  <c:v>0.17673413121122877</c:v>
                </c:pt>
                <c:pt idx="35">
                  <c:v>0.17000804858418087</c:v>
                </c:pt>
                <c:pt idx="36">
                  <c:v>0.1492232435628662</c:v>
                </c:pt>
                <c:pt idx="37">
                  <c:v>0.13839568030354624</c:v>
                </c:pt>
                <c:pt idx="38">
                  <c:v>0.1364245510586974</c:v>
                </c:pt>
                <c:pt idx="39">
                  <c:v>0.1550192172583378</c:v>
                </c:pt>
                <c:pt idx="40">
                  <c:v>0.13829830646806773</c:v>
                </c:pt>
                <c:pt idx="41">
                  <c:v>0.1422884048539601</c:v>
                </c:pt>
                <c:pt idx="42">
                  <c:v>0.13852556480380498</c:v>
                </c:pt>
                <c:pt idx="43">
                  <c:v>0.13625405805020732</c:v>
                </c:pt>
                <c:pt idx="44">
                  <c:v>0.14037665286496595</c:v>
                </c:pt>
                <c:pt idx="45">
                  <c:v>0.15610974594342114</c:v>
                </c:pt>
                <c:pt idx="46">
                  <c:v>0.15033521181500195</c:v>
                </c:pt>
                <c:pt idx="47">
                  <c:v>0.15482262528304477</c:v>
                </c:pt>
                <c:pt idx="48">
                  <c:v>0.1476510067114094</c:v>
                </c:pt>
                <c:pt idx="49">
                  <c:v>0.15917829865683433</c:v>
                </c:pt>
                <c:pt idx="50">
                  <c:v>0.198731798966651</c:v>
                </c:pt>
                <c:pt idx="51">
                  <c:v>0.182217300162164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9556396384211182</c:v>
                </c:pt>
              </c:numCache>
            </c:numRef>
          </c:xVal>
          <c:yVal>
            <c:numRef>
              <c:f>Sheet1!$B$163:$B$164</c:f>
              <c:numCache>
                <c:formatCode>General</c:formatCode>
                <c:ptCount val="2"/>
                <c:pt idx="0">
                  <c:v>0.20409166500149634</c:v>
                </c:pt>
                <c:pt idx="1">
                  <c:v>0.2040916650014963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9556396384211182</c:v>
                </c:pt>
                <c:pt idx="1">
                  <c:v>0.9556396384211182</c:v>
                </c:pt>
              </c:numCache>
            </c:numRef>
          </c:xVal>
          <c:yVal>
            <c:numRef>
              <c:f>Sheet1!$B$167:$B$168</c:f>
              <c:numCache>
                <c:formatCode>General</c:formatCode>
                <c:ptCount val="2"/>
                <c:pt idx="0">
                  <c:v>0.204091665001496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497676933226056</c:v>
                </c:pt>
              </c:numCache>
            </c:numRef>
          </c:xVal>
          <c:yVal>
            <c:numRef>
              <c:f>Sheet1!$B$171:$B$172</c:f>
              <c:numCache>
                <c:formatCode>General</c:formatCode>
                <c:ptCount val="2"/>
                <c:pt idx="0">
                  <c:v>0.17280020329117562</c:v>
                </c:pt>
                <c:pt idx="1">
                  <c:v>0.1728002032911756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497676933226056</c:v>
                </c:pt>
                <c:pt idx="1">
                  <c:v>0.7497676933226056</c:v>
                </c:pt>
              </c:numCache>
            </c:numRef>
          </c:xVal>
          <c:yVal>
            <c:numRef>
              <c:f>Sheet1!$B$175:$B$176</c:f>
              <c:numCache>
                <c:formatCode>General</c:formatCode>
                <c:ptCount val="2"/>
                <c:pt idx="0">
                  <c:v>0.172800203291175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249686476546517</c:v>
                </c:pt>
              </c:numCache>
            </c:numRef>
          </c:xVal>
          <c:yVal>
            <c:numRef>
              <c:f>Sheet1!$B$179:$B$180</c:f>
              <c:numCache>
                <c:formatCode>General</c:formatCode>
                <c:ptCount val="2"/>
                <c:pt idx="0">
                  <c:v>0.1538313993721439</c:v>
                </c:pt>
                <c:pt idx="1">
                  <c:v>0.153831399372143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249686476546517</c:v>
                </c:pt>
                <c:pt idx="1">
                  <c:v>0.6249686476546517</c:v>
                </c:pt>
              </c:numCache>
            </c:numRef>
          </c:xVal>
          <c:yVal>
            <c:numRef>
              <c:f>Sheet1!$B$183:$B$184</c:f>
              <c:numCache>
                <c:formatCode>General</c:formatCode>
                <c:ptCount val="2"/>
                <c:pt idx="0">
                  <c:v>0.153831399372143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825865242682587</c:v>
                </c:pt>
                <c:pt idx="1">
                  <c:v>0.657926025007753</c:v>
                </c:pt>
                <c:pt idx="2">
                  <c:v>0.6571827248573081</c:v>
                </c:pt>
                <c:pt idx="3">
                  <c:v>0.6466094105504513</c:v>
                </c:pt>
                <c:pt idx="4">
                  <c:v>0.6302048273006583</c:v>
                </c:pt>
                <c:pt idx="5">
                  <c:v>0.6726810575582481</c:v>
                </c:pt>
                <c:pt idx="6">
                  <c:v>0.6718118247647918</c:v>
                </c:pt>
                <c:pt idx="7">
                  <c:v>0.6633042562632502</c:v>
                </c:pt>
                <c:pt idx="8">
                  <c:v>0.6859682340202388</c:v>
                </c:pt>
                <c:pt idx="9">
                  <c:v>0.6656415677409644</c:v>
                </c:pt>
                <c:pt idx="10">
                  <c:v>0.6784967564281204</c:v>
                </c:pt>
                <c:pt idx="11">
                  <c:v>0.6893712506447774</c:v>
                </c:pt>
                <c:pt idx="12">
                  <c:v>0.6851716390729701</c:v>
                </c:pt>
                <c:pt idx="13">
                  <c:v>0.649487220684329</c:v>
                </c:pt>
                <c:pt idx="14">
                  <c:v>0.6637889500854219</c:v>
                </c:pt>
                <c:pt idx="15">
                  <c:v>0.6651769071428366</c:v>
                </c:pt>
                <c:pt idx="16">
                  <c:v>0.6558898934820269</c:v>
                </c:pt>
                <c:pt idx="17">
                  <c:v>0.6524790617215044</c:v>
                </c:pt>
                <c:pt idx="18">
                  <c:v>0.6464108897611512</c:v>
                </c:pt>
                <c:pt idx="19">
                  <c:v>0.6459692184063413</c:v>
                </c:pt>
                <c:pt idx="20">
                  <c:v>0.6051883235869616</c:v>
                </c:pt>
                <c:pt idx="21">
                  <c:v>0.623518972098071</c:v>
                </c:pt>
                <c:pt idx="22">
                  <c:v>0.606054846065761</c:v>
                </c:pt>
                <c:pt idx="23">
                  <c:v>0.5912689931657411</c:v>
                </c:pt>
                <c:pt idx="24">
                  <c:v>0.5896988401087822</c:v>
                </c:pt>
                <c:pt idx="25">
                  <c:v>0.6215500730984834</c:v>
                </c:pt>
                <c:pt idx="26">
                  <c:v>0.6331676829074726</c:v>
                </c:pt>
                <c:pt idx="27">
                  <c:v>0.6760125796026772</c:v>
                </c:pt>
                <c:pt idx="28">
                  <c:v>0.6747537836890943</c:v>
                </c:pt>
                <c:pt idx="29">
                  <c:v>0.6375588631568083</c:v>
                </c:pt>
                <c:pt idx="30">
                  <c:v>0.6455401921521146</c:v>
                </c:pt>
                <c:pt idx="31">
                  <c:v>0.6012652407413209</c:v>
                </c:pt>
                <c:pt idx="32">
                  <c:v>0.6060447014278875</c:v>
                </c:pt>
                <c:pt idx="33">
                  <c:v>0.6591453727160057</c:v>
                </c:pt>
                <c:pt idx="34">
                  <c:v>0.709723522604299</c:v>
                </c:pt>
                <c:pt idx="35">
                  <c:v>0.6748878633322319</c:v>
                </c:pt>
                <c:pt idx="36">
                  <c:v>0.6069137102293862</c:v>
                </c:pt>
                <c:pt idx="37">
                  <c:v>0.6383644032334169</c:v>
                </c:pt>
                <c:pt idx="38">
                  <c:v>0.613777910828523</c:v>
                </c:pt>
                <c:pt idx="39">
                  <c:v>0.6611113583657802</c:v>
                </c:pt>
                <c:pt idx="40">
                  <c:v>0.6410059858225187</c:v>
                </c:pt>
                <c:pt idx="41">
                  <c:v>0.6709262433274975</c:v>
                </c:pt>
                <c:pt idx="42">
                  <c:v>0.6382475054687655</c:v>
                </c:pt>
                <c:pt idx="43">
                  <c:v>0.6887705000165194</c:v>
                </c:pt>
                <c:pt idx="44">
                  <c:v>0.7143396714878101</c:v>
                </c:pt>
                <c:pt idx="45">
                  <c:v>0.7245039797275752</c:v>
                </c:pt>
                <c:pt idx="46">
                  <c:v>0.6970289577563923</c:v>
                </c:pt>
                <c:pt idx="47">
                  <c:v>0.6950249481596682</c:v>
                </c:pt>
                <c:pt idx="48">
                  <c:v>0.7259062240332327</c:v>
                </c:pt>
                <c:pt idx="49">
                  <c:v>0.7471009840084005</c:v>
                </c:pt>
                <c:pt idx="50">
                  <c:v>0.7040909785849491</c:v>
                </c:pt>
                <c:pt idx="51">
                  <c:v>0.6692127464988188</c:v>
                </c:pt>
                <c:pt idx="52">
                  <c:v>0.7497676933226056</c:v>
                </c:pt>
                <c:pt idx="53">
                  <c:v>0.9556396384211182</c:v>
                </c:pt>
                <c:pt idx="54">
                  <c:v>0.6249686476546517</c:v>
                </c:pt>
              </c:numCache>
            </c:numRef>
          </c:xVal>
          <c:yVal>
            <c:numRef>
              <c:f>Sheet1!$B$187:$B$241</c:f>
              <c:numCache>
                <c:formatCode>General</c:formatCode>
                <c:ptCount val="55"/>
                <c:pt idx="0">
                  <c:v>0.1625890160499381</c:v>
                </c:pt>
                <c:pt idx="1">
                  <c:v>0.15884074880547092</c:v>
                </c:pt>
                <c:pt idx="2">
                  <c:v>0.15872777106007782</c:v>
                </c:pt>
                <c:pt idx="3">
                  <c:v>0.15712068244183078</c:v>
                </c:pt>
                <c:pt idx="4">
                  <c:v>0.15462727136345858</c:v>
                </c:pt>
                <c:pt idx="5">
                  <c:v>0.16108343678254045</c:v>
                </c:pt>
                <c:pt idx="6">
                  <c:v>0.1609513179323456</c:v>
                </c:pt>
                <c:pt idx="7">
                  <c:v>0.1596582119004065</c:v>
                </c:pt>
                <c:pt idx="8">
                  <c:v>0.16310301829132592</c:v>
                </c:pt>
                <c:pt idx="9">
                  <c:v>0.16001347105227876</c:v>
                </c:pt>
                <c:pt idx="10">
                  <c:v>0.16196739267278223</c:v>
                </c:pt>
                <c:pt idx="11">
                  <c:v>0.16362025906619393</c:v>
                </c:pt>
                <c:pt idx="12">
                  <c:v>0.16298194001483143</c:v>
                </c:pt>
                <c:pt idx="13">
                  <c:v>0.15755809456989278</c:v>
                </c:pt>
                <c:pt idx="14">
                  <c:v>0.15973188283293915</c:v>
                </c:pt>
                <c:pt idx="15">
                  <c:v>0.15994284506529616</c:v>
                </c:pt>
                <c:pt idx="16">
                  <c:v>0.15853126743517565</c:v>
                </c:pt>
                <c:pt idx="17">
                  <c:v>0.15801283880040629</c:v>
                </c:pt>
                <c:pt idx="18">
                  <c:v>0.15709050831745403</c:v>
                </c:pt>
                <c:pt idx="19">
                  <c:v>0.15702337657553084</c:v>
                </c:pt>
                <c:pt idx="20">
                  <c:v>0.1508248932992272</c:v>
                </c:pt>
                <c:pt idx="21">
                  <c:v>0.1536110562498723</c:v>
                </c:pt>
                <c:pt idx="22">
                  <c:v>0.1509566001957327</c:v>
                </c:pt>
                <c:pt idx="23">
                  <c:v>0.1487092276863118</c:v>
                </c:pt>
                <c:pt idx="24">
                  <c:v>0.14847057261246158</c:v>
                </c:pt>
                <c:pt idx="25">
                  <c:v>0.1533117938728272</c:v>
                </c:pt>
                <c:pt idx="26">
                  <c:v>0.1550776099597616</c:v>
                </c:pt>
                <c:pt idx="27">
                  <c:v>0.16158981075418802</c:v>
                </c:pt>
                <c:pt idx="28">
                  <c:v>0.16139848034191576</c:v>
                </c:pt>
                <c:pt idx="29">
                  <c:v>0.1557450464507777</c:v>
                </c:pt>
                <c:pt idx="30">
                  <c:v>0.1569581668229323</c:v>
                </c:pt>
                <c:pt idx="31">
                  <c:v>0.1502286051717116</c:v>
                </c:pt>
                <c:pt idx="32">
                  <c:v>0.15095505826369612</c:v>
                </c:pt>
                <c:pt idx="33">
                  <c:v>0.15902608329631715</c:v>
                </c:pt>
                <c:pt idx="34">
                  <c:v>0.16671369823506496</c:v>
                </c:pt>
                <c:pt idx="35">
                  <c:v>0.16141885974823733</c:v>
                </c:pt>
                <c:pt idx="36">
                  <c:v>0.1510871430682819</c:v>
                </c:pt>
                <c:pt idx="37">
                  <c:v>0.15586748434026895</c:v>
                </c:pt>
                <c:pt idx="38">
                  <c:v>0.15213046575179306</c:v>
                </c:pt>
                <c:pt idx="39">
                  <c:v>0.15932490285938836</c:v>
                </c:pt>
                <c:pt idx="40">
                  <c:v>0.1562689911138217</c:v>
                </c:pt>
                <c:pt idx="41">
                  <c:v>0.16081671417357116</c:v>
                </c:pt>
                <c:pt idx="42">
                  <c:v>0.15584971648984688</c:v>
                </c:pt>
                <c:pt idx="43">
                  <c:v>0.16352894810455418</c:v>
                </c:pt>
                <c:pt idx="44">
                  <c:v>0.16741532878491186</c:v>
                </c:pt>
                <c:pt idx="45">
                  <c:v>0.16896025061456824</c:v>
                </c:pt>
                <c:pt idx="46">
                  <c:v>0.16478419060022245</c:v>
                </c:pt>
                <c:pt idx="47">
                  <c:v>0.16447959159556932</c:v>
                </c:pt>
                <c:pt idx="48">
                  <c:v>0.16917338443412777</c:v>
                </c:pt>
                <c:pt idx="49">
                  <c:v>0.17239487738648243</c:v>
                </c:pt>
                <c:pt idx="50">
                  <c:v>0.16585758092666314</c:v>
                </c:pt>
                <c:pt idx="51">
                  <c:v>0.16055627159418182</c:v>
                </c:pt>
                <c:pt idx="52">
                  <c:v>0.17280020329117562</c:v>
                </c:pt>
                <c:pt idx="53">
                  <c:v>0.20409166500149634</c:v>
                </c:pt>
                <c:pt idx="54">
                  <c:v>0.15383139937214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478484661313563"/>
          <c:min val="0.1036252091466815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c:f>
              <c:numCache>
                <c:formatCode>General</c:formatCode>
                <c:ptCount val="6"/>
                <c:pt idx="0">
                  <c:v>2326.0</c:v>
                </c:pt>
                <c:pt idx="1">
                  <c:v>1970.0</c:v>
                </c:pt>
                <c:pt idx="2">
                  <c:v>1927.6667</c:v>
                </c:pt>
                <c:pt idx="3">
                  <c:v>2306.8</c:v>
                </c:pt>
                <c:pt idx="4">
                  <c:v>1859.6667</c:v>
                </c:pt>
                <c:pt idx="5">
                  <c:v>1772.0</c:v>
                </c:pt>
              </c:numCache>
            </c:numRef>
          </c:xVal>
          <c:yVal>
            <c:numRef>
              <c:f>Sheet1!$B$2:$B$7</c:f>
              <c:numCache>
                <c:formatCode>General</c:formatCode>
                <c:ptCount val="6"/>
                <c:pt idx="0">
                  <c:v>0.00646830530401035</c:v>
                </c:pt>
                <c:pt idx="1">
                  <c:v>0.0049261083743842365</c:v>
                </c:pt>
                <c:pt idx="2">
                  <c:v>0.006912442396313364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F32D-48B7-BC20-E66FC6253BAD}"/>
            </c:ext>
          </c:extLst>
        </c:ser>
        <c:ser>
          <c:idx val="1"/>
          <c:order val="1"/>
          <c:tx>
            <c:strRef>
              <c:f>Sheet1!$B$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A$11</c:f>
              <c:numCache>
                <c:formatCode>General</c:formatCode>
                <c:ptCount val="2"/>
                <c:pt idx="0">
                  <c:v>1715.6667</c:v>
                </c:pt>
                <c:pt idx="1">
                  <c:v>876.6667</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F32D-48B7-BC20-E66FC6253BAD}"/>
            </c:ext>
          </c:extLst>
        </c:ser>
        <c:ser>
          <c:idx val="2"/>
          <c:order val="2"/>
          <c:tx>
            <c:strRef>
              <c:f>Sheet1!$B$13</c:f>
              <c:strCache>
                <c:ptCount val="1"/>
                <c:pt idx="0">
                  <c:v>Custom Linep3yQ</c:v>
                </c:pt>
              </c:strCache>
            </c:strRef>
          </c:tx>
          <c:spPr>
            <a:ln w="19050" cap="rnd">
              <a:solidFill>
                <a:srgbClr val="C00000"/>
              </a:solidFill>
              <a:prstDash val="sysDot"/>
              <a:round/>
            </a:ln>
            <a:effectLst/>
          </c:spPr>
          <c:marker>
            <c:symbol val="none"/>
          </c:marker>
          <c:xVal>
            <c:numRef>
              <c:f>Sheet1!$A$14:$A$15</c:f>
              <c:numCache>
                <c:formatCode>General</c:formatCode>
                <c:ptCount val="2"/>
                <c:pt idx="0">
                  <c:v>0</c:v>
                </c:pt>
                <c:pt idx="1">
                  <c:v>876.6666999999995</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3-F32D-48B7-BC20-E66FC6253BAD}"/>
            </c:ext>
          </c:extLst>
        </c:ser>
        <c:ser>
          <c:idx val="3"/>
          <c:order val="3"/>
          <c:tx>
            <c:strRef>
              <c:f>Sheet1!$B$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A$19</c:f>
              <c:numCache>
                <c:formatCode>General</c:formatCode>
                <c:ptCount val="2"/>
                <c:pt idx="0">
                  <c:v>876.6666999999995</c:v>
                </c:pt>
                <c:pt idx="1">
                  <c:v>876.6666999999995</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2:$A$23</c:f>
              <c:numCache>
                <c:formatCode>General</c:formatCode>
                <c:ptCount val="2"/>
                <c:pt idx="0">
                  <c:v>0</c:v>
                </c:pt>
                <c:pt idx="1">
                  <c:v>876.6666999999995</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A-F32D-48B7-BC20-E66FC6253BAD}"/>
            </c:ext>
          </c:extLst>
        </c:ser>
        <c:ser>
          <c:idx val="5"/>
          <c:order val="5"/>
          <c:tx>
            <c:strRef>
              <c:f>Sheet1!$B$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876.6666999999995</c:v>
                </c:pt>
                <c:pt idx="1">
                  <c:v>876.6666999999995</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9</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0:$A$34</c:f>
              <c:numCache>
                <c:formatCode>General</c:formatCode>
                <c:ptCount val="5"/>
                <c:pt idx="0">
                  <c:v>1715.6667</c:v>
                </c:pt>
                <c:pt idx="1">
                  <c:v>876.6667</c:v>
                </c:pt>
                <c:pt idx="2">
                  <c:v>876.6666999999995</c:v>
                </c:pt>
                <c:pt idx="3">
                  <c:v>876.6666999999995</c:v>
                </c:pt>
                <c:pt idx="4">
                  <c:v>0</c:v>
                </c:pt>
              </c:numCache>
            </c:numRef>
          </c:xVal>
          <c:yVal>
            <c:numRef>
              <c:f>Sheet1!$B$30:$B$34</c:f>
              <c:numCache>
                <c:formatCode>General</c:formatCode>
                <c:ptCount val="5"/>
                <c:pt idx="0">
                  <c:v>0.0054545454545454515</c:v>
                </c:pt>
                <c:pt idx="1">
                  <c:v>0.0101010101010101</c:v>
                </c:pt>
                <c:pt idx="2">
                  <c:v>0.010101010101010102</c:v>
                </c:pt>
                <c:pt idx="3">
                  <c:v>0.010101010101010102</c:v>
                </c:pt>
                <c:pt idx="4">
                  <c:v>0.014956076642467583</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9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c:f>
              <c:numCache>
                <c:formatCode>General</c:formatCode>
                <c:ptCount val="6"/>
                <c:pt idx="0">
                  <c:v>3.2678374965948316</c:v>
                </c:pt>
                <c:pt idx="1">
                  <c:v>5.241353695327294</c:v>
                </c:pt>
                <c:pt idx="2">
                  <c:v>2.879058486655766</c:v>
                </c:pt>
                <c:pt idx="3">
                  <c:v>4.199184191786289</c:v>
                </c:pt>
                <c:pt idx="4">
                  <c:v>2.724231947520131</c:v>
                </c:pt>
                <c:pt idx="5">
                  <c:v>2.657533071439348</c:v>
                </c:pt>
              </c:numCache>
            </c:numRef>
          </c:xVal>
          <c:yVal>
            <c:numRef>
              <c:f>Sheet1!$B$2:$B$7</c:f>
              <c:numCache>
                <c:formatCode>General</c:formatCode>
                <c:ptCount val="6"/>
                <c:pt idx="0">
                  <c:v>0.00646830530401035</c:v>
                </c:pt>
                <c:pt idx="1">
                  <c:v>0.0049261083743842365</c:v>
                </c:pt>
                <c:pt idx="2">
                  <c:v>0.006912442396313364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096C-4121-9522-6AB7243CCAAE}"/>
            </c:ext>
          </c:extLst>
        </c:ser>
        <c:ser>
          <c:idx val="1"/>
          <c:order val="1"/>
          <c:tx>
            <c:strRef>
              <c:f>Sheet1!$B$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A$11</c:f>
              <c:numCache>
                <c:formatCode>General</c:formatCode>
                <c:ptCount val="2"/>
                <c:pt idx="0">
                  <c:v>3.5842616584776006</c:v>
                </c:pt>
                <c:pt idx="1">
                  <c:v>1.872647646690786</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096C-4121-9522-6AB7243CCAAE}"/>
            </c:ext>
          </c:extLst>
        </c:ser>
        <c:ser>
          <c:idx val="2"/>
          <c:order val="2"/>
          <c:tx>
            <c:strRef>
              <c:f>Sheet1!$B$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A$15</c:f>
              <c:numCache>
                <c:formatCode>General</c:formatCode>
                <c:ptCount val="2"/>
                <c:pt idx="0">
                  <c:v>0</c:v>
                </c:pt>
                <c:pt idx="1">
                  <c:v>1.8726476466907864</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5-096C-4121-9522-6AB7243CCAAE}"/>
            </c:ext>
          </c:extLst>
        </c:ser>
        <c:ser>
          <c:idx val="3"/>
          <c:order val="3"/>
          <c:tx>
            <c:strRef>
              <c:f>Sheet1!$B$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A$19</c:f>
              <c:numCache>
                <c:formatCode>General</c:formatCode>
                <c:ptCount val="2"/>
                <c:pt idx="0">
                  <c:v>1.8726476466907864</c:v>
                </c:pt>
                <c:pt idx="1">
                  <c:v>1.8726476466907864</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2:$A$23</c:f>
              <c:numCache>
                <c:formatCode>General</c:formatCode>
                <c:ptCount val="2"/>
                <c:pt idx="0">
                  <c:v>0</c:v>
                </c:pt>
                <c:pt idx="1">
                  <c:v>1.8726476466907864</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D-096C-4121-9522-6AB7243CCAAE}"/>
            </c:ext>
          </c:extLst>
        </c:ser>
        <c:ser>
          <c:idx val="5"/>
          <c:order val="5"/>
          <c:tx>
            <c:strRef>
              <c:f>Sheet1!$B$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1.8726476466907864</c:v>
                </c:pt>
                <c:pt idx="1">
                  <c:v>1.8726476466907864</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9</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0:$A$34</c:f>
              <c:numCache>
                <c:formatCode>General</c:formatCode>
                <c:ptCount val="5"/>
                <c:pt idx="0">
                  <c:v>3.5842616584776006</c:v>
                </c:pt>
                <c:pt idx="1">
                  <c:v>1.872647646690786</c:v>
                </c:pt>
                <c:pt idx="2">
                  <c:v>1.8726476466907864</c:v>
                </c:pt>
                <c:pt idx="3">
                  <c:v>1.8726476466907864</c:v>
                </c:pt>
                <c:pt idx="4">
                  <c:v>0</c:v>
                </c:pt>
              </c:numCache>
            </c:numRef>
          </c:xVal>
          <c:yVal>
            <c:numRef>
              <c:f>Sheet1!$B$30:$B$34</c:f>
              <c:numCache>
                <c:formatCode>General</c:formatCode>
                <c:ptCount val="5"/>
                <c:pt idx="0">
                  <c:v>0.005454545454545453</c:v>
                </c:pt>
                <c:pt idx="1">
                  <c:v>0.010101010101010104</c:v>
                </c:pt>
                <c:pt idx="2">
                  <c:v>0.010101010101010102</c:v>
                </c:pt>
                <c:pt idx="3">
                  <c:v>0.010101010101010102</c:v>
                </c:pt>
                <c:pt idx="4">
                  <c:v>0.015184627684013224</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c:f>
              <c:numCache>
                <c:formatCode>General</c:formatCode>
                <c:ptCount val="6"/>
                <c:pt idx="0">
                  <c:v>2326.0</c:v>
                </c:pt>
                <c:pt idx="1">
                  <c:v>1970.0</c:v>
                </c:pt>
                <c:pt idx="2">
                  <c:v>1927.6667</c:v>
                </c:pt>
                <c:pt idx="3">
                  <c:v>2306.8</c:v>
                </c:pt>
                <c:pt idx="4">
                  <c:v>1859.6667</c:v>
                </c:pt>
                <c:pt idx="5">
                  <c:v>1772.0</c:v>
                </c:pt>
              </c:numCache>
            </c:numRef>
          </c:xVal>
          <c:yVal>
            <c:numRef>
              <c:f>Sheet1!$B$2:$B$7</c:f>
              <c:numCache>
                <c:formatCode>General</c:formatCode>
                <c:ptCount val="6"/>
                <c:pt idx="0">
                  <c:v>0.00646830530401035</c:v>
                </c:pt>
                <c:pt idx="1">
                  <c:v>0.0049261083743842365</c:v>
                </c:pt>
                <c:pt idx="2">
                  <c:v>0.006912442396313364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F32D-48B7-BC20-E66FC6253BAD}"/>
            </c:ext>
          </c:extLst>
        </c:ser>
        <c:ser>
          <c:idx val="1"/>
          <c:order val="1"/>
          <c:tx>
            <c:strRef>
              <c:f>Sheet1!$B$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A$11</c:f>
              <c:numCache>
                <c:formatCode>General</c:formatCode>
                <c:ptCount val="2"/>
                <c:pt idx="0">
                  <c:v>1715.6667</c:v>
                </c:pt>
                <c:pt idx="1">
                  <c:v>876.6667</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F32D-48B7-BC20-E66FC6253BAD}"/>
            </c:ext>
          </c:extLst>
        </c:ser>
        <c:ser>
          <c:idx val="2"/>
          <c:order val="2"/>
          <c:tx>
            <c:strRef>
              <c:f>Sheet1!$B$13</c:f>
              <c:strCache>
                <c:ptCount val="1"/>
                <c:pt idx="0">
                  <c:v>Custom Linep3yQ</c:v>
                </c:pt>
              </c:strCache>
            </c:strRef>
          </c:tx>
          <c:spPr>
            <a:ln w="19050" cap="rnd">
              <a:solidFill>
                <a:srgbClr val="C00000"/>
              </a:solidFill>
              <a:prstDash val="sysDot"/>
              <a:round/>
            </a:ln>
            <a:effectLst/>
          </c:spPr>
          <c:marker>
            <c:symbol val="none"/>
          </c:marker>
          <c:xVal>
            <c:numRef>
              <c:f>Sheet1!$A$14:$A$15</c:f>
              <c:numCache>
                <c:formatCode>General</c:formatCode>
                <c:ptCount val="2"/>
                <c:pt idx="0">
                  <c:v>0</c:v>
                </c:pt>
                <c:pt idx="1">
                  <c:v>876.6666999999995</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3-F32D-48B7-BC20-E66FC6253BAD}"/>
            </c:ext>
          </c:extLst>
        </c:ser>
        <c:ser>
          <c:idx val="3"/>
          <c:order val="3"/>
          <c:tx>
            <c:strRef>
              <c:f>Sheet1!$B$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A$19</c:f>
              <c:numCache>
                <c:formatCode>General</c:formatCode>
                <c:ptCount val="2"/>
                <c:pt idx="0">
                  <c:v>876.6666999999995</c:v>
                </c:pt>
                <c:pt idx="1">
                  <c:v>876.6666999999995</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2:$A$23</c:f>
              <c:numCache>
                <c:formatCode>General</c:formatCode>
                <c:ptCount val="2"/>
                <c:pt idx="0">
                  <c:v>0</c:v>
                </c:pt>
                <c:pt idx="1">
                  <c:v>876.6666999999995</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A-F32D-48B7-BC20-E66FC6253BAD}"/>
            </c:ext>
          </c:extLst>
        </c:ser>
        <c:ser>
          <c:idx val="5"/>
          <c:order val="5"/>
          <c:tx>
            <c:strRef>
              <c:f>Sheet1!$B$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876.6666999999995</c:v>
                </c:pt>
                <c:pt idx="1">
                  <c:v>876.6666999999995</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9</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0:$A$34</c:f>
              <c:numCache>
                <c:formatCode>General</c:formatCode>
                <c:ptCount val="5"/>
                <c:pt idx="0">
                  <c:v>1715.6667</c:v>
                </c:pt>
                <c:pt idx="1">
                  <c:v>876.6667</c:v>
                </c:pt>
                <c:pt idx="2">
                  <c:v>876.6666999999995</c:v>
                </c:pt>
                <c:pt idx="3">
                  <c:v>876.6666999999995</c:v>
                </c:pt>
                <c:pt idx="4">
                  <c:v>0</c:v>
                </c:pt>
              </c:numCache>
            </c:numRef>
          </c:xVal>
          <c:yVal>
            <c:numRef>
              <c:f>Sheet1!$B$30:$B$34</c:f>
              <c:numCache>
                <c:formatCode>General</c:formatCode>
                <c:ptCount val="5"/>
                <c:pt idx="0">
                  <c:v>0.0054545454545454515</c:v>
                </c:pt>
                <c:pt idx="1">
                  <c:v>0.0101010101010101</c:v>
                </c:pt>
                <c:pt idx="2">
                  <c:v>0.010101010101010102</c:v>
                </c:pt>
                <c:pt idx="3">
                  <c:v>0.010101010101010102</c:v>
                </c:pt>
                <c:pt idx="4">
                  <c:v>0.014956076642467583</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9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366041997526896</c:v>
                </c:pt>
                <c:pt idx="1">
                  <c:v>0.6547916872388293</c:v>
                </c:pt>
                <c:pt idx="2">
                  <c:v>0.6352694341223966</c:v>
                </c:pt>
                <c:pt idx="3">
                  <c:v>0.6310710261358297</c:v>
                </c:pt>
                <c:pt idx="4">
                  <c:v>0.629123264798992</c:v>
                </c:pt>
                <c:pt idx="5">
                  <c:v>0.6341657839858362</c:v>
                </c:pt>
                <c:pt idx="6">
                  <c:v>0.5967169042609138</c:v>
                </c:pt>
                <c:pt idx="7">
                  <c:v>0.5988392831052418</c:v>
                </c:pt>
                <c:pt idx="8">
                  <c:v>0.6085056811717509</c:v>
                </c:pt>
                <c:pt idx="9">
                  <c:v>0.6307743218343637</c:v>
                </c:pt>
                <c:pt idx="10">
                  <c:v>0.637687381801175</c:v>
                </c:pt>
                <c:pt idx="11">
                  <c:v>0.6811833511445348</c:v>
                </c:pt>
                <c:pt idx="12">
                  <c:v>0.7046374400562826</c:v>
                </c:pt>
                <c:pt idx="13">
                  <c:v>0.7036303907361009</c:v>
                </c:pt>
                <c:pt idx="14">
                  <c:v>0.6899621376543255</c:v>
                </c:pt>
                <c:pt idx="15">
                  <c:v>0.7014974847966808</c:v>
                </c:pt>
                <c:pt idx="16">
                  <c:v>0.7137494115032778</c:v>
                </c:pt>
                <c:pt idx="17">
                  <c:v>0.6822486727668887</c:v>
                </c:pt>
                <c:pt idx="18">
                  <c:v>0.718733132008359</c:v>
                </c:pt>
                <c:pt idx="19">
                  <c:v>0.7255660564318701</c:v>
                </c:pt>
                <c:pt idx="20">
                  <c:v>0.7606794717659696</c:v>
                </c:pt>
                <c:pt idx="21">
                  <c:v>0.6882891403021115</c:v>
                </c:pt>
                <c:pt idx="22">
                  <c:v>0.6439981181180925</c:v>
                </c:pt>
                <c:pt idx="23">
                  <c:v>0.6292062607653184</c:v>
                </c:pt>
                <c:pt idx="24">
                  <c:v>0.6124177607228818</c:v>
                </c:pt>
                <c:pt idx="25">
                  <c:v>0.5880121013585954</c:v>
                </c:pt>
                <c:pt idx="26">
                  <c:v>0.5831720569516884</c:v>
                </c:pt>
                <c:pt idx="27">
                  <c:v>0.6075276064625843</c:v>
                </c:pt>
                <c:pt idx="28">
                  <c:v>0.6008316758605136</c:v>
                </c:pt>
                <c:pt idx="29">
                  <c:v>0.5947862262135402</c:v>
                </c:pt>
                <c:pt idx="30">
                  <c:v>0.5887082462610533</c:v>
                </c:pt>
                <c:pt idx="31">
                  <c:v>0.5884284300930915</c:v>
                </c:pt>
                <c:pt idx="32">
                  <c:v>0.5650871994390554</c:v>
                </c:pt>
                <c:pt idx="33">
                  <c:v>0.5546673789287286</c:v>
                </c:pt>
                <c:pt idx="34">
                  <c:v>0.5955474464130586</c:v>
                </c:pt>
                <c:pt idx="35">
                  <c:v>0.6498879117860765</c:v>
                </c:pt>
                <c:pt idx="36">
                  <c:v>0.6877942244897408</c:v>
                </c:pt>
                <c:pt idx="37">
                  <c:v>0.6665737720921288</c:v>
                </c:pt>
                <c:pt idx="38">
                  <c:v>0.7128622004657453</c:v>
                </c:pt>
                <c:pt idx="39">
                  <c:v>0.7302432599547172</c:v>
                </c:pt>
                <c:pt idx="40">
                  <c:v>0.7154683841508046</c:v>
                </c:pt>
                <c:pt idx="41">
                  <c:v>0.7003172501658852</c:v>
                </c:pt>
                <c:pt idx="42">
                  <c:v>0.7196045007730993</c:v>
                </c:pt>
                <c:pt idx="43">
                  <c:v>0.7301198846085891</c:v>
                </c:pt>
                <c:pt idx="44">
                  <c:v>0.7232817406566191</c:v>
                </c:pt>
                <c:pt idx="45">
                  <c:v>0.7247371276957766</c:v>
                </c:pt>
                <c:pt idx="46">
                  <c:v>0.7231375235698904</c:v>
                </c:pt>
                <c:pt idx="47">
                  <c:v>0.7255401731106245</c:v>
                </c:pt>
                <c:pt idx="48">
                  <c:v>0.7369715837461913</c:v>
                </c:pt>
                <c:pt idx="49">
                  <c:v>0.7354458087337162</c:v>
                </c:pt>
                <c:pt idx="50">
                  <c:v>0.6973304263795862</c:v>
                </c:pt>
                <c:pt idx="51">
                  <c:v>0.6977296641013805</c:v>
                </c:pt>
                <c:pt idx="52">
                  <c:v>0.709822768518707</c:v>
                </c:pt>
                <c:pt idx="53">
                  <c:v>0.6715665093640583</c:v>
                </c:pt>
                <c:pt idx="54">
                  <c:v>0.6447849556708948</c:v>
                </c:pt>
                <c:pt idx="55">
                  <c:v>0.6555603491308455</c:v>
                </c:pt>
                <c:pt idx="56">
                  <c:v>0.6543015350303135</c:v>
                </c:pt>
                <c:pt idx="57">
                  <c:v>0.6518527659487893</c:v>
                </c:pt>
                <c:pt idx="58">
                  <c:v>0.630810610870597</c:v>
                </c:pt>
                <c:pt idx="59">
                  <c:v>0.6468550310184692</c:v>
                </c:pt>
                <c:pt idx="60">
                  <c:v>0.6465549610495556</c:v>
                </c:pt>
                <c:pt idx="61">
                  <c:v>0.6861254291260951</c:v>
                </c:pt>
                <c:pt idx="62">
                  <c:v>0.6869609595032468</c:v>
                </c:pt>
                <c:pt idx="63">
                  <c:v>0.7064393235631973</c:v>
                </c:pt>
                <c:pt idx="64">
                  <c:v>0.7532992558804141</c:v>
                </c:pt>
                <c:pt idx="65">
                  <c:v>0.7556100514084397</c:v>
                </c:pt>
                <c:pt idx="66">
                  <c:v>0.7460671717960721</c:v>
                </c:pt>
                <c:pt idx="67">
                  <c:v>0.7669683920672584</c:v>
                </c:pt>
                <c:pt idx="68">
                  <c:v>0.7731383817024039</c:v>
                </c:pt>
                <c:pt idx="69">
                  <c:v>0.7766738198016417</c:v>
                </c:pt>
                <c:pt idx="70">
                  <c:v>0.7509618553968482</c:v>
                </c:pt>
                <c:pt idx="71">
                  <c:v>0.7322732883213426</c:v>
                </c:pt>
                <c:pt idx="72">
                  <c:v>0.8015503744000646</c:v>
                </c:pt>
                <c:pt idx="73">
                  <c:v>0.7580681884831707</c:v>
                </c:pt>
                <c:pt idx="74">
                  <c:v>0.7414571374183244</c:v>
                </c:pt>
                <c:pt idx="75">
                  <c:v>0.7163127070487361</c:v>
                </c:pt>
                <c:pt idx="76">
                  <c:v>0.700423329021844</c:v>
                </c:pt>
                <c:pt idx="77">
                  <c:v>0.7104803960471494</c:v>
                </c:pt>
                <c:pt idx="78">
                  <c:v>0.7302603656856513</c:v>
                </c:pt>
                <c:pt idx="79">
                  <c:v>0.7119645439460478</c:v>
                </c:pt>
                <c:pt idx="80">
                  <c:v>0.7458189985401865</c:v>
                </c:pt>
                <c:pt idx="81">
                  <c:v>0.7438830620870202</c:v>
                </c:pt>
                <c:pt idx="82">
                  <c:v>0.7286170498687293</c:v>
                </c:pt>
                <c:pt idx="83">
                  <c:v>0.6898870704939888</c:v>
                </c:pt>
                <c:pt idx="84">
                  <c:v>0.7073938459330655</c:v>
                </c:pt>
                <c:pt idx="85">
                  <c:v>0.6947336245649236</c:v>
                </c:pt>
                <c:pt idx="86">
                  <c:v>0.7129209874049923</c:v>
                </c:pt>
                <c:pt idx="87">
                  <c:v>0.7303697704255698</c:v>
                </c:pt>
                <c:pt idx="88">
                  <c:v>0.7133325020335601</c:v>
                </c:pt>
                <c:pt idx="89">
                  <c:v>0.6903532297678922</c:v>
                </c:pt>
                <c:pt idx="90">
                  <c:v>0.7159515935017098</c:v>
                </c:pt>
                <c:pt idx="91">
                  <c:v>0.7448111464539147</c:v>
                </c:pt>
                <c:pt idx="92">
                  <c:v>0.7423619025519089</c:v>
                </c:pt>
                <c:pt idx="93">
                  <c:v>0.7586345428785405</c:v>
                </c:pt>
                <c:pt idx="94">
                  <c:v>0.7453174219950748</c:v>
                </c:pt>
                <c:pt idx="95">
                  <c:v>0.7470876180306589</c:v>
                </c:pt>
                <c:pt idx="96">
                  <c:v>0.7628887192095373</c:v>
                </c:pt>
                <c:pt idx="97">
                  <c:v>0.7955225408261565</c:v>
                </c:pt>
                <c:pt idx="98">
                  <c:v>0.8065030638008451</c:v>
                </c:pt>
                <c:pt idx="99">
                  <c:v>0.8000546395784044</c:v>
                </c:pt>
                <c:pt idx="100">
                  <c:v>0.7921583471491086</c:v>
                </c:pt>
                <c:pt idx="101">
                  <c:v>0.7283285194952587</c:v>
                </c:pt>
                <c:pt idx="102">
                  <c:v>0.7264835470713237</c:v>
                </c:pt>
                <c:pt idx="103">
                  <c:v>0.7463575256005598</c:v>
                </c:pt>
                <c:pt idx="104">
                  <c:v>0.7408167509329773</c:v>
                </c:pt>
              </c:numCache>
            </c:numRef>
          </c:xVal>
          <c:yVal>
            <c:numRef>
              <c:f>Sheet1!$B$2:$B$106</c:f>
              <c:numCache>
                <c:formatCode>General</c:formatCode>
                <c:ptCount val="105"/>
                <c:pt idx="0">
                  <c:v>0.2517147485609899</c:v>
                </c:pt>
                <c:pt idx="1">
                  <c:v>0.24949245136761286</c:v>
                </c:pt>
                <c:pt idx="2">
                  <c:v>0.251412919108214</c:v>
                </c:pt>
                <c:pt idx="3">
                  <c:v>0.25002788829807016</c:v>
                </c:pt>
                <c:pt idx="4">
                  <c:v>0.254451136413593</c:v>
                </c:pt>
                <c:pt idx="5">
                  <c:v>0.26059188630026087</c:v>
                </c:pt>
                <c:pt idx="6">
                  <c:v>0.2871214728148658</c:v>
                </c:pt>
                <c:pt idx="7">
                  <c:v>0.29233259154359703</c:v>
                </c:pt>
                <c:pt idx="8">
                  <c:v>0.28802501752304954</c:v>
                </c:pt>
                <c:pt idx="9">
                  <c:v>0.27122449769656615</c:v>
                </c:pt>
                <c:pt idx="10">
                  <c:v>0.268189541249764</c:v>
                </c:pt>
                <c:pt idx="11">
                  <c:v>0.24338437377306635</c:v>
                </c:pt>
                <c:pt idx="12">
                  <c:v>0.23163717624647398</c:v>
                </c:pt>
                <c:pt idx="13">
                  <c:v>0.21940724804332504</c:v>
                </c:pt>
                <c:pt idx="14">
                  <c:v>0.2081917497899083</c:v>
                </c:pt>
                <c:pt idx="15">
                  <c:v>0.20032310177705978</c:v>
                </c:pt>
                <c:pt idx="16">
                  <c:v>0.19135243841126193</c:v>
                </c:pt>
                <c:pt idx="17">
                  <c:v>0.1893611187277214</c:v>
                </c:pt>
                <c:pt idx="18">
                  <c:v>0.17375971309025703</c:v>
                </c:pt>
                <c:pt idx="19">
                  <c:v>0.17545871559633028</c:v>
                </c:pt>
                <c:pt idx="20">
                  <c:v>0.17418820606849234</c:v>
                </c:pt>
                <c:pt idx="21">
                  <c:v>0.18668695321414985</c:v>
                </c:pt>
                <c:pt idx="22">
                  <c:v>0.20883505005077616</c:v>
                </c:pt>
                <c:pt idx="23">
                  <c:v>0.21617312072892939</c:v>
                </c:pt>
                <c:pt idx="24">
                  <c:v>0.21955173385959967</c:v>
                </c:pt>
                <c:pt idx="25">
                  <c:v>0.22786553260429324</c:v>
                </c:pt>
                <c:pt idx="26">
                  <c:v>0.248124210682713</c:v>
                </c:pt>
                <c:pt idx="27">
                  <c:v>0.2370037132247929</c:v>
                </c:pt>
                <c:pt idx="28">
                  <c:v>0.24446064139941692</c:v>
                </c:pt>
                <c:pt idx="29">
                  <c:v>0.23986167871738448</c:v>
                </c:pt>
                <c:pt idx="30">
                  <c:v>0.24341403364792777</c:v>
                </c:pt>
                <c:pt idx="31">
                  <c:v>0.25345477386934673</c:v>
                </c:pt>
                <c:pt idx="32">
                  <c:v>0.25874818937256994</c:v>
                </c:pt>
                <c:pt idx="33">
                  <c:v>0.25585032437442073</c:v>
                </c:pt>
                <c:pt idx="34">
                  <c:v>0.250102396067991</c:v>
                </c:pt>
                <c:pt idx="35">
                  <c:v>0.2557345971563981</c:v>
                </c:pt>
                <c:pt idx="36">
                  <c:v>0.23196812562254643</c:v>
                </c:pt>
                <c:pt idx="37">
                  <c:v>0.22798857066914746</c:v>
                </c:pt>
                <c:pt idx="38">
                  <c:v>0.21615913890592003</c:v>
                </c:pt>
                <c:pt idx="39">
                  <c:v>0.2071938378913151</c:v>
                </c:pt>
                <c:pt idx="40">
                  <c:v>0.21045714285714287</c:v>
                </c:pt>
                <c:pt idx="41">
                  <c:v>0.2072407910532634</c:v>
                </c:pt>
                <c:pt idx="42">
                  <c:v>0.20224290924927868</c:v>
                </c:pt>
                <c:pt idx="43">
                  <c:v>0.1946233411397346</c:v>
                </c:pt>
                <c:pt idx="44">
                  <c:v>0.19609193962547755</c:v>
                </c:pt>
                <c:pt idx="45">
                  <c:v>0.21453432886094426</c:v>
                </c:pt>
                <c:pt idx="46">
                  <c:v>0.21987389386518008</c:v>
                </c:pt>
                <c:pt idx="47">
                  <c:v>0.21423830069697974</c:v>
                </c:pt>
                <c:pt idx="48">
                  <c:v>0.21207664255636371</c:v>
                </c:pt>
                <c:pt idx="49">
                  <c:v>0.2241240064043527</c:v>
                </c:pt>
                <c:pt idx="50">
                  <c:v>0.21729131175468483</c:v>
                </c:pt>
                <c:pt idx="51">
                  <c:v>0.2069052783803326</c:v>
                </c:pt>
                <c:pt idx="52">
                  <c:v>0.20980577491843766</c:v>
                </c:pt>
                <c:pt idx="53">
                  <c:v>0.20395344540920007</c:v>
                </c:pt>
                <c:pt idx="54">
                  <c:v>0.20795081967213114</c:v>
                </c:pt>
                <c:pt idx="55">
                  <c:v>0.2052563079894202</c:v>
                </c:pt>
                <c:pt idx="56">
                  <c:v>0.20678541875353862</c:v>
                </c:pt>
                <c:pt idx="57">
                  <c:v>0.20438625444676717</c:v>
                </c:pt>
                <c:pt idx="58">
                  <c:v>0.21921198969211989</c:v>
                </c:pt>
                <c:pt idx="59">
                  <c:v>0.21826577276561737</c:v>
                </c:pt>
                <c:pt idx="60">
                  <c:v>0.22469086656880552</c:v>
                </c:pt>
                <c:pt idx="61">
                  <c:v>0.2215318067904837</c:v>
                </c:pt>
                <c:pt idx="62">
                  <c:v>0.23122205423488917</c:v>
                </c:pt>
                <c:pt idx="63">
                  <c:v>0.23903751307726798</c:v>
                </c:pt>
                <c:pt idx="64">
                  <c:v>0.22433045579093133</c:v>
                </c:pt>
                <c:pt idx="65">
                  <c:v>0.2142171910974674</c:v>
                </c:pt>
                <c:pt idx="66">
                  <c:v>0.21597421203438397</c:v>
                </c:pt>
                <c:pt idx="67">
                  <c:v>0.20335110434120335</c:v>
                </c:pt>
                <c:pt idx="68">
                  <c:v>0.19194123819517314</c:v>
                </c:pt>
                <c:pt idx="69">
                  <c:v>0.186231725943705</c:v>
                </c:pt>
                <c:pt idx="70">
                  <c:v>0.18707821082919174</c:v>
                </c:pt>
                <c:pt idx="71">
                  <c:v>0.18971229293809938</c:v>
                </c:pt>
                <c:pt idx="72">
                  <c:v>0.1793250095414645</c:v>
                </c:pt>
                <c:pt idx="73">
                  <c:v>0.18501574475669894</c:v>
                </c:pt>
                <c:pt idx="74">
                  <c:v>0.18769759831382773</c:v>
                </c:pt>
                <c:pt idx="75">
                  <c:v>0.19967866323907454</c:v>
                </c:pt>
                <c:pt idx="76">
                  <c:v>0.20348151744226367</c:v>
                </c:pt>
                <c:pt idx="77">
                  <c:v>0.19437803376077664</c:v>
                </c:pt>
                <c:pt idx="78">
                  <c:v>0.19729144963538744</c:v>
                </c:pt>
                <c:pt idx="79">
                  <c:v>0.17318884206301424</c:v>
                </c:pt>
                <c:pt idx="80">
                  <c:v>0.16710411198600175</c:v>
                </c:pt>
                <c:pt idx="81">
                  <c:v>0.1803864168618267</c:v>
                </c:pt>
                <c:pt idx="82">
                  <c:v>0.17975474141214107</c:v>
                </c:pt>
                <c:pt idx="83">
                  <c:v>0.18402356610639403</c:v>
                </c:pt>
                <c:pt idx="84">
                  <c:v>0.18698972873321043</c:v>
                </c:pt>
                <c:pt idx="85">
                  <c:v>0.19571842145360355</c:v>
                </c:pt>
                <c:pt idx="86">
                  <c:v>0.207593915648767</c:v>
                </c:pt>
                <c:pt idx="87">
                  <c:v>0.2173268956435861</c:v>
                </c:pt>
                <c:pt idx="88">
                  <c:v>0.20523153057617533</c:v>
                </c:pt>
                <c:pt idx="89">
                  <c:v>0.20932949147262675</c:v>
                </c:pt>
                <c:pt idx="90">
                  <c:v>0.19498162058494486</c:v>
                </c:pt>
                <c:pt idx="91">
                  <c:v>0.1831610044313146</c:v>
                </c:pt>
                <c:pt idx="92">
                  <c:v>0.19462962962962962</c:v>
                </c:pt>
                <c:pt idx="93">
                  <c:v>0.18998903909389842</c:v>
                </c:pt>
                <c:pt idx="94">
                  <c:v>0.19740048740861088</c:v>
                </c:pt>
                <c:pt idx="95">
                  <c:v>0.19975149105367793</c:v>
                </c:pt>
                <c:pt idx="96">
                  <c:v>0.19698046782437967</c:v>
                </c:pt>
                <c:pt idx="97">
                  <c:v>0.202424676759533</c:v>
                </c:pt>
                <c:pt idx="98">
                  <c:v>0.2040774352777849</c:v>
                </c:pt>
                <c:pt idx="99">
                  <c:v>0.20725569996936677</c:v>
                </c:pt>
                <c:pt idx="100">
                  <c:v>0.208160385871081</c:v>
                </c:pt>
                <c:pt idx="101">
                  <c:v>0.21458165496604903</c:v>
                </c:pt>
                <c:pt idx="102">
                  <c:v>0.20686988726547556</c:v>
                </c:pt>
                <c:pt idx="103">
                  <c:v>0.201168762174606</c:v>
                </c:pt>
                <c:pt idx="104">
                  <c:v>0.198169181217155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35307613488858</c:v>
                </c:pt>
                <c:pt idx="1">
                  <c:v>0.6993866541818944</c:v>
                </c:pt>
                <c:pt idx="2">
                  <c:v>0.7099739100660696</c:v>
                </c:pt>
                <c:pt idx="3">
                  <c:v>0.6767197794046058</c:v>
                </c:pt>
                <c:pt idx="4">
                  <c:v>0.6902452168759472</c:v>
                </c:pt>
                <c:pt idx="5">
                  <c:v>0.7001134172634427</c:v>
                </c:pt>
                <c:pt idx="6">
                  <c:v>0.7011354982093781</c:v>
                </c:pt>
                <c:pt idx="7">
                  <c:v>0.7003788366297174</c:v>
                </c:pt>
                <c:pt idx="8">
                  <c:v>0.7187960567612918</c:v>
                </c:pt>
                <c:pt idx="9">
                  <c:v>0.7029945367772403</c:v>
                </c:pt>
                <c:pt idx="10">
                  <c:v>0.7176598692692272</c:v>
                </c:pt>
                <c:pt idx="11">
                  <c:v>0.6965732258445303</c:v>
                </c:pt>
                <c:pt idx="12">
                  <c:v>0.7072674859677248</c:v>
                </c:pt>
                <c:pt idx="13">
                  <c:v>0.6881286909048565</c:v>
                </c:pt>
                <c:pt idx="14">
                  <c:v>0.6740098637462477</c:v>
                </c:pt>
                <c:pt idx="15">
                  <c:v>0.6797386205826358</c:v>
                </c:pt>
                <c:pt idx="16">
                  <c:v>0.6996931217794565</c:v>
                </c:pt>
                <c:pt idx="17">
                  <c:v>0.6711819790353073</c:v>
                </c:pt>
                <c:pt idx="18">
                  <c:v>0.6862858913710541</c:v>
                </c:pt>
                <c:pt idx="19">
                  <c:v>0.6981282822103899</c:v>
                </c:pt>
                <c:pt idx="20">
                  <c:v>0.6665302432708233</c:v>
                </c:pt>
                <c:pt idx="21">
                  <c:v>0.6312401094152585</c:v>
                </c:pt>
                <c:pt idx="22">
                  <c:v>0.6461890635672854</c:v>
                </c:pt>
                <c:pt idx="23">
                  <c:v>0.664077133671651</c:v>
                </c:pt>
                <c:pt idx="24">
                  <c:v>0.6679873400647711</c:v>
                </c:pt>
                <c:pt idx="25">
                  <c:v>0.6887767744830164</c:v>
                </c:pt>
                <c:pt idx="26">
                  <c:v>0.6666294929461316</c:v>
                </c:pt>
                <c:pt idx="27">
                  <c:v>0.6808691687508639</c:v>
                </c:pt>
                <c:pt idx="28">
                  <c:v>0.6964902771035233</c:v>
                </c:pt>
                <c:pt idx="29">
                  <c:v>0.6619908689458059</c:v>
                </c:pt>
                <c:pt idx="30">
                  <c:v>0.6587202245764061</c:v>
                </c:pt>
                <c:pt idx="31">
                  <c:v>0.6628735140535156</c:v>
                </c:pt>
                <c:pt idx="32">
                  <c:v>0.6693393447467232</c:v>
                </c:pt>
                <c:pt idx="33">
                  <c:v>0.6879778867782218</c:v>
                </c:pt>
                <c:pt idx="34">
                  <c:v>0.7175136301757877</c:v>
                </c:pt>
                <c:pt idx="35">
                  <c:v>0.6995213855514282</c:v>
                </c:pt>
                <c:pt idx="36">
                  <c:v>0.6503170723671522</c:v>
                </c:pt>
                <c:pt idx="37">
                  <c:v>0.6384377902986433</c:v>
                </c:pt>
                <c:pt idx="38">
                  <c:v>0.6514730440455658</c:v>
                </c:pt>
                <c:pt idx="39">
                  <c:v>0.6841721215403336</c:v>
                </c:pt>
                <c:pt idx="40">
                  <c:v>0.7088812496904486</c:v>
                </c:pt>
                <c:pt idx="41">
                  <c:v>0.7270144847685257</c:v>
                </c:pt>
                <c:pt idx="42">
                  <c:v>0.7007568119667644</c:v>
                </c:pt>
                <c:pt idx="43">
                  <c:v>0.7599223831275206</c:v>
                </c:pt>
                <c:pt idx="44">
                  <c:v>0.7943490352082431</c:v>
                </c:pt>
                <c:pt idx="45">
                  <c:v>0.7895429728721519</c:v>
                </c:pt>
                <c:pt idx="46">
                  <c:v>0.7544890436845139</c:v>
                </c:pt>
                <c:pt idx="47">
                  <c:v>0.7600248732442949</c:v>
                </c:pt>
                <c:pt idx="48">
                  <c:v>0.8099830749957465</c:v>
                </c:pt>
                <c:pt idx="49">
                  <c:v>0.8422071531041592</c:v>
                </c:pt>
                <c:pt idx="50">
                  <c:v>0.8217652424422001</c:v>
                </c:pt>
                <c:pt idx="51">
                  <c:v>0.7825337269041407</c:v>
                </c:pt>
              </c:numCache>
            </c:numRef>
          </c:xVal>
          <c:yVal>
            <c:numRef>
              <c:f>Sheet1!$B$109:$B$160</c:f>
              <c:numCache>
                <c:formatCode>General</c:formatCode>
                <c:ptCount val="52"/>
                <c:pt idx="0">
                  <c:v>0.19739264379907578</c:v>
                </c:pt>
                <c:pt idx="1">
                  <c:v>0.19980959181244792</c:v>
                </c:pt>
                <c:pt idx="2">
                  <c:v>0.21487342880151256</c:v>
                </c:pt>
                <c:pt idx="3">
                  <c:v>0.23045725360706337</c:v>
                </c:pt>
                <c:pt idx="4">
                  <c:v>0.21304999817124465</c:v>
                </c:pt>
                <c:pt idx="5">
                  <c:v>0.21920487456275622</c:v>
                </c:pt>
                <c:pt idx="6">
                  <c:v>0.23144147682639435</c:v>
                </c:pt>
                <c:pt idx="7">
                  <c:v>0.22823171821920257</c:v>
                </c:pt>
                <c:pt idx="8">
                  <c:v>0.21415770609318996</c:v>
                </c:pt>
                <c:pt idx="9">
                  <c:v>0.22384160593977726</c:v>
                </c:pt>
                <c:pt idx="10">
                  <c:v>0.22556691863050243</c:v>
                </c:pt>
                <c:pt idx="11">
                  <c:v>0.22960187948441171</c:v>
                </c:pt>
                <c:pt idx="12">
                  <c:v>0.2293176892608923</c:v>
                </c:pt>
                <c:pt idx="13">
                  <c:v>0.22594646732577767</c:v>
                </c:pt>
                <c:pt idx="14">
                  <c:v>0.22981667548034548</c:v>
                </c:pt>
                <c:pt idx="15">
                  <c:v>0.22243418542541016</c:v>
                </c:pt>
                <c:pt idx="16">
                  <c:v>0.2185996490632252</c:v>
                </c:pt>
                <c:pt idx="17">
                  <c:v>0.2288303426753886</c:v>
                </c:pt>
                <c:pt idx="18">
                  <c:v>0.22622338954935028</c:v>
                </c:pt>
                <c:pt idx="19">
                  <c:v>0.21929706436843524</c:v>
                </c:pt>
                <c:pt idx="20">
                  <c:v>0.2079446283478784</c:v>
                </c:pt>
                <c:pt idx="21">
                  <c:v>0.22280071813285457</c:v>
                </c:pt>
                <c:pt idx="22">
                  <c:v>0.21522564691336218</c:v>
                </c:pt>
                <c:pt idx="23">
                  <c:v>0.21599630143319465</c:v>
                </c:pt>
                <c:pt idx="24">
                  <c:v>0.21436473491617736</c:v>
                </c:pt>
                <c:pt idx="25">
                  <c:v>0.21877236936292055</c:v>
                </c:pt>
                <c:pt idx="26">
                  <c:v>0.2126831691365179</c:v>
                </c:pt>
                <c:pt idx="27">
                  <c:v>0.2159379197134756</c:v>
                </c:pt>
                <c:pt idx="28">
                  <c:v>0.20558855291576675</c:v>
                </c:pt>
                <c:pt idx="29">
                  <c:v>0.20860040567951318</c:v>
                </c:pt>
                <c:pt idx="30">
                  <c:v>0.2126890756302521</c:v>
                </c:pt>
                <c:pt idx="31">
                  <c:v>0.2061624146604384</c:v>
                </c:pt>
                <c:pt idx="32">
                  <c:v>0.20111818605373505</c:v>
                </c:pt>
                <c:pt idx="33">
                  <c:v>0.21381936887921654</c:v>
                </c:pt>
                <c:pt idx="34">
                  <c:v>0.23197430195206326</c:v>
                </c:pt>
                <c:pt idx="35">
                  <c:v>0.22070675759454433</c:v>
                </c:pt>
                <c:pt idx="36">
                  <c:v>0.21464275213172596</c:v>
                </c:pt>
                <c:pt idx="37">
                  <c:v>0.21891248788225962</c:v>
                </c:pt>
                <c:pt idx="38">
                  <c:v>0.21987066431510877</c:v>
                </c:pt>
                <c:pt idx="39">
                  <c:v>0.21826647564469914</c:v>
                </c:pt>
                <c:pt idx="40">
                  <c:v>0.20420127015144113</c:v>
                </c:pt>
                <c:pt idx="41">
                  <c:v>0.2056031641397495</c:v>
                </c:pt>
                <c:pt idx="42">
                  <c:v>0.20923467104281665</c:v>
                </c:pt>
                <c:pt idx="43">
                  <c:v>0.19402412280701756</c:v>
                </c:pt>
                <c:pt idx="44">
                  <c:v>0.19468152007905848</c:v>
                </c:pt>
                <c:pt idx="45">
                  <c:v>0.21423893109772071</c:v>
                </c:pt>
                <c:pt idx="46">
                  <c:v>0.23001549186676995</c:v>
                </c:pt>
                <c:pt idx="47">
                  <c:v>0.23053892215568864</c:v>
                </c:pt>
                <c:pt idx="48">
                  <c:v>0.21907957813998083</c:v>
                </c:pt>
                <c:pt idx="49">
                  <c:v>0.22517641829193755</c:v>
                </c:pt>
                <c:pt idx="50">
                  <c:v>0.22192789644742528</c:v>
                </c:pt>
                <c:pt idx="51">
                  <c:v>0.221749839727367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8.98354845360983</c:v>
                </c:pt>
              </c:numCache>
            </c:numRef>
          </c:xVal>
          <c:yVal>
            <c:numRef>
              <c:f>Sheet1!$B$163:$B$164</c:f>
              <c:numCache>
                <c:formatCode>General</c:formatCode>
                <c:ptCount val="2"/>
                <c:pt idx="0">
                  <c:v>0.2650189013255837</c:v>
                </c:pt>
                <c:pt idx="1">
                  <c:v>0.265018901325583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8.98354845360983</c:v>
                </c:pt>
                <c:pt idx="1">
                  <c:v>-18.98354845360983</c:v>
                </c:pt>
              </c:numCache>
            </c:numRef>
          </c:xVal>
          <c:yVal>
            <c:numRef>
              <c:f>Sheet1!$B$167:$B$168</c:f>
              <c:numCache>
                <c:formatCode>General</c:formatCode>
                <c:ptCount val="2"/>
                <c:pt idx="0">
                  <c:v>0.265018901325583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0378330524573456</c:v>
                </c:pt>
              </c:numCache>
            </c:numRef>
          </c:xVal>
          <c:yVal>
            <c:numRef>
              <c:f>Sheet1!$B$171:$B$172</c:f>
              <c:numCache>
                <c:formatCode>General</c:formatCode>
                <c:ptCount val="2"/>
                <c:pt idx="0">
                  <c:v>0.2238631702834038</c:v>
                </c:pt>
                <c:pt idx="1">
                  <c:v>0.223863170283403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0378330524573456</c:v>
                </c:pt>
                <c:pt idx="1">
                  <c:v>-2.0378330524573456</c:v>
                </c:pt>
              </c:numCache>
            </c:numRef>
          </c:xVal>
          <c:yVal>
            <c:numRef>
              <c:f>Sheet1!$B$175:$B$176</c:f>
              <c:numCache>
                <c:formatCode>General</c:formatCode>
                <c:ptCount val="2"/>
                <c:pt idx="0">
                  <c:v>0.223863170283403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8098689514155228</c:v>
                </c:pt>
              </c:numCache>
            </c:numRef>
          </c:xVal>
          <c:yVal>
            <c:numRef>
              <c:f>Sheet1!$B$179:$B$180</c:f>
              <c:numCache>
                <c:formatCode>General</c:formatCode>
                <c:ptCount val="2"/>
                <c:pt idx="0">
                  <c:v>0.21451833089166714</c:v>
                </c:pt>
                <c:pt idx="1">
                  <c:v>0.2145183308916671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8098689514155228</c:v>
                </c:pt>
                <c:pt idx="1">
                  <c:v>1.8098689514155228</c:v>
                </c:pt>
              </c:numCache>
            </c:numRef>
          </c:xVal>
          <c:yVal>
            <c:numRef>
              <c:f>Sheet1!$B$183:$B$184</c:f>
              <c:numCache>
                <c:formatCode>General</c:formatCode>
                <c:ptCount val="2"/>
                <c:pt idx="0">
                  <c:v>0.2145183308916671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35307613488858</c:v>
                </c:pt>
                <c:pt idx="1">
                  <c:v>0.6993866541818944</c:v>
                </c:pt>
                <c:pt idx="2">
                  <c:v>0.7099739100660696</c:v>
                </c:pt>
                <c:pt idx="3">
                  <c:v>0.6767197794046058</c:v>
                </c:pt>
                <c:pt idx="4">
                  <c:v>0.6902452168759472</c:v>
                </c:pt>
                <c:pt idx="5">
                  <c:v>0.7001134172634427</c:v>
                </c:pt>
                <c:pt idx="6">
                  <c:v>0.7011354982093781</c:v>
                </c:pt>
                <c:pt idx="7">
                  <c:v>0.7003788366297174</c:v>
                </c:pt>
                <c:pt idx="8">
                  <c:v>0.7187960567612918</c:v>
                </c:pt>
                <c:pt idx="9">
                  <c:v>0.7029945367772403</c:v>
                </c:pt>
                <c:pt idx="10">
                  <c:v>0.7176598692692272</c:v>
                </c:pt>
                <c:pt idx="11">
                  <c:v>0.6965732258445303</c:v>
                </c:pt>
                <c:pt idx="12">
                  <c:v>0.7072674859677248</c:v>
                </c:pt>
                <c:pt idx="13">
                  <c:v>0.6881286909048565</c:v>
                </c:pt>
                <c:pt idx="14">
                  <c:v>0.6740098637462477</c:v>
                </c:pt>
                <c:pt idx="15">
                  <c:v>0.6797386205826358</c:v>
                </c:pt>
                <c:pt idx="16">
                  <c:v>0.6996931217794565</c:v>
                </c:pt>
                <c:pt idx="17">
                  <c:v>0.6711819790353073</c:v>
                </c:pt>
                <c:pt idx="18">
                  <c:v>0.6862858913710541</c:v>
                </c:pt>
                <c:pt idx="19">
                  <c:v>0.6981282822103899</c:v>
                </c:pt>
                <c:pt idx="20">
                  <c:v>0.6665302432708233</c:v>
                </c:pt>
                <c:pt idx="21">
                  <c:v>0.6312401094152585</c:v>
                </c:pt>
                <c:pt idx="22">
                  <c:v>0.6461890635672854</c:v>
                </c:pt>
                <c:pt idx="23">
                  <c:v>0.664077133671651</c:v>
                </c:pt>
                <c:pt idx="24">
                  <c:v>0.6679873400647711</c:v>
                </c:pt>
                <c:pt idx="25">
                  <c:v>0.6887767744830164</c:v>
                </c:pt>
                <c:pt idx="26">
                  <c:v>0.6666294929461316</c:v>
                </c:pt>
                <c:pt idx="27">
                  <c:v>0.6808691687508639</c:v>
                </c:pt>
                <c:pt idx="28">
                  <c:v>0.6964902771035233</c:v>
                </c:pt>
                <c:pt idx="29">
                  <c:v>0.6619908689458059</c:v>
                </c:pt>
                <c:pt idx="30">
                  <c:v>0.6587202245764061</c:v>
                </c:pt>
                <c:pt idx="31">
                  <c:v>0.6628735140535156</c:v>
                </c:pt>
                <c:pt idx="32">
                  <c:v>0.6693393447467232</c:v>
                </c:pt>
                <c:pt idx="33">
                  <c:v>0.6879778867782218</c:v>
                </c:pt>
                <c:pt idx="34">
                  <c:v>0.7175136301757877</c:v>
                </c:pt>
                <c:pt idx="35">
                  <c:v>0.6995213855514282</c:v>
                </c:pt>
                <c:pt idx="36">
                  <c:v>0.6503170723671522</c:v>
                </c:pt>
                <c:pt idx="37">
                  <c:v>0.6384377902986433</c:v>
                </c:pt>
                <c:pt idx="38">
                  <c:v>0.6514730440455658</c:v>
                </c:pt>
                <c:pt idx="39">
                  <c:v>0.6841721215403336</c:v>
                </c:pt>
                <c:pt idx="40">
                  <c:v>0.7088812496904486</c:v>
                </c:pt>
                <c:pt idx="41">
                  <c:v>0.7270144847685257</c:v>
                </c:pt>
                <c:pt idx="42">
                  <c:v>0.7007568119667644</c:v>
                </c:pt>
                <c:pt idx="43">
                  <c:v>0.7599223831275206</c:v>
                </c:pt>
                <c:pt idx="44">
                  <c:v>0.7943490352082431</c:v>
                </c:pt>
                <c:pt idx="45">
                  <c:v>0.7895429728721519</c:v>
                </c:pt>
                <c:pt idx="46">
                  <c:v>0.7544890436845139</c:v>
                </c:pt>
                <c:pt idx="47">
                  <c:v>0.7600248732442949</c:v>
                </c:pt>
                <c:pt idx="48">
                  <c:v>0.8099830749957465</c:v>
                </c:pt>
                <c:pt idx="49">
                  <c:v>0.8422071531041592</c:v>
                </c:pt>
                <c:pt idx="50">
                  <c:v>0.8217652424422001</c:v>
                </c:pt>
                <c:pt idx="51">
                  <c:v>0.7825337269041407</c:v>
                </c:pt>
                <c:pt idx="52">
                  <c:v>-2.0378330524573456</c:v>
                </c:pt>
                <c:pt idx="53">
                  <c:v>-18.98354845360983</c:v>
                </c:pt>
                <c:pt idx="54">
                  <c:v>1.8098689514155228</c:v>
                </c:pt>
              </c:numCache>
            </c:numRef>
          </c:xVal>
          <c:yVal>
            <c:numRef>
              <c:f>Sheet1!$B$187:$B$241</c:f>
              <c:numCache>
                <c:formatCode>General</c:formatCode>
                <c:ptCount val="55"/>
                <c:pt idx="0">
                  <c:v>0.21712809721696652</c:v>
                </c:pt>
                <c:pt idx="1">
                  <c:v>0.2172153377556524</c:v>
                </c:pt>
                <c:pt idx="2">
                  <c:v>0.21718962469218303</c:v>
                </c:pt>
                <c:pt idx="3">
                  <c:v>0.21727038835574908</c:v>
                </c:pt>
                <c:pt idx="4">
                  <c:v>0.21723753938752197</c:v>
                </c:pt>
                <c:pt idx="5">
                  <c:v>0.2172135726802214</c:v>
                </c:pt>
                <c:pt idx="6">
                  <c:v>0.21721109037200848</c:v>
                </c:pt>
                <c:pt idx="7">
                  <c:v>0.2172129280613432</c:v>
                </c:pt>
                <c:pt idx="8">
                  <c:v>0.2171681985152405</c:v>
                </c:pt>
                <c:pt idx="9">
                  <c:v>0.21720657536101692</c:v>
                </c:pt>
                <c:pt idx="10">
                  <c:v>0.21717095795181368</c:v>
                </c:pt>
                <c:pt idx="11">
                  <c:v>0.21722217067460672</c:v>
                </c:pt>
                <c:pt idx="12">
                  <c:v>0.2171961977320129</c:v>
                </c:pt>
                <c:pt idx="13">
                  <c:v>0.21724267975318656</c:v>
                </c:pt>
                <c:pt idx="14">
                  <c:v>0.2172769698754632</c:v>
                </c:pt>
                <c:pt idx="15">
                  <c:v>0.217263056554604</c:v>
                </c:pt>
                <c:pt idx="16">
                  <c:v>0.21721459344372931</c:v>
                </c:pt>
                <c:pt idx="17">
                  <c:v>0.21728383790433226</c:v>
                </c:pt>
                <c:pt idx="18">
                  <c:v>0.21724715532475036</c:v>
                </c:pt>
                <c:pt idx="19">
                  <c:v>0.21721839393930617</c:v>
                </c:pt>
                <c:pt idx="20">
                  <c:v>0.2172951354849578</c:v>
                </c:pt>
                <c:pt idx="21">
                  <c:v>0.21738084395007834</c:v>
                </c:pt>
                <c:pt idx="22">
                  <c:v>0.21734453771443835</c:v>
                </c:pt>
                <c:pt idx="23">
                  <c:v>0.21730109330476596</c:v>
                </c:pt>
                <c:pt idx="24">
                  <c:v>0.21729159666217374</c:v>
                </c:pt>
                <c:pt idx="25">
                  <c:v>0.21724110576514272</c:v>
                </c:pt>
                <c:pt idx="26">
                  <c:v>0.21729489443919217</c:v>
                </c:pt>
                <c:pt idx="27">
                  <c:v>0.21726031081414748</c:v>
                </c:pt>
                <c:pt idx="28">
                  <c:v>0.2172223721306087</c:v>
                </c:pt>
                <c:pt idx="29">
                  <c:v>0.2173061601755299</c:v>
                </c:pt>
                <c:pt idx="30">
                  <c:v>0.21731410352621264</c:v>
                </c:pt>
                <c:pt idx="31">
                  <c:v>0.21730401651243875</c:v>
                </c:pt>
                <c:pt idx="32">
                  <c:v>0.2172883130745682</c:v>
                </c:pt>
                <c:pt idx="33">
                  <c:v>0.21724304600825037</c:v>
                </c:pt>
                <c:pt idx="34">
                  <c:v>0.21717131311986973</c:v>
                </c:pt>
                <c:pt idx="35">
                  <c:v>0.2172150105361827</c:v>
                </c:pt>
                <c:pt idx="36">
                  <c:v>0.21733451209935598</c:v>
                </c:pt>
                <c:pt idx="37">
                  <c:v>0.2173633630818145</c:v>
                </c:pt>
                <c:pt idx="38">
                  <c:v>0.21733170461331228</c:v>
                </c:pt>
                <c:pt idx="39">
                  <c:v>0.21725228899663018</c:v>
                </c:pt>
                <c:pt idx="40">
                  <c:v>0.2171922784152909</c:v>
                </c:pt>
                <c:pt idx="41">
                  <c:v>0.2171482385781916</c:v>
                </c:pt>
                <c:pt idx="42">
                  <c:v>0.21721201007995714</c:v>
                </c:pt>
                <c:pt idx="43">
                  <c:v>0.2170683158023179</c:v>
                </c:pt>
                <c:pt idx="44">
                  <c:v>0.21698470445867282</c:v>
                </c:pt>
                <c:pt idx="45">
                  <c:v>0.21699637684925616</c:v>
                </c:pt>
                <c:pt idx="46">
                  <c:v>0.217081511648671</c:v>
                </c:pt>
                <c:pt idx="47">
                  <c:v>0.21706806688655478</c:v>
                </c:pt>
                <c:pt idx="48">
                  <c:v>0.21694673436880849</c:v>
                </c:pt>
                <c:pt idx="49">
                  <c:v>0.2168684723739433</c:v>
                </c:pt>
                <c:pt idx="50">
                  <c:v>0.21691811924675308</c:v>
                </c:pt>
                <c:pt idx="51">
                  <c:v>0.21701340006928785</c:v>
                </c:pt>
                <c:pt idx="52">
                  <c:v>0.2238631702834038</c:v>
                </c:pt>
                <c:pt idx="53">
                  <c:v>0.2650189013255837</c:v>
                </c:pt>
                <c:pt idx="54">
                  <c:v>0.2145183308916671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079910985231644"/>
          <c:min val="0.133683289588801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9058</c:v>
                </c:pt>
                <c:pt idx="1">
                  <c:v>855.4048</c:v>
                </c:pt>
                <c:pt idx="2">
                  <c:v>886.2466</c:v>
                </c:pt>
                <c:pt idx="3">
                  <c:v>899.1541</c:v>
                </c:pt>
                <c:pt idx="4">
                  <c:v>900.0859</c:v>
                </c:pt>
                <c:pt idx="5">
                  <c:v>894.1163</c:v>
                </c:pt>
                <c:pt idx="6">
                  <c:v>846.9098</c:v>
                </c:pt>
                <c:pt idx="7">
                  <c:v>862.7659</c:v>
                </c:pt>
                <c:pt idx="8">
                  <c:v>861.1043</c:v>
                </c:pt>
                <c:pt idx="9">
                  <c:v>843.2709</c:v>
                </c:pt>
                <c:pt idx="10">
                  <c:v>833.2302</c:v>
                </c:pt>
                <c:pt idx="11">
                  <c:v>889.2521</c:v>
                </c:pt>
                <c:pt idx="12">
                  <c:v>890.9984</c:v>
                </c:pt>
                <c:pt idx="13">
                  <c:v>893.6811</c:v>
                </c:pt>
                <c:pt idx="14">
                  <c:v>884.5583</c:v>
                </c:pt>
                <c:pt idx="15">
                  <c:v>903.0039</c:v>
                </c:pt>
                <c:pt idx="16">
                  <c:v>925.6963</c:v>
                </c:pt>
                <c:pt idx="17">
                  <c:v>906.9178</c:v>
                </c:pt>
                <c:pt idx="18">
                  <c:v>966.8314</c:v>
                </c:pt>
                <c:pt idx="19">
                  <c:v>987.056</c:v>
                </c:pt>
                <c:pt idx="20">
                  <c:v>1019.7402</c:v>
                </c:pt>
                <c:pt idx="21">
                  <c:v>1035.4882</c:v>
                </c:pt>
                <c:pt idx="22">
                  <c:v>1008.834</c:v>
                </c:pt>
                <c:pt idx="23">
                  <c:v>1000.987</c:v>
                </c:pt>
                <c:pt idx="24">
                  <c:v>1007.2607</c:v>
                </c:pt>
                <c:pt idx="25">
                  <c:v>983.3374</c:v>
                </c:pt>
                <c:pt idx="26">
                  <c:v>966.4006</c:v>
                </c:pt>
                <c:pt idx="27">
                  <c:v>988.7948</c:v>
                </c:pt>
                <c:pt idx="28">
                  <c:v>987.2651</c:v>
                </c:pt>
                <c:pt idx="29">
                  <c:v>964.9211</c:v>
                </c:pt>
                <c:pt idx="30">
                  <c:v>966.6746</c:v>
                </c:pt>
                <c:pt idx="31">
                  <c:v>953.9414</c:v>
                </c:pt>
                <c:pt idx="32">
                  <c:v>943.1541</c:v>
                </c:pt>
                <c:pt idx="33">
                  <c:v>891.0869</c:v>
                </c:pt>
                <c:pt idx="34">
                  <c:v>912.5349</c:v>
                </c:pt>
                <c:pt idx="35">
                  <c:v>944.06</c:v>
                </c:pt>
                <c:pt idx="36">
                  <c:v>1018.6315</c:v>
                </c:pt>
                <c:pt idx="37">
                  <c:v>1034.4815</c:v>
                </c:pt>
                <c:pt idx="38">
                  <c:v>1086.5919</c:v>
                </c:pt>
                <c:pt idx="39">
                  <c:v>1102.9389</c:v>
                </c:pt>
                <c:pt idx="40">
                  <c:v>1093.293</c:v>
                </c:pt>
                <c:pt idx="41">
                  <c:v>1119.911</c:v>
                </c:pt>
                <c:pt idx="42">
                  <c:v>1143.8659</c:v>
                </c:pt>
                <c:pt idx="43">
                  <c:v>1150.461</c:v>
                </c:pt>
                <c:pt idx="44">
                  <c:v>1088.7683</c:v>
                </c:pt>
                <c:pt idx="45">
                  <c:v>1053.1369</c:v>
                </c:pt>
                <c:pt idx="46">
                  <c:v>1044.7499</c:v>
                </c:pt>
                <c:pt idx="47">
                  <c:v>1026.7838</c:v>
                </c:pt>
                <c:pt idx="48">
                  <c:v>1034.7776</c:v>
                </c:pt>
                <c:pt idx="49">
                  <c:v>1000.8771</c:v>
                </c:pt>
                <c:pt idx="50">
                  <c:v>999.0031</c:v>
                </c:pt>
                <c:pt idx="51">
                  <c:v>1016.9488</c:v>
                </c:pt>
                <c:pt idx="52">
                  <c:v>1024.951</c:v>
                </c:pt>
                <c:pt idx="53">
                  <c:v>1085.3183</c:v>
                </c:pt>
                <c:pt idx="54">
                  <c:v>1079.9166</c:v>
                </c:pt>
                <c:pt idx="55">
                  <c:v>1093.3052</c:v>
                </c:pt>
                <c:pt idx="56">
                  <c:v>1103.5398</c:v>
                </c:pt>
                <c:pt idx="57">
                  <c:v>1076.5338</c:v>
                </c:pt>
                <c:pt idx="58">
                  <c:v>1051.5517</c:v>
                </c:pt>
                <c:pt idx="59">
                  <c:v>1046.739</c:v>
                </c:pt>
                <c:pt idx="60">
                  <c:v>1061.4004</c:v>
                </c:pt>
                <c:pt idx="61">
                  <c:v>1083.228</c:v>
                </c:pt>
                <c:pt idx="62">
                  <c:v>1030.826</c:v>
                </c:pt>
                <c:pt idx="63">
                  <c:v>1057.0364</c:v>
                </c:pt>
                <c:pt idx="64">
                  <c:v>1063.8642</c:v>
                </c:pt>
                <c:pt idx="65">
                  <c:v>1053.6825</c:v>
                </c:pt>
                <c:pt idx="66">
                  <c:v>1056.3771</c:v>
                </c:pt>
                <c:pt idx="67">
                  <c:v>1076.0802</c:v>
                </c:pt>
                <c:pt idx="68">
                  <c:v>1098.3827</c:v>
                </c:pt>
                <c:pt idx="69">
                  <c:v>1127.0407</c:v>
                </c:pt>
                <c:pt idx="70">
                  <c:v>1109.7676</c:v>
                </c:pt>
                <c:pt idx="71">
                  <c:v>1175.1428</c:v>
                </c:pt>
                <c:pt idx="72">
                  <c:v>1271.2621</c:v>
                </c:pt>
                <c:pt idx="73">
                  <c:v>1248.5424</c:v>
                </c:pt>
                <c:pt idx="74">
                  <c:v>1233.5635</c:v>
                </c:pt>
                <c:pt idx="75">
                  <c:v>1189.7679</c:v>
                </c:pt>
                <c:pt idx="76">
                  <c:v>1162.9076</c:v>
                </c:pt>
                <c:pt idx="77">
                  <c:v>1167.2162</c:v>
                </c:pt>
                <c:pt idx="78">
                  <c:v>1218.3745</c:v>
                </c:pt>
                <c:pt idx="79">
                  <c:v>1196.5709</c:v>
                </c:pt>
                <c:pt idx="80">
                  <c:v>1209.5562</c:v>
                </c:pt>
                <c:pt idx="81">
                  <c:v>1194.4479</c:v>
                </c:pt>
                <c:pt idx="82">
                  <c:v>1197.436</c:v>
                </c:pt>
                <c:pt idx="83">
                  <c:v>1157.3818</c:v>
                </c:pt>
                <c:pt idx="84">
                  <c:v>1179.0934</c:v>
                </c:pt>
                <c:pt idx="85">
                  <c:v>1161.1989</c:v>
                </c:pt>
                <c:pt idx="86">
                  <c:v>1150.8049</c:v>
                </c:pt>
                <c:pt idx="87">
                  <c:v>1151.7458</c:v>
                </c:pt>
                <c:pt idx="88">
                  <c:v>1202.4743</c:v>
                </c:pt>
                <c:pt idx="89">
                  <c:v>1193.372</c:v>
                </c:pt>
                <c:pt idx="90">
                  <c:v>1263.7689</c:v>
                </c:pt>
                <c:pt idx="91">
                  <c:v>1261.18</c:v>
                </c:pt>
                <c:pt idx="92">
                  <c:v>1201.6016</c:v>
                </c:pt>
                <c:pt idx="93">
                  <c:v>1244.2375</c:v>
                </c:pt>
                <c:pt idx="94">
                  <c:v>1221.2497</c:v>
                </c:pt>
                <c:pt idx="95">
                  <c:v>1173.0264</c:v>
                </c:pt>
                <c:pt idx="96">
                  <c:v>1141.2002</c:v>
                </c:pt>
                <c:pt idx="97">
                  <c:v>1128.5383</c:v>
                </c:pt>
                <c:pt idx="98">
                  <c:v>1117.49</c:v>
                </c:pt>
                <c:pt idx="99">
                  <c:v>1084.1234</c:v>
                </c:pt>
                <c:pt idx="100">
                  <c:v>1089.073</c:v>
                </c:pt>
                <c:pt idx="101">
                  <c:v>1089.4279</c:v>
                </c:pt>
                <c:pt idx="102">
                  <c:v>1110.0216</c:v>
                </c:pt>
                <c:pt idx="103">
                  <c:v>1102.4859</c:v>
                </c:pt>
                <c:pt idx="104">
                  <c:v>1145.2964</c:v>
                </c:pt>
              </c:numCache>
            </c:numRef>
          </c:xVal>
          <c:yVal>
            <c:numRef>
              <c:f>Sheet1!$B$2:$B$106</c:f>
              <c:numCache>
                <c:formatCode>General</c:formatCode>
                <c:ptCount val="105"/>
                <c:pt idx="0">
                  <c:v>0.2517147485609899</c:v>
                </c:pt>
                <c:pt idx="1">
                  <c:v>0.24949245136761286</c:v>
                </c:pt>
                <c:pt idx="2">
                  <c:v>0.251412919108214</c:v>
                </c:pt>
                <c:pt idx="3">
                  <c:v>0.25002788829807016</c:v>
                </c:pt>
                <c:pt idx="4">
                  <c:v>0.254451136413593</c:v>
                </c:pt>
                <c:pt idx="5">
                  <c:v>0.26059188630026087</c:v>
                </c:pt>
                <c:pt idx="6">
                  <c:v>0.2871214728148658</c:v>
                </c:pt>
                <c:pt idx="7">
                  <c:v>0.29233259154359703</c:v>
                </c:pt>
                <c:pt idx="8">
                  <c:v>0.28802501752304954</c:v>
                </c:pt>
                <c:pt idx="9">
                  <c:v>0.27122449769656615</c:v>
                </c:pt>
                <c:pt idx="10">
                  <c:v>0.268189541249764</c:v>
                </c:pt>
                <c:pt idx="11">
                  <c:v>0.24338437377306635</c:v>
                </c:pt>
                <c:pt idx="12">
                  <c:v>0.23163717624647398</c:v>
                </c:pt>
                <c:pt idx="13">
                  <c:v>0.21940724804332504</c:v>
                </c:pt>
                <c:pt idx="14">
                  <c:v>0.2081917497899083</c:v>
                </c:pt>
                <c:pt idx="15">
                  <c:v>0.20032310177705978</c:v>
                </c:pt>
                <c:pt idx="16">
                  <c:v>0.19135243841126193</c:v>
                </c:pt>
                <c:pt idx="17">
                  <c:v>0.1893611187277214</c:v>
                </c:pt>
                <c:pt idx="18">
                  <c:v>0.17375971309025703</c:v>
                </c:pt>
                <c:pt idx="19">
                  <c:v>0.17545871559633028</c:v>
                </c:pt>
                <c:pt idx="20">
                  <c:v>0.17418820606849234</c:v>
                </c:pt>
                <c:pt idx="21">
                  <c:v>0.18668695321414985</c:v>
                </c:pt>
                <c:pt idx="22">
                  <c:v>0.20883505005077616</c:v>
                </c:pt>
                <c:pt idx="23">
                  <c:v>0.21617312072892939</c:v>
                </c:pt>
                <c:pt idx="24">
                  <c:v>0.21955173385959967</c:v>
                </c:pt>
                <c:pt idx="25">
                  <c:v>0.22786553260429324</c:v>
                </c:pt>
                <c:pt idx="26">
                  <c:v>0.248124210682713</c:v>
                </c:pt>
                <c:pt idx="27">
                  <c:v>0.2370037132247929</c:v>
                </c:pt>
                <c:pt idx="28">
                  <c:v>0.24446064139941692</c:v>
                </c:pt>
                <c:pt idx="29">
                  <c:v>0.23986167871738448</c:v>
                </c:pt>
                <c:pt idx="30">
                  <c:v>0.24341403364792777</c:v>
                </c:pt>
                <c:pt idx="31">
                  <c:v>0.25345477386934673</c:v>
                </c:pt>
                <c:pt idx="32">
                  <c:v>0.25874818937256994</c:v>
                </c:pt>
                <c:pt idx="33">
                  <c:v>0.25585032437442073</c:v>
                </c:pt>
                <c:pt idx="34">
                  <c:v>0.250102396067991</c:v>
                </c:pt>
                <c:pt idx="35">
                  <c:v>0.2557345971563981</c:v>
                </c:pt>
                <c:pt idx="36">
                  <c:v>0.23196812562254643</c:v>
                </c:pt>
                <c:pt idx="37">
                  <c:v>0.22798857066914746</c:v>
                </c:pt>
                <c:pt idx="38">
                  <c:v>0.21615913890592003</c:v>
                </c:pt>
                <c:pt idx="39">
                  <c:v>0.2071938378913151</c:v>
                </c:pt>
                <c:pt idx="40">
                  <c:v>0.21045714285714287</c:v>
                </c:pt>
                <c:pt idx="41">
                  <c:v>0.2072407910532634</c:v>
                </c:pt>
                <c:pt idx="42">
                  <c:v>0.20224290924927868</c:v>
                </c:pt>
                <c:pt idx="43">
                  <c:v>0.1946233411397346</c:v>
                </c:pt>
                <c:pt idx="44">
                  <c:v>0.19609193962547755</c:v>
                </c:pt>
                <c:pt idx="45">
                  <c:v>0.21453432886094426</c:v>
                </c:pt>
                <c:pt idx="46">
                  <c:v>0.21987389386518008</c:v>
                </c:pt>
                <c:pt idx="47">
                  <c:v>0.21423830069697974</c:v>
                </c:pt>
                <c:pt idx="48">
                  <c:v>0.21207664255636371</c:v>
                </c:pt>
                <c:pt idx="49">
                  <c:v>0.2241240064043527</c:v>
                </c:pt>
                <c:pt idx="50">
                  <c:v>0.21729131175468483</c:v>
                </c:pt>
                <c:pt idx="51">
                  <c:v>0.2069052783803326</c:v>
                </c:pt>
                <c:pt idx="52">
                  <c:v>0.20980577491843766</c:v>
                </c:pt>
                <c:pt idx="53">
                  <c:v>0.20395344540920007</c:v>
                </c:pt>
                <c:pt idx="54">
                  <c:v>0.20795081967213114</c:v>
                </c:pt>
                <c:pt idx="55">
                  <c:v>0.2052563079894202</c:v>
                </c:pt>
                <c:pt idx="56">
                  <c:v>0.20678541875353862</c:v>
                </c:pt>
                <c:pt idx="57">
                  <c:v>0.20438625444676717</c:v>
                </c:pt>
                <c:pt idx="58">
                  <c:v>0.21921198969211989</c:v>
                </c:pt>
                <c:pt idx="59">
                  <c:v>0.21826577276561737</c:v>
                </c:pt>
                <c:pt idx="60">
                  <c:v>0.22469086656880552</c:v>
                </c:pt>
                <c:pt idx="61">
                  <c:v>0.2215318067904837</c:v>
                </c:pt>
                <c:pt idx="62">
                  <c:v>0.23122205423488917</c:v>
                </c:pt>
                <c:pt idx="63">
                  <c:v>0.23903751307726798</c:v>
                </c:pt>
                <c:pt idx="64">
                  <c:v>0.22433045579093133</c:v>
                </c:pt>
                <c:pt idx="65">
                  <c:v>0.2142171910974674</c:v>
                </c:pt>
                <c:pt idx="66">
                  <c:v>0.21597421203438397</c:v>
                </c:pt>
                <c:pt idx="67">
                  <c:v>0.20335110434120335</c:v>
                </c:pt>
                <c:pt idx="68">
                  <c:v>0.19194123819517314</c:v>
                </c:pt>
                <c:pt idx="69">
                  <c:v>0.186231725943705</c:v>
                </c:pt>
                <c:pt idx="70">
                  <c:v>0.18707821082919174</c:v>
                </c:pt>
                <c:pt idx="71">
                  <c:v>0.18971229293809938</c:v>
                </c:pt>
                <c:pt idx="72">
                  <c:v>0.1793250095414645</c:v>
                </c:pt>
                <c:pt idx="73">
                  <c:v>0.18501574475669894</c:v>
                </c:pt>
                <c:pt idx="74">
                  <c:v>0.18769759831382773</c:v>
                </c:pt>
                <c:pt idx="75">
                  <c:v>0.19967866323907454</c:v>
                </c:pt>
                <c:pt idx="76">
                  <c:v>0.20348151744226367</c:v>
                </c:pt>
                <c:pt idx="77">
                  <c:v>0.19437803376077664</c:v>
                </c:pt>
                <c:pt idx="78">
                  <c:v>0.19729144963538744</c:v>
                </c:pt>
                <c:pt idx="79">
                  <c:v>0.17318884206301424</c:v>
                </c:pt>
                <c:pt idx="80">
                  <c:v>0.16710411198600175</c:v>
                </c:pt>
                <c:pt idx="81">
                  <c:v>0.1803864168618267</c:v>
                </c:pt>
                <c:pt idx="82">
                  <c:v>0.17975474141214107</c:v>
                </c:pt>
                <c:pt idx="83">
                  <c:v>0.18402356610639403</c:v>
                </c:pt>
                <c:pt idx="84">
                  <c:v>0.18698972873321043</c:v>
                </c:pt>
                <c:pt idx="85">
                  <c:v>0.19571842145360355</c:v>
                </c:pt>
                <c:pt idx="86">
                  <c:v>0.207593915648767</c:v>
                </c:pt>
                <c:pt idx="87">
                  <c:v>0.2173268956435861</c:v>
                </c:pt>
                <c:pt idx="88">
                  <c:v>0.20523153057617533</c:v>
                </c:pt>
                <c:pt idx="89">
                  <c:v>0.20932949147262675</c:v>
                </c:pt>
                <c:pt idx="90">
                  <c:v>0.19498162058494486</c:v>
                </c:pt>
                <c:pt idx="91">
                  <c:v>0.1831610044313146</c:v>
                </c:pt>
                <c:pt idx="92">
                  <c:v>0.19462962962962962</c:v>
                </c:pt>
                <c:pt idx="93">
                  <c:v>0.18998903909389842</c:v>
                </c:pt>
                <c:pt idx="94">
                  <c:v>0.19740048740861088</c:v>
                </c:pt>
                <c:pt idx="95">
                  <c:v>0.19975149105367793</c:v>
                </c:pt>
                <c:pt idx="96">
                  <c:v>0.19698046782437967</c:v>
                </c:pt>
                <c:pt idx="97">
                  <c:v>0.202424676759533</c:v>
                </c:pt>
                <c:pt idx="98">
                  <c:v>0.2040774352777849</c:v>
                </c:pt>
                <c:pt idx="99">
                  <c:v>0.20725569996936677</c:v>
                </c:pt>
                <c:pt idx="100">
                  <c:v>0.208160385871081</c:v>
                </c:pt>
                <c:pt idx="101">
                  <c:v>0.21458165496604903</c:v>
                </c:pt>
                <c:pt idx="102">
                  <c:v>0.20686988726547556</c:v>
                </c:pt>
                <c:pt idx="103">
                  <c:v>0.201168762174606</c:v>
                </c:pt>
                <c:pt idx="104">
                  <c:v>0.198169181217155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7.9764</c:v>
                </c:pt>
                <c:pt idx="1">
                  <c:v>1181.183</c:v>
                </c:pt>
                <c:pt idx="2">
                  <c:v>1188.5358</c:v>
                </c:pt>
                <c:pt idx="3">
                  <c:v>1167.6881</c:v>
                </c:pt>
                <c:pt idx="4">
                  <c:v>1194.4699</c:v>
                </c:pt>
                <c:pt idx="5">
                  <c:v>1189.2709</c:v>
                </c:pt>
                <c:pt idx="6">
                  <c:v>1098.8734</c:v>
                </c:pt>
                <c:pt idx="7">
                  <c:v>1135.7131</c:v>
                </c:pt>
                <c:pt idx="8">
                  <c:v>1184.2592</c:v>
                </c:pt>
                <c:pt idx="9">
                  <c:v>1143.1849</c:v>
                </c:pt>
                <c:pt idx="10">
                  <c:v>1162.0828</c:v>
                </c:pt>
                <c:pt idx="11">
                  <c:v>1029.1262</c:v>
                </c:pt>
                <c:pt idx="12">
                  <c:v>1065.5931</c:v>
                </c:pt>
                <c:pt idx="13">
                  <c:v>1131.6266</c:v>
                </c:pt>
                <c:pt idx="14">
                  <c:v>1111.3659</c:v>
                </c:pt>
                <c:pt idx="15">
                  <c:v>1139.3358</c:v>
                </c:pt>
                <c:pt idx="16">
                  <c:v>1174.9249</c:v>
                </c:pt>
                <c:pt idx="17">
                  <c:v>1123.6132</c:v>
                </c:pt>
                <c:pt idx="18">
                  <c:v>1126.9817</c:v>
                </c:pt>
                <c:pt idx="19">
                  <c:v>1231.8824</c:v>
                </c:pt>
                <c:pt idx="20">
                  <c:v>1239.5141</c:v>
                </c:pt>
                <c:pt idx="21">
                  <c:v>1157.2583</c:v>
                </c:pt>
                <c:pt idx="22">
                  <c:v>1193.3061</c:v>
                </c:pt>
                <c:pt idx="23">
                  <c:v>1216.2924</c:v>
                </c:pt>
                <c:pt idx="24">
                  <c:v>1225.705</c:v>
                </c:pt>
                <c:pt idx="25">
                  <c:v>1180.2106</c:v>
                </c:pt>
                <c:pt idx="26">
                  <c:v>1182.9681</c:v>
                </c:pt>
                <c:pt idx="27">
                  <c:v>1178.6949</c:v>
                </c:pt>
                <c:pt idx="28">
                  <c:v>1216.045</c:v>
                </c:pt>
                <c:pt idx="29">
                  <c:v>1228.6814</c:v>
                </c:pt>
                <c:pt idx="30">
                  <c:v>1214.2375</c:v>
                </c:pt>
                <c:pt idx="31">
                  <c:v>1200.732</c:v>
                </c:pt>
                <c:pt idx="32">
                  <c:v>1219.9822</c:v>
                </c:pt>
                <c:pt idx="33">
                  <c:v>1218.2559</c:v>
                </c:pt>
                <c:pt idx="34">
                  <c:v>1230.6016</c:v>
                </c:pt>
                <c:pt idx="35">
                  <c:v>1260.6205</c:v>
                </c:pt>
                <c:pt idx="36">
                  <c:v>1294.8406</c:v>
                </c:pt>
                <c:pt idx="37">
                  <c:v>1262.0229</c:v>
                </c:pt>
                <c:pt idx="38">
                  <c:v>1284.5709</c:v>
                </c:pt>
                <c:pt idx="39">
                  <c:v>1229.5002</c:v>
                </c:pt>
                <c:pt idx="40">
                  <c:v>1263.8093</c:v>
                </c:pt>
                <c:pt idx="41">
                  <c:v>1296.2898</c:v>
                </c:pt>
                <c:pt idx="42">
                  <c:v>1286.5462</c:v>
                </c:pt>
                <c:pt idx="43">
                  <c:v>1308.1139</c:v>
                </c:pt>
                <c:pt idx="44">
                  <c:v>1226.2374</c:v>
                </c:pt>
                <c:pt idx="45">
                  <c:v>1174.8825</c:v>
                </c:pt>
                <c:pt idx="46">
                  <c:v>1167.5306</c:v>
                </c:pt>
                <c:pt idx="47">
                  <c:v>1142.6692</c:v>
                </c:pt>
                <c:pt idx="48">
                  <c:v>1143.4996</c:v>
                </c:pt>
                <c:pt idx="49">
                  <c:v>1165.05</c:v>
                </c:pt>
                <c:pt idx="50">
                  <c:v>1122.2617</c:v>
                </c:pt>
                <c:pt idx="51">
                  <c:v>1080.1198</c:v>
                </c:pt>
              </c:numCache>
            </c:numRef>
          </c:xVal>
          <c:yVal>
            <c:numRef>
              <c:f>Sheet1!$B$109:$B$160</c:f>
              <c:numCache>
                <c:formatCode>General</c:formatCode>
                <c:ptCount val="52"/>
                <c:pt idx="0">
                  <c:v>0.19739264379907578</c:v>
                </c:pt>
                <c:pt idx="1">
                  <c:v>0.19980959181244792</c:v>
                </c:pt>
                <c:pt idx="2">
                  <c:v>0.21487342880151256</c:v>
                </c:pt>
                <c:pt idx="3">
                  <c:v>0.23045725360706337</c:v>
                </c:pt>
                <c:pt idx="4">
                  <c:v>0.21304999817124465</c:v>
                </c:pt>
                <c:pt idx="5">
                  <c:v>0.21920487456275622</c:v>
                </c:pt>
                <c:pt idx="6">
                  <c:v>0.23144147682639435</c:v>
                </c:pt>
                <c:pt idx="7">
                  <c:v>0.22823171821920257</c:v>
                </c:pt>
                <c:pt idx="8">
                  <c:v>0.21415770609318996</c:v>
                </c:pt>
                <c:pt idx="9">
                  <c:v>0.22384160593977726</c:v>
                </c:pt>
                <c:pt idx="10">
                  <c:v>0.22556691863050243</c:v>
                </c:pt>
                <c:pt idx="11">
                  <c:v>0.22960187948441171</c:v>
                </c:pt>
                <c:pt idx="12">
                  <c:v>0.2293176892608923</c:v>
                </c:pt>
                <c:pt idx="13">
                  <c:v>0.22594646732577767</c:v>
                </c:pt>
                <c:pt idx="14">
                  <c:v>0.22981667548034548</c:v>
                </c:pt>
                <c:pt idx="15">
                  <c:v>0.22243418542541016</c:v>
                </c:pt>
                <c:pt idx="16">
                  <c:v>0.2185996490632252</c:v>
                </c:pt>
                <c:pt idx="17">
                  <c:v>0.2288303426753886</c:v>
                </c:pt>
                <c:pt idx="18">
                  <c:v>0.22622338954935028</c:v>
                </c:pt>
                <c:pt idx="19">
                  <c:v>0.21929706436843524</c:v>
                </c:pt>
                <c:pt idx="20">
                  <c:v>0.2079446283478784</c:v>
                </c:pt>
                <c:pt idx="21">
                  <c:v>0.22280071813285457</c:v>
                </c:pt>
                <c:pt idx="22">
                  <c:v>0.21522564691336218</c:v>
                </c:pt>
                <c:pt idx="23">
                  <c:v>0.21599630143319465</c:v>
                </c:pt>
                <c:pt idx="24">
                  <c:v>0.21436473491617736</c:v>
                </c:pt>
                <c:pt idx="25">
                  <c:v>0.21877236936292055</c:v>
                </c:pt>
                <c:pt idx="26">
                  <c:v>0.2126831691365179</c:v>
                </c:pt>
                <c:pt idx="27">
                  <c:v>0.2159379197134756</c:v>
                </c:pt>
                <c:pt idx="28">
                  <c:v>0.20558855291576675</c:v>
                </c:pt>
                <c:pt idx="29">
                  <c:v>0.20860040567951318</c:v>
                </c:pt>
                <c:pt idx="30">
                  <c:v>0.2126890756302521</c:v>
                </c:pt>
                <c:pt idx="31">
                  <c:v>0.2061624146604384</c:v>
                </c:pt>
                <c:pt idx="32">
                  <c:v>0.20111818605373505</c:v>
                </c:pt>
                <c:pt idx="33">
                  <c:v>0.21381936887921654</c:v>
                </c:pt>
                <c:pt idx="34">
                  <c:v>0.23197430195206326</c:v>
                </c:pt>
                <c:pt idx="35">
                  <c:v>0.22070675759454433</c:v>
                </c:pt>
                <c:pt idx="36">
                  <c:v>0.21464275213172596</c:v>
                </c:pt>
                <c:pt idx="37">
                  <c:v>0.21891248788225962</c:v>
                </c:pt>
                <c:pt idx="38">
                  <c:v>0.21987066431510877</c:v>
                </c:pt>
                <c:pt idx="39">
                  <c:v>0.21826647564469914</c:v>
                </c:pt>
                <c:pt idx="40">
                  <c:v>0.20420127015144113</c:v>
                </c:pt>
                <c:pt idx="41">
                  <c:v>0.2056031641397495</c:v>
                </c:pt>
                <c:pt idx="42">
                  <c:v>0.20923467104281665</c:v>
                </c:pt>
                <c:pt idx="43">
                  <c:v>0.19402412280701756</c:v>
                </c:pt>
                <c:pt idx="44">
                  <c:v>0.19468152007905848</c:v>
                </c:pt>
                <c:pt idx="45">
                  <c:v>0.21423893109772071</c:v>
                </c:pt>
                <c:pt idx="46">
                  <c:v>0.23001549186676995</c:v>
                </c:pt>
                <c:pt idx="47">
                  <c:v>0.23053892215568864</c:v>
                </c:pt>
                <c:pt idx="48">
                  <c:v>0.21907957813998083</c:v>
                </c:pt>
                <c:pt idx="49">
                  <c:v>0.22517641829193755</c:v>
                </c:pt>
                <c:pt idx="50">
                  <c:v>0.22192789644742528</c:v>
                </c:pt>
                <c:pt idx="51">
                  <c:v>0.221749839727367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09.009816579346</c:v>
                </c:pt>
              </c:numCache>
            </c:numRef>
          </c:xVal>
          <c:yVal>
            <c:numRef>
              <c:f>Sheet1!$B$163:$B$164</c:f>
              <c:numCache>
                <c:formatCode>General</c:formatCode>
                <c:ptCount val="2"/>
                <c:pt idx="0">
                  <c:v>0.2650189013255837</c:v>
                </c:pt>
                <c:pt idx="1">
                  <c:v>0.265018901325583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09.009816579346</c:v>
                </c:pt>
                <c:pt idx="1">
                  <c:v>709.009816579346</c:v>
                </c:pt>
              </c:numCache>
            </c:numRef>
          </c:xVal>
          <c:yVal>
            <c:numRef>
              <c:f>Sheet1!$B$167:$B$168</c:f>
              <c:numCache>
                <c:formatCode>General</c:formatCode>
                <c:ptCount val="2"/>
                <c:pt idx="0">
                  <c:v>0.265018901325583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1.1767894258023</c:v>
                </c:pt>
              </c:numCache>
            </c:numRef>
          </c:xVal>
          <c:yVal>
            <c:numRef>
              <c:f>Sheet1!$B$171:$B$172</c:f>
              <c:numCache>
                <c:formatCode>General</c:formatCode>
                <c:ptCount val="2"/>
                <c:pt idx="0">
                  <c:v>0.2238631702834038</c:v>
                </c:pt>
                <c:pt idx="1">
                  <c:v>0.223863170283403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1.1767894258023</c:v>
                </c:pt>
                <c:pt idx="1">
                  <c:v>1121.1767894258023</c:v>
                </c:pt>
              </c:numCache>
            </c:numRef>
          </c:xVal>
          <c:yVal>
            <c:numRef>
              <c:f>Sheet1!$B$175:$B$176</c:f>
              <c:numCache>
                <c:formatCode>General</c:formatCode>
                <c:ptCount val="2"/>
                <c:pt idx="0">
                  <c:v>0.223863170283403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14.7636135762698</c:v>
                </c:pt>
              </c:numCache>
            </c:numRef>
          </c:xVal>
          <c:yVal>
            <c:numRef>
              <c:f>Sheet1!$B$179:$B$180</c:f>
              <c:numCache>
                <c:formatCode>General</c:formatCode>
                <c:ptCount val="2"/>
                <c:pt idx="0">
                  <c:v>0.21451833089166714</c:v>
                </c:pt>
                <c:pt idx="1">
                  <c:v>0.2145183308916671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14.7636135762698</c:v>
                </c:pt>
                <c:pt idx="1">
                  <c:v>1214.7636135762698</c:v>
                </c:pt>
              </c:numCache>
            </c:numRef>
          </c:xVal>
          <c:yVal>
            <c:numRef>
              <c:f>Sheet1!$B$183:$B$184</c:f>
              <c:numCache>
                <c:formatCode>General</c:formatCode>
                <c:ptCount val="2"/>
                <c:pt idx="0">
                  <c:v>0.2145183308916671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7.9764</c:v>
                </c:pt>
                <c:pt idx="1">
                  <c:v>1181.183</c:v>
                </c:pt>
                <c:pt idx="2">
                  <c:v>1188.5358</c:v>
                </c:pt>
                <c:pt idx="3">
                  <c:v>1167.6881</c:v>
                </c:pt>
                <c:pt idx="4">
                  <c:v>1194.4699</c:v>
                </c:pt>
                <c:pt idx="5">
                  <c:v>1189.2709</c:v>
                </c:pt>
                <c:pt idx="6">
                  <c:v>1098.8734</c:v>
                </c:pt>
                <c:pt idx="7">
                  <c:v>1135.7131</c:v>
                </c:pt>
                <c:pt idx="8">
                  <c:v>1184.2592</c:v>
                </c:pt>
                <c:pt idx="9">
                  <c:v>1143.1849</c:v>
                </c:pt>
                <c:pt idx="10">
                  <c:v>1162.0828</c:v>
                </c:pt>
                <c:pt idx="11">
                  <c:v>1029.1262</c:v>
                </c:pt>
                <c:pt idx="12">
                  <c:v>1065.5931</c:v>
                </c:pt>
                <c:pt idx="13">
                  <c:v>1131.6266</c:v>
                </c:pt>
                <c:pt idx="14">
                  <c:v>1111.3659</c:v>
                </c:pt>
                <c:pt idx="15">
                  <c:v>1139.3358</c:v>
                </c:pt>
                <c:pt idx="16">
                  <c:v>1174.9249</c:v>
                </c:pt>
                <c:pt idx="17">
                  <c:v>1123.6132</c:v>
                </c:pt>
                <c:pt idx="18">
                  <c:v>1126.9817</c:v>
                </c:pt>
                <c:pt idx="19">
                  <c:v>1231.8824</c:v>
                </c:pt>
                <c:pt idx="20">
                  <c:v>1239.5141</c:v>
                </c:pt>
                <c:pt idx="21">
                  <c:v>1157.2583</c:v>
                </c:pt>
                <c:pt idx="22">
                  <c:v>1193.3061</c:v>
                </c:pt>
                <c:pt idx="23">
                  <c:v>1216.2924</c:v>
                </c:pt>
                <c:pt idx="24">
                  <c:v>1225.705</c:v>
                </c:pt>
                <c:pt idx="25">
                  <c:v>1180.2106</c:v>
                </c:pt>
                <c:pt idx="26">
                  <c:v>1182.9681</c:v>
                </c:pt>
                <c:pt idx="27">
                  <c:v>1178.6949</c:v>
                </c:pt>
                <c:pt idx="28">
                  <c:v>1216.045</c:v>
                </c:pt>
                <c:pt idx="29">
                  <c:v>1228.6814</c:v>
                </c:pt>
                <c:pt idx="30">
                  <c:v>1214.2375</c:v>
                </c:pt>
                <c:pt idx="31">
                  <c:v>1200.732</c:v>
                </c:pt>
                <c:pt idx="32">
                  <c:v>1219.9822</c:v>
                </c:pt>
                <c:pt idx="33">
                  <c:v>1218.2559</c:v>
                </c:pt>
                <c:pt idx="34">
                  <c:v>1230.6016</c:v>
                </c:pt>
                <c:pt idx="35">
                  <c:v>1260.6205</c:v>
                </c:pt>
                <c:pt idx="36">
                  <c:v>1294.8406</c:v>
                </c:pt>
                <c:pt idx="37">
                  <c:v>1262.0229</c:v>
                </c:pt>
                <c:pt idx="38">
                  <c:v>1284.5709</c:v>
                </c:pt>
                <c:pt idx="39">
                  <c:v>1229.5002</c:v>
                </c:pt>
                <c:pt idx="40">
                  <c:v>1263.8093</c:v>
                </c:pt>
                <c:pt idx="41">
                  <c:v>1296.2898</c:v>
                </c:pt>
                <c:pt idx="42">
                  <c:v>1286.5462</c:v>
                </c:pt>
                <c:pt idx="43">
                  <c:v>1308.1139</c:v>
                </c:pt>
                <c:pt idx="44">
                  <c:v>1226.2374</c:v>
                </c:pt>
                <c:pt idx="45">
                  <c:v>1174.8825</c:v>
                </c:pt>
                <c:pt idx="46">
                  <c:v>1167.5306</c:v>
                </c:pt>
                <c:pt idx="47">
                  <c:v>1142.6692</c:v>
                </c:pt>
                <c:pt idx="48">
                  <c:v>1143.4996</c:v>
                </c:pt>
                <c:pt idx="49">
                  <c:v>1165.05</c:v>
                </c:pt>
                <c:pt idx="50">
                  <c:v>1122.2617</c:v>
                </c:pt>
                <c:pt idx="51">
                  <c:v>1080.1198</c:v>
                </c:pt>
                <c:pt idx="52">
                  <c:v>1121.1767894258023</c:v>
                </c:pt>
                <c:pt idx="53">
                  <c:v>709.009816579346</c:v>
                </c:pt>
                <c:pt idx="54">
                  <c:v>1214.7636135762698</c:v>
                </c:pt>
              </c:numCache>
            </c:numRef>
          </c:xVal>
          <c:yVal>
            <c:numRef>
              <c:f>Sheet1!$B$187:$B$241</c:f>
              <c:numCache>
                <c:formatCode>General</c:formatCode>
                <c:ptCount val="55"/>
                <c:pt idx="0">
                  <c:v>0.21819161081819877</c:v>
                </c:pt>
                <c:pt idx="1">
                  <c:v>0.21787142512683086</c:v>
                </c:pt>
                <c:pt idx="2">
                  <c:v>0.21713723272631633</c:v>
                </c:pt>
                <c:pt idx="3">
                  <c:v>0.21921891901020907</c:v>
                </c:pt>
                <c:pt idx="4">
                  <c:v>0.21654470047684768</c:v>
                </c:pt>
                <c:pt idx="5">
                  <c:v>0.21706383145963995</c:v>
                </c:pt>
                <c:pt idx="6">
                  <c:v>0.22609021018958103</c:v>
                </c:pt>
                <c:pt idx="7">
                  <c:v>0.2224116893842777</c:v>
                </c:pt>
                <c:pt idx="8">
                  <c:v>0.21756426014716831</c:v>
                </c:pt>
                <c:pt idx="9">
                  <c:v>0.2216656145858112</c:v>
                </c:pt>
                <c:pt idx="10">
                  <c:v>0.2197786198945802</c:v>
                </c:pt>
                <c:pt idx="11">
                  <c:v>0.23305461343693795</c:v>
                </c:pt>
                <c:pt idx="12">
                  <c:v>0.22941331748841182</c:v>
                </c:pt>
                <c:pt idx="13">
                  <c:v>0.22281973492403157</c:v>
                </c:pt>
                <c:pt idx="14">
                  <c:v>0.2248428080348335</c:v>
                </c:pt>
                <c:pt idx="15">
                  <c:v>0.2220499552409113</c:v>
                </c:pt>
                <c:pt idx="16">
                  <c:v>0.21849630945139564</c:v>
                </c:pt>
                <c:pt idx="17">
                  <c:v>0.22361988961099205</c:v>
                </c:pt>
                <c:pt idx="18">
                  <c:v>0.22328353786728447</c:v>
                </c:pt>
                <c:pt idx="19">
                  <c:v>0.21280898439804108</c:v>
                </c:pt>
                <c:pt idx="20">
                  <c:v>0.21204694325140216</c:v>
                </c:pt>
                <c:pt idx="21">
                  <c:v>0.22026035627205304</c:v>
                </c:pt>
                <c:pt idx="22">
                  <c:v>0.21666090833177626</c:v>
                </c:pt>
                <c:pt idx="23">
                  <c:v>0.21436567838183246</c:v>
                </c:pt>
                <c:pt idx="24">
                  <c:v>0.21342581065945693</c:v>
                </c:pt>
                <c:pt idx="25">
                  <c:v>0.21796852129295263</c:v>
                </c:pt>
                <c:pt idx="26">
                  <c:v>0.217693179172343</c:v>
                </c:pt>
                <c:pt idx="27">
                  <c:v>0.21811986709611061</c:v>
                </c:pt>
                <c:pt idx="28">
                  <c:v>0.2143903817873225</c:v>
                </c:pt>
                <c:pt idx="29">
                  <c:v>0.21312861091774066</c:v>
                </c:pt>
                <c:pt idx="30">
                  <c:v>0.21457086442848372</c:v>
                </c:pt>
                <c:pt idx="31">
                  <c:v>0.21591941674394838</c:v>
                </c:pt>
                <c:pt idx="32">
                  <c:v>0.21399724416365457</c:v>
                </c:pt>
                <c:pt idx="33">
                  <c:v>0.21416961881562496</c:v>
                </c:pt>
                <c:pt idx="34">
                  <c:v>0.21293687494675434</c:v>
                </c:pt>
                <c:pt idx="35">
                  <c:v>0.20993942523347436</c:v>
                </c:pt>
                <c:pt idx="36">
                  <c:v>0.2065224769464481</c:v>
                </c:pt>
                <c:pt idx="37">
                  <c:v>0.20979939267139167</c:v>
                </c:pt>
                <c:pt idx="38">
                  <c:v>0.2075479278897029</c:v>
                </c:pt>
                <c:pt idx="39">
                  <c:v>0.2130468520316644</c:v>
                </c:pt>
                <c:pt idx="40">
                  <c:v>0.20962101690919507</c:v>
                </c:pt>
                <c:pt idx="41">
                  <c:v>0.20637777130685153</c:v>
                </c:pt>
                <c:pt idx="42">
                  <c:v>0.2073506900689086</c:v>
                </c:pt>
                <c:pt idx="43">
                  <c:v>0.20519711028480228</c:v>
                </c:pt>
                <c:pt idx="44">
                  <c:v>0.2133726494101323</c:v>
                </c:pt>
                <c:pt idx="45">
                  <c:v>0.21850054317974155</c:v>
                </c:pt>
                <c:pt idx="46">
                  <c:v>0.2192346457133808</c:v>
                </c:pt>
                <c:pt idx="47">
                  <c:v>0.22171710830533917</c:v>
                </c:pt>
                <c:pt idx="48">
                  <c:v>0.2216341911350928</c:v>
                </c:pt>
                <c:pt idx="49">
                  <c:v>0.21948233879203333</c:v>
                </c:pt>
                <c:pt idx="50">
                  <c:v>0.22375483970201798</c:v>
                </c:pt>
                <c:pt idx="51">
                  <c:v>0.2279627962251442</c:v>
                </c:pt>
                <c:pt idx="52">
                  <c:v>0.2238631702834038</c:v>
                </c:pt>
                <c:pt idx="53">
                  <c:v>0.2650189013255837</c:v>
                </c:pt>
                <c:pt idx="54">
                  <c:v>0.2145183308916671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0.0"/>
          <c:min val="56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079910985231644"/>
          <c:min val="0.133683289588801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6862223372576224</c:v>
                </c:pt>
                <c:pt idx="1">
                  <c:v>0.20228093770143885</c:v>
                </c:pt>
                <c:pt idx="2">
                  <c:v>0.1924895491620086</c:v>
                </c:pt>
                <c:pt idx="3">
                  <c:v>0.19424255298207999</c:v>
                </c:pt>
                <c:pt idx="4">
                  <c:v>0.1827949095095175</c:v>
                </c:pt>
                <c:pt idx="5">
                  <c:v>0.18485907517772024</c:v>
                </c:pt>
                <c:pt idx="6">
                  <c:v>0.1904099686705145</c:v>
                </c:pt>
                <c:pt idx="7">
                  <c:v>0.1792123414301199</c:v>
                </c:pt>
                <c:pt idx="8">
                  <c:v>0.1638381467564642</c:v>
                </c:pt>
                <c:pt idx="9">
                  <c:v>0.17202886333080586</c:v>
                </c:pt>
                <c:pt idx="10">
                  <c:v>0.17705564039577343</c:v>
                </c:pt>
                <c:pt idx="11">
                  <c:v>0.19095769098349197</c:v>
                </c:pt>
                <c:pt idx="12">
                  <c:v>0.19606413416778612</c:v>
                </c:pt>
                <c:pt idx="13">
                  <c:v>0.18844684840915404</c:v>
                </c:pt>
                <c:pt idx="14">
                  <c:v>0.1826536251144014</c:v>
                </c:pt>
                <c:pt idx="15">
                  <c:v>0.19998498015196403</c:v>
                </c:pt>
                <c:pt idx="16">
                  <c:v>0.18763772384254404</c:v>
                </c:pt>
                <c:pt idx="17">
                  <c:v>0.17577189120931616</c:v>
                </c:pt>
                <c:pt idx="18">
                  <c:v>0.179944554012006</c:v>
                </c:pt>
                <c:pt idx="19">
                  <c:v>0.1830255662011344</c:v>
                </c:pt>
                <c:pt idx="20">
                  <c:v>0.18856631601285223</c:v>
                </c:pt>
                <c:pt idx="21">
                  <c:v>0.1712249483098979</c:v>
                </c:pt>
                <c:pt idx="22">
                  <c:v>0.16116736451050967</c:v>
                </c:pt>
                <c:pt idx="23">
                  <c:v>0.15195512465521982</c:v>
                </c:pt>
                <c:pt idx="24">
                  <c:v>0.1718926570472536</c:v>
                </c:pt>
                <c:pt idx="25">
                  <c:v>0.16683613188759056</c:v>
                </c:pt>
                <c:pt idx="26">
                  <c:v>0.1579172931241033</c:v>
                </c:pt>
                <c:pt idx="27">
                  <c:v>0.16342638168865195</c:v>
                </c:pt>
                <c:pt idx="28">
                  <c:v>0.1546095750198973</c:v>
                </c:pt>
                <c:pt idx="29">
                  <c:v>0.16868469096046043</c:v>
                </c:pt>
                <c:pt idx="30">
                  <c:v>0.16295630291235533</c:v>
                </c:pt>
                <c:pt idx="31">
                  <c:v>0.15510981490164866</c:v>
                </c:pt>
                <c:pt idx="32">
                  <c:v>0.14964671375245972</c:v>
                </c:pt>
                <c:pt idx="33">
                  <c:v>0.1573607124866616</c:v>
                </c:pt>
                <c:pt idx="34">
                  <c:v>0.17408346747422027</c:v>
                </c:pt>
                <c:pt idx="35">
                  <c:v>0.17169995339479158</c:v>
                </c:pt>
                <c:pt idx="36">
                  <c:v>0.14851468114660926</c:v>
                </c:pt>
                <c:pt idx="37">
                  <c:v>0.1534092914454958</c:v>
                </c:pt>
                <c:pt idx="38">
                  <c:v>0.16762257187268573</c:v>
                </c:pt>
                <c:pt idx="39">
                  <c:v>0.17854741896136822</c:v>
                </c:pt>
                <c:pt idx="40">
                  <c:v>0.19636402549224768</c:v>
                </c:pt>
                <c:pt idx="41">
                  <c:v>0.19402939692343676</c:v>
                </c:pt>
                <c:pt idx="42">
                  <c:v>0.17890165902257257</c:v>
                </c:pt>
                <c:pt idx="43">
                  <c:v>0.19049598938948561</c:v>
                </c:pt>
                <c:pt idx="44">
                  <c:v>0.20720145355823286</c:v>
                </c:pt>
                <c:pt idx="45">
                  <c:v>0.2158300319866484</c:v>
                </c:pt>
                <c:pt idx="46">
                  <c:v>0.21996121650196682</c:v>
                </c:pt>
                <c:pt idx="47">
                  <c:v>0.1921959681074697</c:v>
                </c:pt>
                <c:pt idx="48">
                  <c:v>0.2435661931938346</c:v>
                </c:pt>
                <c:pt idx="49">
                  <c:v>0.24558921830566605</c:v>
                </c:pt>
                <c:pt idx="50">
                  <c:v>0.19996828140586195</c:v>
                </c:pt>
                <c:pt idx="51">
                  <c:v>0.18529086682848456</c:v>
                </c:pt>
                <c:pt idx="52">
                  <c:v>0.20874531955344694</c:v>
                </c:pt>
                <c:pt idx="53">
                  <c:v>0.21489735285100894</c:v>
                </c:pt>
                <c:pt idx="54">
                  <c:v>0.21070142712659085</c:v>
                </c:pt>
                <c:pt idx="55">
                  <c:v>0.18796527006997665</c:v>
                </c:pt>
                <c:pt idx="56">
                  <c:v>0.19608945799079258</c:v>
                </c:pt>
                <c:pt idx="57">
                  <c:v>0.19366813067260927</c:v>
                </c:pt>
                <c:pt idx="58">
                  <c:v>0.20238193851078698</c:v>
                </c:pt>
                <c:pt idx="59">
                  <c:v>0.22786250835296026</c:v>
                </c:pt>
                <c:pt idx="60">
                  <c:v>0.21788267143679138</c:v>
                </c:pt>
                <c:pt idx="61">
                  <c:v>0.21385849768328255</c:v>
                </c:pt>
                <c:pt idx="62">
                  <c:v>0.23903033672491386</c:v>
                </c:pt>
                <c:pt idx="63">
                  <c:v>0.2336246991992187</c:v>
                </c:pt>
                <c:pt idx="64">
                  <c:v>0.23642598814176766</c:v>
                </c:pt>
                <c:pt idx="65">
                  <c:v>0.20550803446000035</c:v>
                </c:pt>
                <c:pt idx="66">
                  <c:v>0.20511778412069664</c:v>
                </c:pt>
                <c:pt idx="67">
                  <c:v>0.23568725003353255</c:v>
                </c:pt>
                <c:pt idx="68">
                  <c:v>0.20797115396176238</c:v>
                </c:pt>
                <c:pt idx="69">
                  <c:v>0.18203128890182713</c:v>
                </c:pt>
                <c:pt idx="70">
                  <c:v>0.16988107900749386</c:v>
                </c:pt>
                <c:pt idx="71">
                  <c:v>0.18997522490616245</c:v>
                </c:pt>
                <c:pt idx="72">
                  <c:v>0.21847996552199836</c:v>
                </c:pt>
                <c:pt idx="73">
                  <c:v>0.20089471622360497</c:v>
                </c:pt>
                <c:pt idx="74">
                  <c:v>0.20606576261547419</c:v>
                </c:pt>
                <c:pt idx="75">
                  <c:v>0.19228897497465533</c:v>
                </c:pt>
                <c:pt idx="76">
                  <c:v>0.16940742459714467</c:v>
                </c:pt>
                <c:pt idx="77">
                  <c:v>0.1820518745811009</c:v>
                </c:pt>
                <c:pt idx="78">
                  <c:v>0.18143783589095697</c:v>
                </c:pt>
                <c:pt idx="79">
                  <c:v>0.17388660457555813</c:v>
                </c:pt>
                <c:pt idx="80">
                  <c:v>0.16889723066374351</c:v>
                </c:pt>
                <c:pt idx="81">
                  <c:v>0.19278518748640597</c:v>
                </c:pt>
                <c:pt idx="82">
                  <c:v>0.19381414164597383</c:v>
                </c:pt>
                <c:pt idx="83">
                  <c:v>0.16978115988027176</c:v>
                </c:pt>
                <c:pt idx="84">
                  <c:v>0.1595134022582278</c:v>
                </c:pt>
                <c:pt idx="85">
                  <c:v>0.1727503783083637</c:v>
                </c:pt>
                <c:pt idx="86">
                  <c:v>0.18383230220432173</c:v>
                </c:pt>
                <c:pt idx="87">
                  <c:v>0.19139092480498576</c:v>
                </c:pt>
                <c:pt idx="88">
                  <c:v>0.1604316802464369</c:v>
                </c:pt>
                <c:pt idx="89">
                  <c:v>0.15427688266975545</c:v>
                </c:pt>
                <c:pt idx="90">
                  <c:v>0.170823997628897</c:v>
                </c:pt>
                <c:pt idx="91">
                  <c:v>0.18274382349553098</c:v>
                </c:pt>
                <c:pt idx="92">
                  <c:v>0.18641871645144376</c:v>
                </c:pt>
                <c:pt idx="93">
                  <c:v>0.172541120460081</c:v>
                </c:pt>
                <c:pt idx="94">
                  <c:v>0.17338134262115232</c:v>
                </c:pt>
                <c:pt idx="95">
                  <c:v>0.16355454105376865</c:v>
                </c:pt>
                <c:pt idx="96">
                  <c:v>0.17946381969456243</c:v>
                </c:pt>
                <c:pt idx="97">
                  <c:v>0.1873547551878572</c:v>
                </c:pt>
                <c:pt idx="98">
                  <c:v>0.19200371179570883</c:v>
                </c:pt>
                <c:pt idx="99">
                  <c:v>0.20613888543884293</c:v>
                </c:pt>
                <c:pt idx="100">
                  <c:v>0.21621706293315338</c:v>
                </c:pt>
                <c:pt idx="101">
                  <c:v>0.2060289906797247</c:v>
                </c:pt>
                <c:pt idx="102">
                  <c:v>0.19304077882751852</c:v>
                </c:pt>
                <c:pt idx="103">
                  <c:v>0.18808069377398196</c:v>
                </c:pt>
                <c:pt idx="104">
                  <c:v>0.19601034098564468</c:v>
                </c:pt>
              </c:numCache>
            </c:numRef>
          </c:xVal>
          <c:yVal>
            <c:numRef>
              <c:f>Sheet1!$B$2:$B$106</c:f>
              <c:numCache>
                <c:formatCode>General</c:formatCode>
                <c:ptCount val="105"/>
                <c:pt idx="0">
                  <c:v>0.2517147485609899</c:v>
                </c:pt>
                <c:pt idx="1">
                  <c:v>0.24949245136761286</c:v>
                </c:pt>
                <c:pt idx="2">
                  <c:v>0.251412919108214</c:v>
                </c:pt>
                <c:pt idx="3">
                  <c:v>0.25002788829807016</c:v>
                </c:pt>
                <c:pt idx="4">
                  <c:v>0.254451136413593</c:v>
                </c:pt>
                <c:pt idx="5">
                  <c:v>0.26059188630026087</c:v>
                </c:pt>
                <c:pt idx="6">
                  <c:v>0.2871214728148658</c:v>
                </c:pt>
                <c:pt idx="7">
                  <c:v>0.29233259154359703</c:v>
                </c:pt>
                <c:pt idx="8">
                  <c:v>0.28802501752304954</c:v>
                </c:pt>
                <c:pt idx="9">
                  <c:v>0.27122449769656615</c:v>
                </c:pt>
                <c:pt idx="10">
                  <c:v>0.268189541249764</c:v>
                </c:pt>
                <c:pt idx="11">
                  <c:v>0.24338437377306635</c:v>
                </c:pt>
                <c:pt idx="12">
                  <c:v>0.23163717624647398</c:v>
                </c:pt>
                <c:pt idx="13">
                  <c:v>0.21940724804332504</c:v>
                </c:pt>
                <c:pt idx="14">
                  <c:v>0.2081917497899083</c:v>
                </c:pt>
                <c:pt idx="15">
                  <c:v>0.20032310177705978</c:v>
                </c:pt>
                <c:pt idx="16">
                  <c:v>0.19135243841126193</c:v>
                </c:pt>
                <c:pt idx="17">
                  <c:v>0.1893611187277214</c:v>
                </c:pt>
                <c:pt idx="18">
                  <c:v>0.17375971309025703</c:v>
                </c:pt>
                <c:pt idx="19">
                  <c:v>0.17545871559633028</c:v>
                </c:pt>
                <c:pt idx="20">
                  <c:v>0.17418820606849234</c:v>
                </c:pt>
                <c:pt idx="21">
                  <c:v>0.18668695321414985</c:v>
                </c:pt>
                <c:pt idx="22">
                  <c:v>0.20883505005077616</c:v>
                </c:pt>
                <c:pt idx="23">
                  <c:v>0.21617312072892939</c:v>
                </c:pt>
                <c:pt idx="24">
                  <c:v>0.21955173385959967</c:v>
                </c:pt>
                <c:pt idx="25">
                  <c:v>0.22786553260429324</c:v>
                </c:pt>
                <c:pt idx="26">
                  <c:v>0.248124210682713</c:v>
                </c:pt>
                <c:pt idx="27">
                  <c:v>0.2370037132247929</c:v>
                </c:pt>
                <c:pt idx="28">
                  <c:v>0.24446064139941692</c:v>
                </c:pt>
                <c:pt idx="29">
                  <c:v>0.23986167871738448</c:v>
                </c:pt>
                <c:pt idx="30">
                  <c:v>0.24341403364792777</c:v>
                </c:pt>
                <c:pt idx="31">
                  <c:v>0.25345477386934673</c:v>
                </c:pt>
                <c:pt idx="32">
                  <c:v>0.25874818937256994</c:v>
                </c:pt>
                <c:pt idx="33">
                  <c:v>0.25585032437442073</c:v>
                </c:pt>
                <c:pt idx="34">
                  <c:v>0.250102396067991</c:v>
                </c:pt>
                <c:pt idx="35">
                  <c:v>0.2557345971563981</c:v>
                </c:pt>
                <c:pt idx="36">
                  <c:v>0.23196812562254643</c:v>
                </c:pt>
                <c:pt idx="37">
                  <c:v>0.22798857066914746</c:v>
                </c:pt>
                <c:pt idx="38">
                  <c:v>0.21615913890592003</c:v>
                </c:pt>
                <c:pt idx="39">
                  <c:v>0.2071938378913151</c:v>
                </c:pt>
                <c:pt idx="40">
                  <c:v>0.21045714285714287</c:v>
                </c:pt>
                <c:pt idx="41">
                  <c:v>0.2072407910532634</c:v>
                </c:pt>
                <c:pt idx="42">
                  <c:v>0.20224290924927868</c:v>
                </c:pt>
                <c:pt idx="43">
                  <c:v>0.1946233411397346</c:v>
                </c:pt>
                <c:pt idx="44">
                  <c:v>0.19609193962547755</c:v>
                </c:pt>
                <c:pt idx="45">
                  <c:v>0.21453432886094426</c:v>
                </c:pt>
                <c:pt idx="46">
                  <c:v>0.21987389386518008</c:v>
                </c:pt>
                <c:pt idx="47">
                  <c:v>0.21423830069697974</c:v>
                </c:pt>
                <c:pt idx="48">
                  <c:v>0.21207664255636371</c:v>
                </c:pt>
                <c:pt idx="49">
                  <c:v>0.2241240064043527</c:v>
                </c:pt>
                <c:pt idx="50">
                  <c:v>0.21729131175468483</c:v>
                </c:pt>
                <c:pt idx="51">
                  <c:v>0.2069052783803326</c:v>
                </c:pt>
                <c:pt idx="52">
                  <c:v>0.20980577491843766</c:v>
                </c:pt>
                <c:pt idx="53">
                  <c:v>0.20395344540920007</c:v>
                </c:pt>
                <c:pt idx="54">
                  <c:v>0.20795081967213114</c:v>
                </c:pt>
                <c:pt idx="55">
                  <c:v>0.2052563079894202</c:v>
                </c:pt>
                <c:pt idx="56">
                  <c:v>0.20678541875353862</c:v>
                </c:pt>
                <c:pt idx="57">
                  <c:v>0.20438625444676717</c:v>
                </c:pt>
                <c:pt idx="58">
                  <c:v>0.21921198969211989</c:v>
                </c:pt>
                <c:pt idx="59">
                  <c:v>0.21826577276561737</c:v>
                </c:pt>
                <c:pt idx="60">
                  <c:v>0.22469086656880552</c:v>
                </c:pt>
                <c:pt idx="61">
                  <c:v>0.2215318067904837</c:v>
                </c:pt>
                <c:pt idx="62">
                  <c:v>0.23122205423488917</c:v>
                </c:pt>
                <c:pt idx="63">
                  <c:v>0.23903751307726798</c:v>
                </c:pt>
                <c:pt idx="64">
                  <c:v>0.22433045579093133</c:v>
                </c:pt>
                <c:pt idx="65">
                  <c:v>0.2142171910974674</c:v>
                </c:pt>
                <c:pt idx="66">
                  <c:v>0.21597421203438397</c:v>
                </c:pt>
                <c:pt idx="67">
                  <c:v>0.20335110434120335</c:v>
                </c:pt>
                <c:pt idx="68">
                  <c:v>0.19194123819517314</c:v>
                </c:pt>
                <c:pt idx="69">
                  <c:v>0.186231725943705</c:v>
                </c:pt>
                <c:pt idx="70">
                  <c:v>0.18707821082919174</c:v>
                </c:pt>
                <c:pt idx="71">
                  <c:v>0.18971229293809938</c:v>
                </c:pt>
                <c:pt idx="72">
                  <c:v>0.1793250095414645</c:v>
                </c:pt>
                <c:pt idx="73">
                  <c:v>0.18501574475669894</c:v>
                </c:pt>
                <c:pt idx="74">
                  <c:v>0.18769759831382773</c:v>
                </c:pt>
                <c:pt idx="75">
                  <c:v>0.19967866323907454</c:v>
                </c:pt>
                <c:pt idx="76">
                  <c:v>0.20348151744226367</c:v>
                </c:pt>
                <c:pt idx="77">
                  <c:v>0.19437803376077664</c:v>
                </c:pt>
                <c:pt idx="78">
                  <c:v>0.19729144963538744</c:v>
                </c:pt>
                <c:pt idx="79">
                  <c:v>0.17318884206301424</c:v>
                </c:pt>
                <c:pt idx="80">
                  <c:v>0.16710411198600175</c:v>
                </c:pt>
                <c:pt idx="81">
                  <c:v>0.1803864168618267</c:v>
                </c:pt>
                <c:pt idx="82">
                  <c:v>0.17975474141214107</c:v>
                </c:pt>
                <c:pt idx="83">
                  <c:v>0.18402356610639403</c:v>
                </c:pt>
                <c:pt idx="84">
                  <c:v>0.18698972873321043</c:v>
                </c:pt>
                <c:pt idx="85">
                  <c:v>0.19571842145360355</c:v>
                </c:pt>
                <c:pt idx="86">
                  <c:v>0.207593915648767</c:v>
                </c:pt>
                <c:pt idx="87">
                  <c:v>0.2173268956435861</c:v>
                </c:pt>
                <c:pt idx="88">
                  <c:v>0.20523153057617533</c:v>
                </c:pt>
                <c:pt idx="89">
                  <c:v>0.20932949147262675</c:v>
                </c:pt>
                <c:pt idx="90">
                  <c:v>0.19498162058494486</c:v>
                </c:pt>
                <c:pt idx="91">
                  <c:v>0.1831610044313146</c:v>
                </c:pt>
                <c:pt idx="92">
                  <c:v>0.19462962962962962</c:v>
                </c:pt>
                <c:pt idx="93">
                  <c:v>0.18998903909389842</c:v>
                </c:pt>
                <c:pt idx="94">
                  <c:v>0.19740048740861088</c:v>
                </c:pt>
                <c:pt idx="95">
                  <c:v>0.19975149105367793</c:v>
                </c:pt>
                <c:pt idx="96">
                  <c:v>0.19698046782437967</c:v>
                </c:pt>
                <c:pt idx="97">
                  <c:v>0.202424676759533</c:v>
                </c:pt>
                <c:pt idx="98">
                  <c:v>0.2040774352777849</c:v>
                </c:pt>
                <c:pt idx="99">
                  <c:v>0.20725569996936677</c:v>
                </c:pt>
                <c:pt idx="100">
                  <c:v>0.208160385871081</c:v>
                </c:pt>
                <c:pt idx="101">
                  <c:v>0.21458165496604903</c:v>
                </c:pt>
                <c:pt idx="102">
                  <c:v>0.20686988726547556</c:v>
                </c:pt>
                <c:pt idx="103">
                  <c:v>0.201168762174606</c:v>
                </c:pt>
                <c:pt idx="104">
                  <c:v>0.198169181217155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80318870434491</c:v>
                </c:pt>
                <c:pt idx="1">
                  <c:v>0.2276793446873175</c:v>
                </c:pt>
                <c:pt idx="2">
                  <c:v>0.2227376820589105</c:v>
                </c:pt>
                <c:pt idx="3">
                  <c:v>0.21546370163547604</c:v>
                </c:pt>
                <c:pt idx="4">
                  <c:v>0.20141626264924317</c:v>
                </c:pt>
                <c:pt idx="5">
                  <c:v>0.21900176358463813</c:v>
                </c:pt>
                <c:pt idx="6">
                  <c:v>0.20580871080936172</c:v>
                </c:pt>
                <c:pt idx="7">
                  <c:v>0.18799462027411773</c:v>
                </c:pt>
                <c:pt idx="8">
                  <c:v>0.2278211552129</c:v>
                </c:pt>
                <c:pt idx="9">
                  <c:v>0.21366029896240313</c:v>
                </c:pt>
                <c:pt idx="10">
                  <c:v>0.20823413424951734</c:v>
                </c:pt>
                <c:pt idx="11">
                  <c:v>0.1909343325067824</c:v>
                </c:pt>
                <c:pt idx="12">
                  <c:v>0.19175172870539267</c:v>
                </c:pt>
                <c:pt idx="13">
                  <c:v>0.20004786469303948</c:v>
                </c:pt>
                <c:pt idx="14">
                  <c:v>0.1956539271231369</c:v>
                </c:pt>
                <c:pt idx="15">
                  <c:v>0.19177418776303004</c:v>
                </c:pt>
                <c:pt idx="16">
                  <c:v>0.18053159859086618</c:v>
                </c:pt>
                <c:pt idx="17">
                  <c:v>0.16767888896998812</c:v>
                </c:pt>
                <c:pt idx="18">
                  <c:v>0.1568079063190146</c:v>
                </c:pt>
                <c:pt idx="19">
                  <c:v>0.1805104802051803</c:v>
                </c:pt>
                <c:pt idx="20">
                  <c:v>0.1655350315819085</c:v>
                </c:pt>
                <c:pt idx="21">
                  <c:v>0.15128629160197746</c:v>
                </c:pt>
                <c:pt idx="22">
                  <c:v>0.15359535436730704</c:v>
                </c:pt>
                <c:pt idx="23">
                  <c:v>0.17492547140321726</c:v>
                </c:pt>
                <c:pt idx="24">
                  <c:v>0.16383004067972734</c:v>
                </c:pt>
                <c:pt idx="25">
                  <c:v>0.15783794080817437</c:v>
                </c:pt>
                <c:pt idx="26">
                  <c:v>0.16008000643693243</c:v>
                </c:pt>
                <c:pt idx="27">
                  <c:v>0.16147351556434292</c:v>
                </c:pt>
                <c:pt idx="28">
                  <c:v>0.17928456223757844</c:v>
                </c:pt>
                <c:pt idx="29">
                  <c:v>0.16238154571280855</c:v>
                </c:pt>
                <c:pt idx="30">
                  <c:v>0.16005145478219424</c:v>
                </c:pt>
                <c:pt idx="31">
                  <c:v>0.15605006293626197</c:v>
                </c:pt>
                <c:pt idx="32">
                  <c:v>0.17014820306022702</c:v>
                </c:pt>
                <c:pt idx="33">
                  <c:v>0.17797194915629364</c:v>
                </c:pt>
                <c:pt idx="34">
                  <c:v>0.19701281193174383</c:v>
                </c:pt>
                <c:pt idx="35">
                  <c:v>0.16102091835406548</c:v>
                </c:pt>
                <c:pt idx="36">
                  <c:v>0.1398651100129142</c:v>
                </c:pt>
                <c:pt idx="37">
                  <c:v>0.14122673741572583</c:v>
                </c:pt>
                <c:pt idx="38">
                  <c:v>0.1464449695423816</c:v>
                </c:pt>
                <c:pt idx="39">
                  <c:v>0.15346359092811768</c:v>
                </c:pt>
                <c:pt idx="40">
                  <c:v>0.1675024342213517</c:v>
                </c:pt>
                <c:pt idx="41">
                  <c:v>0.17108600756474554</c:v>
                </c:pt>
                <c:pt idx="42">
                  <c:v>0.16738264140020692</c:v>
                </c:pt>
                <c:pt idx="43">
                  <c:v>0.1871008888735369</c:v>
                </c:pt>
                <c:pt idx="44">
                  <c:v>0.18264827572893833</c:v>
                </c:pt>
                <c:pt idx="45">
                  <c:v>0.18376828702740958</c:v>
                </c:pt>
                <c:pt idx="46">
                  <c:v>0.17336610478118267</c:v>
                </c:pt>
                <c:pt idx="47">
                  <c:v>0.16215640827909183</c:v>
                </c:pt>
                <c:pt idx="48">
                  <c:v>0.1674273743428199</c:v>
                </c:pt>
                <c:pt idx="49">
                  <c:v>0.20058619272461886</c:v>
                </c:pt>
                <c:pt idx="50">
                  <c:v>0.21392210156254052</c:v>
                </c:pt>
                <c:pt idx="51">
                  <c:v>0.17704736211232627</c:v>
                </c:pt>
              </c:numCache>
            </c:numRef>
          </c:xVal>
          <c:yVal>
            <c:numRef>
              <c:f>Sheet1!$B$109:$B$160</c:f>
              <c:numCache>
                <c:formatCode>General</c:formatCode>
                <c:ptCount val="52"/>
                <c:pt idx="0">
                  <c:v>0.19739264379907578</c:v>
                </c:pt>
                <c:pt idx="1">
                  <c:v>0.19980959181244792</c:v>
                </c:pt>
                <c:pt idx="2">
                  <c:v>0.21487342880151256</c:v>
                </c:pt>
                <c:pt idx="3">
                  <c:v>0.23045725360706337</c:v>
                </c:pt>
                <c:pt idx="4">
                  <c:v>0.21304999817124465</c:v>
                </c:pt>
                <c:pt idx="5">
                  <c:v>0.21920487456275622</c:v>
                </c:pt>
                <c:pt idx="6">
                  <c:v>0.23144147682639435</c:v>
                </c:pt>
                <c:pt idx="7">
                  <c:v>0.22823171821920257</c:v>
                </c:pt>
                <c:pt idx="8">
                  <c:v>0.21415770609318996</c:v>
                </c:pt>
                <c:pt idx="9">
                  <c:v>0.22384160593977726</c:v>
                </c:pt>
                <c:pt idx="10">
                  <c:v>0.22556691863050243</c:v>
                </c:pt>
                <c:pt idx="11">
                  <c:v>0.22960187948441171</c:v>
                </c:pt>
                <c:pt idx="12">
                  <c:v>0.2293176892608923</c:v>
                </c:pt>
                <c:pt idx="13">
                  <c:v>0.22594646732577767</c:v>
                </c:pt>
                <c:pt idx="14">
                  <c:v>0.22981667548034548</c:v>
                </c:pt>
                <c:pt idx="15">
                  <c:v>0.22243418542541016</c:v>
                </c:pt>
                <c:pt idx="16">
                  <c:v>0.2185996490632252</c:v>
                </c:pt>
                <c:pt idx="17">
                  <c:v>0.2288303426753886</c:v>
                </c:pt>
                <c:pt idx="18">
                  <c:v>0.22622338954935028</c:v>
                </c:pt>
                <c:pt idx="19">
                  <c:v>0.21929706436843524</c:v>
                </c:pt>
                <c:pt idx="20">
                  <c:v>0.2079446283478784</c:v>
                </c:pt>
                <c:pt idx="21">
                  <c:v>0.22280071813285457</c:v>
                </c:pt>
                <c:pt idx="22">
                  <c:v>0.21522564691336218</c:v>
                </c:pt>
                <c:pt idx="23">
                  <c:v>0.21599630143319465</c:v>
                </c:pt>
                <c:pt idx="24">
                  <c:v>0.21436473491617736</c:v>
                </c:pt>
                <c:pt idx="25">
                  <c:v>0.21877236936292055</c:v>
                </c:pt>
                <c:pt idx="26">
                  <c:v>0.2126831691365179</c:v>
                </c:pt>
                <c:pt idx="27">
                  <c:v>0.2159379197134756</c:v>
                </c:pt>
                <c:pt idx="28">
                  <c:v>0.20558855291576675</c:v>
                </c:pt>
                <c:pt idx="29">
                  <c:v>0.20860040567951318</c:v>
                </c:pt>
                <c:pt idx="30">
                  <c:v>0.2126890756302521</c:v>
                </c:pt>
                <c:pt idx="31">
                  <c:v>0.2061624146604384</c:v>
                </c:pt>
                <c:pt idx="32">
                  <c:v>0.20111818605373505</c:v>
                </c:pt>
                <c:pt idx="33">
                  <c:v>0.21381936887921654</c:v>
                </c:pt>
                <c:pt idx="34">
                  <c:v>0.23197430195206326</c:v>
                </c:pt>
                <c:pt idx="35">
                  <c:v>0.22070675759454433</c:v>
                </c:pt>
                <c:pt idx="36">
                  <c:v>0.21464275213172596</c:v>
                </c:pt>
                <c:pt idx="37">
                  <c:v>0.21891248788225962</c:v>
                </c:pt>
                <c:pt idx="38">
                  <c:v>0.21987066431510877</c:v>
                </c:pt>
                <c:pt idx="39">
                  <c:v>0.21826647564469914</c:v>
                </c:pt>
                <c:pt idx="40">
                  <c:v>0.20420127015144113</c:v>
                </c:pt>
                <c:pt idx="41">
                  <c:v>0.2056031641397495</c:v>
                </c:pt>
                <c:pt idx="42">
                  <c:v>0.20923467104281665</c:v>
                </c:pt>
                <c:pt idx="43">
                  <c:v>0.19402412280701756</c:v>
                </c:pt>
                <c:pt idx="44">
                  <c:v>0.19468152007905848</c:v>
                </c:pt>
                <c:pt idx="45">
                  <c:v>0.21423893109772071</c:v>
                </c:pt>
                <c:pt idx="46">
                  <c:v>0.23001549186676995</c:v>
                </c:pt>
                <c:pt idx="47">
                  <c:v>0.23053892215568864</c:v>
                </c:pt>
                <c:pt idx="48">
                  <c:v>0.21907957813998083</c:v>
                </c:pt>
                <c:pt idx="49">
                  <c:v>0.22517641829193755</c:v>
                </c:pt>
                <c:pt idx="50">
                  <c:v>0.22192789644742528</c:v>
                </c:pt>
                <c:pt idx="51">
                  <c:v>0.221749839727367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6128189749619477</c:v>
                </c:pt>
              </c:numCache>
            </c:numRef>
          </c:xVal>
          <c:yVal>
            <c:numRef>
              <c:f>Sheet1!$B$163:$B$164</c:f>
              <c:numCache>
                <c:formatCode>General</c:formatCode>
                <c:ptCount val="2"/>
                <c:pt idx="0">
                  <c:v>0.2650189013255837</c:v>
                </c:pt>
                <c:pt idx="1">
                  <c:v>0.265018901325583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6128189749619477</c:v>
                </c:pt>
                <c:pt idx="1">
                  <c:v>1.6128189749619477</c:v>
                </c:pt>
              </c:numCache>
            </c:numRef>
          </c:xVal>
          <c:yVal>
            <c:numRef>
              <c:f>Sheet1!$B$167:$B$168</c:f>
              <c:numCache>
                <c:formatCode>General</c:formatCode>
                <c:ptCount val="2"/>
                <c:pt idx="0">
                  <c:v>0.265018901325583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800443187514431</c:v>
                </c:pt>
              </c:numCache>
            </c:numRef>
          </c:xVal>
          <c:yVal>
            <c:numRef>
              <c:f>Sheet1!$B$171:$B$172</c:f>
              <c:numCache>
                <c:formatCode>General</c:formatCode>
                <c:ptCount val="2"/>
                <c:pt idx="0">
                  <c:v>0.2238631702834038</c:v>
                </c:pt>
                <c:pt idx="1">
                  <c:v>0.223863170283403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800443187514431</c:v>
                </c:pt>
                <c:pt idx="1">
                  <c:v>0.3800443187514431</c:v>
                </c:pt>
              </c:numCache>
            </c:numRef>
          </c:xVal>
          <c:yVal>
            <c:numRef>
              <c:f>Sheet1!$B$175:$B$176</c:f>
              <c:numCache>
                <c:formatCode>General</c:formatCode>
                <c:ptCount val="2"/>
                <c:pt idx="0">
                  <c:v>0.223863170283403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0012993315387501</c:v>
                </c:pt>
              </c:numCache>
            </c:numRef>
          </c:xVal>
          <c:yVal>
            <c:numRef>
              <c:f>Sheet1!$B$179:$B$180</c:f>
              <c:numCache>
                <c:formatCode>General</c:formatCode>
                <c:ptCount val="2"/>
                <c:pt idx="0">
                  <c:v>0.21451833089166714</c:v>
                </c:pt>
                <c:pt idx="1">
                  <c:v>0.2145183308916671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0012993315387501</c:v>
                </c:pt>
                <c:pt idx="1">
                  <c:v>0.10012993315387501</c:v>
                </c:pt>
              </c:numCache>
            </c:numRef>
          </c:xVal>
          <c:yVal>
            <c:numRef>
              <c:f>Sheet1!$B$183:$B$184</c:f>
              <c:numCache>
                <c:formatCode>General</c:formatCode>
                <c:ptCount val="2"/>
                <c:pt idx="0">
                  <c:v>0.2145183308916671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80318870434491</c:v>
                </c:pt>
                <c:pt idx="1">
                  <c:v>0.2276793446873175</c:v>
                </c:pt>
                <c:pt idx="2">
                  <c:v>0.2227376820589105</c:v>
                </c:pt>
                <c:pt idx="3">
                  <c:v>0.21546370163547604</c:v>
                </c:pt>
                <c:pt idx="4">
                  <c:v>0.20141626264924317</c:v>
                </c:pt>
                <c:pt idx="5">
                  <c:v>0.21900176358463813</c:v>
                </c:pt>
                <c:pt idx="6">
                  <c:v>0.20580871080936172</c:v>
                </c:pt>
                <c:pt idx="7">
                  <c:v>0.18799462027411773</c:v>
                </c:pt>
                <c:pt idx="8">
                  <c:v>0.2278211552129</c:v>
                </c:pt>
                <c:pt idx="9">
                  <c:v>0.21366029896240313</c:v>
                </c:pt>
                <c:pt idx="10">
                  <c:v>0.20823413424951734</c:v>
                </c:pt>
                <c:pt idx="11">
                  <c:v>0.1909343325067824</c:v>
                </c:pt>
                <c:pt idx="12">
                  <c:v>0.19175172870539267</c:v>
                </c:pt>
                <c:pt idx="13">
                  <c:v>0.20004786469303948</c:v>
                </c:pt>
                <c:pt idx="14">
                  <c:v>0.1956539271231369</c:v>
                </c:pt>
                <c:pt idx="15">
                  <c:v>0.19177418776303004</c:v>
                </c:pt>
                <c:pt idx="16">
                  <c:v>0.18053159859086618</c:v>
                </c:pt>
                <c:pt idx="17">
                  <c:v>0.16767888896998812</c:v>
                </c:pt>
                <c:pt idx="18">
                  <c:v>0.1568079063190146</c:v>
                </c:pt>
                <c:pt idx="19">
                  <c:v>0.1805104802051803</c:v>
                </c:pt>
                <c:pt idx="20">
                  <c:v>0.1655350315819085</c:v>
                </c:pt>
                <c:pt idx="21">
                  <c:v>0.15128629160197746</c:v>
                </c:pt>
                <c:pt idx="22">
                  <c:v>0.15359535436730704</c:v>
                </c:pt>
                <c:pt idx="23">
                  <c:v>0.17492547140321726</c:v>
                </c:pt>
                <c:pt idx="24">
                  <c:v>0.16383004067972734</c:v>
                </c:pt>
                <c:pt idx="25">
                  <c:v>0.15783794080817437</c:v>
                </c:pt>
                <c:pt idx="26">
                  <c:v>0.16008000643693243</c:v>
                </c:pt>
                <c:pt idx="27">
                  <c:v>0.16147351556434292</c:v>
                </c:pt>
                <c:pt idx="28">
                  <c:v>0.17928456223757844</c:v>
                </c:pt>
                <c:pt idx="29">
                  <c:v>0.16238154571280855</c:v>
                </c:pt>
                <c:pt idx="30">
                  <c:v>0.16005145478219424</c:v>
                </c:pt>
                <c:pt idx="31">
                  <c:v>0.15605006293626197</c:v>
                </c:pt>
                <c:pt idx="32">
                  <c:v>0.17014820306022702</c:v>
                </c:pt>
                <c:pt idx="33">
                  <c:v>0.17797194915629364</c:v>
                </c:pt>
                <c:pt idx="34">
                  <c:v>0.19701281193174383</c:v>
                </c:pt>
                <c:pt idx="35">
                  <c:v>0.16102091835406548</c:v>
                </c:pt>
                <c:pt idx="36">
                  <c:v>0.1398651100129142</c:v>
                </c:pt>
                <c:pt idx="37">
                  <c:v>0.14122673741572583</c:v>
                </c:pt>
                <c:pt idx="38">
                  <c:v>0.1464449695423816</c:v>
                </c:pt>
                <c:pt idx="39">
                  <c:v>0.15346359092811768</c:v>
                </c:pt>
                <c:pt idx="40">
                  <c:v>0.1675024342213517</c:v>
                </c:pt>
                <c:pt idx="41">
                  <c:v>0.17108600756474554</c:v>
                </c:pt>
                <c:pt idx="42">
                  <c:v>0.16738264140020692</c:v>
                </c:pt>
                <c:pt idx="43">
                  <c:v>0.1871008888735369</c:v>
                </c:pt>
                <c:pt idx="44">
                  <c:v>0.18264827572893833</c:v>
                </c:pt>
                <c:pt idx="45">
                  <c:v>0.18376828702740958</c:v>
                </c:pt>
                <c:pt idx="46">
                  <c:v>0.17336610478118267</c:v>
                </c:pt>
                <c:pt idx="47">
                  <c:v>0.16215640827909183</c:v>
                </c:pt>
                <c:pt idx="48">
                  <c:v>0.1674273743428199</c:v>
                </c:pt>
                <c:pt idx="49">
                  <c:v>0.20058619272461886</c:v>
                </c:pt>
                <c:pt idx="50">
                  <c:v>0.21392210156254052</c:v>
                </c:pt>
                <c:pt idx="51">
                  <c:v>0.17704736211232627</c:v>
                </c:pt>
                <c:pt idx="52">
                  <c:v>0.3800443187514431</c:v>
                </c:pt>
                <c:pt idx="53">
                  <c:v>1.6128189749619477</c:v>
                </c:pt>
                <c:pt idx="54">
                  <c:v>0.10012993315387501</c:v>
                </c:pt>
              </c:numCache>
            </c:numRef>
          </c:xVal>
          <c:yVal>
            <c:numRef>
              <c:f>Sheet1!$B$187:$B$241</c:f>
              <c:numCache>
                <c:formatCode>General</c:formatCode>
                <c:ptCount val="55"/>
                <c:pt idx="0">
                  <c:v>0.218454444502684</c:v>
                </c:pt>
                <c:pt idx="1">
                  <c:v>0.21877652134781675</c:v>
                </c:pt>
                <c:pt idx="2">
                  <c:v>0.2186115457482525</c:v>
                </c:pt>
                <c:pt idx="3">
                  <c:v>0.21836870657208612</c:v>
                </c:pt>
                <c:pt idx="4">
                  <c:v>0.2178997379590178</c:v>
                </c:pt>
                <c:pt idx="5">
                  <c:v>0.21848682347630438</c:v>
                </c:pt>
                <c:pt idx="6">
                  <c:v>0.2180463782344192</c:v>
                </c:pt>
                <c:pt idx="7">
                  <c:v>0.21745166133694238</c:v>
                </c:pt>
                <c:pt idx="8">
                  <c:v>0.21878125564034978</c:v>
                </c:pt>
                <c:pt idx="9">
                  <c:v>0.2183085006333934</c:v>
                </c:pt>
                <c:pt idx="10">
                  <c:v>0.21812735010893297</c:v>
                </c:pt>
                <c:pt idx="11">
                  <c:v>0.21754980255470627</c:v>
                </c:pt>
                <c:pt idx="12">
                  <c:v>0.21757709102785538</c:v>
                </c:pt>
                <c:pt idx="13">
                  <c:v>0.21785405449370607</c:v>
                </c:pt>
                <c:pt idx="14">
                  <c:v>0.21770736449490374</c:v>
                </c:pt>
                <c:pt idx="15">
                  <c:v>0.21757784081528078</c:v>
                </c:pt>
                <c:pt idx="16">
                  <c:v>0.21720251108745395</c:v>
                </c:pt>
                <c:pt idx="17">
                  <c:v>0.21677342807730665</c:v>
                </c:pt>
                <c:pt idx="18">
                  <c:v>0.2164105042972843</c:v>
                </c:pt>
                <c:pt idx="19">
                  <c:v>0.21720180605787134</c:v>
                </c:pt>
                <c:pt idx="20">
                  <c:v>0.21670185618246596</c:v>
                </c:pt>
                <c:pt idx="21">
                  <c:v>0.21622616720934362</c:v>
                </c:pt>
                <c:pt idx="22">
                  <c:v>0.21630325442528425</c:v>
                </c:pt>
                <c:pt idx="23">
                  <c:v>0.21701535258159013</c:v>
                </c:pt>
                <c:pt idx="24">
                  <c:v>0.2166449356847529</c:v>
                </c:pt>
                <c:pt idx="25">
                  <c:v>0.21644489162199648</c:v>
                </c:pt>
                <c:pt idx="26">
                  <c:v>0.2165197421630351</c:v>
                </c:pt>
                <c:pt idx="27">
                  <c:v>0.21656626395561385</c:v>
                </c:pt>
                <c:pt idx="28">
                  <c:v>0.2171608792348707</c:v>
                </c:pt>
                <c:pt idx="29">
                  <c:v>0.21659657821003184</c:v>
                </c:pt>
                <c:pt idx="30">
                  <c:v>0.21651878897648372</c:v>
                </c:pt>
                <c:pt idx="31">
                  <c:v>0.2163852039731127</c:v>
                </c:pt>
                <c:pt idx="32">
                  <c:v>0.2168558652251216</c:v>
                </c:pt>
                <c:pt idx="33">
                  <c:v>0.21711705812720625</c:v>
                </c:pt>
                <c:pt idx="34">
                  <c:v>0.21775273036726217</c:v>
                </c:pt>
                <c:pt idx="35">
                  <c:v>0.21655115416327442</c:v>
                </c:pt>
                <c:pt idx="36">
                  <c:v>0.21584487523899418</c:v>
                </c:pt>
                <c:pt idx="37">
                  <c:v>0.21589033267185706</c:v>
                </c:pt>
                <c:pt idx="38">
                  <c:v>0.21606454144297219</c:v>
                </c:pt>
                <c:pt idx="39">
                  <c:v>0.21629885555105596</c:v>
                </c:pt>
                <c:pt idx="40">
                  <c:v>0.2167675372000572</c:v>
                </c:pt>
                <c:pt idx="41">
                  <c:v>0.21688717348552725</c:v>
                </c:pt>
                <c:pt idx="42">
                  <c:v>0.2167635379605344</c:v>
                </c:pt>
                <c:pt idx="43">
                  <c:v>0.21742182444099312</c:v>
                </c:pt>
                <c:pt idx="44">
                  <c:v>0.21727317557958864</c:v>
                </c:pt>
                <c:pt idx="45">
                  <c:v>0.21731056674717297</c:v>
                </c:pt>
                <c:pt idx="46">
                  <c:v>0.21696329369721148</c:v>
                </c:pt>
                <c:pt idx="47">
                  <c:v>0.2165890620791454</c:v>
                </c:pt>
                <c:pt idx="48">
                  <c:v>0.21676503135346362</c:v>
                </c:pt>
                <c:pt idx="49">
                  <c:v>0.2178720263781608</c:v>
                </c:pt>
                <c:pt idx="50">
                  <c:v>0.2183172408174515</c:v>
                </c:pt>
                <c:pt idx="51">
                  <c:v>0.21708619112688718</c:v>
                </c:pt>
                <c:pt idx="52">
                  <c:v>0.2238631702834038</c:v>
                </c:pt>
                <c:pt idx="53">
                  <c:v>0.2650189013255837</c:v>
                </c:pt>
                <c:pt idx="54">
                  <c:v>0.2145183308916671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079910985231644"/>
          <c:min val="0.133683289588801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9058</c:v>
                </c:pt>
                <c:pt idx="1">
                  <c:v>855.4048</c:v>
                </c:pt>
                <c:pt idx="2">
                  <c:v>886.2466</c:v>
                </c:pt>
                <c:pt idx="3">
                  <c:v>899.1541</c:v>
                </c:pt>
                <c:pt idx="4">
                  <c:v>900.0859</c:v>
                </c:pt>
                <c:pt idx="5">
                  <c:v>894.1163</c:v>
                </c:pt>
                <c:pt idx="6">
                  <c:v>846.9098</c:v>
                </c:pt>
                <c:pt idx="7">
                  <c:v>862.7659</c:v>
                </c:pt>
                <c:pt idx="8">
                  <c:v>861.1043</c:v>
                </c:pt>
                <c:pt idx="9">
                  <c:v>843.2709</c:v>
                </c:pt>
                <c:pt idx="10">
                  <c:v>833.2302</c:v>
                </c:pt>
                <c:pt idx="11">
                  <c:v>889.2521</c:v>
                </c:pt>
                <c:pt idx="12">
                  <c:v>890.9984</c:v>
                </c:pt>
                <c:pt idx="13">
                  <c:v>893.6811</c:v>
                </c:pt>
                <c:pt idx="14">
                  <c:v>884.5583</c:v>
                </c:pt>
                <c:pt idx="15">
                  <c:v>903.0039</c:v>
                </c:pt>
                <c:pt idx="16">
                  <c:v>925.6963</c:v>
                </c:pt>
                <c:pt idx="17">
                  <c:v>906.9178</c:v>
                </c:pt>
                <c:pt idx="18">
                  <c:v>966.8314</c:v>
                </c:pt>
                <c:pt idx="19">
                  <c:v>987.056</c:v>
                </c:pt>
                <c:pt idx="20">
                  <c:v>1019.7402</c:v>
                </c:pt>
                <c:pt idx="21">
                  <c:v>1035.4882</c:v>
                </c:pt>
                <c:pt idx="22">
                  <c:v>1008.834</c:v>
                </c:pt>
                <c:pt idx="23">
                  <c:v>1000.987</c:v>
                </c:pt>
                <c:pt idx="24">
                  <c:v>1007.2607</c:v>
                </c:pt>
                <c:pt idx="25">
                  <c:v>983.3374</c:v>
                </c:pt>
                <c:pt idx="26">
                  <c:v>966.4006</c:v>
                </c:pt>
                <c:pt idx="27">
                  <c:v>988.7948</c:v>
                </c:pt>
                <c:pt idx="28">
                  <c:v>987.2651</c:v>
                </c:pt>
                <c:pt idx="29">
                  <c:v>964.9211</c:v>
                </c:pt>
                <c:pt idx="30">
                  <c:v>966.6746</c:v>
                </c:pt>
                <c:pt idx="31">
                  <c:v>953.9414</c:v>
                </c:pt>
                <c:pt idx="32">
                  <c:v>943.1541</c:v>
                </c:pt>
                <c:pt idx="33">
                  <c:v>891.0869</c:v>
                </c:pt>
                <c:pt idx="34">
                  <c:v>912.5349</c:v>
                </c:pt>
                <c:pt idx="35">
                  <c:v>944.06</c:v>
                </c:pt>
                <c:pt idx="36">
                  <c:v>1018.6315</c:v>
                </c:pt>
                <c:pt idx="37">
                  <c:v>1034.4815</c:v>
                </c:pt>
                <c:pt idx="38">
                  <c:v>1086.5919</c:v>
                </c:pt>
                <c:pt idx="39">
                  <c:v>1102.9389</c:v>
                </c:pt>
                <c:pt idx="40">
                  <c:v>1093.293</c:v>
                </c:pt>
                <c:pt idx="41">
                  <c:v>1119.911</c:v>
                </c:pt>
                <c:pt idx="42">
                  <c:v>1143.8659</c:v>
                </c:pt>
                <c:pt idx="43">
                  <c:v>1150.461</c:v>
                </c:pt>
                <c:pt idx="44">
                  <c:v>1088.7683</c:v>
                </c:pt>
                <c:pt idx="45">
                  <c:v>1053.1369</c:v>
                </c:pt>
                <c:pt idx="46">
                  <c:v>1044.7499</c:v>
                </c:pt>
                <c:pt idx="47">
                  <c:v>1026.7838</c:v>
                </c:pt>
                <c:pt idx="48">
                  <c:v>1034.7776</c:v>
                </c:pt>
                <c:pt idx="49">
                  <c:v>1000.8771</c:v>
                </c:pt>
                <c:pt idx="50">
                  <c:v>999.0031</c:v>
                </c:pt>
                <c:pt idx="51">
                  <c:v>1016.9488</c:v>
                </c:pt>
                <c:pt idx="52">
                  <c:v>1024.951</c:v>
                </c:pt>
                <c:pt idx="53">
                  <c:v>1085.3183</c:v>
                </c:pt>
                <c:pt idx="54">
                  <c:v>1079.9166</c:v>
                </c:pt>
                <c:pt idx="55">
                  <c:v>1093.3052</c:v>
                </c:pt>
                <c:pt idx="56">
                  <c:v>1103.5398</c:v>
                </c:pt>
                <c:pt idx="57">
                  <c:v>1076.5338</c:v>
                </c:pt>
                <c:pt idx="58">
                  <c:v>1051.5517</c:v>
                </c:pt>
                <c:pt idx="59">
                  <c:v>1046.739</c:v>
                </c:pt>
                <c:pt idx="60">
                  <c:v>1061.4004</c:v>
                </c:pt>
                <c:pt idx="61">
                  <c:v>1083.228</c:v>
                </c:pt>
                <c:pt idx="62">
                  <c:v>1030.826</c:v>
                </c:pt>
                <c:pt idx="63">
                  <c:v>1057.0364</c:v>
                </c:pt>
                <c:pt idx="64">
                  <c:v>1063.8642</c:v>
                </c:pt>
                <c:pt idx="65">
                  <c:v>1053.6825</c:v>
                </c:pt>
                <c:pt idx="66">
                  <c:v>1056.3771</c:v>
                </c:pt>
                <c:pt idx="67">
                  <c:v>1076.0802</c:v>
                </c:pt>
                <c:pt idx="68">
                  <c:v>1098.3827</c:v>
                </c:pt>
                <c:pt idx="69">
                  <c:v>1127.0407</c:v>
                </c:pt>
                <c:pt idx="70">
                  <c:v>1109.7676</c:v>
                </c:pt>
                <c:pt idx="71">
                  <c:v>1175.1428</c:v>
                </c:pt>
                <c:pt idx="72">
                  <c:v>1271.2621</c:v>
                </c:pt>
                <c:pt idx="73">
                  <c:v>1248.5424</c:v>
                </c:pt>
                <c:pt idx="74">
                  <c:v>1233.5635</c:v>
                </c:pt>
                <c:pt idx="75">
                  <c:v>1189.7679</c:v>
                </c:pt>
                <c:pt idx="76">
                  <c:v>1162.9076</c:v>
                </c:pt>
                <c:pt idx="77">
                  <c:v>1167.2162</c:v>
                </c:pt>
                <c:pt idx="78">
                  <c:v>1218.3745</c:v>
                </c:pt>
                <c:pt idx="79">
                  <c:v>1196.5709</c:v>
                </c:pt>
                <c:pt idx="80">
                  <c:v>1209.5562</c:v>
                </c:pt>
                <c:pt idx="81">
                  <c:v>1194.4479</c:v>
                </c:pt>
                <c:pt idx="82">
                  <c:v>1197.436</c:v>
                </c:pt>
                <c:pt idx="83">
                  <c:v>1157.3818</c:v>
                </c:pt>
                <c:pt idx="84">
                  <c:v>1179.0934</c:v>
                </c:pt>
                <c:pt idx="85">
                  <c:v>1161.1989</c:v>
                </c:pt>
                <c:pt idx="86">
                  <c:v>1150.8049</c:v>
                </c:pt>
                <c:pt idx="87">
                  <c:v>1151.7458</c:v>
                </c:pt>
                <c:pt idx="88">
                  <c:v>1202.4743</c:v>
                </c:pt>
                <c:pt idx="89">
                  <c:v>1193.372</c:v>
                </c:pt>
                <c:pt idx="90">
                  <c:v>1263.7689</c:v>
                </c:pt>
                <c:pt idx="91">
                  <c:v>1261.18</c:v>
                </c:pt>
                <c:pt idx="92">
                  <c:v>1201.6016</c:v>
                </c:pt>
                <c:pt idx="93">
                  <c:v>1244.2375</c:v>
                </c:pt>
                <c:pt idx="94">
                  <c:v>1221.2497</c:v>
                </c:pt>
                <c:pt idx="95">
                  <c:v>1173.0264</c:v>
                </c:pt>
                <c:pt idx="96">
                  <c:v>1141.2002</c:v>
                </c:pt>
                <c:pt idx="97">
                  <c:v>1128.5383</c:v>
                </c:pt>
                <c:pt idx="98">
                  <c:v>1117.49</c:v>
                </c:pt>
                <c:pt idx="99">
                  <c:v>1084.1234</c:v>
                </c:pt>
                <c:pt idx="100">
                  <c:v>1089.073</c:v>
                </c:pt>
                <c:pt idx="101">
                  <c:v>1089.4279</c:v>
                </c:pt>
                <c:pt idx="102">
                  <c:v>1110.0216</c:v>
                </c:pt>
                <c:pt idx="103">
                  <c:v>1102.4859</c:v>
                </c:pt>
                <c:pt idx="104">
                  <c:v>1145.2964</c:v>
                </c:pt>
              </c:numCache>
            </c:numRef>
          </c:xVal>
          <c:yVal>
            <c:numRef>
              <c:f>Sheet1!$B$2:$B$106</c:f>
              <c:numCache>
                <c:formatCode>General</c:formatCode>
                <c:ptCount val="105"/>
                <c:pt idx="0">
                  <c:v>0.2517147485609899</c:v>
                </c:pt>
                <c:pt idx="1">
                  <c:v>0.24949245136761286</c:v>
                </c:pt>
                <c:pt idx="2">
                  <c:v>0.251412919108214</c:v>
                </c:pt>
                <c:pt idx="3">
                  <c:v>0.25002788829807016</c:v>
                </c:pt>
                <c:pt idx="4">
                  <c:v>0.254451136413593</c:v>
                </c:pt>
                <c:pt idx="5">
                  <c:v>0.26059188630026087</c:v>
                </c:pt>
                <c:pt idx="6">
                  <c:v>0.2871214728148658</c:v>
                </c:pt>
                <c:pt idx="7">
                  <c:v>0.29233259154359703</c:v>
                </c:pt>
                <c:pt idx="8">
                  <c:v>0.28802501752304954</c:v>
                </c:pt>
                <c:pt idx="9">
                  <c:v>0.27122449769656615</c:v>
                </c:pt>
                <c:pt idx="10">
                  <c:v>0.268189541249764</c:v>
                </c:pt>
                <c:pt idx="11">
                  <c:v>0.24338437377306635</c:v>
                </c:pt>
                <c:pt idx="12">
                  <c:v>0.23163717624647398</c:v>
                </c:pt>
                <c:pt idx="13">
                  <c:v>0.21940724804332504</c:v>
                </c:pt>
                <c:pt idx="14">
                  <c:v>0.2081917497899083</c:v>
                </c:pt>
                <c:pt idx="15">
                  <c:v>0.20032310177705978</c:v>
                </c:pt>
                <c:pt idx="16">
                  <c:v>0.19135243841126193</c:v>
                </c:pt>
                <c:pt idx="17">
                  <c:v>0.1893611187277214</c:v>
                </c:pt>
                <c:pt idx="18">
                  <c:v>0.17375971309025703</c:v>
                </c:pt>
                <c:pt idx="19">
                  <c:v>0.17545871559633028</c:v>
                </c:pt>
                <c:pt idx="20">
                  <c:v>0.17418820606849234</c:v>
                </c:pt>
                <c:pt idx="21">
                  <c:v>0.18668695321414985</c:v>
                </c:pt>
                <c:pt idx="22">
                  <c:v>0.20883505005077616</c:v>
                </c:pt>
                <c:pt idx="23">
                  <c:v>0.21617312072892939</c:v>
                </c:pt>
                <c:pt idx="24">
                  <c:v>0.21955173385959967</c:v>
                </c:pt>
                <c:pt idx="25">
                  <c:v>0.22786553260429324</c:v>
                </c:pt>
                <c:pt idx="26">
                  <c:v>0.248124210682713</c:v>
                </c:pt>
                <c:pt idx="27">
                  <c:v>0.2370037132247929</c:v>
                </c:pt>
                <c:pt idx="28">
                  <c:v>0.24446064139941692</c:v>
                </c:pt>
                <c:pt idx="29">
                  <c:v>0.23986167871738448</c:v>
                </c:pt>
                <c:pt idx="30">
                  <c:v>0.24341403364792777</c:v>
                </c:pt>
                <c:pt idx="31">
                  <c:v>0.25345477386934673</c:v>
                </c:pt>
                <c:pt idx="32">
                  <c:v>0.25874818937256994</c:v>
                </c:pt>
                <c:pt idx="33">
                  <c:v>0.25585032437442073</c:v>
                </c:pt>
                <c:pt idx="34">
                  <c:v>0.250102396067991</c:v>
                </c:pt>
                <c:pt idx="35">
                  <c:v>0.2557345971563981</c:v>
                </c:pt>
                <c:pt idx="36">
                  <c:v>0.23196812562254643</c:v>
                </c:pt>
                <c:pt idx="37">
                  <c:v>0.22798857066914746</c:v>
                </c:pt>
                <c:pt idx="38">
                  <c:v>0.21615913890592003</c:v>
                </c:pt>
                <c:pt idx="39">
                  <c:v>0.2071938378913151</c:v>
                </c:pt>
                <c:pt idx="40">
                  <c:v>0.21045714285714287</c:v>
                </c:pt>
                <c:pt idx="41">
                  <c:v>0.2072407910532634</c:v>
                </c:pt>
                <c:pt idx="42">
                  <c:v>0.20224290924927868</c:v>
                </c:pt>
                <c:pt idx="43">
                  <c:v>0.1946233411397346</c:v>
                </c:pt>
                <c:pt idx="44">
                  <c:v>0.19609193962547755</c:v>
                </c:pt>
                <c:pt idx="45">
                  <c:v>0.21453432886094426</c:v>
                </c:pt>
                <c:pt idx="46">
                  <c:v>0.21987389386518008</c:v>
                </c:pt>
                <c:pt idx="47">
                  <c:v>0.21423830069697974</c:v>
                </c:pt>
                <c:pt idx="48">
                  <c:v>0.21207664255636371</c:v>
                </c:pt>
                <c:pt idx="49">
                  <c:v>0.2241240064043527</c:v>
                </c:pt>
                <c:pt idx="50">
                  <c:v>0.21729131175468483</c:v>
                </c:pt>
                <c:pt idx="51">
                  <c:v>0.2069052783803326</c:v>
                </c:pt>
                <c:pt idx="52">
                  <c:v>0.20980577491843766</c:v>
                </c:pt>
                <c:pt idx="53">
                  <c:v>0.20395344540920007</c:v>
                </c:pt>
                <c:pt idx="54">
                  <c:v>0.20795081967213114</c:v>
                </c:pt>
                <c:pt idx="55">
                  <c:v>0.2052563079894202</c:v>
                </c:pt>
                <c:pt idx="56">
                  <c:v>0.20678541875353862</c:v>
                </c:pt>
                <c:pt idx="57">
                  <c:v>0.20438625444676717</c:v>
                </c:pt>
                <c:pt idx="58">
                  <c:v>0.21921198969211989</c:v>
                </c:pt>
                <c:pt idx="59">
                  <c:v>0.21826577276561737</c:v>
                </c:pt>
                <c:pt idx="60">
                  <c:v>0.22469086656880552</c:v>
                </c:pt>
                <c:pt idx="61">
                  <c:v>0.2215318067904837</c:v>
                </c:pt>
                <c:pt idx="62">
                  <c:v>0.23122205423488917</c:v>
                </c:pt>
                <c:pt idx="63">
                  <c:v>0.23903751307726798</c:v>
                </c:pt>
                <c:pt idx="64">
                  <c:v>0.22433045579093133</c:v>
                </c:pt>
                <c:pt idx="65">
                  <c:v>0.2142171910974674</c:v>
                </c:pt>
                <c:pt idx="66">
                  <c:v>0.21597421203438397</c:v>
                </c:pt>
                <c:pt idx="67">
                  <c:v>0.20335110434120335</c:v>
                </c:pt>
                <c:pt idx="68">
                  <c:v>0.19194123819517314</c:v>
                </c:pt>
                <c:pt idx="69">
                  <c:v>0.186231725943705</c:v>
                </c:pt>
                <c:pt idx="70">
                  <c:v>0.18707821082919174</c:v>
                </c:pt>
                <c:pt idx="71">
                  <c:v>0.18971229293809938</c:v>
                </c:pt>
                <c:pt idx="72">
                  <c:v>0.1793250095414645</c:v>
                </c:pt>
                <c:pt idx="73">
                  <c:v>0.18501574475669894</c:v>
                </c:pt>
                <c:pt idx="74">
                  <c:v>0.18769759831382773</c:v>
                </c:pt>
                <c:pt idx="75">
                  <c:v>0.19967866323907454</c:v>
                </c:pt>
                <c:pt idx="76">
                  <c:v>0.20348151744226367</c:v>
                </c:pt>
                <c:pt idx="77">
                  <c:v>0.19437803376077664</c:v>
                </c:pt>
                <c:pt idx="78">
                  <c:v>0.19729144963538744</c:v>
                </c:pt>
                <c:pt idx="79">
                  <c:v>0.17318884206301424</c:v>
                </c:pt>
                <c:pt idx="80">
                  <c:v>0.16710411198600175</c:v>
                </c:pt>
                <c:pt idx="81">
                  <c:v>0.1803864168618267</c:v>
                </c:pt>
                <c:pt idx="82">
                  <c:v>0.17975474141214107</c:v>
                </c:pt>
                <c:pt idx="83">
                  <c:v>0.18402356610639403</c:v>
                </c:pt>
                <c:pt idx="84">
                  <c:v>0.18698972873321043</c:v>
                </c:pt>
                <c:pt idx="85">
                  <c:v>0.19571842145360355</c:v>
                </c:pt>
                <c:pt idx="86">
                  <c:v>0.207593915648767</c:v>
                </c:pt>
                <c:pt idx="87">
                  <c:v>0.2173268956435861</c:v>
                </c:pt>
                <c:pt idx="88">
                  <c:v>0.20523153057617533</c:v>
                </c:pt>
                <c:pt idx="89">
                  <c:v>0.20932949147262675</c:v>
                </c:pt>
                <c:pt idx="90">
                  <c:v>0.19498162058494486</c:v>
                </c:pt>
                <c:pt idx="91">
                  <c:v>0.1831610044313146</c:v>
                </c:pt>
                <c:pt idx="92">
                  <c:v>0.19462962962962962</c:v>
                </c:pt>
                <c:pt idx="93">
                  <c:v>0.18998903909389842</c:v>
                </c:pt>
                <c:pt idx="94">
                  <c:v>0.19740048740861088</c:v>
                </c:pt>
                <c:pt idx="95">
                  <c:v>0.19975149105367793</c:v>
                </c:pt>
                <c:pt idx="96">
                  <c:v>0.19698046782437967</c:v>
                </c:pt>
                <c:pt idx="97">
                  <c:v>0.202424676759533</c:v>
                </c:pt>
                <c:pt idx="98">
                  <c:v>0.2040774352777849</c:v>
                </c:pt>
                <c:pt idx="99">
                  <c:v>0.20725569996936677</c:v>
                </c:pt>
                <c:pt idx="100">
                  <c:v>0.208160385871081</c:v>
                </c:pt>
                <c:pt idx="101">
                  <c:v>0.21458165496604903</c:v>
                </c:pt>
                <c:pt idx="102">
                  <c:v>0.20686988726547556</c:v>
                </c:pt>
                <c:pt idx="103">
                  <c:v>0.201168762174606</c:v>
                </c:pt>
                <c:pt idx="104">
                  <c:v>0.198169181217155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7.9764</c:v>
                </c:pt>
                <c:pt idx="1">
                  <c:v>1181.183</c:v>
                </c:pt>
                <c:pt idx="2">
                  <c:v>1188.5358</c:v>
                </c:pt>
                <c:pt idx="3">
                  <c:v>1167.6881</c:v>
                </c:pt>
                <c:pt idx="4">
                  <c:v>1194.4699</c:v>
                </c:pt>
                <c:pt idx="5">
                  <c:v>1189.2709</c:v>
                </c:pt>
                <c:pt idx="6">
                  <c:v>1098.8734</c:v>
                </c:pt>
                <c:pt idx="7">
                  <c:v>1135.7131</c:v>
                </c:pt>
                <c:pt idx="8">
                  <c:v>1184.2592</c:v>
                </c:pt>
                <c:pt idx="9">
                  <c:v>1143.1849</c:v>
                </c:pt>
                <c:pt idx="10">
                  <c:v>1162.0828</c:v>
                </c:pt>
                <c:pt idx="11">
                  <c:v>1029.1262</c:v>
                </c:pt>
                <c:pt idx="12">
                  <c:v>1065.5931</c:v>
                </c:pt>
                <c:pt idx="13">
                  <c:v>1131.6266</c:v>
                </c:pt>
                <c:pt idx="14">
                  <c:v>1111.3659</c:v>
                </c:pt>
                <c:pt idx="15">
                  <c:v>1139.3358</c:v>
                </c:pt>
                <c:pt idx="16">
                  <c:v>1174.9249</c:v>
                </c:pt>
                <c:pt idx="17">
                  <c:v>1123.6132</c:v>
                </c:pt>
                <c:pt idx="18">
                  <c:v>1126.9817</c:v>
                </c:pt>
                <c:pt idx="19">
                  <c:v>1231.8824</c:v>
                </c:pt>
                <c:pt idx="20">
                  <c:v>1239.5141</c:v>
                </c:pt>
                <c:pt idx="21">
                  <c:v>1157.2583</c:v>
                </c:pt>
                <c:pt idx="22">
                  <c:v>1193.3061</c:v>
                </c:pt>
                <c:pt idx="23">
                  <c:v>1216.2924</c:v>
                </c:pt>
                <c:pt idx="24">
                  <c:v>1225.705</c:v>
                </c:pt>
                <c:pt idx="25">
                  <c:v>1180.2106</c:v>
                </c:pt>
                <c:pt idx="26">
                  <c:v>1182.9681</c:v>
                </c:pt>
                <c:pt idx="27">
                  <c:v>1178.6949</c:v>
                </c:pt>
                <c:pt idx="28">
                  <c:v>1216.045</c:v>
                </c:pt>
                <c:pt idx="29">
                  <c:v>1228.6814</c:v>
                </c:pt>
                <c:pt idx="30">
                  <c:v>1214.2375</c:v>
                </c:pt>
                <c:pt idx="31">
                  <c:v>1200.732</c:v>
                </c:pt>
                <c:pt idx="32">
                  <c:v>1219.9822</c:v>
                </c:pt>
                <c:pt idx="33">
                  <c:v>1218.2559</c:v>
                </c:pt>
                <c:pt idx="34">
                  <c:v>1230.6016</c:v>
                </c:pt>
                <c:pt idx="35">
                  <c:v>1260.6205</c:v>
                </c:pt>
                <c:pt idx="36">
                  <c:v>1294.8406</c:v>
                </c:pt>
                <c:pt idx="37">
                  <c:v>1262.0229</c:v>
                </c:pt>
                <c:pt idx="38">
                  <c:v>1284.5709</c:v>
                </c:pt>
                <c:pt idx="39">
                  <c:v>1229.5002</c:v>
                </c:pt>
                <c:pt idx="40">
                  <c:v>1263.8093</c:v>
                </c:pt>
                <c:pt idx="41">
                  <c:v>1296.2898</c:v>
                </c:pt>
                <c:pt idx="42">
                  <c:v>1286.5462</c:v>
                </c:pt>
                <c:pt idx="43">
                  <c:v>1308.1139</c:v>
                </c:pt>
                <c:pt idx="44">
                  <c:v>1226.2374</c:v>
                </c:pt>
                <c:pt idx="45">
                  <c:v>1174.8825</c:v>
                </c:pt>
                <c:pt idx="46">
                  <c:v>1167.5306</c:v>
                </c:pt>
                <c:pt idx="47">
                  <c:v>1142.6692</c:v>
                </c:pt>
                <c:pt idx="48">
                  <c:v>1143.4996</c:v>
                </c:pt>
                <c:pt idx="49">
                  <c:v>1165.05</c:v>
                </c:pt>
                <c:pt idx="50">
                  <c:v>1122.2617</c:v>
                </c:pt>
                <c:pt idx="51">
                  <c:v>1080.1198</c:v>
                </c:pt>
              </c:numCache>
            </c:numRef>
          </c:xVal>
          <c:yVal>
            <c:numRef>
              <c:f>Sheet1!$B$109:$B$160</c:f>
              <c:numCache>
                <c:formatCode>General</c:formatCode>
                <c:ptCount val="52"/>
                <c:pt idx="0">
                  <c:v>0.19739264379907578</c:v>
                </c:pt>
                <c:pt idx="1">
                  <c:v>0.19980959181244792</c:v>
                </c:pt>
                <c:pt idx="2">
                  <c:v>0.21487342880151256</c:v>
                </c:pt>
                <c:pt idx="3">
                  <c:v>0.23045725360706337</c:v>
                </c:pt>
                <c:pt idx="4">
                  <c:v>0.21304999817124465</c:v>
                </c:pt>
                <c:pt idx="5">
                  <c:v>0.21920487456275622</c:v>
                </c:pt>
                <c:pt idx="6">
                  <c:v>0.23144147682639435</c:v>
                </c:pt>
                <c:pt idx="7">
                  <c:v>0.22823171821920257</c:v>
                </c:pt>
                <c:pt idx="8">
                  <c:v>0.21415770609318996</c:v>
                </c:pt>
                <c:pt idx="9">
                  <c:v>0.22384160593977726</c:v>
                </c:pt>
                <c:pt idx="10">
                  <c:v>0.22556691863050243</c:v>
                </c:pt>
                <c:pt idx="11">
                  <c:v>0.22960187948441171</c:v>
                </c:pt>
                <c:pt idx="12">
                  <c:v>0.2293176892608923</c:v>
                </c:pt>
                <c:pt idx="13">
                  <c:v>0.22594646732577767</c:v>
                </c:pt>
                <c:pt idx="14">
                  <c:v>0.22981667548034548</c:v>
                </c:pt>
                <c:pt idx="15">
                  <c:v>0.22243418542541016</c:v>
                </c:pt>
                <c:pt idx="16">
                  <c:v>0.2185996490632252</c:v>
                </c:pt>
                <c:pt idx="17">
                  <c:v>0.2288303426753886</c:v>
                </c:pt>
                <c:pt idx="18">
                  <c:v>0.22622338954935028</c:v>
                </c:pt>
                <c:pt idx="19">
                  <c:v>0.21929706436843524</c:v>
                </c:pt>
                <c:pt idx="20">
                  <c:v>0.2079446283478784</c:v>
                </c:pt>
                <c:pt idx="21">
                  <c:v>0.22280071813285457</c:v>
                </c:pt>
                <c:pt idx="22">
                  <c:v>0.21522564691336218</c:v>
                </c:pt>
                <c:pt idx="23">
                  <c:v>0.21599630143319465</c:v>
                </c:pt>
                <c:pt idx="24">
                  <c:v>0.21436473491617736</c:v>
                </c:pt>
                <c:pt idx="25">
                  <c:v>0.21877236936292055</c:v>
                </c:pt>
                <c:pt idx="26">
                  <c:v>0.2126831691365179</c:v>
                </c:pt>
                <c:pt idx="27">
                  <c:v>0.2159379197134756</c:v>
                </c:pt>
                <c:pt idx="28">
                  <c:v>0.20558855291576675</c:v>
                </c:pt>
                <c:pt idx="29">
                  <c:v>0.20860040567951318</c:v>
                </c:pt>
                <c:pt idx="30">
                  <c:v>0.2126890756302521</c:v>
                </c:pt>
                <c:pt idx="31">
                  <c:v>0.2061624146604384</c:v>
                </c:pt>
                <c:pt idx="32">
                  <c:v>0.20111818605373505</c:v>
                </c:pt>
                <c:pt idx="33">
                  <c:v>0.21381936887921654</c:v>
                </c:pt>
                <c:pt idx="34">
                  <c:v>0.23197430195206326</c:v>
                </c:pt>
                <c:pt idx="35">
                  <c:v>0.22070675759454433</c:v>
                </c:pt>
                <c:pt idx="36">
                  <c:v>0.21464275213172596</c:v>
                </c:pt>
                <c:pt idx="37">
                  <c:v>0.21891248788225962</c:v>
                </c:pt>
                <c:pt idx="38">
                  <c:v>0.21987066431510877</c:v>
                </c:pt>
                <c:pt idx="39">
                  <c:v>0.21826647564469914</c:v>
                </c:pt>
                <c:pt idx="40">
                  <c:v>0.20420127015144113</c:v>
                </c:pt>
                <c:pt idx="41">
                  <c:v>0.2056031641397495</c:v>
                </c:pt>
                <c:pt idx="42">
                  <c:v>0.20923467104281665</c:v>
                </c:pt>
                <c:pt idx="43">
                  <c:v>0.19402412280701756</c:v>
                </c:pt>
                <c:pt idx="44">
                  <c:v>0.19468152007905848</c:v>
                </c:pt>
                <c:pt idx="45">
                  <c:v>0.21423893109772071</c:v>
                </c:pt>
                <c:pt idx="46">
                  <c:v>0.23001549186676995</c:v>
                </c:pt>
                <c:pt idx="47">
                  <c:v>0.23053892215568864</c:v>
                </c:pt>
                <c:pt idx="48">
                  <c:v>0.21907957813998083</c:v>
                </c:pt>
                <c:pt idx="49">
                  <c:v>0.22517641829193755</c:v>
                </c:pt>
                <c:pt idx="50">
                  <c:v>0.22192789644742528</c:v>
                </c:pt>
                <c:pt idx="51">
                  <c:v>0.221749839727367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09.009816579346</c:v>
                </c:pt>
              </c:numCache>
            </c:numRef>
          </c:xVal>
          <c:yVal>
            <c:numRef>
              <c:f>Sheet1!$B$163:$B$164</c:f>
              <c:numCache>
                <c:formatCode>General</c:formatCode>
                <c:ptCount val="2"/>
                <c:pt idx="0">
                  <c:v>0.2650189013255837</c:v>
                </c:pt>
                <c:pt idx="1">
                  <c:v>0.265018901325583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09.009816579346</c:v>
                </c:pt>
                <c:pt idx="1">
                  <c:v>709.009816579346</c:v>
                </c:pt>
              </c:numCache>
            </c:numRef>
          </c:xVal>
          <c:yVal>
            <c:numRef>
              <c:f>Sheet1!$B$167:$B$168</c:f>
              <c:numCache>
                <c:formatCode>General</c:formatCode>
                <c:ptCount val="2"/>
                <c:pt idx="0">
                  <c:v>0.265018901325583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1.1767894258023</c:v>
                </c:pt>
              </c:numCache>
            </c:numRef>
          </c:xVal>
          <c:yVal>
            <c:numRef>
              <c:f>Sheet1!$B$171:$B$172</c:f>
              <c:numCache>
                <c:formatCode>General</c:formatCode>
                <c:ptCount val="2"/>
                <c:pt idx="0">
                  <c:v>0.2238631702834038</c:v>
                </c:pt>
                <c:pt idx="1">
                  <c:v>0.223863170283403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1.1767894258023</c:v>
                </c:pt>
                <c:pt idx="1">
                  <c:v>1121.1767894258023</c:v>
                </c:pt>
              </c:numCache>
            </c:numRef>
          </c:xVal>
          <c:yVal>
            <c:numRef>
              <c:f>Sheet1!$B$175:$B$176</c:f>
              <c:numCache>
                <c:formatCode>General</c:formatCode>
                <c:ptCount val="2"/>
                <c:pt idx="0">
                  <c:v>0.223863170283403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14.7636135762698</c:v>
                </c:pt>
              </c:numCache>
            </c:numRef>
          </c:xVal>
          <c:yVal>
            <c:numRef>
              <c:f>Sheet1!$B$179:$B$180</c:f>
              <c:numCache>
                <c:formatCode>General</c:formatCode>
                <c:ptCount val="2"/>
                <c:pt idx="0">
                  <c:v>0.21451833089166714</c:v>
                </c:pt>
                <c:pt idx="1">
                  <c:v>0.2145183308916671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14.7636135762698</c:v>
                </c:pt>
                <c:pt idx="1">
                  <c:v>1214.7636135762698</c:v>
                </c:pt>
              </c:numCache>
            </c:numRef>
          </c:xVal>
          <c:yVal>
            <c:numRef>
              <c:f>Sheet1!$B$183:$B$184</c:f>
              <c:numCache>
                <c:formatCode>General</c:formatCode>
                <c:ptCount val="2"/>
                <c:pt idx="0">
                  <c:v>0.2145183308916671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7.9764</c:v>
                </c:pt>
                <c:pt idx="1">
                  <c:v>1181.183</c:v>
                </c:pt>
                <c:pt idx="2">
                  <c:v>1188.5358</c:v>
                </c:pt>
                <c:pt idx="3">
                  <c:v>1167.6881</c:v>
                </c:pt>
                <c:pt idx="4">
                  <c:v>1194.4699</c:v>
                </c:pt>
                <c:pt idx="5">
                  <c:v>1189.2709</c:v>
                </c:pt>
                <c:pt idx="6">
                  <c:v>1098.8734</c:v>
                </c:pt>
                <c:pt idx="7">
                  <c:v>1135.7131</c:v>
                </c:pt>
                <c:pt idx="8">
                  <c:v>1184.2592</c:v>
                </c:pt>
                <c:pt idx="9">
                  <c:v>1143.1849</c:v>
                </c:pt>
                <c:pt idx="10">
                  <c:v>1162.0828</c:v>
                </c:pt>
                <c:pt idx="11">
                  <c:v>1029.1262</c:v>
                </c:pt>
                <c:pt idx="12">
                  <c:v>1065.5931</c:v>
                </c:pt>
                <c:pt idx="13">
                  <c:v>1131.6266</c:v>
                </c:pt>
                <c:pt idx="14">
                  <c:v>1111.3659</c:v>
                </c:pt>
                <c:pt idx="15">
                  <c:v>1139.3358</c:v>
                </c:pt>
                <c:pt idx="16">
                  <c:v>1174.9249</c:v>
                </c:pt>
                <c:pt idx="17">
                  <c:v>1123.6132</c:v>
                </c:pt>
                <c:pt idx="18">
                  <c:v>1126.9817</c:v>
                </c:pt>
                <c:pt idx="19">
                  <c:v>1231.8824</c:v>
                </c:pt>
                <c:pt idx="20">
                  <c:v>1239.5141</c:v>
                </c:pt>
                <c:pt idx="21">
                  <c:v>1157.2583</c:v>
                </c:pt>
                <c:pt idx="22">
                  <c:v>1193.3061</c:v>
                </c:pt>
                <c:pt idx="23">
                  <c:v>1216.2924</c:v>
                </c:pt>
                <c:pt idx="24">
                  <c:v>1225.705</c:v>
                </c:pt>
                <c:pt idx="25">
                  <c:v>1180.2106</c:v>
                </c:pt>
                <c:pt idx="26">
                  <c:v>1182.9681</c:v>
                </c:pt>
                <c:pt idx="27">
                  <c:v>1178.6949</c:v>
                </c:pt>
                <c:pt idx="28">
                  <c:v>1216.045</c:v>
                </c:pt>
                <c:pt idx="29">
                  <c:v>1228.6814</c:v>
                </c:pt>
                <c:pt idx="30">
                  <c:v>1214.2375</c:v>
                </c:pt>
                <c:pt idx="31">
                  <c:v>1200.732</c:v>
                </c:pt>
                <c:pt idx="32">
                  <c:v>1219.9822</c:v>
                </c:pt>
                <c:pt idx="33">
                  <c:v>1218.2559</c:v>
                </c:pt>
                <c:pt idx="34">
                  <c:v>1230.6016</c:v>
                </c:pt>
                <c:pt idx="35">
                  <c:v>1260.6205</c:v>
                </c:pt>
                <c:pt idx="36">
                  <c:v>1294.8406</c:v>
                </c:pt>
                <c:pt idx="37">
                  <c:v>1262.0229</c:v>
                </c:pt>
                <c:pt idx="38">
                  <c:v>1284.5709</c:v>
                </c:pt>
                <c:pt idx="39">
                  <c:v>1229.5002</c:v>
                </c:pt>
                <c:pt idx="40">
                  <c:v>1263.8093</c:v>
                </c:pt>
                <c:pt idx="41">
                  <c:v>1296.2898</c:v>
                </c:pt>
                <c:pt idx="42">
                  <c:v>1286.5462</c:v>
                </c:pt>
                <c:pt idx="43">
                  <c:v>1308.1139</c:v>
                </c:pt>
                <c:pt idx="44">
                  <c:v>1226.2374</c:v>
                </c:pt>
                <c:pt idx="45">
                  <c:v>1174.8825</c:v>
                </c:pt>
                <c:pt idx="46">
                  <c:v>1167.5306</c:v>
                </c:pt>
                <c:pt idx="47">
                  <c:v>1142.6692</c:v>
                </c:pt>
                <c:pt idx="48">
                  <c:v>1143.4996</c:v>
                </c:pt>
                <c:pt idx="49">
                  <c:v>1165.05</c:v>
                </c:pt>
                <c:pt idx="50">
                  <c:v>1122.2617</c:v>
                </c:pt>
                <c:pt idx="51">
                  <c:v>1080.1198</c:v>
                </c:pt>
                <c:pt idx="52">
                  <c:v>1121.1767894258023</c:v>
                </c:pt>
                <c:pt idx="53">
                  <c:v>709.009816579346</c:v>
                </c:pt>
                <c:pt idx="54">
                  <c:v>1214.7636135762698</c:v>
                </c:pt>
              </c:numCache>
            </c:numRef>
          </c:xVal>
          <c:yVal>
            <c:numRef>
              <c:f>Sheet1!$B$187:$B$241</c:f>
              <c:numCache>
                <c:formatCode>General</c:formatCode>
                <c:ptCount val="55"/>
                <c:pt idx="0">
                  <c:v>0.21819161081819877</c:v>
                </c:pt>
                <c:pt idx="1">
                  <c:v>0.21787142512683086</c:v>
                </c:pt>
                <c:pt idx="2">
                  <c:v>0.21713723272631633</c:v>
                </c:pt>
                <c:pt idx="3">
                  <c:v>0.21921891901020907</c:v>
                </c:pt>
                <c:pt idx="4">
                  <c:v>0.21654470047684768</c:v>
                </c:pt>
                <c:pt idx="5">
                  <c:v>0.21706383145963995</c:v>
                </c:pt>
                <c:pt idx="6">
                  <c:v>0.22609021018958103</c:v>
                </c:pt>
                <c:pt idx="7">
                  <c:v>0.2224116893842777</c:v>
                </c:pt>
                <c:pt idx="8">
                  <c:v>0.21756426014716831</c:v>
                </c:pt>
                <c:pt idx="9">
                  <c:v>0.2216656145858112</c:v>
                </c:pt>
                <c:pt idx="10">
                  <c:v>0.2197786198945802</c:v>
                </c:pt>
                <c:pt idx="11">
                  <c:v>0.23305461343693795</c:v>
                </c:pt>
                <c:pt idx="12">
                  <c:v>0.22941331748841182</c:v>
                </c:pt>
                <c:pt idx="13">
                  <c:v>0.22281973492403157</c:v>
                </c:pt>
                <c:pt idx="14">
                  <c:v>0.2248428080348335</c:v>
                </c:pt>
                <c:pt idx="15">
                  <c:v>0.2220499552409113</c:v>
                </c:pt>
                <c:pt idx="16">
                  <c:v>0.21849630945139564</c:v>
                </c:pt>
                <c:pt idx="17">
                  <c:v>0.22361988961099205</c:v>
                </c:pt>
                <c:pt idx="18">
                  <c:v>0.22328353786728447</c:v>
                </c:pt>
                <c:pt idx="19">
                  <c:v>0.21280898439804108</c:v>
                </c:pt>
                <c:pt idx="20">
                  <c:v>0.21204694325140216</c:v>
                </c:pt>
                <c:pt idx="21">
                  <c:v>0.22026035627205304</c:v>
                </c:pt>
                <c:pt idx="22">
                  <c:v>0.21666090833177626</c:v>
                </c:pt>
                <c:pt idx="23">
                  <c:v>0.21436567838183246</c:v>
                </c:pt>
                <c:pt idx="24">
                  <c:v>0.21342581065945693</c:v>
                </c:pt>
                <c:pt idx="25">
                  <c:v>0.21796852129295263</c:v>
                </c:pt>
                <c:pt idx="26">
                  <c:v>0.217693179172343</c:v>
                </c:pt>
                <c:pt idx="27">
                  <c:v>0.21811986709611061</c:v>
                </c:pt>
                <c:pt idx="28">
                  <c:v>0.2143903817873225</c:v>
                </c:pt>
                <c:pt idx="29">
                  <c:v>0.21312861091774066</c:v>
                </c:pt>
                <c:pt idx="30">
                  <c:v>0.21457086442848372</c:v>
                </c:pt>
                <c:pt idx="31">
                  <c:v>0.21591941674394838</c:v>
                </c:pt>
                <c:pt idx="32">
                  <c:v>0.21399724416365457</c:v>
                </c:pt>
                <c:pt idx="33">
                  <c:v>0.21416961881562496</c:v>
                </c:pt>
                <c:pt idx="34">
                  <c:v>0.21293687494675434</c:v>
                </c:pt>
                <c:pt idx="35">
                  <c:v>0.20993942523347436</c:v>
                </c:pt>
                <c:pt idx="36">
                  <c:v>0.2065224769464481</c:v>
                </c:pt>
                <c:pt idx="37">
                  <c:v>0.20979939267139167</c:v>
                </c:pt>
                <c:pt idx="38">
                  <c:v>0.2075479278897029</c:v>
                </c:pt>
                <c:pt idx="39">
                  <c:v>0.2130468520316644</c:v>
                </c:pt>
                <c:pt idx="40">
                  <c:v>0.20962101690919507</c:v>
                </c:pt>
                <c:pt idx="41">
                  <c:v>0.20637777130685153</c:v>
                </c:pt>
                <c:pt idx="42">
                  <c:v>0.2073506900689086</c:v>
                </c:pt>
                <c:pt idx="43">
                  <c:v>0.20519711028480228</c:v>
                </c:pt>
                <c:pt idx="44">
                  <c:v>0.2133726494101323</c:v>
                </c:pt>
                <c:pt idx="45">
                  <c:v>0.21850054317974155</c:v>
                </c:pt>
                <c:pt idx="46">
                  <c:v>0.2192346457133808</c:v>
                </c:pt>
                <c:pt idx="47">
                  <c:v>0.22171710830533917</c:v>
                </c:pt>
                <c:pt idx="48">
                  <c:v>0.2216341911350928</c:v>
                </c:pt>
                <c:pt idx="49">
                  <c:v>0.21948233879203333</c:v>
                </c:pt>
                <c:pt idx="50">
                  <c:v>0.22375483970201798</c:v>
                </c:pt>
                <c:pt idx="51">
                  <c:v>0.2279627962251442</c:v>
                </c:pt>
                <c:pt idx="52">
                  <c:v>0.2238631702834038</c:v>
                </c:pt>
                <c:pt idx="53">
                  <c:v>0.2650189013255837</c:v>
                </c:pt>
                <c:pt idx="54">
                  <c:v>0.2145183308916671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0.0"/>
          <c:min val="56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079910985231644"/>
          <c:min val="0.133683289588801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1133325999744317</c:v>
                </c:pt>
                <c:pt idx="1">
                  <c:v>2.319048788673866</c:v>
                </c:pt>
                <c:pt idx="2">
                  <c:v>2.3886812326693603</c:v>
                </c:pt>
                <c:pt idx="3">
                  <c:v>2.4085751473894477</c:v>
                </c:pt>
                <c:pt idx="4">
                  <c:v>2.4265418392941487</c:v>
                </c:pt>
                <c:pt idx="5">
                  <c:v>1.9871794700832817</c:v>
                </c:pt>
                <c:pt idx="6">
                  <c:v>1.7251138553821748</c:v>
                </c:pt>
                <c:pt idx="7">
                  <c:v>1.7472182732070458</c:v>
                </c:pt>
                <c:pt idx="8">
                  <c:v>1.7692312275662558</c:v>
                </c:pt>
                <c:pt idx="9">
                  <c:v>1.8429032989828604</c:v>
                </c:pt>
                <c:pt idx="10">
                  <c:v>1.7606833705763958</c:v>
                </c:pt>
                <c:pt idx="11">
                  <c:v>1.8359924276975812</c:v>
                </c:pt>
                <c:pt idx="12">
                  <c:v>1.840415261221699</c:v>
                </c:pt>
                <c:pt idx="13">
                  <c:v>1.834989348541392</c:v>
                </c:pt>
                <c:pt idx="14">
                  <c:v>1.8754696050833009</c:v>
                </c:pt>
                <c:pt idx="15">
                  <c:v>1.9202124345445364</c:v>
                </c:pt>
                <c:pt idx="16">
                  <c:v>1.9270392984774516</c:v>
                </c:pt>
                <c:pt idx="17">
                  <c:v>2.2222903426974483</c:v>
                </c:pt>
                <c:pt idx="18">
                  <c:v>2.7021838962560545</c:v>
                </c:pt>
                <c:pt idx="19">
                  <c:v>2.6389232734480563</c:v>
                </c:pt>
                <c:pt idx="20">
                  <c:v>2.652788010089406</c:v>
                </c:pt>
                <c:pt idx="21">
                  <c:v>2.7019723187544327</c:v>
                </c:pt>
                <c:pt idx="22">
                  <c:v>2.7157542626725317</c:v>
                </c:pt>
                <c:pt idx="23">
                  <c:v>2.9227630133990425</c:v>
                </c:pt>
                <c:pt idx="24">
                  <c:v>2.8187416554519857</c:v>
                </c:pt>
                <c:pt idx="25">
                  <c:v>2.774222743585859</c:v>
                </c:pt>
                <c:pt idx="26">
                  <c:v>2.1544261570001417</c:v>
                </c:pt>
                <c:pt idx="27">
                  <c:v>2.086062778414791</c:v>
                </c:pt>
                <c:pt idx="28">
                  <c:v>2.019463670562755</c:v>
                </c:pt>
                <c:pt idx="29">
                  <c:v>1.9885321351430387</c:v>
                </c:pt>
                <c:pt idx="30">
                  <c:v>1.9698894676920062</c:v>
                </c:pt>
                <c:pt idx="31">
                  <c:v>1.8888174543789895</c:v>
                </c:pt>
                <c:pt idx="32">
                  <c:v>1.8362355261892405</c:v>
                </c:pt>
                <c:pt idx="33">
                  <c:v>1.7440779062928455</c:v>
                </c:pt>
                <c:pt idx="34">
                  <c:v>1.8276266496829063</c:v>
                </c:pt>
                <c:pt idx="35">
                  <c:v>1.9162688394908163</c:v>
                </c:pt>
                <c:pt idx="36">
                  <c:v>2.062094327472559</c:v>
                </c:pt>
                <c:pt idx="37">
                  <c:v>2.104413529434142</c:v>
                </c:pt>
                <c:pt idx="38">
                  <c:v>2.2232027493771365</c:v>
                </c:pt>
                <c:pt idx="39">
                  <c:v>2.252303173942574</c:v>
                </c:pt>
                <c:pt idx="40">
                  <c:v>2.2203842448990034</c:v>
                </c:pt>
                <c:pt idx="41">
                  <c:v>2.2712589493700204</c:v>
                </c:pt>
                <c:pt idx="42">
                  <c:v>2.3131201440773643</c:v>
                </c:pt>
                <c:pt idx="43">
                  <c:v>2.3238045029404546</c:v>
                </c:pt>
                <c:pt idx="44">
                  <c:v>2.2067142167162657</c:v>
                </c:pt>
                <c:pt idx="45">
                  <c:v>2.1494296179839583</c:v>
                </c:pt>
                <c:pt idx="46">
                  <c:v>2.178485713010779</c:v>
                </c:pt>
                <c:pt idx="47">
                  <c:v>2.1531476651043446</c:v>
                </c:pt>
                <c:pt idx="48">
                  <c:v>2.1446887957688943</c:v>
                </c:pt>
                <c:pt idx="49">
                  <c:v>2.081932761747308</c:v>
                </c:pt>
                <c:pt idx="50">
                  <c:v>2.0564335911929748</c:v>
                </c:pt>
                <c:pt idx="51">
                  <c:v>2.1025778861350233</c:v>
                </c:pt>
                <c:pt idx="52">
                  <c:v>2.115275869925572</c:v>
                </c:pt>
                <c:pt idx="53">
                  <c:v>2.228353633122225</c:v>
                </c:pt>
                <c:pt idx="54">
                  <c:v>2.3055588113414074</c:v>
                </c:pt>
                <c:pt idx="55">
                  <c:v>2.3492564734246058</c:v>
                </c:pt>
                <c:pt idx="56">
                  <c:v>2.3826473528414773</c:v>
                </c:pt>
                <c:pt idx="57">
                  <c:v>2.3127674288354907</c:v>
                </c:pt>
                <c:pt idx="58">
                  <c:v>2.2551578704464244</c:v>
                </c:pt>
                <c:pt idx="59">
                  <c:v>2.326770220051313</c:v>
                </c:pt>
                <c:pt idx="60">
                  <c:v>2.3666843041886105</c:v>
                </c:pt>
                <c:pt idx="61">
                  <c:v>2.3177127128990476</c:v>
                </c:pt>
                <c:pt idx="62">
                  <c:v>2.250881343682002</c:v>
                </c:pt>
                <c:pt idx="63">
                  <c:v>2.3315273625201685</c:v>
                </c:pt>
                <c:pt idx="64">
                  <c:v>2.2963716366218736</c:v>
                </c:pt>
                <c:pt idx="65">
                  <c:v>2.2677292909962308</c:v>
                </c:pt>
                <c:pt idx="66">
                  <c:v>2.274809832628595</c:v>
                </c:pt>
                <c:pt idx="67">
                  <c:v>2.3323897540292498</c:v>
                </c:pt>
                <c:pt idx="68">
                  <c:v>2.343305909708339</c:v>
                </c:pt>
                <c:pt idx="69">
                  <c:v>2.3844875959287877</c:v>
                </c:pt>
                <c:pt idx="70">
                  <c:v>2.355129921103603</c:v>
                </c:pt>
                <c:pt idx="71">
                  <c:v>2.4875580059787277</c:v>
                </c:pt>
                <c:pt idx="72">
                  <c:v>2.682471982282032</c:v>
                </c:pt>
                <c:pt idx="73">
                  <c:v>2.6127184951587354</c:v>
                </c:pt>
                <c:pt idx="74">
                  <c:v>2.5970752984640675</c:v>
                </c:pt>
                <c:pt idx="75">
                  <c:v>2.550566593493286</c:v>
                </c:pt>
                <c:pt idx="76">
                  <c:v>2.626482284855263</c:v>
                </c:pt>
                <c:pt idx="77">
                  <c:v>2.7433669002523104</c:v>
                </c:pt>
                <c:pt idx="78">
                  <c:v>2.8013677417040737</c:v>
                </c:pt>
                <c:pt idx="79">
                  <c:v>2.8473038474992087</c:v>
                </c:pt>
                <c:pt idx="80">
                  <c:v>2.76720206888789</c:v>
                </c:pt>
                <c:pt idx="81">
                  <c:v>2.690480352217147</c:v>
                </c:pt>
                <c:pt idx="82">
                  <c:v>2.6794319613908457</c:v>
                </c:pt>
                <c:pt idx="83">
                  <c:v>2.5860269675865672</c:v>
                </c:pt>
                <c:pt idx="84">
                  <c:v>2.6542898164835678</c:v>
                </c:pt>
                <c:pt idx="85">
                  <c:v>2.5287735371394913</c:v>
                </c:pt>
                <c:pt idx="86">
                  <c:v>2.5121665357615472</c:v>
                </c:pt>
                <c:pt idx="87">
                  <c:v>2.519053011960706</c:v>
                </c:pt>
                <c:pt idx="88">
                  <c:v>2.5929980010307525</c:v>
                </c:pt>
                <c:pt idx="89">
                  <c:v>2.564787440456592</c:v>
                </c:pt>
                <c:pt idx="90">
                  <c:v>2.718896451126752</c:v>
                </c:pt>
                <c:pt idx="91">
                  <c:v>2.7352215018018224</c:v>
                </c:pt>
                <c:pt idx="92">
                  <c:v>2.539591987699396</c:v>
                </c:pt>
                <c:pt idx="93">
                  <c:v>2.320901285392118</c:v>
                </c:pt>
                <c:pt idx="94">
                  <c:v>2.1690795480924794</c:v>
                </c:pt>
                <c:pt idx="95">
                  <c:v>2.1020366179798393</c:v>
                </c:pt>
                <c:pt idx="96">
                  <c:v>2.0198408800359506</c:v>
                </c:pt>
                <c:pt idx="97">
                  <c:v>2.0085141379646654</c:v>
                </c:pt>
                <c:pt idx="98">
                  <c:v>2.0661961552321637</c:v>
                </c:pt>
                <c:pt idx="99">
                  <c:v>2.2574809588371045</c:v>
                </c:pt>
                <c:pt idx="100">
                  <c:v>1.9802767473998109</c:v>
                </c:pt>
                <c:pt idx="101">
                  <c:v>1.8182141201889863</c:v>
                </c:pt>
                <c:pt idx="102">
                  <c:v>1.8151604153594905</c:v>
                </c:pt>
                <c:pt idx="103">
                  <c:v>1.7985252393822844</c:v>
                </c:pt>
                <c:pt idx="104">
                  <c:v>1.8602345952746677</c:v>
                </c:pt>
              </c:numCache>
            </c:numRef>
          </c:xVal>
          <c:yVal>
            <c:numRef>
              <c:f>Sheet1!$B$2:$B$106</c:f>
              <c:numCache>
                <c:formatCode>General</c:formatCode>
                <c:ptCount val="105"/>
                <c:pt idx="0">
                  <c:v>0.2517147485609899</c:v>
                </c:pt>
                <c:pt idx="1">
                  <c:v>0.24949245136761286</c:v>
                </c:pt>
                <c:pt idx="2">
                  <c:v>0.251412919108214</c:v>
                </c:pt>
                <c:pt idx="3">
                  <c:v>0.25002788829807016</c:v>
                </c:pt>
                <c:pt idx="4">
                  <c:v>0.254451136413593</c:v>
                </c:pt>
                <c:pt idx="5">
                  <c:v>0.26059188630026087</c:v>
                </c:pt>
                <c:pt idx="6">
                  <c:v>0.2871214728148658</c:v>
                </c:pt>
                <c:pt idx="7">
                  <c:v>0.29233259154359703</c:v>
                </c:pt>
                <c:pt idx="8">
                  <c:v>0.28802501752304954</c:v>
                </c:pt>
                <c:pt idx="9">
                  <c:v>0.27122449769656615</c:v>
                </c:pt>
                <c:pt idx="10">
                  <c:v>0.268189541249764</c:v>
                </c:pt>
                <c:pt idx="11">
                  <c:v>0.24338437377306635</c:v>
                </c:pt>
                <c:pt idx="12">
                  <c:v>0.23163717624647398</c:v>
                </c:pt>
                <c:pt idx="13">
                  <c:v>0.21940724804332504</c:v>
                </c:pt>
                <c:pt idx="14">
                  <c:v>0.2081917497899083</c:v>
                </c:pt>
                <c:pt idx="15">
                  <c:v>0.20032310177705978</c:v>
                </c:pt>
                <c:pt idx="16">
                  <c:v>0.19135243841126193</c:v>
                </c:pt>
                <c:pt idx="17">
                  <c:v>0.1893611187277214</c:v>
                </c:pt>
                <c:pt idx="18">
                  <c:v>0.17375971309025703</c:v>
                </c:pt>
                <c:pt idx="19">
                  <c:v>0.17545871559633028</c:v>
                </c:pt>
                <c:pt idx="20">
                  <c:v>0.17418820606849234</c:v>
                </c:pt>
                <c:pt idx="21">
                  <c:v>0.18668695321414985</c:v>
                </c:pt>
                <c:pt idx="22">
                  <c:v>0.20883505005077616</c:v>
                </c:pt>
                <c:pt idx="23">
                  <c:v>0.21617312072892939</c:v>
                </c:pt>
                <c:pt idx="24">
                  <c:v>0.21955173385959967</c:v>
                </c:pt>
                <c:pt idx="25">
                  <c:v>0.22786553260429324</c:v>
                </c:pt>
                <c:pt idx="26">
                  <c:v>0.248124210682713</c:v>
                </c:pt>
                <c:pt idx="27">
                  <c:v>0.2370037132247929</c:v>
                </c:pt>
                <c:pt idx="28">
                  <c:v>0.24446064139941692</c:v>
                </c:pt>
                <c:pt idx="29">
                  <c:v>0.23986167871738448</c:v>
                </c:pt>
                <c:pt idx="30">
                  <c:v>0.24341403364792777</c:v>
                </c:pt>
                <c:pt idx="31">
                  <c:v>0.25345477386934673</c:v>
                </c:pt>
                <c:pt idx="32">
                  <c:v>0.25874818937256994</c:v>
                </c:pt>
                <c:pt idx="33">
                  <c:v>0.25585032437442073</c:v>
                </c:pt>
                <c:pt idx="34">
                  <c:v>0.250102396067991</c:v>
                </c:pt>
                <c:pt idx="35">
                  <c:v>0.2557345971563981</c:v>
                </c:pt>
                <c:pt idx="36">
                  <c:v>0.23196812562254643</c:v>
                </c:pt>
                <c:pt idx="37">
                  <c:v>0.22798857066914746</c:v>
                </c:pt>
                <c:pt idx="38">
                  <c:v>0.21615913890592003</c:v>
                </c:pt>
                <c:pt idx="39">
                  <c:v>0.2071938378913151</c:v>
                </c:pt>
                <c:pt idx="40">
                  <c:v>0.21045714285714287</c:v>
                </c:pt>
                <c:pt idx="41">
                  <c:v>0.2072407910532634</c:v>
                </c:pt>
                <c:pt idx="42">
                  <c:v>0.20224290924927868</c:v>
                </c:pt>
                <c:pt idx="43">
                  <c:v>0.1946233411397346</c:v>
                </c:pt>
                <c:pt idx="44">
                  <c:v>0.19609193962547755</c:v>
                </c:pt>
                <c:pt idx="45">
                  <c:v>0.21453432886094426</c:v>
                </c:pt>
                <c:pt idx="46">
                  <c:v>0.21987389386518008</c:v>
                </c:pt>
                <c:pt idx="47">
                  <c:v>0.21423830069697974</c:v>
                </c:pt>
                <c:pt idx="48">
                  <c:v>0.21207664255636371</c:v>
                </c:pt>
                <c:pt idx="49">
                  <c:v>0.2241240064043527</c:v>
                </c:pt>
                <c:pt idx="50">
                  <c:v>0.21729131175468483</c:v>
                </c:pt>
                <c:pt idx="51">
                  <c:v>0.2069052783803326</c:v>
                </c:pt>
                <c:pt idx="52">
                  <c:v>0.20980577491843766</c:v>
                </c:pt>
                <c:pt idx="53">
                  <c:v>0.20395344540920007</c:v>
                </c:pt>
                <c:pt idx="54">
                  <c:v>0.20795081967213114</c:v>
                </c:pt>
                <c:pt idx="55">
                  <c:v>0.2052563079894202</c:v>
                </c:pt>
                <c:pt idx="56">
                  <c:v>0.20678541875353862</c:v>
                </c:pt>
                <c:pt idx="57">
                  <c:v>0.20438625444676717</c:v>
                </c:pt>
                <c:pt idx="58">
                  <c:v>0.21921198969211989</c:v>
                </c:pt>
                <c:pt idx="59">
                  <c:v>0.21826577276561737</c:v>
                </c:pt>
                <c:pt idx="60">
                  <c:v>0.22469086656880552</c:v>
                </c:pt>
                <c:pt idx="61">
                  <c:v>0.2215318067904837</c:v>
                </c:pt>
                <c:pt idx="62">
                  <c:v>0.23122205423488917</c:v>
                </c:pt>
                <c:pt idx="63">
                  <c:v>0.23903751307726798</c:v>
                </c:pt>
                <c:pt idx="64">
                  <c:v>0.22433045579093133</c:v>
                </c:pt>
                <c:pt idx="65">
                  <c:v>0.2142171910974674</c:v>
                </c:pt>
                <c:pt idx="66">
                  <c:v>0.21597421203438397</c:v>
                </c:pt>
                <c:pt idx="67">
                  <c:v>0.20335110434120335</c:v>
                </c:pt>
                <c:pt idx="68">
                  <c:v>0.19194123819517314</c:v>
                </c:pt>
                <c:pt idx="69">
                  <c:v>0.186231725943705</c:v>
                </c:pt>
                <c:pt idx="70">
                  <c:v>0.18707821082919174</c:v>
                </c:pt>
                <c:pt idx="71">
                  <c:v>0.18971229293809938</c:v>
                </c:pt>
                <c:pt idx="72">
                  <c:v>0.1793250095414645</c:v>
                </c:pt>
                <c:pt idx="73">
                  <c:v>0.18501574475669894</c:v>
                </c:pt>
                <c:pt idx="74">
                  <c:v>0.18769759831382773</c:v>
                </c:pt>
                <c:pt idx="75">
                  <c:v>0.19967866323907454</c:v>
                </c:pt>
                <c:pt idx="76">
                  <c:v>0.20348151744226367</c:v>
                </c:pt>
                <c:pt idx="77">
                  <c:v>0.19437803376077664</c:v>
                </c:pt>
                <c:pt idx="78">
                  <c:v>0.19729144963538744</c:v>
                </c:pt>
                <c:pt idx="79">
                  <c:v>0.17318884206301424</c:v>
                </c:pt>
                <c:pt idx="80">
                  <c:v>0.16710411198600175</c:v>
                </c:pt>
                <c:pt idx="81">
                  <c:v>0.1803864168618267</c:v>
                </c:pt>
                <c:pt idx="82">
                  <c:v>0.17975474141214107</c:v>
                </c:pt>
                <c:pt idx="83">
                  <c:v>0.18402356610639403</c:v>
                </c:pt>
                <c:pt idx="84">
                  <c:v>0.18698972873321043</c:v>
                </c:pt>
                <c:pt idx="85">
                  <c:v>0.19571842145360355</c:v>
                </c:pt>
                <c:pt idx="86">
                  <c:v>0.207593915648767</c:v>
                </c:pt>
                <c:pt idx="87">
                  <c:v>0.2173268956435861</c:v>
                </c:pt>
                <c:pt idx="88">
                  <c:v>0.20523153057617533</c:v>
                </c:pt>
                <c:pt idx="89">
                  <c:v>0.20932949147262675</c:v>
                </c:pt>
                <c:pt idx="90">
                  <c:v>0.19498162058494486</c:v>
                </c:pt>
                <c:pt idx="91">
                  <c:v>0.1831610044313146</c:v>
                </c:pt>
                <c:pt idx="92">
                  <c:v>0.19462962962962962</c:v>
                </c:pt>
                <c:pt idx="93">
                  <c:v>0.18998903909389842</c:v>
                </c:pt>
                <c:pt idx="94">
                  <c:v>0.19740048740861088</c:v>
                </c:pt>
                <c:pt idx="95">
                  <c:v>0.19975149105367793</c:v>
                </c:pt>
                <c:pt idx="96">
                  <c:v>0.19698046782437967</c:v>
                </c:pt>
                <c:pt idx="97">
                  <c:v>0.202424676759533</c:v>
                </c:pt>
                <c:pt idx="98">
                  <c:v>0.2040774352777849</c:v>
                </c:pt>
                <c:pt idx="99">
                  <c:v>0.20725569996936677</c:v>
                </c:pt>
                <c:pt idx="100">
                  <c:v>0.208160385871081</c:v>
                </c:pt>
                <c:pt idx="101">
                  <c:v>0.21458165496604903</c:v>
                </c:pt>
                <c:pt idx="102">
                  <c:v>0.20686988726547556</c:v>
                </c:pt>
                <c:pt idx="103">
                  <c:v>0.201168762174606</c:v>
                </c:pt>
                <c:pt idx="104">
                  <c:v>0.198169181217155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8505117835819243</c:v>
                </c:pt>
                <c:pt idx="1">
                  <c:v>1.840614972462059</c:v>
                </c:pt>
                <c:pt idx="2">
                  <c:v>1.811935454659377</c:v>
                </c:pt>
                <c:pt idx="3">
                  <c:v>1.7897931853508602</c:v>
                </c:pt>
                <c:pt idx="4">
                  <c:v>1.8146573621797948</c:v>
                </c:pt>
                <c:pt idx="5">
                  <c:v>1.763783520196431</c:v>
                </c:pt>
                <c:pt idx="6">
                  <c:v>1.7460763178873315</c:v>
                </c:pt>
                <c:pt idx="7">
                  <c:v>1.7035940965752858</c:v>
                </c:pt>
                <c:pt idx="8">
                  <c:v>1.782320630406086</c:v>
                </c:pt>
                <c:pt idx="9">
                  <c:v>1.7824706848148864</c:v>
                </c:pt>
                <c:pt idx="10">
                  <c:v>1.7585977498816587</c:v>
                </c:pt>
                <c:pt idx="11">
                  <c:v>1.8173926280477766</c:v>
                </c:pt>
                <c:pt idx="12">
                  <c:v>1.8189394196733162</c:v>
                </c:pt>
                <c:pt idx="13">
                  <c:v>1.7763853981287485</c:v>
                </c:pt>
                <c:pt idx="14">
                  <c:v>1.735761485247683</c:v>
                </c:pt>
                <c:pt idx="15">
                  <c:v>1.8539245159290445</c:v>
                </c:pt>
                <c:pt idx="16">
                  <c:v>1.807178355910151</c:v>
                </c:pt>
                <c:pt idx="17">
                  <c:v>1.8264538147988487</c:v>
                </c:pt>
                <c:pt idx="18">
                  <c:v>1.7678313470921054</c:v>
                </c:pt>
                <c:pt idx="19">
                  <c:v>1.9100260824075077</c:v>
                </c:pt>
                <c:pt idx="20">
                  <c:v>1.857479518130787</c:v>
                </c:pt>
                <c:pt idx="21">
                  <c:v>1.765034524117466</c:v>
                </c:pt>
                <c:pt idx="22">
                  <c:v>1.7878493090304133</c:v>
                </c:pt>
                <c:pt idx="23">
                  <c:v>1.8026212942139985</c:v>
                </c:pt>
                <c:pt idx="24">
                  <c:v>1.8150385929206527</c:v>
                </c:pt>
                <c:pt idx="25">
                  <c:v>1.8195994789473677</c:v>
                </c:pt>
                <c:pt idx="26">
                  <c:v>1.7697046518158064</c:v>
                </c:pt>
                <c:pt idx="27">
                  <c:v>1.7365468600807445</c:v>
                </c:pt>
                <c:pt idx="28">
                  <c:v>1.798276616762394</c:v>
                </c:pt>
                <c:pt idx="29">
                  <c:v>1.8380707967911438</c:v>
                </c:pt>
                <c:pt idx="30">
                  <c:v>1.8037286801680197</c:v>
                </c:pt>
                <c:pt idx="31">
                  <c:v>1.7441857424786444</c:v>
                </c:pt>
                <c:pt idx="32">
                  <c:v>1.7559691227035872</c:v>
                </c:pt>
                <c:pt idx="33">
                  <c:v>1.7330552966081503</c:v>
                </c:pt>
                <c:pt idx="34">
                  <c:v>1.7735579087666624</c:v>
                </c:pt>
                <c:pt idx="35">
                  <c:v>1.7413831186385331</c:v>
                </c:pt>
                <c:pt idx="36">
                  <c:v>1.8062033075584056</c:v>
                </c:pt>
                <c:pt idx="37">
                  <c:v>1.8166515113848865</c:v>
                </c:pt>
                <c:pt idx="38">
                  <c:v>1.8228649143627158</c:v>
                </c:pt>
                <c:pt idx="39">
                  <c:v>1.8340295285418655</c:v>
                </c:pt>
                <c:pt idx="40">
                  <c:v>1.8020432036607528</c:v>
                </c:pt>
                <c:pt idx="41">
                  <c:v>1.8368796125163862</c:v>
                </c:pt>
                <c:pt idx="42">
                  <c:v>1.8507416438742794</c:v>
                </c:pt>
                <c:pt idx="43">
                  <c:v>1.8993734791270789</c:v>
                </c:pt>
                <c:pt idx="44">
                  <c:v>1.8063483355940233</c:v>
                </c:pt>
                <c:pt idx="45">
                  <c:v>1.802205568006931</c:v>
                </c:pt>
                <c:pt idx="46">
                  <c:v>1.772279243169314</c:v>
                </c:pt>
                <c:pt idx="47">
                  <c:v>1.7934775426293965</c:v>
                </c:pt>
                <c:pt idx="48">
                  <c:v>1.7699454033178403</c:v>
                </c:pt>
                <c:pt idx="49">
                  <c:v>1.8346267553002689</c:v>
                </c:pt>
                <c:pt idx="50">
                  <c:v>1.8046230672563826</c:v>
                </c:pt>
                <c:pt idx="51">
                  <c:v>1.7955306883666837</c:v>
                </c:pt>
              </c:numCache>
            </c:numRef>
          </c:xVal>
          <c:yVal>
            <c:numRef>
              <c:f>Sheet1!$B$109:$B$160</c:f>
              <c:numCache>
                <c:formatCode>General</c:formatCode>
                <c:ptCount val="52"/>
                <c:pt idx="0">
                  <c:v>0.19739264379907578</c:v>
                </c:pt>
                <c:pt idx="1">
                  <c:v>0.19980959181244792</c:v>
                </c:pt>
                <c:pt idx="2">
                  <c:v>0.21487342880151256</c:v>
                </c:pt>
                <c:pt idx="3">
                  <c:v>0.23045725360706337</c:v>
                </c:pt>
                <c:pt idx="4">
                  <c:v>0.21304999817124465</c:v>
                </c:pt>
                <c:pt idx="5">
                  <c:v>0.21920487456275622</c:v>
                </c:pt>
                <c:pt idx="6">
                  <c:v>0.23144147682639435</c:v>
                </c:pt>
                <c:pt idx="7">
                  <c:v>0.22823171821920257</c:v>
                </c:pt>
                <c:pt idx="8">
                  <c:v>0.21415770609318996</c:v>
                </c:pt>
                <c:pt idx="9">
                  <c:v>0.22384160593977726</c:v>
                </c:pt>
                <c:pt idx="10">
                  <c:v>0.22556691863050243</c:v>
                </c:pt>
                <c:pt idx="11">
                  <c:v>0.22960187948441171</c:v>
                </c:pt>
                <c:pt idx="12">
                  <c:v>0.2293176892608923</c:v>
                </c:pt>
                <c:pt idx="13">
                  <c:v>0.22594646732577767</c:v>
                </c:pt>
                <c:pt idx="14">
                  <c:v>0.22981667548034548</c:v>
                </c:pt>
                <c:pt idx="15">
                  <c:v>0.22243418542541016</c:v>
                </c:pt>
                <c:pt idx="16">
                  <c:v>0.2185996490632252</c:v>
                </c:pt>
                <c:pt idx="17">
                  <c:v>0.2288303426753886</c:v>
                </c:pt>
                <c:pt idx="18">
                  <c:v>0.22622338954935028</c:v>
                </c:pt>
                <c:pt idx="19">
                  <c:v>0.21929706436843524</c:v>
                </c:pt>
                <c:pt idx="20">
                  <c:v>0.2079446283478784</c:v>
                </c:pt>
                <c:pt idx="21">
                  <c:v>0.22280071813285457</c:v>
                </c:pt>
                <c:pt idx="22">
                  <c:v>0.21522564691336218</c:v>
                </c:pt>
                <c:pt idx="23">
                  <c:v>0.21599630143319465</c:v>
                </c:pt>
                <c:pt idx="24">
                  <c:v>0.21436473491617736</c:v>
                </c:pt>
                <c:pt idx="25">
                  <c:v>0.21877236936292055</c:v>
                </c:pt>
                <c:pt idx="26">
                  <c:v>0.2126831691365179</c:v>
                </c:pt>
                <c:pt idx="27">
                  <c:v>0.2159379197134756</c:v>
                </c:pt>
                <c:pt idx="28">
                  <c:v>0.20558855291576675</c:v>
                </c:pt>
                <c:pt idx="29">
                  <c:v>0.20860040567951318</c:v>
                </c:pt>
                <c:pt idx="30">
                  <c:v>0.2126890756302521</c:v>
                </c:pt>
                <c:pt idx="31">
                  <c:v>0.2061624146604384</c:v>
                </c:pt>
                <c:pt idx="32">
                  <c:v>0.20111818605373505</c:v>
                </c:pt>
                <c:pt idx="33">
                  <c:v>0.21381936887921654</c:v>
                </c:pt>
                <c:pt idx="34">
                  <c:v>0.23197430195206326</c:v>
                </c:pt>
                <c:pt idx="35">
                  <c:v>0.22070675759454433</c:v>
                </c:pt>
                <c:pt idx="36">
                  <c:v>0.21464275213172596</c:v>
                </c:pt>
                <c:pt idx="37">
                  <c:v>0.21891248788225962</c:v>
                </c:pt>
                <c:pt idx="38">
                  <c:v>0.21987066431510877</c:v>
                </c:pt>
                <c:pt idx="39">
                  <c:v>0.21826647564469914</c:v>
                </c:pt>
                <c:pt idx="40">
                  <c:v>0.20420127015144113</c:v>
                </c:pt>
                <c:pt idx="41">
                  <c:v>0.2056031641397495</c:v>
                </c:pt>
                <c:pt idx="42">
                  <c:v>0.20923467104281665</c:v>
                </c:pt>
                <c:pt idx="43">
                  <c:v>0.19402412280701756</c:v>
                </c:pt>
                <c:pt idx="44">
                  <c:v>0.19468152007905848</c:v>
                </c:pt>
                <c:pt idx="45">
                  <c:v>0.21423893109772071</c:v>
                </c:pt>
                <c:pt idx="46">
                  <c:v>0.23001549186676995</c:v>
                </c:pt>
                <c:pt idx="47">
                  <c:v>0.23053892215568864</c:v>
                </c:pt>
                <c:pt idx="48">
                  <c:v>0.21907957813998083</c:v>
                </c:pt>
                <c:pt idx="49">
                  <c:v>0.22517641829193755</c:v>
                </c:pt>
                <c:pt idx="50">
                  <c:v>0.22192789644742528</c:v>
                </c:pt>
                <c:pt idx="51">
                  <c:v>0.221749839727367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2507534795380688</c:v>
                </c:pt>
              </c:numCache>
            </c:numRef>
          </c:xVal>
          <c:yVal>
            <c:numRef>
              <c:f>Sheet1!$B$163:$B$164</c:f>
              <c:numCache>
                <c:formatCode>General</c:formatCode>
                <c:ptCount val="2"/>
                <c:pt idx="0">
                  <c:v>0.2650189013255837</c:v>
                </c:pt>
                <c:pt idx="1">
                  <c:v>0.265018901325583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2507534795380688</c:v>
                </c:pt>
                <c:pt idx="1">
                  <c:v>1.2507534795380688</c:v>
                </c:pt>
              </c:numCache>
            </c:numRef>
          </c:xVal>
          <c:yVal>
            <c:numRef>
              <c:f>Sheet1!$B$167:$B$168</c:f>
              <c:numCache>
                <c:formatCode>General</c:formatCode>
                <c:ptCount val="2"/>
                <c:pt idx="0">
                  <c:v>0.265018901325583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226554185259888</c:v>
                </c:pt>
              </c:numCache>
            </c:numRef>
          </c:xVal>
          <c:yVal>
            <c:numRef>
              <c:f>Sheet1!$B$171:$B$172</c:f>
              <c:numCache>
                <c:formatCode>General</c:formatCode>
                <c:ptCount val="2"/>
                <c:pt idx="0">
                  <c:v>0.2238631702834038</c:v>
                </c:pt>
                <c:pt idx="1">
                  <c:v>0.223863170283403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226554185259888</c:v>
                </c:pt>
                <c:pt idx="1">
                  <c:v>1.7226554185259888</c:v>
                </c:pt>
              </c:numCache>
            </c:numRef>
          </c:xVal>
          <c:yVal>
            <c:numRef>
              <c:f>Sheet1!$B$175:$B$176</c:f>
              <c:numCache>
                <c:formatCode>General</c:formatCode>
                <c:ptCount val="2"/>
                <c:pt idx="0">
                  <c:v>0.223863170283403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8298056918128764</c:v>
                </c:pt>
              </c:numCache>
            </c:numRef>
          </c:xVal>
          <c:yVal>
            <c:numRef>
              <c:f>Sheet1!$B$179:$B$180</c:f>
              <c:numCache>
                <c:formatCode>General</c:formatCode>
                <c:ptCount val="2"/>
                <c:pt idx="0">
                  <c:v>0.21451833089166714</c:v>
                </c:pt>
                <c:pt idx="1">
                  <c:v>0.2145183308916671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8298056918128764</c:v>
                </c:pt>
                <c:pt idx="1">
                  <c:v>1.8298056918128764</c:v>
                </c:pt>
              </c:numCache>
            </c:numRef>
          </c:xVal>
          <c:yVal>
            <c:numRef>
              <c:f>Sheet1!$B$183:$B$184</c:f>
              <c:numCache>
                <c:formatCode>General</c:formatCode>
                <c:ptCount val="2"/>
                <c:pt idx="0">
                  <c:v>0.2145183308916671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8505117835819243</c:v>
                </c:pt>
                <c:pt idx="1">
                  <c:v>1.840614972462059</c:v>
                </c:pt>
                <c:pt idx="2">
                  <c:v>1.811935454659377</c:v>
                </c:pt>
                <c:pt idx="3">
                  <c:v>1.7897931853508602</c:v>
                </c:pt>
                <c:pt idx="4">
                  <c:v>1.8146573621797948</c:v>
                </c:pt>
                <c:pt idx="5">
                  <c:v>1.763783520196431</c:v>
                </c:pt>
                <c:pt idx="6">
                  <c:v>1.7460763178873315</c:v>
                </c:pt>
                <c:pt idx="7">
                  <c:v>1.7035940965752858</c:v>
                </c:pt>
                <c:pt idx="8">
                  <c:v>1.782320630406086</c:v>
                </c:pt>
                <c:pt idx="9">
                  <c:v>1.7824706848148864</c:v>
                </c:pt>
                <c:pt idx="10">
                  <c:v>1.7585977498816587</c:v>
                </c:pt>
                <c:pt idx="11">
                  <c:v>1.8173926280477766</c:v>
                </c:pt>
                <c:pt idx="12">
                  <c:v>1.8189394196733162</c:v>
                </c:pt>
                <c:pt idx="13">
                  <c:v>1.7763853981287485</c:v>
                </c:pt>
                <c:pt idx="14">
                  <c:v>1.735761485247683</c:v>
                </c:pt>
                <c:pt idx="15">
                  <c:v>1.8539245159290445</c:v>
                </c:pt>
                <c:pt idx="16">
                  <c:v>1.807178355910151</c:v>
                </c:pt>
                <c:pt idx="17">
                  <c:v>1.8264538147988487</c:v>
                </c:pt>
                <c:pt idx="18">
                  <c:v>1.7678313470921054</c:v>
                </c:pt>
                <c:pt idx="19">
                  <c:v>1.9100260824075077</c:v>
                </c:pt>
                <c:pt idx="20">
                  <c:v>1.857479518130787</c:v>
                </c:pt>
                <c:pt idx="21">
                  <c:v>1.765034524117466</c:v>
                </c:pt>
                <c:pt idx="22">
                  <c:v>1.7878493090304133</c:v>
                </c:pt>
                <c:pt idx="23">
                  <c:v>1.8026212942139985</c:v>
                </c:pt>
                <c:pt idx="24">
                  <c:v>1.8150385929206527</c:v>
                </c:pt>
                <c:pt idx="25">
                  <c:v>1.8195994789473677</c:v>
                </c:pt>
                <c:pt idx="26">
                  <c:v>1.7697046518158064</c:v>
                </c:pt>
                <c:pt idx="27">
                  <c:v>1.7365468600807445</c:v>
                </c:pt>
                <c:pt idx="28">
                  <c:v>1.798276616762394</c:v>
                </c:pt>
                <c:pt idx="29">
                  <c:v>1.8380707967911438</c:v>
                </c:pt>
                <c:pt idx="30">
                  <c:v>1.8037286801680197</c:v>
                </c:pt>
                <c:pt idx="31">
                  <c:v>1.7441857424786444</c:v>
                </c:pt>
                <c:pt idx="32">
                  <c:v>1.7559691227035872</c:v>
                </c:pt>
                <c:pt idx="33">
                  <c:v>1.7330552966081503</c:v>
                </c:pt>
                <c:pt idx="34">
                  <c:v>1.7735579087666624</c:v>
                </c:pt>
                <c:pt idx="35">
                  <c:v>1.7413831186385331</c:v>
                </c:pt>
                <c:pt idx="36">
                  <c:v>1.8062033075584056</c:v>
                </c:pt>
                <c:pt idx="37">
                  <c:v>1.8166515113848865</c:v>
                </c:pt>
                <c:pt idx="38">
                  <c:v>1.8228649143627158</c:v>
                </c:pt>
                <c:pt idx="39">
                  <c:v>1.8340295285418655</c:v>
                </c:pt>
                <c:pt idx="40">
                  <c:v>1.8020432036607528</c:v>
                </c:pt>
                <c:pt idx="41">
                  <c:v>1.8368796125163862</c:v>
                </c:pt>
                <c:pt idx="42">
                  <c:v>1.8507416438742794</c:v>
                </c:pt>
                <c:pt idx="43">
                  <c:v>1.8993734791270789</c:v>
                </c:pt>
                <c:pt idx="44">
                  <c:v>1.8063483355940233</c:v>
                </c:pt>
                <c:pt idx="45">
                  <c:v>1.802205568006931</c:v>
                </c:pt>
                <c:pt idx="46">
                  <c:v>1.772279243169314</c:v>
                </c:pt>
                <c:pt idx="47">
                  <c:v>1.7934775426293965</c:v>
                </c:pt>
                <c:pt idx="48">
                  <c:v>1.7699454033178403</c:v>
                </c:pt>
                <c:pt idx="49">
                  <c:v>1.8346267553002689</c:v>
                </c:pt>
                <c:pt idx="50">
                  <c:v>1.8046230672563826</c:v>
                </c:pt>
                <c:pt idx="51">
                  <c:v>1.7955306883666837</c:v>
                </c:pt>
                <c:pt idx="52">
                  <c:v>1.7226554185259888</c:v>
                </c:pt>
                <c:pt idx="53">
                  <c:v>1.2507534795380688</c:v>
                </c:pt>
                <c:pt idx="54">
                  <c:v>1.8298056918128764</c:v>
                </c:pt>
              </c:numCache>
            </c:numRef>
          </c:xVal>
          <c:yVal>
            <c:numRef>
              <c:f>Sheet1!$B$187:$B$241</c:f>
              <c:numCache>
                <c:formatCode>General</c:formatCode>
                <c:ptCount val="55"/>
                <c:pt idx="0">
                  <c:v>0.21271250160092664</c:v>
                </c:pt>
                <c:pt idx="1">
                  <c:v>0.21357562688813775</c:v>
                </c:pt>
                <c:pt idx="2">
                  <c:v>0.21607683831277824</c:v>
                </c:pt>
                <c:pt idx="3">
                  <c:v>0.21800792018601498</c:v>
                </c:pt>
                <c:pt idx="4">
                  <c:v>0.21583945405012347</c:v>
                </c:pt>
                <c:pt idx="5">
                  <c:v>0.2202762871816849</c:v>
                </c:pt>
                <c:pt idx="6">
                  <c:v>0.221820575932237</c:v>
                </c:pt>
                <c:pt idx="7">
                  <c:v>0.22552555514495787</c:v>
                </c:pt>
                <c:pt idx="8">
                  <c:v>0.21865962011792162</c:v>
                </c:pt>
                <c:pt idx="9">
                  <c:v>0.2186465335031399</c:v>
                </c:pt>
                <c:pt idx="10">
                  <c:v>0.22072855099051564</c:v>
                </c:pt>
                <c:pt idx="11">
                  <c:v>0.21560090477305768</c:v>
                </c:pt>
                <c:pt idx="12">
                  <c:v>0.21546600526352075</c:v>
                </c:pt>
                <c:pt idx="13">
                  <c:v>0.21917724635146252</c:v>
                </c:pt>
                <c:pt idx="14">
                  <c:v>0.2227201579063499</c:v>
                </c:pt>
                <c:pt idx="15">
                  <c:v>0.21241486880268415</c:v>
                </c:pt>
                <c:pt idx="16">
                  <c:v>0.21649171661797048</c:v>
                </c:pt>
                <c:pt idx="17">
                  <c:v>0.2148106563463403</c:v>
                </c:pt>
                <c:pt idx="18">
                  <c:v>0.2199232662227523</c:v>
                </c:pt>
                <c:pt idx="19">
                  <c:v>0.20752211293483486</c:v>
                </c:pt>
                <c:pt idx="20">
                  <c:v>0.21210482829981386</c:v>
                </c:pt>
                <c:pt idx="21">
                  <c:v>0.22016718404678945</c:v>
                </c:pt>
                <c:pt idx="22">
                  <c:v>0.21817745043036013</c:v>
                </c:pt>
                <c:pt idx="23">
                  <c:v>0.21688914919879798</c:v>
                </c:pt>
                <c:pt idx="24">
                  <c:v>0.215806205977718</c:v>
                </c:pt>
                <c:pt idx="25">
                  <c:v>0.21540843986759756</c:v>
                </c:pt>
                <c:pt idx="26">
                  <c:v>0.21975989070127416</c:v>
                </c:pt>
                <c:pt idx="27">
                  <c:v>0.22265166343170104</c:v>
                </c:pt>
                <c:pt idx="28">
                  <c:v>0.21726805922626416</c:v>
                </c:pt>
                <c:pt idx="29">
                  <c:v>0.21379751071819958</c:v>
                </c:pt>
                <c:pt idx="30">
                  <c:v>0.21679257134073424</c:v>
                </c:pt>
                <c:pt idx="31">
                  <c:v>0.2219854576727142</c:v>
                </c:pt>
                <c:pt idx="32">
                  <c:v>0.22095780004463672</c:v>
                </c:pt>
                <c:pt idx="33">
                  <c:v>0.2229561712866655</c:v>
                </c:pt>
                <c:pt idx="34">
                  <c:v>0.21942383866672235</c:v>
                </c:pt>
                <c:pt idx="35">
                  <c:v>0.22222988140452465</c:v>
                </c:pt>
                <c:pt idx="36">
                  <c:v>0.21657675298761037</c:v>
                </c:pt>
                <c:pt idx="37">
                  <c:v>0.21566553938361724</c:v>
                </c:pt>
                <c:pt idx="38">
                  <c:v>0.21512365319776972</c:v>
                </c:pt>
                <c:pt idx="39">
                  <c:v>0.21414995968141703</c:v>
                </c:pt>
                <c:pt idx="40">
                  <c:v>0.21693956590057809</c:v>
                </c:pt>
                <c:pt idx="41">
                  <c:v>0.21390139683432519</c:v>
                </c:pt>
                <c:pt idx="42">
                  <c:v>0.21269245491836852</c:v>
                </c:pt>
                <c:pt idx="43">
                  <c:v>0.20845115271892353</c:v>
                </c:pt>
                <c:pt idx="44">
                  <c:v>0.21656410473522078</c:v>
                </c:pt>
                <c:pt idx="45">
                  <c:v>0.21692540570582133</c:v>
                </c:pt>
                <c:pt idx="46">
                  <c:v>0.21953535424457785</c:v>
                </c:pt>
                <c:pt idx="47">
                  <c:v>0.21768659830811818</c:v>
                </c:pt>
                <c:pt idx="48">
                  <c:v>0.21973889416947998</c:v>
                </c:pt>
                <c:pt idx="49">
                  <c:v>0.21409787406402636</c:v>
                </c:pt>
                <c:pt idx="50">
                  <c:v>0.2167145696386535</c:v>
                </c:pt>
                <c:pt idx="51">
                  <c:v>0.21750753840864961</c:v>
                </c:pt>
                <c:pt idx="52">
                  <c:v>0.2238631702834038</c:v>
                </c:pt>
                <c:pt idx="53">
                  <c:v>0.2650189013255837</c:v>
                </c:pt>
                <c:pt idx="54">
                  <c:v>0.2145183308916671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079910985231644"/>
          <c:min val="0.133683289588801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9058</c:v>
                </c:pt>
                <c:pt idx="1">
                  <c:v>855.4048</c:v>
                </c:pt>
                <c:pt idx="2">
                  <c:v>886.2466</c:v>
                </c:pt>
                <c:pt idx="3">
                  <c:v>899.1541</c:v>
                </c:pt>
                <c:pt idx="4">
                  <c:v>900.0859</c:v>
                </c:pt>
                <c:pt idx="5">
                  <c:v>894.1163</c:v>
                </c:pt>
                <c:pt idx="6">
                  <c:v>846.9098</c:v>
                </c:pt>
                <c:pt idx="7">
                  <c:v>862.7659</c:v>
                </c:pt>
                <c:pt idx="8">
                  <c:v>861.1043</c:v>
                </c:pt>
                <c:pt idx="9">
                  <c:v>843.2709</c:v>
                </c:pt>
                <c:pt idx="10">
                  <c:v>833.2302</c:v>
                </c:pt>
                <c:pt idx="11">
                  <c:v>889.2521</c:v>
                </c:pt>
                <c:pt idx="12">
                  <c:v>890.9984</c:v>
                </c:pt>
                <c:pt idx="13">
                  <c:v>893.6811</c:v>
                </c:pt>
                <c:pt idx="14">
                  <c:v>884.5583</c:v>
                </c:pt>
                <c:pt idx="15">
                  <c:v>903.0039</c:v>
                </c:pt>
                <c:pt idx="16">
                  <c:v>925.6963</c:v>
                </c:pt>
                <c:pt idx="17">
                  <c:v>906.9178</c:v>
                </c:pt>
                <c:pt idx="18">
                  <c:v>966.8314</c:v>
                </c:pt>
                <c:pt idx="19">
                  <c:v>987.056</c:v>
                </c:pt>
                <c:pt idx="20">
                  <c:v>1019.7402</c:v>
                </c:pt>
                <c:pt idx="21">
                  <c:v>1035.4882</c:v>
                </c:pt>
                <c:pt idx="22">
                  <c:v>1008.834</c:v>
                </c:pt>
                <c:pt idx="23">
                  <c:v>1000.987</c:v>
                </c:pt>
                <c:pt idx="24">
                  <c:v>1007.2607</c:v>
                </c:pt>
                <c:pt idx="25">
                  <c:v>983.3374</c:v>
                </c:pt>
                <c:pt idx="26">
                  <c:v>966.4006</c:v>
                </c:pt>
                <c:pt idx="27">
                  <c:v>988.7948</c:v>
                </c:pt>
                <c:pt idx="28">
                  <c:v>987.2651</c:v>
                </c:pt>
                <c:pt idx="29">
                  <c:v>964.9211</c:v>
                </c:pt>
                <c:pt idx="30">
                  <c:v>966.6746</c:v>
                </c:pt>
                <c:pt idx="31">
                  <c:v>953.9414</c:v>
                </c:pt>
                <c:pt idx="32">
                  <c:v>943.1541</c:v>
                </c:pt>
                <c:pt idx="33">
                  <c:v>891.0869</c:v>
                </c:pt>
                <c:pt idx="34">
                  <c:v>912.5349</c:v>
                </c:pt>
                <c:pt idx="35">
                  <c:v>944.06</c:v>
                </c:pt>
                <c:pt idx="36">
                  <c:v>1018.6315</c:v>
                </c:pt>
                <c:pt idx="37">
                  <c:v>1034.4815</c:v>
                </c:pt>
                <c:pt idx="38">
                  <c:v>1086.5919</c:v>
                </c:pt>
                <c:pt idx="39">
                  <c:v>1102.9389</c:v>
                </c:pt>
                <c:pt idx="40">
                  <c:v>1093.293</c:v>
                </c:pt>
                <c:pt idx="41">
                  <c:v>1119.911</c:v>
                </c:pt>
                <c:pt idx="42">
                  <c:v>1143.8659</c:v>
                </c:pt>
                <c:pt idx="43">
                  <c:v>1150.461</c:v>
                </c:pt>
                <c:pt idx="44">
                  <c:v>1088.7683</c:v>
                </c:pt>
                <c:pt idx="45">
                  <c:v>1053.1369</c:v>
                </c:pt>
                <c:pt idx="46">
                  <c:v>1044.7499</c:v>
                </c:pt>
                <c:pt idx="47">
                  <c:v>1026.7838</c:v>
                </c:pt>
                <c:pt idx="48">
                  <c:v>1034.7776</c:v>
                </c:pt>
                <c:pt idx="49">
                  <c:v>1000.8771</c:v>
                </c:pt>
                <c:pt idx="50">
                  <c:v>999.0031</c:v>
                </c:pt>
                <c:pt idx="51">
                  <c:v>1016.9488</c:v>
                </c:pt>
                <c:pt idx="52">
                  <c:v>1024.951</c:v>
                </c:pt>
                <c:pt idx="53">
                  <c:v>1085.3183</c:v>
                </c:pt>
                <c:pt idx="54">
                  <c:v>1079.9166</c:v>
                </c:pt>
                <c:pt idx="55">
                  <c:v>1093.3052</c:v>
                </c:pt>
                <c:pt idx="56">
                  <c:v>1103.5398</c:v>
                </c:pt>
                <c:pt idx="57">
                  <c:v>1076.5338</c:v>
                </c:pt>
                <c:pt idx="58">
                  <c:v>1051.5517</c:v>
                </c:pt>
                <c:pt idx="59">
                  <c:v>1046.739</c:v>
                </c:pt>
                <c:pt idx="60">
                  <c:v>1061.4004</c:v>
                </c:pt>
                <c:pt idx="61">
                  <c:v>1083.228</c:v>
                </c:pt>
                <c:pt idx="62">
                  <c:v>1030.826</c:v>
                </c:pt>
                <c:pt idx="63">
                  <c:v>1057.0364</c:v>
                </c:pt>
                <c:pt idx="64">
                  <c:v>1063.8642</c:v>
                </c:pt>
                <c:pt idx="65">
                  <c:v>1053.6825</c:v>
                </c:pt>
                <c:pt idx="66">
                  <c:v>1056.3771</c:v>
                </c:pt>
                <c:pt idx="67">
                  <c:v>1076.0802</c:v>
                </c:pt>
                <c:pt idx="68">
                  <c:v>1098.3827</c:v>
                </c:pt>
                <c:pt idx="69">
                  <c:v>1127.0407</c:v>
                </c:pt>
                <c:pt idx="70">
                  <c:v>1109.7676</c:v>
                </c:pt>
                <c:pt idx="71">
                  <c:v>1175.1428</c:v>
                </c:pt>
                <c:pt idx="72">
                  <c:v>1271.2621</c:v>
                </c:pt>
                <c:pt idx="73">
                  <c:v>1248.5424</c:v>
                </c:pt>
                <c:pt idx="74">
                  <c:v>1233.5635</c:v>
                </c:pt>
                <c:pt idx="75">
                  <c:v>1189.7679</c:v>
                </c:pt>
                <c:pt idx="76">
                  <c:v>1162.9076</c:v>
                </c:pt>
                <c:pt idx="77">
                  <c:v>1167.2162</c:v>
                </c:pt>
                <c:pt idx="78">
                  <c:v>1218.3745</c:v>
                </c:pt>
                <c:pt idx="79">
                  <c:v>1196.5709</c:v>
                </c:pt>
                <c:pt idx="80">
                  <c:v>1209.5562</c:v>
                </c:pt>
                <c:pt idx="81">
                  <c:v>1194.4479</c:v>
                </c:pt>
                <c:pt idx="82">
                  <c:v>1197.436</c:v>
                </c:pt>
                <c:pt idx="83">
                  <c:v>1157.3818</c:v>
                </c:pt>
                <c:pt idx="84">
                  <c:v>1179.0934</c:v>
                </c:pt>
                <c:pt idx="85">
                  <c:v>1161.1989</c:v>
                </c:pt>
                <c:pt idx="86">
                  <c:v>1150.8049</c:v>
                </c:pt>
                <c:pt idx="87">
                  <c:v>1151.7458</c:v>
                </c:pt>
                <c:pt idx="88">
                  <c:v>1202.4743</c:v>
                </c:pt>
                <c:pt idx="89">
                  <c:v>1193.372</c:v>
                </c:pt>
                <c:pt idx="90">
                  <c:v>1263.7689</c:v>
                </c:pt>
                <c:pt idx="91">
                  <c:v>1261.18</c:v>
                </c:pt>
                <c:pt idx="92">
                  <c:v>1201.6016</c:v>
                </c:pt>
                <c:pt idx="93">
                  <c:v>1244.2375</c:v>
                </c:pt>
                <c:pt idx="94">
                  <c:v>1221.2497</c:v>
                </c:pt>
                <c:pt idx="95">
                  <c:v>1173.0264</c:v>
                </c:pt>
                <c:pt idx="96">
                  <c:v>1141.2002</c:v>
                </c:pt>
                <c:pt idx="97">
                  <c:v>1128.5383</c:v>
                </c:pt>
                <c:pt idx="98">
                  <c:v>1117.49</c:v>
                </c:pt>
                <c:pt idx="99">
                  <c:v>1084.1234</c:v>
                </c:pt>
                <c:pt idx="100">
                  <c:v>1089.073</c:v>
                </c:pt>
                <c:pt idx="101">
                  <c:v>1089.4279</c:v>
                </c:pt>
                <c:pt idx="102">
                  <c:v>1110.0216</c:v>
                </c:pt>
                <c:pt idx="103">
                  <c:v>1102.4859</c:v>
                </c:pt>
                <c:pt idx="104">
                  <c:v>1145.2964</c:v>
                </c:pt>
              </c:numCache>
            </c:numRef>
          </c:xVal>
          <c:yVal>
            <c:numRef>
              <c:f>Sheet1!$B$2:$B$106</c:f>
              <c:numCache>
                <c:formatCode>General</c:formatCode>
                <c:ptCount val="105"/>
                <c:pt idx="0">
                  <c:v>0.2517147485609899</c:v>
                </c:pt>
                <c:pt idx="1">
                  <c:v>0.24949245136761286</c:v>
                </c:pt>
                <c:pt idx="2">
                  <c:v>0.251412919108214</c:v>
                </c:pt>
                <c:pt idx="3">
                  <c:v>0.25002788829807016</c:v>
                </c:pt>
                <c:pt idx="4">
                  <c:v>0.254451136413593</c:v>
                </c:pt>
                <c:pt idx="5">
                  <c:v>0.26059188630026087</c:v>
                </c:pt>
                <c:pt idx="6">
                  <c:v>0.2871214728148658</c:v>
                </c:pt>
                <c:pt idx="7">
                  <c:v>0.29233259154359703</c:v>
                </c:pt>
                <c:pt idx="8">
                  <c:v>0.28802501752304954</c:v>
                </c:pt>
                <c:pt idx="9">
                  <c:v>0.27122449769656615</c:v>
                </c:pt>
                <c:pt idx="10">
                  <c:v>0.268189541249764</c:v>
                </c:pt>
                <c:pt idx="11">
                  <c:v>0.24338437377306635</c:v>
                </c:pt>
                <c:pt idx="12">
                  <c:v>0.23163717624647398</c:v>
                </c:pt>
                <c:pt idx="13">
                  <c:v>0.21940724804332504</c:v>
                </c:pt>
                <c:pt idx="14">
                  <c:v>0.2081917497899083</c:v>
                </c:pt>
                <c:pt idx="15">
                  <c:v>0.20032310177705978</c:v>
                </c:pt>
                <c:pt idx="16">
                  <c:v>0.19135243841126193</c:v>
                </c:pt>
                <c:pt idx="17">
                  <c:v>0.1893611187277214</c:v>
                </c:pt>
                <c:pt idx="18">
                  <c:v>0.17375971309025703</c:v>
                </c:pt>
                <c:pt idx="19">
                  <c:v>0.17545871559633028</c:v>
                </c:pt>
                <c:pt idx="20">
                  <c:v>0.17418820606849234</c:v>
                </c:pt>
                <c:pt idx="21">
                  <c:v>0.18668695321414985</c:v>
                </c:pt>
                <c:pt idx="22">
                  <c:v>0.20883505005077616</c:v>
                </c:pt>
                <c:pt idx="23">
                  <c:v>0.21617312072892939</c:v>
                </c:pt>
                <c:pt idx="24">
                  <c:v>0.21955173385959967</c:v>
                </c:pt>
                <c:pt idx="25">
                  <c:v>0.22786553260429324</c:v>
                </c:pt>
                <c:pt idx="26">
                  <c:v>0.248124210682713</c:v>
                </c:pt>
                <c:pt idx="27">
                  <c:v>0.2370037132247929</c:v>
                </c:pt>
                <c:pt idx="28">
                  <c:v>0.24446064139941692</c:v>
                </c:pt>
                <c:pt idx="29">
                  <c:v>0.23986167871738448</c:v>
                </c:pt>
                <c:pt idx="30">
                  <c:v>0.24341403364792777</c:v>
                </c:pt>
                <c:pt idx="31">
                  <c:v>0.25345477386934673</c:v>
                </c:pt>
                <c:pt idx="32">
                  <c:v>0.25874818937256994</c:v>
                </c:pt>
                <c:pt idx="33">
                  <c:v>0.25585032437442073</c:v>
                </c:pt>
                <c:pt idx="34">
                  <c:v>0.250102396067991</c:v>
                </c:pt>
                <c:pt idx="35">
                  <c:v>0.2557345971563981</c:v>
                </c:pt>
                <c:pt idx="36">
                  <c:v>0.23196812562254643</c:v>
                </c:pt>
                <c:pt idx="37">
                  <c:v>0.22798857066914746</c:v>
                </c:pt>
                <c:pt idx="38">
                  <c:v>0.21615913890592003</c:v>
                </c:pt>
                <c:pt idx="39">
                  <c:v>0.2071938378913151</c:v>
                </c:pt>
                <c:pt idx="40">
                  <c:v>0.21045714285714287</c:v>
                </c:pt>
                <c:pt idx="41">
                  <c:v>0.2072407910532634</c:v>
                </c:pt>
                <c:pt idx="42">
                  <c:v>0.20224290924927868</c:v>
                </c:pt>
                <c:pt idx="43">
                  <c:v>0.1946233411397346</c:v>
                </c:pt>
                <c:pt idx="44">
                  <c:v>0.19609193962547755</c:v>
                </c:pt>
                <c:pt idx="45">
                  <c:v>0.21453432886094426</c:v>
                </c:pt>
                <c:pt idx="46">
                  <c:v>0.21987389386518008</c:v>
                </c:pt>
                <c:pt idx="47">
                  <c:v>0.21423830069697974</c:v>
                </c:pt>
                <c:pt idx="48">
                  <c:v>0.21207664255636371</c:v>
                </c:pt>
                <c:pt idx="49">
                  <c:v>0.2241240064043527</c:v>
                </c:pt>
                <c:pt idx="50">
                  <c:v>0.21729131175468483</c:v>
                </c:pt>
                <c:pt idx="51">
                  <c:v>0.2069052783803326</c:v>
                </c:pt>
                <c:pt idx="52">
                  <c:v>0.20980577491843766</c:v>
                </c:pt>
                <c:pt idx="53">
                  <c:v>0.20395344540920007</c:v>
                </c:pt>
                <c:pt idx="54">
                  <c:v>0.20795081967213114</c:v>
                </c:pt>
                <c:pt idx="55">
                  <c:v>0.2052563079894202</c:v>
                </c:pt>
                <c:pt idx="56">
                  <c:v>0.20678541875353862</c:v>
                </c:pt>
                <c:pt idx="57">
                  <c:v>0.20438625444676717</c:v>
                </c:pt>
                <c:pt idx="58">
                  <c:v>0.21921198969211989</c:v>
                </c:pt>
                <c:pt idx="59">
                  <c:v>0.21826577276561737</c:v>
                </c:pt>
                <c:pt idx="60">
                  <c:v>0.22469086656880552</c:v>
                </c:pt>
                <c:pt idx="61">
                  <c:v>0.2215318067904837</c:v>
                </c:pt>
                <c:pt idx="62">
                  <c:v>0.23122205423488917</c:v>
                </c:pt>
                <c:pt idx="63">
                  <c:v>0.23903751307726798</c:v>
                </c:pt>
                <c:pt idx="64">
                  <c:v>0.22433045579093133</c:v>
                </c:pt>
                <c:pt idx="65">
                  <c:v>0.2142171910974674</c:v>
                </c:pt>
                <c:pt idx="66">
                  <c:v>0.21597421203438397</c:v>
                </c:pt>
                <c:pt idx="67">
                  <c:v>0.20335110434120335</c:v>
                </c:pt>
                <c:pt idx="68">
                  <c:v>0.19194123819517314</c:v>
                </c:pt>
                <c:pt idx="69">
                  <c:v>0.186231725943705</c:v>
                </c:pt>
                <c:pt idx="70">
                  <c:v>0.18707821082919174</c:v>
                </c:pt>
                <c:pt idx="71">
                  <c:v>0.18971229293809938</c:v>
                </c:pt>
                <c:pt idx="72">
                  <c:v>0.1793250095414645</c:v>
                </c:pt>
                <c:pt idx="73">
                  <c:v>0.18501574475669894</c:v>
                </c:pt>
                <c:pt idx="74">
                  <c:v>0.18769759831382773</c:v>
                </c:pt>
                <c:pt idx="75">
                  <c:v>0.19967866323907454</c:v>
                </c:pt>
                <c:pt idx="76">
                  <c:v>0.20348151744226367</c:v>
                </c:pt>
                <c:pt idx="77">
                  <c:v>0.19437803376077664</c:v>
                </c:pt>
                <c:pt idx="78">
                  <c:v>0.19729144963538744</c:v>
                </c:pt>
                <c:pt idx="79">
                  <c:v>0.17318884206301424</c:v>
                </c:pt>
                <c:pt idx="80">
                  <c:v>0.16710411198600175</c:v>
                </c:pt>
                <c:pt idx="81">
                  <c:v>0.1803864168618267</c:v>
                </c:pt>
                <c:pt idx="82">
                  <c:v>0.17975474141214107</c:v>
                </c:pt>
                <c:pt idx="83">
                  <c:v>0.18402356610639403</c:v>
                </c:pt>
                <c:pt idx="84">
                  <c:v>0.18698972873321043</c:v>
                </c:pt>
                <c:pt idx="85">
                  <c:v>0.19571842145360355</c:v>
                </c:pt>
                <c:pt idx="86">
                  <c:v>0.207593915648767</c:v>
                </c:pt>
                <c:pt idx="87">
                  <c:v>0.2173268956435861</c:v>
                </c:pt>
                <c:pt idx="88">
                  <c:v>0.20523153057617533</c:v>
                </c:pt>
                <c:pt idx="89">
                  <c:v>0.20932949147262675</c:v>
                </c:pt>
                <c:pt idx="90">
                  <c:v>0.19498162058494486</c:v>
                </c:pt>
                <c:pt idx="91">
                  <c:v>0.1831610044313146</c:v>
                </c:pt>
                <c:pt idx="92">
                  <c:v>0.19462962962962962</c:v>
                </c:pt>
                <c:pt idx="93">
                  <c:v>0.18998903909389842</c:v>
                </c:pt>
                <c:pt idx="94">
                  <c:v>0.19740048740861088</c:v>
                </c:pt>
                <c:pt idx="95">
                  <c:v>0.19975149105367793</c:v>
                </c:pt>
                <c:pt idx="96">
                  <c:v>0.19698046782437967</c:v>
                </c:pt>
                <c:pt idx="97">
                  <c:v>0.202424676759533</c:v>
                </c:pt>
                <c:pt idx="98">
                  <c:v>0.2040774352777849</c:v>
                </c:pt>
                <c:pt idx="99">
                  <c:v>0.20725569996936677</c:v>
                </c:pt>
                <c:pt idx="100">
                  <c:v>0.208160385871081</c:v>
                </c:pt>
                <c:pt idx="101">
                  <c:v>0.21458165496604903</c:v>
                </c:pt>
                <c:pt idx="102">
                  <c:v>0.20686988726547556</c:v>
                </c:pt>
                <c:pt idx="103">
                  <c:v>0.201168762174606</c:v>
                </c:pt>
                <c:pt idx="104">
                  <c:v>0.198169181217155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7.9764</c:v>
                </c:pt>
                <c:pt idx="1">
                  <c:v>1181.183</c:v>
                </c:pt>
                <c:pt idx="2">
                  <c:v>1188.5358</c:v>
                </c:pt>
                <c:pt idx="3">
                  <c:v>1167.6881</c:v>
                </c:pt>
                <c:pt idx="4">
                  <c:v>1194.4699</c:v>
                </c:pt>
                <c:pt idx="5">
                  <c:v>1189.2709</c:v>
                </c:pt>
                <c:pt idx="6">
                  <c:v>1098.8734</c:v>
                </c:pt>
                <c:pt idx="7">
                  <c:v>1135.7131</c:v>
                </c:pt>
                <c:pt idx="8">
                  <c:v>1184.2592</c:v>
                </c:pt>
                <c:pt idx="9">
                  <c:v>1143.1849</c:v>
                </c:pt>
                <c:pt idx="10">
                  <c:v>1162.0828</c:v>
                </c:pt>
                <c:pt idx="11">
                  <c:v>1029.1262</c:v>
                </c:pt>
                <c:pt idx="12">
                  <c:v>1065.5931</c:v>
                </c:pt>
                <c:pt idx="13">
                  <c:v>1131.6266</c:v>
                </c:pt>
                <c:pt idx="14">
                  <c:v>1111.3659</c:v>
                </c:pt>
                <c:pt idx="15">
                  <c:v>1139.3358</c:v>
                </c:pt>
                <c:pt idx="16">
                  <c:v>1174.9249</c:v>
                </c:pt>
                <c:pt idx="17">
                  <c:v>1123.6132</c:v>
                </c:pt>
                <c:pt idx="18">
                  <c:v>1126.9817</c:v>
                </c:pt>
                <c:pt idx="19">
                  <c:v>1231.8824</c:v>
                </c:pt>
                <c:pt idx="20">
                  <c:v>1239.5141</c:v>
                </c:pt>
                <c:pt idx="21">
                  <c:v>1157.2583</c:v>
                </c:pt>
                <c:pt idx="22">
                  <c:v>1193.3061</c:v>
                </c:pt>
                <c:pt idx="23">
                  <c:v>1216.2924</c:v>
                </c:pt>
                <c:pt idx="24">
                  <c:v>1225.705</c:v>
                </c:pt>
                <c:pt idx="25">
                  <c:v>1180.2106</c:v>
                </c:pt>
                <c:pt idx="26">
                  <c:v>1182.9681</c:v>
                </c:pt>
                <c:pt idx="27">
                  <c:v>1178.6949</c:v>
                </c:pt>
                <c:pt idx="28">
                  <c:v>1216.045</c:v>
                </c:pt>
                <c:pt idx="29">
                  <c:v>1228.6814</c:v>
                </c:pt>
                <c:pt idx="30">
                  <c:v>1214.2375</c:v>
                </c:pt>
                <c:pt idx="31">
                  <c:v>1200.732</c:v>
                </c:pt>
                <c:pt idx="32">
                  <c:v>1219.9822</c:v>
                </c:pt>
                <c:pt idx="33">
                  <c:v>1218.2559</c:v>
                </c:pt>
                <c:pt idx="34">
                  <c:v>1230.6016</c:v>
                </c:pt>
                <c:pt idx="35">
                  <c:v>1260.6205</c:v>
                </c:pt>
                <c:pt idx="36">
                  <c:v>1294.8406</c:v>
                </c:pt>
                <c:pt idx="37">
                  <c:v>1262.0229</c:v>
                </c:pt>
                <c:pt idx="38">
                  <c:v>1284.5709</c:v>
                </c:pt>
                <c:pt idx="39">
                  <c:v>1229.5002</c:v>
                </c:pt>
                <c:pt idx="40">
                  <c:v>1263.8093</c:v>
                </c:pt>
                <c:pt idx="41">
                  <c:v>1296.2898</c:v>
                </c:pt>
                <c:pt idx="42">
                  <c:v>1286.5462</c:v>
                </c:pt>
                <c:pt idx="43">
                  <c:v>1308.1139</c:v>
                </c:pt>
                <c:pt idx="44">
                  <c:v>1226.2374</c:v>
                </c:pt>
                <c:pt idx="45">
                  <c:v>1174.8825</c:v>
                </c:pt>
                <c:pt idx="46">
                  <c:v>1167.5306</c:v>
                </c:pt>
                <c:pt idx="47">
                  <c:v>1142.6692</c:v>
                </c:pt>
                <c:pt idx="48">
                  <c:v>1143.4996</c:v>
                </c:pt>
                <c:pt idx="49">
                  <c:v>1165.05</c:v>
                </c:pt>
                <c:pt idx="50">
                  <c:v>1122.2617</c:v>
                </c:pt>
                <c:pt idx="51">
                  <c:v>1080.1198</c:v>
                </c:pt>
              </c:numCache>
            </c:numRef>
          </c:xVal>
          <c:yVal>
            <c:numRef>
              <c:f>Sheet1!$B$109:$B$160</c:f>
              <c:numCache>
                <c:formatCode>General</c:formatCode>
                <c:ptCount val="52"/>
                <c:pt idx="0">
                  <c:v>0.19739264379907578</c:v>
                </c:pt>
                <c:pt idx="1">
                  <c:v>0.19980959181244792</c:v>
                </c:pt>
                <c:pt idx="2">
                  <c:v>0.21487342880151256</c:v>
                </c:pt>
                <c:pt idx="3">
                  <c:v>0.23045725360706337</c:v>
                </c:pt>
                <c:pt idx="4">
                  <c:v>0.21304999817124465</c:v>
                </c:pt>
                <c:pt idx="5">
                  <c:v>0.21920487456275622</c:v>
                </c:pt>
                <c:pt idx="6">
                  <c:v>0.23144147682639435</c:v>
                </c:pt>
                <c:pt idx="7">
                  <c:v>0.22823171821920257</c:v>
                </c:pt>
                <c:pt idx="8">
                  <c:v>0.21415770609318996</c:v>
                </c:pt>
                <c:pt idx="9">
                  <c:v>0.22384160593977726</c:v>
                </c:pt>
                <c:pt idx="10">
                  <c:v>0.22556691863050243</c:v>
                </c:pt>
                <c:pt idx="11">
                  <c:v>0.22960187948441171</c:v>
                </c:pt>
                <c:pt idx="12">
                  <c:v>0.2293176892608923</c:v>
                </c:pt>
                <c:pt idx="13">
                  <c:v>0.22594646732577767</c:v>
                </c:pt>
                <c:pt idx="14">
                  <c:v>0.22981667548034548</c:v>
                </c:pt>
                <c:pt idx="15">
                  <c:v>0.22243418542541016</c:v>
                </c:pt>
                <c:pt idx="16">
                  <c:v>0.2185996490632252</c:v>
                </c:pt>
                <c:pt idx="17">
                  <c:v>0.2288303426753886</c:v>
                </c:pt>
                <c:pt idx="18">
                  <c:v>0.22622338954935028</c:v>
                </c:pt>
                <c:pt idx="19">
                  <c:v>0.21929706436843524</c:v>
                </c:pt>
                <c:pt idx="20">
                  <c:v>0.2079446283478784</c:v>
                </c:pt>
                <c:pt idx="21">
                  <c:v>0.22280071813285457</c:v>
                </c:pt>
                <c:pt idx="22">
                  <c:v>0.21522564691336218</c:v>
                </c:pt>
                <c:pt idx="23">
                  <c:v>0.21599630143319465</c:v>
                </c:pt>
                <c:pt idx="24">
                  <c:v>0.21436473491617736</c:v>
                </c:pt>
                <c:pt idx="25">
                  <c:v>0.21877236936292055</c:v>
                </c:pt>
                <c:pt idx="26">
                  <c:v>0.2126831691365179</c:v>
                </c:pt>
                <c:pt idx="27">
                  <c:v>0.2159379197134756</c:v>
                </c:pt>
                <c:pt idx="28">
                  <c:v>0.20558855291576675</c:v>
                </c:pt>
                <c:pt idx="29">
                  <c:v>0.20860040567951318</c:v>
                </c:pt>
                <c:pt idx="30">
                  <c:v>0.2126890756302521</c:v>
                </c:pt>
                <c:pt idx="31">
                  <c:v>0.2061624146604384</c:v>
                </c:pt>
                <c:pt idx="32">
                  <c:v>0.20111818605373505</c:v>
                </c:pt>
                <c:pt idx="33">
                  <c:v>0.21381936887921654</c:v>
                </c:pt>
                <c:pt idx="34">
                  <c:v>0.23197430195206326</c:v>
                </c:pt>
                <c:pt idx="35">
                  <c:v>0.22070675759454433</c:v>
                </c:pt>
                <c:pt idx="36">
                  <c:v>0.21464275213172596</c:v>
                </c:pt>
                <c:pt idx="37">
                  <c:v>0.21891248788225962</c:v>
                </c:pt>
                <c:pt idx="38">
                  <c:v>0.21987066431510877</c:v>
                </c:pt>
                <c:pt idx="39">
                  <c:v>0.21826647564469914</c:v>
                </c:pt>
                <c:pt idx="40">
                  <c:v>0.20420127015144113</c:v>
                </c:pt>
                <c:pt idx="41">
                  <c:v>0.2056031641397495</c:v>
                </c:pt>
                <c:pt idx="42">
                  <c:v>0.20923467104281665</c:v>
                </c:pt>
                <c:pt idx="43">
                  <c:v>0.19402412280701756</c:v>
                </c:pt>
                <c:pt idx="44">
                  <c:v>0.19468152007905848</c:v>
                </c:pt>
                <c:pt idx="45">
                  <c:v>0.21423893109772071</c:v>
                </c:pt>
                <c:pt idx="46">
                  <c:v>0.23001549186676995</c:v>
                </c:pt>
                <c:pt idx="47">
                  <c:v>0.23053892215568864</c:v>
                </c:pt>
                <c:pt idx="48">
                  <c:v>0.21907957813998083</c:v>
                </c:pt>
                <c:pt idx="49">
                  <c:v>0.22517641829193755</c:v>
                </c:pt>
                <c:pt idx="50">
                  <c:v>0.22192789644742528</c:v>
                </c:pt>
                <c:pt idx="51">
                  <c:v>0.221749839727367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09.009816579346</c:v>
                </c:pt>
              </c:numCache>
            </c:numRef>
          </c:xVal>
          <c:yVal>
            <c:numRef>
              <c:f>Sheet1!$B$163:$B$164</c:f>
              <c:numCache>
                <c:formatCode>General</c:formatCode>
                <c:ptCount val="2"/>
                <c:pt idx="0">
                  <c:v>0.2650189013255837</c:v>
                </c:pt>
                <c:pt idx="1">
                  <c:v>0.265018901325583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09.009816579346</c:v>
                </c:pt>
                <c:pt idx="1">
                  <c:v>709.009816579346</c:v>
                </c:pt>
              </c:numCache>
            </c:numRef>
          </c:xVal>
          <c:yVal>
            <c:numRef>
              <c:f>Sheet1!$B$167:$B$168</c:f>
              <c:numCache>
                <c:formatCode>General</c:formatCode>
                <c:ptCount val="2"/>
                <c:pt idx="0">
                  <c:v>0.265018901325583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1.1767894258023</c:v>
                </c:pt>
              </c:numCache>
            </c:numRef>
          </c:xVal>
          <c:yVal>
            <c:numRef>
              <c:f>Sheet1!$B$171:$B$172</c:f>
              <c:numCache>
                <c:formatCode>General</c:formatCode>
                <c:ptCount val="2"/>
                <c:pt idx="0">
                  <c:v>0.2238631702834038</c:v>
                </c:pt>
                <c:pt idx="1">
                  <c:v>0.223863170283403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1.1767894258023</c:v>
                </c:pt>
                <c:pt idx="1">
                  <c:v>1121.1767894258023</c:v>
                </c:pt>
              </c:numCache>
            </c:numRef>
          </c:xVal>
          <c:yVal>
            <c:numRef>
              <c:f>Sheet1!$B$175:$B$176</c:f>
              <c:numCache>
                <c:formatCode>General</c:formatCode>
                <c:ptCount val="2"/>
                <c:pt idx="0">
                  <c:v>0.223863170283403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14.7636135762698</c:v>
                </c:pt>
              </c:numCache>
            </c:numRef>
          </c:xVal>
          <c:yVal>
            <c:numRef>
              <c:f>Sheet1!$B$179:$B$180</c:f>
              <c:numCache>
                <c:formatCode>General</c:formatCode>
                <c:ptCount val="2"/>
                <c:pt idx="0">
                  <c:v>0.21451833089166714</c:v>
                </c:pt>
                <c:pt idx="1">
                  <c:v>0.2145183308916671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14.7636135762698</c:v>
                </c:pt>
                <c:pt idx="1">
                  <c:v>1214.7636135762698</c:v>
                </c:pt>
              </c:numCache>
            </c:numRef>
          </c:xVal>
          <c:yVal>
            <c:numRef>
              <c:f>Sheet1!$B$183:$B$184</c:f>
              <c:numCache>
                <c:formatCode>General</c:formatCode>
                <c:ptCount val="2"/>
                <c:pt idx="0">
                  <c:v>0.2145183308916671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7.9764</c:v>
                </c:pt>
                <c:pt idx="1">
                  <c:v>1181.183</c:v>
                </c:pt>
                <c:pt idx="2">
                  <c:v>1188.5358</c:v>
                </c:pt>
                <c:pt idx="3">
                  <c:v>1167.6881</c:v>
                </c:pt>
                <c:pt idx="4">
                  <c:v>1194.4699</c:v>
                </c:pt>
                <c:pt idx="5">
                  <c:v>1189.2709</c:v>
                </c:pt>
                <c:pt idx="6">
                  <c:v>1098.8734</c:v>
                </c:pt>
                <c:pt idx="7">
                  <c:v>1135.7131</c:v>
                </c:pt>
                <c:pt idx="8">
                  <c:v>1184.2592</c:v>
                </c:pt>
                <c:pt idx="9">
                  <c:v>1143.1849</c:v>
                </c:pt>
                <c:pt idx="10">
                  <c:v>1162.0828</c:v>
                </c:pt>
                <c:pt idx="11">
                  <c:v>1029.1262</c:v>
                </c:pt>
                <c:pt idx="12">
                  <c:v>1065.5931</c:v>
                </c:pt>
                <c:pt idx="13">
                  <c:v>1131.6266</c:v>
                </c:pt>
                <c:pt idx="14">
                  <c:v>1111.3659</c:v>
                </c:pt>
                <c:pt idx="15">
                  <c:v>1139.3358</c:v>
                </c:pt>
                <c:pt idx="16">
                  <c:v>1174.9249</c:v>
                </c:pt>
                <c:pt idx="17">
                  <c:v>1123.6132</c:v>
                </c:pt>
                <c:pt idx="18">
                  <c:v>1126.9817</c:v>
                </c:pt>
                <c:pt idx="19">
                  <c:v>1231.8824</c:v>
                </c:pt>
                <c:pt idx="20">
                  <c:v>1239.5141</c:v>
                </c:pt>
                <c:pt idx="21">
                  <c:v>1157.2583</c:v>
                </c:pt>
                <c:pt idx="22">
                  <c:v>1193.3061</c:v>
                </c:pt>
                <c:pt idx="23">
                  <c:v>1216.2924</c:v>
                </c:pt>
                <c:pt idx="24">
                  <c:v>1225.705</c:v>
                </c:pt>
                <c:pt idx="25">
                  <c:v>1180.2106</c:v>
                </c:pt>
                <c:pt idx="26">
                  <c:v>1182.9681</c:v>
                </c:pt>
                <c:pt idx="27">
                  <c:v>1178.6949</c:v>
                </c:pt>
                <c:pt idx="28">
                  <c:v>1216.045</c:v>
                </c:pt>
                <c:pt idx="29">
                  <c:v>1228.6814</c:v>
                </c:pt>
                <c:pt idx="30">
                  <c:v>1214.2375</c:v>
                </c:pt>
                <c:pt idx="31">
                  <c:v>1200.732</c:v>
                </c:pt>
                <c:pt idx="32">
                  <c:v>1219.9822</c:v>
                </c:pt>
                <c:pt idx="33">
                  <c:v>1218.2559</c:v>
                </c:pt>
                <c:pt idx="34">
                  <c:v>1230.6016</c:v>
                </c:pt>
                <c:pt idx="35">
                  <c:v>1260.6205</c:v>
                </c:pt>
                <c:pt idx="36">
                  <c:v>1294.8406</c:v>
                </c:pt>
                <c:pt idx="37">
                  <c:v>1262.0229</c:v>
                </c:pt>
                <c:pt idx="38">
                  <c:v>1284.5709</c:v>
                </c:pt>
                <c:pt idx="39">
                  <c:v>1229.5002</c:v>
                </c:pt>
                <c:pt idx="40">
                  <c:v>1263.8093</c:v>
                </c:pt>
                <c:pt idx="41">
                  <c:v>1296.2898</c:v>
                </c:pt>
                <c:pt idx="42">
                  <c:v>1286.5462</c:v>
                </c:pt>
                <c:pt idx="43">
                  <c:v>1308.1139</c:v>
                </c:pt>
                <c:pt idx="44">
                  <c:v>1226.2374</c:v>
                </c:pt>
                <c:pt idx="45">
                  <c:v>1174.8825</c:v>
                </c:pt>
                <c:pt idx="46">
                  <c:v>1167.5306</c:v>
                </c:pt>
                <c:pt idx="47">
                  <c:v>1142.6692</c:v>
                </c:pt>
                <c:pt idx="48">
                  <c:v>1143.4996</c:v>
                </c:pt>
                <c:pt idx="49">
                  <c:v>1165.05</c:v>
                </c:pt>
                <c:pt idx="50">
                  <c:v>1122.2617</c:v>
                </c:pt>
                <c:pt idx="51">
                  <c:v>1080.1198</c:v>
                </c:pt>
                <c:pt idx="52">
                  <c:v>1121.1767894258023</c:v>
                </c:pt>
                <c:pt idx="53">
                  <c:v>709.009816579346</c:v>
                </c:pt>
                <c:pt idx="54">
                  <c:v>1214.7636135762698</c:v>
                </c:pt>
              </c:numCache>
            </c:numRef>
          </c:xVal>
          <c:yVal>
            <c:numRef>
              <c:f>Sheet1!$B$187:$B$241</c:f>
              <c:numCache>
                <c:formatCode>General</c:formatCode>
                <c:ptCount val="55"/>
                <c:pt idx="0">
                  <c:v>0.21819161081819877</c:v>
                </c:pt>
                <c:pt idx="1">
                  <c:v>0.21787142512683086</c:v>
                </c:pt>
                <c:pt idx="2">
                  <c:v>0.21713723272631633</c:v>
                </c:pt>
                <c:pt idx="3">
                  <c:v>0.21921891901020907</c:v>
                </c:pt>
                <c:pt idx="4">
                  <c:v>0.21654470047684768</c:v>
                </c:pt>
                <c:pt idx="5">
                  <c:v>0.21706383145963995</c:v>
                </c:pt>
                <c:pt idx="6">
                  <c:v>0.22609021018958103</c:v>
                </c:pt>
                <c:pt idx="7">
                  <c:v>0.2224116893842777</c:v>
                </c:pt>
                <c:pt idx="8">
                  <c:v>0.21756426014716831</c:v>
                </c:pt>
                <c:pt idx="9">
                  <c:v>0.2216656145858112</c:v>
                </c:pt>
                <c:pt idx="10">
                  <c:v>0.2197786198945802</c:v>
                </c:pt>
                <c:pt idx="11">
                  <c:v>0.23305461343693795</c:v>
                </c:pt>
                <c:pt idx="12">
                  <c:v>0.22941331748841182</c:v>
                </c:pt>
                <c:pt idx="13">
                  <c:v>0.22281973492403157</c:v>
                </c:pt>
                <c:pt idx="14">
                  <c:v>0.2248428080348335</c:v>
                </c:pt>
                <c:pt idx="15">
                  <c:v>0.2220499552409113</c:v>
                </c:pt>
                <c:pt idx="16">
                  <c:v>0.21849630945139564</c:v>
                </c:pt>
                <c:pt idx="17">
                  <c:v>0.22361988961099205</c:v>
                </c:pt>
                <c:pt idx="18">
                  <c:v>0.22328353786728447</c:v>
                </c:pt>
                <c:pt idx="19">
                  <c:v>0.21280898439804108</c:v>
                </c:pt>
                <c:pt idx="20">
                  <c:v>0.21204694325140216</c:v>
                </c:pt>
                <c:pt idx="21">
                  <c:v>0.22026035627205304</c:v>
                </c:pt>
                <c:pt idx="22">
                  <c:v>0.21666090833177626</c:v>
                </c:pt>
                <c:pt idx="23">
                  <c:v>0.21436567838183246</c:v>
                </c:pt>
                <c:pt idx="24">
                  <c:v>0.21342581065945693</c:v>
                </c:pt>
                <c:pt idx="25">
                  <c:v>0.21796852129295263</c:v>
                </c:pt>
                <c:pt idx="26">
                  <c:v>0.217693179172343</c:v>
                </c:pt>
                <c:pt idx="27">
                  <c:v>0.21811986709611061</c:v>
                </c:pt>
                <c:pt idx="28">
                  <c:v>0.2143903817873225</c:v>
                </c:pt>
                <c:pt idx="29">
                  <c:v>0.21312861091774066</c:v>
                </c:pt>
                <c:pt idx="30">
                  <c:v>0.21457086442848372</c:v>
                </c:pt>
                <c:pt idx="31">
                  <c:v>0.21591941674394838</c:v>
                </c:pt>
                <c:pt idx="32">
                  <c:v>0.21399724416365457</c:v>
                </c:pt>
                <c:pt idx="33">
                  <c:v>0.21416961881562496</c:v>
                </c:pt>
                <c:pt idx="34">
                  <c:v>0.21293687494675434</c:v>
                </c:pt>
                <c:pt idx="35">
                  <c:v>0.20993942523347436</c:v>
                </c:pt>
                <c:pt idx="36">
                  <c:v>0.2065224769464481</c:v>
                </c:pt>
                <c:pt idx="37">
                  <c:v>0.20979939267139167</c:v>
                </c:pt>
                <c:pt idx="38">
                  <c:v>0.2075479278897029</c:v>
                </c:pt>
                <c:pt idx="39">
                  <c:v>0.2130468520316644</c:v>
                </c:pt>
                <c:pt idx="40">
                  <c:v>0.20962101690919507</c:v>
                </c:pt>
                <c:pt idx="41">
                  <c:v>0.20637777130685153</c:v>
                </c:pt>
                <c:pt idx="42">
                  <c:v>0.2073506900689086</c:v>
                </c:pt>
                <c:pt idx="43">
                  <c:v>0.20519711028480228</c:v>
                </c:pt>
                <c:pt idx="44">
                  <c:v>0.2133726494101323</c:v>
                </c:pt>
                <c:pt idx="45">
                  <c:v>0.21850054317974155</c:v>
                </c:pt>
                <c:pt idx="46">
                  <c:v>0.2192346457133808</c:v>
                </c:pt>
                <c:pt idx="47">
                  <c:v>0.22171710830533917</c:v>
                </c:pt>
                <c:pt idx="48">
                  <c:v>0.2216341911350928</c:v>
                </c:pt>
                <c:pt idx="49">
                  <c:v>0.21948233879203333</c:v>
                </c:pt>
                <c:pt idx="50">
                  <c:v>0.22375483970201798</c:v>
                </c:pt>
                <c:pt idx="51">
                  <c:v>0.2279627962251442</c:v>
                </c:pt>
                <c:pt idx="52">
                  <c:v>0.2238631702834038</c:v>
                </c:pt>
                <c:pt idx="53">
                  <c:v>0.2650189013255837</c:v>
                </c:pt>
                <c:pt idx="54">
                  <c:v>0.2145183308916671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0.0"/>
          <c:min val="56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079910985231644"/>
          <c:min val="0.133683289588801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358350998576919</c:v>
                </c:pt>
                <c:pt idx="1">
                  <c:v>0.6612617950254789</c:v>
                </c:pt>
                <c:pt idx="2">
                  <c:v>0.6563317162124966</c:v>
                </c:pt>
                <c:pt idx="3">
                  <c:v>0.6531955040912574</c:v>
                </c:pt>
                <c:pt idx="4">
                  <c:v>0.6485773245913117</c:v>
                </c:pt>
                <c:pt idx="5">
                  <c:v>0.6558631356028976</c:v>
                </c:pt>
                <c:pt idx="6">
                  <c:v>0.6248143427974587</c:v>
                </c:pt>
                <c:pt idx="7">
                  <c:v>0.6320738864171872</c:v>
                </c:pt>
                <c:pt idx="8">
                  <c:v>0.6437197594821049</c:v>
                </c:pt>
                <c:pt idx="9">
                  <c:v>0.6713434939401164</c:v>
                </c:pt>
                <c:pt idx="10">
                  <c:v>0.6881492636439451</c:v>
                </c:pt>
                <c:pt idx="11">
                  <c:v>0.7174668021089096</c:v>
                </c:pt>
                <c:pt idx="12">
                  <c:v>0.7355769314415802</c:v>
                </c:pt>
                <c:pt idx="13">
                  <c:v>0.7123532458305257</c:v>
                </c:pt>
                <c:pt idx="14">
                  <c:v>0.7107371702995907</c:v>
                </c:pt>
                <c:pt idx="15">
                  <c:v>0.7159842386703208</c:v>
                </c:pt>
                <c:pt idx="16">
                  <c:v>0.7081421730976848</c:v>
                </c:pt>
                <c:pt idx="17">
                  <c:v>0.7041084872205573</c:v>
                </c:pt>
                <c:pt idx="18">
                  <c:v>0.7231504318020012</c:v>
                </c:pt>
                <c:pt idx="19">
                  <c:v>0.7361773909095775</c:v>
                </c:pt>
                <c:pt idx="20">
                  <c:v>0.7511060449218087</c:v>
                </c:pt>
                <c:pt idx="21">
                  <c:v>0.6758801194705425</c:v>
                </c:pt>
                <c:pt idx="22">
                  <c:v>0.6416889826283404</c:v>
                </c:pt>
                <c:pt idx="23">
                  <c:v>0.6204056817623235</c:v>
                </c:pt>
                <c:pt idx="24">
                  <c:v>0.5913151845584689</c:v>
                </c:pt>
                <c:pt idx="25">
                  <c:v>0.5752344917781598</c:v>
                </c:pt>
                <c:pt idx="26">
                  <c:v>0.5866083889224171</c:v>
                </c:pt>
                <c:pt idx="27">
                  <c:v>0.6037054094940696</c:v>
                </c:pt>
                <c:pt idx="28">
                  <c:v>0.5989140342760633</c:v>
                </c:pt>
                <c:pt idx="29">
                  <c:v>0.5464875463770859</c:v>
                </c:pt>
                <c:pt idx="30">
                  <c:v>0.5604911637850447</c:v>
                </c:pt>
                <c:pt idx="31">
                  <c:v>0.5813101059661857</c:v>
                </c:pt>
                <c:pt idx="32">
                  <c:v>0.5491723783773647</c:v>
                </c:pt>
                <c:pt idx="33">
                  <c:v>0.5361851868081963</c:v>
                </c:pt>
                <c:pt idx="34">
                  <c:v>0.6179827696602598</c:v>
                </c:pt>
                <c:pt idx="35">
                  <c:v>0.6860535965120309</c:v>
                </c:pt>
                <c:pt idx="36">
                  <c:v>0.7106838432099133</c:v>
                </c:pt>
                <c:pt idx="37">
                  <c:v>0.6815552291537326</c:v>
                </c:pt>
                <c:pt idx="38">
                  <c:v>0.7239878147284491</c:v>
                </c:pt>
                <c:pt idx="39">
                  <c:v>0.7322189985128827</c:v>
                </c:pt>
                <c:pt idx="40">
                  <c:v>0.7364105454943102</c:v>
                </c:pt>
                <c:pt idx="41">
                  <c:v>0.7153791446833473</c:v>
                </c:pt>
                <c:pt idx="42">
                  <c:v>0.7476312862840514</c:v>
                </c:pt>
                <c:pt idx="43">
                  <c:v>0.7552945481518488</c:v>
                </c:pt>
                <c:pt idx="44">
                  <c:v>0.6908135628575243</c:v>
                </c:pt>
                <c:pt idx="45">
                  <c:v>0.6797813271287934</c:v>
                </c:pt>
                <c:pt idx="46">
                  <c:v>0.6822089394549548</c:v>
                </c:pt>
                <c:pt idx="47">
                  <c:v>0.6839136627489376</c:v>
                </c:pt>
                <c:pt idx="48">
                  <c:v>0.6942233153428513</c:v>
                </c:pt>
                <c:pt idx="49">
                  <c:v>0.7038888110407718</c:v>
                </c:pt>
                <c:pt idx="50">
                  <c:v>0.666275236791458</c:v>
                </c:pt>
                <c:pt idx="51">
                  <c:v>0.6730454627038202</c:v>
                </c:pt>
                <c:pt idx="52">
                  <c:v>0.6909792241217756</c:v>
                </c:pt>
                <c:pt idx="53">
                  <c:v>0.6411448057498935</c:v>
                </c:pt>
                <c:pt idx="54">
                  <c:v>0.6257122961090731</c:v>
                </c:pt>
                <c:pt idx="55">
                  <c:v>0.6307066173025017</c:v>
                </c:pt>
                <c:pt idx="56">
                  <c:v>0.6335999676507438</c:v>
                </c:pt>
                <c:pt idx="57">
                  <c:v>0.6319961315130551</c:v>
                </c:pt>
                <c:pt idx="58">
                  <c:v>0.6150117265616339</c:v>
                </c:pt>
                <c:pt idx="59">
                  <c:v>0.6388249219563598</c:v>
                </c:pt>
                <c:pt idx="60">
                  <c:v>0.646662111016381</c:v>
                </c:pt>
                <c:pt idx="61">
                  <c:v>0.6695101835876477</c:v>
                </c:pt>
                <c:pt idx="62">
                  <c:v>0.6854848437229893</c:v>
                </c:pt>
                <c:pt idx="63">
                  <c:v>0.7086589503247904</c:v>
                </c:pt>
                <c:pt idx="64">
                  <c:v>0.7460840078370117</c:v>
                </c:pt>
                <c:pt idx="65">
                  <c:v>0.7398879811186857</c:v>
                </c:pt>
                <c:pt idx="66">
                  <c:v>0.6945860084936547</c:v>
                </c:pt>
                <c:pt idx="67">
                  <c:v>0.6890517078493008</c:v>
                </c:pt>
                <c:pt idx="68">
                  <c:v>0.670754144175686</c:v>
                </c:pt>
                <c:pt idx="69">
                  <c:v>0.66039706101252</c:v>
                </c:pt>
                <c:pt idx="70">
                  <c:v>0.6260241526073747</c:v>
                </c:pt>
                <c:pt idx="71">
                  <c:v>0.6136911485834383</c:v>
                </c:pt>
                <c:pt idx="72">
                  <c:v>0.6263255956479303</c:v>
                </c:pt>
                <c:pt idx="73">
                  <c:v>0.6138035127267949</c:v>
                </c:pt>
                <c:pt idx="74">
                  <c:v>0.6012156506181366</c:v>
                </c:pt>
                <c:pt idx="75">
                  <c:v>0.6029729404942293</c:v>
                </c:pt>
                <c:pt idx="76">
                  <c:v>0.6102512659666897</c:v>
                </c:pt>
                <c:pt idx="77">
                  <c:v>0.6052010436222943</c:v>
                </c:pt>
                <c:pt idx="78">
                  <c:v>0.6294338967176616</c:v>
                </c:pt>
                <c:pt idx="79">
                  <c:v>0.41576973771269016</c:v>
                </c:pt>
                <c:pt idx="80">
                  <c:v>0.43601691348870764</c:v>
                </c:pt>
                <c:pt idx="81">
                  <c:v>0.5618970399760701</c:v>
                </c:pt>
                <c:pt idx="82">
                  <c:v>0.5446704457798709</c:v>
                </c:pt>
                <c:pt idx="83">
                  <c:v>0.5430419348137666</c:v>
                </c:pt>
                <c:pt idx="84">
                  <c:v>0.5531657656658826</c:v>
                </c:pt>
                <c:pt idx="85">
                  <c:v>0.5788115377104545</c:v>
                </c:pt>
                <c:pt idx="86">
                  <c:v>0.6665220346039025</c:v>
                </c:pt>
                <c:pt idx="87">
                  <c:v>0.7012686380518363</c:v>
                </c:pt>
                <c:pt idx="88">
                  <c:v>0.6474931447429741</c:v>
                </c:pt>
                <c:pt idx="89">
                  <c:v>0.5988835036011264</c:v>
                </c:pt>
                <c:pt idx="90">
                  <c:v>0.6192352454001754</c:v>
                </c:pt>
                <c:pt idx="91">
                  <c:v>0.6529528373874668</c:v>
                </c:pt>
                <c:pt idx="92">
                  <c:v>0.685047698356816</c:v>
                </c:pt>
                <c:pt idx="93">
                  <c:v>0.7069307243400149</c:v>
                </c:pt>
                <c:pt idx="94">
                  <c:v>0.7026142171385272</c:v>
                </c:pt>
                <c:pt idx="95">
                  <c:v>0.7294785923453712</c:v>
                </c:pt>
                <c:pt idx="96">
                  <c:v>0.7413611825548532</c:v>
                </c:pt>
                <c:pt idx="97">
                  <c:v>0.7919202183880223</c:v>
                </c:pt>
                <c:pt idx="98">
                  <c:v>0.808606918941639</c:v>
                </c:pt>
                <c:pt idx="99">
                  <c:v>0.7932001915484734</c:v>
                </c:pt>
                <c:pt idx="100">
                  <c:v>0.7888961682399545</c:v>
                </c:pt>
                <c:pt idx="101">
                  <c:v>0.7289459850665055</c:v>
                </c:pt>
                <c:pt idx="102">
                  <c:v>0.733381275951238</c:v>
                </c:pt>
                <c:pt idx="103">
                  <c:v>0.660951943302911</c:v>
                </c:pt>
                <c:pt idx="104">
                  <c:v>0.6915110464708247</c:v>
                </c:pt>
              </c:numCache>
            </c:numRef>
          </c:xVal>
          <c:yVal>
            <c:numRef>
              <c:f>Sheet1!$B$2:$B$106</c:f>
              <c:numCache>
                <c:formatCode>General</c:formatCode>
                <c:ptCount val="105"/>
                <c:pt idx="0">
                  <c:v>0.2146968600282632</c:v>
                </c:pt>
                <c:pt idx="1">
                  <c:v>0.21712007677826584</c:v>
                </c:pt>
                <c:pt idx="2">
                  <c:v>0.1972539093651399</c:v>
                </c:pt>
                <c:pt idx="3">
                  <c:v>0.19730041274681143</c:v>
                </c:pt>
                <c:pt idx="4">
                  <c:v>0.19716885743174925</c:v>
                </c:pt>
                <c:pt idx="5">
                  <c:v>0.19011423945308986</c:v>
                </c:pt>
                <c:pt idx="6">
                  <c:v>0.21003957329662767</c:v>
                </c:pt>
                <c:pt idx="7">
                  <c:v>0.2073639490188145</c:v>
                </c:pt>
                <c:pt idx="8">
                  <c:v>0.2137272874319297</c:v>
                </c:pt>
                <c:pt idx="9">
                  <c:v>0.21458712399829663</c:v>
                </c:pt>
                <c:pt idx="10">
                  <c:v>0.22435340758920144</c:v>
                </c:pt>
                <c:pt idx="11">
                  <c:v>0.21762858264625048</c:v>
                </c:pt>
                <c:pt idx="12">
                  <c:v>0.2199875444188006</c:v>
                </c:pt>
                <c:pt idx="13">
                  <c:v>0.23027560369449906</c:v>
                </c:pt>
                <c:pt idx="14">
                  <c:v>0.2161569659103365</c:v>
                </c:pt>
                <c:pt idx="15">
                  <c:v>0.21368379688250447</c:v>
                </c:pt>
                <c:pt idx="16">
                  <c:v>0.20372046254399195</c:v>
                </c:pt>
                <c:pt idx="17">
                  <c:v>0.19133534411845352</c:v>
                </c:pt>
                <c:pt idx="18">
                  <c:v>0.17340107591153617</c:v>
                </c:pt>
                <c:pt idx="19">
                  <c:v>0.16212729357798164</c:v>
                </c:pt>
                <c:pt idx="20">
                  <c:v>0.17247294020228307</c:v>
                </c:pt>
                <c:pt idx="21">
                  <c:v>0.1783948269303918</c:v>
                </c:pt>
                <c:pt idx="22">
                  <c:v>0.17771652400986507</c:v>
                </c:pt>
                <c:pt idx="23">
                  <c:v>0.18375094912680334</c:v>
                </c:pt>
                <c:pt idx="24">
                  <c:v>0.1905131096701438</c:v>
                </c:pt>
                <c:pt idx="25">
                  <c:v>0.19003645200486027</c:v>
                </c:pt>
                <c:pt idx="26">
                  <c:v>0.19381918133868212</c:v>
                </c:pt>
                <c:pt idx="27">
                  <c:v>0.18466152527849186</c:v>
                </c:pt>
                <c:pt idx="28">
                  <c:v>0.1814139941690962</c:v>
                </c:pt>
                <c:pt idx="29">
                  <c:v>0.20289217227287018</c:v>
                </c:pt>
                <c:pt idx="30">
                  <c:v>0.1858022158391465</c:v>
                </c:pt>
                <c:pt idx="31">
                  <c:v>0.1823178391959799</c:v>
                </c:pt>
                <c:pt idx="32">
                  <c:v>0.1905923610581688</c:v>
                </c:pt>
                <c:pt idx="33">
                  <c:v>0.20864226135310474</c:v>
                </c:pt>
                <c:pt idx="34">
                  <c:v>0.1999795207864018</c:v>
                </c:pt>
                <c:pt idx="35">
                  <c:v>0.1962085308056872</c:v>
                </c:pt>
                <c:pt idx="36">
                  <c:v>0.15714536825452627</c:v>
                </c:pt>
                <c:pt idx="37">
                  <c:v>0.14665426274171042</c:v>
                </c:pt>
                <c:pt idx="38">
                  <c:v>0.14210777300906055</c:v>
                </c:pt>
                <c:pt idx="39">
                  <c:v>0.14415942336230655</c:v>
                </c:pt>
                <c:pt idx="40">
                  <c:v>0.14485714285714285</c:v>
                </c:pt>
                <c:pt idx="41">
                  <c:v>0.13350603399254438</c:v>
                </c:pt>
                <c:pt idx="42">
                  <c:v>0.13931079536175078</c:v>
                </c:pt>
                <c:pt idx="43">
                  <c:v>0.14207650273224043</c:v>
                </c:pt>
                <c:pt idx="44">
                  <c:v>0.17000688920899354</c:v>
                </c:pt>
                <c:pt idx="45">
                  <c:v>0.19477348004266548</c:v>
                </c:pt>
                <c:pt idx="46">
                  <c:v>0.2011744648607691</c:v>
                </c:pt>
                <c:pt idx="47">
                  <c:v>0.20259431353025778</c:v>
                </c:pt>
                <c:pt idx="48">
                  <c:v>0.2187455926500514</c:v>
                </c:pt>
                <c:pt idx="49">
                  <c:v>0.25037901866047013</c:v>
                </c:pt>
                <c:pt idx="50">
                  <c:v>0.21465076660988075</c:v>
                </c:pt>
                <c:pt idx="51">
                  <c:v>0.19269703543022415</c:v>
                </c:pt>
                <c:pt idx="52">
                  <c:v>0.2046528645912736</c:v>
                </c:pt>
                <c:pt idx="53">
                  <c:v>0.19408830593016813</c:v>
                </c:pt>
                <c:pt idx="54">
                  <c:v>0.19114754098360656</c:v>
                </c:pt>
                <c:pt idx="55">
                  <c:v>0.18233343129434484</c:v>
                </c:pt>
                <c:pt idx="56">
                  <c:v>0.19250032664082575</c:v>
                </c:pt>
                <c:pt idx="57">
                  <c:v>0.18821285803352036</c:v>
                </c:pt>
                <c:pt idx="58">
                  <c:v>0.20670012206700122</c:v>
                </c:pt>
                <c:pt idx="59">
                  <c:v>0.21249389512942327</c:v>
                </c:pt>
                <c:pt idx="60">
                  <c:v>0.22528798547010673</c:v>
                </c:pt>
                <c:pt idx="61">
                  <c:v>0.22520512204332452</c:v>
                </c:pt>
                <c:pt idx="62">
                  <c:v>0.22494933573519477</c:v>
                </c:pt>
                <c:pt idx="63">
                  <c:v>0.2410700941563294</c:v>
                </c:pt>
                <c:pt idx="64">
                  <c:v>0.22874988951415692</c:v>
                </c:pt>
                <c:pt idx="65">
                  <c:v>0.21485674085443848</c:v>
                </c:pt>
                <c:pt idx="66">
                  <c:v>0.2205326908048971</c:v>
                </c:pt>
                <c:pt idx="67">
                  <c:v>0.2174063560202174</c:v>
                </c:pt>
                <c:pt idx="68">
                  <c:v>0.19819517313746066</c:v>
                </c:pt>
                <c:pt idx="69">
                  <c:v>0.1843770456033166</c:v>
                </c:pt>
                <c:pt idx="70">
                  <c:v>0.17122678524718807</c:v>
                </c:pt>
                <c:pt idx="71">
                  <c:v>0.18111014240046497</c:v>
                </c:pt>
                <c:pt idx="72">
                  <c:v>0.18635843192846627</c:v>
                </c:pt>
                <c:pt idx="73">
                  <c:v>0.18679817004337235</c:v>
                </c:pt>
                <c:pt idx="74">
                  <c:v>0.18381496477896722</c:v>
                </c:pt>
                <c:pt idx="75">
                  <c:v>0.18586118251928022</c:v>
                </c:pt>
                <c:pt idx="76">
                  <c:v>0.18114987169706637</c:v>
                </c:pt>
                <c:pt idx="77">
                  <c:v>0.1769905093095704</c:v>
                </c:pt>
                <c:pt idx="78">
                  <c:v>0.1633945027646446</c:v>
                </c:pt>
                <c:pt idx="79">
                  <c:v>0.22476419827413205</c:v>
                </c:pt>
                <c:pt idx="80">
                  <c:v>0.21057944679991925</c:v>
                </c:pt>
                <c:pt idx="81">
                  <c:v>0.17324355971896954</c:v>
                </c:pt>
                <c:pt idx="82">
                  <c:v>0.17274735318759996</c:v>
                </c:pt>
                <c:pt idx="83">
                  <c:v>0.1545659331138451</c:v>
                </c:pt>
                <c:pt idx="84">
                  <c:v>0.1574049688350452</c:v>
                </c:pt>
                <c:pt idx="85">
                  <c:v>0.16417796739296053</c:v>
                </c:pt>
                <c:pt idx="86">
                  <c:v>0.1571214565568103</c:v>
                </c:pt>
                <c:pt idx="87">
                  <c:v>0.17206188960825194</c:v>
                </c:pt>
                <c:pt idx="88">
                  <c:v>0.1534110993283846</c:v>
                </c:pt>
                <c:pt idx="89">
                  <c:v>0.1521688342029437</c:v>
                </c:pt>
                <c:pt idx="90">
                  <c:v>0.1496723669490171</c:v>
                </c:pt>
                <c:pt idx="91">
                  <c:v>0.14149109849957242</c:v>
                </c:pt>
                <c:pt idx="92">
                  <c:v>0.14851851851851852</c:v>
                </c:pt>
                <c:pt idx="93">
                  <c:v>0.14279624893435636</c:v>
                </c:pt>
                <c:pt idx="94">
                  <c:v>0.14696723531004605</c:v>
                </c:pt>
                <c:pt idx="95">
                  <c:v>0.15124254473161033</c:v>
                </c:pt>
                <c:pt idx="96">
                  <c:v>0.14782844182661387</c:v>
                </c:pt>
                <c:pt idx="97">
                  <c:v>0.15954492519931918</c:v>
                </c:pt>
                <c:pt idx="98">
                  <c:v>0.1734323983854796</c:v>
                </c:pt>
                <c:pt idx="99">
                  <c:v>0.18298980350969324</c:v>
                </c:pt>
                <c:pt idx="100">
                  <c:v>0.20112217610289895</c:v>
                </c:pt>
                <c:pt idx="101">
                  <c:v>0.1896363217861664</c:v>
                </c:pt>
                <c:pt idx="102">
                  <c:v>0.16128769687843392</c:v>
                </c:pt>
                <c:pt idx="103">
                  <c:v>0.18299982291482203</c:v>
                </c:pt>
                <c:pt idx="104">
                  <c:v>0.182912358026784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106305576371309</c:v>
                </c:pt>
                <c:pt idx="1">
                  <c:v>0.6643504429936903</c:v>
                </c:pt>
                <c:pt idx="2">
                  <c:v>0.6631586788395798</c:v>
                </c:pt>
                <c:pt idx="3">
                  <c:v>0.6522803086851903</c:v>
                </c:pt>
                <c:pt idx="4">
                  <c:v>0.650652516312041</c:v>
                </c:pt>
                <c:pt idx="5">
                  <c:v>0.6734698382841485</c:v>
                </c:pt>
                <c:pt idx="6">
                  <c:v>0.6887278622385018</c:v>
                </c:pt>
                <c:pt idx="7">
                  <c:v>0.6916580274039408</c:v>
                </c:pt>
                <c:pt idx="8">
                  <c:v>0.728271344875335</c:v>
                </c:pt>
                <c:pt idx="9">
                  <c:v>0.7208571800876012</c:v>
                </c:pt>
                <c:pt idx="10">
                  <c:v>0.7311885231019372</c:v>
                </c:pt>
                <c:pt idx="11">
                  <c:v>0.7140033577616222</c:v>
                </c:pt>
                <c:pt idx="12">
                  <c:v>0.7139635391161407</c:v>
                </c:pt>
                <c:pt idx="13">
                  <c:v>0.6846413055408685</c:v>
                </c:pt>
                <c:pt idx="14">
                  <c:v>0.6868582298589709</c:v>
                </c:pt>
                <c:pt idx="15">
                  <c:v>0.695993844421292</c:v>
                </c:pt>
                <c:pt idx="16">
                  <c:v>0.7191241568977804</c:v>
                </c:pt>
                <c:pt idx="17">
                  <c:v>0.7050079347998213</c:v>
                </c:pt>
                <c:pt idx="18">
                  <c:v>0.7074051450111535</c:v>
                </c:pt>
                <c:pt idx="19">
                  <c:v>0.7164388975728772</c:v>
                </c:pt>
                <c:pt idx="20">
                  <c:v>0.6730212974827491</c:v>
                </c:pt>
                <c:pt idx="21">
                  <c:v>0.6511463532719959</c:v>
                </c:pt>
                <c:pt idx="22">
                  <c:v>0.6226672087558522</c:v>
                </c:pt>
                <c:pt idx="23">
                  <c:v>0.6249300798246122</c:v>
                </c:pt>
                <c:pt idx="24">
                  <c:v>0.627513587086103</c:v>
                </c:pt>
                <c:pt idx="25">
                  <c:v>0.6344566912002525</c:v>
                </c:pt>
                <c:pt idx="26">
                  <c:v>0.6618671054330304</c:v>
                </c:pt>
                <c:pt idx="27">
                  <c:v>0.6879925917971517</c:v>
                </c:pt>
                <c:pt idx="28">
                  <c:v>0.6735855298502624</c:v>
                </c:pt>
                <c:pt idx="29">
                  <c:v>0.636428970973575</c:v>
                </c:pt>
                <c:pt idx="30">
                  <c:v>0.629020465754306</c:v>
                </c:pt>
                <c:pt idx="31">
                  <c:v>0.5909118361421669</c:v>
                </c:pt>
                <c:pt idx="32">
                  <c:v>0.6086686086569225</c:v>
                </c:pt>
                <c:pt idx="33">
                  <c:v>0.6558573106042617</c:v>
                </c:pt>
                <c:pt idx="34">
                  <c:v>0.7011064015472993</c:v>
                </c:pt>
                <c:pt idx="35">
                  <c:v>0.6508921221943994</c:v>
                </c:pt>
                <c:pt idx="36">
                  <c:v>0.59974500414647</c:v>
                </c:pt>
                <c:pt idx="37">
                  <c:v>0.6271390123485895</c:v>
                </c:pt>
                <c:pt idx="38">
                  <c:v>0.6175489188933694</c:v>
                </c:pt>
                <c:pt idx="39">
                  <c:v>0.6575432788182628</c:v>
                </c:pt>
                <c:pt idx="40">
                  <c:v>0.6832218780301323</c:v>
                </c:pt>
                <c:pt idx="41">
                  <c:v>0.7135355873670438</c:v>
                </c:pt>
                <c:pt idx="42">
                  <c:v>0.6808437778570107</c:v>
                </c:pt>
                <c:pt idx="43">
                  <c:v>0.7292705502329151</c:v>
                </c:pt>
                <c:pt idx="44">
                  <c:v>0.7733240439696547</c:v>
                </c:pt>
                <c:pt idx="45">
                  <c:v>0.768921609627178</c:v>
                </c:pt>
                <c:pt idx="46">
                  <c:v>0.7307450718455074</c:v>
                </c:pt>
                <c:pt idx="47">
                  <c:v>0.7423933773157955</c:v>
                </c:pt>
                <c:pt idx="48">
                  <c:v>0.7793775332787347</c:v>
                </c:pt>
                <c:pt idx="49">
                  <c:v>0.8153359702081102</c:v>
                </c:pt>
                <c:pt idx="50">
                  <c:v>0.7552724779648757</c:v>
                </c:pt>
                <c:pt idx="51">
                  <c:v>0.720701220247727</c:v>
                </c:pt>
              </c:numCache>
            </c:numRef>
          </c:xVal>
          <c:yVal>
            <c:numRef>
              <c:f>Sheet1!$B$109:$B$160</c:f>
              <c:numCache>
                <c:formatCode>General</c:formatCode>
                <c:ptCount val="52"/>
                <c:pt idx="0">
                  <c:v>0.17586504865311642</c:v>
                </c:pt>
                <c:pt idx="1">
                  <c:v>0.18501328890475624</c:v>
                </c:pt>
                <c:pt idx="2">
                  <c:v>0.1932705437484682</c:v>
                </c:pt>
                <c:pt idx="3">
                  <c:v>0.20842007034670879</c:v>
                </c:pt>
                <c:pt idx="4">
                  <c:v>0.1960059983175451</c:v>
                </c:pt>
                <c:pt idx="5">
                  <c:v>0.1932523413698424</c:v>
                </c:pt>
                <c:pt idx="6">
                  <c:v>0.19092039800995025</c:v>
                </c:pt>
                <c:pt idx="7">
                  <c:v>0.18701948864652243</c:v>
                </c:pt>
                <c:pt idx="8">
                  <c:v>0.1838410991636798</c:v>
                </c:pt>
                <c:pt idx="9">
                  <c:v>0.19139282276914615</c:v>
                </c:pt>
                <c:pt idx="10">
                  <c:v>0.19937750111160515</c:v>
                </c:pt>
                <c:pt idx="11">
                  <c:v>0.20998158613245285</c:v>
                </c:pt>
                <c:pt idx="12">
                  <c:v>0.21063448172782304</c:v>
                </c:pt>
                <c:pt idx="13">
                  <c:v>0.2027168234064786</c:v>
                </c:pt>
                <c:pt idx="14">
                  <c:v>0.20394852811563546</c:v>
                </c:pt>
                <c:pt idx="15">
                  <c:v>0.1911484166348722</c:v>
                </c:pt>
                <c:pt idx="16">
                  <c:v>0.17354389539820003</c:v>
                </c:pt>
                <c:pt idx="17">
                  <c:v>0.15987517253795835</c:v>
                </c:pt>
                <c:pt idx="18">
                  <c:v>0.15772739839646116</c:v>
                </c:pt>
                <c:pt idx="19">
                  <c:v>0.16408564503097225</c:v>
                </c:pt>
                <c:pt idx="20">
                  <c:v>0.15580800481492627</c:v>
                </c:pt>
                <c:pt idx="21">
                  <c:v>0.1632854578096948</c:v>
                </c:pt>
                <c:pt idx="22">
                  <c:v>0.16744678972003885</c:v>
                </c:pt>
                <c:pt idx="23">
                  <c:v>0.17244567730004623</c:v>
                </c:pt>
                <c:pt idx="24">
                  <c:v>0.16679431537741468</c:v>
                </c:pt>
                <c:pt idx="25">
                  <c:v>0.1732283464566929</c:v>
                </c:pt>
                <c:pt idx="26">
                  <c:v>0.15100587797003062</c:v>
                </c:pt>
                <c:pt idx="27">
                  <c:v>0.1507983883002537</c:v>
                </c:pt>
                <c:pt idx="28">
                  <c:v>0.16056965442764579</c:v>
                </c:pt>
                <c:pt idx="29">
                  <c:v>0.1633265720081136</c:v>
                </c:pt>
                <c:pt idx="30">
                  <c:v>0.16941176470588235</c:v>
                </c:pt>
                <c:pt idx="31">
                  <c:v>0.17265540783327343</c:v>
                </c:pt>
                <c:pt idx="32">
                  <c:v>0.17580369622612207</c:v>
                </c:pt>
                <c:pt idx="33">
                  <c:v>0.1932656268891307</c:v>
                </c:pt>
                <c:pt idx="34">
                  <c:v>0.2121571534469978</c:v>
                </c:pt>
                <c:pt idx="35">
                  <c:v>0.2041537507749535</c:v>
                </c:pt>
                <c:pt idx="36">
                  <c:v>0.1746545133784181</c:v>
                </c:pt>
                <c:pt idx="37">
                  <c:v>0.1571340442407685</c:v>
                </c:pt>
                <c:pt idx="38">
                  <c:v>0.16235547717029197</c:v>
                </c:pt>
                <c:pt idx="39">
                  <c:v>0.18015759312320917</c:v>
                </c:pt>
                <c:pt idx="40">
                  <c:v>0.160164700956103</c:v>
                </c:pt>
                <c:pt idx="41">
                  <c:v>0.16189848384970337</c:v>
                </c:pt>
                <c:pt idx="42">
                  <c:v>0.16194241384454722</c:v>
                </c:pt>
                <c:pt idx="43">
                  <c:v>0.15235745614035087</c:v>
                </c:pt>
                <c:pt idx="44">
                  <c:v>0.14751594645584404</c:v>
                </c:pt>
                <c:pt idx="45">
                  <c:v>0.1632826827351323</c:v>
                </c:pt>
                <c:pt idx="46">
                  <c:v>0.161425251742835</c:v>
                </c:pt>
                <c:pt idx="47">
                  <c:v>0.16117163263833778</c:v>
                </c:pt>
                <c:pt idx="48">
                  <c:v>0.1530141418983701</c:v>
                </c:pt>
                <c:pt idx="49">
                  <c:v>0.16894482413735623</c:v>
                </c:pt>
                <c:pt idx="50">
                  <c:v>0.2009994551842041</c:v>
                </c:pt>
                <c:pt idx="51">
                  <c:v>0.1894591220433917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697852552640917</c:v>
                </c:pt>
              </c:numCache>
            </c:numRef>
          </c:xVal>
          <c:yVal>
            <c:numRef>
              <c:f>Sheet1!$B$163:$B$164</c:f>
              <c:numCache>
                <c:formatCode>General</c:formatCode>
                <c:ptCount val="2"/>
                <c:pt idx="0">
                  <c:v>0.2062181521145252</c:v>
                </c:pt>
                <c:pt idx="1">
                  <c:v>0.20621815211452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697852552640917</c:v>
                </c:pt>
                <c:pt idx="1">
                  <c:v>-1.697852552640917</c:v>
                </c:pt>
              </c:numCache>
            </c:numRef>
          </c:xVal>
          <c:yVal>
            <c:numRef>
              <c:f>Sheet1!$B$167:$B$168</c:f>
              <c:numCache>
                <c:formatCode>General</c:formatCode>
                <c:ptCount val="2"/>
                <c:pt idx="0">
                  <c:v>0.20621815211452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2219652521832435</c:v>
                </c:pt>
              </c:numCache>
            </c:numRef>
          </c:xVal>
          <c:yVal>
            <c:numRef>
              <c:f>Sheet1!$B$171:$B$172</c:f>
              <c:numCache>
                <c:formatCode>General</c:formatCode>
                <c:ptCount val="2"/>
                <c:pt idx="0">
                  <c:v>0.19040091968450995</c:v>
                </c:pt>
                <c:pt idx="1">
                  <c:v>0.1904009196845099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2219652521832435</c:v>
                </c:pt>
                <c:pt idx="1">
                  <c:v>-0.42219652521832435</c:v>
                </c:pt>
              </c:numCache>
            </c:numRef>
          </c:xVal>
          <c:yVal>
            <c:numRef>
              <c:f>Sheet1!$B$175:$B$176</c:f>
              <c:numCache>
                <c:formatCode>General</c:formatCode>
                <c:ptCount val="2"/>
                <c:pt idx="0">
                  <c:v>0.190400919684509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5188462763052062</c:v>
                </c:pt>
              </c:numCache>
            </c:numRef>
          </c:xVal>
          <c:yVal>
            <c:numRef>
              <c:f>Sheet1!$B$179:$B$180</c:f>
              <c:numCache>
                <c:formatCode>General</c:formatCode>
                <c:ptCount val="2"/>
                <c:pt idx="0">
                  <c:v>0.16633336190379883</c:v>
                </c:pt>
                <c:pt idx="1">
                  <c:v>0.1663333619037988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5188462763052062</c:v>
                </c:pt>
                <c:pt idx="1">
                  <c:v>1.5188462763052062</c:v>
                </c:pt>
              </c:numCache>
            </c:numRef>
          </c:xVal>
          <c:yVal>
            <c:numRef>
              <c:f>Sheet1!$B$183:$B$184</c:f>
              <c:numCache>
                <c:formatCode>General</c:formatCode>
                <c:ptCount val="2"/>
                <c:pt idx="0">
                  <c:v>0.1663333619037988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106305576371309</c:v>
                </c:pt>
                <c:pt idx="1">
                  <c:v>0.6643504429936903</c:v>
                </c:pt>
                <c:pt idx="2">
                  <c:v>0.6631586788395798</c:v>
                </c:pt>
                <c:pt idx="3">
                  <c:v>0.6522803086851903</c:v>
                </c:pt>
                <c:pt idx="4">
                  <c:v>0.650652516312041</c:v>
                </c:pt>
                <c:pt idx="5">
                  <c:v>0.6734698382841485</c:v>
                </c:pt>
                <c:pt idx="6">
                  <c:v>0.6887278622385018</c:v>
                </c:pt>
                <c:pt idx="7">
                  <c:v>0.6916580274039408</c:v>
                </c:pt>
                <c:pt idx="8">
                  <c:v>0.728271344875335</c:v>
                </c:pt>
                <c:pt idx="9">
                  <c:v>0.7208571800876012</c:v>
                </c:pt>
                <c:pt idx="10">
                  <c:v>0.7311885231019372</c:v>
                </c:pt>
                <c:pt idx="11">
                  <c:v>0.7140033577616222</c:v>
                </c:pt>
                <c:pt idx="12">
                  <c:v>0.7139635391161407</c:v>
                </c:pt>
                <c:pt idx="13">
                  <c:v>0.6846413055408685</c:v>
                </c:pt>
                <c:pt idx="14">
                  <c:v>0.6868582298589709</c:v>
                </c:pt>
                <c:pt idx="15">
                  <c:v>0.695993844421292</c:v>
                </c:pt>
                <c:pt idx="16">
                  <c:v>0.7191241568977804</c:v>
                </c:pt>
                <c:pt idx="17">
                  <c:v>0.7050079347998213</c:v>
                </c:pt>
                <c:pt idx="18">
                  <c:v>0.7074051450111535</c:v>
                </c:pt>
                <c:pt idx="19">
                  <c:v>0.7164388975728772</c:v>
                </c:pt>
                <c:pt idx="20">
                  <c:v>0.6730212974827491</c:v>
                </c:pt>
                <c:pt idx="21">
                  <c:v>0.6511463532719959</c:v>
                </c:pt>
                <c:pt idx="22">
                  <c:v>0.6226672087558522</c:v>
                </c:pt>
                <c:pt idx="23">
                  <c:v>0.6249300798246122</c:v>
                </c:pt>
                <c:pt idx="24">
                  <c:v>0.627513587086103</c:v>
                </c:pt>
                <c:pt idx="25">
                  <c:v>0.6344566912002525</c:v>
                </c:pt>
                <c:pt idx="26">
                  <c:v>0.6618671054330304</c:v>
                </c:pt>
                <c:pt idx="27">
                  <c:v>0.6879925917971517</c:v>
                </c:pt>
                <c:pt idx="28">
                  <c:v>0.6735855298502624</c:v>
                </c:pt>
                <c:pt idx="29">
                  <c:v>0.636428970973575</c:v>
                </c:pt>
                <c:pt idx="30">
                  <c:v>0.629020465754306</c:v>
                </c:pt>
                <c:pt idx="31">
                  <c:v>0.5909118361421669</c:v>
                </c:pt>
                <c:pt idx="32">
                  <c:v>0.6086686086569225</c:v>
                </c:pt>
                <c:pt idx="33">
                  <c:v>0.6558573106042617</c:v>
                </c:pt>
                <c:pt idx="34">
                  <c:v>0.7011064015472993</c:v>
                </c:pt>
                <c:pt idx="35">
                  <c:v>0.6508921221943994</c:v>
                </c:pt>
                <c:pt idx="36">
                  <c:v>0.59974500414647</c:v>
                </c:pt>
                <c:pt idx="37">
                  <c:v>0.6271390123485895</c:v>
                </c:pt>
                <c:pt idx="38">
                  <c:v>0.6175489188933694</c:v>
                </c:pt>
                <c:pt idx="39">
                  <c:v>0.6575432788182628</c:v>
                </c:pt>
                <c:pt idx="40">
                  <c:v>0.6832218780301323</c:v>
                </c:pt>
                <c:pt idx="41">
                  <c:v>0.7135355873670438</c:v>
                </c:pt>
                <c:pt idx="42">
                  <c:v>0.6808437778570107</c:v>
                </c:pt>
                <c:pt idx="43">
                  <c:v>0.7292705502329151</c:v>
                </c:pt>
                <c:pt idx="44">
                  <c:v>0.7733240439696547</c:v>
                </c:pt>
                <c:pt idx="45">
                  <c:v>0.768921609627178</c:v>
                </c:pt>
                <c:pt idx="46">
                  <c:v>0.7307450718455074</c:v>
                </c:pt>
                <c:pt idx="47">
                  <c:v>0.7423933773157955</c:v>
                </c:pt>
                <c:pt idx="48">
                  <c:v>0.7793775332787347</c:v>
                </c:pt>
                <c:pt idx="49">
                  <c:v>0.8153359702081102</c:v>
                </c:pt>
                <c:pt idx="50">
                  <c:v>0.7552724779648757</c:v>
                </c:pt>
                <c:pt idx="51">
                  <c:v>0.720701220247727</c:v>
                </c:pt>
                <c:pt idx="52">
                  <c:v>-0.42219652521832435</c:v>
                </c:pt>
                <c:pt idx="53">
                  <c:v>-1.697852552640917</c:v>
                </c:pt>
                <c:pt idx="54">
                  <c:v>1.5188462763052062</c:v>
                </c:pt>
              </c:numCache>
            </c:numRef>
          </c:xVal>
          <c:yVal>
            <c:numRef>
              <c:f>Sheet1!$B$187:$B$241</c:f>
              <c:numCache>
                <c:formatCode>General</c:formatCode>
                <c:ptCount val="55"/>
                <c:pt idx="0">
                  <c:v>0.17635466513990217</c:v>
                </c:pt>
                <c:pt idx="1">
                  <c:v>0.17692850582615838</c:v>
                </c:pt>
                <c:pt idx="2">
                  <c:v>0.1769432828586986</c:v>
                </c:pt>
                <c:pt idx="3">
                  <c:v>0.17707816695401335</c:v>
                </c:pt>
                <c:pt idx="4">
                  <c:v>0.17709835042805372</c:v>
                </c:pt>
                <c:pt idx="5">
                  <c:v>0.17681543177498035</c:v>
                </c:pt>
                <c:pt idx="6">
                  <c:v>0.1766262430704074</c:v>
                </c:pt>
                <c:pt idx="7">
                  <c:v>0.17658991109495026</c:v>
                </c:pt>
                <c:pt idx="8">
                  <c:v>0.1761359318560099</c:v>
                </c:pt>
                <c:pt idx="9">
                  <c:v>0.1762278622551152</c:v>
                </c:pt>
                <c:pt idx="10">
                  <c:v>0.17609976090940826</c:v>
                </c:pt>
                <c:pt idx="11">
                  <c:v>0.17631284480404186</c:v>
                </c:pt>
                <c:pt idx="12">
                  <c:v>0.1763133385270809</c:v>
                </c:pt>
                <c:pt idx="13">
                  <c:v>0.17667691348291312</c:v>
                </c:pt>
                <c:pt idx="14">
                  <c:v>0.17664942518946614</c:v>
                </c:pt>
                <c:pt idx="15">
                  <c:v>0.17653615003078937</c:v>
                </c:pt>
                <c:pt idx="16">
                  <c:v>0.17624935051684934</c:v>
                </c:pt>
                <c:pt idx="17">
                  <c:v>0.17642438168603392</c:v>
                </c:pt>
                <c:pt idx="18">
                  <c:v>0.17639465797503256</c:v>
                </c:pt>
                <c:pt idx="19">
                  <c:v>0.17628264583311312</c:v>
                </c:pt>
                <c:pt idx="20">
                  <c:v>0.17682099336365123</c:v>
                </c:pt>
                <c:pt idx="21">
                  <c:v>0.17709222719905607</c:v>
                </c:pt>
                <c:pt idx="22">
                  <c:v>0.17744534844689744</c:v>
                </c:pt>
                <c:pt idx="23">
                  <c:v>0.17741729044624185</c:v>
                </c:pt>
                <c:pt idx="24">
                  <c:v>0.17738525678359204</c:v>
                </c:pt>
                <c:pt idx="25">
                  <c:v>0.17729916720364378</c:v>
                </c:pt>
                <c:pt idx="26">
                  <c:v>0.17695929745537092</c:v>
                </c:pt>
                <c:pt idx="27">
                  <c:v>0.17663535990380116</c:v>
                </c:pt>
                <c:pt idx="28">
                  <c:v>0.17681399728139266</c:v>
                </c:pt>
                <c:pt idx="29">
                  <c:v>0.17727471232950762</c:v>
                </c:pt>
                <c:pt idx="30">
                  <c:v>0.17736657255396712</c:v>
                </c:pt>
                <c:pt idx="31">
                  <c:v>0.17783909260577327</c:v>
                </c:pt>
                <c:pt idx="32">
                  <c:v>0.17761892118649164</c:v>
                </c:pt>
                <c:pt idx="33">
                  <c:v>0.17703381466033832</c:v>
                </c:pt>
                <c:pt idx="34">
                  <c:v>0.1764727579386929</c:v>
                </c:pt>
                <c:pt idx="35">
                  <c:v>0.17709537948459295</c:v>
                </c:pt>
                <c:pt idx="36">
                  <c:v>0.17772956757048636</c:v>
                </c:pt>
                <c:pt idx="37">
                  <c:v>0.1773899012453892</c:v>
                </c:pt>
                <c:pt idx="38">
                  <c:v>0.17750881162087126</c:v>
                </c:pt>
                <c:pt idx="39">
                  <c:v>0.17701290984702092</c:v>
                </c:pt>
                <c:pt idx="40">
                  <c:v>0.1766945133800423</c:v>
                </c:pt>
                <c:pt idx="41">
                  <c:v>0.1763186448260665</c:v>
                </c:pt>
                <c:pt idx="42">
                  <c:v>0.17672400014008696</c:v>
                </c:pt>
                <c:pt idx="43">
                  <c:v>0.17612354241634404</c:v>
                </c:pt>
                <c:pt idx="44">
                  <c:v>0.1755773102543747</c:v>
                </c:pt>
                <c:pt idx="45">
                  <c:v>0.17563189732624668</c:v>
                </c:pt>
                <c:pt idx="46">
                  <c:v>0.17610525939132154</c:v>
                </c:pt>
                <c:pt idx="47">
                  <c:v>0.17596082864268814</c:v>
                </c:pt>
                <c:pt idx="48">
                  <c:v>0.17550225126875788</c:v>
                </c:pt>
                <c:pt idx="49">
                  <c:v>0.17505639208532178</c:v>
                </c:pt>
                <c:pt idx="50">
                  <c:v>0.1758011369044163</c:v>
                </c:pt>
                <c:pt idx="51">
                  <c:v>0.17622979604681452</c:v>
                </c:pt>
                <c:pt idx="52">
                  <c:v>0.19040091968450995</c:v>
                </c:pt>
                <c:pt idx="53">
                  <c:v>0.2062181521145252</c:v>
                </c:pt>
                <c:pt idx="54">
                  <c:v>0.1663333619037988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045482239256416"/>
          <c:min val="0.106804827194035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5.339</c:v>
                </c:pt>
                <c:pt idx="1">
                  <c:v>908.2997</c:v>
                </c:pt>
                <c:pt idx="2">
                  <c:v>940.9637</c:v>
                </c:pt>
                <c:pt idx="3">
                  <c:v>955.9334</c:v>
                </c:pt>
                <c:pt idx="4">
                  <c:v>942.4441</c:v>
                </c:pt>
                <c:pt idx="5">
                  <c:v>940.2147</c:v>
                </c:pt>
                <c:pt idx="6">
                  <c:v>909.8198</c:v>
                </c:pt>
                <c:pt idx="7">
                  <c:v>924.4938</c:v>
                </c:pt>
                <c:pt idx="8">
                  <c:v>923.6388</c:v>
                </c:pt>
                <c:pt idx="9">
                  <c:v>897.1056</c:v>
                </c:pt>
                <c:pt idx="10">
                  <c:v>879.3296</c:v>
                </c:pt>
                <c:pt idx="11">
                  <c:v>894.5324</c:v>
                </c:pt>
                <c:pt idx="12">
                  <c:v>888.5455</c:v>
                </c:pt>
                <c:pt idx="13">
                  <c:v>871.4541</c:v>
                </c:pt>
                <c:pt idx="14">
                  <c:v>924.2327</c:v>
                </c:pt>
                <c:pt idx="15">
                  <c:v>926.4744</c:v>
                </c:pt>
                <c:pt idx="16">
                  <c:v>967.2882</c:v>
                </c:pt>
                <c:pt idx="17">
                  <c:v>949.7834</c:v>
                </c:pt>
                <c:pt idx="18">
                  <c:v>1007.0661</c:v>
                </c:pt>
                <c:pt idx="19">
                  <c:v>1009.8445</c:v>
                </c:pt>
                <c:pt idx="20">
                  <c:v>1021.2071</c:v>
                </c:pt>
                <c:pt idx="21">
                  <c:v>1026.5957</c:v>
                </c:pt>
                <c:pt idx="22">
                  <c:v>1010.5776</c:v>
                </c:pt>
                <c:pt idx="23">
                  <c:v>995.7251</c:v>
                </c:pt>
                <c:pt idx="24">
                  <c:v>1003.6206</c:v>
                </c:pt>
                <c:pt idx="25">
                  <c:v>975.6425</c:v>
                </c:pt>
                <c:pt idx="26">
                  <c:v>996.5869</c:v>
                </c:pt>
                <c:pt idx="27">
                  <c:v>1051.6926</c:v>
                </c:pt>
                <c:pt idx="28">
                  <c:v>1017.9765</c:v>
                </c:pt>
                <c:pt idx="29">
                  <c:v>955.151</c:v>
                </c:pt>
                <c:pt idx="30">
                  <c:v>975.1197</c:v>
                </c:pt>
                <c:pt idx="31">
                  <c:v>979.0429</c:v>
                </c:pt>
                <c:pt idx="32">
                  <c:v>964.5436</c:v>
                </c:pt>
                <c:pt idx="33">
                  <c:v>917.2174</c:v>
                </c:pt>
                <c:pt idx="34">
                  <c:v>975.4718</c:v>
                </c:pt>
                <c:pt idx="35">
                  <c:v>1007.2858</c:v>
                </c:pt>
                <c:pt idx="36">
                  <c:v>1086.5904</c:v>
                </c:pt>
                <c:pt idx="37">
                  <c:v>1090.6655</c:v>
                </c:pt>
                <c:pt idx="38">
                  <c:v>1115.782</c:v>
                </c:pt>
                <c:pt idx="39">
                  <c:v>1139.0051</c:v>
                </c:pt>
                <c:pt idx="40">
                  <c:v>1161.8093</c:v>
                </c:pt>
                <c:pt idx="41">
                  <c:v>1164.516</c:v>
                </c:pt>
                <c:pt idx="42">
                  <c:v>1188.0815</c:v>
                </c:pt>
                <c:pt idx="43">
                  <c:v>1207.3765</c:v>
                </c:pt>
                <c:pt idx="44">
                  <c:v>1068.4104</c:v>
                </c:pt>
                <c:pt idx="45">
                  <c:v>1044.4211</c:v>
                </c:pt>
                <c:pt idx="46">
                  <c:v>1022.3771</c:v>
                </c:pt>
                <c:pt idx="47">
                  <c:v>998.029</c:v>
                </c:pt>
                <c:pt idx="48">
                  <c:v>992.409</c:v>
                </c:pt>
                <c:pt idx="49">
                  <c:v>950.193</c:v>
                </c:pt>
                <c:pt idx="50">
                  <c:v>957.3793</c:v>
                </c:pt>
                <c:pt idx="51">
                  <c:v>985.9719</c:v>
                </c:pt>
                <c:pt idx="52">
                  <c:v>989.7834</c:v>
                </c:pt>
                <c:pt idx="53">
                  <c:v>1077.0405</c:v>
                </c:pt>
                <c:pt idx="54">
                  <c:v>1079.7286</c:v>
                </c:pt>
                <c:pt idx="55">
                  <c:v>1113.3342</c:v>
                </c:pt>
                <c:pt idx="56">
                  <c:v>1089.9423</c:v>
                </c:pt>
                <c:pt idx="57">
                  <c:v>1092.6085</c:v>
                </c:pt>
                <c:pt idx="58">
                  <c:v>1065.2985</c:v>
                </c:pt>
                <c:pt idx="59">
                  <c:v>1076.2585</c:v>
                </c:pt>
                <c:pt idx="60">
                  <c:v>1099.4991</c:v>
                </c:pt>
                <c:pt idx="61">
                  <c:v>1074.6468</c:v>
                </c:pt>
                <c:pt idx="62">
                  <c:v>1024.3388</c:v>
                </c:pt>
                <c:pt idx="63">
                  <c:v>1051.3767</c:v>
                </c:pt>
                <c:pt idx="64">
                  <c:v>1058.04</c:v>
                </c:pt>
                <c:pt idx="65">
                  <c:v>1027.6052</c:v>
                </c:pt>
                <c:pt idx="66">
                  <c:v>1040.2006</c:v>
                </c:pt>
                <c:pt idx="67">
                  <c:v>1026.6074</c:v>
                </c:pt>
                <c:pt idx="68">
                  <c:v>1024.3861</c:v>
                </c:pt>
                <c:pt idx="69">
                  <c:v>1042.0443</c:v>
                </c:pt>
                <c:pt idx="70">
                  <c:v>1039.7038</c:v>
                </c:pt>
                <c:pt idx="71">
                  <c:v>1056.9024</c:v>
                </c:pt>
                <c:pt idx="72">
                  <c:v>1076.037</c:v>
                </c:pt>
                <c:pt idx="73">
                  <c:v>1112.2362</c:v>
                </c:pt>
                <c:pt idx="74">
                  <c:v>1082.1863</c:v>
                </c:pt>
                <c:pt idx="75">
                  <c:v>1094.3358</c:v>
                </c:pt>
                <c:pt idx="76">
                  <c:v>1069.793</c:v>
                </c:pt>
                <c:pt idx="77">
                  <c:v>1033.0136</c:v>
                </c:pt>
                <c:pt idx="78">
                  <c:v>1099.6623</c:v>
                </c:pt>
                <c:pt idx="79">
                  <c:v>835.6999</c:v>
                </c:pt>
                <c:pt idx="80">
                  <c:v>829.1711</c:v>
                </c:pt>
                <c:pt idx="81">
                  <c:v>1000.7921</c:v>
                </c:pt>
                <c:pt idx="82">
                  <c:v>1004.7331</c:v>
                </c:pt>
                <c:pt idx="83">
                  <c:v>1035.0474</c:v>
                </c:pt>
                <c:pt idx="84">
                  <c:v>1034.8995</c:v>
                </c:pt>
                <c:pt idx="85">
                  <c:v>1059.6931</c:v>
                </c:pt>
                <c:pt idx="86">
                  <c:v>1143.2755</c:v>
                </c:pt>
                <c:pt idx="87">
                  <c:v>1164.9097</c:v>
                </c:pt>
                <c:pt idx="88">
                  <c:v>1166.1309</c:v>
                </c:pt>
                <c:pt idx="89">
                  <c:v>1119.1226</c:v>
                </c:pt>
                <c:pt idx="90">
                  <c:v>1152.0588</c:v>
                </c:pt>
                <c:pt idx="91">
                  <c:v>1172.9296</c:v>
                </c:pt>
                <c:pt idx="92">
                  <c:v>1168.2515</c:v>
                </c:pt>
                <c:pt idx="93">
                  <c:v>1196.6421</c:v>
                </c:pt>
                <c:pt idx="94">
                  <c:v>1182.9458</c:v>
                </c:pt>
                <c:pt idx="95">
                  <c:v>1191.1058</c:v>
                </c:pt>
                <c:pt idx="96">
                  <c:v>1134.5103</c:v>
                </c:pt>
                <c:pt idx="97">
                  <c:v>1151.7349</c:v>
                </c:pt>
                <c:pt idx="98">
                  <c:v>1135.9488</c:v>
                </c:pt>
                <c:pt idx="99">
                  <c:v>1087.9181</c:v>
                </c:pt>
                <c:pt idx="100">
                  <c:v>1075.9064</c:v>
                </c:pt>
                <c:pt idx="101">
                  <c:v>1118.8907</c:v>
                </c:pt>
                <c:pt idx="102">
                  <c:v>1146.2543</c:v>
                </c:pt>
                <c:pt idx="103">
                  <c:v>1027.8397</c:v>
                </c:pt>
                <c:pt idx="104">
                  <c:v>1112.0425</c:v>
                </c:pt>
              </c:numCache>
            </c:numRef>
          </c:xVal>
          <c:yVal>
            <c:numRef>
              <c:f>Sheet1!$B$2:$B$106</c:f>
              <c:numCache>
                <c:formatCode>General</c:formatCode>
                <c:ptCount val="105"/>
                <c:pt idx="0">
                  <c:v>0.22194230725584985</c:v>
                </c:pt>
                <c:pt idx="1">
                  <c:v>0.22026857992494867</c:v>
                </c:pt>
                <c:pt idx="2">
                  <c:v>0.20593717638936831</c:v>
                </c:pt>
                <c:pt idx="3">
                  <c:v>0.2040204890306369</c:v>
                </c:pt>
                <c:pt idx="4">
                  <c:v>0.19666111126804328</c:v>
                </c:pt>
                <c:pt idx="5">
                  <c:v>0.18609471714409098</c:v>
                </c:pt>
                <c:pt idx="6">
                  <c:v>0.2048780487804878</c:v>
                </c:pt>
                <c:pt idx="7">
                  <c:v>0.1934277403062366</c:v>
                </c:pt>
                <c:pt idx="8">
                  <c:v>0.20359481491380463</c:v>
                </c:pt>
                <c:pt idx="9">
                  <c:v>0.20617391075701402</c:v>
                </c:pt>
                <c:pt idx="10">
                  <c:v>0.21707292607081954</c:v>
                </c:pt>
                <c:pt idx="11">
                  <c:v>0.2116915611494427</c:v>
                </c:pt>
                <c:pt idx="12">
                  <c:v>0.22563269096819133</c:v>
                </c:pt>
                <c:pt idx="13">
                  <c:v>0.23082949760062677</c:v>
                </c:pt>
                <c:pt idx="14">
                  <c:v>0.22157152191273624</c:v>
                </c:pt>
                <c:pt idx="15">
                  <c:v>0.21490062398890686</c:v>
                </c:pt>
                <c:pt idx="16">
                  <c:v>0.20514754098360655</c:v>
                </c:pt>
                <c:pt idx="17">
                  <c:v>0.19200371920037193</c:v>
                </c:pt>
                <c:pt idx="18">
                  <c:v>0.18350906290723848</c:v>
                </c:pt>
                <c:pt idx="19">
                  <c:v>0.15793871866295264</c:v>
                </c:pt>
                <c:pt idx="20">
                  <c:v>0.17411278281842196</c:v>
                </c:pt>
                <c:pt idx="21">
                  <c:v>0.16994172652120884</c:v>
                </c:pt>
                <c:pt idx="22">
                  <c:v>0.1656244166511107</c:v>
                </c:pt>
                <c:pt idx="23">
                  <c:v>0.16955068331530823</c:v>
                </c:pt>
                <c:pt idx="24">
                  <c:v>0.1800869002496071</c:v>
                </c:pt>
                <c:pt idx="25">
                  <c:v>0.17639368266917688</c:v>
                </c:pt>
                <c:pt idx="26">
                  <c:v>0.17197333457647662</c:v>
                </c:pt>
                <c:pt idx="27">
                  <c:v>0.17267888823181549</c:v>
                </c:pt>
                <c:pt idx="28">
                  <c:v>0.16393898650841485</c:v>
                </c:pt>
                <c:pt idx="29">
                  <c:v>0.17797471441928533</c:v>
                </c:pt>
                <c:pt idx="30">
                  <c:v>0.16221154850161845</c:v>
                </c:pt>
                <c:pt idx="31">
                  <c:v>0.15748870730345632</c:v>
                </c:pt>
                <c:pt idx="32">
                  <c:v>0.16348269653930786</c:v>
                </c:pt>
                <c:pt idx="33">
                  <c:v>0.18088082487411078</c:v>
                </c:pt>
                <c:pt idx="34">
                  <c:v>0.18054500054282924</c:v>
                </c:pt>
                <c:pt idx="35">
                  <c:v>0.19449394155381325</c:v>
                </c:pt>
                <c:pt idx="36">
                  <c:v>0.16721767225185966</c:v>
                </c:pt>
                <c:pt idx="37">
                  <c:v>0.13747257569109259</c:v>
                </c:pt>
                <c:pt idx="38">
                  <c:v>0.13328411361070094</c:v>
                </c:pt>
                <c:pt idx="39">
                  <c:v>0.13529929985626188</c:v>
                </c:pt>
                <c:pt idx="40">
                  <c:v>0.14140245313584818</c:v>
                </c:pt>
                <c:pt idx="41">
                  <c:v>0.1320315745741587</c:v>
                </c:pt>
                <c:pt idx="42">
                  <c:v>0.13478445830969937</c:v>
                </c:pt>
                <c:pt idx="43">
                  <c:v>0.14850637407242975</c:v>
                </c:pt>
                <c:pt idx="44">
                  <c:v>0.160577483329377</c:v>
                </c:pt>
                <c:pt idx="45">
                  <c:v>0.17985482748334494</c:v>
                </c:pt>
                <c:pt idx="46">
                  <c:v>0.1890920904278698</c:v>
                </c:pt>
                <c:pt idx="47">
                  <c:v>0.1872183925751916</c:v>
                </c:pt>
                <c:pt idx="48">
                  <c:v>0.20402986156410813</c:v>
                </c:pt>
                <c:pt idx="49">
                  <c:v>0.2373207055109464</c:v>
                </c:pt>
                <c:pt idx="50">
                  <c:v>0.19963127804987058</c:v>
                </c:pt>
                <c:pt idx="51">
                  <c:v>0.18215747110931246</c:v>
                </c:pt>
                <c:pt idx="52">
                  <c:v>0.19546332988463117</c:v>
                </c:pt>
                <c:pt idx="53">
                  <c:v>0.18087203153542927</c:v>
                </c:pt>
                <c:pt idx="54">
                  <c:v>0.1730390224674813</c:v>
                </c:pt>
                <c:pt idx="55">
                  <c:v>0.1718077183480027</c:v>
                </c:pt>
                <c:pt idx="56">
                  <c:v>0.18865047380459646</c:v>
                </c:pt>
                <c:pt idx="57">
                  <c:v>0.1838357464989319</c:v>
                </c:pt>
                <c:pt idx="58">
                  <c:v>0.19846960029818675</c:v>
                </c:pt>
                <c:pt idx="59">
                  <c:v>0.20095489936829733</c:v>
                </c:pt>
                <c:pt idx="60">
                  <c:v>0.20754898811435915</c:v>
                </c:pt>
                <c:pt idx="61">
                  <c:v>0.20793681621026736</c:v>
                </c:pt>
                <c:pt idx="62">
                  <c:v>0.215126935636785</c:v>
                </c:pt>
                <c:pt idx="63">
                  <c:v>0.22940080302768331</c:v>
                </c:pt>
                <c:pt idx="64">
                  <c:v>0.21880271394834502</c:v>
                </c:pt>
                <c:pt idx="65">
                  <c:v>0.21689451132421955</c:v>
                </c:pt>
                <c:pt idx="66">
                  <c:v>0.2178862817026121</c:v>
                </c:pt>
                <c:pt idx="67">
                  <c:v>0.21287441455179174</c:v>
                </c:pt>
                <c:pt idx="68">
                  <c:v>0.19509166798753105</c:v>
                </c:pt>
                <c:pt idx="69">
                  <c:v>0.1761484219894571</c:v>
                </c:pt>
                <c:pt idx="70">
                  <c:v>0.1632560695697152</c:v>
                </c:pt>
                <c:pt idx="71">
                  <c:v>0.1733943061477101</c:v>
                </c:pt>
                <c:pt idx="72">
                  <c:v>0.1759865159627206</c:v>
                </c:pt>
                <c:pt idx="73">
                  <c:v>0.17940107322139517</c:v>
                </c:pt>
                <c:pt idx="74">
                  <c:v>0.1715601227812625</c:v>
                </c:pt>
                <c:pt idx="75">
                  <c:v>0.16595561470116246</c:v>
                </c:pt>
                <c:pt idx="76">
                  <c:v>0.1590899603423085</c:v>
                </c:pt>
                <c:pt idx="77">
                  <c:v>0.16565724071676205</c:v>
                </c:pt>
                <c:pt idx="78">
                  <c:v>0.15544116232079283</c:v>
                </c:pt>
                <c:pt idx="79">
                  <c:v>0.18983507236620667</c:v>
                </c:pt>
                <c:pt idx="80">
                  <c:v>0.18471825886962817</c:v>
                </c:pt>
                <c:pt idx="81">
                  <c:v>0.16555171917709682</c:v>
                </c:pt>
                <c:pt idx="82">
                  <c:v>0.15227773695811903</c:v>
                </c:pt>
                <c:pt idx="83">
                  <c:v>0.14037588427832332</c:v>
                </c:pt>
                <c:pt idx="84">
                  <c:v>0.13738054466110589</c:v>
                </c:pt>
                <c:pt idx="85">
                  <c:v>0.1408924507766894</c:v>
                </c:pt>
                <c:pt idx="86">
                  <c:v>0.14388276219376805</c:v>
                </c:pt>
                <c:pt idx="87">
                  <c:v>0.16424116424116425</c:v>
                </c:pt>
                <c:pt idx="88">
                  <c:v>0.15143294683876612</c:v>
                </c:pt>
                <c:pt idx="89">
                  <c:v>0.13790962071271615</c:v>
                </c:pt>
                <c:pt idx="90">
                  <c:v>0.13506044905008635</c:v>
                </c:pt>
                <c:pt idx="91">
                  <c:v>0.13018990876931671</c:v>
                </c:pt>
                <c:pt idx="92">
                  <c:v>0.14122937388056858</c:v>
                </c:pt>
                <c:pt idx="93">
                  <c:v>0.13123975562509313</c:v>
                </c:pt>
                <c:pt idx="94">
                  <c:v>0.13373245077785742</c:v>
                </c:pt>
                <c:pt idx="95">
                  <c:v>0.14385922108024032</c:v>
                </c:pt>
                <c:pt idx="96">
                  <c:v>0.13698139399502945</c:v>
                </c:pt>
                <c:pt idx="97">
                  <c:v>0.14533199314137055</c:v>
                </c:pt>
                <c:pt idx="98">
                  <c:v>0.16315129011740842</c:v>
                </c:pt>
                <c:pt idx="99">
                  <c:v>0.17124577715327813</c:v>
                </c:pt>
                <c:pt idx="100">
                  <c:v>0.19575939007580978</c:v>
                </c:pt>
                <c:pt idx="101">
                  <c:v>0.17001159575417002</c:v>
                </c:pt>
                <c:pt idx="102">
                  <c:v>0.14514833816640643</c:v>
                </c:pt>
                <c:pt idx="103">
                  <c:v>0.16519679377366073</c:v>
                </c:pt>
                <c:pt idx="104">
                  <c:v>0.1671687835916222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63.5546</c:v>
                </c:pt>
                <c:pt idx="1">
                  <c:v>1155.5966</c:v>
                </c:pt>
                <c:pt idx="2">
                  <c:v>1143.6186</c:v>
                </c:pt>
                <c:pt idx="3">
                  <c:v>1162.3873</c:v>
                </c:pt>
                <c:pt idx="4">
                  <c:v>1154.7918</c:v>
                </c:pt>
                <c:pt idx="5">
                  <c:v>1172.1345</c:v>
                </c:pt>
                <c:pt idx="6">
                  <c:v>1112.6925</c:v>
                </c:pt>
                <c:pt idx="7">
                  <c:v>1130.1033</c:v>
                </c:pt>
                <c:pt idx="8">
                  <c:v>1197.7869</c:v>
                </c:pt>
                <c:pt idx="9">
                  <c:v>1137.9749</c:v>
                </c:pt>
                <c:pt idx="10">
                  <c:v>1156.724</c:v>
                </c:pt>
                <c:pt idx="11">
                  <c:v>1086.2682</c:v>
                </c:pt>
                <c:pt idx="12">
                  <c:v>1102.1906</c:v>
                </c:pt>
                <c:pt idx="13">
                  <c:v>1121.3606</c:v>
                </c:pt>
                <c:pt idx="14">
                  <c:v>1145.0526</c:v>
                </c:pt>
                <c:pt idx="15">
                  <c:v>1154.4245</c:v>
                </c:pt>
                <c:pt idx="16">
                  <c:v>1167.8843</c:v>
                </c:pt>
                <c:pt idx="17">
                  <c:v>1148.4451</c:v>
                </c:pt>
                <c:pt idx="18">
                  <c:v>1120.5366</c:v>
                </c:pt>
                <c:pt idx="19">
                  <c:v>1186.8136</c:v>
                </c:pt>
                <c:pt idx="20">
                  <c:v>1152.9145</c:v>
                </c:pt>
                <c:pt idx="21">
                  <c:v>1180.6063</c:v>
                </c:pt>
                <c:pt idx="22">
                  <c:v>1165.3685</c:v>
                </c:pt>
                <c:pt idx="23">
                  <c:v>1120.998</c:v>
                </c:pt>
                <c:pt idx="24">
                  <c:v>1127.2032</c:v>
                </c:pt>
                <c:pt idx="25">
                  <c:v>1097.0884</c:v>
                </c:pt>
                <c:pt idx="26">
                  <c:v>1156.8356</c:v>
                </c:pt>
                <c:pt idx="27">
                  <c:v>1200.9329</c:v>
                </c:pt>
                <c:pt idx="28">
                  <c:v>1216.4221</c:v>
                </c:pt>
                <c:pt idx="29">
                  <c:v>1215.7485</c:v>
                </c:pt>
                <c:pt idx="30">
                  <c:v>1217.9024</c:v>
                </c:pt>
                <c:pt idx="31">
                  <c:v>1128.4813</c:v>
                </c:pt>
                <c:pt idx="32">
                  <c:v>1150.3066</c:v>
                </c:pt>
                <c:pt idx="33">
                  <c:v>1196.1109</c:v>
                </c:pt>
                <c:pt idx="34">
                  <c:v>1251.2024</c:v>
                </c:pt>
                <c:pt idx="35">
                  <c:v>1234.7583</c:v>
                </c:pt>
                <c:pt idx="36">
                  <c:v>1196.4672</c:v>
                </c:pt>
                <c:pt idx="37">
                  <c:v>1243.4517</c:v>
                </c:pt>
                <c:pt idx="38">
                  <c:v>1207.2</c:v>
                </c:pt>
                <c:pt idx="39">
                  <c:v>1224.0096</c:v>
                </c:pt>
                <c:pt idx="40">
                  <c:v>1240.0289</c:v>
                </c:pt>
                <c:pt idx="41">
                  <c:v>1269.3422</c:v>
                </c:pt>
                <c:pt idx="42">
                  <c:v>1261.3194</c:v>
                </c:pt>
                <c:pt idx="43">
                  <c:v>1269.6004</c:v>
                </c:pt>
                <c:pt idx="44">
                  <c:v>1196.4278</c:v>
                </c:pt>
                <c:pt idx="45">
                  <c:v>1170.8185</c:v>
                </c:pt>
                <c:pt idx="46">
                  <c:v>1156.6739</c:v>
                </c:pt>
                <c:pt idx="47">
                  <c:v>1141.2065</c:v>
                </c:pt>
                <c:pt idx="48">
                  <c:v>1110.0836</c:v>
                </c:pt>
                <c:pt idx="49">
                  <c:v>1123.5574</c:v>
                </c:pt>
                <c:pt idx="50">
                  <c:v>1041.2598</c:v>
                </c:pt>
                <c:pt idx="51">
                  <c:v>1015.0635</c:v>
                </c:pt>
              </c:numCache>
            </c:numRef>
          </c:xVal>
          <c:yVal>
            <c:numRef>
              <c:f>Sheet1!$B$109:$B$160</c:f>
              <c:numCache>
                <c:formatCode>General</c:formatCode>
                <c:ptCount val="52"/>
                <c:pt idx="0">
                  <c:v>0.16764404525735213</c:v>
                </c:pt>
                <c:pt idx="1">
                  <c:v>0.1625792614696009</c:v>
                </c:pt>
                <c:pt idx="2">
                  <c:v>0.17124495967741934</c:v>
                </c:pt>
                <c:pt idx="3">
                  <c:v>0.17870228847804695</c:v>
                </c:pt>
                <c:pt idx="4">
                  <c:v>0.16702852924573364</c:v>
                </c:pt>
                <c:pt idx="5">
                  <c:v>0.16200530015988085</c:v>
                </c:pt>
                <c:pt idx="6">
                  <c:v>0.16994058317298544</c:v>
                </c:pt>
                <c:pt idx="7">
                  <c:v>0.16670934699103712</c:v>
                </c:pt>
                <c:pt idx="8">
                  <c:v>0.16762843507283445</c:v>
                </c:pt>
                <c:pt idx="9">
                  <c:v>0.18330661781543395</c:v>
                </c:pt>
                <c:pt idx="10">
                  <c:v>0.18040881630851563</c:v>
                </c:pt>
                <c:pt idx="11">
                  <c:v>0.2011106951204293</c:v>
                </c:pt>
                <c:pt idx="12">
                  <c:v>0.1919274930146282</c:v>
                </c:pt>
                <c:pt idx="13">
                  <c:v>0.18640781405269152</c:v>
                </c:pt>
                <c:pt idx="14">
                  <c:v>0.18856824866841562</c:v>
                </c:pt>
                <c:pt idx="15">
                  <c:v>0.1724264809940279</c:v>
                </c:pt>
                <c:pt idx="16">
                  <c:v>0.17109078741913897</c:v>
                </c:pt>
                <c:pt idx="17">
                  <c:v>0.15125794670634385</c:v>
                </c:pt>
                <c:pt idx="18">
                  <c:v>0.14926702842795822</c:v>
                </c:pt>
                <c:pt idx="19">
                  <c:v>0.159806384865504</c:v>
                </c:pt>
                <c:pt idx="20">
                  <c:v>0.1573928152907423</c:v>
                </c:pt>
                <c:pt idx="21">
                  <c:v>0.15343151410145345</c:v>
                </c:pt>
                <c:pt idx="22">
                  <c:v>0.15176059753613347</c:v>
                </c:pt>
                <c:pt idx="23">
                  <c:v>0.15393190109444668</c:v>
                </c:pt>
                <c:pt idx="24">
                  <c:v>0.15267321071190318</c:v>
                </c:pt>
                <c:pt idx="25">
                  <c:v>0.15868338244842914</c:v>
                </c:pt>
                <c:pt idx="26">
                  <c:v>0.14334487401423351</c:v>
                </c:pt>
                <c:pt idx="27">
                  <c:v>0.13084430805949793</c:v>
                </c:pt>
                <c:pt idx="28">
                  <c:v>0.14007169023515972</c:v>
                </c:pt>
                <c:pt idx="29">
                  <c:v>0.12953151143335193</c:v>
                </c:pt>
                <c:pt idx="30">
                  <c:v>0.14574663698828993</c:v>
                </c:pt>
                <c:pt idx="31">
                  <c:v>0.13473718399826773</c:v>
                </c:pt>
                <c:pt idx="32">
                  <c:v>0.1377187920753991</c:v>
                </c:pt>
                <c:pt idx="33">
                  <c:v>0.15714342836578832</c:v>
                </c:pt>
                <c:pt idx="34">
                  <c:v>0.17673413121122877</c:v>
                </c:pt>
                <c:pt idx="35">
                  <c:v>0.17000804858418087</c:v>
                </c:pt>
                <c:pt idx="36">
                  <c:v>0.1492232435628662</c:v>
                </c:pt>
                <c:pt idx="37">
                  <c:v>0.13839568030354624</c:v>
                </c:pt>
                <c:pt idx="38">
                  <c:v>0.1364245510586974</c:v>
                </c:pt>
                <c:pt idx="39">
                  <c:v>0.1550192172583378</c:v>
                </c:pt>
                <c:pt idx="40">
                  <c:v>0.13829830646806773</c:v>
                </c:pt>
                <c:pt idx="41">
                  <c:v>0.1422884048539601</c:v>
                </c:pt>
                <c:pt idx="42">
                  <c:v>0.13852556480380498</c:v>
                </c:pt>
                <c:pt idx="43">
                  <c:v>0.13625405805020732</c:v>
                </c:pt>
                <c:pt idx="44">
                  <c:v>0.14037665286496595</c:v>
                </c:pt>
                <c:pt idx="45">
                  <c:v>0.15610974594342114</c:v>
                </c:pt>
                <c:pt idx="46">
                  <c:v>0.15033521181500195</c:v>
                </c:pt>
                <c:pt idx="47">
                  <c:v>0.15482262528304477</c:v>
                </c:pt>
                <c:pt idx="48">
                  <c:v>0.1476510067114094</c:v>
                </c:pt>
                <c:pt idx="49">
                  <c:v>0.15917829865683433</c:v>
                </c:pt>
                <c:pt idx="50">
                  <c:v>0.198731798966651</c:v>
                </c:pt>
                <c:pt idx="51">
                  <c:v>0.182217300162164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4.6675474147884</c:v>
                </c:pt>
              </c:numCache>
            </c:numRef>
          </c:xVal>
          <c:yVal>
            <c:numRef>
              <c:f>Sheet1!$B$163:$B$164</c:f>
              <c:numCache>
                <c:formatCode>General</c:formatCode>
                <c:ptCount val="2"/>
                <c:pt idx="0">
                  <c:v>0.20409166500149634</c:v>
                </c:pt>
                <c:pt idx="1">
                  <c:v>0.2040916650014963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4.6675474147884</c:v>
                </c:pt>
                <c:pt idx="1">
                  <c:v>924.6675474147884</c:v>
                </c:pt>
              </c:numCache>
            </c:numRef>
          </c:xVal>
          <c:yVal>
            <c:numRef>
              <c:f>Sheet1!$B$167:$B$168</c:f>
              <c:numCache>
                <c:formatCode>General</c:formatCode>
                <c:ptCount val="2"/>
                <c:pt idx="0">
                  <c:v>0.204091665001496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1.6151830890688</c:v>
                </c:pt>
              </c:numCache>
            </c:numRef>
          </c:xVal>
          <c:yVal>
            <c:numRef>
              <c:f>Sheet1!$B$171:$B$172</c:f>
              <c:numCache>
                <c:formatCode>General</c:formatCode>
                <c:ptCount val="2"/>
                <c:pt idx="0">
                  <c:v>0.17280020329117562</c:v>
                </c:pt>
                <c:pt idx="1">
                  <c:v>0.1728002032911756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1.6151830890688</c:v>
                </c:pt>
                <c:pt idx="1">
                  <c:v>1091.6151830890688</c:v>
                </c:pt>
              </c:numCache>
            </c:numRef>
          </c:xVal>
          <c:yVal>
            <c:numRef>
              <c:f>Sheet1!$B$175:$B$176</c:f>
              <c:numCache>
                <c:formatCode>General</c:formatCode>
                <c:ptCount val="2"/>
                <c:pt idx="0">
                  <c:v>0.172800203291175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92.8184121094273</c:v>
                </c:pt>
              </c:numCache>
            </c:numRef>
          </c:xVal>
          <c:yVal>
            <c:numRef>
              <c:f>Sheet1!$B$179:$B$180</c:f>
              <c:numCache>
                <c:formatCode>General</c:formatCode>
                <c:ptCount val="2"/>
                <c:pt idx="0">
                  <c:v>0.1538313993721439</c:v>
                </c:pt>
                <c:pt idx="1">
                  <c:v>0.153831399372143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92.8184121094273</c:v>
                </c:pt>
                <c:pt idx="1">
                  <c:v>1192.8184121094273</c:v>
                </c:pt>
              </c:numCache>
            </c:numRef>
          </c:xVal>
          <c:yVal>
            <c:numRef>
              <c:f>Sheet1!$B$183:$B$184</c:f>
              <c:numCache>
                <c:formatCode>General</c:formatCode>
                <c:ptCount val="2"/>
                <c:pt idx="0">
                  <c:v>0.153831399372143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63.5546</c:v>
                </c:pt>
                <c:pt idx="1">
                  <c:v>1155.5966</c:v>
                </c:pt>
                <c:pt idx="2">
                  <c:v>1143.6186</c:v>
                </c:pt>
                <c:pt idx="3">
                  <c:v>1162.3873</c:v>
                </c:pt>
                <c:pt idx="4">
                  <c:v>1154.7918</c:v>
                </c:pt>
                <c:pt idx="5">
                  <c:v>1172.1345</c:v>
                </c:pt>
                <c:pt idx="6">
                  <c:v>1112.6925</c:v>
                </c:pt>
                <c:pt idx="7">
                  <c:v>1130.1033</c:v>
                </c:pt>
                <c:pt idx="8">
                  <c:v>1197.7869</c:v>
                </c:pt>
                <c:pt idx="9">
                  <c:v>1137.9749</c:v>
                </c:pt>
                <c:pt idx="10">
                  <c:v>1156.724</c:v>
                </c:pt>
                <c:pt idx="11">
                  <c:v>1086.2682</c:v>
                </c:pt>
                <c:pt idx="12">
                  <c:v>1102.1906</c:v>
                </c:pt>
                <c:pt idx="13">
                  <c:v>1121.3606</c:v>
                </c:pt>
                <c:pt idx="14">
                  <c:v>1145.0526</c:v>
                </c:pt>
                <c:pt idx="15">
                  <c:v>1154.4245</c:v>
                </c:pt>
                <c:pt idx="16">
                  <c:v>1167.8843</c:v>
                </c:pt>
                <c:pt idx="17">
                  <c:v>1148.4451</c:v>
                </c:pt>
                <c:pt idx="18">
                  <c:v>1120.5366</c:v>
                </c:pt>
                <c:pt idx="19">
                  <c:v>1186.8136</c:v>
                </c:pt>
                <c:pt idx="20">
                  <c:v>1152.9145</c:v>
                </c:pt>
                <c:pt idx="21">
                  <c:v>1180.6063</c:v>
                </c:pt>
                <c:pt idx="22">
                  <c:v>1165.3685</c:v>
                </c:pt>
                <c:pt idx="23">
                  <c:v>1120.998</c:v>
                </c:pt>
                <c:pt idx="24">
                  <c:v>1127.2032</c:v>
                </c:pt>
                <c:pt idx="25">
                  <c:v>1097.0884</c:v>
                </c:pt>
                <c:pt idx="26">
                  <c:v>1156.8356</c:v>
                </c:pt>
                <c:pt idx="27">
                  <c:v>1200.9329</c:v>
                </c:pt>
                <c:pt idx="28">
                  <c:v>1216.4221</c:v>
                </c:pt>
                <c:pt idx="29">
                  <c:v>1215.7485</c:v>
                </c:pt>
                <c:pt idx="30">
                  <c:v>1217.9024</c:v>
                </c:pt>
                <c:pt idx="31">
                  <c:v>1128.4813</c:v>
                </c:pt>
                <c:pt idx="32">
                  <c:v>1150.3066</c:v>
                </c:pt>
                <c:pt idx="33">
                  <c:v>1196.1109</c:v>
                </c:pt>
                <c:pt idx="34">
                  <c:v>1251.2024</c:v>
                </c:pt>
                <c:pt idx="35">
                  <c:v>1234.7583</c:v>
                </c:pt>
                <c:pt idx="36">
                  <c:v>1196.4672</c:v>
                </c:pt>
                <c:pt idx="37">
                  <c:v>1243.4517</c:v>
                </c:pt>
                <c:pt idx="38">
                  <c:v>1207.2</c:v>
                </c:pt>
                <c:pt idx="39">
                  <c:v>1224.0096</c:v>
                </c:pt>
                <c:pt idx="40">
                  <c:v>1240.0289</c:v>
                </c:pt>
                <c:pt idx="41">
                  <c:v>1269.3422</c:v>
                </c:pt>
                <c:pt idx="42">
                  <c:v>1261.3194</c:v>
                </c:pt>
                <c:pt idx="43">
                  <c:v>1269.6004</c:v>
                </c:pt>
                <c:pt idx="44">
                  <c:v>1196.4278</c:v>
                </c:pt>
                <c:pt idx="45">
                  <c:v>1170.8185</c:v>
                </c:pt>
                <c:pt idx="46">
                  <c:v>1156.6739</c:v>
                </c:pt>
                <c:pt idx="47">
                  <c:v>1141.2065</c:v>
                </c:pt>
                <c:pt idx="48">
                  <c:v>1110.0836</c:v>
                </c:pt>
                <c:pt idx="49">
                  <c:v>1123.5574</c:v>
                </c:pt>
                <c:pt idx="50">
                  <c:v>1041.2598</c:v>
                </c:pt>
                <c:pt idx="51">
                  <c:v>1015.0635</c:v>
                </c:pt>
                <c:pt idx="52">
                  <c:v>1091.6151830890688</c:v>
                </c:pt>
                <c:pt idx="53">
                  <c:v>924.6675474147884</c:v>
                </c:pt>
                <c:pt idx="54">
                  <c:v>1192.8184121094273</c:v>
                </c:pt>
              </c:numCache>
            </c:numRef>
          </c:xVal>
          <c:yVal>
            <c:numRef>
              <c:f>Sheet1!$B$187:$B$241</c:f>
              <c:numCache>
                <c:formatCode>General</c:formatCode>
                <c:ptCount val="55"/>
                <c:pt idx="0">
                  <c:v>0.15931639742211173</c:v>
                </c:pt>
                <c:pt idx="1">
                  <c:v>0.16080798759219697</c:v>
                </c:pt>
                <c:pt idx="2">
                  <c:v>0.16305305759185534</c:v>
                </c:pt>
                <c:pt idx="3">
                  <c:v>0.15953518772187802</c:v>
                </c:pt>
                <c:pt idx="4">
                  <c:v>0.16095883350434634</c:v>
                </c:pt>
                <c:pt idx="5">
                  <c:v>0.15770824279779475</c:v>
                </c:pt>
                <c:pt idx="6">
                  <c:v>0.16884962290463162</c:v>
                </c:pt>
                <c:pt idx="7">
                  <c:v>0.16558626802484772</c:v>
                </c:pt>
                <c:pt idx="8">
                  <c:v>0.1529001418077099</c:v>
                </c:pt>
                <c:pt idx="9">
                  <c:v>0.16411087204811448</c:v>
                </c:pt>
                <c:pt idx="10">
                  <c:v>0.16059667586088835</c:v>
                </c:pt>
                <c:pt idx="11">
                  <c:v>0.17380240326796215</c:v>
                </c:pt>
                <c:pt idx="12">
                  <c:v>0.17081802335791368</c:v>
                </c:pt>
                <c:pt idx="13">
                  <c:v>0.16722493670793448</c:v>
                </c:pt>
                <c:pt idx="14">
                  <c:v>0.16278427896608225</c:v>
                </c:pt>
                <c:pt idx="15">
                  <c:v>0.16102767756937175</c:v>
                </c:pt>
                <c:pt idx="16">
                  <c:v>0.15850486965641455</c:v>
                </c:pt>
                <c:pt idx="17">
                  <c:v>0.16214841321438406</c:v>
                </c:pt>
                <c:pt idx="18">
                  <c:v>0.16737938132971764</c:v>
                </c:pt>
                <c:pt idx="19">
                  <c:v>0.15495689807981303</c:v>
                </c:pt>
                <c:pt idx="20">
                  <c:v>0.16131070108744522</c:v>
                </c:pt>
                <c:pt idx="21">
                  <c:v>0.15612034965844712</c:v>
                </c:pt>
                <c:pt idx="22">
                  <c:v>0.15897641307811602</c:v>
                </c:pt>
                <c:pt idx="23">
                  <c:v>0.16729289983883078</c:v>
                </c:pt>
                <c:pt idx="24">
                  <c:v>0.1661298418690629</c:v>
                </c:pt>
                <c:pt idx="25">
                  <c:v>0.17177434295653254</c:v>
                </c:pt>
                <c:pt idx="26">
                  <c:v>0.16057575836114196</c:v>
                </c:pt>
                <c:pt idx="27">
                  <c:v>0.15231047823959123</c:v>
                </c:pt>
                <c:pt idx="28">
                  <c:v>0.149407294215655</c:v>
                </c:pt>
                <c:pt idx="29">
                  <c:v>0.14953354894530685</c:v>
                </c:pt>
                <c:pt idx="30">
                  <c:v>0.1491298374515463</c:v>
                </c:pt>
                <c:pt idx="31">
                  <c:v>0.16589028401578493</c:v>
                </c:pt>
                <c:pt idx="32">
                  <c:v>0.1617995070694213</c:v>
                </c:pt>
                <c:pt idx="33">
                  <c:v>0.15321427916949212</c:v>
                </c:pt>
                <c:pt idx="34">
                  <c:v>0.14288832543045565</c:v>
                </c:pt>
                <c:pt idx="35">
                  <c:v>0.14597048902883453</c:v>
                </c:pt>
                <c:pt idx="36">
                  <c:v>0.15314749686519435</c:v>
                </c:pt>
                <c:pt idx="37">
                  <c:v>0.14434106078246364</c:v>
                </c:pt>
                <c:pt idx="38">
                  <c:v>0.15113581817991023</c:v>
                </c:pt>
                <c:pt idx="39">
                  <c:v>0.1479851478955341</c:v>
                </c:pt>
                <c:pt idx="40">
                  <c:v>0.14498260574780267</c:v>
                </c:pt>
                <c:pt idx="41">
                  <c:v>0.13948833204426406</c:v>
                </c:pt>
                <c:pt idx="42">
                  <c:v>0.1409920678593633</c:v>
                </c:pt>
                <c:pt idx="43">
                  <c:v>0.1394399368970014</c:v>
                </c:pt>
                <c:pt idx="44">
                  <c:v>0.1531548817172554</c:v>
                </c:pt>
                <c:pt idx="45">
                  <c:v>0.15795490435394352</c:v>
                </c:pt>
                <c:pt idx="46">
                  <c:v>0.160606066243839</c:v>
                </c:pt>
                <c:pt idx="47">
                  <c:v>0.16350516423287853</c:v>
                </c:pt>
                <c:pt idx="48">
                  <c:v>0.16933861631940111</c:v>
                </c:pt>
                <c:pt idx="49">
                  <c:v>0.16681318434733594</c:v>
                </c:pt>
                <c:pt idx="50">
                  <c:v>0.18223845340760342</c:v>
                </c:pt>
                <c:pt idx="51">
                  <c:v>0.18714849909403275</c:v>
                </c:pt>
                <c:pt idx="52">
                  <c:v>0.17280020329117562</c:v>
                </c:pt>
                <c:pt idx="53">
                  <c:v>0.20409166500149634</c:v>
                </c:pt>
                <c:pt idx="54">
                  <c:v>0.153831399372143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24.0"/>
          <c:min val="65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478484661313563"/>
          <c:min val="0.1036252091466815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0894</c:v>
                </c:pt>
                <c:pt idx="1">
                  <c:v>863.8572</c:v>
                </c:pt>
                <c:pt idx="2">
                  <c:v>915.63</c:v>
                </c:pt>
                <c:pt idx="3">
                  <c:v>930.6772</c:v>
                </c:pt>
                <c:pt idx="4">
                  <c:v>927.9188</c:v>
                </c:pt>
                <c:pt idx="5">
                  <c:v>924.7076</c:v>
                </c:pt>
                <c:pt idx="6">
                  <c:v>886.788</c:v>
                </c:pt>
                <c:pt idx="7">
                  <c:v>910.648</c:v>
                </c:pt>
                <c:pt idx="8">
                  <c:v>910.9362</c:v>
                </c:pt>
                <c:pt idx="9">
                  <c:v>897.5071</c:v>
                </c:pt>
                <c:pt idx="10">
                  <c:v>899.1659</c:v>
                </c:pt>
                <c:pt idx="11">
                  <c:v>936.6184</c:v>
                </c:pt>
                <c:pt idx="12">
                  <c:v>930.1207</c:v>
                </c:pt>
                <c:pt idx="13">
                  <c:v>904.76</c:v>
                </c:pt>
                <c:pt idx="14">
                  <c:v>911.1927</c:v>
                </c:pt>
                <c:pt idx="15">
                  <c:v>921.652</c:v>
                </c:pt>
                <c:pt idx="16">
                  <c:v>918.424</c:v>
                </c:pt>
                <c:pt idx="17">
                  <c:v>935.9762</c:v>
                </c:pt>
                <c:pt idx="18">
                  <c:v>972.7735</c:v>
                </c:pt>
                <c:pt idx="19">
                  <c:v>1001.4916</c:v>
                </c:pt>
                <c:pt idx="20">
                  <c:v>1006.9064</c:v>
                </c:pt>
                <c:pt idx="21">
                  <c:v>1016.8196</c:v>
                </c:pt>
                <c:pt idx="22">
                  <c:v>1005.2167</c:v>
                </c:pt>
                <c:pt idx="23">
                  <c:v>986.9864</c:v>
                </c:pt>
                <c:pt idx="24">
                  <c:v>972.5527</c:v>
                </c:pt>
                <c:pt idx="25">
                  <c:v>961.9693</c:v>
                </c:pt>
                <c:pt idx="26">
                  <c:v>972.0951</c:v>
                </c:pt>
                <c:pt idx="27">
                  <c:v>982.5739</c:v>
                </c:pt>
                <c:pt idx="28">
                  <c:v>984.1141</c:v>
                </c:pt>
                <c:pt idx="29">
                  <c:v>886.5662</c:v>
                </c:pt>
                <c:pt idx="30">
                  <c:v>920.3414</c:v>
                </c:pt>
                <c:pt idx="31">
                  <c:v>942.4014</c:v>
                </c:pt>
                <c:pt idx="32">
                  <c:v>916.5916</c:v>
                </c:pt>
                <c:pt idx="33">
                  <c:v>861.3948</c:v>
                </c:pt>
                <c:pt idx="34">
                  <c:v>946.9117</c:v>
                </c:pt>
                <c:pt idx="35">
                  <c:v>996.5961</c:v>
                </c:pt>
                <c:pt idx="36">
                  <c:v>1052.5313</c:v>
                </c:pt>
                <c:pt idx="37">
                  <c:v>1057.7318</c:v>
                </c:pt>
                <c:pt idx="38">
                  <c:v>1103.5503</c:v>
                </c:pt>
                <c:pt idx="39">
                  <c:v>1105.923</c:v>
                </c:pt>
                <c:pt idx="40">
                  <c:v>1125.2943</c:v>
                </c:pt>
                <c:pt idx="41">
                  <c:v>1143.9972</c:v>
                </c:pt>
                <c:pt idx="42">
                  <c:v>1188.4166</c:v>
                </c:pt>
                <c:pt idx="43">
                  <c:v>1190.1291</c:v>
                </c:pt>
                <c:pt idx="44">
                  <c:v>1039.8934</c:v>
                </c:pt>
                <c:pt idx="45">
                  <c:v>987.8103</c:v>
                </c:pt>
                <c:pt idx="46">
                  <c:v>985.6185</c:v>
                </c:pt>
                <c:pt idx="47">
                  <c:v>967.874</c:v>
                </c:pt>
                <c:pt idx="48">
                  <c:v>974.755</c:v>
                </c:pt>
                <c:pt idx="49">
                  <c:v>957.9308</c:v>
                </c:pt>
                <c:pt idx="50">
                  <c:v>954.5131</c:v>
                </c:pt>
                <c:pt idx="51">
                  <c:v>980.9713</c:v>
                </c:pt>
                <c:pt idx="52">
                  <c:v>997.7418</c:v>
                </c:pt>
                <c:pt idx="53">
                  <c:v>1036.1538</c:v>
                </c:pt>
                <c:pt idx="54">
                  <c:v>1047.9728</c:v>
                </c:pt>
                <c:pt idx="55">
                  <c:v>1051.8556</c:v>
                </c:pt>
                <c:pt idx="56">
                  <c:v>1068.6247</c:v>
                </c:pt>
                <c:pt idx="57">
                  <c:v>1043.7406</c:v>
                </c:pt>
                <c:pt idx="58">
                  <c:v>1025.2152</c:v>
                </c:pt>
                <c:pt idx="59">
                  <c:v>1033.7447</c:v>
                </c:pt>
                <c:pt idx="60">
                  <c:v>1061.5763</c:v>
                </c:pt>
                <c:pt idx="61">
                  <c:v>1056.9965</c:v>
                </c:pt>
                <c:pt idx="62">
                  <c:v>1028.611</c:v>
                </c:pt>
                <c:pt idx="63">
                  <c:v>1060.3576</c:v>
                </c:pt>
                <c:pt idx="64">
                  <c:v>1053.6743</c:v>
                </c:pt>
                <c:pt idx="65">
                  <c:v>1031.7584</c:v>
                </c:pt>
                <c:pt idx="66">
                  <c:v>983.4835</c:v>
                </c:pt>
                <c:pt idx="67">
                  <c:v>966.7607</c:v>
                </c:pt>
                <c:pt idx="68">
                  <c:v>952.9274</c:v>
                </c:pt>
                <c:pt idx="69">
                  <c:v>958.3101</c:v>
                </c:pt>
                <c:pt idx="70">
                  <c:v>925.1353</c:v>
                </c:pt>
                <c:pt idx="71">
                  <c:v>984.8437</c:v>
                </c:pt>
                <c:pt idx="72">
                  <c:v>993.3549</c:v>
                </c:pt>
                <c:pt idx="73">
                  <c:v>1010.9377</c:v>
                </c:pt>
                <c:pt idx="74">
                  <c:v>1000.2435</c:v>
                </c:pt>
                <c:pt idx="75">
                  <c:v>1001.5149</c:v>
                </c:pt>
                <c:pt idx="76">
                  <c:v>1013.1956</c:v>
                </c:pt>
                <c:pt idx="77">
                  <c:v>994.2575</c:v>
                </c:pt>
                <c:pt idx="78">
                  <c:v>1050.1545</c:v>
                </c:pt>
                <c:pt idx="79">
                  <c:v>698.7679</c:v>
                </c:pt>
                <c:pt idx="80">
                  <c:v>707.1246</c:v>
                </c:pt>
                <c:pt idx="81">
                  <c:v>902.2342</c:v>
                </c:pt>
                <c:pt idx="82">
                  <c:v>895.1314</c:v>
                </c:pt>
                <c:pt idx="83">
                  <c:v>911.0286</c:v>
                </c:pt>
                <c:pt idx="84">
                  <c:v>922.024</c:v>
                </c:pt>
                <c:pt idx="85">
                  <c:v>967.4432</c:v>
                </c:pt>
                <c:pt idx="86">
                  <c:v>1075.9072</c:v>
                </c:pt>
                <c:pt idx="87">
                  <c:v>1105.8552</c:v>
                </c:pt>
                <c:pt idx="88">
                  <c:v>1091.488</c:v>
                </c:pt>
                <c:pt idx="89">
                  <c:v>1035.2538</c:v>
                </c:pt>
                <c:pt idx="90">
                  <c:v>1093.0491</c:v>
                </c:pt>
                <c:pt idx="91">
                  <c:v>1105.6374</c:v>
                </c:pt>
                <c:pt idx="92">
                  <c:v>1108.8317</c:v>
                </c:pt>
                <c:pt idx="93">
                  <c:v>1159.438</c:v>
                </c:pt>
                <c:pt idx="94">
                  <c:v>1151.2778</c:v>
                </c:pt>
                <c:pt idx="95">
                  <c:v>1145.3779</c:v>
                </c:pt>
                <c:pt idx="96">
                  <c:v>1108.9973</c:v>
                </c:pt>
                <c:pt idx="97">
                  <c:v>1123.428</c:v>
                </c:pt>
                <c:pt idx="98">
                  <c:v>1120.4051</c:v>
                </c:pt>
                <c:pt idx="99">
                  <c:v>1074.8352</c:v>
                </c:pt>
                <c:pt idx="100">
                  <c:v>1084.5881</c:v>
                </c:pt>
                <c:pt idx="101">
                  <c:v>1090.3515</c:v>
                </c:pt>
                <c:pt idx="102">
                  <c:v>1120.5609</c:v>
                </c:pt>
                <c:pt idx="103">
                  <c:v>976.3286</c:v>
                </c:pt>
                <c:pt idx="104">
                  <c:v>1069.0702</c:v>
                </c:pt>
              </c:numCache>
            </c:numRef>
          </c:xVal>
          <c:yVal>
            <c:numRef>
              <c:f>Sheet1!$B$2:$B$106</c:f>
              <c:numCache>
                <c:formatCode>General</c:formatCode>
                <c:ptCount val="105"/>
                <c:pt idx="0">
                  <c:v>0.2146968600282632</c:v>
                </c:pt>
                <c:pt idx="1">
                  <c:v>0.21712007677826584</c:v>
                </c:pt>
                <c:pt idx="2">
                  <c:v>0.1972539093651399</c:v>
                </c:pt>
                <c:pt idx="3">
                  <c:v>0.19730041274681143</c:v>
                </c:pt>
                <c:pt idx="4">
                  <c:v>0.19716885743174925</c:v>
                </c:pt>
                <c:pt idx="5">
                  <c:v>0.19011423945308986</c:v>
                </c:pt>
                <c:pt idx="6">
                  <c:v>0.21003957329662767</c:v>
                </c:pt>
                <c:pt idx="7">
                  <c:v>0.2073639490188145</c:v>
                </c:pt>
                <c:pt idx="8">
                  <c:v>0.2137272874319297</c:v>
                </c:pt>
                <c:pt idx="9">
                  <c:v>0.21458712399829663</c:v>
                </c:pt>
                <c:pt idx="10">
                  <c:v>0.22435340758920144</c:v>
                </c:pt>
                <c:pt idx="11">
                  <c:v>0.21762858264625048</c:v>
                </c:pt>
                <c:pt idx="12">
                  <c:v>0.2199875444188006</c:v>
                </c:pt>
                <c:pt idx="13">
                  <c:v>0.23027560369449906</c:v>
                </c:pt>
                <c:pt idx="14">
                  <c:v>0.2161569659103365</c:v>
                </c:pt>
                <c:pt idx="15">
                  <c:v>0.21368379688250447</c:v>
                </c:pt>
                <c:pt idx="16">
                  <c:v>0.20372046254399195</c:v>
                </c:pt>
                <c:pt idx="17">
                  <c:v>0.19133534411845352</c:v>
                </c:pt>
                <c:pt idx="18">
                  <c:v>0.17340107591153617</c:v>
                </c:pt>
                <c:pt idx="19">
                  <c:v>0.16212729357798164</c:v>
                </c:pt>
                <c:pt idx="20">
                  <c:v>0.17247294020228307</c:v>
                </c:pt>
                <c:pt idx="21">
                  <c:v>0.1783948269303918</c:v>
                </c:pt>
                <c:pt idx="22">
                  <c:v>0.17771652400986507</c:v>
                </c:pt>
                <c:pt idx="23">
                  <c:v>0.18375094912680334</c:v>
                </c:pt>
                <c:pt idx="24">
                  <c:v>0.1905131096701438</c:v>
                </c:pt>
                <c:pt idx="25">
                  <c:v>0.19003645200486027</c:v>
                </c:pt>
                <c:pt idx="26">
                  <c:v>0.19381918133868212</c:v>
                </c:pt>
                <c:pt idx="27">
                  <c:v>0.18466152527849186</c:v>
                </c:pt>
                <c:pt idx="28">
                  <c:v>0.1814139941690962</c:v>
                </c:pt>
                <c:pt idx="29">
                  <c:v>0.20289217227287018</c:v>
                </c:pt>
                <c:pt idx="30">
                  <c:v>0.1858022158391465</c:v>
                </c:pt>
                <c:pt idx="31">
                  <c:v>0.1823178391959799</c:v>
                </c:pt>
                <c:pt idx="32">
                  <c:v>0.1905923610581688</c:v>
                </c:pt>
                <c:pt idx="33">
                  <c:v>0.20864226135310474</c:v>
                </c:pt>
                <c:pt idx="34">
                  <c:v>0.1999795207864018</c:v>
                </c:pt>
                <c:pt idx="35">
                  <c:v>0.1962085308056872</c:v>
                </c:pt>
                <c:pt idx="36">
                  <c:v>0.15714536825452627</c:v>
                </c:pt>
                <c:pt idx="37">
                  <c:v>0.14665426274171042</c:v>
                </c:pt>
                <c:pt idx="38">
                  <c:v>0.14210777300906055</c:v>
                </c:pt>
                <c:pt idx="39">
                  <c:v>0.14415942336230655</c:v>
                </c:pt>
                <c:pt idx="40">
                  <c:v>0.14485714285714285</c:v>
                </c:pt>
                <c:pt idx="41">
                  <c:v>0.13350603399254438</c:v>
                </c:pt>
                <c:pt idx="42">
                  <c:v>0.13931079536175078</c:v>
                </c:pt>
                <c:pt idx="43">
                  <c:v>0.14207650273224043</c:v>
                </c:pt>
                <c:pt idx="44">
                  <c:v>0.17000688920899354</c:v>
                </c:pt>
                <c:pt idx="45">
                  <c:v>0.19477348004266548</c:v>
                </c:pt>
                <c:pt idx="46">
                  <c:v>0.2011744648607691</c:v>
                </c:pt>
                <c:pt idx="47">
                  <c:v>0.20259431353025778</c:v>
                </c:pt>
                <c:pt idx="48">
                  <c:v>0.2187455926500514</c:v>
                </c:pt>
                <c:pt idx="49">
                  <c:v>0.25037901866047013</c:v>
                </c:pt>
                <c:pt idx="50">
                  <c:v>0.21465076660988075</c:v>
                </c:pt>
                <c:pt idx="51">
                  <c:v>0.19269703543022415</c:v>
                </c:pt>
                <c:pt idx="52">
                  <c:v>0.2046528645912736</c:v>
                </c:pt>
                <c:pt idx="53">
                  <c:v>0.19408830593016813</c:v>
                </c:pt>
                <c:pt idx="54">
                  <c:v>0.19114754098360656</c:v>
                </c:pt>
                <c:pt idx="55">
                  <c:v>0.18233343129434484</c:v>
                </c:pt>
                <c:pt idx="56">
                  <c:v>0.19250032664082575</c:v>
                </c:pt>
                <c:pt idx="57">
                  <c:v>0.18821285803352036</c:v>
                </c:pt>
                <c:pt idx="58">
                  <c:v>0.20670012206700122</c:v>
                </c:pt>
                <c:pt idx="59">
                  <c:v>0.21249389512942327</c:v>
                </c:pt>
                <c:pt idx="60">
                  <c:v>0.22528798547010673</c:v>
                </c:pt>
                <c:pt idx="61">
                  <c:v>0.22520512204332452</c:v>
                </c:pt>
                <c:pt idx="62">
                  <c:v>0.22494933573519477</c:v>
                </c:pt>
                <c:pt idx="63">
                  <c:v>0.2410700941563294</c:v>
                </c:pt>
                <c:pt idx="64">
                  <c:v>0.22874988951415692</c:v>
                </c:pt>
                <c:pt idx="65">
                  <c:v>0.21485674085443848</c:v>
                </c:pt>
                <c:pt idx="66">
                  <c:v>0.2205326908048971</c:v>
                </c:pt>
                <c:pt idx="67">
                  <c:v>0.2174063560202174</c:v>
                </c:pt>
                <c:pt idx="68">
                  <c:v>0.19819517313746066</c:v>
                </c:pt>
                <c:pt idx="69">
                  <c:v>0.1843770456033166</c:v>
                </c:pt>
                <c:pt idx="70">
                  <c:v>0.17122678524718807</c:v>
                </c:pt>
                <c:pt idx="71">
                  <c:v>0.18111014240046497</c:v>
                </c:pt>
                <c:pt idx="72">
                  <c:v>0.18635843192846627</c:v>
                </c:pt>
                <c:pt idx="73">
                  <c:v>0.18679817004337235</c:v>
                </c:pt>
                <c:pt idx="74">
                  <c:v>0.18381496477896722</c:v>
                </c:pt>
                <c:pt idx="75">
                  <c:v>0.18586118251928022</c:v>
                </c:pt>
                <c:pt idx="76">
                  <c:v>0.18114987169706637</c:v>
                </c:pt>
                <c:pt idx="77">
                  <c:v>0.1769905093095704</c:v>
                </c:pt>
                <c:pt idx="78">
                  <c:v>0.1633945027646446</c:v>
                </c:pt>
                <c:pt idx="79">
                  <c:v>0.22476419827413205</c:v>
                </c:pt>
                <c:pt idx="80">
                  <c:v>0.21057944679991925</c:v>
                </c:pt>
                <c:pt idx="81">
                  <c:v>0.17324355971896954</c:v>
                </c:pt>
                <c:pt idx="82">
                  <c:v>0.17274735318759996</c:v>
                </c:pt>
                <c:pt idx="83">
                  <c:v>0.1545659331138451</c:v>
                </c:pt>
                <c:pt idx="84">
                  <c:v>0.1574049688350452</c:v>
                </c:pt>
                <c:pt idx="85">
                  <c:v>0.16417796739296053</c:v>
                </c:pt>
                <c:pt idx="86">
                  <c:v>0.1571214565568103</c:v>
                </c:pt>
                <c:pt idx="87">
                  <c:v>0.17206188960825194</c:v>
                </c:pt>
                <c:pt idx="88">
                  <c:v>0.1534110993283846</c:v>
                </c:pt>
                <c:pt idx="89">
                  <c:v>0.1521688342029437</c:v>
                </c:pt>
                <c:pt idx="90">
                  <c:v>0.1496723669490171</c:v>
                </c:pt>
                <c:pt idx="91">
                  <c:v>0.14149109849957242</c:v>
                </c:pt>
                <c:pt idx="92">
                  <c:v>0.14851851851851852</c:v>
                </c:pt>
                <c:pt idx="93">
                  <c:v>0.14279624893435636</c:v>
                </c:pt>
                <c:pt idx="94">
                  <c:v>0.14696723531004605</c:v>
                </c:pt>
                <c:pt idx="95">
                  <c:v>0.15124254473161033</c:v>
                </c:pt>
                <c:pt idx="96">
                  <c:v>0.14782844182661387</c:v>
                </c:pt>
                <c:pt idx="97">
                  <c:v>0.15954492519931918</c:v>
                </c:pt>
                <c:pt idx="98">
                  <c:v>0.1734323983854796</c:v>
                </c:pt>
                <c:pt idx="99">
                  <c:v>0.18298980350969324</c:v>
                </c:pt>
                <c:pt idx="100">
                  <c:v>0.20112217610289895</c:v>
                </c:pt>
                <c:pt idx="101">
                  <c:v>0.1896363217861664</c:v>
                </c:pt>
                <c:pt idx="102">
                  <c:v>0.16128769687843392</c:v>
                </c:pt>
                <c:pt idx="103">
                  <c:v>0.18299982291482203</c:v>
                </c:pt>
                <c:pt idx="104">
                  <c:v>0.182912358026784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8.4433</c:v>
                </c:pt>
                <c:pt idx="1">
                  <c:v>1122.0109</c:v>
                </c:pt>
                <c:pt idx="2">
                  <c:v>1110.1645</c:v>
                </c:pt>
                <c:pt idx="3">
                  <c:v>1125.5175</c:v>
                </c:pt>
                <c:pt idx="4">
                  <c:v>1125.9547</c:v>
                </c:pt>
                <c:pt idx="5">
                  <c:v>1144.0119</c:v>
                </c:pt>
                <c:pt idx="6">
                  <c:v>1079.4272</c:v>
                </c:pt>
                <c:pt idx="7">
                  <c:v>1121.5717</c:v>
                </c:pt>
                <c:pt idx="8">
                  <c:v>1199.8703</c:v>
                </c:pt>
                <c:pt idx="9">
                  <c:v>1172.2325</c:v>
                </c:pt>
                <c:pt idx="10">
                  <c:v>1183.9893</c:v>
                </c:pt>
                <c:pt idx="11">
                  <c:v>1054.8777</c:v>
                </c:pt>
                <c:pt idx="12">
                  <c:v>1075.6816</c:v>
                </c:pt>
                <c:pt idx="13">
                  <c:v>1125.8916</c:v>
                </c:pt>
                <c:pt idx="14">
                  <c:v>1132.5514</c:v>
                </c:pt>
                <c:pt idx="15">
                  <c:v>1166.5818</c:v>
                </c:pt>
                <c:pt idx="16">
                  <c:v>1207.5535</c:v>
                </c:pt>
                <c:pt idx="17">
                  <c:v>1180.2406</c:v>
                </c:pt>
                <c:pt idx="18">
                  <c:v>1161.6626</c:v>
                </c:pt>
                <c:pt idx="19">
                  <c:v>1264.1924</c:v>
                </c:pt>
                <c:pt idx="20">
                  <c:v>1251.5852</c:v>
                </c:pt>
                <c:pt idx="21">
                  <c:v>1193.7526</c:v>
                </c:pt>
                <c:pt idx="22">
                  <c:v>1149.8687</c:v>
                </c:pt>
                <c:pt idx="23">
                  <c:v>1144.5925</c:v>
                </c:pt>
                <c:pt idx="24">
                  <c:v>1151.4388</c:v>
                </c:pt>
                <c:pt idx="25">
                  <c:v>1087.1338</c:v>
                </c:pt>
                <c:pt idx="26">
                  <c:v>1174.517</c:v>
                </c:pt>
                <c:pt idx="27">
                  <c:v>1191.0267</c:v>
                </c:pt>
                <c:pt idx="28">
                  <c:v>1176.0542</c:v>
                </c:pt>
                <c:pt idx="29">
                  <c:v>1181.2375</c:v>
                </c:pt>
                <c:pt idx="30">
                  <c:v>1159.4911</c:v>
                </c:pt>
                <c:pt idx="31">
                  <c:v>1070.3803</c:v>
                </c:pt>
                <c:pt idx="32">
                  <c:v>1109.3997</c:v>
                </c:pt>
                <c:pt idx="33">
                  <c:v>1161.3775</c:v>
                </c:pt>
                <c:pt idx="34">
                  <c:v>1202.4617</c:v>
                </c:pt>
                <c:pt idx="35">
                  <c:v>1172.9848</c:v>
                </c:pt>
                <c:pt idx="36">
                  <c:v>1194.147</c:v>
                </c:pt>
                <c:pt idx="37">
                  <c:v>1239.6882</c:v>
                </c:pt>
                <c:pt idx="38">
                  <c:v>1217.6795</c:v>
                </c:pt>
                <c:pt idx="39">
                  <c:v>1181.6465</c:v>
                </c:pt>
                <c:pt idx="40">
                  <c:v>1218.0632</c:v>
                </c:pt>
                <c:pt idx="41">
                  <c:v>1272.2565</c:v>
                </c:pt>
                <c:pt idx="42">
                  <c:v>1249.9871</c:v>
                </c:pt>
                <c:pt idx="43">
                  <c:v>1255.3505</c:v>
                </c:pt>
                <c:pt idx="44">
                  <c:v>1193.7811</c:v>
                </c:pt>
                <c:pt idx="45">
                  <c:v>1144.1968</c:v>
                </c:pt>
                <c:pt idx="46">
                  <c:v>1130.7881</c:v>
                </c:pt>
                <c:pt idx="47">
                  <c:v>1116.1609</c:v>
                </c:pt>
                <c:pt idx="48">
                  <c:v>1100.292</c:v>
                </c:pt>
                <c:pt idx="49">
                  <c:v>1127.8783</c:v>
                </c:pt>
                <c:pt idx="50">
                  <c:v>1031.4544</c:v>
                </c:pt>
                <c:pt idx="51">
                  <c:v>994.7733</c:v>
                </c:pt>
              </c:numCache>
            </c:numRef>
          </c:xVal>
          <c:yVal>
            <c:numRef>
              <c:f>Sheet1!$B$109:$B$160</c:f>
              <c:numCache>
                <c:formatCode>General</c:formatCode>
                <c:ptCount val="52"/>
                <c:pt idx="0">
                  <c:v>0.17586504865311642</c:v>
                </c:pt>
                <c:pt idx="1">
                  <c:v>0.18501328890475624</c:v>
                </c:pt>
                <c:pt idx="2">
                  <c:v>0.1932705437484682</c:v>
                </c:pt>
                <c:pt idx="3">
                  <c:v>0.20842007034670879</c:v>
                </c:pt>
                <c:pt idx="4">
                  <c:v>0.1960059983175451</c:v>
                </c:pt>
                <c:pt idx="5">
                  <c:v>0.1932523413698424</c:v>
                </c:pt>
                <c:pt idx="6">
                  <c:v>0.19092039800995025</c:v>
                </c:pt>
                <c:pt idx="7">
                  <c:v>0.18701948864652243</c:v>
                </c:pt>
                <c:pt idx="8">
                  <c:v>0.1838410991636798</c:v>
                </c:pt>
                <c:pt idx="9">
                  <c:v>0.19139282276914615</c:v>
                </c:pt>
                <c:pt idx="10">
                  <c:v>0.19937750111160515</c:v>
                </c:pt>
                <c:pt idx="11">
                  <c:v>0.20998158613245285</c:v>
                </c:pt>
                <c:pt idx="12">
                  <c:v>0.21063448172782304</c:v>
                </c:pt>
                <c:pt idx="13">
                  <c:v>0.2027168234064786</c:v>
                </c:pt>
                <c:pt idx="14">
                  <c:v>0.20394852811563546</c:v>
                </c:pt>
                <c:pt idx="15">
                  <c:v>0.1911484166348722</c:v>
                </c:pt>
                <c:pt idx="16">
                  <c:v>0.17354389539820003</c:v>
                </c:pt>
                <c:pt idx="17">
                  <c:v>0.15987517253795835</c:v>
                </c:pt>
                <c:pt idx="18">
                  <c:v>0.15772739839646116</c:v>
                </c:pt>
                <c:pt idx="19">
                  <c:v>0.16408564503097225</c:v>
                </c:pt>
                <c:pt idx="20">
                  <c:v>0.15580800481492627</c:v>
                </c:pt>
                <c:pt idx="21">
                  <c:v>0.1632854578096948</c:v>
                </c:pt>
                <c:pt idx="22">
                  <c:v>0.16744678972003885</c:v>
                </c:pt>
                <c:pt idx="23">
                  <c:v>0.17244567730004623</c:v>
                </c:pt>
                <c:pt idx="24">
                  <c:v>0.16679431537741468</c:v>
                </c:pt>
                <c:pt idx="25">
                  <c:v>0.1732283464566929</c:v>
                </c:pt>
                <c:pt idx="26">
                  <c:v>0.15100587797003062</c:v>
                </c:pt>
                <c:pt idx="27">
                  <c:v>0.1507983883002537</c:v>
                </c:pt>
                <c:pt idx="28">
                  <c:v>0.16056965442764579</c:v>
                </c:pt>
                <c:pt idx="29">
                  <c:v>0.1633265720081136</c:v>
                </c:pt>
                <c:pt idx="30">
                  <c:v>0.16941176470588235</c:v>
                </c:pt>
                <c:pt idx="31">
                  <c:v>0.17265540783327343</c:v>
                </c:pt>
                <c:pt idx="32">
                  <c:v>0.17580369622612207</c:v>
                </c:pt>
                <c:pt idx="33">
                  <c:v>0.1932656268891307</c:v>
                </c:pt>
                <c:pt idx="34">
                  <c:v>0.2121571534469978</c:v>
                </c:pt>
                <c:pt idx="35">
                  <c:v>0.2041537507749535</c:v>
                </c:pt>
                <c:pt idx="36">
                  <c:v>0.1746545133784181</c:v>
                </c:pt>
                <c:pt idx="37">
                  <c:v>0.1571340442407685</c:v>
                </c:pt>
                <c:pt idx="38">
                  <c:v>0.16235547717029197</c:v>
                </c:pt>
                <c:pt idx="39">
                  <c:v>0.18015759312320917</c:v>
                </c:pt>
                <c:pt idx="40">
                  <c:v>0.160164700956103</c:v>
                </c:pt>
                <c:pt idx="41">
                  <c:v>0.16189848384970337</c:v>
                </c:pt>
                <c:pt idx="42">
                  <c:v>0.16194241384454722</c:v>
                </c:pt>
                <c:pt idx="43">
                  <c:v>0.15235745614035087</c:v>
                </c:pt>
                <c:pt idx="44">
                  <c:v>0.14751594645584404</c:v>
                </c:pt>
                <c:pt idx="45">
                  <c:v>0.1632826827351323</c:v>
                </c:pt>
                <c:pt idx="46">
                  <c:v>0.161425251742835</c:v>
                </c:pt>
                <c:pt idx="47">
                  <c:v>0.16117163263833778</c:v>
                </c:pt>
                <c:pt idx="48">
                  <c:v>0.1530141418983701</c:v>
                </c:pt>
                <c:pt idx="49">
                  <c:v>0.16894482413735623</c:v>
                </c:pt>
                <c:pt idx="50">
                  <c:v>0.2009994551842041</c:v>
                </c:pt>
                <c:pt idx="51">
                  <c:v>0.1894591220433917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59.6245049916512</c:v>
                </c:pt>
              </c:numCache>
            </c:numRef>
          </c:xVal>
          <c:yVal>
            <c:numRef>
              <c:f>Sheet1!$B$163:$B$164</c:f>
              <c:numCache>
                <c:formatCode>General</c:formatCode>
                <c:ptCount val="2"/>
                <c:pt idx="0">
                  <c:v>0.2062181521145252</c:v>
                </c:pt>
                <c:pt idx="1">
                  <c:v>0.20621815211452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59.6245049916512</c:v>
                </c:pt>
                <c:pt idx="1">
                  <c:v>959.6245049916512</c:v>
                </c:pt>
              </c:numCache>
            </c:numRef>
          </c:xVal>
          <c:yVal>
            <c:numRef>
              <c:f>Sheet1!$B$167:$B$168</c:f>
              <c:numCache>
                <c:formatCode>General</c:formatCode>
                <c:ptCount val="2"/>
                <c:pt idx="0">
                  <c:v>0.20621815211452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65.0000236705669</c:v>
                </c:pt>
              </c:numCache>
            </c:numRef>
          </c:xVal>
          <c:yVal>
            <c:numRef>
              <c:f>Sheet1!$B$171:$B$172</c:f>
              <c:numCache>
                <c:formatCode>General</c:formatCode>
                <c:ptCount val="2"/>
                <c:pt idx="0">
                  <c:v>0.19040091968450995</c:v>
                </c:pt>
                <c:pt idx="1">
                  <c:v>0.1904009196845099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65.0000236705669</c:v>
                </c:pt>
                <c:pt idx="1">
                  <c:v>1065.0000236705669</c:v>
                </c:pt>
              </c:numCache>
            </c:numRef>
          </c:xVal>
          <c:yVal>
            <c:numRef>
              <c:f>Sheet1!$B$175:$B$176</c:f>
              <c:numCache>
                <c:formatCode>General</c:formatCode>
                <c:ptCount val="2"/>
                <c:pt idx="0">
                  <c:v>0.190400919684509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25.3397920654834</c:v>
                </c:pt>
              </c:numCache>
            </c:numRef>
          </c:xVal>
          <c:yVal>
            <c:numRef>
              <c:f>Sheet1!$B$179:$B$180</c:f>
              <c:numCache>
                <c:formatCode>General</c:formatCode>
                <c:ptCount val="2"/>
                <c:pt idx="0">
                  <c:v>0.16633336190379883</c:v>
                </c:pt>
                <c:pt idx="1">
                  <c:v>0.1663333619037988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25.3397920654834</c:v>
                </c:pt>
                <c:pt idx="1">
                  <c:v>1225.3397920654834</c:v>
                </c:pt>
              </c:numCache>
            </c:numRef>
          </c:xVal>
          <c:yVal>
            <c:numRef>
              <c:f>Sheet1!$B$183:$B$184</c:f>
              <c:numCache>
                <c:formatCode>General</c:formatCode>
                <c:ptCount val="2"/>
                <c:pt idx="0">
                  <c:v>0.1663333619037988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8.4433</c:v>
                </c:pt>
                <c:pt idx="1">
                  <c:v>1122.0109</c:v>
                </c:pt>
                <c:pt idx="2">
                  <c:v>1110.1645</c:v>
                </c:pt>
                <c:pt idx="3">
                  <c:v>1125.5175</c:v>
                </c:pt>
                <c:pt idx="4">
                  <c:v>1125.9547</c:v>
                </c:pt>
                <c:pt idx="5">
                  <c:v>1144.0119</c:v>
                </c:pt>
                <c:pt idx="6">
                  <c:v>1079.4272</c:v>
                </c:pt>
                <c:pt idx="7">
                  <c:v>1121.5717</c:v>
                </c:pt>
                <c:pt idx="8">
                  <c:v>1199.8703</c:v>
                </c:pt>
                <c:pt idx="9">
                  <c:v>1172.2325</c:v>
                </c:pt>
                <c:pt idx="10">
                  <c:v>1183.9893</c:v>
                </c:pt>
                <c:pt idx="11">
                  <c:v>1054.8777</c:v>
                </c:pt>
                <c:pt idx="12">
                  <c:v>1075.6816</c:v>
                </c:pt>
                <c:pt idx="13">
                  <c:v>1125.8916</c:v>
                </c:pt>
                <c:pt idx="14">
                  <c:v>1132.5514</c:v>
                </c:pt>
                <c:pt idx="15">
                  <c:v>1166.5818</c:v>
                </c:pt>
                <c:pt idx="16">
                  <c:v>1207.5535</c:v>
                </c:pt>
                <c:pt idx="17">
                  <c:v>1180.2406</c:v>
                </c:pt>
                <c:pt idx="18">
                  <c:v>1161.6626</c:v>
                </c:pt>
                <c:pt idx="19">
                  <c:v>1264.1924</c:v>
                </c:pt>
                <c:pt idx="20">
                  <c:v>1251.5852</c:v>
                </c:pt>
                <c:pt idx="21">
                  <c:v>1193.7526</c:v>
                </c:pt>
                <c:pt idx="22">
                  <c:v>1149.8687</c:v>
                </c:pt>
                <c:pt idx="23">
                  <c:v>1144.5925</c:v>
                </c:pt>
                <c:pt idx="24">
                  <c:v>1151.4388</c:v>
                </c:pt>
                <c:pt idx="25">
                  <c:v>1087.1338</c:v>
                </c:pt>
                <c:pt idx="26">
                  <c:v>1174.517</c:v>
                </c:pt>
                <c:pt idx="27">
                  <c:v>1191.0267</c:v>
                </c:pt>
                <c:pt idx="28">
                  <c:v>1176.0542</c:v>
                </c:pt>
                <c:pt idx="29">
                  <c:v>1181.2375</c:v>
                </c:pt>
                <c:pt idx="30">
                  <c:v>1159.4911</c:v>
                </c:pt>
                <c:pt idx="31">
                  <c:v>1070.3803</c:v>
                </c:pt>
                <c:pt idx="32">
                  <c:v>1109.3997</c:v>
                </c:pt>
                <c:pt idx="33">
                  <c:v>1161.3775</c:v>
                </c:pt>
                <c:pt idx="34">
                  <c:v>1202.4617</c:v>
                </c:pt>
                <c:pt idx="35">
                  <c:v>1172.9848</c:v>
                </c:pt>
                <c:pt idx="36">
                  <c:v>1194.147</c:v>
                </c:pt>
                <c:pt idx="37">
                  <c:v>1239.6882</c:v>
                </c:pt>
                <c:pt idx="38">
                  <c:v>1217.6795</c:v>
                </c:pt>
                <c:pt idx="39">
                  <c:v>1181.6465</c:v>
                </c:pt>
                <c:pt idx="40">
                  <c:v>1218.0632</c:v>
                </c:pt>
                <c:pt idx="41">
                  <c:v>1272.2565</c:v>
                </c:pt>
                <c:pt idx="42">
                  <c:v>1249.9871</c:v>
                </c:pt>
                <c:pt idx="43">
                  <c:v>1255.3505</c:v>
                </c:pt>
                <c:pt idx="44">
                  <c:v>1193.7811</c:v>
                </c:pt>
                <c:pt idx="45">
                  <c:v>1144.1968</c:v>
                </c:pt>
                <c:pt idx="46">
                  <c:v>1130.7881</c:v>
                </c:pt>
                <c:pt idx="47">
                  <c:v>1116.1609</c:v>
                </c:pt>
                <c:pt idx="48">
                  <c:v>1100.292</c:v>
                </c:pt>
                <c:pt idx="49">
                  <c:v>1127.8783</c:v>
                </c:pt>
                <c:pt idx="50">
                  <c:v>1031.4544</c:v>
                </c:pt>
                <c:pt idx="51">
                  <c:v>994.7733</c:v>
                </c:pt>
                <c:pt idx="52">
                  <c:v>1065.0000236705669</c:v>
                </c:pt>
                <c:pt idx="53">
                  <c:v>959.6245049916512</c:v>
                </c:pt>
                <c:pt idx="54">
                  <c:v>1225.3397920654834</c:v>
                </c:pt>
              </c:numCache>
            </c:numRef>
          </c:xVal>
          <c:yVal>
            <c:numRef>
              <c:f>Sheet1!$B$187:$B$241</c:f>
              <c:numCache>
                <c:formatCode>General</c:formatCode>
                <c:ptCount val="55"/>
                <c:pt idx="0">
                  <c:v>0.17937682806732758</c:v>
                </c:pt>
                <c:pt idx="1">
                  <c:v>0.18184338854970067</c:v>
                </c:pt>
                <c:pt idx="2">
                  <c:v>0.1836215744567127</c:v>
                </c:pt>
                <c:pt idx="3">
                  <c:v>0.1813170356744366</c:v>
                </c:pt>
                <c:pt idx="4">
                  <c:v>0.18125141043144752</c:v>
                </c:pt>
                <c:pt idx="5">
                  <c:v>0.17854096180907297</c:v>
                </c:pt>
                <c:pt idx="6">
                  <c:v>0.18823535026029872</c:v>
                </c:pt>
                <c:pt idx="7">
                  <c:v>0.18190931399965676</c:v>
                </c:pt>
                <c:pt idx="8">
                  <c:v>0.17015642138597042</c:v>
                </c:pt>
                <c:pt idx="9">
                  <c:v>0.17430495144242789</c:v>
                </c:pt>
                <c:pt idx="10">
                  <c:v>0.17254021480753803</c:v>
                </c:pt>
                <c:pt idx="11">
                  <c:v>0.1919203157286429</c:v>
                </c:pt>
                <c:pt idx="12">
                  <c:v>0.1887975778681209</c:v>
                </c:pt>
                <c:pt idx="13">
                  <c:v>0.18126088196125678</c:v>
                </c:pt>
                <c:pt idx="14">
                  <c:v>0.18026122278179982</c:v>
                </c:pt>
                <c:pt idx="15">
                  <c:v>0.17515314119667838</c:v>
                </c:pt>
                <c:pt idx="16">
                  <c:v>0.16900314630149288</c:v>
                </c:pt>
                <c:pt idx="17">
                  <c:v>0.17310290773615902</c:v>
                </c:pt>
                <c:pt idx="18">
                  <c:v>0.1758915302527438</c:v>
                </c:pt>
                <c:pt idx="19">
                  <c:v>0.1605014501095135</c:v>
                </c:pt>
                <c:pt idx="20">
                  <c:v>0.16239383474677732</c:v>
                </c:pt>
                <c:pt idx="21">
                  <c:v>0.17107470946701847</c:v>
                </c:pt>
                <c:pt idx="22">
                  <c:v>0.17766183572687178</c:v>
                </c:pt>
                <c:pt idx="23">
                  <c:v>0.17845381172654906</c:v>
                </c:pt>
                <c:pt idx="24">
                  <c:v>0.17742615824741814</c:v>
                </c:pt>
                <c:pt idx="25">
                  <c:v>0.18707856275430712</c:v>
                </c:pt>
                <c:pt idx="26">
                  <c:v>0.17396204003435714</c:v>
                </c:pt>
                <c:pt idx="27">
                  <c:v>0.17148387655270902</c:v>
                </c:pt>
                <c:pt idx="28">
                  <c:v>0.1737313009595109</c:v>
                </c:pt>
                <c:pt idx="29">
                  <c:v>0.17295326957345136</c:v>
                </c:pt>
                <c:pt idx="30">
                  <c:v>0.1762174799671783</c:v>
                </c:pt>
                <c:pt idx="31">
                  <c:v>0.18959332146523417</c:v>
                </c:pt>
                <c:pt idx="32">
                  <c:v>0.18373637360089853</c:v>
                </c:pt>
                <c:pt idx="33">
                  <c:v>0.17593432475589152</c:v>
                </c:pt>
                <c:pt idx="34">
                  <c:v>0.16976744321881154</c:v>
                </c:pt>
                <c:pt idx="35">
                  <c:v>0.17419202859178592</c:v>
                </c:pt>
                <c:pt idx="36">
                  <c:v>0.1710155086531235</c:v>
                </c:pt>
                <c:pt idx="37">
                  <c:v>0.16417961589005478</c:v>
                </c:pt>
                <c:pt idx="38">
                  <c:v>0.1674831984275055</c:v>
                </c:pt>
                <c:pt idx="39">
                  <c:v>0.17289187724869717</c:v>
                </c:pt>
                <c:pt idx="40">
                  <c:v>0.16742560372088403</c:v>
                </c:pt>
                <c:pt idx="41">
                  <c:v>0.15929100060816828</c:v>
                </c:pt>
                <c:pt idx="42">
                  <c:v>0.16263371512376912</c:v>
                </c:pt>
                <c:pt idx="43">
                  <c:v>0.16182865010033007</c:v>
                </c:pt>
                <c:pt idx="44">
                  <c:v>0.17107043151773854</c:v>
                </c:pt>
                <c:pt idx="45">
                  <c:v>0.1785132076749726</c:v>
                </c:pt>
                <c:pt idx="46">
                  <c:v>0.18052590025426693</c:v>
                </c:pt>
                <c:pt idx="47">
                  <c:v>0.182721493928214</c:v>
                </c:pt>
                <c:pt idx="48">
                  <c:v>0.1851034710976312</c:v>
                </c:pt>
                <c:pt idx="49">
                  <c:v>0.18096267137057429</c:v>
                </c:pt>
                <c:pt idx="50">
                  <c:v>0.19543623465386195</c:v>
                </c:pt>
                <c:pt idx="51">
                  <c:v>0.20094219554271425</c:v>
                </c:pt>
                <c:pt idx="52">
                  <c:v>0.19040091968450995</c:v>
                </c:pt>
                <c:pt idx="53">
                  <c:v>0.2062181521145252</c:v>
                </c:pt>
                <c:pt idx="54">
                  <c:v>0.1663333619037988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27.0"/>
          <c:min val="55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045482239256416"/>
          <c:min val="0.106804827194035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6844617263040557</c:v>
                </c:pt>
                <c:pt idx="1">
                  <c:v>0.20427970997607145</c:v>
                </c:pt>
                <c:pt idx="2">
                  <c:v>0.1988715171366637</c:v>
                </c:pt>
                <c:pt idx="3">
                  <c:v>0.20105242842157295</c:v>
                </c:pt>
                <c:pt idx="4">
                  <c:v>0.18844738383100998</c:v>
                </c:pt>
                <c:pt idx="5">
                  <c:v>0.1911838445913683</c:v>
                </c:pt>
                <c:pt idx="6">
                  <c:v>0.19937574851228337</c:v>
                </c:pt>
                <c:pt idx="7">
                  <c:v>0.18915833402624727</c:v>
                </c:pt>
                <c:pt idx="8">
                  <c:v>0.17331942114489013</c:v>
                </c:pt>
                <c:pt idx="9">
                  <c:v>0.18309315101982995</c:v>
                </c:pt>
                <c:pt idx="10">
                  <c:v>0.19106651948830225</c:v>
                </c:pt>
                <c:pt idx="11">
                  <c:v>0.20112911400113945</c:v>
                </c:pt>
                <c:pt idx="12">
                  <c:v>0.20467299348352944</c:v>
                </c:pt>
                <c:pt idx="13">
                  <c:v>0.19078301036764256</c:v>
                </c:pt>
                <c:pt idx="14">
                  <c:v>0.18815339795328265</c:v>
                </c:pt>
                <c:pt idx="15">
                  <c:v>0.20411490684261493</c:v>
                </c:pt>
                <c:pt idx="16">
                  <c:v>0.18616363582998513</c:v>
                </c:pt>
                <c:pt idx="17">
                  <c:v>0.18140376867772265</c:v>
                </c:pt>
                <c:pt idx="18">
                  <c:v>0.18105048471967103</c:v>
                </c:pt>
                <c:pt idx="19">
                  <c:v>0.1857022976768086</c:v>
                </c:pt>
                <c:pt idx="20">
                  <c:v>0.186193140584007</c:v>
                </c:pt>
                <c:pt idx="21">
                  <c:v>0.16813796955918095</c:v>
                </c:pt>
                <c:pt idx="22">
                  <c:v>0.16058947884483638</c:v>
                </c:pt>
                <c:pt idx="23">
                  <c:v>0.1498297594724074</c:v>
                </c:pt>
                <c:pt idx="24">
                  <c:v>0.1659696121584814</c:v>
                </c:pt>
                <c:pt idx="25">
                  <c:v>0.1632107524910709</c:v>
                </c:pt>
                <c:pt idx="26">
                  <c:v>0.15884781823521685</c:v>
                </c:pt>
                <c:pt idx="27">
                  <c:v>0.16239820154667817</c:v>
                </c:pt>
                <c:pt idx="28">
                  <c:v>0.15411611609899784</c:v>
                </c:pt>
                <c:pt idx="29">
                  <c:v>0.1549869159903227</c:v>
                </c:pt>
                <c:pt idx="30">
                  <c:v>0.15514572531561413</c:v>
                </c:pt>
                <c:pt idx="31">
                  <c:v>0.15323342368520176</c:v>
                </c:pt>
                <c:pt idx="32">
                  <c:v>0.14543214178161243</c:v>
                </c:pt>
                <c:pt idx="33">
                  <c:v>0.15211726203168893</c:v>
                </c:pt>
                <c:pt idx="34">
                  <c:v>0.18064149889270933</c:v>
                </c:pt>
                <c:pt idx="35">
                  <c:v>0.1812549032089391</c:v>
                </c:pt>
                <c:pt idx="36">
                  <c:v>0.15345721236416324</c:v>
                </c:pt>
                <c:pt idx="37">
                  <c:v>0.15685721395440022</c:v>
                </c:pt>
                <c:pt idx="38">
                  <c:v>0.17023865121475132</c:v>
                </c:pt>
                <c:pt idx="39">
                  <c:v>0.17903049499842033</c:v>
                </c:pt>
                <c:pt idx="40">
                  <c:v>0.20211171077788023</c:v>
                </c:pt>
                <c:pt idx="41">
                  <c:v>0.19820243465605772</c:v>
                </c:pt>
                <c:pt idx="42">
                  <c:v>0.18586942870660364</c:v>
                </c:pt>
                <c:pt idx="43">
                  <c:v>0.1970643250016455</c:v>
                </c:pt>
                <c:pt idx="44">
                  <c:v>0.1979001629874904</c:v>
                </c:pt>
                <c:pt idx="45">
                  <c:v>0.20244198892446058</c:v>
                </c:pt>
                <c:pt idx="46">
                  <c:v>0.20751171573870816</c:v>
                </c:pt>
                <c:pt idx="47">
                  <c:v>0.18116908392599215</c:v>
                </c:pt>
                <c:pt idx="48">
                  <c:v>0.2294380595856117</c:v>
                </c:pt>
                <c:pt idx="49">
                  <c:v>0.23505131285641492</c:v>
                </c:pt>
                <c:pt idx="50">
                  <c:v>0.1910628147063624</c:v>
                </c:pt>
                <c:pt idx="51">
                  <c:v>0.17873566743071567</c:v>
                </c:pt>
                <c:pt idx="52">
                  <c:v>0.20320379303286826</c:v>
                </c:pt>
                <c:pt idx="53">
                  <c:v>0.20516258572854965</c:v>
                </c:pt>
                <c:pt idx="54">
                  <c:v>0.20446890486714378</c:v>
                </c:pt>
                <c:pt idx="55">
                  <c:v>0.18083909408701004</c:v>
                </c:pt>
                <c:pt idx="56">
                  <c:v>0.18988534733280424</c:v>
                </c:pt>
                <c:pt idx="57">
                  <c:v>0.1877686431295586</c:v>
                </c:pt>
                <c:pt idx="58">
                  <c:v>0.19731320824903253</c:v>
                </c:pt>
                <c:pt idx="59">
                  <c:v>0.22503380531209632</c:v>
                </c:pt>
                <c:pt idx="60">
                  <c:v>0.2179187799231889</c:v>
                </c:pt>
                <c:pt idx="61">
                  <c:v>0.20867969028356703</c:v>
                </c:pt>
                <c:pt idx="62">
                  <c:v>0.23851671735962268</c:v>
                </c:pt>
                <c:pt idx="63">
                  <c:v>0.23435874615444224</c:v>
                </c:pt>
                <c:pt idx="64">
                  <c:v>0.23416145364895757</c:v>
                </c:pt>
                <c:pt idx="65">
                  <c:v>0.2012320037787425</c:v>
                </c:pt>
                <c:pt idx="66">
                  <c:v>0.19096396186481815</c:v>
                </c:pt>
                <c:pt idx="67">
                  <c:v>0.21174367005683495</c:v>
                </c:pt>
                <c:pt idx="68">
                  <c:v>0.1804302007121761</c:v>
                </c:pt>
                <c:pt idx="69">
                  <c:v>0.15477916872978842</c:v>
                </c:pt>
                <c:pt idx="70">
                  <c:v>0.14161792342101315</c:v>
                </c:pt>
                <c:pt idx="71">
                  <c:v>0.15921120684645063</c:v>
                </c:pt>
                <c:pt idx="72">
                  <c:v>0.17071864590559896</c:v>
                </c:pt>
                <c:pt idx="73">
                  <c:v>0.16266331232423012</c:v>
                </c:pt>
                <c:pt idx="74">
                  <c:v>0.1670898495526749</c:v>
                </c:pt>
                <c:pt idx="75">
                  <c:v>0.16186373286995256</c:v>
                </c:pt>
                <c:pt idx="76">
                  <c:v>0.14759801828551017</c:v>
                </c:pt>
                <c:pt idx="77">
                  <c:v>0.15507533367967213</c:v>
                </c:pt>
                <c:pt idx="78">
                  <c:v>0.15638685792516996</c:v>
                </c:pt>
                <c:pt idx="79">
                  <c:v>0.10154548929561395</c:v>
                </c:pt>
                <c:pt idx="80">
                  <c:v>0.09873984083931558</c:v>
                </c:pt>
                <c:pt idx="81">
                  <c:v>0.1456215791443457</c:v>
                </c:pt>
                <c:pt idx="82">
                  <c:v>0.14488383842757263</c:v>
                </c:pt>
                <c:pt idx="83">
                  <c:v>0.13364258224217812</c:v>
                </c:pt>
                <c:pt idx="84">
                  <c:v>0.12473582262757152</c:v>
                </c:pt>
                <c:pt idx="85">
                  <c:v>0.14392554005334826</c:v>
                </c:pt>
                <c:pt idx="86">
                  <c:v>0.1718679660941708</c:v>
                </c:pt>
                <c:pt idx="87">
                  <c:v>0.18376507162292452</c:v>
                </c:pt>
                <c:pt idx="88">
                  <c:v>0.14562411338755674</c:v>
                </c:pt>
                <c:pt idx="89">
                  <c:v>0.13383565982444573</c:v>
                </c:pt>
                <c:pt idx="90">
                  <c:v>0.14774775425053424</c:v>
                </c:pt>
                <c:pt idx="91">
                  <c:v>0.1602058436350543</c:v>
                </c:pt>
                <c:pt idx="92">
                  <c:v>0.1720262208993999</c:v>
                </c:pt>
                <c:pt idx="93">
                  <c:v>0.160781789348091</c:v>
                </c:pt>
                <c:pt idx="94">
                  <c:v>0.163447402029189</c:v>
                </c:pt>
                <c:pt idx="95">
                  <c:v>0.1596995231885909</c:v>
                </c:pt>
                <c:pt idx="96">
                  <c:v>0.1743996289949446</c:v>
                </c:pt>
                <c:pt idx="97">
                  <c:v>0.1865063666081905</c:v>
                </c:pt>
                <c:pt idx="98">
                  <c:v>0.19250457535623794</c:v>
                </c:pt>
                <c:pt idx="99">
                  <c:v>0.20437279571535477</c:v>
                </c:pt>
                <c:pt idx="100">
                  <c:v>0.21532666173364798</c:v>
                </c:pt>
                <c:pt idx="101">
                  <c:v>0.20620365884802827</c:v>
                </c:pt>
                <c:pt idx="102">
                  <c:v>0.1948736392694206</c:v>
                </c:pt>
                <c:pt idx="103">
                  <c:v>0.16655864754313915</c:v>
                </c:pt>
                <c:pt idx="104">
                  <c:v>0.18296470192309292</c:v>
                </c:pt>
              </c:numCache>
            </c:numRef>
          </c:xVal>
          <c:yVal>
            <c:numRef>
              <c:f>Sheet1!$B$2:$B$106</c:f>
              <c:numCache>
                <c:formatCode>General</c:formatCode>
                <c:ptCount val="105"/>
                <c:pt idx="0">
                  <c:v>0.2146968600282632</c:v>
                </c:pt>
                <c:pt idx="1">
                  <c:v>0.21712007677826584</c:v>
                </c:pt>
                <c:pt idx="2">
                  <c:v>0.1972539093651399</c:v>
                </c:pt>
                <c:pt idx="3">
                  <c:v>0.19730041274681143</c:v>
                </c:pt>
                <c:pt idx="4">
                  <c:v>0.19716885743174925</c:v>
                </c:pt>
                <c:pt idx="5">
                  <c:v>0.19011423945308986</c:v>
                </c:pt>
                <c:pt idx="6">
                  <c:v>0.21003957329662767</c:v>
                </c:pt>
                <c:pt idx="7">
                  <c:v>0.2073639490188145</c:v>
                </c:pt>
                <c:pt idx="8">
                  <c:v>0.2137272874319297</c:v>
                </c:pt>
                <c:pt idx="9">
                  <c:v>0.21458712399829663</c:v>
                </c:pt>
                <c:pt idx="10">
                  <c:v>0.22435340758920144</c:v>
                </c:pt>
                <c:pt idx="11">
                  <c:v>0.21762858264625048</c:v>
                </c:pt>
                <c:pt idx="12">
                  <c:v>0.2199875444188006</c:v>
                </c:pt>
                <c:pt idx="13">
                  <c:v>0.23027560369449906</c:v>
                </c:pt>
                <c:pt idx="14">
                  <c:v>0.2161569659103365</c:v>
                </c:pt>
                <c:pt idx="15">
                  <c:v>0.21368379688250447</c:v>
                </c:pt>
                <c:pt idx="16">
                  <c:v>0.20372046254399195</c:v>
                </c:pt>
                <c:pt idx="17">
                  <c:v>0.19133534411845352</c:v>
                </c:pt>
                <c:pt idx="18">
                  <c:v>0.17340107591153617</c:v>
                </c:pt>
                <c:pt idx="19">
                  <c:v>0.16212729357798164</c:v>
                </c:pt>
                <c:pt idx="20">
                  <c:v>0.17247294020228307</c:v>
                </c:pt>
                <c:pt idx="21">
                  <c:v>0.1783948269303918</c:v>
                </c:pt>
                <c:pt idx="22">
                  <c:v>0.17771652400986507</c:v>
                </c:pt>
                <c:pt idx="23">
                  <c:v>0.18375094912680334</c:v>
                </c:pt>
                <c:pt idx="24">
                  <c:v>0.1905131096701438</c:v>
                </c:pt>
                <c:pt idx="25">
                  <c:v>0.19003645200486027</c:v>
                </c:pt>
                <c:pt idx="26">
                  <c:v>0.19381918133868212</c:v>
                </c:pt>
                <c:pt idx="27">
                  <c:v>0.18466152527849186</c:v>
                </c:pt>
                <c:pt idx="28">
                  <c:v>0.1814139941690962</c:v>
                </c:pt>
                <c:pt idx="29">
                  <c:v>0.20289217227287018</c:v>
                </c:pt>
                <c:pt idx="30">
                  <c:v>0.1858022158391465</c:v>
                </c:pt>
                <c:pt idx="31">
                  <c:v>0.1823178391959799</c:v>
                </c:pt>
                <c:pt idx="32">
                  <c:v>0.1905923610581688</c:v>
                </c:pt>
                <c:pt idx="33">
                  <c:v>0.20864226135310474</c:v>
                </c:pt>
                <c:pt idx="34">
                  <c:v>0.1999795207864018</c:v>
                </c:pt>
                <c:pt idx="35">
                  <c:v>0.1962085308056872</c:v>
                </c:pt>
                <c:pt idx="36">
                  <c:v>0.15714536825452627</c:v>
                </c:pt>
                <c:pt idx="37">
                  <c:v>0.14665426274171042</c:v>
                </c:pt>
                <c:pt idx="38">
                  <c:v>0.14210777300906055</c:v>
                </c:pt>
                <c:pt idx="39">
                  <c:v>0.14415942336230655</c:v>
                </c:pt>
                <c:pt idx="40">
                  <c:v>0.14485714285714285</c:v>
                </c:pt>
                <c:pt idx="41">
                  <c:v>0.13350603399254438</c:v>
                </c:pt>
                <c:pt idx="42">
                  <c:v>0.13931079536175078</c:v>
                </c:pt>
                <c:pt idx="43">
                  <c:v>0.14207650273224043</c:v>
                </c:pt>
                <c:pt idx="44">
                  <c:v>0.17000688920899354</c:v>
                </c:pt>
                <c:pt idx="45">
                  <c:v>0.19477348004266548</c:v>
                </c:pt>
                <c:pt idx="46">
                  <c:v>0.2011744648607691</c:v>
                </c:pt>
                <c:pt idx="47">
                  <c:v>0.20259431353025778</c:v>
                </c:pt>
                <c:pt idx="48">
                  <c:v>0.2187455926500514</c:v>
                </c:pt>
                <c:pt idx="49">
                  <c:v>0.25037901866047013</c:v>
                </c:pt>
                <c:pt idx="50">
                  <c:v>0.21465076660988075</c:v>
                </c:pt>
                <c:pt idx="51">
                  <c:v>0.19269703543022415</c:v>
                </c:pt>
                <c:pt idx="52">
                  <c:v>0.2046528645912736</c:v>
                </c:pt>
                <c:pt idx="53">
                  <c:v>0.19408830593016813</c:v>
                </c:pt>
                <c:pt idx="54">
                  <c:v>0.19114754098360656</c:v>
                </c:pt>
                <c:pt idx="55">
                  <c:v>0.18233343129434484</c:v>
                </c:pt>
                <c:pt idx="56">
                  <c:v>0.19250032664082575</c:v>
                </c:pt>
                <c:pt idx="57">
                  <c:v>0.18821285803352036</c:v>
                </c:pt>
                <c:pt idx="58">
                  <c:v>0.20670012206700122</c:v>
                </c:pt>
                <c:pt idx="59">
                  <c:v>0.21249389512942327</c:v>
                </c:pt>
                <c:pt idx="60">
                  <c:v>0.22528798547010673</c:v>
                </c:pt>
                <c:pt idx="61">
                  <c:v>0.22520512204332452</c:v>
                </c:pt>
                <c:pt idx="62">
                  <c:v>0.22494933573519477</c:v>
                </c:pt>
                <c:pt idx="63">
                  <c:v>0.2410700941563294</c:v>
                </c:pt>
                <c:pt idx="64">
                  <c:v>0.22874988951415692</c:v>
                </c:pt>
                <c:pt idx="65">
                  <c:v>0.21485674085443848</c:v>
                </c:pt>
                <c:pt idx="66">
                  <c:v>0.2205326908048971</c:v>
                </c:pt>
                <c:pt idx="67">
                  <c:v>0.2174063560202174</c:v>
                </c:pt>
                <c:pt idx="68">
                  <c:v>0.19819517313746066</c:v>
                </c:pt>
                <c:pt idx="69">
                  <c:v>0.1843770456033166</c:v>
                </c:pt>
                <c:pt idx="70">
                  <c:v>0.17122678524718807</c:v>
                </c:pt>
                <c:pt idx="71">
                  <c:v>0.18111014240046497</c:v>
                </c:pt>
                <c:pt idx="72">
                  <c:v>0.18635843192846627</c:v>
                </c:pt>
                <c:pt idx="73">
                  <c:v>0.18679817004337235</c:v>
                </c:pt>
                <c:pt idx="74">
                  <c:v>0.18381496477896722</c:v>
                </c:pt>
                <c:pt idx="75">
                  <c:v>0.18586118251928022</c:v>
                </c:pt>
                <c:pt idx="76">
                  <c:v>0.18114987169706637</c:v>
                </c:pt>
                <c:pt idx="77">
                  <c:v>0.1769905093095704</c:v>
                </c:pt>
                <c:pt idx="78">
                  <c:v>0.1633945027646446</c:v>
                </c:pt>
                <c:pt idx="79">
                  <c:v>0.22476419827413205</c:v>
                </c:pt>
                <c:pt idx="80">
                  <c:v>0.21057944679991925</c:v>
                </c:pt>
                <c:pt idx="81">
                  <c:v>0.17324355971896954</c:v>
                </c:pt>
                <c:pt idx="82">
                  <c:v>0.17274735318759996</c:v>
                </c:pt>
                <c:pt idx="83">
                  <c:v>0.1545659331138451</c:v>
                </c:pt>
                <c:pt idx="84">
                  <c:v>0.1574049688350452</c:v>
                </c:pt>
                <c:pt idx="85">
                  <c:v>0.16417796739296053</c:v>
                </c:pt>
                <c:pt idx="86">
                  <c:v>0.1571214565568103</c:v>
                </c:pt>
                <c:pt idx="87">
                  <c:v>0.17206188960825194</c:v>
                </c:pt>
                <c:pt idx="88">
                  <c:v>0.1534110993283846</c:v>
                </c:pt>
                <c:pt idx="89">
                  <c:v>0.1521688342029437</c:v>
                </c:pt>
                <c:pt idx="90">
                  <c:v>0.1496723669490171</c:v>
                </c:pt>
                <c:pt idx="91">
                  <c:v>0.14149109849957242</c:v>
                </c:pt>
                <c:pt idx="92">
                  <c:v>0.14851851851851852</c:v>
                </c:pt>
                <c:pt idx="93">
                  <c:v>0.14279624893435636</c:v>
                </c:pt>
                <c:pt idx="94">
                  <c:v>0.14696723531004605</c:v>
                </c:pt>
                <c:pt idx="95">
                  <c:v>0.15124254473161033</c:v>
                </c:pt>
                <c:pt idx="96">
                  <c:v>0.14782844182661387</c:v>
                </c:pt>
                <c:pt idx="97">
                  <c:v>0.15954492519931918</c:v>
                </c:pt>
                <c:pt idx="98">
                  <c:v>0.1734323983854796</c:v>
                </c:pt>
                <c:pt idx="99">
                  <c:v>0.18298980350969324</c:v>
                </c:pt>
                <c:pt idx="100">
                  <c:v>0.20112217610289895</c:v>
                </c:pt>
                <c:pt idx="101">
                  <c:v>0.1896363217861664</c:v>
                </c:pt>
                <c:pt idx="102">
                  <c:v>0.16128769687843392</c:v>
                </c:pt>
                <c:pt idx="103">
                  <c:v>0.18299982291482203</c:v>
                </c:pt>
                <c:pt idx="104">
                  <c:v>0.182912358026784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071469767218717</c:v>
                </c:pt>
                <c:pt idx="1">
                  <c:v>0.21627360573596752</c:v>
                </c:pt>
                <c:pt idx="2">
                  <c:v>0.2080504999799664</c:v>
                </c:pt>
                <c:pt idx="3">
                  <c:v>0.20768231414322616</c:v>
                </c:pt>
                <c:pt idx="4">
                  <c:v>0.18986295727196625</c:v>
                </c:pt>
                <c:pt idx="5">
                  <c:v>0.210667412834042</c:v>
                </c:pt>
                <c:pt idx="6">
                  <c:v>0.2021666194163578</c:v>
                </c:pt>
                <c:pt idx="7">
                  <c:v>0.1856537939482222</c:v>
                </c:pt>
                <c:pt idx="8">
                  <c:v>0.23082433123732446</c:v>
                </c:pt>
                <c:pt idx="9">
                  <c:v>0.2190892710386966</c:v>
                </c:pt>
                <c:pt idx="10">
                  <c:v>0.2121595697365042</c:v>
                </c:pt>
                <c:pt idx="11">
                  <c:v>0.19571202202974708</c:v>
                </c:pt>
                <c:pt idx="12">
                  <c:v>0.19356713771568404</c:v>
                </c:pt>
                <c:pt idx="13">
                  <c:v>0.19903403689505858</c:v>
                </c:pt>
                <c:pt idx="14">
                  <c:v>0.19938359551863763</c:v>
                </c:pt>
                <c:pt idx="15">
                  <c:v>0.19636026284273128</c:v>
                </c:pt>
                <c:pt idx="16">
                  <c:v>0.18554510483095177</c:v>
                </c:pt>
                <c:pt idx="17">
                  <c:v>0.1761295012601064</c:v>
                </c:pt>
                <c:pt idx="18">
                  <c:v>0.1616333966692653</c:v>
                </c:pt>
                <c:pt idx="19">
                  <c:v>0.18524493668855027</c:v>
                </c:pt>
                <c:pt idx="20">
                  <c:v>0.16714710676502126</c:v>
                </c:pt>
                <c:pt idx="21">
                  <c:v>0.15605712566003524</c:v>
                </c:pt>
                <c:pt idx="22">
                  <c:v>0.14800434729393797</c:v>
                </c:pt>
                <c:pt idx="23">
                  <c:v>0.16461369209170995</c:v>
                </c:pt>
                <c:pt idx="24">
                  <c:v>0.15390348040043603</c:v>
                </c:pt>
                <c:pt idx="25">
                  <c:v>0.1453901196743748</c:v>
                </c:pt>
                <c:pt idx="26">
                  <c:v>0.1589363981330406</c:v>
                </c:pt>
                <c:pt idx="27">
                  <c:v>0.16316289175425971</c:v>
                </c:pt>
                <c:pt idx="28">
                  <c:v>0.17338861836088756</c:v>
                </c:pt>
                <c:pt idx="29">
                  <c:v>0.15611139804340954</c:v>
                </c:pt>
                <c:pt idx="30">
                  <c:v>0.1528352051077377</c:v>
                </c:pt>
                <c:pt idx="31">
                  <c:v>0.13910923768229297</c:v>
                </c:pt>
                <c:pt idx="32">
                  <c:v>0.15472550782343786</c:v>
                </c:pt>
                <c:pt idx="33">
                  <c:v>0.16966272634613416</c:v>
                </c:pt>
                <c:pt idx="34">
                  <c:v>0.1925077626725213</c:v>
                </c:pt>
                <c:pt idx="35">
                  <c:v>0.14982708095843264</c:v>
                </c:pt>
                <c:pt idx="36">
                  <c:v>0.12898846508720183</c:v>
                </c:pt>
                <c:pt idx="37">
                  <c:v>0.13872737166558058</c:v>
                </c:pt>
                <c:pt idx="38">
                  <c:v>0.13881914753781394</c:v>
                </c:pt>
                <c:pt idx="39">
                  <c:v>0.147490594224907</c:v>
                </c:pt>
                <c:pt idx="40">
                  <c:v>0.16143934930329218</c:v>
                </c:pt>
                <c:pt idx="41">
                  <c:v>0.16791406148786844</c:v>
                </c:pt>
                <c:pt idx="42">
                  <c:v>0.16262621778695907</c:v>
                </c:pt>
                <c:pt idx="43">
                  <c:v>0.17955408500577738</c:v>
                </c:pt>
                <c:pt idx="44">
                  <c:v>0.17781390415330284</c:v>
                </c:pt>
                <c:pt idx="45">
                  <c:v>0.17896860831465577</c:v>
                </c:pt>
                <c:pt idx="46">
                  <c:v>0.16791022713230339</c:v>
                </c:pt>
                <c:pt idx="47">
                  <c:v>0.15839461027352325</c:v>
                </c:pt>
                <c:pt idx="48">
                  <c:v>0.16110106253680365</c:v>
                </c:pt>
                <c:pt idx="49">
                  <c:v>0.19418635599649414</c:v>
                </c:pt>
                <c:pt idx="50">
                  <c:v>0.19661269106299298</c:v>
                </c:pt>
                <c:pt idx="51">
                  <c:v>0.16305782808978575</c:v>
                </c:pt>
              </c:numCache>
            </c:numRef>
          </c:xVal>
          <c:yVal>
            <c:numRef>
              <c:f>Sheet1!$B$109:$B$160</c:f>
              <c:numCache>
                <c:formatCode>General</c:formatCode>
                <c:ptCount val="52"/>
                <c:pt idx="0">
                  <c:v>0.17586504865311642</c:v>
                </c:pt>
                <c:pt idx="1">
                  <c:v>0.18501328890475624</c:v>
                </c:pt>
                <c:pt idx="2">
                  <c:v>0.1932705437484682</c:v>
                </c:pt>
                <c:pt idx="3">
                  <c:v>0.20842007034670879</c:v>
                </c:pt>
                <c:pt idx="4">
                  <c:v>0.1960059983175451</c:v>
                </c:pt>
                <c:pt idx="5">
                  <c:v>0.1932523413698424</c:v>
                </c:pt>
                <c:pt idx="6">
                  <c:v>0.19092039800995025</c:v>
                </c:pt>
                <c:pt idx="7">
                  <c:v>0.18701948864652243</c:v>
                </c:pt>
                <c:pt idx="8">
                  <c:v>0.1838410991636798</c:v>
                </c:pt>
                <c:pt idx="9">
                  <c:v>0.19139282276914615</c:v>
                </c:pt>
                <c:pt idx="10">
                  <c:v>0.19937750111160515</c:v>
                </c:pt>
                <c:pt idx="11">
                  <c:v>0.20998158613245285</c:v>
                </c:pt>
                <c:pt idx="12">
                  <c:v>0.21063448172782304</c:v>
                </c:pt>
                <c:pt idx="13">
                  <c:v>0.2027168234064786</c:v>
                </c:pt>
                <c:pt idx="14">
                  <c:v>0.20394852811563546</c:v>
                </c:pt>
                <c:pt idx="15">
                  <c:v>0.1911484166348722</c:v>
                </c:pt>
                <c:pt idx="16">
                  <c:v>0.17354389539820003</c:v>
                </c:pt>
                <c:pt idx="17">
                  <c:v>0.15987517253795835</c:v>
                </c:pt>
                <c:pt idx="18">
                  <c:v>0.15772739839646116</c:v>
                </c:pt>
                <c:pt idx="19">
                  <c:v>0.16408564503097225</c:v>
                </c:pt>
                <c:pt idx="20">
                  <c:v>0.15580800481492627</c:v>
                </c:pt>
                <c:pt idx="21">
                  <c:v>0.1632854578096948</c:v>
                </c:pt>
                <c:pt idx="22">
                  <c:v>0.16744678972003885</c:v>
                </c:pt>
                <c:pt idx="23">
                  <c:v>0.17244567730004623</c:v>
                </c:pt>
                <c:pt idx="24">
                  <c:v>0.16679431537741468</c:v>
                </c:pt>
                <c:pt idx="25">
                  <c:v>0.1732283464566929</c:v>
                </c:pt>
                <c:pt idx="26">
                  <c:v>0.15100587797003062</c:v>
                </c:pt>
                <c:pt idx="27">
                  <c:v>0.1507983883002537</c:v>
                </c:pt>
                <c:pt idx="28">
                  <c:v>0.16056965442764579</c:v>
                </c:pt>
                <c:pt idx="29">
                  <c:v>0.1633265720081136</c:v>
                </c:pt>
                <c:pt idx="30">
                  <c:v>0.16941176470588235</c:v>
                </c:pt>
                <c:pt idx="31">
                  <c:v>0.17265540783327343</c:v>
                </c:pt>
                <c:pt idx="32">
                  <c:v>0.17580369622612207</c:v>
                </c:pt>
                <c:pt idx="33">
                  <c:v>0.1932656268891307</c:v>
                </c:pt>
                <c:pt idx="34">
                  <c:v>0.2121571534469978</c:v>
                </c:pt>
                <c:pt idx="35">
                  <c:v>0.2041537507749535</c:v>
                </c:pt>
                <c:pt idx="36">
                  <c:v>0.1746545133784181</c:v>
                </c:pt>
                <c:pt idx="37">
                  <c:v>0.1571340442407685</c:v>
                </c:pt>
                <c:pt idx="38">
                  <c:v>0.16235547717029197</c:v>
                </c:pt>
                <c:pt idx="39">
                  <c:v>0.18015759312320917</c:v>
                </c:pt>
                <c:pt idx="40">
                  <c:v>0.160164700956103</c:v>
                </c:pt>
                <c:pt idx="41">
                  <c:v>0.16189848384970337</c:v>
                </c:pt>
                <c:pt idx="42">
                  <c:v>0.16194241384454722</c:v>
                </c:pt>
                <c:pt idx="43">
                  <c:v>0.15235745614035087</c:v>
                </c:pt>
                <c:pt idx="44">
                  <c:v>0.14751594645584404</c:v>
                </c:pt>
                <c:pt idx="45">
                  <c:v>0.1632826827351323</c:v>
                </c:pt>
                <c:pt idx="46">
                  <c:v>0.161425251742835</c:v>
                </c:pt>
                <c:pt idx="47">
                  <c:v>0.16117163263833778</c:v>
                </c:pt>
                <c:pt idx="48">
                  <c:v>0.1530141418983701</c:v>
                </c:pt>
                <c:pt idx="49">
                  <c:v>0.16894482413735623</c:v>
                </c:pt>
                <c:pt idx="50">
                  <c:v>0.2009994551842041</c:v>
                </c:pt>
                <c:pt idx="51">
                  <c:v>0.1894591220433917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4693550045821147</c:v>
                </c:pt>
              </c:numCache>
            </c:numRef>
          </c:xVal>
          <c:yVal>
            <c:numRef>
              <c:f>Sheet1!$B$163:$B$164</c:f>
              <c:numCache>
                <c:formatCode>General</c:formatCode>
                <c:ptCount val="2"/>
                <c:pt idx="0">
                  <c:v>0.2062181521145252</c:v>
                </c:pt>
                <c:pt idx="1">
                  <c:v>0.20621815211452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4693550045821147</c:v>
                </c:pt>
                <c:pt idx="1">
                  <c:v>0.24693550045821147</c:v>
                </c:pt>
              </c:numCache>
            </c:numRef>
          </c:xVal>
          <c:yVal>
            <c:numRef>
              <c:f>Sheet1!$B$167:$B$168</c:f>
              <c:numCache>
                <c:formatCode>General</c:formatCode>
                <c:ptCount val="2"/>
                <c:pt idx="0">
                  <c:v>0.20621815211452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0899578152368256</c:v>
                </c:pt>
              </c:numCache>
            </c:numRef>
          </c:xVal>
          <c:yVal>
            <c:numRef>
              <c:f>Sheet1!$B$171:$B$172</c:f>
              <c:numCache>
                <c:formatCode>General</c:formatCode>
                <c:ptCount val="2"/>
                <c:pt idx="0">
                  <c:v>0.19040091968450995</c:v>
                </c:pt>
                <c:pt idx="1">
                  <c:v>0.1904009196845099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0899578152368256</c:v>
                </c:pt>
                <c:pt idx="1">
                  <c:v>0.20899578152368256</c:v>
                </c:pt>
              </c:numCache>
            </c:numRef>
          </c:xVal>
          <c:yVal>
            <c:numRef>
              <c:f>Sheet1!$B$175:$B$176</c:f>
              <c:numCache>
                <c:formatCode>General</c:formatCode>
                <c:ptCount val="2"/>
                <c:pt idx="0">
                  <c:v>0.190400919684509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512665686742869</c:v>
                </c:pt>
              </c:numCache>
            </c:numRef>
          </c:xVal>
          <c:yVal>
            <c:numRef>
              <c:f>Sheet1!$B$179:$B$180</c:f>
              <c:numCache>
                <c:formatCode>General</c:formatCode>
                <c:ptCount val="2"/>
                <c:pt idx="0">
                  <c:v>0.16633336190379883</c:v>
                </c:pt>
                <c:pt idx="1">
                  <c:v>0.1663333619037988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512665686742869</c:v>
                </c:pt>
                <c:pt idx="1">
                  <c:v>0.1512665686742869</c:v>
                </c:pt>
              </c:numCache>
            </c:numRef>
          </c:xVal>
          <c:yVal>
            <c:numRef>
              <c:f>Sheet1!$B$183:$B$184</c:f>
              <c:numCache>
                <c:formatCode>General</c:formatCode>
                <c:ptCount val="2"/>
                <c:pt idx="0">
                  <c:v>0.1663333619037988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071469767218717</c:v>
                </c:pt>
                <c:pt idx="1">
                  <c:v>0.21627360573596752</c:v>
                </c:pt>
                <c:pt idx="2">
                  <c:v>0.2080504999799664</c:v>
                </c:pt>
                <c:pt idx="3">
                  <c:v>0.20768231414322616</c:v>
                </c:pt>
                <c:pt idx="4">
                  <c:v>0.18986295727196625</c:v>
                </c:pt>
                <c:pt idx="5">
                  <c:v>0.210667412834042</c:v>
                </c:pt>
                <c:pt idx="6">
                  <c:v>0.2021666194163578</c:v>
                </c:pt>
                <c:pt idx="7">
                  <c:v>0.1856537939482222</c:v>
                </c:pt>
                <c:pt idx="8">
                  <c:v>0.23082433123732446</c:v>
                </c:pt>
                <c:pt idx="9">
                  <c:v>0.2190892710386966</c:v>
                </c:pt>
                <c:pt idx="10">
                  <c:v>0.2121595697365042</c:v>
                </c:pt>
                <c:pt idx="11">
                  <c:v>0.19571202202974708</c:v>
                </c:pt>
                <c:pt idx="12">
                  <c:v>0.19356713771568404</c:v>
                </c:pt>
                <c:pt idx="13">
                  <c:v>0.19903403689505858</c:v>
                </c:pt>
                <c:pt idx="14">
                  <c:v>0.19938359551863763</c:v>
                </c:pt>
                <c:pt idx="15">
                  <c:v>0.19636026284273128</c:v>
                </c:pt>
                <c:pt idx="16">
                  <c:v>0.18554510483095177</c:v>
                </c:pt>
                <c:pt idx="17">
                  <c:v>0.1761295012601064</c:v>
                </c:pt>
                <c:pt idx="18">
                  <c:v>0.1616333966692653</c:v>
                </c:pt>
                <c:pt idx="19">
                  <c:v>0.18524493668855027</c:v>
                </c:pt>
                <c:pt idx="20">
                  <c:v>0.16714710676502126</c:v>
                </c:pt>
                <c:pt idx="21">
                  <c:v>0.15605712566003524</c:v>
                </c:pt>
                <c:pt idx="22">
                  <c:v>0.14800434729393797</c:v>
                </c:pt>
                <c:pt idx="23">
                  <c:v>0.16461369209170995</c:v>
                </c:pt>
                <c:pt idx="24">
                  <c:v>0.15390348040043603</c:v>
                </c:pt>
                <c:pt idx="25">
                  <c:v>0.1453901196743748</c:v>
                </c:pt>
                <c:pt idx="26">
                  <c:v>0.1589363981330406</c:v>
                </c:pt>
                <c:pt idx="27">
                  <c:v>0.16316289175425971</c:v>
                </c:pt>
                <c:pt idx="28">
                  <c:v>0.17338861836088756</c:v>
                </c:pt>
                <c:pt idx="29">
                  <c:v>0.15611139804340954</c:v>
                </c:pt>
                <c:pt idx="30">
                  <c:v>0.1528352051077377</c:v>
                </c:pt>
                <c:pt idx="31">
                  <c:v>0.13910923768229297</c:v>
                </c:pt>
                <c:pt idx="32">
                  <c:v>0.15472550782343786</c:v>
                </c:pt>
                <c:pt idx="33">
                  <c:v>0.16966272634613416</c:v>
                </c:pt>
                <c:pt idx="34">
                  <c:v>0.1925077626725213</c:v>
                </c:pt>
                <c:pt idx="35">
                  <c:v>0.14982708095843264</c:v>
                </c:pt>
                <c:pt idx="36">
                  <c:v>0.12898846508720183</c:v>
                </c:pt>
                <c:pt idx="37">
                  <c:v>0.13872737166558058</c:v>
                </c:pt>
                <c:pt idx="38">
                  <c:v>0.13881914753781394</c:v>
                </c:pt>
                <c:pt idx="39">
                  <c:v>0.147490594224907</c:v>
                </c:pt>
                <c:pt idx="40">
                  <c:v>0.16143934930329218</c:v>
                </c:pt>
                <c:pt idx="41">
                  <c:v>0.16791406148786844</c:v>
                </c:pt>
                <c:pt idx="42">
                  <c:v>0.16262621778695907</c:v>
                </c:pt>
                <c:pt idx="43">
                  <c:v>0.17955408500577738</c:v>
                </c:pt>
                <c:pt idx="44">
                  <c:v>0.17781390415330284</c:v>
                </c:pt>
                <c:pt idx="45">
                  <c:v>0.17896860831465577</c:v>
                </c:pt>
                <c:pt idx="46">
                  <c:v>0.16791022713230339</c:v>
                </c:pt>
                <c:pt idx="47">
                  <c:v>0.15839461027352325</c:v>
                </c:pt>
                <c:pt idx="48">
                  <c:v>0.16110106253680365</c:v>
                </c:pt>
                <c:pt idx="49">
                  <c:v>0.19418635599649414</c:v>
                </c:pt>
                <c:pt idx="50">
                  <c:v>0.19661269106299298</c:v>
                </c:pt>
                <c:pt idx="51">
                  <c:v>0.16305782808978575</c:v>
                </c:pt>
                <c:pt idx="52">
                  <c:v>0.20899578152368256</c:v>
                </c:pt>
                <c:pt idx="53">
                  <c:v>0.24693550045821147</c:v>
                </c:pt>
                <c:pt idx="54">
                  <c:v>0.1512665686742869</c:v>
                </c:pt>
              </c:numCache>
            </c:numRef>
          </c:xVal>
          <c:yVal>
            <c:numRef>
              <c:f>Sheet1!$B$187:$B$241</c:f>
              <c:numCache>
                <c:formatCode>General</c:formatCode>
                <c:ptCount val="55"/>
                <c:pt idx="0">
                  <c:v>0.19111754323924746</c:v>
                </c:pt>
                <c:pt idx="1">
                  <c:v>0.19343507598253507</c:v>
                </c:pt>
                <c:pt idx="2">
                  <c:v>0.19000682773262798</c:v>
                </c:pt>
                <c:pt idx="3">
                  <c:v>0.18985332946957523</c:v>
                </c:pt>
                <c:pt idx="4">
                  <c:v>0.18242436274811663</c:v>
                </c:pt>
                <c:pt idx="5">
                  <c:v>0.19109782998631986</c:v>
                </c:pt>
                <c:pt idx="6">
                  <c:v>0.1875538125527937</c:v>
                </c:pt>
                <c:pt idx="7">
                  <c:v>0.1806695444074103</c:v>
                </c:pt>
                <c:pt idx="8">
                  <c:v>0.19950133619066887</c:v>
                </c:pt>
                <c:pt idx="9">
                  <c:v>0.1946089389891443</c:v>
                </c:pt>
                <c:pt idx="10">
                  <c:v>0.19171991663353583</c:v>
                </c:pt>
                <c:pt idx="11">
                  <c:v>0.18486286306836627</c:v>
                </c:pt>
                <c:pt idx="12">
                  <c:v>0.18396865154851885</c:v>
                </c:pt>
                <c:pt idx="13">
                  <c:v>0.18624782539113077</c:v>
                </c:pt>
                <c:pt idx="14">
                  <c:v>0.1863935578886911</c:v>
                </c:pt>
                <c:pt idx="15">
                  <c:v>0.18513311745868705</c:v>
                </c:pt>
                <c:pt idx="16">
                  <c:v>0.1806242314457237</c:v>
                </c:pt>
                <c:pt idx="17">
                  <c:v>0.17669882571443868</c:v>
                </c:pt>
                <c:pt idx="18">
                  <c:v>0.17065533719943893</c:v>
                </c:pt>
                <c:pt idx="19">
                  <c:v>0.18049909005275128</c:v>
                </c:pt>
                <c:pt idx="20">
                  <c:v>0.17295402671495144</c:v>
                </c:pt>
                <c:pt idx="21">
                  <c:v>0.16833056576931965</c:v>
                </c:pt>
                <c:pt idx="22">
                  <c:v>0.1649733277427607</c:v>
                </c:pt>
                <c:pt idx="23">
                  <c:v>0.17189783521288665</c:v>
                </c:pt>
                <c:pt idx="24">
                  <c:v>0.16743270177349867</c:v>
                </c:pt>
                <c:pt idx="25">
                  <c:v>0.16388344497491647</c:v>
                </c:pt>
                <c:pt idx="26">
                  <c:v>0.1695309468795082</c:v>
                </c:pt>
                <c:pt idx="27">
                  <c:v>0.17129299029596476</c:v>
                </c:pt>
                <c:pt idx="28">
                  <c:v>0.1755561398143346</c:v>
                </c:pt>
                <c:pt idx="29">
                  <c:v>0.16835319215998543</c:v>
                </c:pt>
                <c:pt idx="30">
                  <c:v>0.1669873331972841</c:v>
                </c:pt>
                <c:pt idx="31">
                  <c:v>0.1612649181875754</c:v>
                </c:pt>
                <c:pt idx="32">
                  <c:v>0.16777540855095013</c:v>
                </c:pt>
                <c:pt idx="33">
                  <c:v>0.17400279936634153</c:v>
                </c:pt>
                <c:pt idx="34">
                  <c:v>0.1835269935247159</c:v>
                </c:pt>
                <c:pt idx="35">
                  <c:v>0.16573323326760336</c:v>
                </c:pt>
                <c:pt idx="36">
                  <c:v>0.15704552444920497</c:v>
                </c:pt>
                <c:pt idx="37">
                  <c:v>0.16110571659849965</c:v>
                </c:pt>
                <c:pt idx="38">
                  <c:v>0.16114397835539584</c:v>
                </c:pt>
                <c:pt idx="39">
                  <c:v>0.16475914187284113</c:v>
                </c:pt>
                <c:pt idx="40">
                  <c:v>0.1705744380157806</c:v>
                </c:pt>
                <c:pt idx="41">
                  <c:v>0.17327377344622022</c:v>
                </c:pt>
                <c:pt idx="42">
                  <c:v>0.1710692486047155</c:v>
                </c:pt>
                <c:pt idx="43">
                  <c:v>0.17812654944572948</c:v>
                </c:pt>
                <c:pt idx="44">
                  <c:v>0.17740106054420784</c:v>
                </c:pt>
                <c:pt idx="45">
                  <c:v>0.17788246168846888</c:v>
                </c:pt>
                <c:pt idx="46">
                  <c:v>0.17327217488685037</c:v>
                </c:pt>
                <c:pt idx="47">
                  <c:v>0.1693050731845413</c:v>
                </c:pt>
                <c:pt idx="48">
                  <c:v>0.17043340480404856</c:v>
                </c:pt>
                <c:pt idx="49">
                  <c:v>0.18422680632002336</c:v>
                </c:pt>
                <c:pt idx="50">
                  <c:v>0.18523835587225213</c:v>
                </c:pt>
                <c:pt idx="51">
                  <c:v>0.17124918880118295</c:v>
                </c:pt>
                <c:pt idx="52">
                  <c:v>0.19040091968450995</c:v>
                </c:pt>
                <c:pt idx="53">
                  <c:v>0.2062181521145252</c:v>
                </c:pt>
                <c:pt idx="54">
                  <c:v>0.1663333619037988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045482239256416"/>
          <c:min val="0.106804827194035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0894</c:v>
                </c:pt>
                <c:pt idx="1">
                  <c:v>863.8572</c:v>
                </c:pt>
                <c:pt idx="2">
                  <c:v>915.63</c:v>
                </c:pt>
                <c:pt idx="3">
                  <c:v>930.6772</c:v>
                </c:pt>
                <c:pt idx="4">
                  <c:v>927.9188</c:v>
                </c:pt>
                <c:pt idx="5">
                  <c:v>924.7076</c:v>
                </c:pt>
                <c:pt idx="6">
                  <c:v>886.788</c:v>
                </c:pt>
                <c:pt idx="7">
                  <c:v>910.648</c:v>
                </c:pt>
                <c:pt idx="8">
                  <c:v>910.9362</c:v>
                </c:pt>
                <c:pt idx="9">
                  <c:v>897.5071</c:v>
                </c:pt>
                <c:pt idx="10">
                  <c:v>899.1659</c:v>
                </c:pt>
                <c:pt idx="11">
                  <c:v>936.6184</c:v>
                </c:pt>
                <c:pt idx="12">
                  <c:v>930.1207</c:v>
                </c:pt>
                <c:pt idx="13">
                  <c:v>904.76</c:v>
                </c:pt>
                <c:pt idx="14">
                  <c:v>911.1927</c:v>
                </c:pt>
                <c:pt idx="15">
                  <c:v>921.652</c:v>
                </c:pt>
                <c:pt idx="16">
                  <c:v>918.424</c:v>
                </c:pt>
                <c:pt idx="17">
                  <c:v>935.9762</c:v>
                </c:pt>
                <c:pt idx="18">
                  <c:v>972.7735</c:v>
                </c:pt>
                <c:pt idx="19">
                  <c:v>1001.4916</c:v>
                </c:pt>
                <c:pt idx="20">
                  <c:v>1006.9064</c:v>
                </c:pt>
                <c:pt idx="21">
                  <c:v>1016.8196</c:v>
                </c:pt>
                <c:pt idx="22">
                  <c:v>1005.2167</c:v>
                </c:pt>
                <c:pt idx="23">
                  <c:v>986.9864</c:v>
                </c:pt>
                <c:pt idx="24">
                  <c:v>972.5527</c:v>
                </c:pt>
                <c:pt idx="25">
                  <c:v>961.9693</c:v>
                </c:pt>
                <c:pt idx="26">
                  <c:v>972.0951</c:v>
                </c:pt>
                <c:pt idx="27">
                  <c:v>982.5739</c:v>
                </c:pt>
                <c:pt idx="28">
                  <c:v>984.1141</c:v>
                </c:pt>
                <c:pt idx="29">
                  <c:v>886.5662</c:v>
                </c:pt>
                <c:pt idx="30">
                  <c:v>920.3414</c:v>
                </c:pt>
                <c:pt idx="31">
                  <c:v>942.4014</c:v>
                </c:pt>
                <c:pt idx="32">
                  <c:v>916.5916</c:v>
                </c:pt>
                <c:pt idx="33">
                  <c:v>861.3948</c:v>
                </c:pt>
                <c:pt idx="34">
                  <c:v>946.9117</c:v>
                </c:pt>
                <c:pt idx="35">
                  <c:v>996.5961</c:v>
                </c:pt>
                <c:pt idx="36">
                  <c:v>1052.5313</c:v>
                </c:pt>
                <c:pt idx="37">
                  <c:v>1057.7318</c:v>
                </c:pt>
                <c:pt idx="38">
                  <c:v>1103.5503</c:v>
                </c:pt>
                <c:pt idx="39">
                  <c:v>1105.923</c:v>
                </c:pt>
                <c:pt idx="40">
                  <c:v>1125.2943</c:v>
                </c:pt>
                <c:pt idx="41">
                  <c:v>1143.9972</c:v>
                </c:pt>
                <c:pt idx="42">
                  <c:v>1188.4166</c:v>
                </c:pt>
                <c:pt idx="43">
                  <c:v>1190.1291</c:v>
                </c:pt>
                <c:pt idx="44">
                  <c:v>1039.8934</c:v>
                </c:pt>
                <c:pt idx="45">
                  <c:v>987.8103</c:v>
                </c:pt>
                <c:pt idx="46">
                  <c:v>985.6185</c:v>
                </c:pt>
                <c:pt idx="47">
                  <c:v>967.874</c:v>
                </c:pt>
                <c:pt idx="48">
                  <c:v>974.755</c:v>
                </c:pt>
                <c:pt idx="49">
                  <c:v>957.9308</c:v>
                </c:pt>
                <c:pt idx="50">
                  <c:v>954.5131</c:v>
                </c:pt>
                <c:pt idx="51">
                  <c:v>980.9713</c:v>
                </c:pt>
                <c:pt idx="52">
                  <c:v>997.7418</c:v>
                </c:pt>
                <c:pt idx="53">
                  <c:v>1036.1538</c:v>
                </c:pt>
                <c:pt idx="54">
                  <c:v>1047.9728</c:v>
                </c:pt>
                <c:pt idx="55">
                  <c:v>1051.8556</c:v>
                </c:pt>
                <c:pt idx="56">
                  <c:v>1068.6247</c:v>
                </c:pt>
                <c:pt idx="57">
                  <c:v>1043.7406</c:v>
                </c:pt>
                <c:pt idx="58">
                  <c:v>1025.2152</c:v>
                </c:pt>
                <c:pt idx="59">
                  <c:v>1033.7447</c:v>
                </c:pt>
                <c:pt idx="60">
                  <c:v>1061.5763</c:v>
                </c:pt>
                <c:pt idx="61">
                  <c:v>1056.9965</c:v>
                </c:pt>
                <c:pt idx="62">
                  <c:v>1028.611</c:v>
                </c:pt>
                <c:pt idx="63">
                  <c:v>1060.3576</c:v>
                </c:pt>
                <c:pt idx="64">
                  <c:v>1053.6743</c:v>
                </c:pt>
                <c:pt idx="65">
                  <c:v>1031.7584</c:v>
                </c:pt>
                <c:pt idx="66">
                  <c:v>983.4835</c:v>
                </c:pt>
                <c:pt idx="67">
                  <c:v>966.7607</c:v>
                </c:pt>
                <c:pt idx="68">
                  <c:v>952.9274</c:v>
                </c:pt>
                <c:pt idx="69">
                  <c:v>958.3101</c:v>
                </c:pt>
                <c:pt idx="70">
                  <c:v>925.1353</c:v>
                </c:pt>
                <c:pt idx="71">
                  <c:v>984.8437</c:v>
                </c:pt>
                <c:pt idx="72">
                  <c:v>993.3549</c:v>
                </c:pt>
                <c:pt idx="73">
                  <c:v>1010.9377</c:v>
                </c:pt>
                <c:pt idx="74">
                  <c:v>1000.2435</c:v>
                </c:pt>
                <c:pt idx="75">
                  <c:v>1001.5149</c:v>
                </c:pt>
                <c:pt idx="76">
                  <c:v>1013.1956</c:v>
                </c:pt>
                <c:pt idx="77">
                  <c:v>994.2575</c:v>
                </c:pt>
                <c:pt idx="78">
                  <c:v>1050.1545</c:v>
                </c:pt>
                <c:pt idx="79">
                  <c:v>698.7679</c:v>
                </c:pt>
                <c:pt idx="80">
                  <c:v>707.1246</c:v>
                </c:pt>
                <c:pt idx="81">
                  <c:v>902.2342</c:v>
                </c:pt>
                <c:pt idx="82">
                  <c:v>895.1314</c:v>
                </c:pt>
                <c:pt idx="83">
                  <c:v>911.0286</c:v>
                </c:pt>
                <c:pt idx="84">
                  <c:v>922.024</c:v>
                </c:pt>
                <c:pt idx="85">
                  <c:v>967.4432</c:v>
                </c:pt>
                <c:pt idx="86">
                  <c:v>1075.9072</c:v>
                </c:pt>
                <c:pt idx="87">
                  <c:v>1105.8552</c:v>
                </c:pt>
                <c:pt idx="88">
                  <c:v>1091.488</c:v>
                </c:pt>
                <c:pt idx="89">
                  <c:v>1035.2538</c:v>
                </c:pt>
                <c:pt idx="90">
                  <c:v>1093.0491</c:v>
                </c:pt>
                <c:pt idx="91">
                  <c:v>1105.6374</c:v>
                </c:pt>
                <c:pt idx="92">
                  <c:v>1108.8317</c:v>
                </c:pt>
                <c:pt idx="93">
                  <c:v>1159.438</c:v>
                </c:pt>
                <c:pt idx="94">
                  <c:v>1151.2778</c:v>
                </c:pt>
                <c:pt idx="95">
                  <c:v>1145.3779</c:v>
                </c:pt>
                <c:pt idx="96">
                  <c:v>1108.9973</c:v>
                </c:pt>
                <c:pt idx="97">
                  <c:v>1123.428</c:v>
                </c:pt>
                <c:pt idx="98">
                  <c:v>1120.4051</c:v>
                </c:pt>
                <c:pt idx="99">
                  <c:v>1074.8352</c:v>
                </c:pt>
                <c:pt idx="100">
                  <c:v>1084.5881</c:v>
                </c:pt>
                <c:pt idx="101">
                  <c:v>1090.3515</c:v>
                </c:pt>
                <c:pt idx="102">
                  <c:v>1120.5609</c:v>
                </c:pt>
                <c:pt idx="103">
                  <c:v>976.3286</c:v>
                </c:pt>
                <c:pt idx="104">
                  <c:v>1069.0702</c:v>
                </c:pt>
              </c:numCache>
            </c:numRef>
          </c:xVal>
          <c:yVal>
            <c:numRef>
              <c:f>Sheet1!$B$2:$B$106</c:f>
              <c:numCache>
                <c:formatCode>General</c:formatCode>
                <c:ptCount val="105"/>
                <c:pt idx="0">
                  <c:v>0.2146968600282632</c:v>
                </c:pt>
                <c:pt idx="1">
                  <c:v>0.21712007677826584</c:v>
                </c:pt>
                <c:pt idx="2">
                  <c:v>0.1972539093651399</c:v>
                </c:pt>
                <c:pt idx="3">
                  <c:v>0.19730041274681143</c:v>
                </c:pt>
                <c:pt idx="4">
                  <c:v>0.19716885743174925</c:v>
                </c:pt>
                <c:pt idx="5">
                  <c:v>0.19011423945308986</c:v>
                </c:pt>
                <c:pt idx="6">
                  <c:v>0.21003957329662767</c:v>
                </c:pt>
                <c:pt idx="7">
                  <c:v>0.2073639490188145</c:v>
                </c:pt>
                <c:pt idx="8">
                  <c:v>0.2137272874319297</c:v>
                </c:pt>
                <c:pt idx="9">
                  <c:v>0.21458712399829663</c:v>
                </c:pt>
                <c:pt idx="10">
                  <c:v>0.22435340758920144</c:v>
                </c:pt>
                <c:pt idx="11">
                  <c:v>0.21762858264625048</c:v>
                </c:pt>
                <c:pt idx="12">
                  <c:v>0.2199875444188006</c:v>
                </c:pt>
                <c:pt idx="13">
                  <c:v>0.23027560369449906</c:v>
                </c:pt>
                <c:pt idx="14">
                  <c:v>0.2161569659103365</c:v>
                </c:pt>
                <c:pt idx="15">
                  <c:v>0.21368379688250447</c:v>
                </c:pt>
                <c:pt idx="16">
                  <c:v>0.20372046254399195</c:v>
                </c:pt>
                <c:pt idx="17">
                  <c:v>0.19133534411845352</c:v>
                </c:pt>
                <c:pt idx="18">
                  <c:v>0.17340107591153617</c:v>
                </c:pt>
                <c:pt idx="19">
                  <c:v>0.16212729357798164</c:v>
                </c:pt>
                <c:pt idx="20">
                  <c:v>0.17247294020228307</c:v>
                </c:pt>
                <c:pt idx="21">
                  <c:v>0.1783948269303918</c:v>
                </c:pt>
                <c:pt idx="22">
                  <c:v>0.17771652400986507</c:v>
                </c:pt>
                <c:pt idx="23">
                  <c:v>0.18375094912680334</c:v>
                </c:pt>
                <c:pt idx="24">
                  <c:v>0.1905131096701438</c:v>
                </c:pt>
                <c:pt idx="25">
                  <c:v>0.19003645200486027</c:v>
                </c:pt>
                <c:pt idx="26">
                  <c:v>0.19381918133868212</c:v>
                </c:pt>
                <c:pt idx="27">
                  <c:v>0.18466152527849186</c:v>
                </c:pt>
                <c:pt idx="28">
                  <c:v>0.1814139941690962</c:v>
                </c:pt>
                <c:pt idx="29">
                  <c:v>0.20289217227287018</c:v>
                </c:pt>
                <c:pt idx="30">
                  <c:v>0.1858022158391465</c:v>
                </c:pt>
                <c:pt idx="31">
                  <c:v>0.1823178391959799</c:v>
                </c:pt>
                <c:pt idx="32">
                  <c:v>0.1905923610581688</c:v>
                </c:pt>
                <c:pt idx="33">
                  <c:v>0.20864226135310474</c:v>
                </c:pt>
                <c:pt idx="34">
                  <c:v>0.1999795207864018</c:v>
                </c:pt>
                <c:pt idx="35">
                  <c:v>0.1962085308056872</c:v>
                </c:pt>
                <c:pt idx="36">
                  <c:v>0.15714536825452627</c:v>
                </c:pt>
                <c:pt idx="37">
                  <c:v>0.14665426274171042</c:v>
                </c:pt>
                <c:pt idx="38">
                  <c:v>0.14210777300906055</c:v>
                </c:pt>
                <c:pt idx="39">
                  <c:v>0.14415942336230655</c:v>
                </c:pt>
                <c:pt idx="40">
                  <c:v>0.14485714285714285</c:v>
                </c:pt>
                <c:pt idx="41">
                  <c:v>0.13350603399254438</c:v>
                </c:pt>
                <c:pt idx="42">
                  <c:v>0.13931079536175078</c:v>
                </c:pt>
                <c:pt idx="43">
                  <c:v>0.14207650273224043</c:v>
                </c:pt>
                <c:pt idx="44">
                  <c:v>0.17000688920899354</c:v>
                </c:pt>
                <c:pt idx="45">
                  <c:v>0.19477348004266548</c:v>
                </c:pt>
                <c:pt idx="46">
                  <c:v>0.2011744648607691</c:v>
                </c:pt>
                <c:pt idx="47">
                  <c:v>0.20259431353025778</c:v>
                </c:pt>
                <c:pt idx="48">
                  <c:v>0.2187455926500514</c:v>
                </c:pt>
                <c:pt idx="49">
                  <c:v>0.25037901866047013</c:v>
                </c:pt>
                <c:pt idx="50">
                  <c:v>0.21465076660988075</c:v>
                </c:pt>
                <c:pt idx="51">
                  <c:v>0.19269703543022415</c:v>
                </c:pt>
                <c:pt idx="52">
                  <c:v>0.2046528645912736</c:v>
                </c:pt>
                <c:pt idx="53">
                  <c:v>0.19408830593016813</c:v>
                </c:pt>
                <c:pt idx="54">
                  <c:v>0.19114754098360656</c:v>
                </c:pt>
                <c:pt idx="55">
                  <c:v>0.18233343129434484</c:v>
                </c:pt>
                <c:pt idx="56">
                  <c:v>0.19250032664082575</c:v>
                </c:pt>
                <c:pt idx="57">
                  <c:v>0.18821285803352036</c:v>
                </c:pt>
                <c:pt idx="58">
                  <c:v>0.20670012206700122</c:v>
                </c:pt>
                <c:pt idx="59">
                  <c:v>0.21249389512942327</c:v>
                </c:pt>
                <c:pt idx="60">
                  <c:v>0.22528798547010673</c:v>
                </c:pt>
                <c:pt idx="61">
                  <c:v>0.22520512204332452</c:v>
                </c:pt>
                <c:pt idx="62">
                  <c:v>0.22494933573519477</c:v>
                </c:pt>
                <c:pt idx="63">
                  <c:v>0.2410700941563294</c:v>
                </c:pt>
                <c:pt idx="64">
                  <c:v>0.22874988951415692</c:v>
                </c:pt>
                <c:pt idx="65">
                  <c:v>0.21485674085443848</c:v>
                </c:pt>
                <c:pt idx="66">
                  <c:v>0.2205326908048971</c:v>
                </c:pt>
                <c:pt idx="67">
                  <c:v>0.2174063560202174</c:v>
                </c:pt>
                <c:pt idx="68">
                  <c:v>0.19819517313746066</c:v>
                </c:pt>
                <c:pt idx="69">
                  <c:v>0.1843770456033166</c:v>
                </c:pt>
                <c:pt idx="70">
                  <c:v>0.17122678524718807</c:v>
                </c:pt>
                <c:pt idx="71">
                  <c:v>0.18111014240046497</c:v>
                </c:pt>
                <c:pt idx="72">
                  <c:v>0.18635843192846627</c:v>
                </c:pt>
                <c:pt idx="73">
                  <c:v>0.18679817004337235</c:v>
                </c:pt>
                <c:pt idx="74">
                  <c:v>0.18381496477896722</c:v>
                </c:pt>
                <c:pt idx="75">
                  <c:v>0.18586118251928022</c:v>
                </c:pt>
                <c:pt idx="76">
                  <c:v>0.18114987169706637</c:v>
                </c:pt>
                <c:pt idx="77">
                  <c:v>0.1769905093095704</c:v>
                </c:pt>
                <c:pt idx="78">
                  <c:v>0.1633945027646446</c:v>
                </c:pt>
                <c:pt idx="79">
                  <c:v>0.22476419827413205</c:v>
                </c:pt>
                <c:pt idx="80">
                  <c:v>0.21057944679991925</c:v>
                </c:pt>
                <c:pt idx="81">
                  <c:v>0.17324355971896954</c:v>
                </c:pt>
                <c:pt idx="82">
                  <c:v>0.17274735318759996</c:v>
                </c:pt>
                <c:pt idx="83">
                  <c:v>0.1545659331138451</c:v>
                </c:pt>
                <c:pt idx="84">
                  <c:v>0.1574049688350452</c:v>
                </c:pt>
                <c:pt idx="85">
                  <c:v>0.16417796739296053</c:v>
                </c:pt>
                <c:pt idx="86">
                  <c:v>0.1571214565568103</c:v>
                </c:pt>
                <c:pt idx="87">
                  <c:v>0.17206188960825194</c:v>
                </c:pt>
                <c:pt idx="88">
                  <c:v>0.1534110993283846</c:v>
                </c:pt>
                <c:pt idx="89">
                  <c:v>0.1521688342029437</c:v>
                </c:pt>
                <c:pt idx="90">
                  <c:v>0.1496723669490171</c:v>
                </c:pt>
                <c:pt idx="91">
                  <c:v>0.14149109849957242</c:v>
                </c:pt>
                <c:pt idx="92">
                  <c:v>0.14851851851851852</c:v>
                </c:pt>
                <c:pt idx="93">
                  <c:v>0.14279624893435636</c:v>
                </c:pt>
                <c:pt idx="94">
                  <c:v>0.14696723531004605</c:v>
                </c:pt>
                <c:pt idx="95">
                  <c:v>0.15124254473161033</c:v>
                </c:pt>
                <c:pt idx="96">
                  <c:v>0.14782844182661387</c:v>
                </c:pt>
                <c:pt idx="97">
                  <c:v>0.15954492519931918</c:v>
                </c:pt>
                <c:pt idx="98">
                  <c:v>0.1734323983854796</c:v>
                </c:pt>
                <c:pt idx="99">
                  <c:v>0.18298980350969324</c:v>
                </c:pt>
                <c:pt idx="100">
                  <c:v>0.20112217610289895</c:v>
                </c:pt>
                <c:pt idx="101">
                  <c:v>0.1896363217861664</c:v>
                </c:pt>
                <c:pt idx="102">
                  <c:v>0.16128769687843392</c:v>
                </c:pt>
                <c:pt idx="103">
                  <c:v>0.18299982291482203</c:v>
                </c:pt>
                <c:pt idx="104">
                  <c:v>0.182912358026784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8.4433</c:v>
                </c:pt>
                <c:pt idx="1">
                  <c:v>1122.0109</c:v>
                </c:pt>
                <c:pt idx="2">
                  <c:v>1110.1645</c:v>
                </c:pt>
                <c:pt idx="3">
                  <c:v>1125.5175</c:v>
                </c:pt>
                <c:pt idx="4">
                  <c:v>1125.9547</c:v>
                </c:pt>
                <c:pt idx="5">
                  <c:v>1144.0119</c:v>
                </c:pt>
                <c:pt idx="6">
                  <c:v>1079.4272</c:v>
                </c:pt>
                <c:pt idx="7">
                  <c:v>1121.5717</c:v>
                </c:pt>
                <c:pt idx="8">
                  <c:v>1199.8703</c:v>
                </c:pt>
                <c:pt idx="9">
                  <c:v>1172.2325</c:v>
                </c:pt>
                <c:pt idx="10">
                  <c:v>1183.9893</c:v>
                </c:pt>
                <c:pt idx="11">
                  <c:v>1054.8777</c:v>
                </c:pt>
                <c:pt idx="12">
                  <c:v>1075.6816</c:v>
                </c:pt>
                <c:pt idx="13">
                  <c:v>1125.8916</c:v>
                </c:pt>
                <c:pt idx="14">
                  <c:v>1132.5514</c:v>
                </c:pt>
                <c:pt idx="15">
                  <c:v>1166.5818</c:v>
                </c:pt>
                <c:pt idx="16">
                  <c:v>1207.5535</c:v>
                </c:pt>
                <c:pt idx="17">
                  <c:v>1180.2406</c:v>
                </c:pt>
                <c:pt idx="18">
                  <c:v>1161.6626</c:v>
                </c:pt>
                <c:pt idx="19">
                  <c:v>1264.1924</c:v>
                </c:pt>
                <c:pt idx="20">
                  <c:v>1251.5852</c:v>
                </c:pt>
                <c:pt idx="21">
                  <c:v>1193.7526</c:v>
                </c:pt>
                <c:pt idx="22">
                  <c:v>1149.8687</c:v>
                </c:pt>
                <c:pt idx="23">
                  <c:v>1144.5925</c:v>
                </c:pt>
                <c:pt idx="24">
                  <c:v>1151.4388</c:v>
                </c:pt>
                <c:pt idx="25">
                  <c:v>1087.1338</c:v>
                </c:pt>
                <c:pt idx="26">
                  <c:v>1174.517</c:v>
                </c:pt>
                <c:pt idx="27">
                  <c:v>1191.0267</c:v>
                </c:pt>
                <c:pt idx="28">
                  <c:v>1176.0542</c:v>
                </c:pt>
                <c:pt idx="29">
                  <c:v>1181.2375</c:v>
                </c:pt>
                <c:pt idx="30">
                  <c:v>1159.4911</c:v>
                </c:pt>
                <c:pt idx="31">
                  <c:v>1070.3803</c:v>
                </c:pt>
                <c:pt idx="32">
                  <c:v>1109.3997</c:v>
                </c:pt>
                <c:pt idx="33">
                  <c:v>1161.3775</c:v>
                </c:pt>
                <c:pt idx="34">
                  <c:v>1202.4617</c:v>
                </c:pt>
                <c:pt idx="35">
                  <c:v>1172.9848</c:v>
                </c:pt>
                <c:pt idx="36">
                  <c:v>1194.147</c:v>
                </c:pt>
                <c:pt idx="37">
                  <c:v>1239.6882</c:v>
                </c:pt>
                <c:pt idx="38">
                  <c:v>1217.6795</c:v>
                </c:pt>
                <c:pt idx="39">
                  <c:v>1181.6465</c:v>
                </c:pt>
                <c:pt idx="40">
                  <c:v>1218.0632</c:v>
                </c:pt>
                <c:pt idx="41">
                  <c:v>1272.2565</c:v>
                </c:pt>
                <c:pt idx="42">
                  <c:v>1249.9871</c:v>
                </c:pt>
                <c:pt idx="43">
                  <c:v>1255.3505</c:v>
                </c:pt>
                <c:pt idx="44">
                  <c:v>1193.7811</c:v>
                </c:pt>
                <c:pt idx="45">
                  <c:v>1144.1968</c:v>
                </c:pt>
                <c:pt idx="46">
                  <c:v>1130.7881</c:v>
                </c:pt>
                <c:pt idx="47">
                  <c:v>1116.1609</c:v>
                </c:pt>
                <c:pt idx="48">
                  <c:v>1100.292</c:v>
                </c:pt>
                <c:pt idx="49">
                  <c:v>1127.8783</c:v>
                </c:pt>
                <c:pt idx="50">
                  <c:v>1031.4544</c:v>
                </c:pt>
                <c:pt idx="51">
                  <c:v>994.7733</c:v>
                </c:pt>
              </c:numCache>
            </c:numRef>
          </c:xVal>
          <c:yVal>
            <c:numRef>
              <c:f>Sheet1!$B$109:$B$160</c:f>
              <c:numCache>
                <c:formatCode>General</c:formatCode>
                <c:ptCount val="52"/>
                <c:pt idx="0">
                  <c:v>0.17586504865311642</c:v>
                </c:pt>
                <c:pt idx="1">
                  <c:v>0.18501328890475624</c:v>
                </c:pt>
                <c:pt idx="2">
                  <c:v>0.1932705437484682</c:v>
                </c:pt>
                <c:pt idx="3">
                  <c:v>0.20842007034670879</c:v>
                </c:pt>
                <c:pt idx="4">
                  <c:v>0.1960059983175451</c:v>
                </c:pt>
                <c:pt idx="5">
                  <c:v>0.1932523413698424</c:v>
                </c:pt>
                <c:pt idx="6">
                  <c:v>0.19092039800995025</c:v>
                </c:pt>
                <c:pt idx="7">
                  <c:v>0.18701948864652243</c:v>
                </c:pt>
                <c:pt idx="8">
                  <c:v>0.1838410991636798</c:v>
                </c:pt>
                <c:pt idx="9">
                  <c:v>0.19139282276914615</c:v>
                </c:pt>
                <c:pt idx="10">
                  <c:v>0.19937750111160515</c:v>
                </c:pt>
                <c:pt idx="11">
                  <c:v>0.20998158613245285</c:v>
                </c:pt>
                <c:pt idx="12">
                  <c:v>0.21063448172782304</c:v>
                </c:pt>
                <c:pt idx="13">
                  <c:v>0.2027168234064786</c:v>
                </c:pt>
                <c:pt idx="14">
                  <c:v>0.20394852811563546</c:v>
                </c:pt>
                <c:pt idx="15">
                  <c:v>0.1911484166348722</c:v>
                </c:pt>
                <c:pt idx="16">
                  <c:v>0.17354389539820003</c:v>
                </c:pt>
                <c:pt idx="17">
                  <c:v>0.15987517253795835</c:v>
                </c:pt>
                <c:pt idx="18">
                  <c:v>0.15772739839646116</c:v>
                </c:pt>
                <c:pt idx="19">
                  <c:v>0.16408564503097225</c:v>
                </c:pt>
                <c:pt idx="20">
                  <c:v>0.15580800481492627</c:v>
                </c:pt>
                <c:pt idx="21">
                  <c:v>0.1632854578096948</c:v>
                </c:pt>
                <c:pt idx="22">
                  <c:v>0.16744678972003885</c:v>
                </c:pt>
                <c:pt idx="23">
                  <c:v>0.17244567730004623</c:v>
                </c:pt>
                <c:pt idx="24">
                  <c:v>0.16679431537741468</c:v>
                </c:pt>
                <c:pt idx="25">
                  <c:v>0.1732283464566929</c:v>
                </c:pt>
                <c:pt idx="26">
                  <c:v>0.15100587797003062</c:v>
                </c:pt>
                <c:pt idx="27">
                  <c:v>0.1507983883002537</c:v>
                </c:pt>
                <c:pt idx="28">
                  <c:v>0.16056965442764579</c:v>
                </c:pt>
                <c:pt idx="29">
                  <c:v>0.1633265720081136</c:v>
                </c:pt>
                <c:pt idx="30">
                  <c:v>0.16941176470588235</c:v>
                </c:pt>
                <c:pt idx="31">
                  <c:v>0.17265540783327343</c:v>
                </c:pt>
                <c:pt idx="32">
                  <c:v>0.17580369622612207</c:v>
                </c:pt>
                <c:pt idx="33">
                  <c:v>0.1932656268891307</c:v>
                </c:pt>
                <c:pt idx="34">
                  <c:v>0.2121571534469978</c:v>
                </c:pt>
                <c:pt idx="35">
                  <c:v>0.2041537507749535</c:v>
                </c:pt>
                <c:pt idx="36">
                  <c:v>0.1746545133784181</c:v>
                </c:pt>
                <c:pt idx="37">
                  <c:v>0.1571340442407685</c:v>
                </c:pt>
                <c:pt idx="38">
                  <c:v>0.16235547717029197</c:v>
                </c:pt>
                <c:pt idx="39">
                  <c:v>0.18015759312320917</c:v>
                </c:pt>
                <c:pt idx="40">
                  <c:v>0.160164700956103</c:v>
                </c:pt>
                <c:pt idx="41">
                  <c:v>0.16189848384970337</c:v>
                </c:pt>
                <c:pt idx="42">
                  <c:v>0.16194241384454722</c:v>
                </c:pt>
                <c:pt idx="43">
                  <c:v>0.15235745614035087</c:v>
                </c:pt>
                <c:pt idx="44">
                  <c:v>0.14751594645584404</c:v>
                </c:pt>
                <c:pt idx="45">
                  <c:v>0.1632826827351323</c:v>
                </c:pt>
                <c:pt idx="46">
                  <c:v>0.161425251742835</c:v>
                </c:pt>
                <c:pt idx="47">
                  <c:v>0.16117163263833778</c:v>
                </c:pt>
                <c:pt idx="48">
                  <c:v>0.1530141418983701</c:v>
                </c:pt>
                <c:pt idx="49">
                  <c:v>0.16894482413735623</c:v>
                </c:pt>
                <c:pt idx="50">
                  <c:v>0.2009994551842041</c:v>
                </c:pt>
                <c:pt idx="51">
                  <c:v>0.1894591220433917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59.6245049916512</c:v>
                </c:pt>
              </c:numCache>
            </c:numRef>
          </c:xVal>
          <c:yVal>
            <c:numRef>
              <c:f>Sheet1!$B$163:$B$164</c:f>
              <c:numCache>
                <c:formatCode>General</c:formatCode>
                <c:ptCount val="2"/>
                <c:pt idx="0">
                  <c:v>0.2062181521145252</c:v>
                </c:pt>
                <c:pt idx="1">
                  <c:v>0.20621815211452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59.6245049916512</c:v>
                </c:pt>
                <c:pt idx="1">
                  <c:v>959.6245049916512</c:v>
                </c:pt>
              </c:numCache>
            </c:numRef>
          </c:xVal>
          <c:yVal>
            <c:numRef>
              <c:f>Sheet1!$B$167:$B$168</c:f>
              <c:numCache>
                <c:formatCode>General</c:formatCode>
                <c:ptCount val="2"/>
                <c:pt idx="0">
                  <c:v>0.20621815211452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65.0000236705669</c:v>
                </c:pt>
              </c:numCache>
            </c:numRef>
          </c:xVal>
          <c:yVal>
            <c:numRef>
              <c:f>Sheet1!$B$171:$B$172</c:f>
              <c:numCache>
                <c:formatCode>General</c:formatCode>
                <c:ptCount val="2"/>
                <c:pt idx="0">
                  <c:v>0.19040091968450995</c:v>
                </c:pt>
                <c:pt idx="1">
                  <c:v>0.1904009196845099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65.0000236705669</c:v>
                </c:pt>
                <c:pt idx="1">
                  <c:v>1065.0000236705669</c:v>
                </c:pt>
              </c:numCache>
            </c:numRef>
          </c:xVal>
          <c:yVal>
            <c:numRef>
              <c:f>Sheet1!$B$175:$B$176</c:f>
              <c:numCache>
                <c:formatCode>General</c:formatCode>
                <c:ptCount val="2"/>
                <c:pt idx="0">
                  <c:v>0.190400919684509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25.3397920654834</c:v>
                </c:pt>
              </c:numCache>
            </c:numRef>
          </c:xVal>
          <c:yVal>
            <c:numRef>
              <c:f>Sheet1!$B$179:$B$180</c:f>
              <c:numCache>
                <c:formatCode>General</c:formatCode>
                <c:ptCount val="2"/>
                <c:pt idx="0">
                  <c:v>0.16633336190379883</c:v>
                </c:pt>
                <c:pt idx="1">
                  <c:v>0.1663333619037988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25.3397920654834</c:v>
                </c:pt>
                <c:pt idx="1">
                  <c:v>1225.3397920654834</c:v>
                </c:pt>
              </c:numCache>
            </c:numRef>
          </c:xVal>
          <c:yVal>
            <c:numRef>
              <c:f>Sheet1!$B$183:$B$184</c:f>
              <c:numCache>
                <c:formatCode>General</c:formatCode>
                <c:ptCount val="2"/>
                <c:pt idx="0">
                  <c:v>0.1663333619037988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8.4433</c:v>
                </c:pt>
                <c:pt idx="1">
                  <c:v>1122.0109</c:v>
                </c:pt>
                <c:pt idx="2">
                  <c:v>1110.1645</c:v>
                </c:pt>
                <c:pt idx="3">
                  <c:v>1125.5175</c:v>
                </c:pt>
                <c:pt idx="4">
                  <c:v>1125.9547</c:v>
                </c:pt>
                <c:pt idx="5">
                  <c:v>1144.0119</c:v>
                </c:pt>
                <c:pt idx="6">
                  <c:v>1079.4272</c:v>
                </c:pt>
                <c:pt idx="7">
                  <c:v>1121.5717</c:v>
                </c:pt>
                <c:pt idx="8">
                  <c:v>1199.8703</c:v>
                </c:pt>
                <c:pt idx="9">
                  <c:v>1172.2325</c:v>
                </c:pt>
                <c:pt idx="10">
                  <c:v>1183.9893</c:v>
                </c:pt>
                <c:pt idx="11">
                  <c:v>1054.8777</c:v>
                </c:pt>
                <c:pt idx="12">
                  <c:v>1075.6816</c:v>
                </c:pt>
                <c:pt idx="13">
                  <c:v>1125.8916</c:v>
                </c:pt>
                <c:pt idx="14">
                  <c:v>1132.5514</c:v>
                </c:pt>
                <c:pt idx="15">
                  <c:v>1166.5818</c:v>
                </c:pt>
                <c:pt idx="16">
                  <c:v>1207.5535</c:v>
                </c:pt>
                <c:pt idx="17">
                  <c:v>1180.2406</c:v>
                </c:pt>
                <c:pt idx="18">
                  <c:v>1161.6626</c:v>
                </c:pt>
                <c:pt idx="19">
                  <c:v>1264.1924</c:v>
                </c:pt>
                <c:pt idx="20">
                  <c:v>1251.5852</c:v>
                </c:pt>
                <c:pt idx="21">
                  <c:v>1193.7526</c:v>
                </c:pt>
                <c:pt idx="22">
                  <c:v>1149.8687</c:v>
                </c:pt>
                <c:pt idx="23">
                  <c:v>1144.5925</c:v>
                </c:pt>
                <c:pt idx="24">
                  <c:v>1151.4388</c:v>
                </c:pt>
                <c:pt idx="25">
                  <c:v>1087.1338</c:v>
                </c:pt>
                <c:pt idx="26">
                  <c:v>1174.517</c:v>
                </c:pt>
                <c:pt idx="27">
                  <c:v>1191.0267</c:v>
                </c:pt>
                <c:pt idx="28">
                  <c:v>1176.0542</c:v>
                </c:pt>
                <c:pt idx="29">
                  <c:v>1181.2375</c:v>
                </c:pt>
                <c:pt idx="30">
                  <c:v>1159.4911</c:v>
                </c:pt>
                <c:pt idx="31">
                  <c:v>1070.3803</c:v>
                </c:pt>
                <c:pt idx="32">
                  <c:v>1109.3997</c:v>
                </c:pt>
                <c:pt idx="33">
                  <c:v>1161.3775</c:v>
                </c:pt>
                <c:pt idx="34">
                  <c:v>1202.4617</c:v>
                </c:pt>
                <c:pt idx="35">
                  <c:v>1172.9848</c:v>
                </c:pt>
                <c:pt idx="36">
                  <c:v>1194.147</c:v>
                </c:pt>
                <c:pt idx="37">
                  <c:v>1239.6882</c:v>
                </c:pt>
                <c:pt idx="38">
                  <c:v>1217.6795</c:v>
                </c:pt>
                <c:pt idx="39">
                  <c:v>1181.6465</c:v>
                </c:pt>
                <c:pt idx="40">
                  <c:v>1218.0632</c:v>
                </c:pt>
                <c:pt idx="41">
                  <c:v>1272.2565</c:v>
                </c:pt>
                <c:pt idx="42">
                  <c:v>1249.9871</c:v>
                </c:pt>
                <c:pt idx="43">
                  <c:v>1255.3505</c:v>
                </c:pt>
                <c:pt idx="44">
                  <c:v>1193.7811</c:v>
                </c:pt>
                <c:pt idx="45">
                  <c:v>1144.1968</c:v>
                </c:pt>
                <c:pt idx="46">
                  <c:v>1130.7881</c:v>
                </c:pt>
                <c:pt idx="47">
                  <c:v>1116.1609</c:v>
                </c:pt>
                <c:pt idx="48">
                  <c:v>1100.292</c:v>
                </c:pt>
                <c:pt idx="49">
                  <c:v>1127.8783</c:v>
                </c:pt>
                <c:pt idx="50">
                  <c:v>1031.4544</c:v>
                </c:pt>
                <c:pt idx="51">
                  <c:v>994.7733</c:v>
                </c:pt>
                <c:pt idx="52">
                  <c:v>1065.0000236705669</c:v>
                </c:pt>
                <c:pt idx="53">
                  <c:v>959.6245049916512</c:v>
                </c:pt>
                <c:pt idx="54">
                  <c:v>1225.3397920654834</c:v>
                </c:pt>
              </c:numCache>
            </c:numRef>
          </c:xVal>
          <c:yVal>
            <c:numRef>
              <c:f>Sheet1!$B$187:$B$241</c:f>
              <c:numCache>
                <c:formatCode>General</c:formatCode>
                <c:ptCount val="55"/>
                <c:pt idx="0">
                  <c:v>0.17937682806732758</c:v>
                </c:pt>
                <c:pt idx="1">
                  <c:v>0.18184338854970067</c:v>
                </c:pt>
                <c:pt idx="2">
                  <c:v>0.1836215744567127</c:v>
                </c:pt>
                <c:pt idx="3">
                  <c:v>0.1813170356744366</c:v>
                </c:pt>
                <c:pt idx="4">
                  <c:v>0.18125141043144752</c:v>
                </c:pt>
                <c:pt idx="5">
                  <c:v>0.17854096180907297</c:v>
                </c:pt>
                <c:pt idx="6">
                  <c:v>0.18823535026029872</c:v>
                </c:pt>
                <c:pt idx="7">
                  <c:v>0.18190931399965676</c:v>
                </c:pt>
                <c:pt idx="8">
                  <c:v>0.17015642138597042</c:v>
                </c:pt>
                <c:pt idx="9">
                  <c:v>0.17430495144242789</c:v>
                </c:pt>
                <c:pt idx="10">
                  <c:v>0.17254021480753803</c:v>
                </c:pt>
                <c:pt idx="11">
                  <c:v>0.1919203157286429</c:v>
                </c:pt>
                <c:pt idx="12">
                  <c:v>0.1887975778681209</c:v>
                </c:pt>
                <c:pt idx="13">
                  <c:v>0.18126088196125678</c:v>
                </c:pt>
                <c:pt idx="14">
                  <c:v>0.18026122278179982</c:v>
                </c:pt>
                <c:pt idx="15">
                  <c:v>0.17515314119667838</c:v>
                </c:pt>
                <c:pt idx="16">
                  <c:v>0.16900314630149288</c:v>
                </c:pt>
                <c:pt idx="17">
                  <c:v>0.17310290773615902</c:v>
                </c:pt>
                <c:pt idx="18">
                  <c:v>0.1758915302527438</c:v>
                </c:pt>
                <c:pt idx="19">
                  <c:v>0.1605014501095135</c:v>
                </c:pt>
                <c:pt idx="20">
                  <c:v>0.16239383474677732</c:v>
                </c:pt>
                <c:pt idx="21">
                  <c:v>0.17107470946701847</c:v>
                </c:pt>
                <c:pt idx="22">
                  <c:v>0.17766183572687178</c:v>
                </c:pt>
                <c:pt idx="23">
                  <c:v>0.17845381172654906</c:v>
                </c:pt>
                <c:pt idx="24">
                  <c:v>0.17742615824741814</c:v>
                </c:pt>
                <c:pt idx="25">
                  <c:v>0.18707856275430712</c:v>
                </c:pt>
                <c:pt idx="26">
                  <c:v>0.17396204003435714</c:v>
                </c:pt>
                <c:pt idx="27">
                  <c:v>0.17148387655270902</c:v>
                </c:pt>
                <c:pt idx="28">
                  <c:v>0.1737313009595109</c:v>
                </c:pt>
                <c:pt idx="29">
                  <c:v>0.17295326957345136</c:v>
                </c:pt>
                <c:pt idx="30">
                  <c:v>0.1762174799671783</c:v>
                </c:pt>
                <c:pt idx="31">
                  <c:v>0.18959332146523417</c:v>
                </c:pt>
                <c:pt idx="32">
                  <c:v>0.18373637360089853</c:v>
                </c:pt>
                <c:pt idx="33">
                  <c:v>0.17593432475589152</c:v>
                </c:pt>
                <c:pt idx="34">
                  <c:v>0.16976744321881154</c:v>
                </c:pt>
                <c:pt idx="35">
                  <c:v>0.17419202859178592</c:v>
                </c:pt>
                <c:pt idx="36">
                  <c:v>0.1710155086531235</c:v>
                </c:pt>
                <c:pt idx="37">
                  <c:v>0.16417961589005478</c:v>
                </c:pt>
                <c:pt idx="38">
                  <c:v>0.1674831984275055</c:v>
                </c:pt>
                <c:pt idx="39">
                  <c:v>0.17289187724869717</c:v>
                </c:pt>
                <c:pt idx="40">
                  <c:v>0.16742560372088403</c:v>
                </c:pt>
                <c:pt idx="41">
                  <c:v>0.15929100060816828</c:v>
                </c:pt>
                <c:pt idx="42">
                  <c:v>0.16263371512376912</c:v>
                </c:pt>
                <c:pt idx="43">
                  <c:v>0.16182865010033007</c:v>
                </c:pt>
                <c:pt idx="44">
                  <c:v>0.17107043151773854</c:v>
                </c:pt>
                <c:pt idx="45">
                  <c:v>0.1785132076749726</c:v>
                </c:pt>
                <c:pt idx="46">
                  <c:v>0.18052590025426693</c:v>
                </c:pt>
                <c:pt idx="47">
                  <c:v>0.182721493928214</c:v>
                </c:pt>
                <c:pt idx="48">
                  <c:v>0.1851034710976312</c:v>
                </c:pt>
                <c:pt idx="49">
                  <c:v>0.18096267137057429</c:v>
                </c:pt>
                <c:pt idx="50">
                  <c:v>0.19543623465386195</c:v>
                </c:pt>
                <c:pt idx="51">
                  <c:v>0.20094219554271425</c:v>
                </c:pt>
                <c:pt idx="52">
                  <c:v>0.19040091968450995</c:v>
                </c:pt>
                <c:pt idx="53">
                  <c:v>0.2062181521145252</c:v>
                </c:pt>
                <c:pt idx="54">
                  <c:v>0.1663333619037988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27.0"/>
          <c:min val="55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045482239256416"/>
          <c:min val="0.106804827194035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1111260365564095</c:v>
                </c:pt>
                <c:pt idx="1">
                  <c:v>2.3419637033217464</c:v>
                </c:pt>
                <c:pt idx="2">
                  <c:v>2.4678776731770213</c:v>
                </c:pt>
                <c:pt idx="3">
                  <c:v>2.4930164630979252</c:v>
                </c:pt>
                <c:pt idx="4">
                  <c:v>2.5015765624898902</c:v>
                </c:pt>
                <c:pt idx="5">
                  <c:v>2.0551688393892196</c:v>
                </c:pt>
                <c:pt idx="6">
                  <c:v>1.8063437990523288</c:v>
                </c:pt>
                <c:pt idx="7">
                  <c:v>1.8441860370923908</c:v>
                </c:pt>
                <c:pt idx="8">
                  <c:v>1.8716162157830827</c:v>
                </c:pt>
                <c:pt idx="9">
                  <c:v>1.9614323172429409</c:v>
                </c:pt>
                <c:pt idx="10">
                  <c:v>1.9000108823700321</c:v>
                </c:pt>
                <c:pt idx="11">
                  <c:v>1.9337871566929377</c:v>
                </c:pt>
                <c:pt idx="12">
                  <c:v>1.9212249214568844</c:v>
                </c:pt>
                <c:pt idx="13">
                  <c:v>1.857737578859293</c:v>
                </c:pt>
                <c:pt idx="14">
                  <c:v>1.931940736098216</c:v>
                </c:pt>
                <c:pt idx="15">
                  <c:v>1.95986709550517</c:v>
                </c:pt>
                <c:pt idx="16">
                  <c:v>1.9119004155735042</c:v>
                </c:pt>
                <c:pt idx="17">
                  <c:v>2.293494372097069</c:v>
                </c:pt>
                <c:pt idx="18">
                  <c:v>2.718791390520249</c:v>
                </c:pt>
                <c:pt idx="19">
                  <c:v>2.6775172750104668</c:v>
                </c:pt>
                <c:pt idx="20">
                  <c:v>2.61940171153622</c:v>
                </c:pt>
                <c:pt idx="21">
                  <c:v>2.653259025421009</c:v>
                </c:pt>
                <c:pt idx="22">
                  <c:v>2.706016587401511</c:v>
                </c:pt>
                <c:pt idx="23">
                  <c:v>2.8818829261997134</c:v>
                </c:pt>
                <c:pt idx="24">
                  <c:v>2.721613984951759</c:v>
                </c:pt>
                <c:pt idx="25">
                  <c:v>2.7139383803477504</c:v>
                </c:pt>
                <c:pt idx="26">
                  <c:v>2.167121078496504</c:v>
                </c:pt>
                <c:pt idx="27">
                  <c:v>2.0729385306555583</c:v>
                </c:pt>
                <c:pt idx="28">
                  <c:v>2.0130182588633616</c:v>
                </c:pt>
                <c:pt idx="29">
                  <c:v>1.8270565112853787</c:v>
                </c:pt>
                <c:pt idx="30">
                  <c:v>1.8754716742747928</c:v>
                </c:pt>
                <c:pt idx="31">
                  <c:v>1.8659680912802354</c:v>
                </c:pt>
                <c:pt idx="32">
                  <c:v>1.784520746849998</c:v>
                </c:pt>
                <c:pt idx="33">
                  <c:v>1.6859631078355481</c:v>
                </c:pt>
                <c:pt idx="34">
                  <c:v>1.8964765707224407</c:v>
                </c:pt>
                <c:pt idx="35">
                  <c:v>2.0229074973921928</c:v>
                </c:pt>
                <c:pt idx="36">
                  <c:v>2.130720307802496</c:v>
                </c:pt>
                <c:pt idx="37">
                  <c:v>2.1517108913332215</c:v>
                </c:pt>
                <c:pt idx="38">
                  <c:v>2.257900193288726</c:v>
                </c:pt>
                <c:pt idx="39">
                  <c:v>2.258396981950762</c:v>
                </c:pt>
                <c:pt idx="40">
                  <c:v>2.285376138505097</c:v>
                </c:pt>
                <c:pt idx="41">
                  <c:v>2.3201074715350103</c:v>
                </c:pt>
                <c:pt idx="42">
                  <c:v>2.4032103562278864</c:v>
                </c:pt>
                <c:pt idx="43">
                  <c:v>2.403929695713693</c:v>
                </c:pt>
                <c:pt idx="44">
                  <c:v>2.107654631062839</c:v>
                </c:pt>
                <c:pt idx="45">
                  <c:v>2.0160994413638145</c:v>
                </c:pt>
                <c:pt idx="46">
                  <c:v>2.0551864333551166</c:v>
                </c:pt>
                <c:pt idx="47">
                  <c:v>2.0296148451263085</c:v>
                </c:pt>
                <c:pt idx="48">
                  <c:v>2.0202854479259202</c:v>
                </c:pt>
                <c:pt idx="49">
                  <c:v>1.9925998067163369</c:v>
                </c:pt>
                <c:pt idx="50">
                  <c:v>1.9648515625964915</c:v>
                </c:pt>
                <c:pt idx="51">
                  <c:v>2.0281931227148564</c:v>
                </c:pt>
                <c:pt idx="52">
                  <c:v>2.0591220009113664</c:v>
                </c:pt>
                <c:pt idx="53">
                  <c:v>2.127410073803602</c:v>
                </c:pt>
                <c:pt idx="54">
                  <c:v>2.2373606657089318</c:v>
                </c:pt>
                <c:pt idx="55">
                  <c:v>2.2601910037635626</c:v>
                </c:pt>
                <c:pt idx="56">
                  <c:v>2.307262332211324</c:v>
                </c:pt>
                <c:pt idx="57">
                  <c:v>2.2423162782563937</c:v>
                </c:pt>
                <c:pt idx="58">
                  <c:v>2.198676610176471</c:v>
                </c:pt>
                <c:pt idx="59">
                  <c:v>2.29788551214379</c:v>
                </c:pt>
                <c:pt idx="60">
                  <c:v>2.3670765216487757</c:v>
                </c:pt>
                <c:pt idx="61">
                  <c:v>2.2615868732527202</c:v>
                </c:pt>
                <c:pt idx="62">
                  <c:v>2.24604473481081</c:v>
                </c:pt>
                <c:pt idx="63">
                  <c:v>2.3388530030339694</c:v>
                </c:pt>
                <c:pt idx="64">
                  <c:v>2.2743765386196912</c:v>
                </c:pt>
                <c:pt idx="65">
                  <c:v>2.2205443716787605</c:v>
                </c:pt>
                <c:pt idx="66">
                  <c:v>2.117840244764852</c:v>
                </c:pt>
                <c:pt idx="67">
                  <c:v>2.0954411681193887</c:v>
                </c:pt>
                <c:pt idx="68">
                  <c:v>2.032989419755976</c:v>
                </c:pt>
                <c:pt idx="69">
                  <c:v>2.027503129659183</c:v>
                </c:pt>
                <c:pt idx="70">
                  <c:v>1.963306395049881</c:v>
                </c:pt>
                <c:pt idx="71">
                  <c:v>2.0847303243254456</c:v>
                </c:pt>
                <c:pt idx="72">
                  <c:v>2.0960639727343167</c:v>
                </c:pt>
                <c:pt idx="73">
                  <c:v>2.115503347137617</c:v>
                </c:pt>
                <c:pt idx="74">
                  <c:v>2.1058564770271198</c:v>
                </c:pt>
                <c:pt idx="75">
                  <c:v>2.1469989624243255</c:v>
                </c:pt>
                <c:pt idx="76">
                  <c:v>2.2883505916491553</c:v>
                </c:pt>
                <c:pt idx="77">
                  <c:v>2.336853374574146</c:v>
                </c:pt>
                <c:pt idx="78">
                  <c:v>2.4145851214920957</c:v>
                </c:pt>
                <c:pt idx="79">
                  <c:v>1.6627552368012146</c:v>
                </c:pt>
                <c:pt idx="80">
                  <c:v>1.6177476136135898</c:v>
                </c:pt>
                <c:pt idx="81">
                  <c:v>2.0322723060573473</c:v>
                </c:pt>
                <c:pt idx="82">
                  <c:v>2.0029827755341696</c:v>
                </c:pt>
                <c:pt idx="83">
                  <c:v>2.035581108880955</c:v>
                </c:pt>
                <c:pt idx="84">
                  <c:v>2.07559376869843</c:v>
                </c:pt>
                <c:pt idx="85">
                  <c:v>2.106826627932173</c:v>
                </c:pt>
                <c:pt idx="86">
                  <c:v>2.3486674964843353</c:v>
                </c:pt>
                <c:pt idx="87">
                  <c:v>2.418682900647356</c:v>
                </c:pt>
                <c:pt idx="88">
                  <c:v>2.3536687662672326</c:v>
                </c:pt>
                <c:pt idx="89">
                  <c:v>2.2249608202010442</c:v>
                </c:pt>
                <c:pt idx="90">
                  <c:v>2.3516066259403043</c:v>
                </c:pt>
                <c:pt idx="91">
                  <c:v>2.3978838783331975</c:v>
                </c:pt>
                <c:pt idx="92">
                  <c:v>2.3435222631420434</c:v>
                </c:pt>
                <c:pt idx="93">
                  <c:v>2.1627230689739436</c:v>
                </c:pt>
                <c:pt idx="94">
                  <c:v>2.0448014277120428</c:v>
                </c:pt>
                <c:pt idx="95">
                  <c:v>2.052491135088563</c:v>
                </c:pt>
                <c:pt idx="96">
                  <c:v>1.9628441025417742</c:v>
                </c:pt>
                <c:pt idx="97">
                  <c:v>1.9994190901499476</c:v>
                </c:pt>
                <c:pt idx="98">
                  <c:v>2.0715860633406185</c:v>
                </c:pt>
                <c:pt idx="99">
                  <c:v>2.2381400474225273</c:v>
                </c:pt>
                <c:pt idx="100">
                  <c:v>1.9721217906756852</c:v>
                </c:pt>
                <c:pt idx="101">
                  <c:v>1.8197555737917503</c:v>
                </c:pt>
                <c:pt idx="102">
                  <c:v>1.8323947828399054</c:v>
                </c:pt>
                <c:pt idx="103">
                  <c:v>1.5927202597609373</c:v>
                </c:pt>
                <c:pt idx="104">
                  <c:v>1.736425060636887</c:v>
                </c:pt>
              </c:numCache>
            </c:numRef>
          </c:xVal>
          <c:yVal>
            <c:numRef>
              <c:f>Sheet1!$B$2:$B$106</c:f>
              <c:numCache>
                <c:formatCode>General</c:formatCode>
                <c:ptCount val="105"/>
                <c:pt idx="0">
                  <c:v>0.2146968600282632</c:v>
                </c:pt>
                <c:pt idx="1">
                  <c:v>0.21712007677826584</c:v>
                </c:pt>
                <c:pt idx="2">
                  <c:v>0.1972539093651399</c:v>
                </c:pt>
                <c:pt idx="3">
                  <c:v>0.19730041274681143</c:v>
                </c:pt>
                <c:pt idx="4">
                  <c:v>0.19716885743174925</c:v>
                </c:pt>
                <c:pt idx="5">
                  <c:v>0.19011423945308986</c:v>
                </c:pt>
                <c:pt idx="6">
                  <c:v>0.21003957329662767</c:v>
                </c:pt>
                <c:pt idx="7">
                  <c:v>0.2073639490188145</c:v>
                </c:pt>
                <c:pt idx="8">
                  <c:v>0.2137272874319297</c:v>
                </c:pt>
                <c:pt idx="9">
                  <c:v>0.21458712399829663</c:v>
                </c:pt>
                <c:pt idx="10">
                  <c:v>0.22435340758920144</c:v>
                </c:pt>
                <c:pt idx="11">
                  <c:v>0.21762858264625048</c:v>
                </c:pt>
                <c:pt idx="12">
                  <c:v>0.2199875444188006</c:v>
                </c:pt>
                <c:pt idx="13">
                  <c:v>0.23027560369449906</c:v>
                </c:pt>
                <c:pt idx="14">
                  <c:v>0.2161569659103365</c:v>
                </c:pt>
                <c:pt idx="15">
                  <c:v>0.21368379688250447</c:v>
                </c:pt>
                <c:pt idx="16">
                  <c:v>0.20372046254399195</c:v>
                </c:pt>
                <c:pt idx="17">
                  <c:v>0.19133534411845352</c:v>
                </c:pt>
                <c:pt idx="18">
                  <c:v>0.17340107591153617</c:v>
                </c:pt>
                <c:pt idx="19">
                  <c:v>0.16212729357798164</c:v>
                </c:pt>
                <c:pt idx="20">
                  <c:v>0.17247294020228307</c:v>
                </c:pt>
                <c:pt idx="21">
                  <c:v>0.1783948269303918</c:v>
                </c:pt>
                <c:pt idx="22">
                  <c:v>0.17771652400986507</c:v>
                </c:pt>
                <c:pt idx="23">
                  <c:v>0.18375094912680334</c:v>
                </c:pt>
                <c:pt idx="24">
                  <c:v>0.1905131096701438</c:v>
                </c:pt>
                <c:pt idx="25">
                  <c:v>0.19003645200486027</c:v>
                </c:pt>
                <c:pt idx="26">
                  <c:v>0.19381918133868212</c:v>
                </c:pt>
                <c:pt idx="27">
                  <c:v>0.18466152527849186</c:v>
                </c:pt>
                <c:pt idx="28">
                  <c:v>0.1814139941690962</c:v>
                </c:pt>
                <c:pt idx="29">
                  <c:v>0.20289217227287018</c:v>
                </c:pt>
                <c:pt idx="30">
                  <c:v>0.1858022158391465</c:v>
                </c:pt>
                <c:pt idx="31">
                  <c:v>0.1823178391959799</c:v>
                </c:pt>
                <c:pt idx="32">
                  <c:v>0.1905923610581688</c:v>
                </c:pt>
                <c:pt idx="33">
                  <c:v>0.20864226135310474</c:v>
                </c:pt>
                <c:pt idx="34">
                  <c:v>0.1999795207864018</c:v>
                </c:pt>
                <c:pt idx="35">
                  <c:v>0.1962085308056872</c:v>
                </c:pt>
                <c:pt idx="36">
                  <c:v>0.15714536825452627</c:v>
                </c:pt>
                <c:pt idx="37">
                  <c:v>0.14665426274171042</c:v>
                </c:pt>
                <c:pt idx="38">
                  <c:v>0.14210777300906055</c:v>
                </c:pt>
                <c:pt idx="39">
                  <c:v>0.14415942336230655</c:v>
                </c:pt>
                <c:pt idx="40">
                  <c:v>0.14485714285714285</c:v>
                </c:pt>
                <c:pt idx="41">
                  <c:v>0.13350603399254438</c:v>
                </c:pt>
                <c:pt idx="42">
                  <c:v>0.13931079536175078</c:v>
                </c:pt>
                <c:pt idx="43">
                  <c:v>0.14207650273224043</c:v>
                </c:pt>
                <c:pt idx="44">
                  <c:v>0.17000688920899354</c:v>
                </c:pt>
                <c:pt idx="45">
                  <c:v>0.19477348004266548</c:v>
                </c:pt>
                <c:pt idx="46">
                  <c:v>0.2011744648607691</c:v>
                </c:pt>
                <c:pt idx="47">
                  <c:v>0.20259431353025778</c:v>
                </c:pt>
                <c:pt idx="48">
                  <c:v>0.2187455926500514</c:v>
                </c:pt>
                <c:pt idx="49">
                  <c:v>0.25037901866047013</c:v>
                </c:pt>
                <c:pt idx="50">
                  <c:v>0.21465076660988075</c:v>
                </c:pt>
                <c:pt idx="51">
                  <c:v>0.19269703543022415</c:v>
                </c:pt>
                <c:pt idx="52">
                  <c:v>0.2046528645912736</c:v>
                </c:pt>
                <c:pt idx="53">
                  <c:v>0.19408830593016813</c:v>
                </c:pt>
                <c:pt idx="54">
                  <c:v>0.19114754098360656</c:v>
                </c:pt>
                <c:pt idx="55">
                  <c:v>0.18233343129434484</c:v>
                </c:pt>
                <c:pt idx="56">
                  <c:v>0.19250032664082575</c:v>
                </c:pt>
                <c:pt idx="57">
                  <c:v>0.18821285803352036</c:v>
                </c:pt>
                <c:pt idx="58">
                  <c:v>0.20670012206700122</c:v>
                </c:pt>
                <c:pt idx="59">
                  <c:v>0.21249389512942327</c:v>
                </c:pt>
                <c:pt idx="60">
                  <c:v>0.22528798547010673</c:v>
                </c:pt>
                <c:pt idx="61">
                  <c:v>0.22520512204332452</c:v>
                </c:pt>
                <c:pt idx="62">
                  <c:v>0.22494933573519477</c:v>
                </c:pt>
                <c:pt idx="63">
                  <c:v>0.2410700941563294</c:v>
                </c:pt>
                <c:pt idx="64">
                  <c:v>0.22874988951415692</c:v>
                </c:pt>
                <c:pt idx="65">
                  <c:v>0.21485674085443848</c:v>
                </c:pt>
                <c:pt idx="66">
                  <c:v>0.2205326908048971</c:v>
                </c:pt>
                <c:pt idx="67">
                  <c:v>0.2174063560202174</c:v>
                </c:pt>
                <c:pt idx="68">
                  <c:v>0.19819517313746066</c:v>
                </c:pt>
                <c:pt idx="69">
                  <c:v>0.1843770456033166</c:v>
                </c:pt>
                <c:pt idx="70">
                  <c:v>0.17122678524718807</c:v>
                </c:pt>
                <c:pt idx="71">
                  <c:v>0.18111014240046497</c:v>
                </c:pt>
                <c:pt idx="72">
                  <c:v>0.18635843192846627</c:v>
                </c:pt>
                <c:pt idx="73">
                  <c:v>0.18679817004337235</c:v>
                </c:pt>
                <c:pt idx="74">
                  <c:v>0.18381496477896722</c:v>
                </c:pt>
                <c:pt idx="75">
                  <c:v>0.18586118251928022</c:v>
                </c:pt>
                <c:pt idx="76">
                  <c:v>0.18114987169706637</c:v>
                </c:pt>
                <c:pt idx="77">
                  <c:v>0.1769905093095704</c:v>
                </c:pt>
                <c:pt idx="78">
                  <c:v>0.1633945027646446</c:v>
                </c:pt>
                <c:pt idx="79">
                  <c:v>0.22476419827413205</c:v>
                </c:pt>
                <c:pt idx="80">
                  <c:v>0.21057944679991925</c:v>
                </c:pt>
                <c:pt idx="81">
                  <c:v>0.17324355971896954</c:v>
                </c:pt>
                <c:pt idx="82">
                  <c:v>0.17274735318759996</c:v>
                </c:pt>
                <c:pt idx="83">
                  <c:v>0.1545659331138451</c:v>
                </c:pt>
                <c:pt idx="84">
                  <c:v>0.1574049688350452</c:v>
                </c:pt>
                <c:pt idx="85">
                  <c:v>0.16417796739296053</c:v>
                </c:pt>
                <c:pt idx="86">
                  <c:v>0.1571214565568103</c:v>
                </c:pt>
                <c:pt idx="87">
                  <c:v>0.17206188960825194</c:v>
                </c:pt>
                <c:pt idx="88">
                  <c:v>0.1534110993283846</c:v>
                </c:pt>
                <c:pt idx="89">
                  <c:v>0.1521688342029437</c:v>
                </c:pt>
                <c:pt idx="90">
                  <c:v>0.1496723669490171</c:v>
                </c:pt>
                <c:pt idx="91">
                  <c:v>0.14149109849957242</c:v>
                </c:pt>
                <c:pt idx="92">
                  <c:v>0.14851851851851852</c:v>
                </c:pt>
                <c:pt idx="93">
                  <c:v>0.14279624893435636</c:v>
                </c:pt>
                <c:pt idx="94">
                  <c:v>0.14696723531004605</c:v>
                </c:pt>
                <c:pt idx="95">
                  <c:v>0.15124254473161033</c:v>
                </c:pt>
                <c:pt idx="96">
                  <c:v>0.14782844182661387</c:v>
                </c:pt>
                <c:pt idx="97">
                  <c:v>0.15954492519931918</c:v>
                </c:pt>
                <c:pt idx="98">
                  <c:v>0.1734323983854796</c:v>
                </c:pt>
                <c:pt idx="99">
                  <c:v>0.18298980350969324</c:v>
                </c:pt>
                <c:pt idx="100">
                  <c:v>0.20112217610289895</c:v>
                </c:pt>
                <c:pt idx="101">
                  <c:v>0.1896363217861664</c:v>
                </c:pt>
                <c:pt idx="102">
                  <c:v>0.16128769687843392</c:v>
                </c:pt>
                <c:pt idx="103">
                  <c:v>0.18299982291482203</c:v>
                </c:pt>
                <c:pt idx="104">
                  <c:v>0.182912358026784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7884082750638226</c:v>
                </c:pt>
                <c:pt idx="1">
                  <c:v>1.748408216005166</c:v>
                </c:pt>
                <c:pt idx="2">
                  <c:v>1.692457575156087</c:v>
                </c:pt>
                <c:pt idx="3">
                  <c:v>1.7251555029918832</c:v>
                </c:pt>
                <c:pt idx="4">
                  <c:v>1.7105679982693094</c:v>
                </c:pt>
                <c:pt idx="5">
                  <c:v>1.6966608164116412</c:v>
                </c:pt>
                <c:pt idx="6">
                  <c:v>1.7151768991800442</c:v>
                </c:pt>
                <c:pt idx="7">
                  <c:v>1.6823816921772827</c:v>
                </c:pt>
                <c:pt idx="8">
                  <c:v>1.8058154747723636</c:v>
                </c:pt>
                <c:pt idx="9">
                  <c:v>1.827762129325944</c:v>
                </c:pt>
                <c:pt idx="10">
                  <c:v>1.7917491927975875</c:v>
                </c:pt>
                <c:pt idx="11">
                  <c:v>1.862868670015392</c:v>
                </c:pt>
                <c:pt idx="12">
                  <c:v>1.8361602240641985</c:v>
                </c:pt>
                <c:pt idx="13">
                  <c:v>1.7673828081770202</c:v>
                </c:pt>
                <c:pt idx="14">
                  <c:v>1.7688495752689037</c:v>
                </c:pt>
                <c:pt idx="15">
                  <c:v>1.8982591426132955</c:v>
                </c:pt>
                <c:pt idx="16">
                  <c:v>1.8573651378088494</c:v>
                </c:pt>
                <c:pt idx="17">
                  <c:v>1.9185026895825736</c:v>
                </c:pt>
                <c:pt idx="18">
                  <c:v>1.8222332794086344</c:v>
                </c:pt>
                <c:pt idx="19">
                  <c:v>1.960122538629779</c:v>
                </c:pt>
                <c:pt idx="20">
                  <c:v>1.8755687201909397</c:v>
                </c:pt>
                <c:pt idx="21">
                  <c:v>1.8206951311172173</c:v>
                </c:pt>
                <c:pt idx="22">
                  <c:v>1.7227700091122466</c:v>
                </c:pt>
                <c:pt idx="23">
                  <c:v>1.6963575647579776</c:v>
                </c:pt>
                <c:pt idx="24">
                  <c:v>1.7050643175855893</c:v>
                </c:pt>
                <c:pt idx="25">
                  <c:v>1.6760975507473597</c:v>
                </c:pt>
                <c:pt idx="26">
                  <c:v>1.7570619178460902</c:v>
                </c:pt>
                <c:pt idx="27">
                  <c:v>1.7547150464105095</c:v>
                </c:pt>
                <c:pt idx="28">
                  <c:v>1.739138574563609</c:v>
                </c:pt>
                <c:pt idx="29">
                  <c:v>1.7670961347869176</c:v>
                </c:pt>
                <c:pt idx="30">
                  <c:v>1.7224038554809626</c:v>
                </c:pt>
                <c:pt idx="31">
                  <c:v>1.5548365982500794</c:v>
                </c:pt>
                <c:pt idx="32">
                  <c:v>1.5968033123242475</c:v>
                </c:pt>
                <c:pt idx="33">
                  <c:v>1.652141744387638</c:v>
                </c:pt>
                <c:pt idx="34">
                  <c:v>1.7330023445638345</c:v>
                </c:pt>
                <c:pt idx="35">
                  <c:v>1.620325807124028</c:v>
                </c:pt>
                <c:pt idx="36">
                  <c:v>1.6657434599370358</c:v>
                </c:pt>
                <c:pt idx="37">
                  <c:v>1.7845012496809762</c:v>
                </c:pt>
                <c:pt idx="38">
                  <c:v>1.7279429554948929</c:v>
                </c:pt>
                <c:pt idx="39">
                  <c:v>1.7626467838705073</c:v>
                </c:pt>
                <c:pt idx="40">
                  <c:v>1.7368146532782032</c:v>
                </c:pt>
                <c:pt idx="41">
                  <c:v>1.8028237410658123</c:v>
                </c:pt>
                <c:pt idx="42">
                  <c:v>1.7981501016253</c:v>
                </c:pt>
                <c:pt idx="43">
                  <c:v>1.8227613411255075</c:v>
                </c:pt>
                <c:pt idx="44">
                  <c:v>1.7585375417913385</c:v>
                </c:pt>
                <c:pt idx="45">
                  <c:v>1.75513538064931</c:v>
                </c:pt>
                <c:pt idx="46">
                  <c:v>1.716505141752059</c:v>
                </c:pt>
                <c:pt idx="47">
                  <c:v>1.751871414851311</c:v>
                </c:pt>
                <c:pt idx="48">
                  <c:v>1.7030672924655093</c:v>
                </c:pt>
                <c:pt idx="49">
                  <c:v>1.7760917607850164</c:v>
                </c:pt>
                <c:pt idx="50">
                  <c:v>1.658602804553601</c:v>
                </c:pt>
                <c:pt idx="51">
                  <c:v>1.653655444625492</c:v>
                </c:pt>
              </c:numCache>
            </c:numRef>
          </c:xVal>
          <c:yVal>
            <c:numRef>
              <c:f>Sheet1!$B$109:$B$160</c:f>
              <c:numCache>
                <c:formatCode>General</c:formatCode>
                <c:ptCount val="52"/>
                <c:pt idx="0">
                  <c:v>0.17586504865311642</c:v>
                </c:pt>
                <c:pt idx="1">
                  <c:v>0.18501328890475624</c:v>
                </c:pt>
                <c:pt idx="2">
                  <c:v>0.1932705437484682</c:v>
                </c:pt>
                <c:pt idx="3">
                  <c:v>0.20842007034670879</c:v>
                </c:pt>
                <c:pt idx="4">
                  <c:v>0.1960059983175451</c:v>
                </c:pt>
                <c:pt idx="5">
                  <c:v>0.1932523413698424</c:v>
                </c:pt>
                <c:pt idx="6">
                  <c:v>0.19092039800995025</c:v>
                </c:pt>
                <c:pt idx="7">
                  <c:v>0.18701948864652243</c:v>
                </c:pt>
                <c:pt idx="8">
                  <c:v>0.1838410991636798</c:v>
                </c:pt>
                <c:pt idx="9">
                  <c:v>0.19139282276914615</c:v>
                </c:pt>
                <c:pt idx="10">
                  <c:v>0.19937750111160515</c:v>
                </c:pt>
                <c:pt idx="11">
                  <c:v>0.20998158613245285</c:v>
                </c:pt>
                <c:pt idx="12">
                  <c:v>0.21063448172782304</c:v>
                </c:pt>
                <c:pt idx="13">
                  <c:v>0.2027168234064786</c:v>
                </c:pt>
                <c:pt idx="14">
                  <c:v>0.20394852811563546</c:v>
                </c:pt>
                <c:pt idx="15">
                  <c:v>0.1911484166348722</c:v>
                </c:pt>
                <c:pt idx="16">
                  <c:v>0.17354389539820003</c:v>
                </c:pt>
                <c:pt idx="17">
                  <c:v>0.15987517253795835</c:v>
                </c:pt>
                <c:pt idx="18">
                  <c:v>0.15772739839646116</c:v>
                </c:pt>
                <c:pt idx="19">
                  <c:v>0.16408564503097225</c:v>
                </c:pt>
                <c:pt idx="20">
                  <c:v>0.15580800481492627</c:v>
                </c:pt>
                <c:pt idx="21">
                  <c:v>0.1632854578096948</c:v>
                </c:pt>
                <c:pt idx="22">
                  <c:v>0.16744678972003885</c:v>
                </c:pt>
                <c:pt idx="23">
                  <c:v>0.17244567730004623</c:v>
                </c:pt>
                <c:pt idx="24">
                  <c:v>0.16679431537741468</c:v>
                </c:pt>
                <c:pt idx="25">
                  <c:v>0.1732283464566929</c:v>
                </c:pt>
                <c:pt idx="26">
                  <c:v>0.15100587797003062</c:v>
                </c:pt>
                <c:pt idx="27">
                  <c:v>0.1507983883002537</c:v>
                </c:pt>
                <c:pt idx="28">
                  <c:v>0.16056965442764579</c:v>
                </c:pt>
                <c:pt idx="29">
                  <c:v>0.1633265720081136</c:v>
                </c:pt>
                <c:pt idx="30">
                  <c:v>0.16941176470588235</c:v>
                </c:pt>
                <c:pt idx="31">
                  <c:v>0.17265540783327343</c:v>
                </c:pt>
                <c:pt idx="32">
                  <c:v>0.17580369622612207</c:v>
                </c:pt>
                <c:pt idx="33">
                  <c:v>0.1932656268891307</c:v>
                </c:pt>
                <c:pt idx="34">
                  <c:v>0.2121571534469978</c:v>
                </c:pt>
                <c:pt idx="35">
                  <c:v>0.2041537507749535</c:v>
                </c:pt>
                <c:pt idx="36">
                  <c:v>0.1746545133784181</c:v>
                </c:pt>
                <c:pt idx="37">
                  <c:v>0.1571340442407685</c:v>
                </c:pt>
                <c:pt idx="38">
                  <c:v>0.16235547717029197</c:v>
                </c:pt>
                <c:pt idx="39">
                  <c:v>0.18015759312320917</c:v>
                </c:pt>
                <c:pt idx="40">
                  <c:v>0.160164700956103</c:v>
                </c:pt>
                <c:pt idx="41">
                  <c:v>0.16189848384970337</c:v>
                </c:pt>
                <c:pt idx="42">
                  <c:v>0.16194241384454722</c:v>
                </c:pt>
                <c:pt idx="43">
                  <c:v>0.15235745614035087</c:v>
                </c:pt>
                <c:pt idx="44">
                  <c:v>0.14751594645584404</c:v>
                </c:pt>
                <c:pt idx="45">
                  <c:v>0.1632826827351323</c:v>
                </c:pt>
                <c:pt idx="46">
                  <c:v>0.161425251742835</c:v>
                </c:pt>
                <c:pt idx="47">
                  <c:v>0.16117163263833778</c:v>
                </c:pt>
                <c:pt idx="48">
                  <c:v>0.1530141418983701</c:v>
                </c:pt>
                <c:pt idx="49">
                  <c:v>0.16894482413735623</c:v>
                </c:pt>
                <c:pt idx="50">
                  <c:v>0.2009994551842041</c:v>
                </c:pt>
                <c:pt idx="51">
                  <c:v>0.1894591220433917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9947523642366906</c:v>
                </c:pt>
              </c:numCache>
            </c:numRef>
          </c:xVal>
          <c:yVal>
            <c:numRef>
              <c:f>Sheet1!$B$163:$B$164</c:f>
              <c:numCache>
                <c:formatCode>General</c:formatCode>
                <c:ptCount val="2"/>
                <c:pt idx="0">
                  <c:v>0.2062181521145252</c:v>
                </c:pt>
                <c:pt idx="1">
                  <c:v>0.20621815211452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9947523642366906</c:v>
                </c:pt>
                <c:pt idx="1">
                  <c:v>0.9947523642366906</c:v>
                </c:pt>
              </c:numCache>
            </c:numRef>
          </c:xVal>
          <c:yVal>
            <c:numRef>
              <c:f>Sheet1!$B$167:$B$168</c:f>
              <c:numCache>
                <c:formatCode>General</c:formatCode>
                <c:ptCount val="2"/>
                <c:pt idx="0">
                  <c:v>0.20621815211452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400490430261524</c:v>
                </c:pt>
              </c:numCache>
            </c:numRef>
          </c:xVal>
          <c:yVal>
            <c:numRef>
              <c:f>Sheet1!$B$171:$B$172</c:f>
              <c:numCache>
                <c:formatCode>General</c:formatCode>
                <c:ptCount val="2"/>
                <c:pt idx="0">
                  <c:v>0.19040091968450995</c:v>
                </c:pt>
                <c:pt idx="1">
                  <c:v>0.1904009196845099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400490430261524</c:v>
                </c:pt>
                <c:pt idx="1">
                  <c:v>1.400490430261524</c:v>
                </c:pt>
              </c:numCache>
            </c:numRef>
          </c:xVal>
          <c:yVal>
            <c:numRef>
              <c:f>Sheet1!$B$175:$B$176</c:f>
              <c:numCache>
                <c:formatCode>General</c:formatCode>
                <c:ptCount val="2"/>
                <c:pt idx="0">
                  <c:v>0.190400919684509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017862931493539</c:v>
                </c:pt>
              </c:numCache>
            </c:numRef>
          </c:xVal>
          <c:yVal>
            <c:numRef>
              <c:f>Sheet1!$B$179:$B$180</c:f>
              <c:numCache>
                <c:formatCode>General</c:formatCode>
                <c:ptCount val="2"/>
                <c:pt idx="0">
                  <c:v>0.16633336190379883</c:v>
                </c:pt>
                <c:pt idx="1">
                  <c:v>0.1663333619037988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017862931493539</c:v>
                </c:pt>
                <c:pt idx="1">
                  <c:v>2.017862931493539</c:v>
                </c:pt>
              </c:numCache>
            </c:numRef>
          </c:xVal>
          <c:yVal>
            <c:numRef>
              <c:f>Sheet1!$B$183:$B$184</c:f>
              <c:numCache>
                <c:formatCode>General</c:formatCode>
                <c:ptCount val="2"/>
                <c:pt idx="0">
                  <c:v>0.1663333619037988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7884082750638226</c:v>
                </c:pt>
                <c:pt idx="1">
                  <c:v>1.748408216005166</c:v>
                </c:pt>
                <c:pt idx="2">
                  <c:v>1.692457575156087</c:v>
                </c:pt>
                <c:pt idx="3">
                  <c:v>1.7251555029918832</c:v>
                </c:pt>
                <c:pt idx="4">
                  <c:v>1.7105679982693094</c:v>
                </c:pt>
                <c:pt idx="5">
                  <c:v>1.6966608164116412</c:v>
                </c:pt>
                <c:pt idx="6">
                  <c:v>1.7151768991800442</c:v>
                </c:pt>
                <c:pt idx="7">
                  <c:v>1.6823816921772827</c:v>
                </c:pt>
                <c:pt idx="8">
                  <c:v>1.8058154747723636</c:v>
                </c:pt>
                <c:pt idx="9">
                  <c:v>1.827762129325944</c:v>
                </c:pt>
                <c:pt idx="10">
                  <c:v>1.7917491927975875</c:v>
                </c:pt>
                <c:pt idx="11">
                  <c:v>1.862868670015392</c:v>
                </c:pt>
                <c:pt idx="12">
                  <c:v>1.8361602240641985</c:v>
                </c:pt>
                <c:pt idx="13">
                  <c:v>1.7673828081770202</c:v>
                </c:pt>
                <c:pt idx="14">
                  <c:v>1.7688495752689037</c:v>
                </c:pt>
                <c:pt idx="15">
                  <c:v>1.8982591426132955</c:v>
                </c:pt>
                <c:pt idx="16">
                  <c:v>1.8573651378088494</c:v>
                </c:pt>
                <c:pt idx="17">
                  <c:v>1.9185026895825736</c:v>
                </c:pt>
                <c:pt idx="18">
                  <c:v>1.8222332794086344</c:v>
                </c:pt>
                <c:pt idx="19">
                  <c:v>1.960122538629779</c:v>
                </c:pt>
                <c:pt idx="20">
                  <c:v>1.8755687201909397</c:v>
                </c:pt>
                <c:pt idx="21">
                  <c:v>1.8206951311172173</c:v>
                </c:pt>
                <c:pt idx="22">
                  <c:v>1.7227700091122466</c:v>
                </c:pt>
                <c:pt idx="23">
                  <c:v>1.6963575647579776</c:v>
                </c:pt>
                <c:pt idx="24">
                  <c:v>1.7050643175855893</c:v>
                </c:pt>
                <c:pt idx="25">
                  <c:v>1.6760975507473597</c:v>
                </c:pt>
                <c:pt idx="26">
                  <c:v>1.7570619178460902</c:v>
                </c:pt>
                <c:pt idx="27">
                  <c:v>1.7547150464105095</c:v>
                </c:pt>
                <c:pt idx="28">
                  <c:v>1.739138574563609</c:v>
                </c:pt>
                <c:pt idx="29">
                  <c:v>1.7670961347869176</c:v>
                </c:pt>
                <c:pt idx="30">
                  <c:v>1.7224038554809626</c:v>
                </c:pt>
                <c:pt idx="31">
                  <c:v>1.5548365982500794</c:v>
                </c:pt>
                <c:pt idx="32">
                  <c:v>1.5968033123242475</c:v>
                </c:pt>
                <c:pt idx="33">
                  <c:v>1.652141744387638</c:v>
                </c:pt>
                <c:pt idx="34">
                  <c:v>1.7330023445638345</c:v>
                </c:pt>
                <c:pt idx="35">
                  <c:v>1.620325807124028</c:v>
                </c:pt>
                <c:pt idx="36">
                  <c:v>1.6657434599370358</c:v>
                </c:pt>
                <c:pt idx="37">
                  <c:v>1.7845012496809762</c:v>
                </c:pt>
                <c:pt idx="38">
                  <c:v>1.7279429554948929</c:v>
                </c:pt>
                <c:pt idx="39">
                  <c:v>1.7626467838705073</c:v>
                </c:pt>
                <c:pt idx="40">
                  <c:v>1.7368146532782032</c:v>
                </c:pt>
                <c:pt idx="41">
                  <c:v>1.8028237410658123</c:v>
                </c:pt>
                <c:pt idx="42">
                  <c:v>1.7981501016253</c:v>
                </c:pt>
                <c:pt idx="43">
                  <c:v>1.8227613411255075</c:v>
                </c:pt>
                <c:pt idx="44">
                  <c:v>1.7585375417913385</c:v>
                </c:pt>
                <c:pt idx="45">
                  <c:v>1.75513538064931</c:v>
                </c:pt>
                <c:pt idx="46">
                  <c:v>1.716505141752059</c:v>
                </c:pt>
                <c:pt idx="47">
                  <c:v>1.751871414851311</c:v>
                </c:pt>
                <c:pt idx="48">
                  <c:v>1.7030672924655093</c:v>
                </c:pt>
                <c:pt idx="49">
                  <c:v>1.7760917607850164</c:v>
                </c:pt>
                <c:pt idx="50">
                  <c:v>1.658602804553601</c:v>
                </c:pt>
                <c:pt idx="51">
                  <c:v>1.653655444625492</c:v>
                </c:pt>
                <c:pt idx="52">
                  <c:v>1.400490430261524</c:v>
                </c:pt>
                <c:pt idx="53">
                  <c:v>0.9947523642366906</c:v>
                </c:pt>
                <c:pt idx="54">
                  <c:v>2.017862931493539</c:v>
                </c:pt>
              </c:numCache>
            </c:numRef>
          </c:xVal>
          <c:yVal>
            <c:numRef>
              <c:f>Sheet1!$B$187:$B$241</c:f>
              <c:numCache>
                <c:formatCode>General</c:formatCode>
                <c:ptCount val="55"/>
                <c:pt idx="0">
                  <c:v>0.17527838810865087</c:v>
                </c:pt>
                <c:pt idx="1">
                  <c:v>0.17683774446272382</c:v>
                </c:pt>
                <c:pt idx="2">
                  <c:v>0.1790189159253591</c:v>
                </c:pt>
                <c:pt idx="3">
                  <c:v>0.17774422476900356</c:v>
                </c:pt>
                <c:pt idx="4">
                  <c:v>0.1783129018838513</c:v>
                </c:pt>
                <c:pt idx="5">
                  <c:v>0.17885505739330199</c:v>
                </c:pt>
                <c:pt idx="6">
                  <c:v>0.17813322917612084</c:v>
                </c:pt>
                <c:pt idx="7">
                  <c:v>0.1794117126490553</c:v>
                </c:pt>
                <c:pt idx="8">
                  <c:v>0.1745997884237772</c:v>
                </c:pt>
                <c:pt idx="9">
                  <c:v>0.17374422330627112</c:v>
                </c:pt>
                <c:pt idx="10">
                  <c:v>0.17514814626853403</c:v>
                </c:pt>
                <c:pt idx="11">
                  <c:v>0.17237563514460527</c:v>
                </c:pt>
                <c:pt idx="12">
                  <c:v>0.17341683322984647</c:v>
                </c:pt>
                <c:pt idx="13">
                  <c:v>0.1760980417831419</c:v>
                </c:pt>
                <c:pt idx="14">
                  <c:v>0.17604086155294973</c:v>
                </c:pt>
                <c:pt idx="15">
                  <c:v>0.1709959782236427</c:v>
                </c:pt>
                <c:pt idx="16">
                  <c:v>0.172590184025734</c:v>
                </c:pt>
                <c:pt idx="17">
                  <c:v>0.17020680679893985</c:v>
                </c:pt>
                <c:pt idx="18">
                  <c:v>0.17395975916927148</c:v>
                </c:pt>
                <c:pt idx="19">
                  <c:v>0.1685843047928266</c:v>
                </c:pt>
                <c:pt idx="20">
                  <c:v>0.171880538277142</c:v>
                </c:pt>
                <c:pt idx="21">
                  <c:v>0.1740197221135314</c:v>
                </c:pt>
                <c:pt idx="22">
                  <c:v>0.17783722050766881</c:v>
                </c:pt>
                <c:pt idx="23">
                  <c:v>0.1788668793106729</c:v>
                </c:pt>
                <c:pt idx="24">
                  <c:v>0.17852745655319222</c:v>
                </c:pt>
                <c:pt idx="25">
                  <c:v>0.1796566926840666</c:v>
                </c:pt>
                <c:pt idx="26">
                  <c:v>0.17650038983701916</c:v>
                </c:pt>
                <c:pt idx="27">
                  <c:v>0.17659187992406875</c:v>
                </c:pt>
                <c:pt idx="28">
                  <c:v>0.17719911078622536</c:v>
                </c:pt>
                <c:pt idx="29">
                  <c:v>0.17610921741595145</c:v>
                </c:pt>
                <c:pt idx="30">
                  <c:v>0.17785149458638136</c:v>
                </c:pt>
                <c:pt idx="31">
                  <c:v>0.184383911623926</c:v>
                </c:pt>
                <c:pt idx="32">
                  <c:v>0.18274788748318274</c:v>
                </c:pt>
                <c:pt idx="33">
                  <c:v>0.18059058227680932</c:v>
                </c:pt>
                <c:pt idx="34">
                  <c:v>0.17743832466403914</c:v>
                </c:pt>
                <c:pt idx="35">
                  <c:v>0.1818308900438565</c:v>
                </c:pt>
                <c:pt idx="36">
                  <c:v>0.18006033502049543</c:v>
                </c:pt>
                <c:pt idx="37">
                  <c:v>0.17543069900517558</c:v>
                </c:pt>
                <c:pt idx="38">
                  <c:v>0.17763555913513862</c:v>
                </c:pt>
                <c:pt idx="39">
                  <c:v>0.1762826702504293</c:v>
                </c:pt>
                <c:pt idx="40">
                  <c:v>0.17728970618803336</c:v>
                </c:pt>
                <c:pt idx="41">
                  <c:v>0.17471641772570312</c:v>
                </c:pt>
                <c:pt idx="42">
                  <c:v>0.17489861419065136</c:v>
                </c:pt>
                <c:pt idx="43">
                  <c:v>0.1739391732898271</c:v>
                </c:pt>
                <c:pt idx="44">
                  <c:v>0.1764428643325725</c:v>
                </c:pt>
                <c:pt idx="45">
                  <c:v>0.1765754936766098</c:v>
                </c:pt>
                <c:pt idx="46">
                  <c:v>0.17808144916521174</c:v>
                </c:pt>
                <c:pt idx="47">
                  <c:v>0.17670273563390598</c:v>
                </c:pt>
                <c:pt idx="48">
                  <c:v>0.17860530828350274</c:v>
                </c:pt>
                <c:pt idx="49">
                  <c:v>0.17575853326974983</c:v>
                </c:pt>
                <c:pt idx="50">
                  <c:v>0.1803387052681012</c:v>
                </c:pt>
                <c:pt idx="51">
                  <c:v>0.18053157241183393</c:v>
                </c:pt>
                <c:pt idx="52">
                  <c:v>0.19040091968450995</c:v>
                </c:pt>
                <c:pt idx="53">
                  <c:v>0.2062181521145252</c:v>
                </c:pt>
                <c:pt idx="54">
                  <c:v>0.1663333619037988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045482239256416"/>
          <c:min val="0.106804827194035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0894</c:v>
                </c:pt>
                <c:pt idx="1">
                  <c:v>863.8572</c:v>
                </c:pt>
                <c:pt idx="2">
                  <c:v>915.63</c:v>
                </c:pt>
                <c:pt idx="3">
                  <c:v>930.6772</c:v>
                </c:pt>
                <c:pt idx="4">
                  <c:v>927.9188</c:v>
                </c:pt>
                <c:pt idx="5">
                  <c:v>924.7076</c:v>
                </c:pt>
                <c:pt idx="6">
                  <c:v>886.788</c:v>
                </c:pt>
                <c:pt idx="7">
                  <c:v>910.648</c:v>
                </c:pt>
                <c:pt idx="8">
                  <c:v>910.9362</c:v>
                </c:pt>
                <c:pt idx="9">
                  <c:v>897.5071</c:v>
                </c:pt>
                <c:pt idx="10">
                  <c:v>899.1659</c:v>
                </c:pt>
                <c:pt idx="11">
                  <c:v>936.6184</c:v>
                </c:pt>
                <c:pt idx="12">
                  <c:v>930.1207</c:v>
                </c:pt>
                <c:pt idx="13">
                  <c:v>904.76</c:v>
                </c:pt>
                <c:pt idx="14">
                  <c:v>911.1927</c:v>
                </c:pt>
                <c:pt idx="15">
                  <c:v>921.652</c:v>
                </c:pt>
                <c:pt idx="16">
                  <c:v>918.424</c:v>
                </c:pt>
                <c:pt idx="17">
                  <c:v>935.9762</c:v>
                </c:pt>
                <c:pt idx="18">
                  <c:v>972.7735</c:v>
                </c:pt>
                <c:pt idx="19">
                  <c:v>1001.4916</c:v>
                </c:pt>
                <c:pt idx="20">
                  <c:v>1006.9064</c:v>
                </c:pt>
                <c:pt idx="21">
                  <c:v>1016.8196</c:v>
                </c:pt>
                <c:pt idx="22">
                  <c:v>1005.2167</c:v>
                </c:pt>
                <c:pt idx="23">
                  <c:v>986.9864</c:v>
                </c:pt>
                <c:pt idx="24">
                  <c:v>972.5527</c:v>
                </c:pt>
                <c:pt idx="25">
                  <c:v>961.9693</c:v>
                </c:pt>
                <c:pt idx="26">
                  <c:v>972.0951</c:v>
                </c:pt>
                <c:pt idx="27">
                  <c:v>982.5739</c:v>
                </c:pt>
                <c:pt idx="28">
                  <c:v>984.1141</c:v>
                </c:pt>
                <c:pt idx="29">
                  <c:v>886.5662</c:v>
                </c:pt>
                <c:pt idx="30">
                  <c:v>920.3414</c:v>
                </c:pt>
                <c:pt idx="31">
                  <c:v>942.4014</c:v>
                </c:pt>
                <c:pt idx="32">
                  <c:v>916.5916</c:v>
                </c:pt>
                <c:pt idx="33">
                  <c:v>861.3948</c:v>
                </c:pt>
                <c:pt idx="34">
                  <c:v>946.9117</c:v>
                </c:pt>
                <c:pt idx="35">
                  <c:v>996.5961</c:v>
                </c:pt>
                <c:pt idx="36">
                  <c:v>1052.5313</c:v>
                </c:pt>
                <c:pt idx="37">
                  <c:v>1057.7318</c:v>
                </c:pt>
                <c:pt idx="38">
                  <c:v>1103.5503</c:v>
                </c:pt>
                <c:pt idx="39">
                  <c:v>1105.923</c:v>
                </c:pt>
                <c:pt idx="40">
                  <c:v>1125.2943</c:v>
                </c:pt>
                <c:pt idx="41">
                  <c:v>1143.9972</c:v>
                </c:pt>
                <c:pt idx="42">
                  <c:v>1188.4166</c:v>
                </c:pt>
                <c:pt idx="43">
                  <c:v>1190.1291</c:v>
                </c:pt>
                <c:pt idx="44">
                  <c:v>1039.8934</c:v>
                </c:pt>
                <c:pt idx="45">
                  <c:v>987.8103</c:v>
                </c:pt>
                <c:pt idx="46">
                  <c:v>985.6185</c:v>
                </c:pt>
                <c:pt idx="47">
                  <c:v>967.874</c:v>
                </c:pt>
                <c:pt idx="48">
                  <c:v>974.755</c:v>
                </c:pt>
                <c:pt idx="49">
                  <c:v>957.9308</c:v>
                </c:pt>
                <c:pt idx="50">
                  <c:v>954.5131</c:v>
                </c:pt>
                <c:pt idx="51">
                  <c:v>980.9713</c:v>
                </c:pt>
                <c:pt idx="52">
                  <c:v>997.7418</c:v>
                </c:pt>
                <c:pt idx="53">
                  <c:v>1036.1538</c:v>
                </c:pt>
                <c:pt idx="54">
                  <c:v>1047.9728</c:v>
                </c:pt>
                <c:pt idx="55">
                  <c:v>1051.8556</c:v>
                </c:pt>
                <c:pt idx="56">
                  <c:v>1068.6247</c:v>
                </c:pt>
                <c:pt idx="57">
                  <c:v>1043.7406</c:v>
                </c:pt>
                <c:pt idx="58">
                  <c:v>1025.2152</c:v>
                </c:pt>
                <c:pt idx="59">
                  <c:v>1033.7447</c:v>
                </c:pt>
                <c:pt idx="60">
                  <c:v>1061.5763</c:v>
                </c:pt>
                <c:pt idx="61">
                  <c:v>1056.9965</c:v>
                </c:pt>
                <c:pt idx="62">
                  <c:v>1028.611</c:v>
                </c:pt>
                <c:pt idx="63">
                  <c:v>1060.3576</c:v>
                </c:pt>
                <c:pt idx="64">
                  <c:v>1053.6743</c:v>
                </c:pt>
                <c:pt idx="65">
                  <c:v>1031.7584</c:v>
                </c:pt>
                <c:pt idx="66">
                  <c:v>983.4835</c:v>
                </c:pt>
                <c:pt idx="67">
                  <c:v>966.7607</c:v>
                </c:pt>
                <c:pt idx="68">
                  <c:v>952.9274</c:v>
                </c:pt>
                <c:pt idx="69">
                  <c:v>958.3101</c:v>
                </c:pt>
                <c:pt idx="70">
                  <c:v>925.1353</c:v>
                </c:pt>
                <c:pt idx="71">
                  <c:v>984.8437</c:v>
                </c:pt>
                <c:pt idx="72">
                  <c:v>993.3549</c:v>
                </c:pt>
                <c:pt idx="73">
                  <c:v>1010.9377</c:v>
                </c:pt>
                <c:pt idx="74">
                  <c:v>1000.2435</c:v>
                </c:pt>
                <c:pt idx="75">
                  <c:v>1001.5149</c:v>
                </c:pt>
                <c:pt idx="76">
                  <c:v>1013.1956</c:v>
                </c:pt>
                <c:pt idx="77">
                  <c:v>994.2575</c:v>
                </c:pt>
                <c:pt idx="78">
                  <c:v>1050.1545</c:v>
                </c:pt>
                <c:pt idx="79">
                  <c:v>698.7679</c:v>
                </c:pt>
                <c:pt idx="80">
                  <c:v>707.1246</c:v>
                </c:pt>
                <c:pt idx="81">
                  <c:v>902.2342</c:v>
                </c:pt>
                <c:pt idx="82">
                  <c:v>895.1314</c:v>
                </c:pt>
                <c:pt idx="83">
                  <c:v>911.0286</c:v>
                </c:pt>
                <c:pt idx="84">
                  <c:v>922.024</c:v>
                </c:pt>
                <c:pt idx="85">
                  <c:v>967.4432</c:v>
                </c:pt>
                <c:pt idx="86">
                  <c:v>1075.9072</c:v>
                </c:pt>
                <c:pt idx="87">
                  <c:v>1105.8552</c:v>
                </c:pt>
                <c:pt idx="88">
                  <c:v>1091.488</c:v>
                </c:pt>
                <c:pt idx="89">
                  <c:v>1035.2538</c:v>
                </c:pt>
                <c:pt idx="90">
                  <c:v>1093.0491</c:v>
                </c:pt>
                <c:pt idx="91">
                  <c:v>1105.6374</c:v>
                </c:pt>
                <c:pt idx="92">
                  <c:v>1108.8317</c:v>
                </c:pt>
                <c:pt idx="93">
                  <c:v>1159.438</c:v>
                </c:pt>
                <c:pt idx="94">
                  <c:v>1151.2778</c:v>
                </c:pt>
                <c:pt idx="95">
                  <c:v>1145.3779</c:v>
                </c:pt>
                <c:pt idx="96">
                  <c:v>1108.9973</c:v>
                </c:pt>
                <c:pt idx="97">
                  <c:v>1123.428</c:v>
                </c:pt>
                <c:pt idx="98">
                  <c:v>1120.4051</c:v>
                </c:pt>
                <c:pt idx="99">
                  <c:v>1074.8352</c:v>
                </c:pt>
                <c:pt idx="100">
                  <c:v>1084.5881</c:v>
                </c:pt>
                <c:pt idx="101">
                  <c:v>1090.3515</c:v>
                </c:pt>
                <c:pt idx="102">
                  <c:v>1120.5609</c:v>
                </c:pt>
                <c:pt idx="103">
                  <c:v>976.3286</c:v>
                </c:pt>
                <c:pt idx="104">
                  <c:v>1069.0702</c:v>
                </c:pt>
              </c:numCache>
            </c:numRef>
          </c:xVal>
          <c:yVal>
            <c:numRef>
              <c:f>Sheet1!$B$2:$B$106</c:f>
              <c:numCache>
                <c:formatCode>General</c:formatCode>
                <c:ptCount val="105"/>
                <c:pt idx="0">
                  <c:v>0.2146968600282632</c:v>
                </c:pt>
                <c:pt idx="1">
                  <c:v>0.21712007677826584</c:v>
                </c:pt>
                <c:pt idx="2">
                  <c:v>0.1972539093651399</c:v>
                </c:pt>
                <c:pt idx="3">
                  <c:v>0.19730041274681143</c:v>
                </c:pt>
                <c:pt idx="4">
                  <c:v>0.19716885743174925</c:v>
                </c:pt>
                <c:pt idx="5">
                  <c:v>0.19011423945308986</c:v>
                </c:pt>
                <c:pt idx="6">
                  <c:v>0.21003957329662767</c:v>
                </c:pt>
                <c:pt idx="7">
                  <c:v>0.2073639490188145</c:v>
                </c:pt>
                <c:pt idx="8">
                  <c:v>0.2137272874319297</c:v>
                </c:pt>
                <c:pt idx="9">
                  <c:v>0.21458712399829663</c:v>
                </c:pt>
                <c:pt idx="10">
                  <c:v>0.22435340758920144</c:v>
                </c:pt>
                <c:pt idx="11">
                  <c:v>0.21762858264625048</c:v>
                </c:pt>
                <c:pt idx="12">
                  <c:v>0.2199875444188006</c:v>
                </c:pt>
                <c:pt idx="13">
                  <c:v>0.23027560369449906</c:v>
                </c:pt>
                <c:pt idx="14">
                  <c:v>0.2161569659103365</c:v>
                </c:pt>
                <c:pt idx="15">
                  <c:v>0.21368379688250447</c:v>
                </c:pt>
                <c:pt idx="16">
                  <c:v>0.20372046254399195</c:v>
                </c:pt>
                <c:pt idx="17">
                  <c:v>0.19133534411845352</c:v>
                </c:pt>
                <c:pt idx="18">
                  <c:v>0.17340107591153617</c:v>
                </c:pt>
                <c:pt idx="19">
                  <c:v>0.16212729357798164</c:v>
                </c:pt>
                <c:pt idx="20">
                  <c:v>0.17247294020228307</c:v>
                </c:pt>
                <c:pt idx="21">
                  <c:v>0.1783948269303918</c:v>
                </c:pt>
                <c:pt idx="22">
                  <c:v>0.17771652400986507</c:v>
                </c:pt>
                <c:pt idx="23">
                  <c:v>0.18375094912680334</c:v>
                </c:pt>
                <c:pt idx="24">
                  <c:v>0.1905131096701438</c:v>
                </c:pt>
                <c:pt idx="25">
                  <c:v>0.19003645200486027</c:v>
                </c:pt>
                <c:pt idx="26">
                  <c:v>0.19381918133868212</c:v>
                </c:pt>
                <c:pt idx="27">
                  <c:v>0.18466152527849186</c:v>
                </c:pt>
                <c:pt idx="28">
                  <c:v>0.1814139941690962</c:v>
                </c:pt>
                <c:pt idx="29">
                  <c:v>0.20289217227287018</c:v>
                </c:pt>
                <c:pt idx="30">
                  <c:v>0.1858022158391465</c:v>
                </c:pt>
                <c:pt idx="31">
                  <c:v>0.1823178391959799</c:v>
                </c:pt>
                <c:pt idx="32">
                  <c:v>0.1905923610581688</c:v>
                </c:pt>
                <c:pt idx="33">
                  <c:v>0.20864226135310474</c:v>
                </c:pt>
                <c:pt idx="34">
                  <c:v>0.1999795207864018</c:v>
                </c:pt>
                <c:pt idx="35">
                  <c:v>0.1962085308056872</c:v>
                </c:pt>
                <c:pt idx="36">
                  <c:v>0.15714536825452627</c:v>
                </c:pt>
                <c:pt idx="37">
                  <c:v>0.14665426274171042</c:v>
                </c:pt>
                <c:pt idx="38">
                  <c:v>0.14210777300906055</c:v>
                </c:pt>
                <c:pt idx="39">
                  <c:v>0.14415942336230655</c:v>
                </c:pt>
                <c:pt idx="40">
                  <c:v>0.14485714285714285</c:v>
                </c:pt>
                <c:pt idx="41">
                  <c:v>0.13350603399254438</c:v>
                </c:pt>
                <c:pt idx="42">
                  <c:v>0.13931079536175078</c:v>
                </c:pt>
                <c:pt idx="43">
                  <c:v>0.14207650273224043</c:v>
                </c:pt>
                <c:pt idx="44">
                  <c:v>0.17000688920899354</c:v>
                </c:pt>
                <c:pt idx="45">
                  <c:v>0.19477348004266548</c:v>
                </c:pt>
                <c:pt idx="46">
                  <c:v>0.2011744648607691</c:v>
                </c:pt>
                <c:pt idx="47">
                  <c:v>0.20259431353025778</c:v>
                </c:pt>
                <c:pt idx="48">
                  <c:v>0.2187455926500514</c:v>
                </c:pt>
                <c:pt idx="49">
                  <c:v>0.25037901866047013</c:v>
                </c:pt>
                <c:pt idx="50">
                  <c:v>0.21465076660988075</c:v>
                </c:pt>
                <c:pt idx="51">
                  <c:v>0.19269703543022415</c:v>
                </c:pt>
                <c:pt idx="52">
                  <c:v>0.2046528645912736</c:v>
                </c:pt>
                <c:pt idx="53">
                  <c:v>0.19408830593016813</c:v>
                </c:pt>
                <c:pt idx="54">
                  <c:v>0.19114754098360656</c:v>
                </c:pt>
                <c:pt idx="55">
                  <c:v>0.18233343129434484</c:v>
                </c:pt>
                <c:pt idx="56">
                  <c:v>0.19250032664082575</c:v>
                </c:pt>
                <c:pt idx="57">
                  <c:v>0.18821285803352036</c:v>
                </c:pt>
                <c:pt idx="58">
                  <c:v>0.20670012206700122</c:v>
                </c:pt>
                <c:pt idx="59">
                  <c:v>0.21249389512942327</c:v>
                </c:pt>
                <c:pt idx="60">
                  <c:v>0.22528798547010673</c:v>
                </c:pt>
                <c:pt idx="61">
                  <c:v>0.22520512204332452</c:v>
                </c:pt>
                <c:pt idx="62">
                  <c:v>0.22494933573519477</c:v>
                </c:pt>
                <c:pt idx="63">
                  <c:v>0.2410700941563294</c:v>
                </c:pt>
                <c:pt idx="64">
                  <c:v>0.22874988951415692</c:v>
                </c:pt>
                <c:pt idx="65">
                  <c:v>0.21485674085443848</c:v>
                </c:pt>
                <c:pt idx="66">
                  <c:v>0.2205326908048971</c:v>
                </c:pt>
                <c:pt idx="67">
                  <c:v>0.2174063560202174</c:v>
                </c:pt>
                <c:pt idx="68">
                  <c:v>0.19819517313746066</c:v>
                </c:pt>
                <c:pt idx="69">
                  <c:v>0.1843770456033166</c:v>
                </c:pt>
                <c:pt idx="70">
                  <c:v>0.17122678524718807</c:v>
                </c:pt>
                <c:pt idx="71">
                  <c:v>0.18111014240046497</c:v>
                </c:pt>
                <c:pt idx="72">
                  <c:v>0.18635843192846627</c:v>
                </c:pt>
                <c:pt idx="73">
                  <c:v>0.18679817004337235</c:v>
                </c:pt>
                <c:pt idx="74">
                  <c:v>0.18381496477896722</c:v>
                </c:pt>
                <c:pt idx="75">
                  <c:v>0.18586118251928022</c:v>
                </c:pt>
                <c:pt idx="76">
                  <c:v>0.18114987169706637</c:v>
                </c:pt>
                <c:pt idx="77">
                  <c:v>0.1769905093095704</c:v>
                </c:pt>
                <c:pt idx="78">
                  <c:v>0.1633945027646446</c:v>
                </c:pt>
                <c:pt idx="79">
                  <c:v>0.22476419827413205</c:v>
                </c:pt>
                <c:pt idx="80">
                  <c:v>0.21057944679991925</c:v>
                </c:pt>
                <c:pt idx="81">
                  <c:v>0.17324355971896954</c:v>
                </c:pt>
                <c:pt idx="82">
                  <c:v>0.17274735318759996</c:v>
                </c:pt>
                <c:pt idx="83">
                  <c:v>0.1545659331138451</c:v>
                </c:pt>
                <c:pt idx="84">
                  <c:v>0.1574049688350452</c:v>
                </c:pt>
                <c:pt idx="85">
                  <c:v>0.16417796739296053</c:v>
                </c:pt>
                <c:pt idx="86">
                  <c:v>0.1571214565568103</c:v>
                </c:pt>
                <c:pt idx="87">
                  <c:v>0.17206188960825194</c:v>
                </c:pt>
                <c:pt idx="88">
                  <c:v>0.1534110993283846</c:v>
                </c:pt>
                <c:pt idx="89">
                  <c:v>0.1521688342029437</c:v>
                </c:pt>
                <c:pt idx="90">
                  <c:v>0.1496723669490171</c:v>
                </c:pt>
                <c:pt idx="91">
                  <c:v>0.14149109849957242</c:v>
                </c:pt>
                <c:pt idx="92">
                  <c:v>0.14851851851851852</c:v>
                </c:pt>
                <c:pt idx="93">
                  <c:v>0.14279624893435636</c:v>
                </c:pt>
                <c:pt idx="94">
                  <c:v>0.14696723531004605</c:v>
                </c:pt>
                <c:pt idx="95">
                  <c:v>0.15124254473161033</c:v>
                </c:pt>
                <c:pt idx="96">
                  <c:v>0.14782844182661387</c:v>
                </c:pt>
                <c:pt idx="97">
                  <c:v>0.15954492519931918</c:v>
                </c:pt>
                <c:pt idx="98">
                  <c:v>0.1734323983854796</c:v>
                </c:pt>
                <c:pt idx="99">
                  <c:v>0.18298980350969324</c:v>
                </c:pt>
                <c:pt idx="100">
                  <c:v>0.20112217610289895</c:v>
                </c:pt>
                <c:pt idx="101">
                  <c:v>0.1896363217861664</c:v>
                </c:pt>
                <c:pt idx="102">
                  <c:v>0.16128769687843392</c:v>
                </c:pt>
                <c:pt idx="103">
                  <c:v>0.18299982291482203</c:v>
                </c:pt>
                <c:pt idx="104">
                  <c:v>0.182912358026784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8.4433</c:v>
                </c:pt>
                <c:pt idx="1">
                  <c:v>1122.0109</c:v>
                </c:pt>
                <c:pt idx="2">
                  <c:v>1110.1645</c:v>
                </c:pt>
                <c:pt idx="3">
                  <c:v>1125.5175</c:v>
                </c:pt>
                <c:pt idx="4">
                  <c:v>1125.9547</c:v>
                </c:pt>
                <c:pt idx="5">
                  <c:v>1144.0119</c:v>
                </c:pt>
                <c:pt idx="6">
                  <c:v>1079.4272</c:v>
                </c:pt>
                <c:pt idx="7">
                  <c:v>1121.5717</c:v>
                </c:pt>
                <c:pt idx="8">
                  <c:v>1199.8703</c:v>
                </c:pt>
                <c:pt idx="9">
                  <c:v>1172.2325</c:v>
                </c:pt>
                <c:pt idx="10">
                  <c:v>1183.9893</c:v>
                </c:pt>
                <c:pt idx="11">
                  <c:v>1054.8777</c:v>
                </c:pt>
                <c:pt idx="12">
                  <c:v>1075.6816</c:v>
                </c:pt>
                <c:pt idx="13">
                  <c:v>1125.8916</c:v>
                </c:pt>
                <c:pt idx="14">
                  <c:v>1132.5514</c:v>
                </c:pt>
                <c:pt idx="15">
                  <c:v>1166.5818</c:v>
                </c:pt>
                <c:pt idx="16">
                  <c:v>1207.5535</c:v>
                </c:pt>
                <c:pt idx="17">
                  <c:v>1180.2406</c:v>
                </c:pt>
                <c:pt idx="18">
                  <c:v>1161.6626</c:v>
                </c:pt>
                <c:pt idx="19">
                  <c:v>1264.1924</c:v>
                </c:pt>
                <c:pt idx="20">
                  <c:v>1251.5852</c:v>
                </c:pt>
                <c:pt idx="21">
                  <c:v>1193.7526</c:v>
                </c:pt>
                <c:pt idx="22">
                  <c:v>1149.8687</c:v>
                </c:pt>
                <c:pt idx="23">
                  <c:v>1144.5925</c:v>
                </c:pt>
                <c:pt idx="24">
                  <c:v>1151.4388</c:v>
                </c:pt>
                <c:pt idx="25">
                  <c:v>1087.1338</c:v>
                </c:pt>
                <c:pt idx="26">
                  <c:v>1174.517</c:v>
                </c:pt>
                <c:pt idx="27">
                  <c:v>1191.0267</c:v>
                </c:pt>
                <c:pt idx="28">
                  <c:v>1176.0542</c:v>
                </c:pt>
                <c:pt idx="29">
                  <c:v>1181.2375</c:v>
                </c:pt>
                <c:pt idx="30">
                  <c:v>1159.4911</c:v>
                </c:pt>
                <c:pt idx="31">
                  <c:v>1070.3803</c:v>
                </c:pt>
                <c:pt idx="32">
                  <c:v>1109.3997</c:v>
                </c:pt>
                <c:pt idx="33">
                  <c:v>1161.3775</c:v>
                </c:pt>
                <c:pt idx="34">
                  <c:v>1202.4617</c:v>
                </c:pt>
                <c:pt idx="35">
                  <c:v>1172.9848</c:v>
                </c:pt>
                <c:pt idx="36">
                  <c:v>1194.147</c:v>
                </c:pt>
                <c:pt idx="37">
                  <c:v>1239.6882</c:v>
                </c:pt>
                <c:pt idx="38">
                  <c:v>1217.6795</c:v>
                </c:pt>
                <c:pt idx="39">
                  <c:v>1181.6465</c:v>
                </c:pt>
                <c:pt idx="40">
                  <c:v>1218.0632</c:v>
                </c:pt>
                <c:pt idx="41">
                  <c:v>1272.2565</c:v>
                </c:pt>
                <c:pt idx="42">
                  <c:v>1249.9871</c:v>
                </c:pt>
                <c:pt idx="43">
                  <c:v>1255.3505</c:v>
                </c:pt>
                <c:pt idx="44">
                  <c:v>1193.7811</c:v>
                </c:pt>
                <c:pt idx="45">
                  <c:v>1144.1968</c:v>
                </c:pt>
                <c:pt idx="46">
                  <c:v>1130.7881</c:v>
                </c:pt>
                <c:pt idx="47">
                  <c:v>1116.1609</c:v>
                </c:pt>
                <c:pt idx="48">
                  <c:v>1100.292</c:v>
                </c:pt>
                <c:pt idx="49">
                  <c:v>1127.8783</c:v>
                </c:pt>
                <c:pt idx="50">
                  <c:v>1031.4544</c:v>
                </c:pt>
                <c:pt idx="51">
                  <c:v>994.7733</c:v>
                </c:pt>
              </c:numCache>
            </c:numRef>
          </c:xVal>
          <c:yVal>
            <c:numRef>
              <c:f>Sheet1!$B$109:$B$160</c:f>
              <c:numCache>
                <c:formatCode>General</c:formatCode>
                <c:ptCount val="52"/>
                <c:pt idx="0">
                  <c:v>0.17586504865311642</c:v>
                </c:pt>
                <c:pt idx="1">
                  <c:v>0.18501328890475624</c:v>
                </c:pt>
                <c:pt idx="2">
                  <c:v>0.1932705437484682</c:v>
                </c:pt>
                <c:pt idx="3">
                  <c:v>0.20842007034670879</c:v>
                </c:pt>
                <c:pt idx="4">
                  <c:v>0.1960059983175451</c:v>
                </c:pt>
                <c:pt idx="5">
                  <c:v>0.1932523413698424</c:v>
                </c:pt>
                <c:pt idx="6">
                  <c:v>0.19092039800995025</c:v>
                </c:pt>
                <c:pt idx="7">
                  <c:v>0.18701948864652243</c:v>
                </c:pt>
                <c:pt idx="8">
                  <c:v>0.1838410991636798</c:v>
                </c:pt>
                <c:pt idx="9">
                  <c:v>0.19139282276914615</c:v>
                </c:pt>
                <c:pt idx="10">
                  <c:v>0.19937750111160515</c:v>
                </c:pt>
                <c:pt idx="11">
                  <c:v>0.20998158613245285</c:v>
                </c:pt>
                <c:pt idx="12">
                  <c:v>0.21063448172782304</c:v>
                </c:pt>
                <c:pt idx="13">
                  <c:v>0.2027168234064786</c:v>
                </c:pt>
                <c:pt idx="14">
                  <c:v>0.20394852811563546</c:v>
                </c:pt>
                <c:pt idx="15">
                  <c:v>0.1911484166348722</c:v>
                </c:pt>
                <c:pt idx="16">
                  <c:v>0.17354389539820003</c:v>
                </c:pt>
                <c:pt idx="17">
                  <c:v>0.15987517253795835</c:v>
                </c:pt>
                <c:pt idx="18">
                  <c:v>0.15772739839646116</c:v>
                </c:pt>
                <c:pt idx="19">
                  <c:v>0.16408564503097225</c:v>
                </c:pt>
                <c:pt idx="20">
                  <c:v>0.15580800481492627</c:v>
                </c:pt>
                <c:pt idx="21">
                  <c:v>0.1632854578096948</c:v>
                </c:pt>
                <c:pt idx="22">
                  <c:v>0.16744678972003885</c:v>
                </c:pt>
                <c:pt idx="23">
                  <c:v>0.17244567730004623</c:v>
                </c:pt>
                <c:pt idx="24">
                  <c:v>0.16679431537741468</c:v>
                </c:pt>
                <c:pt idx="25">
                  <c:v>0.1732283464566929</c:v>
                </c:pt>
                <c:pt idx="26">
                  <c:v>0.15100587797003062</c:v>
                </c:pt>
                <c:pt idx="27">
                  <c:v>0.1507983883002537</c:v>
                </c:pt>
                <c:pt idx="28">
                  <c:v>0.16056965442764579</c:v>
                </c:pt>
                <c:pt idx="29">
                  <c:v>0.1633265720081136</c:v>
                </c:pt>
                <c:pt idx="30">
                  <c:v>0.16941176470588235</c:v>
                </c:pt>
                <c:pt idx="31">
                  <c:v>0.17265540783327343</c:v>
                </c:pt>
                <c:pt idx="32">
                  <c:v>0.17580369622612207</c:v>
                </c:pt>
                <c:pt idx="33">
                  <c:v>0.1932656268891307</c:v>
                </c:pt>
                <c:pt idx="34">
                  <c:v>0.2121571534469978</c:v>
                </c:pt>
                <c:pt idx="35">
                  <c:v>0.2041537507749535</c:v>
                </c:pt>
                <c:pt idx="36">
                  <c:v>0.1746545133784181</c:v>
                </c:pt>
                <c:pt idx="37">
                  <c:v>0.1571340442407685</c:v>
                </c:pt>
                <c:pt idx="38">
                  <c:v>0.16235547717029197</c:v>
                </c:pt>
                <c:pt idx="39">
                  <c:v>0.18015759312320917</c:v>
                </c:pt>
                <c:pt idx="40">
                  <c:v>0.160164700956103</c:v>
                </c:pt>
                <c:pt idx="41">
                  <c:v>0.16189848384970337</c:v>
                </c:pt>
                <c:pt idx="42">
                  <c:v>0.16194241384454722</c:v>
                </c:pt>
                <c:pt idx="43">
                  <c:v>0.15235745614035087</c:v>
                </c:pt>
                <c:pt idx="44">
                  <c:v>0.14751594645584404</c:v>
                </c:pt>
                <c:pt idx="45">
                  <c:v>0.1632826827351323</c:v>
                </c:pt>
                <c:pt idx="46">
                  <c:v>0.161425251742835</c:v>
                </c:pt>
                <c:pt idx="47">
                  <c:v>0.16117163263833778</c:v>
                </c:pt>
                <c:pt idx="48">
                  <c:v>0.1530141418983701</c:v>
                </c:pt>
                <c:pt idx="49">
                  <c:v>0.16894482413735623</c:v>
                </c:pt>
                <c:pt idx="50">
                  <c:v>0.2009994551842041</c:v>
                </c:pt>
                <c:pt idx="51">
                  <c:v>0.1894591220433917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59.6245049916512</c:v>
                </c:pt>
              </c:numCache>
            </c:numRef>
          </c:xVal>
          <c:yVal>
            <c:numRef>
              <c:f>Sheet1!$B$163:$B$164</c:f>
              <c:numCache>
                <c:formatCode>General</c:formatCode>
                <c:ptCount val="2"/>
                <c:pt idx="0">
                  <c:v>0.2062181521145252</c:v>
                </c:pt>
                <c:pt idx="1">
                  <c:v>0.20621815211452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59.6245049916512</c:v>
                </c:pt>
                <c:pt idx="1">
                  <c:v>959.6245049916512</c:v>
                </c:pt>
              </c:numCache>
            </c:numRef>
          </c:xVal>
          <c:yVal>
            <c:numRef>
              <c:f>Sheet1!$B$167:$B$168</c:f>
              <c:numCache>
                <c:formatCode>General</c:formatCode>
                <c:ptCount val="2"/>
                <c:pt idx="0">
                  <c:v>0.20621815211452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65.0000236705669</c:v>
                </c:pt>
              </c:numCache>
            </c:numRef>
          </c:xVal>
          <c:yVal>
            <c:numRef>
              <c:f>Sheet1!$B$171:$B$172</c:f>
              <c:numCache>
                <c:formatCode>General</c:formatCode>
                <c:ptCount val="2"/>
                <c:pt idx="0">
                  <c:v>0.19040091968450995</c:v>
                </c:pt>
                <c:pt idx="1">
                  <c:v>0.1904009196845099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65.0000236705669</c:v>
                </c:pt>
                <c:pt idx="1">
                  <c:v>1065.0000236705669</c:v>
                </c:pt>
              </c:numCache>
            </c:numRef>
          </c:xVal>
          <c:yVal>
            <c:numRef>
              <c:f>Sheet1!$B$175:$B$176</c:f>
              <c:numCache>
                <c:formatCode>General</c:formatCode>
                <c:ptCount val="2"/>
                <c:pt idx="0">
                  <c:v>0.190400919684509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25.3397920654834</c:v>
                </c:pt>
              </c:numCache>
            </c:numRef>
          </c:xVal>
          <c:yVal>
            <c:numRef>
              <c:f>Sheet1!$B$179:$B$180</c:f>
              <c:numCache>
                <c:formatCode>General</c:formatCode>
                <c:ptCount val="2"/>
                <c:pt idx="0">
                  <c:v>0.16633336190379883</c:v>
                </c:pt>
                <c:pt idx="1">
                  <c:v>0.1663333619037988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25.3397920654834</c:v>
                </c:pt>
                <c:pt idx="1">
                  <c:v>1225.3397920654834</c:v>
                </c:pt>
              </c:numCache>
            </c:numRef>
          </c:xVal>
          <c:yVal>
            <c:numRef>
              <c:f>Sheet1!$B$183:$B$184</c:f>
              <c:numCache>
                <c:formatCode>General</c:formatCode>
                <c:ptCount val="2"/>
                <c:pt idx="0">
                  <c:v>0.1663333619037988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8.4433</c:v>
                </c:pt>
                <c:pt idx="1">
                  <c:v>1122.0109</c:v>
                </c:pt>
                <c:pt idx="2">
                  <c:v>1110.1645</c:v>
                </c:pt>
                <c:pt idx="3">
                  <c:v>1125.5175</c:v>
                </c:pt>
                <c:pt idx="4">
                  <c:v>1125.9547</c:v>
                </c:pt>
                <c:pt idx="5">
                  <c:v>1144.0119</c:v>
                </c:pt>
                <c:pt idx="6">
                  <c:v>1079.4272</c:v>
                </c:pt>
                <c:pt idx="7">
                  <c:v>1121.5717</c:v>
                </c:pt>
                <c:pt idx="8">
                  <c:v>1199.8703</c:v>
                </c:pt>
                <c:pt idx="9">
                  <c:v>1172.2325</c:v>
                </c:pt>
                <c:pt idx="10">
                  <c:v>1183.9893</c:v>
                </c:pt>
                <c:pt idx="11">
                  <c:v>1054.8777</c:v>
                </c:pt>
                <c:pt idx="12">
                  <c:v>1075.6816</c:v>
                </c:pt>
                <c:pt idx="13">
                  <c:v>1125.8916</c:v>
                </c:pt>
                <c:pt idx="14">
                  <c:v>1132.5514</c:v>
                </c:pt>
                <c:pt idx="15">
                  <c:v>1166.5818</c:v>
                </c:pt>
                <c:pt idx="16">
                  <c:v>1207.5535</c:v>
                </c:pt>
                <c:pt idx="17">
                  <c:v>1180.2406</c:v>
                </c:pt>
                <c:pt idx="18">
                  <c:v>1161.6626</c:v>
                </c:pt>
                <c:pt idx="19">
                  <c:v>1264.1924</c:v>
                </c:pt>
                <c:pt idx="20">
                  <c:v>1251.5852</c:v>
                </c:pt>
                <c:pt idx="21">
                  <c:v>1193.7526</c:v>
                </c:pt>
                <c:pt idx="22">
                  <c:v>1149.8687</c:v>
                </c:pt>
                <c:pt idx="23">
                  <c:v>1144.5925</c:v>
                </c:pt>
                <c:pt idx="24">
                  <c:v>1151.4388</c:v>
                </c:pt>
                <c:pt idx="25">
                  <c:v>1087.1338</c:v>
                </c:pt>
                <c:pt idx="26">
                  <c:v>1174.517</c:v>
                </c:pt>
                <c:pt idx="27">
                  <c:v>1191.0267</c:v>
                </c:pt>
                <c:pt idx="28">
                  <c:v>1176.0542</c:v>
                </c:pt>
                <c:pt idx="29">
                  <c:v>1181.2375</c:v>
                </c:pt>
                <c:pt idx="30">
                  <c:v>1159.4911</c:v>
                </c:pt>
                <c:pt idx="31">
                  <c:v>1070.3803</c:v>
                </c:pt>
                <c:pt idx="32">
                  <c:v>1109.3997</c:v>
                </c:pt>
                <c:pt idx="33">
                  <c:v>1161.3775</c:v>
                </c:pt>
                <c:pt idx="34">
                  <c:v>1202.4617</c:v>
                </c:pt>
                <c:pt idx="35">
                  <c:v>1172.9848</c:v>
                </c:pt>
                <c:pt idx="36">
                  <c:v>1194.147</c:v>
                </c:pt>
                <c:pt idx="37">
                  <c:v>1239.6882</c:v>
                </c:pt>
                <c:pt idx="38">
                  <c:v>1217.6795</c:v>
                </c:pt>
                <c:pt idx="39">
                  <c:v>1181.6465</c:v>
                </c:pt>
                <c:pt idx="40">
                  <c:v>1218.0632</c:v>
                </c:pt>
                <c:pt idx="41">
                  <c:v>1272.2565</c:v>
                </c:pt>
                <c:pt idx="42">
                  <c:v>1249.9871</c:v>
                </c:pt>
                <c:pt idx="43">
                  <c:v>1255.3505</c:v>
                </c:pt>
                <c:pt idx="44">
                  <c:v>1193.7811</c:v>
                </c:pt>
                <c:pt idx="45">
                  <c:v>1144.1968</c:v>
                </c:pt>
                <c:pt idx="46">
                  <c:v>1130.7881</c:v>
                </c:pt>
                <c:pt idx="47">
                  <c:v>1116.1609</c:v>
                </c:pt>
                <c:pt idx="48">
                  <c:v>1100.292</c:v>
                </c:pt>
                <c:pt idx="49">
                  <c:v>1127.8783</c:v>
                </c:pt>
                <c:pt idx="50">
                  <c:v>1031.4544</c:v>
                </c:pt>
                <c:pt idx="51">
                  <c:v>994.7733</c:v>
                </c:pt>
                <c:pt idx="52">
                  <c:v>1065.0000236705669</c:v>
                </c:pt>
                <c:pt idx="53">
                  <c:v>959.6245049916512</c:v>
                </c:pt>
                <c:pt idx="54">
                  <c:v>1225.3397920654834</c:v>
                </c:pt>
              </c:numCache>
            </c:numRef>
          </c:xVal>
          <c:yVal>
            <c:numRef>
              <c:f>Sheet1!$B$187:$B$241</c:f>
              <c:numCache>
                <c:formatCode>General</c:formatCode>
                <c:ptCount val="55"/>
                <c:pt idx="0">
                  <c:v>0.17937682806732758</c:v>
                </c:pt>
                <c:pt idx="1">
                  <c:v>0.18184338854970067</c:v>
                </c:pt>
                <c:pt idx="2">
                  <c:v>0.1836215744567127</c:v>
                </c:pt>
                <c:pt idx="3">
                  <c:v>0.1813170356744366</c:v>
                </c:pt>
                <c:pt idx="4">
                  <c:v>0.18125141043144752</c:v>
                </c:pt>
                <c:pt idx="5">
                  <c:v>0.17854096180907297</c:v>
                </c:pt>
                <c:pt idx="6">
                  <c:v>0.18823535026029872</c:v>
                </c:pt>
                <c:pt idx="7">
                  <c:v>0.18190931399965676</c:v>
                </c:pt>
                <c:pt idx="8">
                  <c:v>0.17015642138597042</c:v>
                </c:pt>
                <c:pt idx="9">
                  <c:v>0.17430495144242789</c:v>
                </c:pt>
                <c:pt idx="10">
                  <c:v>0.17254021480753803</c:v>
                </c:pt>
                <c:pt idx="11">
                  <c:v>0.1919203157286429</c:v>
                </c:pt>
                <c:pt idx="12">
                  <c:v>0.1887975778681209</c:v>
                </c:pt>
                <c:pt idx="13">
                  <c:v>0.18126088196125678</c:v>
                </c:pt>
                <c:pt idx="14">
                  <c:v>0.18026122278179982</c:v>
                </c:pt>
                <c:pt idx="15">
                  <c:v>0.17515314119667838</c:v>
                </c:pt>
                <c:pt idx="16">
                  <c:v>0.16900314630149288</c:v>
                </c:pt>
                <c:pt idx="17">
                  <c:v>0.17310290773615902</c:v>
                </c:pt>
                <c:pt idx="18">
                  <c:v>0.1758915302527438</c:v>
                </c:pt>
                <c:pt idx="19">
                  <c:v>0.1605014501095135</c:v>
                </c:pt>
                <c:pt idx="20">
                  <c:v>0.16239383474677732</c:v>
                </c:pt>
                <c:pt idx="21">
                  <c:v>0.17107470946701847</c:v>
                </c:pt>
                <c:pt idx="22">
                  <c:v>0.17766183572687178</c:v>
                </c:pt>
                <c:pt idx="23">
                  <c:v>0.17845381172654906</c:v>
                </c:pt>
                <c:pt idx="24">
                  <c:v>0.17742615824741814</c:v>
                </c:pt>
                <c:pt idx="25">
                  <c:v>0.18707856275430712</c:v>
                </c:pt>
                <c:pt idx="26">
                  <c:v>0.17396204003435714</c:v>
                </c:pt>
                <c:pt idx="27">
                  <c:v>0.17148387655270902</c:v>
                </c:pt>
                <c:pt idx="28">
                  <c:v>0.1737313009595109</c:v>
                </c:pt>
                <c:pt idx="29">
                  <c:v>0.17295326957345136</c:v>
                </c:pt>
                <c:pt idx="30">
                  <c:v>0.1762174799671783</c:v>
                </c:pt>
                <c:pt idx="31">
                  <c:v>0.18959332146523417</c:v>
                </c:pt>
                <c:pt idx="32">
                  <c:v>0.18373637360089853</c:v>
                </c:pt>
                <c:pt idx="33">
                  <c:v>0.17593432475589152</c:v>
                </c:pt>
                <c:pt idx="34">
                  <c:v>0.16976744321881154</c:v>
                </c:pt>
                <c:pt idx="35">
                  <c:v>0.17419202859178592</c:v>
                </c:pt>
                <c:pt idx="36">
                  <c:v>0.1710155086531235</c:v>
                </c:pt>
                <c:pt idx="37">
                  <c:v>0.16417961589005478</c:v>
                </c:pt>
                <c:pt idx="38">
                  <c:v>0.1674831984275055</c:v>
                </c:pt>
                <c:pt idx="39">
                  <c:v>0.17289187724869717</c:v>
                </c:pt>
                <c:pt idx="40">
                  <c:v>0.16742560372088403</c:v>
                </c:pt>
                <c:pt idx="41">
                  <c:v>0.15929100060816828</c:v>
                </c:pt>
                <c:pt idx="42">
                  <c:v>0.16263371512376912</c:v>
                </c:pt>
                <c:pt idx="43">
                  <c:v>0.16182865010033007</c:v>
                </c:pt>
                <c:pt idx="44">
                  <c:v>0.17107043151773854</c:v>
                </c:pt>
                <c:pt idx="45">
                  <c:v>0.1785132076749726</c:v>
                </c:pt>
                <c:pt idx="46">
                  <c:v>0.18052590025426693</c:v>
                </c:pt>
                <c:pt idx="47">
                  <c:v>0.182721493928214</c:v>
                </c:pt>
                <c:pt idx="48">
                  <c:v>0.1851034710976312</c:v>
                </c:pt>
                <c:pt idx="49">
                  <c:v>0.18096267137057429</c:v>
                </c:pt>
                <c:pt idx="50">
                  <c:v>0.19543623465386195</c:v>
                </c:pt>
                <c:pt idx="51">
                  <c:v>0.20094219554271425</c:v>
                </c:pt>
                <c:pt idx="52">
                  <c:v>0.19040091968450995</c:v>
                </c:pt>
                <c:pt idx="53">
                  <c:v>0.2062181521145252</c:v>
                </c:pt>
                <c:pt idx="54">
                  <c:v>0.1663333619037988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27.0"/>
          <c:min val="55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045482239256416"/>
          <c:min val="0.106804827194035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1.7375907006417242</c:v>
                </c:pt>
                <c:pt idx="2">
                  <c:v>0.0</c:v>
                </c:pt>
                <c:pt idx="3">
                  <c:v>2.136910717314774</c:v>
                </c:pt>
                <c:pt idx="4">
                  <c:v>2.3444880396632213</c:v>
                </c:pt>
                <c:pt idx="5">
                  <c:v>1.6568914321370294</c:v>
                </c:pt>
                <c:pt idx="6">
                  <c:v>1.1401767025629574</c:v>
                </c:pt>
                <c:pt idx="7">
                  <c:v>1.3349451656667775</c:v>
                </c:pt>
                <c:pt idx="8">
                  <c:v>1.596941769519809</c:v>
                </c:pt>
                <c:pt idx="9">
                  <c:v>1.3402375720048998</c:v>
                </c:pt>
                <c:pt idx="10">
                  <c:v>1.3897607927837583</c:v>
                </c:pt>
                <c:pt idx="11">
                  <c:v>1.7415167326220522</c:v>
                </c:pt>
                <c:pt idx="12">
                  <c:v>1.417933557693053</c:v>
                </c:pt>
                <c:pt idx="13">
                  <c:v>1.4997744062231595</c:v>
                </c:pt>
                <c:pt idx="14">
                  <c:v>1.431880303413633</c:v>
                </c:pt>
                <c:pt idx="15">
                  <c:v>1.3636290443098926</c:v>
                </c:pt>
                <c:pt idx="16">
                  <c:v>1.3028225255512942</c:v>
                </c:pt>
                <c:pt idx="17">
                  <c:v>1.062546007878196</c:v>
                </c:pt>
                <c:pt idx="18">
                  <c:v>0.7974344502698619</c:v>
                </c:pt>
                <c:pt idx="19">
                  <c:v>0.9782311469609213</c:v>
                </c:pt>
                <c:pt idx="20">
                  <c:v>0.9045436055322474</c:v>
                </c:pt>
                <c:pt idx="21">
                  <c:v>0.8510238940128777</c:v>
                </c:pt>
                <c:pt idx="22">
                  <c:v>0.4043297611531814</c:v>
                </c:pt>
                <c:pt idx="23">
                  <c:v>0.5538653353542885</c:v>
                </c:pt>
                <c:pt idx="24">
                  <c:v>2.065018661478989</c:v>
                </c:pt>
                <c:pt idx="25">
                  <c:v>2.242112459099827</c:v>
                </c:pt>
                <c:pt idx="26">
                  <c:v>2.2400334929152903</c:v>
                </c:pt>
                <c:pt idx="27">
                  <c:v>1.657739929924945</c:v>
                </c:pt>
                <c:pt idx="28">
                  <c:v>2.3119775269346436</c:v>
                </c:pt>
                <c:pt idx="29">
                  <c:v>2.2626500779235195</c:v>
                </c:pt>
                <c:pt idx="30">
                  <c:v>1.967353225843718</c:v>
                </c:pt>
                <c:pt idx="31">
                  <c:v>2.0920337242073272</c:v>
                </c:pt>
                <c:pt idx="32">
                  <c:v>2.2571814743274703</c:v>
                </c:pt>
                <c:pt idx="33">
                  <c:v>2.0871217602548384</c:v>
                </c:pt>
                <c:pt idx="34">
                  <c:v>1.8974765566068441</c:v>
                </c:pt>
                <c:pt idx="35">
                  <c:v>2.7280466432207437</c:v>
                </c:pt>
                <c:pt idx="36">
                  <c:v>2.8316295431797074</c:v>
                </c:pt>
                <c:pt idx="37">
                  <c:v>2.3633907918877797</c:v>
                </c:pt>
                <c:pt idx="38">
                  <c:v>2.134112215518364</c:v>
                </c:pt>
                <c:pt idx="39">
                  <c:v>2.3456344488263583</c:v>
                </c:pt>
                <c:pt idx="40">
                  <c:v>2.106838924003668</c:v>
                </c:pt>
                <c:pt idx="41">
                  <c:v>2.5328282486614984</c:v>
                </c:pt>
                <c:pt idx="42">
                  <c:v>2.5356834971108184</c:v>
                </c:pt>
                <c:pt idx="43">
                  <c:v>2.7879460493193062</c:v>
                </c:pt>
                <c:pt idx="44">
                  <c:v>2.858287101029639</c:v>
                </c:pt>
                <c:pt idx="45">
                  <c:v>2.283896098478675</c:v>
                </c:pt>
                <c:pt idx="46">
                  <c:v>2.4432940324934376</c:v>
                </c:pt>
                <c:pt idx="47">
                  <c:v>2.404689610097927</c:v>
                </c:pt>
                <c:pt idx="48">
                  <c:v>2.5542715139834593</c:v>
                </c:pt>
                <c:pt idx="49">
                  <c:v>2.8495526641976356</c:v>
                </c:pt>
                <c:pt idx="50">
                  <c:v>2.440261843910239</c:v>
                </c:pt>
                <c:pt idx="51">
                  <c:v>2.519727276838578</c:v>
                </c:pt>
                <c:pt idx="52">
                  <c:v>2.7638241398060273</c:v>
                </c:pt>
                <c:pt idx="53">
                  <c:v>2.7627448145736895</c:v>
                </c:pt>
              </c:numCache>
            </c:numRef>
          </c:xVal>
          <c:yVal>
            <c:numRef>
              <c:f>Sheet1!$B$2:$B$55</c:f>
              <c:numCache>
                <c:formatCode>General</c:formatCode>
                <c:ptCount val="54"/>
                <c:pt idx="0">
                  <c:v>0.0</c:v>
                </c:pt>
                <c:pt idx="1">
                  <c:v>3.0490593651858403e-05</c:v>
                </c:pt>
                <c:pt idx="2">
                  <c:v>0.0</c:v>
                </c:pt>
                <c:pt idx="3">
                  <c:v>4.098360655737705e-05</c:v>
                </c:pt>
                <c:pt idx="4">
                  <c:v>4.1983290650321174e-05</c:v>
                </c:pt>
                <c:pt idx="5">
                  <c:v>8.710422019946867e-05</c:v>
                </c:pt>
                <c:pt idx="6">
                  <c:v>7.334873656801261e-05</c:v>
                </c:pt>
                <c:pt idx="7">
                  <c:v>0.00010172250101722501</c:v>
                </c:pt>
                <c:pt idx="8">
                  <c:v>0.00013319717621986413</c:v>
                </c:pt>
                <c:pt idx="9">
                  <c:v>0.0002985594506506108</c:v>
                </c:pt>
                <c:pt idx="10">
                  <c:v>0.000343300490919702</c:v>
                </c:pt>
                <c:pt idx="11">
                  <c:v>0.0002573422974233602</c:v>
                </c:pt>
                <c:pt idx="12">
                  <c:v>0.0003287998804364071</c:v>
                </c:pt>
                <c:pt idx="13">
                  <c:v>0.00032409180636987716</c:v>
                </c:pt>
                <c:pt idx="14">
                  <c:v>0.0003517523663341008</c:v>
                </c:pt>
                <c:pt idx="15">
                  <c:v>0.0003256056264652253</c:v>
                </c:pt>
                <c:pt idx="16">
                  <c:v>0.0003461884650003462</c:v>
                </c:pt>
                <c:pt idx="17">
                  <c:v>0.0005456453305351522</c:v>
                </c:pt>
                <c:pt idx="18">
                  <c:v>0.0006545930613135501</c:v>
                </c:pt>
                <c:pt idx="19">
                  <c:v>0.00041851948731362804</c:v>
                </c:pt>
                <c:pt idx="20">
                  <c:v>0.0005812263876780006</c:v>
                </c:pt>
                <c:pt idx="21">
                  <c:v>0.0005997491957908511</c:v>
                </c:pt>
                <c:pt idx="22">
                  <c:v>0.0008912126433367002</c:v>
                </c:pt>
                <c:pt idx="23">
                  <c:v>0.0008319929003272505</c:v>
                </c:pt>
                <c:pt idx="24">
                  <c:v>0.0007712082262210797</c:v>
                </c:pt>
                <c:pt idx="25">
                  <c:v>0.0011096469935501767</c:v>
                </c:pt>
                <c:pt idx="26">
                  <c:v>0.001448960370933855</c:v>
                </c:pt>
                <c:pt idx="27">
                  <c:v>0.0019232310281272539</c:v>
                </c:pt>
                <c:pt idx="28">
                  <c:v>0.0013378821325841193</c:v>
                </c:pt>
                <c:pt idx="29">
                  <c:v>0.0012786863180563968</c:v>
                </c:pt>
                <c:pt idx="30">
                  <c:v>0.0016978922716627636</c:v>
                </c:pt>
                <c:pt idx="31">
                  <c:v>0.0018280143194455024</c:v>
                </c:pt>
                <c:pt idx="32">
                  <c:v>0.001646161843701265</c:v>
                </c:pt>
                <c:pt idx="33">
                  <c:v>0.0016679834957422526</c:v>
                </c:pt>
                <c:pt idx="34">
                  <c:v>0.0018284321194575652</c:v>
                </c:pt>
                <c:pt idx="35">
                  <c:v>0.0016132749481447338</c:v>
                </c:pt>
                <c:pt idx="36">
                  <c:v>0.0014814001975200263</c:v>
                </c:pt>
                <c:pt idx="37">
                  <c:v>0.002191587133262637</c:v>
                </c:pt>
                <c:pt idx="38">
                  <c:v>0.0028035199750798224</c:v>
                </c:pt>
                <c:pt idx="39">
                  <c:v>0.0024772255074316765</c:v>
                </c:pt>
                <c:pt idx="40">
                  <c:v>0.0027209826634533156</c:v>
                </c:pt>
                <c:pt idx="41">
                  <c:v>0.0021604938271604936</c:v>
                </c:pt>
                <c:pt idx="42">
                  <c:v>0.0021921812203142127</c:v>
                </c:pt>
                <c:pt idx="43">
                  <c:v>0.002098564852423504</c:v>
                </c:pt>
                <c:pt idx="44">
                  <c:v>0.0022365805168986083</c:v>
                </c:pt>
                <c:pt idx="45">
                  <c:v>0.002911208151382824</c:v>
                </c:pt>
                <c:pt idx="46">
                  <c:v>0.0034041028397384216</c:v>
                </c:pt>
                <c:pt idx="47">
                  <c:v>0.0032136154459212795</c:v>
                </c:pt>
                <c:pt idx="48">
                  <c:v>0.002910157104721894</c:v>
                </c:pt>
                <c:pt idx="49">
                  <c:v>0.0022968516726002003</c:v>
                </c:pt>
                <c:pt idx="50">
                  <c:v>0.0032512371964552884</c:v>
                </c:pt>
                <c:pt idx="51">
                  <c:v>0.002970982052012535</c:v>
                </c:pt>
                <c:pt idx="52">
                  <c:v>0.0025500265627766954</c:v>
                </c:pt>
                <c:pt idx="53">
                  <c:v>0.002119003220884896</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2.7655905971123307</c:v>
                </c:pt>
                <c:pt idx="1">
                  <c:v>2.203858453046008</c:v>
                </c:pt>
                <c:pt idx="2">
                  <c:v>2.6014848610762993</c:v>
                </c:pt>
                <c:pt idx="3">
                  <c:v>2.1099292847572197</c:v>
                </c:pt>
                <c:pt idx="4">
                  <c:v>2.585422555135484</c:v>
                </c:pt>
                <c:pt idx="5">
                  <c:v>2.849730603093031</c:v>
                </c:pt>
                <c:pt idx="6">
                  <c:v>2.8773306029924006</c:v>
                </c:pt>
                <c:pt idx="7">
                  <c:v>2.5883973411688688</c:v>
                </c:pt>
                <c:pt idx="8">
                  <c:v>2.471553256289272</c:v>
                </c:pt>
                <c:pt idx="9">
                  <c:v>2.5050041364198843</c:v>
                </c:pt>
                <c:pt idx="10">
                  <c:v>2.6418648860089022</c:v>
                </c:pt>
                <c:pt idx="11">
                  <c:v>2.7022300740862675</c:v>
                </c:pt>
                <c:pt idx="12">
                  <c:v>2.5255277692562053</c:v>
                </c:pt>
                <c:pt idx="13">
                  <c:v>2.070975072339683</c:v>
                </c:pt>
                <c:pt idx="14">
                  <c:v>2.0590797415007347</c:v>
                </c:pt>
                <c:pt idx="15">
                  <c:v>2.1588588076364355</c:v>
                </c:pt>
                <c:pt idx="16">
                  <c:v>2.229981378636009</c:v>
                </c:pt>
                <c:pt idx="17">
                  <c:v>1.744739039854277</c:v>
                </c:pt>
                <c:pt idx="18">
                  <c:v>2.4924182446373075</c:v>
                </c:pt>
                <c:pt idx="19">
                  <c:v>2.4595631793303476</c:v>
                </c:pt>
                <c:pt idx="20">
                  <c:v>2.210607072281331</c:v>
                </c:pt>
                <c:pt idx="21">
                  <c:v>2.0571365157606802</c:v>
                </c:pt>
                <c:pt idx="22">
                  <c:v>2.1619156968284643</c:v>
                </c:pt>
                <c:pt idx="23">
                  <c:v>1.677592823008279</c:v>
                </c:pt>
                <c:pt idx="24">
                  <c:v>2.1714876786349286</c:v>
                </c:pt>
                <c:pt idx="25">
                  <c:v>2.1598541291043913</c:v>
                </c:pt>
                <c:pt idx="26">
                  <c:v>2.2301978229874586</c:v>
                </c:pt>
                <c:pt idx="27">
                  <c:v>2.124958777690431</c:v>
                </c:pt>
                <c:pt idx="28">
                  <c:v>2.193670626815762</c:v>
                </c:pt>
                <c:pt idx="29">
                  <c:v>1.9689485106946523</c:v>
                </c:pt>
                <c:pt idx="30">
                  <c:v>1.941910287159405</c:v>
                </c:pt>
                <c:pt idx="31">
                  <c:v>2.06048842544492</c:v>
                </c:pt>
                <c:pt idx="32">
                  <c:v>2.3143453804103022</c:v>
                </c:pt>
                <c:pt idx="33">
                  <c:v>2.616621216768203</c:v>
                </c:pt>
                <c:pt idx="34">
                  <c:v>2.732061541202814</c:v>
                </c:pt>
                <c:pt idx="35">
                  <c:v>2.1749783837756294</c:v>
                </c:pt>
                <c:pt idx="36">
                  <c:v>2.121586746001389</c:v>
                </c:pt>
                <c:pt idx="37">
                  <c:v>2.0979838530781985</c:v>
                </c:pt>
                <c:pt idx="38">
                  <c:v>1.8212119884304367</c:v>
                </c:pt>
                <c:pt idx="39">
                  <c:v>1.7710272991587885</c:v>
                </c:pt>
                <c:pt idx="40">
                  <c:v>1.809383638515179</c:v>
                </c:pt>
                <c:pt idx="41">
                  <c:v>1.9236014100927878</c:v>
                </c:pt>
                <c:pt idx="42">
                  <c:v>1.7829404061639982</c:v>
                </c:pt>
                <c:pt idx="43">
                  <c:v>2.002862066984346</c:v>
                </c:pt>
                <c:pt idx="44">
                  <c:v>2.638215172497783</c:v>
                </c:pt>
                <c:pt idx="45">
                  <c:v>2.803402484278291</c:v>
                </c:pt>
                <c:pt idx="46">
                  <c:v>2.6527957626162446</c:v>
                </c:pt>
                <c:pt idx="47">
                  <c:v>2.705163659176425</c:v>
                </c:pt>
                <c:pt idx="48">
                  <c:v>2.561346588301928</c:v>
                </c:pt>
                <c:pt idx="49">
                  <c:v>2.7449211485766765</c:v>
                </c:pt>
                <c:pt idx="50">
                  <c:v>3.0035261763824823</c:v>
                </c:pt>
                <c:pt idx="51">
                  <c:v>3.0523762007753032</c:v>
                </c:pt>
              </c:numCache>
            </c:numRef>
          </c:xVal>
          <c:yVal>
            <c:numRef>
              <c:f>Sheet1!$B$58:$B$109</c:f>
              <c:numCache>
                <c:formatCode>General</c:formatCode>
                <c:ptCount val="52"/>
                <c:pt idx="0">
                  <c:v>0.002066348574219484</c:v>
                </c:pt>
                <c:pt idx="1">
                  <c:v>0.00257844420643421</c:v>
                </c:pt>
                <c:pt idx="2">
                  <c:v>0.0023108434578621197</c:v>
                </c:pt>
                <c:pt idx="3">
                  <c:v>0.0025841648122891395</c:v>
                </c:pt>
                <c:pt idx="4">
                  <c:v>0.002413957060824403</c:v>
                </c:pt>
                <c:pt idx="5">
                  <c:v>0.00214390491593636</c:v>
                </c:pt>
                <c:pt idx="6">
                  <c:v>0.0022257135375752814</c:v>
                </c:pt>
                <c:pt idx="7">
                  <c:v>0.0026819238333631325</c:v>
                </c:pt>
                <c:pt idx="8">
                  <c:v>0.0032357626443647947</c:v>
                </c:pt>
                <c:pt idx="9">
                  <c:v>0.003254044639992667</c:v>
                </c:pt>
                <c:pt idx="10">
                  <c:v>0.0030680302356602936</c:v>
                </c:pt>
                <c:pt idx="11">
                  <c:v>0.003079560607022668</c:v>
                </c:pt>
                <c:pt idx="12">
                  <c:v>0.003288244525820193</c:v>
                </c:pt>
                <c:pt idx="13">
                  <c:v>0.004943332529539426</c:v>
                </c:pt>
                <c:pt idx="14">
                  <c:v>0.004891591750396615</c:v>
                </c:pt>
                <c:pt idx="15">
                  <c:v>0.004721480351011064</c:v>
                </c:pt>
                <c:pt idx="16">
                  <c:v>0.004641421859964906</c:v>
                </c:pt>
                <c:pt idx="17">
                  <c:v>0.006181359899177819</c:v>
                </c:pt>
                <c:pt idx="18">
                  <c:v>0.0032485485208736523</c:v>
                </c:pt>
                <c:pt idx="19">
                  <c:v>0.0029625639644492324</c:v>
                </c:pt>
                <c:pt idx="20">
                  <c:v>0.0036864279265723743</c:v>
                </c:pt>
                <c:pt idx="21">
                  <c:v>0.004398563734290844</c:v>
                </c:pt>
                <c:pt idx="22">
                  <c:v>0.003797580146604257</c:v>
                </c:pt>
                <c:pt idx="23">
                  <c:v>0.004160887656033287</c:v>
                </c:pt>
                <c:pt idx="24">
                  <c:v>0.0036592630414432814</c:v>
                </c:pt>
                <c:pt idx="25">
                  <c:v>0.003847530422333572</c:v>
                </c:pt>
                <c:pt idx="26">
                  <c:v>0.0037254739630764137</c:v>
                </c:pt>
                <c:pt idx="27">
                  <c:v>0.004029249365766304</c:v>
                </c:pt>
                <c:pt idx="28">
                  <c:v>0.003172246220302376</c:v>
                </c:pt>
                <c:pt idx="29">
                  <c:v>0.003813387423935091</c:v>
                </c:pt>
                <c:pt idx="30">
                  <c:v>0.003781512605042017</c:v>
                </c:pt>
                <c:pt idx="31">
                  <c:v>0.004042400287459576</c:v>
                </c:pt>
                <c:pt idx="32">
                  <c:v>0.003339027799347725</c:v>
                </c:pt>
                <c:pt idx="33">
                  <c:v>0.002659896022246403</c:v>
                </c:pt>
                <c:pt idx="34">
                  <c:v>0.002619224116629602</c:v>
                </c:pt>
                <c:pt idx="35">
                  <c:v>0.0035957842529448234</c:v>
                </c:pt>
                <c:pt idx="36">
                  <c:v>0.004312457120454768</c:v>
                </c:pt>
                <c:pt idx="37">
                  <c:v>0.004406451044328898</c:v>
                </c:pt>
                <c:pt idx="38">
                  <c:v>0.005291005291005291</c:v>
                </c:pt>
                <c:pt idx="39">
                  <c:v>0.004871060171919771</c:v>
                </c:pt>
                <c:pt idx="40">
                  <c:v>0.004396678065461651</c:v>
                </c:pt>
                <c:pt idx="41">
                  <c:v>0.0037574159525379036</c:v>
                </c:pt>
                <c:pt idx="42">
                  <c:v>0.004251827539907504</c:v>
                </c:pt>
                <c:pt idx="43">
                  <c:v>0.003289473684210526</c:v>
                </c:pt>
                <c:pt idx="44">
                  <c:v>0.002335818884197287</c:v>
                </c:pt>
                <c:pt idx="45">
                  <c:v>0.001866649200943149</c:v>
                </c:pt>
                <c:pt idx="46">
                  <c:v>0.0020526723470178157</c:v>
                </c:pt>
                <c:pt idx="47">
                  <c:v>0.0019118389726570954</c:v>
                </c:pt>
                <c:pt idx="48">
                  <c:v>0.0021572387344199425</c:v>
                </c:pt>
                <c:pt idx="49">
                  <c:v>0.0019169861643607267</c:v>
                </c:pt>
                <c:pt idx="50">
                  <c:v>0.0015593003813710571</c:v>
                </c:pt>
                <c:pt idx="51">
                  <c:v>0.002024496406518878</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2.060992129676145</c:v>
                </c:pt>
              </c:numCache>
            </c:numRef>
          </c:xVal>
          <c:yVal>
            <c:numRef>
              <c:f>Sheet1!$B$112:$B$113</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2.060992129676145</c:v>
                </c:pt>
                <c:pt idx="1">
                  <c:v>2.060992129676145</c:v>
                </c:pt>
              </c:numCache>
            </c:numRef>
          </c:xVal>
          <c:yVal>
            <c:numRef>
              <c:f>Sheet1!$B$116:$B$117</c:f>
              <c:numCache>
                <c:formatCode>General</c:formatCode>
                <c:ptCount val="2"/>
                <c:pt idx="0">
                  <c:v>0.004028090041905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2.060992129676145</c:v>
                </c:pt>
              </c:numCache>
            </c:numRef>
          </c:xVal>
          <c:yVal>
            <c:numRef>
              <c:f>Sheet1!$B$120:$B$121</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2.060992129676145</c:v>
                </c:pt>
                <c:pt idx="1">
                  <c:v>2.060992129676145</c:v>
                </c:pt>
              </c:numCache>
            </c:numRef>
          </c:xVal>
          <c:yVal>
            <c:numRef>
              <c:f>Sheet1!$B$124:$B$125</c:f>
              <c:numCache>
                <c:formatCode>General</c:formatCode>
                <c:ptCount val="2"/>
                <c:pt idx="0">
                  <c:v>0.0040280900419055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2.5552647153909906</c:v>
                </c:pt>
              </c:numCache>
            </c:numRef>
          </c:xVal>
          <c:yVal>
            <c:numRef>
              <c:f>Sheet1!$B$128:$B$129</c:f>
              <c:numCache>
                <c:formatCode>General</c:formatCode>
                <c:ptCount val="2"/>
                <c:pt idx="0">
                  <c:v>0.0027993428081171776</c:v>
                </c:pt>
                <c:pt idx="1">
                  <c:v>0.0027993428081171776</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2.5552647153909906</c:v>
                </c:pt>
                <c:pt idx="1">
                  <c:v>2.5552647153909906</c:v>
                </c:pt>
              </c:numCache>
            </c:numRef>
          </c:xVal>
          <c:yVal>
            <c:numRef>
              <c:f>Sheet1!$B$132:$B$133</c:f>
              <c:numCache>
                <c:formatCode>General</c:formatCode>
                <c:ptCount val="2"/>
                <c:pt idx="0">
                  <c:v>0.002799342808117177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2.7655905971123307</c:v>
                </c:pt>
                <c:pt idx="1">
                  <c:v>2.203858453046008</c:v>
                </c:pt>
                <c:pt idx="2">
                  <c:v>2.6014848610762993</c:v>
                </c:pt>
                <c:pt idx="3">
                  <c:v>2.1099292847572197</c:v>
                </c:pt>
                <c:pt idx="4">
                  <c:v>2.585422555135484</c:v>
                </c:pt>
                <c:pt idx="5">
                  <c:v>2.849730603093031</c:v>
                </c:pt>
                <c:pt idx="6">
                  <c:v>2.8773306029924006</c:v>
                </c:pt>
                <c:pt idx="7">
                  <c:v>2.5883973411688688</c:v>
                </c:pt>
                <c:pt idx="8">
                  <c:v>2.471553256289272</c:v>
                </c:pt>
                <c:pt idx="9">
                  <c:v>2.5050041364198843</c:v>
                </c:pt>
                <c:pt idx="10">
                  <c:v>2.6418648860089022</c:v>
                </c:pt>
                <c:pt idx="11">
                  <c:v>2.7022300740862675</c:v>
                </c:pt>
                <c:pt idx="12">
                  <c:v>2.5255277692562053</c:v>
                </c:pt>
                <c:pt idx="13">
                  <c:v>2.070975072339683</c:v>
                </c:pt>
                <c:pt idx="14">
                  <c:v>2.0590797415007347</c:v>
                </c:pt>
                <c:pt idx="15">
                  <c:v>2.1588588076364355</c:v>
                </c:pt>
                <c:pt idx="16">
                  <c:v>2.229981378636009</c:v>
                </c:pt>
                <c:pt idx="17">
                  <c:v>1.744739039854277</c:v>
                </c:pt>
                <c:pt idx="18">
                  <c:v>2.4924182446373075</c:v>
                </c:pt>
                <c:pt idx="19">
                  <c:v>2.4595631793303476</c:v>
                </c:pt>
                <c:pt idx="20">
                  <c:v>2.210607072281331</c:v>
                </c:pt>
                <c:pt idx="21">
                  <c:v>2.0571365157606802</c:v>
                </c:pt>
                <c:pt idx="22">
                  <c:v>2.1619156968284643</c:v>
                </c:pt>
                <c:pt idx="23">
                  <c:v>1.677592823008279</c:v>
                </c:pt>
                <c:pt idx="24">
                  <c:v>2.1714876786349286</c:v>
                </c:pt>
                <c:pt idx="25">
                  <c:v>2.1598541291043913</c:v>
                </c:pt>
                <c:pt idx="26">
                  <c:v>2.2301978229874586</c:v>
                </c:pt>
                <c:pt idx="27">
                  <c:v>2.124958777690431</c:v>
                </c:pt>
                <c:pt idx="28">
                  <c:v>2.193670626815762</c:v>
                </c:pt>
                <c:pt idx="29">
                  <c:v>1.9689485106946523</c:v>
                </c:pt>
                <c:pt idx="30">
                  <c:v>1.941910287159405</c:v>
                </c:pt>
                <c:pt idx="31">
                  <c:v>2.06048842544492</c:v>
                </c:pt>
                <c:pt idx="32">
                  <c:v>2.3143453804103022</c:v>
                </c:pt>
                <c:pt idx="33">
                  <c:v>2.616621216768203</c:v>
                </c:pt>
                <c:pt idx="34">
                  <c:v>2.732061541202814</c:v>
                </c:pt>
                <c:pt idx="35">
                  <c:v>2.1749783837756294</c:v>
                </c:pt>
                <c:pt idx="36">
                  <c:v>2.121586746001389</c:v>
                </c:pt>
                <c:pt idx="37">
                  <c:v>2.0979838530781985</c:v>
                </c:pt>
                <c:pt idx="38">
                  <c:v>1.8212119884304367</c:v>
                </c:pt>
                <c:pt idx="39">
                  <c:v>1.7710272991587885</c:v>
                </c:pt>
                <c:pt idx="40">
                  <c:v>1.809383638515179</c:v>
                </c:pt>
                <c:pt idx="41">
                  <c:v>1.9236014100927878</c:v>
                </c:pt>
                <c:pt idx="42">
                  <c:v>1.7829404061639982</c:v>
                </c:pt>
                <c:pt idx="43">
                  <c:v>2.002862066984346</c:v>
                </c:pt>
                <c:pt idx="44">
                  <c:v>2.638215172497783</c:v>
                </c:pt>
                <c:pt idx="45">
                  <c:v>2.803402484278291</c:v>
                </c:pt>
                <c:pt idx="46">
                  <c:v>2.6527957626162446</c:v>
                </c:pt>
                <c:pt idx="47">
                  <c:v>2.705163659176425</c:v>
                </c:pt>
                <c:pt idx="48">
                  <c:v>2.561346588301928</c:v>
                </c:pt>
                <c:pt idx="49">
                  <c:v>2.7449211485766765</c:v>
                </c:pt>
                <c:pt idx="50">
                  <c:v>3.0035261763824823</c:v>
                </c:pt>
                <c:pt idx="51">
                  <c:v>3.0523762007753032</c:v>
                </c:pt>
                <c:pt idx="52">
                  <c:v>2.060992129676145</c:v>
                </c:pt>
                <c:pt idx="53">
                  <c:v>2.060992129676145</c:v>
                </c:pt>
                <c:pt idx="54">
                  <c:v>2.5552647153909906</c:v>
                </c:pt>
              </c:numCache>
            </c:numRef>
          </c:xVal>
          <c:yVal>
            <c:numRef>
              <c:f>Sheet1!$B$136:$B$190</c:f>
              <c:numCache>
                <c:formatCode>General</c:formatCode>
                <c:ptCount val="55"/>
                <c:pt idx="0">
                  <c:v>0.002276478799818146</c:v>
                </c:pt>
                <c:pt idx="1">
                  <c:v>0.0036729285283687244</c:v>
                </c:pt>
                <c:pt idx="2">
                  <c:v>0.0026844408738454636</c:v>
                </c:pt>
                <c:pt idx="3">
                  <c:v>0.003906433701511128</c:v>
                </c:pt>
                <c:pt idx="4">
                  <c:v>0.0027243712979949123</c:v>
                </c:pt>
                <c:pt idx="5">
                  <c:v>0.0020673091986957272</c:v>
                </c:pt>
                <c:pt idx="6">
                  <c:v>0.0019986964038350517</c:v>
                </c:pt>
                <c:pt idx="7">
                  <c:v>0.002716976066668564</c:v>
                </c:pt>
                <c:pt idx="8">
                  <c:v>0.0030074470541960087</c:v>
                </c:pt>
                <c:pt idx="9">
                  <c:v>0.0029242891417076396</c:v>
                </c:pt>
                <c:pt idx="10">
                  <c:v>0.0025840573094515745</c:v>
                </c:pt>
                <c:pt idx="11">
                  <c:v>0.0024339912123001383</c:v>
                </c:pt>
                <c:pt idx="12">
                  <c:v>0.002873267989000081</c:v>
                </c:pt>
                <c:pt idx="13">
                  <c:v>0.004003272737573035</c:v>
                </c:pt>
                <c:pt idx="14">
                  <c:v>0.004032844183139282</c:v>
                </c:pt>
                <c:pt idx="15">
                  <c:v>0.003784796334547982</c:v>
                </c:pt>
                <c:pt idx="16">
                  <c:v>0.0036079876971657357</c:v>
                </c:pt>
                <c:pt idx="17">
                  <c:v>0.004814286000424296</c:v>
                </c:pt>
                <c:pt idx="18">
                  <c:v>0.00295557730164116</c:v>
                </c:pt>
                <c:pt idx="19">
                  <c:v>0.003037254035853469</c:v>
                </c:pt>
                <c:pt idx="20">
                  <c:v>0.003656151657757337</c:v>
                </c:pt>
                <c:pt idx="21">
                  <c:v>0.004037674985659444</c:v>
                </c:pt>
                <c:pt idx="22">
                  <c:v>0.0037771969971635896</c:v>
                </c:pt>
                <c:pt idx="23">
                  <c:v>0.00498120953734178</c:v>
                </c:pt>
                <c:pt idx="24">
                  <c:v>0.0037534013295370816</c:v>
                </c:pt>
                <c:pt idx="25">
                  <c:v>0.003782321994404856</c:v>
                </c:pt>
                <c:pt idx="26">
                  <c:v>0.003607449622820124</c:v>
                </c:pt>
                <c:pt idx="27">
                  <c:v>0.003869070820379017</c:v>
                </c:pt>
                <c:pt idx="28">
                  <c:v>0.003698255167273099</c:v>
                </c:pt>
                <c:pt idx="29">
                  <c:v>0.004256907794457603</c:v>
                </c:pt>
                <c:pt idx="30">
                  <c:v>0.00432412402965996</c:v>
                </c:pt>
                <c:pt idx="31">
                  <c:v>0.0040293422359349955</c:v>
                </c:pt>
                <c:pt idx="32">
                  <c:v>0.0033982612490327576</c:v>
                </c:pt>
                <c:pt idx="33">
                  <c:v>0.0026468123350116453</c:v>
                </c:pt>
                <c:pt idx="34">
                  <c:v>0.002359831055013059</c:v>
                </c:pt>
                <c:pt idx="35">
                  <c:v>0.003744723538355514</c:v>
                </c:pt>
                <c:pt idx="36">
                  <c:v>0.003877453592820594</c:v>
                </c:pt>
                <c:pt idx="37">
                  <c:v>0.003936129696304723</c:v>
                </c:pt>
                <c:pt idx="38">
                  <c:v>0.004624176480417849</c:v>
                </c:pt>
                <c:pt idx="39">
                  <c:v>0.004748934154428603</c:v>
                </c:pt>
                <c:pt idx="40">
                  <c:v>0.0046535814133611434</c:v>
                </c:pt>
                <c:pt idx="41">
                  <c:v>0.004369639364112183</c:v>
                </c:pt>
                <c:pt idx="42">
                  <c:v>0.004719318517831431</c:v>
                </c:pt>
                <c:pt idx="43">
                  <c:v>0.00417259968253062</c:v>
                </c:pt>
                <c:pt idx="44">
                  <c:v>0.002593130390804897</c:v>
                </c:pt>
                <c:pt idx="45">
                  <c:v>0.0021824795510184255</c:v>
                </c:pt>
                <c:pt idx="46">
                  <c:v>0.0025568834689790572</c:v>
                </c:pt>
                <c:pt idx="47">
                  <c:v>0.0024266984053171233</c:v>
                </c:pt>
                <c:pt idx="48">
                  <c:v>0.0027842234494241218</c:v>
                </c:pt>
                <c:pt idx="49">
                  <c:v>0.002327862446101874</c:v>
                </c:pt>
                <c:pt idx="50">
                  <c:v>0.0016849778885847334</c:v>
                </c:pt>
                <c:pt idx="51">
                  <c:v>0.0015635381525403785</c:v>
                </c:pt>
                <c:pt idx="52">
                  <c:v>0.0040280900419055205</c:v>
                </c:pt>
                <c:pt idx="53">
                  <c:v>0.0040280900419055205</c:v>
                </c:pt>
                <c:pt idx="54">
                  <c:v>0.0027993428081171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41763187901338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3.0490593651858403e-05</c:v>
                </c:pt>
                <c:pt idx="2">
                  <c:v>0.0</c:v>
                </c:pt>
                <c:pt idx="3">
                  <c:v>4.098360655737705e-05</c:v>
                </c:pt>
                <c:pt idx="4">
                  <c:v>4.1983290650321174e-05</c:v>
                </c:pt>
                <c:pt idx="5">
                  <c:v>8.710422019946867e-05</c:v>
                </c:pt>
                <c:pt idx="6">
                  <c:v>7.334873656801261e-05</c:v>
                </c:pt>
                <c:pt idx="7">
                  <c:v>0.00010172250101722501</c:v>
                </c:pt>
                <c:pt idx="8">
                  <c:v>0.00013319717621986413</c:v>
                </c:pt>
                <c:pt idx="9">
                  <c:v>0.0002985594506506108</c:v>
                </c:pt>
                <c:pt idx="10">
                  <c:v>0.000343300490919702</c:v>
                </c:pt>
                <c:pt idx="11">
                  <c:v>0.0002573422974233602</c:v>
                </c:pt>
                <c:pt idx="12">
                  <c:v>0.0003287998804364071</c:v>
                </c:pt>
                <c:pt idx="13">
                  <c:v>0.00032409180636987716</c:v>
                </c:pt>
                <c:pt idx="14">
                  <c:v>0.0003517523663341008</c:v>
                </c:pt>
                <c:pt idx="15">
                  <c:v>0.0003256056264652253</c:v>
                </c:pt>
                <c:pt idx="16">
                  <c:v>0.0003461884650003462</c:v>
                </c:pt>
                <c:pt idx="17">
                  <c:v>0.0005456453305351522</c:v>
                </c:pt>
                <c:pt idx="18">
                  <c:v>0.0006545930613135501</c:v>
                </c:pt>
                <c:pt idx="19">
                  <c:v>0.00041851948731362804</c:v>
                </c:pt>
                <c:pt idx="20">
                  <c:v>0.0005812263876780006</c:v>
                </c:pt>
                <c:pt idx="21">
                  <c:v>0.0005997491957908511</c:v>
                </c:pt>
                <c:pt idx="22">
                  <c:v>0.0008912126433367002</c:v>
                </c:pt>
                <c:pt idx="23">
                  <c:v>0.0008319929003272505</c:v>
                </c:pt>
                <c:pt idx="24">
                  <c:v>0.0007712082262210797</c:v>
                </c:pt>
                <c:pt idx="25">
                  <c:v>0.0011096469935501767</c:v>
                </c:pt>
                <c:pt idx="26">
                  <c:v>0.001448960370933855</c:v>
                </c:pt>
                <c:pt idx="27">
                  <c:v>0.0019232310281272539</c:v>
                </c:pt>
                <c:pt idx="28">
                  <c:v>0.0013378821325841193</c:v>
                </c:pt>
                <c:pt idx="29">
                  <c:v>0.0012786863180563968</c:v>
                </c:pt>
                <c:pt idx="30">
                  <c:v>0.0016978922716627636</c:v>
                </c:pt>
                <c:pt idx="31">
                  <c:v>0.0018280143194455024</c:v>
                </c:pt>
                <c:pt idx="32">
                  <c:v>0.001646161843701265</c:v>
                </c:pt>
                <c:pt idx="33">
                  <c:v>0.0016679834957422526</c:v>
                </c:pt>
                <c:pt idx="34">
                  <c:v>0.0018284321194575652</c:v>
                </c:pt>
                <c:pt idx="35">
                  <c:v>0.0016132749481447338</c:v>
                </c:pt>
                <c:pt idx="36">
                  <c:v>0.0014814001975200263</c:v>
                </c:pt>
                <c:pt idx="37">
                  <c:v>0.002191587133262637</c:v>
                </c:pt>
                <c:pt idx="38">
                  <c:v>0.0028035199750798224</c:v>
                </c:pt>
                <c:pt idx="39">
                  <c:v>0.0024772255074316765</c:v>
                </c:pt>
                <c:pt idx="40">
                  <c:v>0.0027209826634533156</c:v>
                </c:pt>
                <c:pt idx="41">
                  <c:v>0.0021604938271604936</c:v>
                </c:pt>
                <c:pt idx="42">
                  <c:v>0.0021921812203142127</c:v>
                </c:pt>
                <c:pt idx="43">
                  <c:v>0.002098564852423504</c:v>
                </c:pt>
                <c:pt idx="44">
                  <c:v>0.0022365805168986083</c:v>
                </c:pt>
                <c:pt idx="45">
                  <c:v>0.002911208151382824</c:v>
                </c:pt>
                <c:pt idx="46">
                  <c:v>0.0034041028397384216</c:v>
                </c:pt>
                <c:pt idx="47">
                  <c:v>0.0032136154459212795</c:v>
                </c:pt>
                <c:pt idx="48">
                  <c:v>0.002910157104721894</c:v>
                </c:pt>
                <c:pt idx="49">
                  <c:v>0.0022968516726002003</c:v>
                </c:pt>
                <c:pt idx="50">
                  <c:v>0.0032512371964552884</c:v>
                </c:pt>
                <c:pt idx="51">
                  <c:v>0.002970982052012535</c:v>
                </c:pt>
                <c:pt idx="52">
                  <c:v>0.0025500265627766954</c:v>
                </c:pt>
                <c:pt idx="53">
                  <c:v>0.002119003220884896</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066348574219484</c:v>
                </c:pt>
                <c:pt idx="1">
                  <c:v>0.00257844420643421</c:v>
                </c:pt>
                <c:pt idx="2">
                  <c:v>0.0023108434578621197</c:v>
                </c:pt>
                <c:pt idx="3">
                  <c:v>0.0025841648122891395</c:v>
                </c:pt>
                <c:pt idx="4">
                  <c:v>0.002413957060824403</c:v>
                </c:pt>
                <c:pt idx="5">
                  <c:v>0.00214390491593636</c:v>
                </c:pt>
                <c:pt idx="6">
                  <c:v>0.0022257135375752814</c:v>
                </c:pt>
                <c:pt idx="7">
                  <c:v>0.0026819238333631325</c:v>
                </c:pt>
                <c:pt idx="8">
                  <c:v>0.0032357626443647947</c:v>
                </c:pt>
                <c:pt idx="9">
                  <c:v>0.003254044639992667</c:v>
                </c:pt>
                <c:pt idx="10">
                  <c:v>0.0030680302356602936</c:v>
                </c:pt>
                <c:pt idx="11">
                  <c:v>0.003079560607022668</c:v>
                </c:pt>
                <c:pt idx="12">
                  <c:v>0.003288244525820193</c:v>
                </c:pt>
                <c:pt idx="13">
                  <c:v>0.004943332529539426</c:v>
                </c:pt>
                <c:pt idx="14">
                  <c:v>0.004891591750396615</c:v>
                </c:pt>
                <c:pt idx="15">
                  <c:v>0.004721480351011064</c:v>
                </c:pt>
                <c:pt idx="16">
                  <c:v>0.004641421859964906</c:v>
                </c:pt>
                <c:pt idx="17">
                  <c:v>0.006181359899177819</c:v>
                </c:pt>
                <c:pt idx="18">
                  <c:v>0.0032485485208736523</c:v>
                </c:pt>
                <c:pt idx="19">
                  <c:v>0.0029625639644492324</c:v>
                </c:pt>
                <c:pt idx="20">
                  <c:v>0.0036864279265723743</c:v>
                </c:pt>
                <c:pt idx="21">
                  <c:v>0.004398563734290844</c:v>
                </c:pt>
                <c:pt idx="22">
                  <c:v>0.003797580146604257</c:v>
                </c:pt>
                <c:pt idx="23">
                  <c:v>0.004160887656033287</c:v>
                </c:pt>
                <c:pt idx="24">
                  <c:v>0.0036592630414432814</c:v>
                </c:pt>
                <c:pt idx="25">
                  <c:v>0.003847530422333572</c:v>
                </c:pt>
                <c:pt idx="26">
                  <c:v>0.0037254739630764137</c:v>
                </c:pt>
                <c:pt idx="27">
                  <c:v>0.004029249365766304</c:v>
                </c:pt>
                <c:pt idx="28">
                  <c:v>0.003172246220302376</c:v>
                </c:pt>
                <c:pt idx="29">
                  <c:v>0.003813387423935091</c:v>
                </c:pt>
                <c:pt idx="30">
                  <c:v>0.003781512605042017</c:v>
                </c:pt>
                <c:pt idx="31">
                  <c:v>0.004042400287459576</c:v>
                </c:pt>
                <c:pt idx="32">
                  <c:v>0.003339027799347725</c:v>
                </c:pt>
                <c:pt idx="33">
                  <c:v>0.002659896022246403</c:v>
                </c:pt>
                <c:pt idx="34">
                  <c:v>0.002619224116629602</c:v>
                </c:pt>
                <c:pt idx="35">
                  <c:v>0.0035957842529448234</c:v>
                </c:pt>
                <c:pt idx="36">
                  <c:v>0.004312457120454768</c:v>
                </c:pt>
                <c:pt idx="37">
                  <c:v>0.004406451044328898</c:v>
                </c:pt>
                <c:pt idx="38">
                  <c:v>0.005291005291005291</c:v>
                </c:pt>
                <c:pt idx="39">
                  <c:v>0.004871060171919771</c:v>
                </c:pt>
                <c:pt idx="40">
                  <c:v>0.004396678065461651</c:v>
                </c:pt>
                <c:pt idx="41">
                  <c:v>0.0037574159525379036</c:v>
                </c:pt>
                <c:pt idx="42">
                  <c:v>0.004251827539907504</c:v>
                </c:pt>
                <c:pt idx="43">
                  <c:v>0.003289473684210526</c:v>
                </c:pt>
                <c:pt idx="44">
                  <c:v>0.002335818884197287</c:v>
                </c:pt>
                <c:pt idx="45">
                  <c:v>0.001866649200943149</c:v>
                </c:pt>
                <c:pt idx="46">
                  <c:v>0.0020526723470178157</c:v>
                </c:pt>
                <c:pt idx="47">
                  <c:v>0.0019118389726570954</c:v>
                </c:pt>
                <c:pt idx="48">
                  <c:v>0.0021572387344199425</c:v>
                </c:pt>
                <c:pt idx="49">
                  <c:v>0.0019169861643607267</c:v>
                </c:pt>
                <c:pt idx="50">
                  <c:v>0.0015593003813710571</c:v>
                </c:pt>
                <c:pt idx="51">
                  <c:v>0.002024496406518878</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07.329370171379</c:v>
                </c:pt>
              </c:numCache>
            </c:numRef>
          </c:xVal>
          <c:yVal>
            <c:numRef>
              <c:f>Sheet1!$B$112:$B$113</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07.329370171379</c:v>
                </c:pt>
                <c:pt idx="1">
                  <c:v>3507.329370171379</c:v>
                </c:pt>
              </c:numCache>
            </c:numRef>
          </c:xVal>
          <c:yVal>
            <c:numRef>
              <c:f>Sheet1!$B$116:$B$117</c:f>
              <c:numCache>
                <c:formatCode>General</c:formatCode>
                <c:ptCount val="2"/>
                <c:pt idx="0">
                  <c:v>0.004028090041905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07.329370171379</c:v>
                </c:pt>
              </c:numCache>
            </c:numRef>
          </c:xVal>
          <c:yVal>
            <c:numRef>
              <c:f>Sheet1!$B$120:$B$121</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07.329370171379</c:v>
                </c:pt>
                <c:pt idx="1">
                  <c:v>3507.329370171379</c:v>
                </c:pt>
              </c:numCache>
            </c:numRef>
          </c:xVal>
          <c:yVal>
            <c:numRef>
              <c:f>Sheet1!$B$124:$B$125</c:f>
              <c:numCache>
                <c:formatCode>General</c:formatCode>
                <c:ptCount val="2"/>
                <c:pt idx="0">
                  <c:v>0.0040280900419055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51.422271084922</c:v>
                </c:pt>
              </c:numCache>
            </c:numRef>
          </c:xVal>
          <c:yVal>
            <c:numRef>
              <c:f>Sheet1!$B$128:$B$129</c:f>
              <c:numCache>
                <c:formatCode>General</c:formatCode>
                <c:ptCount val="2"/>
                <c:pt idx="0">
                  <c:v>0.0027993428081171776</c:v>
                </c:pt>
                <c:pt idx="1">
                  <c:v>0.0027993428081171776</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51.422271084922</c:v>
                </c:pt>
                <c:pt idx="1">
                  <c:v>4251.422271084922</c:v>
                </c:pt>
              </c:numCache>
            </c:numRef>
          </c:xVal>
          <c:yVal>
            <c:numRef>
              <c:f>Sheet1!$B$132:$B$133</c:f>
              <c:numCache>
                <c:formatCode>General</c:formatCode>
                <c:ptCount val="2"/>
                <c:pt idx="0">
                  <c:v>0.002799342808117177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07.329370171379</c:v>
                </c:pt>
                <c:pt idx="53">
                  <c:v>3507.329370171379</c:v>
                </c:pt>
                <c:pt idx="54">
                  <c:v>4251.422271084922</c:v>
                </c:pt>
              </c:numCache>
            </c:numRef>
          </c:xVal>
          <c:yVal>
            <c:numRef>
              <c:f>Sheet1!$B$136:$B$190</c:f>
              <c:numCache>
                <c:formatCode>General</c:formatCode>
                <c:ptCount val="55"/>
                <c:pt idx="0">
                  <c:v>0.002503580264801966</c:v>
                </c:pt>
                <c:pt idx="1">
                  <c:v>0.00367349519197689</c:v>
                </c:pt>
                <c:pt idx="2">
                  <c:v>0.002628251162475396</c:v>
                </c:pt>
                <c:pt idx="3">
                  <c:v>0.0038078366422677114</c:v>
                </c:pt>
                <c:pt idx="4">
                  <c:v>0.0024316670684189122</c:v>
                </c:pt>
                <c:pt idx="5">
                  <c:v>0.0018260996131803566</c:v>
                </c:pt>
                <c:pt idx="6">
                  <c:v>0.002373048446164489</c:v>
                </c:pt>
                <c:pt idx="7">
                  <c:v>0.0028887718405446183</c:v>
                </c:pt>
                <c:pt idx="8">
                  <c:v>0.003095578363637456</c:v>
                </c:pt>
                <c:pt idx="9">
                  <c:v>0.003093070810249678</c:v>
                </c:pt>
                <c:pt idx="10">
                  <c:v>0.0027556454431235545</c:v>
                </c:pt>
                <c:pt idx="11">
                  <c:v>0.0032272253293297677</c:v>
                </c:pt>
                <c:pt idx="12">
                  <c:v>0.003536460743289763</c:v>
                </c:pt>
                <c:pt idx="13">
                  <c:v>0.004195888826988729</c:v>
                </c:pt>
                <c:pt idx="14">
                  <c:v>0.004213271117716706</c:v>
                </c:pt>
                <c:pt idx="15">
                  <c:v>0.0038444348669780526</c:v>
                </c:pt>
                <c:pt idx="16">
                  <c:v>0.0036363006699149988</c:v>
                </c:pt>
                <c:pt idx="17">
                  <c:v>0.00499658918239692</c:v>
                </c:pt>
                <c:pt idx="18">
                  <c:v>0.003061091701993925</c:v>
                </c:pt>
                <c:pt idx="19">
                  <c:v>0.0026530337493851242</c:v>
                </c:pt>
                <c:pt idx="20">
                  <c:v>0.003031294503709374</c:v>
                </c:pt>
                <c:pt idx="21">
                  <c:v>0.0035920747600854683</c:v>
                </c:pt>
                <c:pt idx="22">
                  <c:v>0.003227121625442542</c:v>
                </c:pt>
                <c:pt idx="23">
                  <c:v>0.004745974207160709</c:v>
                </c:pt>
                <c:pt idx="24">
                  <c:v>0.003240101950371506</c:v>
                </c:pt>
                <c:pt idx="25">
                  <c:v>0.0037084668509401383</c:v>
                </c:pt>
                <c:pt idx="26">
                  <c:v>0.003284542038452202</c:v>
                </c:pt>
                <c:pt idx="27">
                  <c:v>0.0037451852928955445</c:v>
                </c:pt>
                <c:pt idx="28">
                  <c:v>0.003495147129248633</c:v>
                </c:pt>
                <c:pt idx="29">
                  <c:v>0.003785149765601268</c:v>
                </c:pt>
                <c:pt idx="30">
                  <c:v>0.00390878362440244</c:v>
                </c:pt>
                <c:pt idx="31">
                  <c:v>0.0036564595166299427</c:v>
                </c:pt>
                <c:pt idx="32">
                  <c:v>0.002854073312520019</c:v>
                </c:pt>
                <c:pt idx="33">
                  <c:v>0.0021684793179251914</c:v>
                </c:pt>
                <c:pt idx="34">
                  <c:v>0.0020821453364089195</c:v>
                </c:pt>
                <c:pt idx="35">
                  <c:v>0.003347343989647855</c:v>
                </c:pt>
                <c:pt idx="36">
                  <c:v>0.002844175866365926</c:v>
                </c:pt>
                <c:pt idx="37">
                  <c:v>0.0029715148272653263</c:v>
                </c:pt>
                <c:pt idx="38">
                  <c:v>0.00388982992254255</c:v>
                </c:pt>
                <c:pt idx="39">
                  <c:v>0.0045642494930216325</c:v>
                </c:pt>
                <c:pt idx="40">
                  <c:v>0.004492973877384725</c:v>
                </c:pt>
                <c:pt idx="41">
                  <c:v>0.004156047543932481</c:v>
                </c:pt>
                <c:pt idx="42">
                  <c:v>0.0044144381639741135</c:v>
                </c:pt>
                <c:pt idx="43">
                  <c:v>0.004126585731945631</c:v>
                </c:pt>
                <c:pt idx="44">
                  <c:v>0.0030946129927382163</c:v>
                </c:pt>
                <c:pt idx="45">
                  <c:v>0.0029311330620070243</c:v>
                </c:pt>
                <c:pt idx="46">
                  <c:v>0.0030410416783071366</c:v>
                </c:pt>
                <c:pt idx="47">
                  <c:v>0.003103698972488124</c:v>
                </c:pt>
                <c:pt idx="48">
                  <c:v>0.0038486383422158465</c:v>
                </c:pt>
                <c:pt idx="49">
                  <c:v>0.003549531231152526</c:v>
                </c:pt>
                <c:pt idx="50">
                  <c:v>0.0030463677316107923</c:v>
                </c:pt>
                <c:pt idx="51">
                  <c:v>0.0028625431788889717</c:v>
                </c:pt>
                <c:pt idx="52">
                  <c:v>0.00402809004190552</c:v>
                </c:pt>
                <c:pt idx="53">
                  <c:v>0.00402809004190552</c:v>
                </c:pt>
                <c:pt idx="54">
                  <c:v>0.00279934280811717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41763187901338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0.510992239394467</c:v>
                </c:pt>
                <c:pt idx="2">
                  <c:v>0.0</c:v>
                </c:pt>
                <c:pt idx="3">
                  <c:v>0.6982950421227607</c:v>
                </c:pt>
                <c:pt idx="4">
                  <c:v>0.6722223638683953</c:v>
                </c:pt>
                <c:pt idx="5">
                  <c:v>0.49655842984119813</c:v>
                </c:pt>
                <c:pt idx="6">
                  <c:v>0.33875117535234217</c:v>
                </c:pt>
                <c:pt idx="7">
                  <c:v>0.42828827825261145</c:v>
                </c:pt>
                <c:pt idx="8">
                  <c:v>0.5625420532379053</c:v>
                </c:pt>
                <c:pt idx="9">
                  <c:v>0.4516468980059454</c:v>
                </c:pt>
                <c:pt idx="10">
                  <c:v>0.43317466846027813</c:v>
                </c:pt>
                <c:pt idx="11">
                  <c:v>0.6059665039942542</c:v>
                </c:pt>
                <c:pt idx="12">
                  <c:v>0.46892109463790765</c:v>
                </c:pt>
                <c:pt idx="13">
                  <c:v>0.4707102034325302</c:v>
                </c:pt>
                <c:pt idx="14">
                  <c:v>0.3894375229498673</c:v>
                </c:pt>
                <c:pt idx="15">
                  <c:v>0.37490534164385153</c:v>
                </c:pt>
                <c:pt idx="16">
                  <c:v>0.4003537323113037</c:v>
                </c:pt>
                <c:pt idx="17">
                  <c:v>0.2858206559468825</c:v>
                </c:pt>
                <c:pt idx="18">
                  <c:v>0.1868970178940955</c:v>
                </c:pt>
                <c:pt idx="19">
                  <c:v>0.22129348058116702</c:v>
                </c:pt>
                <c:pt idx="20">
                  <c:v>0.2346676816415719</c:v>
                </c:pt>
                <c:pt idx="21">
                  <c:v>0.2319650479378721</c:v>
                </c:pt>
                <c:pt idx="22">
                  <c:v>0.10715093162022274</c:v>
                </c:pt>
                <c:pt idx="23">
                  <c:v>0.15393025025486273</c:v>
                </c:pt>
                <c:pt idx="24">
                  <c:v>0.5543393518109309</c:v>
                </c:pt>
                <c:pt idx="25">
                  <c:v>0.5422870450127838</c:v>
                </c:pt>
                <c:pt idx="26">
                  <c:v>0.5739810679908147</c:v>
                </c:pt>
                <c:pt idx="27">
                  <c:v>0.41187603694362523</c:v>
                </c:pt>
                <c:pt idx="28">
                  <c:v>0.5646656500413118</c:v>
                </c:pt>
                <c:pt idx="29">
                  <c:v>0.5123968856658114</c:v>
                </c:pt>
                <c:pt idx="30">
                  <c:v>0.509860460368835</c:v>
                </c:pt>
                <c:pt idx="31">
                  <c:v>0.5564867314383096</c:v>
                </c:pt>
                <c:pt idx="32">
                  <c:v>0.5554922032343248</c:v>
                </c:pt>
                <c:pt idx="33">
                  <c:v>0.4706344207254132</c:v>
                </c:pt>
                <c:pt idx="34">
                  <c:v>0.47182082656552243</c:v>
                </c:pt>
                <c:pt idx="35">
                  <c:v>0.7034483537502453</c:v>
                </c:pt>
                <c:pt idx="36">
                  <c:v>0.7420189319425182</c:v>
                </c:pt>
                <c:pt idx="37">
                  <c:v>0.5315371930209274</c:v>
                </c:pt>
                <c:pt idx="38">
                  <c:v>0.4769213290829619</c:v>
                </c:pt>
                <c:pt idx="39">
                  <c:v>0.5596616547283598</c:v>
                </c:pt>
                <c:pt idx="40">
                  <c:v>0.5169254008814211</c:v>
                </c:pt>
                <c:pt idx="41">
                  <c:v>0.6360328964677966</c:v>
                </c:pt>
                <c:pt idx="42">
                  <c:v>0.5767067632638548</c:v>
                </c:pt>
                <c:pt idx="43">
                  <c:v>0.6485529720912829</c:v>
                </c:pt>
                <c:pt idx="44">
                  <c:v>0.6257443219861059</c:v>
                </c:pt>
                <c:pt idx="45">
                  <c:v>0.5372693386306497</c:v>
                </c:pt>
                <c:pt idx="46">
                  <c:v>0.5754239909209489</c:v>
                </c:pt>
                <c:pt idx="47">
                  <c:v>0.5724830463500764</c:v>
                </c:pt>
                <c:pt idx="48">
                  <c:v>0.658123404269236</c:v>
                </c:pt>
                <c:pt idx="49">
                  <c:v>0.777776198336495</c:v>
                </c:pt>
                <c:pt idx="50">
                  <c:v>0.6902993240515874</c:v>
                </c:pt>
                <c:pt idx="51">
                  <c:v>0.6695404430213577</c:v>
                </c:pt>
                <c:pt idx="52">
                  <c:v>0.6964784889999195</c:v>
                </c:pt>
                <c:pt idx="53">
                  <c:v>0.7309858375622816</c:v>
                </c:pt>
              </c:numCache>
            </c:numRef>
          </c:xVal>
          <c:yVal>
            <c:numRef>
              <c:f>Sheet1!$B$2:$B$55</c:f>
              <c:numCache>
                <c:formatCode>General</c:formatCode>
                <c:ptCount val="54"/>
                <c:pt idx="0">
                  <c:v>0.0</c:v>
                </c:pt>
                <c:pt idx="1">
                  <c:v>3.0490593651858403e-05</c:v>
                </c:pt>
                <c:pt idx="2">
                  <c:v>0.0</c:v>
                </c:pt>
                <c:pt idx="3">
                  <c:v>4.098360655737705e-05</c:v>
                </c:pt>
                <c:pt idx="4">
                  <c:v>4.1983290650321174e-05</c:v>
                </c:pt>
                <c:pt idx="5">
                  <c:v>8.710422019946867e-05</c:v>
                </c:pt>
                <c:pt idx="6">
                  <c:v>7.334873656801261e-05</c:v>
                </c:pt>
                <c:pt idx="7">
                  <c:v>0.00010172250101722501</c:v>
                </c:pt>
                <c:pt idx="8">
                  <c:v>0.00013319717621986413</c:v>
                </c:pt>
                <c:pt idx="9">
                  <c:v>0.0002985594506506108</c:v>
                </c:pt>
                <c:pt idx="10">
                  <c:v>0.000343300490919702</c:v>
                </c:pt>
                <c:pt idx="11">
                  <c:v>0.0002573422974233602</c:v>
                </c:pt>
                <c:pt idx="12">
                  <c:v>0.0003287998804364071</c:v>
                </c:pt>
                <c:pt idx="13">
                  <c:v>0.00032409180636987716</c:v>
                </c:pt>
                <c:pt idx="14">
                  <c:v>0.0003517523663341008</c:v>
                </c:pt>
                <c:pt idx="15">
                  <c:v>0.0003256056264652253</c:v>
                </c:pt>
                <c:pt idx="16">
                  <c:v>0.0003461884650003462</c:v>
                </c:pt>
                <c:pt idx="17">
                  <c:v>0.0005456453305351522</c:v>
                </c:pt>
                <c:pt idx="18">
                  <c:v>0.0006545930613135501</c:v>
                </c:pt>
                <c:pt idx="19">
                  <c:v>0.00041851948731362804</c:v>
                </c:pt>
                <c:pt idx="20">
                  <c:v>0.0005812263876780006</c:v>
                </c:pt>
                <c:pt idx="21">
                  <c:v>0.0005997491957908511</c:v>
                </c:pt>
                <c:pt idx="22">
                  <c:v>0.0008912126433367002</c:v>
                </c:pt>
                <c:pt idx="23">
                  <c:v>0.0008319929003272505</c:v>
                </c:pt>
                <c:pt idx="24">
                  <c:v>0.0007712082262210797</c:v>
                </c:pt>
                <c:pt idx="25">
                  <c:v>0.0011096469935501767</c:v>
                </c:pt>
                <c:pt idx="26">
                  <c:v>0.001448960370933855</c:v>
                </c:pt>
                <c:pt idx="27">
                  <c:v>0.0019232310281272539</c:v>
                </c:pt>
                <c:pt idx="28">
                  <c:v>0.0013378821325841193</c:v>
                </c:pt>
                <c:pt idx="29">
                  <c:v>0.0012786863180563968</c:v>
                </c:pt>
                <c:pt idx="30">
                  <c:v>0.0016978922716627636</c:v>
                </c:pt>
                <c:pt idx="31">
                  <c:v>0.0018280143194455024</c:v>
                </c:pt>
                <c:pt idx="32">
                  <c:v>0.001646161843701265</c:v>
                </c:pt>
                <c:pt idx="33">
                  <c:v>0.0016679834957422526</c:v>
                </c:pt>
                <c:pt idx="34">
                  <c:v>0.0018284321194575652</c:v>
                </c:pt>
                <c:pt idx="35">
                  <c:v>0.0016132749481447338</c:v>
                </c:pt>
                <c:pt idx="36">
                  <c:v>0.0014814001975200263</c:v>
                </c:pt>
                <c:pt idx="37">
                  <c:v>0.002191587133262637</c:v>
                </c:pt>
                <c:pt idx="38">
                  <c:v>0.0028035199750798224</c:v>
                </c:pt>
                <c:pt idx="39">
                  <c:v>0.0024772255074316765</c:v>
                </c:pt>
                <c:pt idx="40">
                  <c:v>0.0027209826634533156</c:v>
                </c:pt>
                <c:pt idx="41">
                  <c:v>0.0021604938271604936</c:v>
                </c:pt>
                <c:pt idx="42">
                  <c:v>0.0021921812203142127</c:v>
                </c:pt>
                <c:pt idx="43">
                  <c:v>0.002098564852423504</c:v>
                </c:pt>
                <c:pt idx="44">
                  <c:v>0.0022365805168986083</c:v>
                </c:pt>
                <c:pt idx="45">
                  <c:v>0.002911208151382824</c:v>
                </c:pt>
                <c:pt idx="46">
                  <c:v>0.0034041028397384216</c:v>
                </c:pt>
                <c:pt idx="47">
                  <c:v>0.0032136154459212795</c:v>
                </c:pt>
                <c:pt idx="48">
                  <c:v>0.002910157104721894</c:v>
                </c:pt>
                <c:pt idx="49">
                  <c:v>0.0022968516726002003</c:v>
                </c:pt>
                <c:pt idx="50">
                  <c:v>0.0032512371964552884</c:v>
                </c:pt>
                <c:pt idx="51">
                  <c:v>0.002970982052012535</c:v>
                </c:pt>
                <c:pt idx="52">
                  <c:v>0.0025500265627766954</c:v>
                </c:pt>
                <c:pt idx="53">
                  <c:v>0.002119003220884896</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0.8200471824533305</c:v>
                </c:pt>
                <c:pt idx="1">
                  <c:v>0.7174472737974504</c:v>
                </c:pt>
                <c:pt idx="2">
                  <c:v>0.816154931402421</c:v>
                </c:pt>
                <c:pt idx="3">
                  <c:v>0.6717893989782041</c:v>
                </c:pt>
                <c:pt idx="4">
                  <c:v>0.7544364461971145</c:v>
                </c:pt>
                <c:pt idx="5">
                  <c:v>0.8914213217879952</c:v>
                </c:pt>
                <c:pt idx="6">
                  <c:v>0.8446009415962397</c:v>
                </c:pt>
                <c:pt idx="7">
                  <c:v>0.6947736707938821</c:v>
                </c:pt>
                <c:pt idx="8">
                  <c:v>0.7833544893875507</c:v>
                </c:pt>
                <c:pt idx="9">
                  <c:v>0.7613429474760278</c:v>
                </c:pt>
                <c:pt idx="10">
                  <c:v>0.766555956239328</c:v>
                </c:pt>
                <c:pt idx="11">
                  <c:v>0.7406952727042804</c:v>
                </c:pt>
                <c:pt idx="12">
                  <c:v>0.6847116900697604</c:v>
                </c:pt>
                <c:pt idx="13">
                  <c:v>0.602059101051708</c:v>
                </c:pt>
                <c:pt idx="14">
                  <c:v>0.5977168278296656</c:v>
                </c:pt>
                <c:pt idx="15">
                  <c:v>0.6090773450163397</c:v>
                </c:pt>
                <c:pt idx="16">
                  <c:v>0.575369530701084</c:v>
                </c:pt>
                <c:pt idx="17">
                  <c:v>0.43588164295742987</c:v>
                </c:pt>
                <c:pt idx="18">
                  <c:v>0.569486990082358</c:v>
                </c:pt>
                <c:pt idx="19">
                  <c:v>0.6359532222218478</c:v>
                </c:pt>
                <c:pt idx="20">
                  <c:v>0.5490117143515651</c:v>
                </c:pt>
                <c:pt idx="21">
                  <c:v>0.4930240492429066</c:v>
                </c:pt>
                <c:pt idx="22">
                  <c:v>0.51387469440209</c:v>
                </c:pt>
                <c:pt idx="23">
                  <c:v>0.44189703350405324</c:v>
                </c:pt>
                <c:pt idx="24">
                  <c:v>0.5325773310191649</c:v>
                </c:pt>
                <c:pt idx="25">
                  <c:v>0.49494544649788547</c:v>
                </c:pt>
                <c:pt idx="26">
                  <c:v>0.5355449850886121</c:v>
                </c:pt>
                <c:pt idx="27">
                  <c:v>0.5039508029016588</c:v>
                </c:pt>
                <c:pt idx="28">
                  <c:v>0.5646759056819411</c:v>
                </c:pt>
                <c:pt idx="29">
                  <c:v>0.482968750165199</c:v>
                </c:pt>
                <c:pt idx="30">
                  <c:v>0.4718324334374835</c:v>
                </c:pt>
                <c:pt idx="31">
                  <c:v>0.48506893344385515</c:v>
                </c:pt>
                <c:pt idx="32">
                  <c:v>0.5883140007055117</c:v>
                </c:pt>
                <c:pt idx="33">
                  <c:v>0.6768897476236313</c:v>
                </c:pt>
                <c:pt idx="34">
                  <c:v>0.7501615355670261</c:v>
                </c:pt>
                <c:pt idx="35">
                  <c:v>0.5006523374259947</c:v>
                </c:pt>
                <c:pt idx="36">
                  <c:v>0.4562942851112718</c:v>
                </c:pt>
                <c:pt idx="37">
                  <c:v>0.4640881527118102</c:v>
                </c:pt>
                <c:pt idx="38">
                  <c:v>0.4093912044613488</c:v>
                </c:pt>
                <c:pt idx="39">
                  <c:v>0.3972512185219328</c:v>
                </c:pt>
                <c:pt idx="40">
                  <c:v>0.4275415156261007</c:v>
                </c:pt>
                <c:pt idx="41">
                  <c:v>0.45267500482259654</c:v>
                </c:pt>
                <c:pt idx="42">
                  <c:v>0.42587281285970846</c:v>
                </c:pt>
                <c:pt idx="43">
                  <c:v>0.4931257209211285</c:v>
                </c:pt>
                <c:pt idx="44">
                  <c:v>0.6066167778907415</c:v>
                </c:pt>
                <c:pt idx="45">
                  <c:v>0.6524995979764446</c:v>
                </c:pt>
                <c:pt idx="46">
                  <c:v>0.6095580472565648</c:v>
                </c:pt>
                <c:pt idx="47">
                  <c:v>0.5771648247598549</c:v>
                </c:pt>
                <c:pt idx="48">
                  <c:v>0.52944258627081</c:v>
                </c:pt>
                <c:pt idx="49">
                  <c:v>0.6537504229131017</c:v>
                </c:pt>
                <c:pt idx="50">
                  <c:v>0.7818785689211416</c:v>
                </c:pt>
                <c:pt idx="51">
                  <c:v>0.6905966298215692</c:v>
                </c:pt>
              </c:numCache>
            </c:numRef>
          </c:xVal>
          <c:yVal>
            <c:numRef>
              <c:f>Sheet1!$B$58:$B$109</c:f>
              <c:numCache>
                <c:formatCode>General</c:formatCode>
                <c:ptCount val="52"/>
                <c:pt idx="0">
                  <c:v>0.002066348574219484</c:v>
                </c:pt>
                <c:pt idx="1">
                  <c:v>0.00257844420643421</c:v>
                </c:pt>
                <c:pt idx="2">
                  <c:v>0.0023108434578621197</c:v>
                </c:pt>
                <c:pt idx="3">
                  <c:v>0.0025841648122891395</c:v>
                </c:pt>
                <c:pt idx="4">
                  <c:v>0.002413957060824403</c:v>
                </c:pt>
                <c:pt idx="5">
                  <c:v>0.00214390491593636</c:v>
                </c:pt>
                <c:pt idx="6">
                  <c:v>0.0022257135375752814</c:v>
                </c:pt>
                <c:pt idx="7">
                  <c:v>0.0026819238333631325</c:v>
                </c:pt>
                <c:pt idx="8">
                  <c:v>0.0032357626443647947</c:v>
                </c:pt>
                <c:pt idx="9">
                  <c:v>0.003254044639992667</c:v>
                </c:pt>
                <c:pt idx="10">
                  <c:v>0.0030680302356602936</c:v>
                </c:pt>
                <c:pt idx="11">
                  <c:v>0.003079560607022668</c:v>
                </c:pt>
                <c:pt idx="12">
                  <c:v>0.003288244525820193</c:v>
                </c:pt>
                <c:pt idx="13">
                  <c:v>0.004943332529539426</c:v>
                </c:pt>
                <c:pt idx="14">
                  <c:v>0.004891591750396615</c:v>
                </c:pt>
                <c:pt idx="15">
                  <c:v>0.004721480351011064</c:v>
                </c:pt>
                <c:pt idx="16">
                  <c:v>0.004641421859964906</c:v>
                </c:pt>
                <c:pt idx="17">
                  <c:v>0.006181359899177819</c:v>
                </c:pt>
                <c:pt idx="18">
                  <c:v>0.0032485485208736523</c:v>
                </c:pt>
                <c:pt idx="19">
                  <c:v>0.0029625639644492324</c:v>
                </c:pt>
                <c:pt idx="20">
                  <c:v>0.0036864279265723743</c:v>
                </c:pt>
                <c:pt idx="21">
                  <c:v>0.004398563734290844</c:v>
                </c:pt>
                <c:pt idx="22">
                  <c:v>0.003797580146604257</c:v>
                </c:pt>
                <c:pt idx="23">
                  <c:v>0.004160887656033287</c:v>
                </c:pt>
                <c:pt idx="24">
                  <c:v>0.0036592630414432814</c:v>
                </c:pt>
                <c:pt idx="25">
                  <c:v>0.003847530422333572</c:v>
                </c:pt>
                <c:pt idx="26">
                  <c:v>0.0037254739630764137</c:v>
                </c:pt>
                <c:pt idx="27">
                  <c:v>0.004029249365766304</c:v>
                </c:pt>
                <c:pt idx="28">
                  <c:v>0.003172246220302376</c:v>
                </c:pt>
                <c:pt idx="29">
                  <c:v>0.003813387423935091</c:v>
                </c:pt>
                <c:pt idx="30">
                  <c:v>0.003781512605042017</c:v>
                </c:pt>
                <c:pt idx="31">
                  <c:v>0.004042400287459576</c:v>
                </c:pt>
                <c:pt idx="32">
                  <c:v>0.003339027799347725</c:v>
                </c:pt>
                <c:pt idx="33">
                  <c:v>0.002659896022246403</c:v>
                </c:pt>
                <c:pt idx="34">
                  <c:v>0.002619224116629602</c:v>
                </c:pt>
                <c:pt idx="35">
                  <c:v>0.0035957842529448234</c:v>
                </c:pt>
                <c:pt idx="36">
                  <c:v>0.004312457120454768</c:v>
                </c:pt>
                <c:pt idx="37">
                  <c:v>0.004406451044328898</c:v>
                </c:pt>
                <c:pt idx="38">
                  <c:v>0.005291005291005291</c:v>
                </c:pt>
                <c:pt idx="39">
                  <c:v>0.004871060171919771</c:v>
                </c:pt>
                <c:pt idx="40">
                  <c:v>0.004396678065461651</c:v>
                </c:pt>
                <c:pt idx="41">
                  <c:v>0.0037574159525379036</c:v>
                </c:pt>
                <c:pt idx="42">
                  <c:v>0.004251827539907504</c:v>
                </c:pt>
                <c:pt idx="43">
                  <c:v>0.003289473684210526</c:v>
                </c:pt>
                <c:pt idx="44">
                  <c:v>0.002335818884197287</c:v>
                </c:pt>
                <c:pt idx="45">
                  <c:v>0.001866649200943149</c:v>
                </c:pt>
                <c:pt idx="46">
                  <c:v>0.0020526723470178157</c:v>
                </c:pt>
                <c:pt idx="47">
                  <c:v>0.0019118389726570954</c:v>
                </c:pt>
                <c:pt idx="48">
                  <c:v>0.0021572387344199425</c:v>
                </c:pt>
                <c:pt idx="49">
                  <c:v>0.0019169861643607267</c:v>
                </c:pt>
                <c:pt idx="50">
                  <c:v>0.0015593003813710571</c:v>
                </c:pt>
                <c:pt idx="51">
                  <c:v>0.002024496406518878</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0.48210148982569706</c:v>
                </c:pt>
              </c:numCache>
            </c:numRef>
          </c:xVal>
          <c:yVal>
            <c:numRef>
              <c:f>Sheet1!$B$112:$B$113</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0.48210148982569706</c:v>
                </c:pt>
                <c:pt idx="1">
                  <c:v>0.48210148982569706</c:v>
                </c:pt>
              </c:numCache>
            </c:numRef>
          </c:xVal>
          <c:yVal>
            <c:numRef>
              <c:f>Sheet1!$B$116:$B$117</c:f>
              <c:numCache>
                <c:formatCode>General</c:formatCode>
                <c:ptCount val="2"/>
                <c:pt idx="0">
                  <c:v>0.004028090041905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0.48210148982569706</c:v>
                </c:pt>
              </c:numCache>
            </c:numRef>
          </c:xVal>
          <c:yVal>
            <c:numRef>
              <c:f>Sheet1!$B$120:$B$121</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0.48210148982569706</c:v>
                </c:pt>
                <c:pt idx="1">
                  <c:v>0.48210148982569706</c:v>
                </c:pt>
              </c:numCache>
            </c:numRef>
          </c:xVal>
          <c:yVal>
            <c:numRef>
              <c:f>Sheet1!$B$124:$B$125</c:f>
              <c:numCache>
                <c:formatCode>General</c:formatCode>
                <c:ptCount val="2"/>
                <c:pt idx="0">
                  <c:v>0.0040280900419055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0.7018035270046915</c:v>
                </c:pt>
              </c:numCache>
            </c:numRef>
          </c:xVal>
          <c:yVal>
            <c:numRef>
              <c:f>Sheet1!$B$128:$B$129</c:f>
              <c:numCache>
                <c:formatCode>General</c:formatCode>
                <c:ptCount val="2"/>
                <c:pt idx="0">
                  <c:v>0.0027993428081171776</c:v>
                </c:pt>
                <c:pt idx="1">
                  <c:v>0.0027993428081171776</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0.7018035270046915</c:v>
                </c:pt>
                <c:pt idx="1">
                  <c:v>0.7018035270046915</c:v>
                </c:pt>
              </c:numCache>
            </c:numRef>
          </c:xVal>
          <c:yVal>
            <c:numRef>
              <c:f>Sheet1!$B$132:$B$133</c:f>
              <c:numCache>
                <c:formatCode>General</c:formatCode>
                <c:ptCount val="2"/>
                <c:pt idx="0">
                  <c:v>0.002799342808117177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0.8200471824533305</c:v>
                </c:pt>
                <c:pt idx="1">
                  <c:v>0.7174472737974504</c:v>
                </c:pt>
                <c:pt idx="2">
                  <c:v>0.816154931402421</c:v>
                </c:pt>
                <c:pt idx="3">
                  <c:v>0.6717893989782041</c:v>
                </c:pt>
                <c:pt idx="4">
                  <c:v>0.7544364461971145</c:v>
                </c:pt>
                <c:pt idx="5">
                  <c:v>0.8914213217879952</c:v>
                </c:pt>
                <c:pt idx="6">
                  <c:v>0.8446009415962397</c:v>
                </c:pt>
                <c:pt idx="7">
                  <c:v>0.6947736707938821</c:v>
                </c:pt>
                <c:pt idx="8">
                  <c:v>0.7833544893875507</c:v>
                </c:pt>
                <c:pt idx="9">
                  <c:v>0.7613429474760278</c:v>
                </c:pt>
                <c:pt idx="10">
                  <c:v>0.766555956239328</c:v>
                </c:pt>
                <c:pt idx="11">
                  <c:v>0.7406952727042804</c:v>
                </c:pt>
                <c:pt idx="12">
                  <c:v>0.6847116900697604</c:v>
                </c:pt>
                <c:pt idx="13">
                  <c:v>0.602059101051708</c:v>
                </c:pt>
                <c:pt idx="14">
                  <c:v>0.5977168278296656</c:v>
                </c:pt>
                <c:pt idx="15">
                  <c:v>0.6090773450163397</c:v>
                </c:pt>
                <c:pt idx="16">
                  <c:v>0.575369530701084</c:v>
                </c:pt>
                <c:pt idx="17">
                  <c:v>0.43588164295742987</c:v>
                </c:pt>
                <c:pt idx="18">
                  <c:v>0.569486990082358</c:v>
                </c:pt>
                <c:pt idx="19">
                  <c:v>0.6359532222218478</c:v>
                </c:pt>
                <c:pt idx="20">
                  <c:v>0.5490117143515651</c:v>
                </c:pt>
                <c:pt idx="21">
                  <c:v>0.4930240492429066</c:v>
                </c:pt>
                <c:pt idx="22">
                  <c:v>0.51387469440209</c:v>
                </c:pt>
                <c:pt idx="23">
                  <c:v>0.44189703350405324</c:v>
                </c:pt>
                <c:pt idx="24">
                  <c:v>0.5325773310191649</c:v>
                </c:pt>
                <c:pt idx="25">
                  <c:v>0.49494544649788547</c:v>
                </c:pt>
                <c:pt idx="26">
                  <c:v>0.5355449850886121</c:v>
                </c:pt>
                <c:pt idx="27">
                  <c:v>0.5039508029016588</c:v>
                </c:pt>
                <c:pt idx="28">
                  <c:v>0.5646759056819411</c:v>
                </c:pt>
                <c:pt idx="29">
                  <c:v>0.482968750165199</c:v>
                </c:pt>
                <c:pt idx="30">
                  <c:v>0.4718324334374835</c:v>
                </c:pt>
                <c:pt idx="31">
                  <c:v>0.48506893344385515</c:v>
                </c:pt>
                <c:pt idx="32">
                  <c:v>0.5883140007055117</c:v>
                </c:pt>
                <c:pt idx="33">
                  <c:v>0.6768897476236313</c:v>
                </c:pt>
                <c:pt idx="34">
                  <c:v>0.7501615355670261</c:v>
                </c:pt>
                <c:pt idx="35">
                  <c:v>0.5006523374259947</c:v>
                </c:pt>
                <c:pt idx="36">
                  <c:v>0.4562942851112718</c:v>
                </c:pt>
                <c:pt idx="37">
                  <c:v>0.4640881527118102</c:v>
                </c:pt>
                <c:pt idx="38">
                  <c:v>0.4093912044613488</c:v>
                </c:pt>
                <c:pt idx="39">
                  <c:v>0.3972512185219328</c:v>
                </c:pt>
                <c:pt idx="40">
                  <c:v>0.4275415156261007</c:v>
                </c:pt>
                <c:pt idx="41">
                  <c:v>0.45267500482259654</c:v>
                </c:pt>
                <c:pt idx="42">
                  <c:v>0.42587281285970846</c:v>
                </c:pt>
                <c:pt idx="43">
                  <c:v>0.4931257209211285</c:v>
                </c:pt>
                <c:pt idx="44">
                  <c:v>0.6066167778907415</c:v>
                </c:pt>
                <c:pt idx="45">
                  <c:v>0.6524995979764446</c:v>
                </c:pt>
                <c:pt idx="46">
                  <c:v>0.6095580472565648</c:v>
                </c:pt>
                <c:pt idx="47">
                  <c:v>0.5771648247598549</c:v>
                </c:pt>
                <c:pt idx="48">
                  <c:v>0.52944258627081</c:v>
                </c:pt>
                <c:pt idx="49">
                  <c:v>0.6537504229131017</c:v>
                </c:pt>
                <c:pt idx="50">
                  <c:v>0.7818785689211416</c:v>
                </c:pt>
                <c:pt idx="51">
                  <c:v>0.6905966298215692</c:v>
                </c:pt>
                <c:pt idx="52">
                  <c:v>0.48210148982569706</c:v>
                </c:pt>
                <c:pt idx="53">
                  <c:v>0.48210148982569706</c:v>
                </c:pt>
                <c:pt idx="54">
                  <c:v>0.7018035270046915</c:v>
                </c:pt>
              </c:numCache>
            </c:numRef>
          </c:xVal>
          <c:yVal>
            <c:numRef>
              <c:f>Sheet1!$B$136:$B$190</c:f>
              <c:numCache>
                <c:formatCode>General</c:formatCode>
                <c:ptCount val="55"/>
                <c:pt idx="0">
                  <c:v>0.0021380309404117103</c:v>
                </c:pt>
                <c:pt idx="1">
                  <c:v>0.0027118506262307296</c:v>
                </c:pt>
                <c:pt idx="2">
                  <c:v>0.0021597994809925075</c:v>
                </c:pt>
                <c:pt idx="3">
                  <c:v>0.0029672055064364888</c:v>
                </c:pt>
                <c:pt idx="4">
                  <c:v>0.0025049779733878333</c:v>
                </c:pt>
                <c:pt idx="5">
                  <c:v>0.0017388504075519185</c:v>
                </c:pt>
                <c:pt idx="6">
                  <c:v>0.0020007069355306153</c:v>
                </c:pt>
                <c:pt idx="7">
                  <c:v>0.0028386593137075403</c:v>
                </c:pt>
                <c:pt idx="8">
                  <c:v>0.0023432454467664666</c:v>
                </c:pt>
                <c:pt idx="9">
                  <c:v>0.0024663513659581244</c:v>
                </c:pt>
                <c:pt idx="10">
                  <c:v>0.0024371961055888224</c:v>
                </c:pt>
                <c:pt idx="11">
                  <c:v>0.002581829463410976</c:v>
                </c:pt>
                <c:pt idx="12">
                  <c:v>0.0028949338532609594</c:v>
                </c:pt>
                <c:pt idx="13">
                  <c:v>0.003357192380425343</c:v>
                </c:pt>
                <c:pt idx="14">
                  <c:v>0.0033814778002532473</c:v>
                </c:pt>
                <c:pt idx="15">
                  <c:v>0.0033179408196827944</c:v>
                </c:pt>
                <c:pt idx="16">
                  <c:v>0.003506461527677766</c:v>
                </c:pt>
                <c:pt idx="17">
                  <c:v>0.004286587913453403</c:v>
                </c:pt>
                <c:pt idx="18">
                  <c:v>0.003539361338738772</c:v>
                </c:pt>
                <c:pt idx="19">
                  <c:v>0.0031676296974195157</c:v>
                </c:pt>
                <c:pt idx="20">
                  <c:v>0.003653875244655666</c:v>
                </c:pt>
                <c:pt idx="21">
                  <c:v>0.0039670024669239065</c:v>
                </c:pt>
                <c:pt idx="22">
                  <c:v>0.003850389198831286</c:v>
                </c:pt>
                <c:pt idx="23">
                  <c:v>0.004252945100718362</c:v>
                </c:pt>
                <c:pt idx="24">
                  <c:v>0.0037457892902330032</c:v>
                </c:pt>
                <c:pt idx="25">
                  <c:v>0.003956256496643529</c:v>
                </c:pt>
                <c:pt idx="26">
                  <c:v>0.0037291918258876766</c:v>
                </c:pt>
                <c:pt idx="27">
                  <c:v>0.0039058914344324786</c:v>
                </c:pt>
                <c:pt idx="28">
                  <c:v>0.0035662687207750985</c:v>
                </c:pt>
                <c:pt idx="29">
                  <c:v>0.00402323963743581</c:v>
                </c:pt>
                <c:pt idx="30">
                  <c:v>0.004085522712046643</c:v>
                </c:pt>
                <c:pt idx="31">
                  <c:v>0.004011493754569941</c:v>
                </c:pt>
                <c:pt idx="32">
                  <c:v>0.0034340658325125078</c:v>
                </c:pt>
                <c:pt idx="33">
                  <c:v>0.0029386803303848943</c:v>
                </c:pt>
                <c:pt idx="34">
                  <c:v>0.0025288866484227124</c:v>
                </c:pt>
                <c:pt idx="35">
                  <c:v>0.003924339057317589</c:v>
                </c:pt>
                <c:pt idx="36">
                  <c:v>0.004172424303944358</c:v>
                </c:pt>
                <c:pt idx="37">
                  <c:v>0.004128834843520411</c:v>
                </c:pt>
                <c:pt idx="38">
                  <c:v>0.004434743358172292</c:v>
                </c:pt>
                <c:pt idx="39">
                  <c:v>0.00450263974335298</c:v>
                </c:pt>
                <c:pt idx="40">
                  <c:v>0.004333232489531977</c:v>
                </c:pt>
                <c:pt idx="41">
                  <c:v>0.004192666176528321</c:v>
                </c:pt>
                <c:pt idx="42">
                  <c:v>0.004342565192744688</c:v>
                </c:pt>
                <c:pt idx="43">
                  <c:v>0.003966433838635458</c:v>
                </c:pt>
                <c:pt idx="44">
                  <c:v>0.0033317022535226913</c:v>
                </c:pt>
                <c:pt idx="45">
                  <c:v>0.0030750893018058004</c:v>
                </c:pt>
                <c:pt idx="46">
                  <c:v>0.003315252353269207</c:v>
                </c:pt>
                <c:pt idx="47">
                  <c:v>0.003496420826021667</c:v>
                </c:pt>
                <c:pt idx="48">
                  <c:v>0.003763321257563081</c:v>
                </c:pt>
                <c:pt idx="49">
                  <c:v>0.0030680937013070272</c:v>
                </c:pt>
                <c:pt idx="50">
                  <c:v>0.0023514999591673427</c:v>
                </c:pt>
                <c:pt idx="51">
                  <c:v>0.002862020624353779</c:v>
                </c:pt>
                <c:pt idx="52">
                  <c:v>0.00402809004190552</c:v>
                </c:pt>
                <c:pt idx="53">
                  <c:v>0.00402809004190552</c:v>
                </c:pt>
                <c:pt idx="54">
                  <c:v>0.00279934280811717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41763187901338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3.0490593651858403e-05</c:v>
                </c:pt>
                <c:pt idx="2">
                  <c:v>0.0</c:v>
                </c:pt>
                <c:pt idx="3">
                  <c:v>4.098360655737705e-05</c:v>
                </c:pt>
                <c:pt idx="4">
                  <c:v>4.1983290650321174e-05</c:v>
                </c:pt>
                <c:pt idx="5">
                  <c:v>8.710422019946867e-05</c:v>
                </c:pt>
                <c:pt idx="6">
                  <c:v>7.334873656801261e-05</c:v>
                </c:pt>
                <c:pt idx="7">
                  <c:v>0.00010172250101722501</c:v>
                </c:pt>
                <c:pt idx="8">
                  <c:v>0.00013319717621986413</c:v>
                </c:pt>
                <c:pt idx="9">
                  <c:v>0.0002985594506506108</c:v>
                </c:pt>
                <c:pt idx="10">
                  <c:v>0.000343300490919702</c:v>
                </c:pt>
                <c:pt idx="11">
                  <c:v>0.0002573422974233602</c:v>
                </c:pt>
                <c:pt idx="12">
                  <c:v>0.0003287998804364071</c:v>
                </c:pt>
                <c:pt idx="13">
                  <c:v>0.00032409180636987716</c:v>
                </c:pt>
                <c:pt idx="14">
                  <c:v>0.0003517523663341008</c:v>
                </c:pt>
                <c:pt idx="15">
                  <c:v>0.0003256056264652253</c:v>
                </c:pt>
                <c:pt idx="16">
                  <c:v>0.0003461884650003462</c:v>
                </c:pt>
                <c:pt idx="17">
                  <c:v>0.0005456453305351522</c:v>
                </c:pt>
                <c:pt idx="18">
                  <c:v>0.0006545930613135501</c:v>
                </c:pt>
                <c:pt idx="19">
                  <c:v>0.00041851948731362804</c:v>
                </c:pt>
                <c:pt idx="20">
                  <c:v>0.0005812263876780006</c:v>
                </c:pt>
                <c:pt idx="21">
                  <c:v>0.0005997491957908511</c:v>
                </c:pt>
                <c:pt idx="22">
                  <c:v>0.0008912126433367002</c:v>
                </c:pt>
                <c:pt idx="23">
                  <c:v>0.0008319929003272505</c:v>
                </c:pt>
                <c:pt idx="24">
                  <c:v>0.0007712082262210797</c:v>
                </c:pt>
                <c:pt idx="25">
                  <c:v>0.0011096469935501767</c:v>
                </c:pt>
                <c:pt idx="26">
                  <c:v>0.001448960370933855</c:v>
                </c:pt>
                <c:pt idx="27">
                  <c:v>0.0019232310281272539</c:v>
                </c:pt>
                <c:pt idx="28">
                  <c:v>0.0013378821325841193</c:v>
                </c:pt>
                <c:pt idx="29">
                  <c:v>0.0012786863180563968</c:v>
                </c:pt>
                <c:pt idx="30">
                  <c:v>0.0016978922716627636</c:v>
                </c:pt>
                <c:pt idx="31">
                  <c:v>0.0018280143194455024</c:v>
                </c:pt>
                <c:pt idx="32">
                  <c:v>0.001646161843701265</c:v>
                </c:pt>
                <c:pt idx="33">
                  <c:v>0.0016679834957422526</c:v>
                </c:pt>
                <c:pt idx="34">
                  <c:v>0.0018284321194575652</c:v>
                </c:pt>
                <c:pt idx="35">
                  <c:v>0.0016132749481447338</c:v>
                </c:pt>
                <c:pt idx="36">
                  <c:v>0.0014814001975200263</c:v>
                </c:pt>
                <c:pt idx="37">
                  <c:v>0.002191587133262637</c:v>
                </c:pt>
                <c:pt idx="38">
                  <c:v>0.0028035199750798224</c:v>
                </c:pt>
                <c:pt idx="39">
                  <c:v>0.0024772255074316765</c:v>
                </c:pt>
                <c:pt idx="40">
                  <c:v>0.0027209826634533156</c:v>
                </c:pt>
                <c:pt idx="41">
                  <c:v>0.0021604938271604936</c:v>
                </c:pt>
                <c:pt idx="42">
                  <c:v>0.0021921812203142127</c:v>
                </c:pt>
                <c:pt idx="43">
                  <c:v>0.002098564852423504</c:v>
                </c:pt>
                <c:pt idx="44">
                  <c:v>0.0022365805168986083</c:v>
                </c:pt>
                <c:pt idx="45">
                  <c:v>0.002911208151382824</c:v>
                </c:pt>
                <c:pt idx="46">
                  <c:v>0.0034041028397384216</c:v>
                </c:pt>
                <c:pt idx="47">
                  <c:v>0.0032136154459212795</c:v>
                </c:pt>
                <c:pt idx="48">
                  <c:v>0.002910157104721894</c:v>
                </c:pt>
                <c:pt idx="49">
                  <c:v>0.0022968516726002003</c:v>
                </c:pt>
                <c:pt idx="50">
                  <c:v>0.0032512371964552884</c:v>
                </c:pt>
                <c:pt idx="51">
                  <c:v>0.002970982052012535</c:v>
                </c:pt>
                <c:pt idx="52">
                  <c:v>0.0025500265627766954</c:v>
                </c:pt>
                <c:pt idx="53">
                  <c:v>0.002119003220884896</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066348574219484</c:v>
                </c:pt>
                <c:pt idx="1">
                  <c:v>0.00257844420643421</c:v>
                </c:pt>
                <c:pt idx="2">
                  <c:v>0.0023108434578621197</c:v>
                </c:pt>
                <c:pt idx="3">
                  <c:v>0.0025841648122891395</c:v>
                </c:pt>
                <c:pt idx="4">
                  <c:v>0.002413957060824403</c:v>
                </c:pt>
                <c:pt idx="5">
                  <c:v>0.00214390491593636</c:v>
                </c:pt>
                <c:pt idx="6">
                  <c:v>0.0022257135375752814</c:v>
                </c:pt>
                <c:pt idx="7">
                  <c:v>0.0026819238333631325</c:v>
                </c:pt>
                <c:pt idx="8">
                  <c:v>0.0032357626443647947</c:v>
                </c:pt>
                <c:pt idx="9">
                  <c:v>0.003254044639992667</c:v>
                </c:pt>
                <c:pt idx="10">
                  <c:v>0.0030680302356602936</c:v>
                </c:pt>
                <c:pt idx="11">
                  <c:v>0.003079560607022668</c:v>
                </c:pt>
                <c:pt idx="12">
                  <c:v>0.003288244525820193</c:v>
                </c:pt>
                <c:pt idx="13">
                  <c:v>0.004943332529539426</c:v>
                </c:pt>
                <c:pt idx="14">
                  <c:v>0.004891591750396615</c:v>
                </c:pt>
                <c:pt idx="15">
                  <c:v>0.004721480351011064</c:v>
                </c:pt>
                <c:pt idx="16">
                  <c:v>0.004641421859964906</c:v>
                </c:pt>
                <c:pt idx="17">
                  <c:v>0.006181359899177819</c:v>
                </c:pt>
                <c:pt idx="18">
                  <c:v>0.0032485485208736523</c:v>
                </c:pt>
                <c:pt idx="19">
                  <c:v>0.0029625639644492324</c:v>
                </c:pt>
                <c:pt idx="20">
                  <c:v>0.0036864279265723743</c:v>
                </c:pt>
                <c:pt idx="21">
                  <c:v>0.004398563734290844</c:v>
                </c:pt>
                <c:pt idx="22">
                  <c:v>0.003797580146604257</c:v>
                </c:pt>
                <c:pt idx="23">
                  <c:v>0.004160887656033287</c:v>
                </c:pt>
                <c:pt idx="24">
                  <c:v>0.0036592630414432814</c:v>
                </c:pt>
                <c:pt idx="25">
                  <c:v>0.003847530422333572</c:v>
                </c:pt>
                <c:pt idx="26">
                  <c:v>0.0037254739630764137</c:v>
                </c:pt>
                <c:pt idx="27">
                  <c:v>0.004029249365766304</c:v>
                </c:pt>
                <c:pt idx="28">
                  <c:v>0.003172246220302376</c:v>
                </c:pt>
                <c:pt idx="29">
                  <c:v>0.003813387423935091</c:v>
                </c:pt>
                <c:pt idx="30">
                  <c:v>0.003781512605042017</c:v>
                </c:pt>
                <c:pt idx="31">
                  <c:v>0.004042400287459576</c:v>
                </c:pt>
                <c:pt idx="32">
                  <c:v>0.003339027799347725</c:v>
                </c:pt>
                <c:pt idx="33">
                  <c:v>0.002659896022246403</c:v>
                </c:pt>
                <c:pt idx="34">
                  <c:v>0.002619224116629602</c:v>
                </c:pt>
                <c:pt idx="35">
                  <c:v>0.0035957842529448234</c:v>
                </c:pt>
                <c:pt idx="36">
                  <c:v>0.004312457120454768</c:v>
                </c:pt>
                <c:pt idx="37">
                  <c:v>0.004406451044328898</c:v>
                </c:pt>
                <c:pt idx="38">
                  <c:v>0.005291005291005291</c:v>
                </c:pt>
                <c:pt idx="39">
                  <c:v>0.004871060171919771</c:v>
                </c:pt>
                <c:pt idx="40">
                  <c:v>0.004396678065461651</c:v>
                </c:pt>
                <c:pt idx="41">
                  <c:v>0.0037574159525379036</c:v>
                </c:pt>
                <c:pt idx="42">
                  <c:v>0.004251827539907504</c:v>
                </c:pt>
                <c:pt idx="43">
                  <c:v>0.003289473684210526</c:v>
                </c:pt>
                <c:pt idx="44">
                  <c:v>0.002335818884197287</c:v>
                </c:pt>
                <c:pt idx="45">
                  <c:v>0.001866649200943149</c:v>
                </c:pt>
                <c:pt idx="46">
                  <c:v>0.0020526723470178157</c:v>
                </c:pt>
                <c:pt idx="47">
                  <c:v>0.0019118389726570954</c:v>
                </c:pt>
                <c:pt idx="48">
                  <c:v>0.0021572387344199425</c:v>
                </c:pt>
                <c:pt idx="49">
                  <c:v>0.0019169861643607267</c:v>
                </c:pt>
                <c:pt idx="50">
                  <c:v>0.0015593003813710571</c:v>
                </c:pt>
                <c:pt idx="51">
                  <c:v>0.002024496406518878</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07.329370171379</c:v>
                </c:pt>
              </c:numCache>
            </c:numRef>
          </c:xVal>
          <c:yVal>
            <c:numRef>
              <c:f>Sheet1!$B$112:$B$113</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07.329370171379</c:v>
                </c:pt>
                <c:pt idx="1">
                  <c:v>3507.329370171379</c:v>
                </c:pt>
              </c:numCache>
            </c:numRef>
          </c:xVal>
          <c:yVal>
            <c:numRef>
              <c:f>Sheet1!$B$116:$B$117</c:f>
              <c:numCache>
                <c:formatCode>General</c:formatCode>
                <c:ptCount val="2"/>
                <c:pt idx="0">
                  <c:v>0.004028090041905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07.329370171379</c:v>
                </c:pt>
              </c:numCache>
            </c:numRef>
          </c:xVal>
          <c:yVal>
            <c:numRef>
              <c:f>Sheet1!$B$120:$B$121</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07.329370171379</c:v>
                </c:pt>
                <c:pt idx="1">
                  <c:v>3507.329370171379</c:v>
                </c:pt>
              </c:numCache>
            </c:numRef>
          </c:xVal>
          <c:yVal>
            <c:numRef>
              <c:f>Sheet1!$B$124:$B$125</c:f>
              <c:numCache>
                <c:formatCode>General</c:formatCode>
                <c:ptCount val="2"/>
                <c:pt idx="0">
                  <c:v>0.0040280900419055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51.422271084922</c:v>
                </c:pt>
              </c:numCache>
            </c:numRef>
          </c:xVal>
          <c:yVal>
            <c:numRef>
              <c:f>Sheet1!$B$128:$B$129</c:f>
              <c:numCache>
                <c:formatCode>General</c:formatCode>
                <c:ptCount val="2"/>
                <c:pt idx="0">
                  <c:v>0.0027993428081171776</c:v>
                </c:pt>
                <c:pt idx="1">
                  <c:v>0.0027993428081171776</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51.422271084922</c:v>
                </c:pt>
                <c:pt idx="1">
                  <c:v>4251.422271084922</c:v>
                </c:pt>
              </c:numCache>
            </c:numRef>
          </c:xVal>
          <c:yVal>
            <c:numRef>
              <c:f>Sheet1!$B$132:$B$133</c:f>
              <c:numCache>
                <c:formatCode>General</c:formatCode>
                <c:ptCount val="2"/>
                <c:pt idx="0">
                  <c:v>0.002799342808117177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07.329370171379</c:v>
                </c:pt>
                <c:pt idx="53">
                  <c:v>3507.329370171379</c:v>
                </c:pt>
                <c:pt idx="54">
                  <c:v>4251.422271084922</c:v>
                </c:pt>
              </c:numCache>
            </c:numRef>
          </c:xVal>
          <c:yVal>
            <c:numRef>
              <c:f>Sheet1!$B$136:$B$190</c:f>
              <c:numCache>
                <c:formatCode>General</c:formatCode>
                <c:ptCount val="55"/>
                <c:pt idx="0">
                  <c:v>0.002503580264801966</c:v>
                </c:pt>
                <c:pt idx="1">
                  <c:v>0.00367349519197689</c:v>
                </c:pt>
                <c:pt idx="2">
                  <c:v>0.002628251162475396</c:v>
                </c:pt>
                <c:pt idx="3">
                  <c:v>0.0038078366422677114</c:v>
                </c:pt>
                <c:pt idx="4">
                  <c:v>0.0024316670684189122</c:v>
                </c:pt>
                <c:pt idx="5">
                  <c:v>0.0018260996131803566</c:v>
                </c:pt>
                <c:pt idx="6">
                  <c:v>0.002373048446164489</c:v>
                </c:pt>
                <c:pt idx="7">
                  <c:v>0.0028887718405446183</c:v>
                </c:pt>
                <c:pt idx="8">
                  <c:v>0.003095578363637456</c:v>
                </c:pt>
                <c:pt idx="9">
                  <c:v>0.003093070810249678</c:v>
                </c:pt>
                <c:pt idx="10">
                  <c:v>0.0027556454431235545</c:v>
                </c:pt>
                <c:pt idx="11">
                  <c:v>0.0032272253293297677</c:v>
                </c:pt>
                <c:pt idx="12">
                  <c:v>0.003536460743289763</c:v>
                </c:pt>
                <c:pt idx="13">
                  <c:v>0.004195888826988729</c:v>
                </c:pt>
                <c:pt idx="14">
                  <c:v>0.004213271117716706</c:v>
                </c:pt>
                <c:pt idx="15">
                  <c:v>0.0038444348669780526</c:v>
                </c:pt>
                <c:pt idx="16">
                  <c:v>0.0036363006699149988</c:v>
                </c:pt>
                <c:pt idx="17">
                  <c:v>0.00499658918239692</c:v>
                </c:pt>
                <c:pt idx="18">
                  <c:v>0.003061091701993925</c:v>
                </c:pt>
                <c:pt idx="19">
                  <c:v>0.0026530337493851242</c:v>
                </c:pt>
                <c:pt idx="20">
                  <c:v>0.003031294503709374</c:v>
                </c:pt>
                <c:pt idx="21">
                  <c:v>0.0035920747600854683</c:v>
                </c:pt>
                <c:pt idx="22">
                  <c:v>0.003227121625442542</c:v>
                </c:pt>
                <c:pt idx="23">
                  <c:v>0.004745974207160709</c:v>
                </c:pt>
                <c:pt idx="24">
                  <c:v>0.003240101950371506</c:v>
                </c:pt>
                <c:pt idx="25">
                  <c:v>0.0037084668509401383</c:v>
                </c:pt>
                <c:pt idx="26">
                  <c:v>0.003284542038452202</c:v>
                </c:pt>
                <c:pt idx="27">
                  <c:v>0.0037451852928955445</c:v>
                </c:pt>
                <c:pt idx="28">
                  <c:v>0.003495147129248633</c:v>
                </c:pt>
                <c:pt idx="29">
                  <c:v>0.003785149765601268</c:v>
                </c:pt>
                <c:pt idx="30">
                  <c:v>0.00390878362440244</c:v>
                </c:pt>
                <c:pt idx="31">
                  <c:v>0.0036564595166299427</c:v>
                </c:pt>
                <c:pt idx="32">
                  <c:v>0.002854073312520019</c:v>
                </c:pt>
                <c:pt idx="33">
                  <c:v>0.0021684793179251914</c:v>
                </c:pt>
                <c:pt idx="34">
                  <c:v>0.0020821453364089195</c:v>
                </c:pt>
                <c:pt idx="35">
                  <c:v>0.003347343989647855</c:v>
                </c:pt>
                <c:pt idx="36">
                  <c:v>0.002844175866365926</c:v>
                </c:pt>
                <c:pt idx="37">
                  <c:v>0.0029715148272653263</c:v>
                </c:pt>
                <c:pt idx="38">
                  <c:v>0.00388982992254255</c:v>
                </c:pt>
                <c:pt idx="39">
                  <c:v>0.0045642494930216325</c:v>
                </c:pt>
                <c:pt idx="40">
                  <c:v>0.004492973877384725</c:v>
                </c:pt>
                <c:pt idx="41">
                  <c:v>0.004156047543932481</c:v>
                </c:pt>
                <c:pt idx="42">
                  <c:v>0.0044144381639741135</c:v>
                </c:pt>
                <c:pt idx="43">
                  <c:v>0.004126585731945631</c:v>
                </c:pt>
                <c:pt idx="44">
                  <c:v>0.0030946129927382163</c:v>
                </c:pt>
                <c:pt idx="45">
                  <c:v>0.0029311330620070243</c:v>
                </c:pt>
                <c:pt idx="46">
                  <c:v>0.0030410416783071366</c:v>
                </c:pt>
                <c:pt idx="47">
                  <c:v>0.003103698972488124</c:v>
                </c:pt>
                <c:pt idx="48">
                  <c:v>0.0038486383422158465</c:v>
                </c:pt>
                <c:pt idx="49">
                  <c:v>0.003549531231152526</c:v>
                </c:pt>
                <c:pt idx="50">
                  <c:v>0.0030463677316107923</c:v>
                </c:pt>
                <c:pt idx="51">
                  <c:v>0.0028625431788889717</c:v>
                </c:pt>
                <c:pt idx="52">
                  <c:v>0.00402809004190552</c:v>
                </c:pt>
                <c:pt idx="53">
                  <c:v>0.00402809004190552</c:v>
                </c:pt>
                <c:pt idx="54">
                  <c:v>0.00279934280811717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41763187901338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5.178030127921491</c:v>
                </c:pt>
                <c:pt idx="2">
                  <c:v>0.0</c:v>
                </c:pt>
                <c:pt idx="3">
                  <c:v>7.6409557791693326</c:v>
                </c:pt>
                <c:pt idx="4">
                  <c:v>8.401673028803126</c:v>
                </c:pt>
                <c:pt idx="5">
                  <c:v>6.03359120125573</c:v>
                </c:pt>
                <c:pt idx="6">
                  <c:v>4.045336122746196</c:v>
                </c:pt>
                <c:pt idx="7">
                  <c:v>4.772449995432002</c:v>
                </c:pt>
                <c:pt idx="8">
                  <c:v>5.744280208541266</c:v>
                </c:pt>
                <c:pt idx="9">
                  <c:v>4.90587717461615</c:v>
                </c:pt>
                <c:pt idx="10">
                  <c:v>4.694573500105056</c:v>
                </c:pt>
                <c:pt idx="11">
                  <c:v>5.706215861238456</c:v>
                </c:pt>
                <c:pt idx="12">
                  <c:v>4.679737916233335</c:v>
                </c:pt>
                <c:pt idx="13">
                  <c:v>4.57194054142145</c:v>
                </c:pt>
                <c:pt idx="14">
                  <c:v>4.297344773536449</c:v>
                </c:pt>
                <c:pt idx="15">
                  <c:v>4.157798218874009</c:v>
                </c:pt>
                <c:pt idx="16">
                  <c:v>3.9619493336928473</c:v>
                </c:pt>
                <c:pt idx="17">
                  <c:v>3.2204717790823376</c:v>
                </c:pt>
                <c:pt idx="18">
                  <c:v>2.448225376929022</c:v>
                </c:pt>
                <c:pt idx="19">
                  <c:v>3.0678807817018594</c:v>
                </c:pt>
                <c:pt idx="20">
                  <c:v>3.072766306766055</c:v>
                </c:pt>
                <c:pt idx="21">
                  <c:v>2.848040279003972</c:v>
                </c:pt>
                <c:pt idx="22">
                  <c:v>1.393541980994871</c:v>
                </c:pt>
                <c:pt idx="23">
                  <c:v>1.940004227530402</c:v>
                </c:pt>
                <c:pt idx="24">
                  <c:v>7.352888705002659</c:v>
                </c:pt>
                <c:pt idx="25">
                  <c:v>8.407584971081555</c:v>
                </c:pt>
                <c:pt idx="26">
                  <c:v>8.649406477800355</c:v>
                </c:pt>
                <c:pt idx="27">
                  <c:v>6.359292359330298</c:v>
                </c:pt>
                <c:pt idx="28">
                  <c:v>9.246110025770559</c:v>
                </c:pt>
                <c:pt idx="29">
                  <c:v>8.395079756689706</c:v>
                </c:pt>
                <c:pt idx="30">
                  <c:v>7.115533972709748</c:v>
                </c:pt>
                <c:pt idx="31">
                  <c:v>7.693289672480953</c:v>
                </c:pt>
                <c:pt idx="32">
                  <c:v>8.460996607992678</c:v>
                </c:pt>
                <c:pt idx="33">
                  <c:v>7.831317823663764</c:v>
                </c:pt>
                <c:pt idx="34">
                  <c:v>6.906659378542208</c:v>
                </c:pt>
                <c:pt idx="35">
                  <c:v>9.612997241169143</c:v>
                </c:pt>
                <c:pt idx="36">
                  <c:v>9.766320045457945</c:v>
                </c:pt>
                <c:pt idx="37">
                  <c:v>8.591039356189581</c:v>
                </c:pt>
                <c:pt idx="38">
                  <c:v>7.928613890496009</c:v>
                </c:pt>
                <c:pt idx="39">
                  <c:v>8.907777057052405</c:v>
                </c:pt>
                <c:pt idx="40">
                  <c:v>7.737090339214486</c:v>
                </c:pt>
                <c:pt idx="41">
                  <c:v>8.664709630717693</c:v>
                </c:pt>
                <c:pt idx="42">
                  <c:v>7.757452047282135</c:v>
                </c:pt>
                <c:pt idx="43">
                  <c:v>8.113693009585514</c:v>
                </c:pt>
                <c:pt idx="44">
                  <c:v>8.042194792227406</c:v>
                </c:pt>
                <c:pt idx="45">
                  <c:v>6.046893327039474</c:v>
                </c:pt>
                <c:pt idx="46">
                  <c:v>6.168763744106363</c:v>
                </c:pt>
                <c:pt idx="47">
                  <c:v>6.1606218871575</c:v>
                </c:pt>
                <c:pt idx="48">
                  <c:v>7.207281879592925</c:v>
                </c:pt>
                <c:pt idx="49">
                  <c:v>7.123453160229834</c:v>
                </c:pt>
                <c:pt idx="50">
                  <c:v>6.091919268286862</c:v>
                </c:pt>
                <c:pt idx="51">
                  <c:v>6.295681751991446</c:v>
                </c:pt>
                <c:pt idx="52">
                  <c:v>6.660088901301545</c:v>
                </c:pt>
                <c:pt idx="53">
                  <c:v>6.93741532641267</c:v>
                </c:pt>
              </c:numCache>
            </c:numRef>
          </c:xVal>
          <c:yVal>
            <c:numRef>
              <c:f>Sheet1!$B$2:$B$55</c:f>
              <c:numCache>
                <c:formatCode>General</c:formatCode>
                <c:ptCount val="54"/>
                <c:pt idx="0">
                  <c:v>0.0</c:v>
                </c:pt>
                <c:pt idx="1">
                  <c:v>3.0490593651858403e-05</c:v>
                </c:pt>
                <c:pt idx="2">
                  <c:v>0.0</c:v>
                </c:pt>
                <c:pt idx="3">
                  <c:v>4.098360655737705e-05</c:v>
                </c:pt>
                <c:pt idx="4">
                  <c:v>4.1983290650321174e-05</c:v>
                </c:pt>
                <c:pt idx="5">
                  <c:v>8.710422019946867e-05</c:v>
                </c:pt>
                <c:pt idx="6">
                  <c:v>7.334873656801261e-05</c:v>
                </c:pt>
                <c:pt idx="7">
                  <c:v>0.00010172250101722501</c:v>
                </c:pt>
                <c:pt idx="8">
                  <c:v>0.00013319717621986413</c:v>
                </c:pt>
                <c:pt idx="9">
                  <c:v>0.0002985594506506108</c:v>
                </c:pt>
                <c:pt idx="10">
                  <c:v>0.000343300490919702</c:v>
                </c:pt>
                <c:pt idx="11">
                  <c:v>0.0002573422974233602</c:v>
                </c:pt>
                <c:pt idx="12">
                  <c:v>0.0003287998804364071</c:v>
                </c:pt>
                <c:pt idx="13">
                  <c:v>0.00032409180636987716</c:v>
                </c:pt>
                <c:pt idx="14">
                  <c:v>0.0003517523663341008</c:v>
                </c:pt>
                <c:pt idx="15">
                  <c:v>0.0003256056264652253</c:v>
                </c:pt>
                <c:pt idx="16">
                  <c:v>0.0003461884650003462</c:v>
                </c:pt>
                <c:pt idx="17">
                  <c:v>0.0005456453305351522</c:v>
                </c:pt>
                <c:pt idx="18">
                  <c:v>0.0006545930613135501</c:v>
                </c:pt>
                <c:pt idx="19">
                  <c:v>0.00041851948731362804</c:v>
                </c:pt>
                <c:pt idx="20">
                  <c:v>0.0005812263876780006</c:v>
                </c:pt>
                <c:pt idx="21">
                  <c:v>0.0005997491957908511</c:v>
                </c:pt>
                <c:pt idx="22">
                  <c:v>0.0008912126433367002</c:v>
                </c:pt>
                <c:pt idx="23">
                  <c:v>0.0008319929003272505</c:v>
                </c:pt>
                <c:pt idx="24">
                  <c:v>0.0007712082262210797</c:v>
                </c:pt>
                <c:pt idx="25">
                  <c:v>0.0011096469935501767</c:v>
                </c:pt>
                <c:pt idx="26">
                  <c:v>0.001448960370933855</c:v>
                </c:pt>
                <c:pt idx="27">
                  <c:v>0.0019232310281272539</c:v>
                </c:pt>
                <c:pt idx="28">
                  <c:v>0.0013378821325841193</c:v>
                </c:pt>
                <c:pt idx="29">
                  <c:v>0.0012786863180563968</c:v>
                </c:pt>
                <c:pt idx="30">
                  <c:v>0.0016978922716627636</c:v>
                </c:pt>
                <c:pt idx="31">
                  <c:v>0.0018280143194455024</c:v>
                </c:pt>
                <c:pt idx="32">
                  <c:v>0.001646161843701265</c:v>
                </c:pt>
                <c:pt idx="33">
                  <c:v>0.0016679834957422526</c:v>
                </c:pt>
                <c:pt idx="34">
                  <c:v>0.0018284321194575652</c:v>
                </c:pt>
                <c:pt idx="35">
                  <c:v>0.0016132749481447338</c:v>
                </c:pt>
                <c:pt idx="36">
                  <c:v>0.0014814001975200263</c:v>
                </c:pt>
                <c:pt idx="37">
                  <c:v>0.002191587133262637</c:v>
                </c:pt>
                <c:pt idx="38">
                  <c:v>0.0028035199750798224</c:v>
                </c:pt>
                <c:pt idx="39">
                  <c:v>0.0024772255074316765</c:v>
                </c:pt>
                <c:pt idx="40">
                  <c:v>0.0027209826634533156</c:v>
                </c:pt>
                <c:pt idx="41">
                  <c:v>0.0021604938271604936</c:v>
                </c:pt>
                <c:pt idx="42">
                  <c:v>0.0021921812203142127</c:v>
                </c:pt>
                <c:pt idx="43">
                  <c:v>0.002098564852423504</c:v>
                </c:pt>
                <c:pt idx="44">
                  <c:v>0.0022365805168986083</c:v>
                </c:pt>
                <c:pt idx="45">
                  <c:v>0.002911208151382824</c:v>
                </c:pt>
                <c:pt idx="46">
                  <c:v>0.0034041028397384216</c:v>
                </c:pt>
                <c:pt idx="47">
                  <c:v>0.0032136154459212795</c:v>
                </c:pt>
                <c:pt idx="48">
                  <c:v>0.002910157104721894</c:v>
                </c:pt>
                <c:pt idx="49">
                  <c:v>0.0022968516726002003</c:v>
                </c:pt>
                <c:pt idx="50">
                  <c:v>0.0032512371964552884</c:v>
                </c:pt>
                <c:pt idx="51">
                  <c:v>0.002970982052012535</c:v>
                </c:pt>
                <c:pt idx="52">
                  <c:v>0.0025500265627766954</c:v>
                </c:pt>
                <c:pt idx="53">
                  <c:v>0.002119003220884896</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6.960023117722398</c:v>
                </c:pt>
                <c:pt idx="1">
                  <c:v>5.800017546243545</c:v>
                </c:pt>
                <c:pt idx="2">
                  <c:v>6.639289962225676</c:v>
                </c:pt>
                <c:pt idx="3">
                  <c:v>5.580355666200858</c:v>
                </c:pt>
                <c:pt idx="4">
                  <c:v>6.797085962082807</c:v>
                </c:pt>
                <c:pt idx="5">
                  <c:v>7.179276601184743</c:v>
                </c:pt>
                <c:pt idx="6">
                  <c:v>7.165574753308513</c:v>
                </c:pt>
                <c:pt idx="7">
                  <c:v>6.295990397462203</c:v>
                </c:pt>
                <c:pt idx="8">
                  <c:v>6.128442576159847</c:v>
                </c:pt>
                <c:pt idx="9">
                  <c:v>6.351537892425102</c:v>
                </c:pt>
                <c:pt idx="10">
                  <c:v>6.473787713332067</c:v>
                </c:pt>
                <c:pt idx="11">
                  <c:v>7.050246598237009</c:v>
                </c:pt>
                <c:pt idx="12">
                  <c:v>6.495112678188853</c:v>
                </c:pt>
                <c:pt idx="13">
                  <c:v>5.34616551673689</c:v>
                </c:pt>
                <c:pt idx="14">
                  <c:v>5.302698821773182</c:v>
                </c:pt>
                <c:pt idx="15">
                  <c:v>5.888088669253369</c:v>
                </c:pt>
                <c:pt idx="16">
                  <c:v>5.7596308383090316</c:v>
                </c:pt>
                <c:pt idx="17">
                  <c:v>4.747870733583403</c:v>
                </c:pt>
                <c:pt idx="18">
                  <c:v>6.420320100317823</c:v>
                </c:pt>
                <c:pt idx="19">
                  <c:v>6.729178495642648</c:v>
                </c:pt>
                <c:pt idx="20">
                  <c:v>6.160496692914849</c:v>
                </c:pt>
                <c:pt idx="21">
                  <c:v>5.752037801437823</c:v>
                </c:pt>
                <c:pt idx="22">
                  <c:v>5.981499382578619</c:v>
                </c:pt>
                <c:pt idx="23">
                  <c:v>4.553785083752831</c:v>
                </c:pt>
                <c:pt idx="24">
                  <c:v>5.900312332853352</c:v>
                </c:pt>
                <c:pt idx="25">
                  <c:v>5.705868132488224</c:v>
                </c:pt>
                <c:pt idx="26">
                  <c:v>5.920517324200234</c:v>
                </c:pt>
                <c:pt idx="27">
                  <c:v>5.419676294007039</c:v>
                </c:pt>
                <c:pt idx="28">
                  <c:v>5.663864554558522</c:v>
                </c:pt>
                <c:pt idx="29">
                  <c:v>5.46694362062195</c:v>
                </c:pt>
                <c:pt idx="30">
                  <c:v>5.31740054211202</c:v>
                </c:pt>
                <c:pt idx="31">
                  <c:v>5.4216595745793486</c:v>
                </c:pt>
                <c:pt idx="32">
                  <c:v>6.071537642554028</c:v>
                </c:pt>
                <c:pt idx="33">
                  <c:v>6.591417175010494</c:v>
                </c:pt>
                <c:pt idx="34">
                  <c:v>6.753139104061855</c:v>
                </c:pt>
                <c:pt idx="35">
                  <c:v>5.414374341000259</c:v>
                </c:pt>
                <c:pt idx="36">
                  <c:v>5.892536365301395</c:v>
                </c:pt>
                <c:pt idx="37">
                  <c:v>5.969736747213498</c:v>
                </c:pt>
                <c:pt idx="38">
                  <c:v>5.095872293826484</c:v>
                </c:pt>
                <c:pt idx="39">
                  <c:v>4.747513469561157</c:v>
                </c:pt>
                <c:pt idx="40">
                  <c:v>4.599624394107</c:v>
                </c:pt>
                <c:pt idx="41">
                  <c:v>4.860184063502149</c:v>
                </c:pt>
                <c:pt idx="42">
                  <c:v>4.708854772274886</c:v>
                </c:pt>
                <c:pt idx="43">
                  <c:v>5.006015320569048</c:v>
                </c:pt>
                <c:pt idx="44">
                  <c:v>5.999296750616632</c:v>
                </c:pt>
                <c:pt idx="45">
                  <c:v>6.3990279694996435</c:v>
                </c:pt>
                <c:pt idx="46">
                  <c:v>6.231362676246084</c:v>
                </c:pt>
                <c:pt idx="47">
                  <c:v>6.3835414374795265</c:v>
                </c:pt>
                <c:pt idx="48">
                  <c:v>5.5969609245139305</c:v>
                </c:pt>
                <c:pt idx="49">
                  <c:v>5.979414639031812</c:v>
                </c:pt>
                <c:pt idx="50">
                  <c:v>6.59584068669031</c:v>
                </c:pt>
                <c:pt idx="51">
                  <c:v>7.003704699878748</c:v>
                </c:pt>
              </c:numCache>
            </c:numRef>
          </c:xVal>
          <c:yVal>
            <c:numRef>
              <c:f>Sheet1!$B$58:$B$109</c:f>
              <c:numCache>
                <c:formatCode>General</c:formatCode>
                <c:ptCount val="52"/>
                <c:pt idx="0">
                  <c:v>0.002066348574219484</c:v>
                </c:pt>
                <c:pt idx="1">
                  <c:v>0.00257844420643421</c:v>
                </c:pt>
                <c:pt idx="2">
                  <c:v>0.0023108434578621197</c:v>
                </c:pt>
                <c:pt idx="3">
                  <c:v>0.0025841648122891395</c:v>
                </c:pt>
                <c:pt idx="4">
                  <c:v>0.002413957060824403</c:v>
                </c:pt>
                <c:pt idx="5">
                  <c:v>0.00214390491593636</c:v>
                </c:pt>
                <c:pt idx="6">
                  <c:v>0.0022257135375752814</c:v>
                </c:pt>
                <c:pt idx="7">
                  <c:v>0.0026819238333631325</c:v>
                </c:pt>
                <c:pt idx="8">
                  <c:v>0.0032357626443647947</c:v>
                </c:pt>
                <c:pt idx="9">
                  <c:v>0.003254044639992667</c:v>
                </c:pt>
                <c:pt idx="10">
                  <c:v>0.0030680302356602936</c:v>
                </c:pt>
                <c:pt idx="11">
                  <c:v>0.003079560607022668</c:v>
                </c:pt>
                <c:pt idx="12">
                  <c:v>0.003288244525820193</c:v>
                </c:pt>
                <c:pt idx="13">
                  <c:v>0.004943332529539426</c:v>
                </c:pt>
                <c:pt idx="14">
                  <c:v>0.004891591750396615</c:v>
                </c:pt>
                <c:pt idx="15">
                  <c:v>0.004721480351011064</c:v>
                </c:pt>
                <c:pt idx="16">
                  <c:v>0.004641421859964906</c:v>
                </c:pt>
                <c:pt idx="17">
                  <c:v>0.006181359899177819</c:v>
                </c:pt>
                <c:pt idx="18">
                  <c:v>0.0032485485208736523</c:v>
                </c:pt>
                <c:pt idx="19">
                  <c:v>0.0029625639644492324</c:v>
                </c:pt>
                <c:pt idx="20">
                  <c:v>0.0036864279265723743</c:v>
                </c:pt>
                <c:pt idx="21">
                  <c:v>0.004398563734290844</c:v>
                </c:pt>
                <c:pt idx="22">
                  <c:v>0.003797580146604257</c:v>
                </c:pt>
                <c:pt idx="23">
                  <c:v>0.004160887656033287</c:v>
                </c:pt>
                <c:pt idx="24">
                  <c:v>0.0036592630414432814</c:v>
                </c:pt>
                <c:pt idx="25">
                  <c:v>0.003847530422333572</c:v>
                </c:pt>
                <c:pt idx="26">
                  <c:v>0.0037254739630764137</c:v>
                </c:pt>
                <c:pt idx="27">
                  <c:v>0.004029249365766304</c:v>
                </c:pt>
                <c:pt idx="28">
                  <c:v>0.003172246220302376</c:v>
                </c:pt>
                <c:pt idx="29">
                  <c:v>0.003813387423935091</c:v>
                </c:pt>
                <c:pt idx="30">
                  <c:v>0.003781512605042017</c:v>
                </c:pt>
                <c:pt idx="31">
                  <c:v>0.004042400287459576</c:v>
                </c:pt>
                <c:pt idx="32">
                  <c:v>0.003339027799347725</c:v>
                </c:pt>
                <c:pt idx="33">
                  <c:v>0.002659896022246403</c:v>
                </c:pt>
                <c:pt idx="34">
                  <c:v>0.002619224116629602</c:v>
                </c:pt>
                <c:pt idx="35">
                  <c:v>0.0035957842529448234</c:v>
                </c:pt>
                <c:pt idx="36">
                  <c:v>0.004312457120454768</c:v>
                </c:pt>
                <c:pt idx="37">
                  <c:v>0.004406451044328898</c:v>
                </c:pt>
                <c:pt idx="38">
                  <c:v>0.005291005291005291</c:v>
                </c:pt>
                <c:pt idx="39">
                  <c:v>0.004871060171919771</c:v>
                </c:pt>
                <c:pt idx="40">
                  <c:v>0.004396678065461651</c:v>
                </c:pt>
                <c:pt idx="41">
                  <c:v>0.0037574159525379036</c:v>
                </c:pt>
                <c:pt idx="42">
                  <c:v>0.004251827539907504</c:v>
                </c:pt>
                <c:pt idx="43">
                  <c:v>0.003289473684210526</c:v>
                </c:pt>
                <c:pt idx="44">
                  <c:v>0.002335818884197287</c:v>
                </c:pt>
                <c:pt idx="45">
                  <c:v>0.001866649200943149</c:v>
                </c:pt>
                <c:pt idx="46">
                  <c:v>0.0020526723470178157</c:v>
                </c:pt>
                <c:pt idx="47">
                  <c:v>0.0019118389726570954</c:v>
                </c:pt>
                <c:pt idx="48">
                  <c:v>0.0021572387344199425</c:v>
                </c:pt>
                <c:pt idx="49">
                  <c:v>0.0019169861643607267</c:v>
                </c:pt>
                <c:pt idx="50">
                  <c:v>0.0015593003813710571</c:v>
                </c:pt>
                <c:pt idx="51">
                  <c:v>0.002024496406518878</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5.298164808404359</c:v>
                </c:pt>
              </c:numCache>
            </c:numRef>
          </c:xVal>
          <c:yVal>
            <c:numRef>
              <c:f>Sheet1!$B$112:$B$113</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5.298164808404359</c:v>
                </c:pt>
                <c:pt idx="1">
                  <c:v>5.298164808404359</c:v>
                </c:pt>
              </c:numCache>
            </c:numRef>
          </c:xVal>
          <c:yVal>
            <c:numRef>
              <c:f>Sheet1!$B$116:$B$117</c:f>
              <c:numCache>
                <c:formatCode>General</c:formatCode>
                <c:ptCount val="2"/>
                <c:pt idx="0">
                  <c:v>0.004028090041905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5.298164808404359</c:v>
                </c:pt>
              </c:numCache>
            </c:numRef>
          </c:xVal>
          <c:yVal>
            <c:numRef>
              <c:f>Sheet1!$B$120:$B$121</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5.298164808404359</c:v>
                </c:pt>
                <c:pt idx="1">
                  <c:v>5.298164808404359</c:v>
                </c:pt>
              </c:numCache>
            </c:numRef>
          </c:xVal>
          <c:yVal>
            <c:numRef>
              <c:f>Sheet1!$B$124:$B$125</c:f>
              <c:numCache>
                <c:formatCode>General</c:formatCode>
                <c:ptCount val="2"/>
                <c:pt idx="0">
                  <c:v>0.0040280900419055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6.475208754968264</c:v>
                </c:pt>
              </c:numCache>
            </c:numRef>
          </c:xVal>
          <c:yVal>
            <c:numRef>
              <c:f>Sheet1!$B$128:$B$129</c:f>
              <c:numCache>
                <c:formatCode>General</c:formatCode>
                <c:ptCount val="2"/>
                <c:pt idx="0">
                  <c:v>0.0027993428081171776</c:v>
                </c:pt>
                <c:pt idx="1">
                  <c:v>0.0027993428081171776</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6.475208754968264</c:v>
                </c:pt>
                <c:pt idx="1">
                  <c:v>6.475208754968264</c:v>
                </c:pt>
              </c:numCache>
            </c:numRef>
          </c:xVal>
          <c:yVal>
            <c:numRef>
              <c:f>Sheet1!$B$132:$B$133</c:f>
              <c:numCache>
                <c:formatCode>General</c:formatCode>
                <c:ptCount val="2"/>
                <c:pt idx="0">
                  <c:v>0.002799342808117177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6.960023117722398</c:v>
                </c:pt>
                <c:pt idx="1">
                  <c:v>5.800017546243545</c:v>
                </c:pt>
                <c:pt idx="2">
                  <c:v>6.639289962225676</c:v>
                </c:pt>
                <c:pt idx="3">
                  <c:v>5.580355666200858</c:v>
                </c:pt>
                <c:pt idx="4">
                  <c:v>6.797085962082807</c:v>
                </c:pt>
                <c:pt idx="5">
                  <c:v>7.179276601184743</c:v>
                </c:pt>
                <c:pt idx="6">
                  <c:v>7.165574753308513</c:v>
                </c:pt>
                <c:pt idx="7">
                  <c:v>6.295990397462203</c:v>
                </c:pt>
                <c:pt idx="8">
                  <c:v>6.128442576159847</c:v>
                </c:pt>
                <c:pt idx="9">
                  <c:v>6.351537892425102</c:v>
                </c:pt>
                <c:pt idx="10">
                  <c:v>6.473787713332067</c:v>
                </c:pt>
                <c:pt idx="11">
                  <c:v>7.050246598237009</c:v>
                </c:pt>
                <c:pt idx="12">
                  <c:v>6.495112678188853</c:v>
                </c:pt>
                <c:pt idx="13">
                  <c:v>5.34616551673689</c:v>
                </c:pt>
                <c:pt idx="14">
                  <c:v>5.302698821773182</c:v>
                </c:pt>
                <c:pt idx="15">
                  <c:v>5.888088669253369</c:v>
                </c:pt>
                <c:pt idx="16">
                  <c:v>5.7596308383090316</c:v>
                </c:pt>
                <c:pt idx="17">
                  <c:v>4.747870733583403</c:v>
                </c:pt>
                <c:pt idx="18">
                  <c:v>6.420320100317823</c:v>
                </c:pt>
                <c:pt idx="19">
                  <c:v>6.729178495642648</c:v>
                </c:pt>
                <c:pt idx="20">
                  <c:v>6.160496692914849</c:v>
                </c:pt>
                <c:pt idx="21">
                  <c:v>5.752037801437823</c:v>
                </c:pt>
                <c:pt idx="22">
                  <c:v>5.981499382578619</c:v>
                </c:pt>
                <c:pt idx="23">
                  <c:v>4.553785083752831</c:v>
                </c:pt>
                <c:pt idx="24">
                  <c:v>5.900312332853352</c:v>
                </c:pt>
                <c:pt idx="25">
                  <c:v>5.705868132488224</c:v>
                </c:pt>
                <c:pt idx="26">
                  <c:v>5.920517324200234</c:v>
                </c:pt>
                <c:pt idx="27">
                  <c:v>5.419676294007039</c:v>
                </c:pt>
                <c:pt idx="28">
                  <c:v>5.663864554558522</c:v>
                </c:pt>
                <c:pt idx="29">
                  <c:v>5.46694362062195</c:v>
                </c:pt>
                <c:pt idx="30">
                  <c:v>5.31740054211202</c:v>
                </c:pt>
                <c:pt idx="31">
                  <c:v>5.4216595745793486</c:v>
                </c:pt>
                <c:pt idx="32">
                  <c:v>6.071537642554028</c:v>
                </c:pt>
                <c:pt idx="33">
                  <c:v>6.591417175010494</c:v>
                </c:pt>
                <c:pt idx="34">
                  <c:v>6.753139104061855</c:v>
                </c:pt>
                <c:pt idx="35">
                  <c:v>5.414374341000259</c:v>
                </c:pt>
                <c:pt idx="36">
                  <c:v>5.892536365301395</c:v>
                </c:pt>
                <c:pt idx="37">
                  <c:v>5.969736747213498</c:v>
                </c:pt>
                <c:pt idx="38">
                  <c:v>5.095872293826484</c:v>
                </c:pt>
                <c:pt idx="39">
                  <c:v>4.747513469561157</c:v>
                </c:pt>
                <c:pt idx="40">
                  <c:v>4.599624394107</c:v>
                </c:pt>
                <c:pt idx="41">
                  <c:v>4.860184063502149</c:v>
                </c:pt>
                <c:pt idx="42">
                  <c:v>4.708854772274886</c:v>
                </c:pt>
                <c:pt idx="43">
                  <c:v>5.006015320569048</c:v>
                </c:pt>
                <c:pt idx="44">
                  <c:v>5.999296750616632</c:v>
                </c:pt>
                <c:pt idx="45">
                  <c:v>6.3990279694996435</c:v>
                </c:pt>
                <c:pt idx="46">
                  <c:v>6.231362676246084</c:v>
                </c:pt>
                <c:pt idx="47">
                  <c:v>6.3835414374795265</c:v>
                </c:pt>
                <c:pt idx="48">
                  <c:v>5.5969609245139305</c:v>
                </c:pt>
                <c:pt idx="49">
                  <c:v>5.979414639031812</c:v>
                </c:pt>
                <c:pt idx="50">
                  <c:v>6.59584068669031</c:v>
                </c:pt>
                <c:pt idx="51">
                  <c:v>7.003704699878748</c:v>
                </c:pt>
                <c:pt idx="52">
                  <c:v>5.298164808404359</c:v>
                </c:pt>
                <c:pt idx="53">
                  <c:v>5.298164808404359</c:v>
                </c:pt>
                <c:pt idx="54">
                  <c:v>6.475208754968264</c:v>
                </c:pt>
              </c:numCache>
            </c:numRef>
          </c:xVal>
          <c:yVal>
            <c:numRef>
              <c:f>Sheet1!$B$136:$B$190</c:f>
              <c:numCache>
                <c:formatCode>General</c:formatCode>
                <c:ptCount val="55"/>
                <c:pt idx="0">
                  <c:v>0.002293232302325066</c:v>
                </c:pt>
                <c:pt idx="1">
                  <c:v>0.0035041927267804836</c:v>
                </c:pt>
                <c:pt idx="2">
                  <c:v>0.0026280541063463036</c:v>
                </c:pt>
                <c:pt idx="3">
                  <c:v>0.0037335035594466158</c:v>
                </c:pt>
                <c:pt idx="4">
                  <c:v>0.002463326698424675</c:v>
                </c:pt>
                <c:pt idx="5">
                  <c:v>0.002064347805625276</c:v>
                </c:pt>
                <c:pt idx="6">
                  <c:v>0.002078651526165919</c:v>
                </c:pt>
                <c:pt idx="7">
                  <c:v>0.0029864335804477464</c:v>
                </c:pt>
                <c:pt idx="8">
                  <c:v>0.003161341172091655</c:v>
                </c:pt>
                <c:pt idx="9">
                  <c:v>0.0029284460847567107</c:v>
                </c:pt>
                <c:pt idx="10">
                  <c:v>0.002800826270977398</c:v>
                </c:pt>
                <c:pt idx="11">
                  <c:v>0.0021990456303416462</c:v>
                </c:pt>
                <c:pt idx="12">
                  <c:v>0.0027785645774740216</c:v>
                </c:pt>
                <c:pt idx="13">
                  <c:v>0.0039779808359105715</c:v>
                </c:pt>
                <c:pt idx="14">
                  <c:v>0.004023356865713446</c:v>
                </c:pt>
                <c:pt idx="15">
                  <c:v>0.00341225295758931</c:v>
                </c:pt>
                <c:pt idx="16">
                  <c:v>0.003546353476853767</c:v>
                </c:pt>
                <c:pt idx="17">
                  <c:v>0.004602556546899056</c:v>
                </c:pt>
                <c:pt idx="18">
                  <c:v>0.002856642523021604</c:v>
                </c:pt>
                <c:pt idx="19">
                  <c:v>0.002534217094476162</c:v>
                </c:pt>
                <c:pt idx="20">
                  <c:v>0.003127879033817875</c:v>
                </c:pt>
                <c:pt idx="21">
                  <c:v>0.0035542800483966443</c:v>
                </c:pt>
                <c:pt idx="22">
                  <c:v>0.0033147390491752157</c:v>
                </c:pt>
                <c:pt idx="23">
                  <c:v>0.0048051676779817315</c:v>
                </c:pt>
                <c:pt idx="24">
                  <c:v>0.003399492352618624</c:v>
                </c:pt>
                <c:pt idx="25">
                  <c:v>0.003602477784065186</c:v>
                </c:pt>
                <c:pt idx="26">
                  <c:v>0.003378399829014324</c:v>
                </c:pt>
                <c:pt idx="27">
                  <c:v>0.0039012409958323717</c:v>
                </c:pt>
                <c:pt idx="28">
                  <c:v>0.0036463264273898484</c:v>
                </c:pt>
                <c:pt idx="29">
                  <c:v>0.0038518973863637604</c:v>
                </c:pt>
                <c:pt idx="30">
                  <c:v>0.004008009351926036</c:v>
                </c:pt>
                <c:pt idx="31">
                  <c:v>0.0038991705969112734</c:v>
                </c:pt>
                <c:pt idx="32">
                  <c:v>0.0032207457337999745</c:v>
                </c:pt>
                <c:pt idx="33">
                  <c:v>0.002678029772111472</c:v>
                </c:pt>
                <c:pt idx="34">
                  <c:v>0.0025092039831127897</c:v>
                </c:pt>
                <c:pt idx="35">
                  <c:v>0.003906775844475683</c:v>
                </c:pt>
                <c:pt idx="36">
                  <c:v>0.003407609890326021</c:v>
                </c:pt>
                <c:pt idx="37">
                  <c:v>0.0033270183746066453</c:v>
                </c:pt>
                <c:pt idx="38">
                  <c:v>0.004239268535647645</c:v>
                </c:pt>
                <c:pt idx="39">
                  <c:v>0.004602929504238796</c:v>
                </c:pt>
                <c:pt idx="40">
                  <c:v>0.004757314812367939</c:v>
                </c:pt>
                <c:pt idx="41">
                  <c:v>0.004485309698250722</c:v>
                </c:pt>
                <c:pt idx="42">
                  <c:v>0.004643286338400371</c:v>
                </c:pt>
                <c:pt idx="43">
                  <c:v>0.004333072601034487</c:v>
                </c:pt>
                <c:pt idx="44">
                  <c:v>0.0032961599070715913</c:v>
                </c:pt>
                <c:pt idx="45">
                  <c:v>0.002878869940205706</c:v>
                </c:pt>
                <c:pt idx="46">
                  <c:v>0.0030539001639191387</c:v>
                </c:pt>
                <c:pt idx="47">
                  <c:v>0.0028950367396155694</c:v>
                </c:pt>
                <c:pt idx="48">
                  <c:v>0.0037161688921403587</c:v>
                </c:pt>
                <c:pt idx="49">
                  <c:v>0.003316915367972636</c:v>
                </c:pt>
                <c:pt idx="50">
                  <c:v>0.0026734119515482964</c:v>
                </c:pt>
                <c:pt idx="51">
                  <c:v>0.002247631946111689</c:v>
                </c:pt>
                <c:pt idx="52">
                  <c:v>0.00402809004190552</c:v>
                </c:pt>
                <c:pt idx="53">
                  <c:v>0.00402809004190552</c:v>
                </c:pt>
                <c:pt idx="54">
                  <c:v>0.0027993428081171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41763187901338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4952433710823423</c:v>
                </c:pt>
                <c:pt idx="1">
                  <c:v>0.16896325060177017</c:v>
                </c:pt>
                <c:pt idx="2">
                  <c:v>0.17202626863846726</c:v>
                </c:pt>
                <c:pt idx="3">
                  <c:v>0.1754399900117037</c:v>
                </c:pt>
                <c:pt idx="4">
                  <c:v>0.16629532233182917</c:v>
                </c:pt>
                <c:pt idx="5">
                  <c:v>0.1645151079620078</c:v>
                </c:pt>
                <c:pt idx="6">
                  <c:v>0.16570511044165534</c:v>
                </c:pt>
                <c:pt idx="7">
                  <c:v>0.16214757724375647</c:v>
                </c:pt>
                <c:pt idx="8">
                  <c:v>0.16109581013259844</c:v>
                </c:pt>
                <c:pt idx="9">
                  <c:v>0.16552559704254413</c:v>
                </c:pt>
                <c:pt idx="10">
                  <c:v>0.16491054321463502</c:v>
                </c:pt>
                <c:pt idx="11">
                  <c:v>0.1709167280107162</c:v>
                </c:pt>
                <c:pt idx="12">
                  <c:v>0.1758555682422809</c:v>
                </c:pt>
                <c:pt idx="13">
                  <c:v>0.16777641416831413</c:v>
                </c:pt>
                <c:pt idx="14">
                  <c:v>0.18471452822097104</c:v>
                </c:pt>
                <c:pt idx="15">
                  <c:v>0.18083848446096776</c:v>
                </c:pt>
                <c:pt idx="16">
                  <c:v>0.1735544721431447</c:v>
                </c:pt>
                <c:pt idx="17">
                  <c:v>0.1600195315524085</c:v>
                </c:pt>
                <c:pt idx="18">
                  <c:v>0.15726016186489628</c:v>
                </c:pt>
                <c:pt idx="19">
                  <c:v>0.16060596961573287</c:v>
                </c:pt>
                <c:pt idx="20">
                  <c:v>0.16858815156775078</c:v>
                </c:pt>
                <c:pt idx="21">
                  <c:v>0.15914309841190924</c:v>
                </c:pt>
                <c:pt idx="22">
                  <c:v>0.14581683130029824</c:v>
                </c:pt>
                <c:pt idx="23">
                  <c:v>0.14391767659678903</c:v>
                </c:pt>
                <c:pt idx="24">
                  <c:v>0.14832985138765373</c:v>
                </c:pt>
                <c:pt idx="25">
                  <c:v>0.13924420550048028</c:v>
                </c:pt>
                <c:pt idx="26">
                  <c:v>0.1496917909751216</c:v>
                </c:pt>
                <c:pt idx="27">
                  <c:v>0.15217455158834628</c:v>
                </c:pt>
                <c:pt idx="28">
                  <c:v>0.1426960864008023</c:v>
                </c:pt>
                <c:pt idx="29">
                  <c:v>0.1391429059444325</c:v>
                </c:pt>
                <c:pt idx="30">
                  <c:v>0.13696429760814968</c:v>
                </c:pt>
                <c:pt idx="31">
                  <c:v>0.12840716229274726</c:v>
                </c:pt>
                <c:pt idx="32">
                  <c:v>0.12769423145640213</c:v>
                </c:pt>
                <c:pt idx="33">
                  <c:v>0.12690288455354995</c:v>
                </c:pt>
                <c:pt idx="34">
                  <c:v>0.14522559114144437</c:v>
                </c:pt>
                <c:pt idx="35">
                  <c:v>0.15333360683007108</c:v>
                </c:pt>
                <c:pt idx="36">
                  <c:v>0.1503527238817293</c:v>
                </c:pt>
                <c:pt idx="37">
                  <c:v>0.13979117022483853</c:v>
                </c:pt>
                <c:pt idx="38">
                  <c:v>0.14804343997365266</c:v>
                </c:pt>
                <c:pt idx="39">
                  <c:v>0.14951796490342065</c:v>
                </c:pt>
                <c:pt idx="40">
                  <c:v>0.16030528737190236</c:v>
                </c:pt>
                <c:pt idx="41">
                  <c:v>0.15634469960017255</c:v>
                </c:pt>
                <c:pt idx="42">
                  <c:v>0.15953074270135825</c:v>
                </c:pt>
                <c:pt idx="43">
                  <c:v>0.172714554590048</c:v>
                </c:pt>
                <c:pt idx="44">
                  <c:v>0.17722739986562766</c:v>
                </c:pt>
                <c:pt idx="45">
                  <c:v>0.16963577414313818</c:v>
                </c:pt>
                <c:pt idx="46">
                  <c:v>0.17404151180500788</c:v>
                </c:pt>
                <c:pt idx="47">
                  <c:v>0.16195688998385296</c:v>
                </c:pt>
                <c:pt idx="48">
                  <c:v>0.1829890773438436</c:v>
                </c:pt>
                <c:pt idx="49">
                  <c:v>0.19324297432454707</c:v>
                </c:pt>
                <c:pt idx="50">
                  <c:v>0.1651630620265228</c:v>
                </c:pt>
                <c:pt idx="51">
                  <c:v>0.16351460615945235</c:v>
                </c:pt>
                <c:pt idx="52">
                  <c:v>0.17493053826241117</c:v>
                </c:pt>
                <c:pt idx="53">
                  <c:v>0.17730901364136595</c:v>
                </c:pt>
                <c:pt idx="54">
                  <c:v>0.1807010801979924</c:v>
                </c:pt>
                <c:pt idx="55">
                  <c:v>0.17264165263708808</c:v>
                </c:pt>
                <c:pt idx="56">
                  <c:v>0.17071768816591254</c:v>
                </c:pt>
                <c:pt idx="57">
                  <c:v>0.17395849490230428</c:v>
                </c:pt>
                <c:pt idx="58">
                  <c:v>0.17699382419778306</c:v>
                </c:pt>
                <c:pt idx="59">
                  <c:v>0.2060331662823552</c:v>
                </c:pt>
                <c:pt idx="60">
                  <c:v>0.20609869306891496</c:v>
                </c:pt>
                <c:pt idx="61">
                  <c:v>0.19261542540398996</c:v>
                </c:pt>
                <c:pt idx="62">
                  <c:v>0.18989510449387362</c:v>
                </c:pt>
                <c:pt idx="63">
                  <c:v>0.19562585846376895</c:v>
                </c:pt>
                <c:pt idx="64">
                  <c:v>0.2025949400973537</c:v>
                </c:pt>
                <c:pt idx="65">
                  <c:v>0.1940806348074227</c:v>
                </c:pt>
                <c:pt idx="66">
                  <c:v>0.18962793751316429</c:v>
                </c:pt>
                <c:pt idx="67">
                  <c:v>0.1868184059387662</c:v>
                </c:pt>
                <c:pt idx="68">
                  <c:v>0.17648124324694678</c:v>
                </c:pt>
                <c:pt idx="69">
                  <c:v>0.16488125683923535</c:v>
                </c:pt>
                <c:pt idx="70">
                  <c:v>0.1606005018805266</c:v>
                </c:pt>
                <c:pt idx="71">
                  <c:v>0.16407492063947438</c:v>
                </c:pt>
                <c:pt idx="72">
                  <c:v>0.1750751166011435</c:v>
                </c:pt>
                <c:pt idx="73">
                  <c:v>0.17721074804130102</c:v>
                </c:pt>
                <c:pt idx="74">
                  <c:v>0.16853337942234026</c:v>
                </c:pt>
                <c:pt idx="75">
                  <c:v>0.16685636815626528</c:v>
                </c:pt>
                <c:pt idx="76">
                  <c:v>0.15644495195062671</c:v>
                </c:pt>
                <c:pt idx="77">
                  <c:v>0.14839216974277813</c:v>
                </c:pt>
                <c:pt idx="78">
                  <c:v>0.159142065624843</c:v>
                </c:pt>
                <c:pt idx="79">
                  <c:v>0.11794738388733537</c:v>
                </c:pt>
                <c:pt idx="80">
                  <c:v>0.11112177427722161</c:v>
                </c:pt>
                <c:pt idx="81">
                  <c:v>0.1430002851169278</c:v>
                </c:pt>
                <c:pt idx="82">
                  <c:v>0.13868920505268145</c:v>
                </c:pt>
                <c:pt idx="83">
                  <c:v>0.13361048343235524</c:v>
                </c:pt>
                <c:pt idx="84">
                  <c:v>0.13113601937808375</c:v>
                </c:pt>
                <c:pt idx="85">
                  <c:v>0.13462523499065907</c:v>
                </c:pt>
                <c:pt idx="86">
                  <c:v>0.15058256602695738</c:v>
                </c:pt>
                <c:pt idx="87">
                  <c:v>0.17012391340626173</c:v>
                </c:pt>
                <c:pt idx="88">
                  <c:v>0.15272893881700172</c:v>
                </c:pt>
                <c:pt idx="89">
                  <c:v>0.14253008551810734</c:v>
                </c:pt>
                <c:pt idx="90">
                  <c:v>0.14815511733228537</c:v>
                </c:pt>
                <c:pt idx="91">
                  <c:v>0.15619928794950974</c:v>
                </c:pt>
                <c:pt idx="92">
                  <c:v>0.16493414156064953</c:v>
                </c:pt>
                <c:pt idx="93">
                  <c:v>0.1656259973231152</c:v>
                </c:pt>
                <c:pt idx="94">
                  <c:v>0.15977163521862056</c:v>
                </c:pt>
                <c:pt idx="95">
                  <c:v>0.17095685525542081</c:v>
                </c:pt>
                <c:pt idx="96">
                  <c:v>0.17159977898088624</c:v>
                </c:pt>
                <c:pt idx="97">
                  <c:v>0.1841658527871043</c:v>
                </c:pt>
                <c:pt idx="98">
                  <c:v>0.19225718021116645</c:v>
                </c:pt>
                <c:pt idx="99">
                  <c:v>0.19623688527550143</c:v>
                </c:pt>
                <c:pt idx="100">
                  <c:v>0.2110248087519366</c:v>
                </c:pt>
                <c:pt idx="101">
                  <c:v>0.20180029580067932</c:v>
                </c:pt>
                <c:pt idx="102">
                  <c:v>0.1956348394568074</c:v>
                </c:pt>
                <c:pt idx="103">
                  <c:v>0.1731139173076628</c:v>
                </c:pt>
                <c:pt idx="104">
                  <c:v>0.19464939417691485</c:v>
                </c:pt>
              </c:numCache>
            </c:numRef>
          </c:xVal>
          <c:yVal>
            <c:numRef>
              <c:f>Sheet1!$B$2:$B$106</c:f>
              <c:numCache>
                <c:formatCode>General</c:formatCode>
                <c:ptCount val="105"/>
                <c:pt idx="0">
                  <c:v>0.22194230725584985</c:v>
                </c:pt>
                <c:pt idx="1">
                  <c:v>0.22026857992494867</c:v>
                </c:pt>
                <c:pt idx="2">
                  <c:v>0.20593717638936831</c:v>
                </c:pt>
                <c:pt idx="3">
                  <c:v>0.2040204890306369</c:v>
                </c:pt>
                <c:pt idx="4">
                  <c:v>0.19666111126804328</c:v>
                </c:pt>
                <c:pt idx="5">
                  <c:v>0.18609471714409098</c:v>
                </c:pt>
                <c:pt idx="6">
                  <c:v>0.2048780487804878</c:v>
                </c:pt>
                <c:pt idx="7">
                  <c:v>0.1934277403062366</c:v>
                </c:pt>
                <c:pt idx="8">
                  <c:v>0.20359481491380463</c:v>
                </c:pt>
                <c:pt idx="9">
                  <c:v>0.20617391075701402</c:v>
                </c:pt>
                <c:pt idx="10">
                  <c:v>0.21707292607081954</c:v>
                </c:pt>
                <c:pt idx="11">
                  <c:v>0.2116915611494427</c:v>
                </c:pt>
                <c:pt idx="12">
                  <c:v>0.22563269096819133</c:v>
                </c:pt>
                <c:pt idx="13">
                  <c:v>0.23082949760062677</c:v>
                </c:pt>
                <c:pt idx="14">
                  <c:v>0.22157152191273624</c:v>
                </c:pt>
                <c:pt idx="15">
                  <c:v>0.21490062398890686</c:v>
                </c:pt>
                <c:pt idx="16">
                  <c:v>0.20514754098360655</c:v>
                </c:pt>
                <c:pt idx="17">
                  <c:v>0.19200371920037193</c:v>
                </c:pt>
                <c:pt idx="18">
                  <c:v>0.18350906290723848</c:v>
                </c:pt>
                <c:pt idx="19">
                  <c:v>0.15793871866295264</c:v>
                </c:pt>
                <c:pt idx="20">
                  <c:v>0.17411278281842196</c:v>
                </c:pt>
                <c:pt idx="21">
                  <c:v>0.16994172652120884</c:v>
                </c:pt>
                <c:pt idx="22">
                  <c:v>0.1656244166511107</c:v>
                </c:pt>
                <c:pt idx="23">
                  <c:v>0.16955068331530823</c:v>
                </c:pt>
                <c:pt idx="24">
                  <c:v>0.1800869002496071</c:v>
                </c:pt>
                <c:pt idx="25">
                  <c:v>0.17639368266917688</c:v>
                </c:pt>
                <c:pt idx="26">
                  <c:v>0.17197333457647662</c:v>
                </c:pt>
                <c:pt idx="27">
                  <c:v>0.17267888823181549</c:v>
                </c:pt>
                <c:pt idx="28">
                  <c:v>0.16393898650841485</c:v>
                </c:pt>
                <c:pt idx="29">
                  <c:v>0.17797471441928533</c:v>
                </c:pt>
                <c:pt idx="30">
                  <c:v>0.16221154850161845</c:v>
                </c:pt>
                <c:pt idx="31">
                  <c:v>0.15748870730345632</c:v>
                </c:pt>
                <c:pt idx="32">
                  <c:v>0.16348269653930786</c:v>
                </c:pt>
                <c:pt idx="33">
                  <c:v>0.18088082487411078</c:v>
                </c:pt>
                <c:pt idx="34">
                  <c:v>0.18054500054282924</c:v>
                </c:pt>
                <c:pt idx="35">
                  <c:v>0.19449394155381325</c:v>
                </c:pt>
                <c:pt idx="36">
                  <c:v>0.16721767225185966</c:v>
                </c:pt>
                <c:pt idx="37">
                  <c:v>0.13747257569109259</c:v>
                </c:pt>
                <c:pt idx="38">
                  <c:v>0.13328411361070094</c:v>
                </c:pt>
                <c:pt idx="39">
                  <c:v>0.13529929985626188</c:v>
                </c:pt>
                <c:pt idx="40">
                  <c:v>0.14140245313584818</c:v>
                </c:pt>
                <c:pt idx="41">
                  <c:v>0.1320315745741587</c:v>
                </c:pt>
                <c:pt idx="42">
                  <c:v>0.13478445830969937</c:v>
                </c:pt>
                <c:pt idx="43">
                  <c:v>0.14850637407242975</c:v>
                </c:pt>
                <c:pt idx="44">
                  <c:v>0.160577483329377</c:v>
                </c:pt>
                <c:pt idx="45">
                  <c:v>0.17985482748334494</c:v>
                </c:pt>
                <c:pt idx="46">
                  <c:v>0.1890920904278698</c:v>
                </c:pt>
                <c:pt idx="47">
                  <c:v>0.1872183925751916</c:v>
                </c:pt>
                <c:pt idx="48">
                  <c:v>0.20402986156410813</c:v>
                </c:pt>
                <c:pt idx="49">
                  <c:v>0.2373207055109464</c:v>
                </c:pt>
                <c:pt idx="50">
                  <c:v>0.19963127804987058</c:v>
                </c:pt>
                <c:pt idx="51">
                  <c:v>0.18215747110931246</c:v>
                </c:pt>
                <c:pt idx="52">
                  <c:v>0.19546332988463117</c:v>
                </c:pt>
                <c:pt idx="53">
                  <c:v>0.18087203153542927</c:v>
                </c:pt>
                <c:pt idx="54">
                  <c:v>0.1730390224674813</c:v>
                </c:pt>
                <c:pt idx="55">
                  <c:v>0.1718077183480027</c:v>
                </c:pt>
                <c:pt idx="56">
                  <c:v>0.18865047380459646</c:v>
                </c:pt>
                <c:pt idx="57">
                  <c:v>0.1838357464989319</c:v>
                </c:pt>
                <c:pt idx="58">
                  <c:v>0.19846960029818675</c:v>
                </c:pt>
                <c:pt idx="59">
                  <c:v>0.20095489936829733</c:v>
                </c:pt>
                <c:pt idx="60">
                  <c:v>0.20754898811435915</c:v>
                </c:pt>
                <c:pt idx="61">
                  <c:v>0.20793681621026736</c:v>
                </c:pt>
                <c:pt idx="62">
                  <c:v>0.215126935636785</c:v>
                </c:pt>
                <c:pt idx="63">
                  <c:v>0.22940080302768331</c:v>
                </c:pt>
                <c:pt idx="64">
                  <c:v>0.21880271394834502</c:v>
                </c:pt>
                <c:pt idx="65">
                  <c:v>0.21689451132421955</c:v>
                </c:pt>
                <c:pt idx="66">
                  <c:v>0.2178862817026121</c:v>
                </c:pt>
                <c:pt idx="67">
                  <c:v>0.21287441455179174</c:v>
                </c:pt>
                <c:pt idx="68">
                  <c:v>0.19509166798753105</c:v>
                </c:pt>
                <c:pt idx="69">
                  <c:v>0.1761484219894571</c:v>
                </c:pt>
                <c:pt idx="70">
                  <c:v>0.1632560695697152</c:v>
                </c:pt>
                <c:pt idx="71">
                  <c:v>0.1733943061477101</c:v>
                </c:pt>
                <c:pt idx="72">
                  <c:v>0.1759865159627206</c:v>
                </c:pt>
                <c:pt idx="73">
                  <c:v>0.17940107322139517</c:v>
                </c:pt>
                <c:pt idx="74">
                  <c:v>0.1715601227812625</c:v>
                </c:pt>
                <c:pt idx="75">
                  <c:v>0.16595561470116246</c:v>
                </c:pt>
                <c:pt idx="76">
                  <c:v>0.1590899603423085</c:v>
                </c:pt>
                <c:pt idx="77">
                  <c:v>0.16565724071676205</c:v>
                </c:pt>
                <c:pt idx="78">
                  <c:v>0.15544116232079283</c:v>
                </c:pt>
                <c:pt idx="79">
                  <c:v>0.18983507236620667</c:v>
                </c:pt>
                <c:pt idx="80">
                  <c:v>0.18471825886962817</c:v>
                </c:pt>
                <c:pt idx="81">
                  <c:v>0.16555171917709682</c:v>
                </c:pt>
                <c:pt idx="82">
                  <c:v>0.15227773695811903</c:v>
                </c:pt>
                <c:pt idx="83">
                  <c:v>0.14037588427832332</c:v>
                </c:pt>
                <c:pt idx="84">
                  <c:v>0.13738054466110589</c:v>
                </c:pt>
                <c:pt idx="85">
                  <c:v>0.1408924507766894</c:v>
                </c:pt>
                <c:pt idx="86">
                  <c:v>0.14388276219376805</c:v>
                </c:pt>
                <c:pt idx="87">
                  <c:v>0.16424116424116425</c:v>
                </c:pt>
                <c:pt idx="88">
                  <c:v>0.15143294683876612</c:v>
                </c:pt>
                <c:pt idx="89">
                  <c:v>0.13790962071271615</c:v>
                </c:pt>
                <c:pt idx="90">
                  <c:v>0.13506044905008635</c:v>
                </c:pt>
                <c:pt idx="91">
                  <c:v>0.13018990876931671</c:v>
                </c:pt>
                <c:pt idx="92">
                  <c:v>0.14122937388056858</c:v>
                </c:pt>
                <c:pt idx="93">
                  <c:v>0.13123975562509313</c:v>
                </c:pt>
                <c:pt idx="94">
                  <c:v>0.13373245077785742</c:v>
                </c:pt>
                <c:pt idx="95">
                  <c:v>0.14385922108024032</c:v>
                </c:pt>
                <c:pt idx="96">
                  <c:v>0.13698139399502945</c:v>
                </c:pt>
                <c:pt idx="97">
                  <c:v>0.14533199314137055</c:v>
                </c:pt>
                <c:pt idx="98">
                  <c:v>0.16315129011740842</c:v>
                </c:pt>
                <c:pt idx="99">
                  <c:v>0.17124577715327813</c:v>
                </c:pt>
                <c:pt idx="100">
                  <c:v>0.19575939007580978</c:v>
                </c:pt>
                <c:pt idx="101">
                  <c:v>0.17001159575417002</c:v>
                </c:pt>
                <c:pt idx="102">
                  <c:v>0.14514833816640643</c:v>
                </c:pt>
                <c:pt idx="103">
                  <c:v>0.16519679377366073</c:v>
                </c:pt>
                <c:pt idx="104">
                  <c:v>0.1671687835916222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9994644058250402</c:v>
                </c:pt>
                <c:pt idx="1">
                  <c:v>0.2033851691893794</c:v>
                </c:pt>
                <c:pt idx="2">
                  <c:v>0.19487334001235676</c:v>
                </c:pt>
                <c:pt idx="3">
                  <c:v>0.19861407755875618</c:v>
                </c:pt>
                <c:pt idx="4">
                  <c:v>0.1922748549607423</c:v>
                </c:pt>
                <c:pt idx="5">
                  <c:v>0.19510762512953525</c:v>
                </c:pt>
                <c:pt idx="6">
                  <c:v>0.18500224092478668</c:v>
                </c:pt>
                <c:pt idx="7">
                  <c:v>0.1780939895100882</c:v>
                </c:pt>
                <c:pt idx="8">
                  <c:v>0.1926591772179334</c:v>
                </c:pt>
                <c:pt idx="9">
                  <c:v>0.1895539005406403</c:v>
                </c:pt>
                <c:pt idx="10">
                  <c:v>0.19470502859110042</c:v>
                </c:pt>
                <c:pt idx="11">
                  <c:v>0.18803373205452573</c:v>
                </c:pt>
                <c:pt idx="12">
                  <c:v>0.18341351877327092</c:v>
                </c:pt>
                <c:pt idx="13">
                  <c:v>0.18294192435563647</c:v>
                </c:pt>
                <c:pt idx="14">
                  <c:v>0.18365901825884556</c:v>
                </c:pt>
                <c:pt idx="15">
                  <c:v>0.17728065750440172</c:v>
                </c:pt>
                <c:pt idx="16">
                  <c:v>0.1728983346790045</c:v>
                </c:pt>
                <c:pt idx="17">
                  <c:v>0.16605570380388543</c:v>
                </c:pt>
                <c:pt idx="18">
                  <c:v>0.15723986576911103</c:v>
                </c:pt>
                <c:pt idx="19">
                  <c:v>0.17151952140185164</c:v>
                </c:pt>
                <c:pt idx="20">
                  <c:v>0.15524730015628893</c:v>
                </c:pt>
                <c:pt idx="21">
                  <c:v>0.15485893483540364</c:v>
                </c:pt>
                <c:pt idx="22">
                  <c:v>0.16302300951379822</c:v>
                </c:pt>
                <c:pt idx="23">
                  <c:v>0.14468708837998756</c:v>
                </c:pt>
                <c:pt idx="24">
                  <c:v>0.1434830190136609</c:v>
                </c:pt>
                <c:pt idx="25">
                  <c:v>0.14129589838951753</c:v>
                </c:pt>
                <c:pt idx="26">
                  <c:v>0.14601246462275955</c:v>
                </c:pt>
                <c:pt idx="27">
                  <c:v>0.15414153704769734</c:v>
                </c:pt>
                <c:pt idx="28">
                  <c:v>0.15967300706892007</c:v>
                </c:pt>
                <c:pt idx="29">
                  <c:v>0.15340369626457154</c:v>
                </c:pt>
                <c:pt idx="30">
                  <c:v>0.14933145705023512</c:v>
                </c:pt>
                <c:pt idx="31">
                  <c:v>0.1406265440670329</c:v>
                </c:pt>
                <c:pt idx="32">
                  <c:v>0.1394165293557677</c:v>
                </c:pt>
                <c:pt idx="33">
                  <c:v>0.15268038497827618</c:v>
                </c:pt>
                <c:pt idx="34">
                  <c:v>0.1739802568384177</c:v>
                </c:pt>
                <c:pt idx="35">
                  <c:v>0.1648849353923138</c:v>
                </c:pt>
                <c:pt idx="36">
                  <c:v>0.14233235703229863</c:v>
                </c:pt>
                <c:pt idx="37">
                  <c:v>0.1583351147521495</c:v>
                </c:pt>
                <c:pt idx="38">
                  <c:v>0.14538091872069803</c:v>
                </c:pt>
                <c:pt idx="39">
                  <c:v>0.15916390504069824</c:v>
                </c:pt>
                <c:pt idx="40">
                  <c:v>0.15827448733567487</c:v>
                </c:pt>
                <c:pt idx="41">
                  <c:v>0.16843920935382045</c:v>
                </c:pt>
                <c:pt idx="42">
                  <c:v>0.16459715859798266</c:v>
                </c:pt>
                <c:pt idx="43">
                  <c:v>0.17159159111185573</c:v>
                </c:pt>
                <c:pt idx="44">
                  <c:v>0.17126342389399343</c:v>
                </c:pt>
                <c:pt idx="45">
                  <c:v>0.1754853085835211</c:v>
                </c:pt>
                <c:pt idx="46">
                  <c:v>0.16431563946712913</c:v>
                </c:pt>
                <c:pt idx="47">
                  <c:v>0.16252236984064553</c:v>
                </c:pt>
                <c:pt idx="48">
                  <c:v>0.16510178569120612</c:v>
                </c:pt>
                <c:pt idx="49">
                  <c:v>0.1809668370046437</c:v>
                </c:pt>
                <c:pt idx="50">
                  <c:v>0.18644810015963928</c:v>
                </c:pt>
                <c:pt idx="51">
                  <c:v>0.16154809799279735</c:v>
                </c:pt>
              </c:numCache>
            </c:numRef>
          </c:xVal>
          <c:yVal>
            <c:numRef>
              <c:f>Sheet1!$B$109:$B$160</c:f>
              <c:numCache>
                <c:formatCode>General</c:formatCode>
                <c:ptCount val="52"/>
                <c:pt idx="0">
                  <c:v>0.16764404525735213</c:v>
                </c:pt>
                <c:pt idx="1">
                  <c:v>0.1625792614696009</c:v>
                </c:pt>
                <c:pt idx="2">
                  <c:v>0.17124495967741934</c:v>
                </c:pt>
                <c:pt idx="3">
                  <c:v>0.17870228847804695</c:v>
                </c:pt>
                <c:pt idx="4">
                  <c:v>0.16702852924573364</c:v>
                </c:pt>
                <c:pt idx="5">
                  <c:v>0.16200530015988085</c:v>
                </c:pt>
                <c:pt idx="6">
                  <c:v>0.16994058317298544</c:v>
                </c:pt>
                <c:pt idx="7">
                  <c:v>0.16670934699103712</c:v>
                </c:pt>
                <c:pt idx="8">
                  <c:v>0.16762843507283445</c:v>
                </c:pt>
                <c:pt idx="9">
                  <c:v>0.18330661781543395</c:v>
                </c:pt>
                <c:pt idx="10">
                  <c:v>0.18040881630851563</c:v>
                </c:pt>
                <c:pt idx="11">
                  <c:v>0.2011106951204293</c:v>
                </c:pt>
                <c:pt idx="12">
                  <c:v>0.1919274930146282</c:v>
                </c:pt>
                <c:pt idx="13">
                  <c:v>0.18640781405269152</c:v>
                </c:pt>
                <c:pt idx="14">
                  <c:v>0.18856824866841562</c:v>
                </c:pt>
                <c:pt idx="15">
                  <c:v>0.1724264809940279</c:v>
                </c:pt>
                <c:pt idx="16">
                  <c:v>0.17109078741913897</c:v>
                </c:pt>
                <c:pt idx="17">
                  <c:v>0.15125794670634385</c:v>
                </c:pt>
                <c:pt idx="18">
                  <c:v>0.14926702842795822</c:v>
                </c:pt>
                <c:pt idx="19">
                  <c:v>0.159806384865504</c:v>
                </c:pt>
                <c:pt idx="20">
                  <c:v>0.1573928152907423</c:v>
                </c:pt>
                <c:pt idx="21">
                  <c:v>0.15343151410145345</c:v>
                </c:pt>
                <c:pt idx="22">
                  <c:v>0.15176059753613347</c:v>
                </c:pt>
                <c:pt idx="23">
                  <c:v>0.15393190109444668</c:v>
                </c:pt>
                <c:pt idx="24">
                  <c:v>0.15267321071190318</c:v>
                </c:pt>
                <c:pt idx="25">
                  <c:v>0.15868338244842914</c:v>
                </c:pt>
                <c:pt idx="26">
                  <c:v>0.14334487401423351</c:v>
                </c:pt>
                <c:pt idx="27">
                  <c:v>0.13084430805949793</c:v>
                </c:pt>
                <c:pt idx="28">
                  <c:v>0.14007169023515972</c:v>
                </c:pt>
                <c:pt idx="29">
                  <c:v>0.12953151143335193</c:v>
                </c:pt>
                <c:pt idx="30">
                  <c:v>0.14574663698828993</c:v>
                </c:pt>
                <c:pt idx="31">
                  <c:v>0.13473718399826773</c:v>
                </c:pt>
                <c:pt idx="32">
                  <c:v>0.1377187920753991</c:v>
                </c:pt>
                <c:pt idx="33">
                  <c:v>0.15714342836578832</c:v>
                </c:pt>
                <c:pt idx="34">
                  <c:v>0.17673413121122877</c:v>
                </c:pt>
                <c:pt idx="35">
                  <c:v>0.17000804858418087</c:v>
                </c:pt>
                <c:pt idx="36">
                  <c:v>0.1492232435628662</c:v>
                </c:pt>
                <c:pt idx="37">
                  <c:v>0.13839568030354624</c:v>
                </c:pt>
                <c:pt idx="38">
                  <c:v>0.1364245510586974</c:v>
                </c:pt>
                <c:pt idx="39">
                  <c:v>0.1550192172583378</c:v>
                </c:pt>
                <c:pt idx="40">
                  <c:v>0.13829830646806773</c:v>
                </c:pt>
                <c:pt idx="41">
                  <c:v>0.1422884048539601</c:v>
                </c:pt>
                <c:pt idx="42">
                  <c:v>0.13852556480380498</c:v>
                </c:pt>
                <c:pt idx="43">
                  <c:v>0.13625405805020732</c:v>
                </c:pt>
                <c:pt idx="44">
                  <c:v>0.14037665286496595</c:v>
                </c:pt>
                <c:pt idx="45">
                  <c:v>0.15610974594342114</c:v>
                </c:pt>
                <c:pt idx="46">
                  <c:v>0.15033521181500195</c:v>
                </c:pt>
                <c:pt idx="47">
                  <c:v>0.15482262528304477</c:v>
                </c:pt>
                <c:pt idx="48">
                  <c:v>0.1476510067114094</c:v>
                </c:pt>
                <c:pt idx="49">
                  <c:v>0.15917829865683433</c:v>
                </c:pt>
                <c:pt idx="50">
                  <c:v>0.198731798966651</c:v>
                </c:pt>
                <c:pt idx="51">
                  <c:v>0.182217300162164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3647771679095997</c:v>
                </c:pt>
              </c:numCache>
            </c:numRef>
          </c:xVal>
          <c:yVal>
            <c:numRef>
              <c:f>Sheet1!$B$163:$B$164</c:f>
              <c:numCache>
                <c:formatCode>General</c:formatCode>
                <c:ptCount val="2"/>
                <c:pt idx="0">
                  <c:v>0.20409166500149634</c:v>
                </c:pt>
                <c:pt idx="1">
                  <c:v>0.2040916650014963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3647771679095997</c:v>
                </c:pt>
                <c:pt idx="1">
                  <c:v>0.23647771679095997</c:v>
                </c:pt>
              </c:numCache>
            </c:numRef>
          </c:xVal>
          <c:yVal>
            <c:numRef>
              <c:f>Sheet1!$B$167:$B$168</c:f>
              <c:numCache>
                <c:formatCode>General</c:formatCode>
                <c:ptCount val="2"/>
                <c:pt idx="0">
                  <c:v>0.204091665001496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8956825255748164</c:v>
                </c:pt>
              </c:numCache>
            </c:numRef>
          </c:xVal>
          <c:yVal>
            <c:numRef>
              <c:f>Sheet1!$B$171:$B$172</c:f>
              <c:numCache>
                <c:formatCode>General</c:formatCode>
                <c:ptCount val="2"/>
                <c:pt idx="0">
                  <c:v>0.17280020329117562</c:v>
                </c:pt>
                <c:pt idx="1">
                  <c:v>0.1728002032911756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8956825255748164</c:v>
                </c:pt>
                <c:pt idx="1">
                  <c:v>0.18956825255748164</c:v>
                </c:pt>
              </c:numCache>
            </c:numRef>
          </c:xVal>
          <c:yVal>
            <c:numRef>
              <c:f>Sheet1!$B$175:$B$176</c:f>
              <c:numCache>
                <c:formatCode>General</c:formatCode>
                <c:ptCount val="2"/>
                <c:pt idx="0">
                  <c:v>0.172800203291175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6113185552275322</c:v>
                </c:pt>
              </c:numCache>
            </c:numRef>
          </c:xVal>
          <c:yVal>
            <c:numRef>
              <c:f>Sheet1!$B$179:$B$180</c:f>
              <c:numCache>
                <c:formatCode>General</c:formatCode>
                <c:ptCount val="2"/>
                <c:pt idx="0">
                  <c:v>0.1538313993721439</c:v>
                </c:pt>
                <c:pt idx="1">
                  <c:v>0.153831399372143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6113185552275322</c:v>
                </c:pt>
                <c:pt idx="1">
                  <c:v>0.16113185552275322</c:v>
                </c:pt>
              </c:numCache>
            </c:numRef>
          </c:xVal>
          <c:yVal>
            <c:numRef>
              <c:f>Sheet1!$B$183:$B$184</c:f>
              <c:numCache>
                <c:formatCode>General</c:formatCode>
                <c:ptCount val="2"/>
                <c:pt idx="0">
                  <c:v>0.153831399372143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9994644058250402</c:v>
                </c:pt>
                <c:pt idx="1">
                  <c:v>0.2033851691893794</c:v>
                </c:pt>
                <c:pt idx="2">
                  <c:v>0.19487334001235676</c:v>
                </c:pt>
                <c:pt idx="3">
                  <c:v>0.19861407755875618</c:v>
                </c:pt>
                <c:pt idx="4">
                  <c:v>0.1922748549607423</c:v>
                </c:pt>
                <c:pt idx="5">
                  <c:v>0.19510762512953525</c:v>
                </c:pt>
                <c:pt idx="6">
                  <c:v>0.18500224092478668</c:v>
                </c:pt>
                <c:pt idx="7">
                  <c:v>0.1780939895100882</c:v>
                </c:pt>
                <c:pt idx="8">
                  <c:v>0.1926591772179334</c:v>
                </c:pt>
                <c:pt idx="9">
                  <c:v>0.1895539005406403</c:v>
                </c:pt>
                <c:pt idx="10">
                  <c:v>0.19470502859110042</c:v>
                </c:pt>
                <c:pt idx="11">
                  <c:v>0.18803373205452573</c:v>
                </c:pt>
                <c:pt idx="12">
                  <c:v>0.18341351877327092</c:v>
                </c:pt>
                <c:pt idx="13">
                  <c:v>0.18294192435563647</c:v>
                </c:pt>
                <c:pt idx="14">
                  <c:v>0.18365901825884556</c:v>
                </c:pt>
                <c:pt idx="15">
                  <c:v>0.17728065750440172</c:v>
                </c:pt>
                <c:pt idx="16">
                  <c:v>0.1728983346790045</c:v>
                </c:pt>
                <c:pt idx="17">
                  <c:v>0.16605570380388543</c:v>
                </c:pt>
                <c:pt idx="18">
                  <c:v>0.15723986576911103</c:v>
                </c:pt>
                <c:pt idx="19">
                  <c:v>0.17151952140185164</c:v>
                </c:pt>
                <c:pt idx="20">
                  <c:v>0.15524730015628893</c:v>
                </c:pt>
                <c:pt idx="21">
                  <c:v>0.15485893483540364</c:v>
                </c:pt>
                <c:pt idx="22">
                  <c:v>0.16302300951379822</c:v>
                </c:pt>
                <c:pt idx="23">
                  <c:v>0.14468708837998756</c:v>
                </c:pt>
                <c:pt idx="24">
                  <c:v>0.1434830190136609</c:v>
                </c:pt>
                <c:pt idx="25">
                  <c:v>0.14129589838951753</c:v>
                </c:pt>
                <c:pt idx="26">
                  <c:v>0.14601246462275955</c:v>
                </c:pt>
                <c:pt idx="27">
                  <c:v>0.15414153704769734</c:v>
                </c:pt>
                <c:pt idx="28">
                  <c:v>0.15967300706892007</c:v>
                </c:pt>
                <c:pt idx="29">
                  <c:v>0.15340369626457154</c:v>
                </c:pt>
                <c:pt idx="30">
                  <c:v>0.14933145705023512</c:v>
                </c:pt>
                <c:pt idx="31">
                  <c:v>0.1406265440670329</c:v>
                </c:pt>
                <c:pt idx="32">
                  <c:v>0.1394165293557677</c:v>
                </c:pt>
                <c:pt idx="33">
                  <c:v>0.15268038497827618</c:v>
                </c:pt>
                <c:pt idx="34">
                  <c:v>0.1739802568384177</c:v>
                </c:pt>
                <c:pt idx="35">
                  <c:v>0.1648849353923138</c:v>
                </c:pt>
                <c:pt idx="36">
                  <c:v>0.14233235703229863</c:v>
                </c:pt>
                <c:pt idx="37">
                  <c:v>0.1583351147521495</c:v>
                </c:pt>
                <c:pt idx="38">
                  <c:v>0.14538091872069803</c:v>
                </c:pt>
                <c:pt idx="39">
                  <c:v>0.15916390504069824</c:v>
                </c:pt>
                <c:pt idx="40">
                  <c:v>0.15827448733567487</c:v>
                </c:pt>
                <c:pt idx="41">
                  <c:v>0.16843920935382045</c:v>
                </c:pt>
                <c:pt idx="42">
                  <c:v>0.16459715859798266</c:v>
                </c:pt>
                <c:pt idx="43">
                  <c:v>0.17159159111185573</c:v>
                </c:pt>
                <c:pt idx="44">
                  <c:v>0.17126342389399343</c:v>
                </c:pt>
                <c:pt idx="45">
                  <c:v>0.1754853085835211</c:v>
                </c:pt>
                <c:pt idx="46">
                  <c:v>0.16431563946712913</c:v>
                </c:pt>
                <c:pt idx="47">
                  <c:v>0.16252236984064553</c:v>
                </c:pt>
                <c:pt idx="48">
                  <c:v>0.16510178569120612</c:v>
                </c:pt>
                <c:pt idx="49">
                  <c:v>0.1809668370046437</c:v>
                </c:pt>
                <c:pt idx="50">
                  <c:v>0.18644810015963928</c:v>
                </c:pt>
                <c:pt idx="51">
                  <c:v>0.16154809799279735</c:v>
                </c:pt>
                <c:pt idx="52">
                  <c:v>0.18956825255748164</c:v>
                </c:pt>
                <c:pt idx="53">
                  <c:v>0.23647771679095997</c:v>
                </c:pt>
                <c:pt idx="54">
                  <c:v>0.16113185552275322</c:v>
                </c:pt>
              </c:numCache>
            </c:numRef>
          </c:xVal>
          <c:yVal>
            <c:numRef>
              <c:f>Sheet1!$B$187:$B$241</c:f>
              <c:numCache>
                <c:formatCode>General</c:formatCode>
                <c:ptCount val="55"/>
                <c:pt idx="0">
                  <c:v>0.17972308502760206</c:v>
                </c:pt>
                <c:pt idx="1">
                  <c:v>0.18201692586105656</c:v>
                </c:pt>
                <c:pt idx="2">
                  <c:v>0.17633901883035746</c:v>
                </c:pt>
                <c:pt idx="3">
                  <c:v>0.178834317969118</c:v>
                </c:pt>
                <c:pt idx="4">
                  <c:v>0.1746056714808176</c:v>
                </c:pt>
                <c:pt idx="5">
                  <c:v>0.1764953012329234</c:v>
                </c:pt>
                <c:pt idx="6">
                  <c:v>0.16975439621347754</c:v>
                </c:pt>
                <c:pt idx="7">
                  <c:v>0.16514617294423733</c:v>
                </c:pt>
                <c:pt idx="8">
                  <c:v>0.1748620377683425</c:v>
                </c:pt>
                <c:pt idx="9">
                  <c:v>0.1727906296242665</c:v>
                </c:pt>
                <c:pt idx="10">
                  <c:v>0.17622674488991255</c:v>
                </c:pt>
                <c:pt idx="11">
                  <c:v>0.17177658491593786</c:v>
                </c:pt>
                <c:pt idx="12">
                  <c:v>0.1686946220466898</c:v>
                </c:pt>
                <c:pt idx="13">
                  <c:v>0.16838003992763678</c:v>
                </c:pt>
                <c:pt idx="14">
                  <c:v>0.16885838511408546</c:v>
                </c:pt>
                <c:pt idx="15">
                  <c:v>0.16460363109837345</c:v>
                </c:pt>
                <c:pt idx="16">
                  <c:v>0.16168035561156208</c:v>
                </c:pt>
                <c:pt idx="17">
                  <c:v>0.15711590522771318</c:v>
                </c:pt>
                <c:pt idx="18">
                  <c:v>0.15123520582478425</c:v>
                </c:pt>
                <c:pt idx="19">
                  <c:v>0.16076060341288065</c:v>
                </c:pt>
                <c:pt idx="20">
                  <c:v>0.14990604354169795</c:v>
                </c:pt>
                <c:pt idx="21">
                  <c:v>0.1496469802851318</c:v>
                </c:pt>
                <c:pt idx="22">
                  <c:v>0.15509291394422617</c:v>
                </c:pt>
                <c:pt idx="23">
                  <c:v>0.1428617409078772</c:v>
                </c:pt>
                <c:pt idx="24">
                  <c:v>0.1420585535108638</c:v>
                </c:pt>
                <c:pt idx="25">
                  <c:v>0.1405996112188435</c:v>
                </c:pt>
                <c:pt idx="26">
                  <c:v>0.14374584735910523</c:v>
                </c:pt>
                <c:pt idx="27">
                  <c:v>0.14916843238926691</c:v>
                </c:pt>
                <c:pt idx="28">
                  <c:v>0.15285825884964563</c:v>
                </c:pt>
                <c:pt idx="29">
                  <c:v>0.14867624777384306</c:v>
                </c:pt>
                <c:pt idx="30">
                  <c:v>0.1459598168886714</c:v>
                </c:pt>
                <c:pt idx="31">
                  <c:v>0.1401531112322221</c:v>
                </c:pt>
                <c:pt idx="32">
                  <c:v>0.1393459579290416</c:v>
                </c:pt>
                <c:pt idx="33">
                  <c:v>0.14819375521526038</c:v>
                </c:pt>
                <c:pt idx="34">
                  <c:v>0.16240206340290078</c:v>
                </c:pt>
                <c:pt idx="35">
                  <c:v>0.15633493159006925</c:v>
                </c:pt>
                <c:pt idx="36">
                  <c:v>0.14129099208334225</c:v>
                </c:pt>
                <c:pt idx="37">
                  <c:v>0.1519658034168914</c:v>
                </c:pt>
                <c:pt idx="38">
                  <c:v>0.1433245678852168</c:v>
                </c:pt>
                <c:pt idx="39">
                  <c:v>0.1525186568762899</c:v>
                </c:pt>
                <c:pt idx="40">
                  <c:v>0.15192536124787048</c:v>
                </c:pt>
                <c:pt idx="41">
                  <c:v>0.15870584819275987</c:v>
                </c:pt>
                <c:pt idx="42">
                  <c:v>0.15614296699000238</c:v>
                </c:pt>
                <c:pt idx="43">
                  <c:v>0.16080867828663836</c:v>
                </c:pt>
                <c:pt idx="44">
                  <c:v>0.16058977082094636</c:v>
                </c:pt>
                <c:pt idx="45">
                  <c:v>0.16340602432685317</c:v>
                </c:pt>
                <c:pt idx="46">
                  <c:v>0.15595517663153693</c:v>
                </c:pt>
                <c:pt idx="47">
                  <c:v>0.15475895687566632</c:v>
                </c:pt>
                <c:pt idx="48">
                  <c:v>0.15647958390992708</c:v>
                </c:pt>
                <c:pt idx="49">
                  <c:v>0.16706253670674043</c:v>
                </c:pt>
                <c:pt idx="50">
                  <c:v>0.17071887213800993</c:v>
                </c:pt>
                <c:pt idx="51">
                  <c:v>0.1541090583803297</c:v>
                </c:pt>
                <c:pt idx="52">
                  <c:v>0.17280020329117562</c:v>
                </c:pt>
                <c:pt idx="53">
                  <c:v>0.20409166500149634</c:v>
                </c:pt>
                <c:pt idx="54">
                  <c:v>0.15383139937214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478484661313563"/>
          <c:min val="0.1036252091466815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3.0490593651858403e-05</c:v>
                </c:pt>
                <c:pt idx="2">
                  <c:v>0.0</c:v>
                </c:pt>
                <c:pt idx="3">
                  <c:v>4.098360655737705e-05</c:v>
                </c:pt>
                <c:pt idx="4">
                  <c:v>4.1983290650321174e-05</c:v>
                </c:pt>
                <c:pt idx="5">
                  <c:v>8.710422019946867e-05</c:v>
                </c:pt>
                <c:pt idx="6">
                  <c:v>7.334873656801261e-05</c:v>
                </c:pt>
                <c:pt idx="7">
                  <c:v>0.00010172250101722501</c:v>
                </c:pt>
                <c:pt idx="8">
                  <c:v>0.00013319717621986413</c:v>
                </c:pt>
                <c:pt idx="9">
                  <c:v>0.0002985594506506108</c:v>
                </c:pt>
                <c:pt idx="10">
                  <c:v>0.000343300490919702</c:v>
                </c:pt>
                <c:pt idx="11">
                  <c:v>0.0002573422974233602</c:v>
                </c:pt>
                <c:pt idx="12">
                  <c:v>0.0003287998804364071</c:v>
                </c:pt>
                <c:pt idx="13">
                  <c:v>0.00032409180636987716</c:v>
                </c:pt>
                <c:pt idx="14">
                  <c:v>0.0003517523663341008</c:v>
                </c:pt>
                <c:pt idx="15">
                  <c:v>0.0003256056264652253</c:v>
                </c:pt>
                <c:pt idx="16">
                  <c:v>0.0003461884650003462</c:v>
                </c:pt>
                <c:pt idx="17">
                  <c:v>0.0005456453305351522</c:v>
                </c:pt>
                <c:pt idx="18">
                  <c:v>0.0006545930613135501</c:v>
                </c:pt>
                <c:pt idx="19">
                  <c:v>0.00041851948731362804</c:v>
                </c:pt>
                <c:pt idx="20">
                  <c:v>0.0005812263876780006</c:v>
                </c:pt>
                <c:pt idx="21">
                  <c:v>0.0005997491957908511</c:v>
                </c:pt>
                <c:pt idx="22">
                  <c:v>0.0008912126433367002</c:v>
                </c:pt>
                <c:pt idx="23">
                  <c:v>0.0008319929003272505</c:v>
                </c:pt>
                <c:pt idx="24">
                  <c:v>0.0007712082262210797</c:v>
                </c:pt>
                <c:pt idx="25">
                  <c:v>0.0011096469935501767</c:v>
                </c:pt>
                <c:pt idx="26">
                  <c:v>0.001448960370933855</c:v>
                </c:pt>
                <c:pt idx="27">
                  <c:v>0.0019232310281272539</c:v>
                </c:pt>
                <c:pt idx="28">
                  <c:v>0.0013378821325841193</c:v>
                </c:pt>
                <c:pt idx="29">
                  <c:v>0.0012786863180563968</c:v>
                </c:pt>
                <c:pt idx="30">
                  <c:v>0.0016978922716627636</c:v>
                </c:pt>
                <c:pt idx="31">
                  <c:v>0.0018280143194455024</c:v>
                </c:pt>
                <c:pt idx="32">
                  <c:v>0.001646161843701265</c:v>
                </c:pt>
                <c:pt idx="33">
                  <c:v>0.0016679834957422526</c:v>
                </c:pt>
                <c:pt idx="34">
                  <c:v>0.0018284321194575652</c:v>
                </c:pt>
                <c:pt idx="35">
                  <c:v>0.0016132749481447338</c:v>
                </c:pt>
                <c:pt idx="36">
                  <c:v>0.0014814001975200263</c:v>
                </c:pt>
                <c:pt idx="37">
                  <c:v>0.002191587133262637</c:v>
                </c:pt>
                <c:pt idx="38">
                  <c:v>0.0028035199750798224</c:v>
                </c:pt>
                <c:pt idx="39">
                  <c:v>0.0024772255074316765</c:v>
                </c:pt>
                <c:pt idx="40">
                  <c:v>0.0027209826634533156</c:v>
                </c:pt>
                <c:pt idx="41">
                  <c:v>0.0021604938271604936</c:v>
                </c:pt>
                <c:pt idx="42">
                  <c:v>0.0021921812203142127</c:v>
                </c:pt>
                <c:pt idx="43">
                  <c:v>0.002098564852423504</c:v>
                </c:pt>
                <c:pt idx="44">
                  <c:v>0.0022365805168986083</c:v>
                </c:pt>
                <c:pt idx="45">
                  <c:v>0.002911208151382824</c:v>
                </c:pt>
                <c:pt idx="46">
                  <c:v>0.0034041028397384216</c:v>
                </c:pt>
                <c:pt idx="47">
                  <c:v>0.0032136154459212795</c:v>
                </c:pt>
                <c:pt idx="48">
                  <c:v>0.002910157104721894</c:v>
                </c:pt>
                <c:pt idx="49">
                  <c:v>0.0022968516726002003</c:v>
                </c:pt>
                <c:pt idx="50">
                  <c:v>0.0032512371964552884</c:v>
                </c:pt>
                <c:pt idx="51">
                  <c:v>0.002970982052012535</c:v>
                </c:pt>
                <c:pt idx="52">
                  <c:v>0.0025500265627766954</c:v>
                </c:pt>
                <c:pt idx="53">
                  <c:v>0.002119003220884896</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066348574219484</c:v>
                </c:pt>
                <c:pt idx="1">
                  <c:v>0.00257844420643421</c:v>
                </c:pt>
                <c:pt idx="2">
                  <c:v>0.0023108434578621197</c:v>
                </c:pt>
                <c:pt idx="3">
                  <c:v>0.0025841648122891395</c:v>
                </c:pt>
                <c:pt idx="4">
                  <c:v>0.002413957060824403</c:v>
                </c:pt>
                <c:pt idx="5">
                  <c:v>0.00214390491593636</c:v>
                </c:pt>
                <c:pt idx="6">
                  <c:v>0.0022257135375752814</c:v>
                </c:pt>
                <c:pt idx="7">
                  <c:v>0.0026819238333631325</c:v>
                </c:pt>
                <c:pt idx="8">
                  <c:v>0.0032357626443647947</c:v>
                </c:pt>
                <c:pt idx="9">
                  <c:v>0.003254044639992667</c:v>
                </c:pt>
                <c:pt idx="10">
                  <c:v>0.0030680302356602936</c:v>
                </c:pt>
                <c:pt idx="11">
                  <c:v>0.003079560607022668</c:v>
                </c:pt>
                <c:pt idx="12">
                  <c:v>0.003288244525820193</c:v>
                </c:pt>
                <c:pt idx="13">
                  <c:v>0.004943332529539426</c:v>
                </c:pt>
                <c:pt idx="14">
                  <c:v>0.004891591750396615</c:v>
                </c:pt>
                <c:pt idx="15">
                  <c:v>0.004721480351011064</c:v>
                </c:pt>
                <c:pt idx="16">
                  <c:v>0.004641421859964906</c:v>
                </c:pt>
                <c:pt idx="17">
                  <c:v>0.006181359899177819</c:v>
                </c:pt>
                <c:pt idx="18">
                  <c:v>0.0032485485208736523</c:v>
                </c:pt>
                <c:pt idx="19">
                  <c:v>0.0029625639644492324</c:v>
                </c:pt>
                <c:pt idx="20">
                  <c:v>0.0036864279265723743</c:v>
                </c:pt>
                <c:pt idx="21">
                  <c:v>0.004398563734290844</c:v>
                </c:pt>
                <c:pt idx="22">
                  <c:v>0.003797580146604257</c:v>
                </c:pt>
                <c:pt idx="23">
                  <c:v>0.004160887656033287</c:v>
                </c:pt>
                <c:pt idx="24">
                  <c:v>0.0036592630414432814</c:v>
                </c:pt>
                <c:pt idx="25">
                  <c:v>0.003847530422333572</c:v>
                </c:pt>
                <c:pt idx="26">
                  <c:v>0.0037254739630764137</c:v>
                </c:pt>
                <c:pt idx="27">
                  <c:v>0.004029249365766304</c:v>
                </c:pt>
                <c:pt idx="28">
                  <c:v>0.003172246220302376</c:v>
                </c:pt>
                <c:pt idx="29">
                  <c:v>0.003813387423935091</c:v>
                </c:pt>
                <c:pt idx="30">
                  <c:v>0.003781512605042017</c:v>
                </c:pt>
                <c:pt idx="31">
                  <c:v>0.004042400287459576</c:v>
                </c:pt>
                <c:pt idx="32">
                  <c:v>0.003339027799347725</c:v>
                </c:pt>
                <c:pt idx="33">
                  <c:v>0.002659896022246403</c:v>
                </c:pt>
                <c:pt idx="34">
                  <c:v>0.002619224116629602</c:v>
                </c:pt>
                <c:pt idx="35">
                  <c:v>0.0035957842529448234</c:v>
                </c:pt>
                <c:pt idx="36">
                  <c:v>0.004312457120454768</c:v>
                </c:pt>
                <c:pt idx="37">
                  <c:v>0.004406451044328898</c:v>
                </c:pt>
                <c:pt idx="38">
                  <c:v>0.005291005291005291</c:v>
                </c:pt>
                <c:pt idx="39">
                  <c:v>0.004871060171919771</c:v>
                </c:pt>
                <c:pt idx="40">
                  <c:v>0.004396678065461651</c:v>
                </c:pt>
                <c:pt idx="41">
                  <c:v>0.0037574159525379036</c:v>
                </c:pt>
                <c:pt idx="42">
                  <c:v>0.004251827539907504</c:v>
                </c:pt>
                <c:pt idx="43">
                  <c:v>0.003289473684210526</c:v>
                </c:pt>
                <c:pt idx="44">
                  <c:v>0.002335818884197287</c:v>
                </c:pt>
                <c:pt idx="45">
                  <c:v>0.001866649200943149</c:v>
                </c:pt>
                <c:pt idx="46">
                  <c:v>0.0020526723470178157</c:v>
                </c:pt>
                <c:pt idx="47">
                  <c:v>0.0019118389726570954</c:v>
                </c:pt>
                <c:pt idx="48">
                  <c:v>0.0021572387344199425</c:v>
                </c:pt>
                <c:pt idx="49">
                  <c:v>0.0019169861643607267</c:v>
                </c:pt>
                <c:pt idx="50">
                  <c:v>0.0015593003813710571</c:v>
                </c:pt>
                <c:pt idx="51">
                  <c:v>0.002024496406518878</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07.329370171379</c:v>
                </c:pt>
              </c:numCache>
            </c:numRef>
          </c:xVal>
          <c:yVal>
            <c:numRef>
              <c:f>Sheet1!$B$112:$B$113</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07.329370171379</c:v>
                </c:pt>
                <c:pt idx="1">
                  <c:v>3507.329370171379</c:v>
                </c:pt>
              </c:numCache>
            </c:numRef>
          </c:xVal>
          <c:yVal>
            <c:numRef>
              <c:f>Sheet1!$B$116:$B$117</c:f>
              <c:numCache>
                <c:formatCode>General</c:formatCode>
                <c:ptCount val="2"/>
                <c:pt idx="0">
                  <c:v>0.004028090041905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07.329370171379</c:v>
                </c:pt>
              </c:numCache>
            </c:numRef>
          </c:xVal>
          <c:yVal>
            <c:numRef>
              <c:f>Sheet1!$B$120:$B$121</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07.329370171379</c:v>
                </c:pt>
                <c:pt idx="1">
                  <c:v>3507.329370171379</c:v>
                </c:pt>
              </c:numCache>
            </c:numRef>
          </c:xVal>
          <c:yVal>
            <c:numRef>
              <c:f>Sheet1!$B$124:$B$125</c:f>
              <c:numCache>
                <c:formatCode>General</c:formatCode>
                <c:ptCount val="2"/>
                <c:pt idx="0">
                  <c:v>0.0040280900419055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51.422271084922</c:v>
                </c:pt>
              </c:numCache>
            </c:numRef>
          </c:xVal>
          <c:yVal>
            <c:numRef>
              <c:f>Sheet1!$B$128:$B$129</c:f>
              <c:numCache>
                <c:formatCode>General</c:formatCode>
                <c:ptCount val="2"/>
                <c:pt idx="0">
                  <c:v>0.0027993428081171776</c:v>
                </c:pt>
                <c:pt idx="1">
                  <c:v>0.0027993428081171776</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51.422271084922</c:v>
                </c:pt>
                <c:pt idx="1">
                  <c:v>4251.422271084922</c:v>
                </c:pt>
              </c:numCache>
            </c:numRef>
          </c:xVal>
          <c:yVal>
            <c:numRef>
              <c:f>Sheet1!$B$132:$B$133</c:f>
              <c:numCache>
                <c:formatCode>General</c:formatCode>
                <c:ptCount val="2"/>
                <c:pt idx="0">
                  <c:v>0.002799342808117177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07.329370171379</c:v>
                </c:pt>
                <c:pt idx="53">
                  <c:v>3507.329370171379</c:v>
                </c:pt>
                <c:pt idx="54">
                  <c:v>4251.422271084922</c:v>
                </c:pt>
              </c:numCache>
            </c:numRef>
          </c:xVal>
          <c:yVal>
            <c:numRef>
              <c:f>Sheet1!$B$136:$B$190</c:f>
              <c:numCache>
                <c:formatCode>General</c:formatCode>
                <c:ptCount val="55"/>
                <c:pt idx="0">
                  <c:v>0.002503580264801966</c:v>
                </c:pt>
                <c:pt idx="1">
                  <c:v>0.00367349519197689</c:v>
                </c:pt>
                <c:pt idx="2">
                  <c:v>0.002628251162475396</c:v>
                </c:pt>
                <c:pt idx="3">
                  <c:v>0.0038078366422677114</c:v>
                </c:pt>
                <c:pt idx="4">
                  <c:v>0.0024316670684189122</c:v>
                </c:pt>
                <c:pt idx="5">
                  <c:v>0.0018260996131803566</c:v>
                </c:pt>
                <c:pt idx="6">
                  <c:v>0.002373048446164489</c:v>
                </c:pt>
                <c:pt idx="7">
                  <c:v>0.0028887718405446183</c:v>
                </c:pt>
                <c:pt idx="8">
                  <c:v>0.003095578363637456</c:v>
                </c:pt>
                <c:pt idx="9">
                  <c:v>0.003093070810249678</c:v>
                </c:pt>
                <c:pt idx="10">
                  <c:v>0.0027556454431235545</c:v>
                </c:pt>
                <c:pt idx="11">
                  <c:v>0.0032272253293297677</c:v>
                </c:pt>
                <c:pt idx="12">
                  <c:v>0.003536460743289763</c:v>
                </c:pt>
                <c:pt idx="13">
                  <c:v>0.004195888826988729</c:v>
                </c:pt>
                <c:pt idx="14">
                  <c:v>0.004213271117716706</c:v>
                </c:pt>
                <c:pt idx="15">
                  <c:v>0.0038444348669780526</c:v>
                </c:pt>
                <c:pt idx="16">
                  <c:v>0.0036363006699149988</c:v>
                </c:pt>
                <c:pt idx="17">
                  <c:v>0.00499658918239692</c:v>
                </c:pt>
                <c:pt idx="18">
                  <c:v>0.003061091701993925</c:v>
                </c:pt>
                <c:pt idx="19">
                  <c:v>0.0026530337493851242</c:v>
                </c:pt>
                <c:pt idx="20">
                  <c:v>0.003031294503709374</c:v>
                </c:pt>
                <c:pt idx="21">
                  <c:v>0.0035920747600854683</c:v>
                </c:pt>
                <c:pt idx="22">
                  <c:v>0.003227121625442542</c:v>
                </c:pt>
                <c:pt idx="23">
                  <c:v>0.004745974207160709</c:v>
                </c:pt>
                <c:pt idx="24">
                  <c:v>0.003240101950371506</c:v>
                </c:pt>
                <c:pt idx="25">
                  <c:v>0.0037084668509401383</c:v>
                </c:pt>
                <c:pt idx="26">
                  <c:v>0.003284542038452202</c:v>
                </c:pt>
                <c:pt idx="27">
                  <c:v>0.0037451852928955445</c:v>
                </c:pt>
                <c:pt idx="28">
                  <c:v>0.003495147129248633</c:v>
                </c:pt>
                <c:pt idx="29">
                  <c:v>0.003785149765601268</c:v>
                </c:pt>
                <c:pt idx="30">
                  <c:v>0.00390878362440244</c:v>
                </c:pt>
                <c:pt idx="31">
                  <c:v>0.0036564595166299427</c:v>
                </c:pt>
                <c:pt idx="32">
                  <c:v>0.002854073312520019</c:v>
                </c:pt>
                <c:pt idx="33">
                  <c:v>0.0021684793179251914</c:v>
                </c:pt>
                <c:pt idx="34">
                  <c:v>0.0020821453364089195</c:v>
                </c:pt>
                <c:pt idx="35">
                  <c:v>0.003347343989647855</c:v>
                </c:pt>
                <c:pt idx="36">
                  <c:v>0.002844175866365926</c:v>
                </c:pt>
                <c:pt idx="37">
                  <c:v>0.0029715148272653263</c:v>
                </c:pt>
                <c:pt idx="38">
                  <c:v>0.00388982992254255</c:v>
                </c:pt>
                <c:pt idx="39">
                  <c:v>0.0045642494930216325</c:v>
                </c:pt>
                <c:pt idx="40">
                  <c:v>0.004492973877384725</c:v>
                </c:pt>
                <c:pt idx="41">
                  <c:v>0.004156047543932481</c:v>
                </c:pt>
                <c:pt idx="42">
                  <c:v>0.0044144381639741135</c:v>
                </c:pt>
                <c:pt idx="43">
                  <c:v>0.004126585731945631</c:v>
                </c:pt>
                <c:pt idx="44">
                  <c:v>0.0030946129927382163</c:v>
                </c:pt>
                <c:pt idx="45">
                  <c:v>0.0029311330620070243</c:v>
                </c:pt>
                <c:pt idx="46">
                  <c:v>0.0030410416783071366</c:v>
                </c:pt>
                <c:pt idx="47">
                  <c:v>0.003103698972488124</c:v>
                </c:pt>
                <c:pt idx="48">
                  <c:v>0.0038486383422158465</c:v>
                </c:pt>
                <c:pt idx="49">
                  <c:v>0.003549531231152526</c:v>
                </c:pt>
                <c:pt idx="50">
                  <c:v>0.0030463677316107923</c:v>
                </c:pt>
                <c:pt idx="51">
                  <c:v>0.0028625431788889717</c:v>
                </c:pt>
                <c:pt idx="52">
                  <c:v>0.00402809004190552</c:v>
                </c:pt>
                <c:pt idx="53">
                  <c:v>0.00402809004190552</c:v>
                </c:pt>
                <c:pt idx="54">
                  <c:v>0.00279934280811717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41763187901338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147892161622008</c:v>
                </c:pt>
                <c:pt idx="1">
                  <c:v>0.6596993744567271</c:v>
                </c:pt>
                <c:pt idx="2">
                  <c:v>0.6493294473434253</c:v>
                </c:pt>
                <c:pt idx="3">
                  <c:v>0.6649424667998423</c:v>
                </c:pt>
                <c:pt idx="4">
                  <c:v>0.655521763013558</c:v>
                </c:pt>
                <c:pt idx="5">
                  <c:v>0.6517573194953427</c:v>
                </c:pt>
                <c:pt idx="6">
                  <c:v>0.6089753141625242</c:v>
                </c:pt>
                <c:pt idx="7">
                  <c:v>0.6020608191067461</c:v>
                </c:pt>
                <c:pt idx="8">
                  <c:v>0.6202016373974574</c:v>
                </c:pt>
                <c:pt idx="9">
                  <c:v>0.6340697191597521</c:v>
                </c:pt>
                <c:pt idx="10">
                  <c:v>0.6398445709341635</c:v>
                </c:pt>
                <c:pt idx="11">
                  <c:v>0.6721340093988811</c:v>
                </c:pt>
                <c:pt idx="12">
                  <c:v>0.6880210864797803</c:v>
                </c:pt>
                <c:pt idx="13">
                  <c:v>0.6900672724718766</c:v>
                </c:pt>
                <c:pt idx="14">
                  <c:v>0.7059377658839103</c:v>
                </c:pt>
                <c:pt idx="15">
                  <c:v>0.7098438718575583</c:v>
                </c:pt>
                <c:pt idx="16">
                  <c:v>0.7156839820469112</c:v>
                </c:pt>
                <c:pt idx="17">
                  <c:v>0.7073741257913853</c:v>
                </c:pt>
                <c:pt idx="18">
                  <c:v>0.7346204497504673</c:v>
                </c:pt>
                <c:pt idx="19">
                  <c:v>0.7257598497580912</c:v>
                </c:pt>
                <c:pt idx="20">
                  <c:v>0.7627988620518042</c:v>
                </c:pt>
                <c:pt idx="21">
                  <c:v>0.697248674502774</c:v>
                </c:pt>
                <c:pt idx="22">
                  <c:v>0.6349788147336418</c:v>
                </c:pt>
                <c:pt idx="23">
                  <c:v>0.6322014071023923</c:v>
                </c:pt>
                <c:pt idx="24">
                  <c:v>0.6264895096235225</c:v>
                </c:pt>
                <c:pt idx="25">
                  <c:v>0.6046086678539391</c:v>
                </c:pt>
                <c:pt idx="26">
                  <c:v>0.5984013740760824</c:v>
                </c:pt>
                <c:pt idx="27">
                  <c:v>0.6013558065964882</c:v>
                </c:pt>
                <c:pt idx="28">
                  <c:v>0.5928045036566371</c:v>
                </c:pt>
                <c:pt idx="29">
                  <c:v>0.6003457203708142</c:v>
                </c:pt>
                <c:pt idx="30">
                  <c:v>0.5968614398152753</c:v>
                </c:pt>
                <c:pt idx="31">
                  <c:v>0.5872242004543551</c:v>
                </c:pt>
                <c:pt idx="32">
                  <c:v>0.5728027710328555</c:v>
                </c:pt>
                <c:pt idx="33">
                  <c:v>0.56156205640569</c:v>
                </c:pt>
                <c:pt idx="34">
                  <c:v>0.5937239272778326</c:v>
                </c:pt>
                <c:pt idx="35">
                  <c:v>0.6643667581506695</c:v>
                </c:pt>
                <c:pt idx="36">
                  <c:v>0.6719533115864987</c:v>
                </c:pt>
                <c:pt idx="37">
                  <c:v>0.6360726315164099</c:v>
                </c:pt>
                <c:pt idx="38">
                  <c:v>0.6626052092607592</c:v>
                </c:pt>
                <c:pt idx="39">
                  <c:v>0.696810728057686</c:v>
                </c:pt>
                <c:pt idx="40">
                  <c:v>0.6917444528822266</c:v>
                </c:pt>
                <c:pt idx="41">
                  <c:v>0.6857292510783054</c:v>
                </c:pt>
                <c:pt idx="42">
                  <c:v>0.7019106168297857</c:v>
                </c:pt>
                <c:pt idx="43">
                  <c:v>0.7018994806082103</c:v>
                </c:pt>
                <c:pt idx="44">
                  <c:v>0.7123536707791487</c:v>
                </c:pt>
                <c:pt idx="45">
                  <c:v>0.6992015070526667</c:v>
                </c:pt>
                <c:pt idx="46">
                  <c:v>0.7123607681027236</c:v>
                </c:pt>
                <c:pt idx="47">
                  <c:v>0.7102068990113006</c:v>
                </c:pt>
                <c:pt idx="48">
                  <c:v>0.7227724578842466</c:v>
                </c:pt>
                <c:pt idx="49">
                  <c:v>0.7191993228688368</c:v>
                </c:pt>
                <c:pt idx="50">
                  <c:v>0.6743888788320843</c:v>
                </c:pt>
                <c:pt idx="51">
                  <c:v>0.6618241704170175</c:v>
                </c:pt>
                <c:pt idx="52">
                  <c:v>0.6759866028893707</c:v>
                </c:pt>
                <c:pt idx="53">
                  <c:v>0.6707060066851079</c:v>
                </c:pt>
                <c:pt idx="54">
                  <c:v>0.6409674841037365</c:v>
                </c:pt>
                <c:pt idx="55">
                  <c:v>0.6480652967904312</c:v>
                </c:pt>
                <c:pt idx="56">
                  <c:v>0.6380262114018499</c:v>
                </c:pt>
                <c:pt idx="57">
                  <c:v>0.6369001620722147</c:v>
                </c:pt>
                <c:pt idx="58">
                  <c:v>0.6190903070673747</c:v>
                </c:pt>
                <c:pt idx="59">
                  <c:v>0.6382678531541891</c:v>
                </c:pt>
                <c:pt idx="60">
                  <c:v>0.6436820912090232</c:v>
                </c:pt>
                <c:pt idx="61">
                  <c:v>0.6642104562008813</c:v>
                </c:pt>
                <c:pt idx="62">
                  <c:v>0.6400638388188397</c:v>
                </c:pt>
                <c:pt idx="63">
                  <c:v>0.6518455941218683</c:v>
                </c:pt>
                <c:pt idx="64">
                  <c:v>0.700789082226425</c:v>
                </c:pt>
                <c:pt idx="65">
                  <c:v>0.7058877589688326</c:v>
                </c:pt>
                <c:pt idx="66">
                  <c:v>0.7222326635584865</c:v>
                </c:pt>
                <c:pt idx="67">
                  <c:v>0.7414181731870788</c:v>
                </c:pt>
                <c:pt idx="68">
                  <c:v>0.7560028010451365</c:v>
                </c:pt>
                <c:pt idx="69">
                  <c:v>0.756767103829268</c:v>
                </c:pt>
                <c:pt idx="70">
                  <c:v>0.735858250465475</c:v>
                </c:pt>
                <c:pt idx="71">
                  <c:v>0.7117356617627466</c:v>
                </c:pt>
                <c:pt idx="72">
                  <c:v>0.7397067900168286</c:v>
                </c:pt>
                <c:pt idx="73">
                  <c:v>0.7255308368638748</c:v>
                </c:pt>
                <c:pt idx="74">
                  <c:v>0.7028818315378884</c:v>
                </c:pt>
                <c:pt idx="75">
                  <c:v>0.6781477269523005</c:v>
                </c:pt>
                <c:pt idx="76">
                  <c:v>0.6751182036615303</c:v>
                </c:pt>
                <c:pt idx="77">
                  <c:v>0.6752923390587218</c:v>
                </c:pt>
                <c:pt idx="78">
                  <c:v>0.6910663058625539</c:v>
                </c:pt>
                <c:pt idx="79">
                  <c:v>0.6905407192850413</c:v>
                </c:pt>
                <c:pt idx="80">
                  <c:v>0.703190283607512</c:v>
                </c:pt>
                <c:pt idx="81">
                  <c:v>0.7104639166973188</c:v>
                </c:pt>
                <c:pt idx="82">
                  <c:v>0.7223315331306671</c:v>
                </c:pt>
                <c:pt idx="83">
                  <c:v>0.6872739028981739</c:v>
                </c:pt>
                <c:pt idx="84">
                  <c:v>0.6959800935675576</c:v>
                </c:pt>
                <c:pt idx="85">
                  <c:v>0.6813167632342392</c:v>
                </c:pt>
                <c:pt idx="86">
                  <c:v>0.7006124713050603</c:v>
                </c:pt>
                <c:pt idx="87">
                  <c:v>0.7242609202506335</c:v>
                </c:pt>
                <c:pt idx="88">
                  <c:v>0.7090369652848357</c:v>
                </c:pt>
                <c:pt idx="89">
                  <c:v>0.6748809889432823</c:v>
                </c:pt>
                <c:pt idx="90">
                  <c:v>0.7006275213408577</c:v>
                </c:pt>
                <c:pt idx="91">
                  <c:v>0.728221922159853</c:v>
                </c:pt>
                <c:pt idx="92">
                  <c:v>0.7139518334439907</c:v>
                </c:pt>
                <c:pt idx="93">
                  <c:v>0.7239986798978317</c:v>
                </c:pt>
                <c:pt idx="94">
                  <c:v>0.73524025901333</c:v>
                </c:pt>
                <c:pt idx="95">
                  <c:v>0.7498637537665647</c:v>
                </c:pt>
                <c:pt idx="96">
                  <c:v>0.7461211891613153</c:v>
                </c:pt>
                <c:pt idx="97">
                  <c:v>0.7817838366414469</c:v>
                </c:pt>
                <c:pt idx="98">
                  <c:v>0.7895163770776964</c:v>
                </c:pt>
                <c:pt idx="99">
                  <c:v>0.7766715908024096</c:v>
                </c:pt>
                <c:pt idx="100">
                  <c:v>0.7643198514928543</c:v>
                </c:pt>
                <c:pt idx="101">
                  <c:v>0.7333101359379974</c:v>
                </c:pt>
                <c:pt idx="102">
                  <c:v>0.70261292239513</c:v>
                </c:pt>
                <c:pt idx="103">
                  <c:v>0.7183369370203164</c:v>
                </c:pt>
                <c:pt idx="104">
                  <c:v>0.7184166371529123</c:v>
                </c:pt>
              </c:numCache>
            </c:numRef>
          </c:xVal>
          <c:yVal>
            <c:numRef>
              <c:f>Sheet1!$B$2:$B$106</c:f>
              <c:numCache>
                <c:formatCode>General</c:formatCode>
                <c:ptCount val="105"/>
                <c:pt idx="0">
                  <c:v>0.21020646867371848</c:v>
                </c:pt>
                <c:pt idx="1">
                  <c:v>0.19998409879945936</c:v>
                </c:pt>
                <c:pt idx="2">
                  <c:v>0.20379256370121374</c:v>
                </c:pt>
                <c:pt idx="3">
                  <c:v>0.20844547314027345</c:v>
                </c:pt>
                <c:pt idx="4">
                  <c:v>0.21889864325618516</c:v>
                </c:pt>
                <c:pt idx="5">
                  <c:v>0.22279337606142435</c:v>
                </c:pt>
                <c:pt idx="6">
                  <c:v>0.25172147499839115</c:v>
                </c:pt>
                <c:pt idx="7">
                  <c:v>0.25146799765120376</c:v>
                </c:pt>
                <c:pt idx="8">
                  <c:v>0.2456400883405681</c:v>
                </c:pt>
                <c:pt idx="9">
                  <c:v>0.23977286240932336</c:v>
                </c:pt>
                <c:pt idx="10">
                  <c:v>0.23185535944898839</c:v>
                </c:pt>
                <c:pt idx="11">
                  <c:v>0.2112331761187162</c:v>
                </c:pt>
                <c:pt idx="12">
                  <c:v>0.20288239509515088</c:v>
                </c:pt>
                <c:pt idx="13">
                  <c:v>0.19351573264347777</c:v>
                </c:pt>
                <c:pt idx="14">
                  <c:v>0.17355556174921263</c:v>
                </c:pt>
                <c:pt idx="15">
                  <c:v>0.17153731590269733</c:v>
                </c:pt>
                <c:pt idx="16">
                  <c:v>0.16137339055793992</c:v>
                </c:pt>
                <c:pt idx="17">
                  <c:v>0.15487087283425957</c:v>
                </c:pt>
                <c:pt idx="18">
                  <c:v>0.14542892212574443</c:v>
                </c:pt>
                <c:pt idx="19">
                  <c:v>0.14849703640982218</c:v>
                </c:pt>
                <c:pt idx="20">
                  <c:v>0.1512384780044559</c:v>
                </c:pt>
                <c:pt idx="21">
                  <c:v>0.1542627262881015</c:v>
                </c:pt>
                <c:pt idx="22">
                  <c:v>0.17664387164650183</c:v>
                </c:pt>
                <c:pt idx="23">
                  <c:v>0.17933842806939254</c:v>
                </c:pt>
                <c:pt idx="24">
                  <c:v>0.1833583752137195</c:v>
                </c:pt>
                <c:pt idx="25">
                  <c:v>0.18293678563097737</c:v>
                </c:pt>
                <c:pt idx="26">
                  <c:v>0.20214267049908544</c:v>
                </c:pt>
                <c:pt idx="27">
                  <c:v>0.211397612119996</c:v>
                </c:pt>
                <c:pt idx="28">
                  <c:v>0.206163927712077</c:v>
                </c:pt>
                <c:pt idx="29">
                  <c:v>0.20307498083772937</c:v>
                </c:pt>
                <c:pt idx="30">
                  <c:v>0.20531302679765157</c:v>
                </c:pt>
                <c:pt idx="31">
                  <c:v>0.20395755029847445</c:v>
                </c:pt>
                <c:pt idx="32">
                  <c:v>0.21359064071725345</c:v>
                </c:pt>
                <c:pt idx="33">
                  <c:v>0.20973176388220366</c:v>
                </c:pt>
                <c:pt idx="34">
                  <c:v>0.21168379383421967</c:v>
                </c:pt>
                <c:pt idx="35">
                  <c:v>0.23083929294292269</c:v>
                </c:pt>
                <c:pt idx="36">
                  <c:v>0.192742538864411</c:v>
                </c:pt>
                <c:pt idx="37">
                  <c:v>0.20033653846153845</c:v>
                </c:pt>
                <c:pt idx="38">
                  <c:v>0.18773207310604234</c:v>
                </c:pt>
                <c:pt idx="39">
                  <c:v>0.17446483180428135</c:v>
                </c:pt>
                <c:pt idx="40">
                  <c:v>0.17987973900806004</c:v>
                </c:pt>
                <c:pt idx="41">
                  <c:v>0.17108289631060816</c:v>
                </c:pt>
                <c:pt idx="42">
                  <c:v>0.1702286184855496</c:v>
                </c:pt>
                <c:pt idx="43">
                  <c:v>0.1728169656964292</c:v>
                </c:pt>
                <c:pt idx="44">
                  <c:v>0.17103670835014118</c:v>
                </c:pt>
                <c:pt idx="45">
                  <c:v>0.18516640952171037</c:v>
                </c:pt>
                <c:pt idx="46">
                  <c:v>0.19015579233348898</c:v>
                </c:pt>
                <c:pt idx="47">
                  <c:v>0.18210794275568484</c:v>
                </c:pt>
                <c:pt idx="48">
                  <c:v>0.18136631975163672</c:v>
                </c:pt>
                <c:pt idx="49">
                  <c:v>0.1898583998857532</c:v>
                </c:pt>
                <c:pt idx="50">
                  <c:v>0.18103877771319438</c:v>
                </c:pt>
                <c:pt idx="51">
                  <c:v>0.17596993753577383</c:v>
                </c:pt>
                <c:pt idx="52">
                  <c:v>0.17994396800615925</c:v>
                </c:pt>
                <c:pt idx="53">
                  <c:v>0.17098018353504454</c:v>
                </c:pt>
                <c:pt idx="54">
                  <c:v>0.17911866359447004</c:v>
                </c:pt>
                <c:pt idx="55">
                  <c:v>0.17743525405502286</c:v>
                </c:pt>
                <c:pt idx="56">
                  <c:v>0.17281342427717752</c:v>
                </c:pt>
                <c:pt idx="57">
                  <c:v>0.1709137574313176</c:v>
                </c:pt>
                <c:pt idx="58">
                  <c:v>0.18198158808812456</c:v>
                </c:pt>
                <c:pt idx="59">
                  <c:v>0.18307776384736554</c:v>
                </c:pt>
                <c:pt idx="60">
                  <c:v>0.18700290979631426</c:v>
                </c:pt>
                <c:pt idx="61">
                  <c:v>0.18054056646761157</c:v>
                </c:pt>
                <c:pt idx="62">
                  <c:v>0.19009002656136145</c:v>
                </c:pt>
                <c:pt idx="63">
                  <c:v>0.19600309105739921</c:v>
                </c:pt>
                <c:pt idx="64">
                  <c:v>0.18459062310570432</c:v>
                </c:pt>
                <c:pt idx="65">
                  <c:v>0.179037306101935</c:v>
                </c:pt>
                <c:pt idx="66">
                  <c:v>0.17705924002832193</c:v>
                </c:pt>
                <c:pt idx="67">
                  <c:v>0.165002435460302</c:v>
                </c:pt>
                <c:pt idx="68">
                  <c:v>0.1568587306229892</c:v>
                </c:pt>
                <c:pt idx="69">
                  <c:v>0.15326821938392185</c:v>
                </c:pt>
                <c:pt idx="70">
                  <c:v>0.1520919248528427</c:v>
                </c:pt>
                <c:pt idx="71">
                  <c:v>0.1501281857939979</c:v>
                </c:pt>
                <c:pt idx="72">
                  <c:v>0.1519796585543044</c:v>
                </c:pt>
                <c:pt idx="73">
                  <c:v>0.1523521632344606</c:v>
                </c:pt>
                <c:pt idx="74">
                  <c:v>0.1514309430149049</c:v>
                </c:pt>
                <c:pt idx="75">
                  <c:v>0.16235595390524968</c:v>
                </c:pt>
                <c:pt idx="76">
                  <c:v>0.16577613371694752</c:v>
                </c:pt>
                <c:pt idx="77">
                  <c:v>0.155979908593149</c:v>
                </c:pt>
                <c:pt idx="78">
                  <c:v>0.15918260413937646</c:v>
                </c:pt>
                <c:pt idx="79">
                  <c:v>0.15380752373995618</c:v>
                </c:pt>
                <c:pt idx="80">
                  <c:v>0.14142712829460924</c:v>
                </c:pt>
                <c:pt idx="81">
                  <c:v>0.148257712551385</c:v>
                </c:pt>
                <c:pt idx="82">
                  <c:v>0.1528003546623319</c:v>
                </c:pt>
                <c:pt idx="83">
                  <c:v>0.14571476869330027</c:v>
                </c:pt>
                <c:pt idx="84">
                  <c:v>0.1516840607210626</c:v>
                </c:pt>
                <c:pt idx="85">
                  <c:v>0.15782255512184828</c:v>
                </c:pt>
                <c:pt idx="86">
                  <c:v>0.1641406126011744</c:v>
                </c:pt>
                <c:pt idx="87">
                  <c:v>0.18383226647245965</c:v>
                </c:pt>
                <c:pt idx="88">
                  <c:v>0.16740838935706845</c:v>
                </c:pt>
                <c:pt idx="89">
                  <c:v>0.1644376120932616</c:v>
                </c:pt>
                <c:pt idx="90">
                  <c:v>0.1535372747926243</c:v>
                </c:pt>
                <c:pt idx="91">
                  <c:v>0.1452292565466038</c:v>
                </c:pt>
                <c:pt idx="92">
                  <c:v>0.15778172358260725</c:v>
                </c:pt>
                <c:pt idx="93">
                  <c:v>0.1529416470023597</c:v>
                </c:pt>
                <c:pt idx="94">
                  <c:v>0.15484930007751585</c:v>
                </c:pt>
                <c:pt idx="95">
                  <c:v>0.161292465048318</c:v>
                </c:pt>
                <c:pt idx="96">
                  <c:v>0.16254008052267413</c:v>
                </c:pt>
                <c:pt idx="97">
                  <c:v>0.1687336954197494</c:v>
                </c:pt>
                <c:pt idx="98">
                  <c:v>0.1752648592088791</c:v>
                </c:pt>
                <c:pt idx="99">
                  <c:v>0.17548869236040857</c:v>
                </c:pt>
                <c:pt idx="100">
                  <c:v>0.1780660101518093</c:v>
                </c:pt>
                <c:pt idx="101">
                  <c:v>0.16804971170328814</c:v>
                </c:pt>
                <c:pt idx="102">
                  <c:v>0.1605298013245033</c:v>
                </c:pt>
                <c:pt idx="103">
                  <c:v>0.1623502567027952</c:v>
                </c:pt>
                <c:pt idx="104">
                  <c:v>0.157237936772046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010410345632814</c:v>
                </c:pt>
                <c:pt idx="1">
                  <c:v>0.6941259569938617</c:v>
                </c:pt>
                <c:pt idx="2">
                  <c:v>0.6946974252341567</c:v>
                </c:pt>
                <c:pt idx="3">
                  <c:v>0.6602877512671479</c:v>
                </c:pt>
                <c:pt idx="4">
                  <c:v>0.6523359647876702</c:v>
                </c:pt>
                <c:pt idx="5">
                  <c:v>0.6881152846327125</c:v>
                </c:pt>
                <c:pt idx="6">
                  <c:v>0.682964828468874</c:v>
                </c:pt>
                <c:pt idx="7">
                  <c:v>0.6747362780931211</c:v>
                </c:pt>
                <c:pt idx="8">
                  <c:v>0.6922534331588983</c:v>
                </c:pt>
                <c:pt idx="9">
                  <c:v>0.6683979836452966</c:v>
                </c:pt>
                <c:pt idx="10">
                  <c:v>0.6837943509126482</c:v>
                </c:pt>
                <c:pt idx="11">
                  <c:v>0.6866718498662522</c:v>
                </c:pt>
                <c:pt idx="12">
                  <c:v>0.6970931957617112</c:v>
                </c:pt>
                <c:pt idx="13">
                  <c:v>0.6617923467309506</c:v>
                </c:pt>
                <c:pt idx="14">
                  <c:v>0.6696200261828059</c:v>
                </c:pt>
                <c:pt idx="15">
                  <c:v>0.6654775470134691</c:v>
                </c:pt>
                <c:pt idx="16">
                  <c:v>0.6812621706983515</c:v>
                </c:pt>
                <c:pt idx="17">
                  <c:v>0.6630058443873416</c:v>
                </c:pt>
                <c:pt idx="18">
                  <c:v>0.6845517795861407</c:v>
                </c:pt>
                <c:pt idx="19">
                  <c:v>0.6954670084332003</c:v>
                </c:pt>
                <c:pt idx="20">
                  <c:v>0.661041323767426</c:v>
                </c:pt>
                <c:pt idx="21">
                  <c:v>0.6282550772055434</c:v>
                </c:pt>
                <c:pt idx="22">
                  <c:v>0.6325931138872033</c:v>
                </c:pt>
                <c:pt idx="23">
                  <c:v>0.6327832126154983</c:v>
                </c:pt>
                <c:pt idx="24">
                  <c:v>0.6192427320527226</c:v>
                </c:pt>
                <c:pt idx="25">
                  <c:v>0.6556866427344928</c:v>
                </c:pt>
                <c:pt idx="26">
                  <c:v>0.6565662173211088</c:v>
                </c:pt>
                <c:pt idx="27">
                  <c:v>0.6752184240249359</c:v>
                </c:pt>
                <c:pt idx="28">
                  <c:v>0.6911241524403975</c:v>
                </c:pt>
                <c:pt idx="29">
                  <c:v>0.6500239992764244</c:v>
                </c:pt>
                <c:pt idx="30">
                  <c:v>0.652804214493088</c:v>
                </c:pt>
                <c:pt idx="31">
                  <c:v>0.6560184144252561</c:v>
                </c:pt>
                <c:pt idx="32">
                  <c:v>0.6608157578555564</c:v>
                </c:pt>
                <c:pt idx="33">
                  <c:v>0.6869175907464986</c:v>
                </c:pt>
                <c:pt idx="34">
                  <c:v>0.7095689245018726</c:v>
                </c:pt>
                <c:pt idx="35">
                  <c:v>0.6965901729577068</c:v>
                </c:pt>
                <c:pt idx="36">
                  <c:v>0.6531745590614485</c:v>
                </c:pt>
                <c:pt idx="37">
                  <c:v>0.6631348555116653</c:v>
                </c:pt>
                <c:pt idx="38">
                  <c:v>0.64870756552468</c:v>
                </c:pt>
                <c:pt idx="39">
                  <c:v>0.6819280516049</c:v>
                </c:pt>
                <c:pt idx="40">
                  <c:v>0.6631392325844765</c:v>
                </c:pt>
                <c:pt idx="41">
                  <c:v>0.6930338282192512</c:v>
                </c:pt>
                <c:pt idx="42">
                  <c:v>0.6544977443678796</c:v>
                </c:pt>
                <c:pt idx="43">
                  <c:v>0.7096180858001766</c:v>
                </c:pt>
                <c:pt idx="44">
                  <c:v>0.7411911063538457</c:v>
                </c:pt>
                <c:pt idx="45">
                  <c:v>0.7453039409552817</c:v>
                </c:pt>
                <c:pt idx="46">
                  <c:v>0.7204246159954917</c:v>
                </c:pt>
                <c:pt idx="47">
                  <c:v>0.7154450494827367</c:v>
                </c:pt>
                <c:pt idx="48">
                  <c:v>0.7576191389619533</c:v>
                </c:pt>
                <c:pt idx="49">
                  <c:v>0.772966896194907</c:v>
                </c:pt>
                <c:pt idx="50">
                  <c:v>0.7586520764331957</c:v>
                </c:pt>
                <c:pt idx="51">
                  <c:v>0.724396171848239</c:v>
                </c:pt>
              </c:numCache>
            </c:numRef>
          </c:xVal>
          <c:yVal>
            <c:numRef>
              <c:f>Sheet1!$B$109:$B$160</c:f>
              <c:numCache>
                <c:formatCode>General</c:formatCode>
                <c:ptCount val="52"/>
                <c:pt idx="0">
                  <c:v>0.17161046922895543</c:v>
                </c:pt>
                <c:pt idx="1">
                  <c:v>0.1659287583014691</c:v>
                </c:pt>
                <c:pt idx="2">
                  <c:v>0.18026123492875412</c:v>
                </c:pt>
                <c:pt idx="3">
                  <c:v>0.19833303052325582</c:v>
                </c:pt>
                <c:pt idx="4">
                  <c:v>0.18442565186751234</c:v>
                </c:pt>
                <c:pt idx="5">
                  <c:v>0.18051201671891326</c:v>
                </c:pt>
                <c:pt idx="6">
                  <c:v>0.1899355489804812</c:v>
                </c:pt>
                <c:pt idx="7">
                  <c:v>0.1877624104717214</c:v>
                </c:pt>
                <c:pt idx="8">
                  <c:v>0.17505425235093522</c:v>
                </c:pt>
                <c:pt idx="9">
                  <c:v>0.18160355085466048</c:v>
                </c:pt>
                <c:pt idx="10">
                  <c:v>0.1846767320102277</c:v>
                </c:pt>
                <c:pt idx="11">
                  <c:v>0.185658130921815</c:v>
                </c:pt>
                <c:pt idx="12">
                  <c:v>0.18300161097541964</c:v>
                </c:pt>
                <c:pt idx="13">
                  <c:v>0.18322615219721328</c:v>
                </c:pt>
                <c:pt idx="14">
                  <c:v>0.182059123343527</c:v>
                </c:pt>
                <c:pt idx="15">
                  <c:v>0.17592679055000468</c:v>
                </c:pt>
                <c:pt idx="16">
                  <c:v>0.16410665372213168</c:v>
                </c:pt>
                <c:pt idx="17">
                  <c:v>0.16779853896699828</c:v>
                </c:pt>
                <c:pt idx="18">
                  <c:v>0.16916015711196433</c:v>
                </c:pt>
                <c:pt idx="19">
                  <c:v>0.1675609756097561</c:v>
                </c:pt>
                <c:pt idx="20">
                  <c:v>0.15900841080123948</c:v>
                </c:pt>
                <c:pt idx="21">
                  <c:v>0.16135394456289978</c:v>
                </c:pt>
                <c:pt idx="22">
                  <c:v>0.15798345888426488</c:v>
                </c:pt>
                <c:pt idx="23">
                  <c:v>0.1678344646376177</c:v>
                </c:pt>
                <c:pt idx="24">
                  <c:v>0.17586403440592777</c:v>
                </c:pt>
                <c:pt idx="25">
                  <c:v>0.17423913043478262</c:v>
                </c:pt>
                <c:pt idx="26">
                  <c:v>0.1662018386530317</c:v>
                </c:pt>
                <c:pt idx="27">
                  <c:v>0.16683440073193045</c:v>
                </c:pt>
                <c:pt idx="28">
                  <c:v>0.1565824328301728</c:v>
                </c:pt>
                <c:pt idx="29">
                  <c:v>0.15659955257270694</c:v>
                </c:pt>
                <c:pt idx="30">
                  <c:v>0.1621467756960977</c:v>
                </c:pt>
                <c:pt idx="31">
                  <c:v>0.15702621895124194</c:v>
                </c:pt>
                <c:pt idx="32">
                  <c:v>0.1539289007273845</c:v>
                </c:pt>
                <c:pt idx="33">
                  <c:v>0.1701701274890206</c:v>
                </c:pt>
                <c:pt idx="34">
                  <c:v>0.1859032923899435</c:v>
                </c:pt>
                <c:pt idx="35">
                  <c:v>0.17813476832983816</c:v>
                </c:pt>
                <c:pt idx="36">
                  <c:v>0.16688650570625682</c:v>
                </c:pt>
                <c:pt idx="37">
                  <c:v>0.15823016246147417</c:v>
                </c:pt>
                <c:pt idx="38">
                  <c:v>0.1577463167587477</c:v>
                </c:pt>
                <c:pt idx="39">
                  <c:v>0.17152681641584425</c:v>
                </c:pt>
                <c:pt idx="40">
                  <c:v>0.16464266992835924</c:v>
                </c:pt>
                <c:pt idx="41">
                  <c:v>0.16797488226059654</c:v>
                </c:pt>
                <c:pt idx="42">
                  <c:v>0.16525791565769635</c:v>
                </c:pt>
                <c:pt idx="43">
                  <c:v>0.1640622305012246</c:v>
                </c:pt>
                <c:pt idx="44">
                  <c:v>0.1642367314009105</c:v>
                </c:pt>
                <c:pt idx="45">
                  <c:v>0.17864914170165067</c:v>
                </c:pt>
                <c:pt idx="46">
                  <c:v>0.1900123726538026</c:v>
                </c:pt>
                <c:pt idx="47">
                  <c:v>0.1911568656495334</c:v>
                </c:pt>
                <c:pt idx="48">
                  <c:v>0.18884271763972574</c:v>
                </c:pt>
                <c:pt idx="49">
                  <c:v>0.19380640258383205</c:v>
                </c:pt>
                <c:pt idx="50">
                  <c:v>0.20203557135368053</c:v>
                </c:pt>
                <c:pt idx="51">
                  <c:v>0.1919633202128119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9444451718676707</c:v>
                </c:pt>
              </c:numCache>
            </c:numRef>
          </c:xVal>
          <c:yVal>
            <c:numRef>
              <c:f>Sheet1!$B$163:$B$164</c:f>
              <c:numCache>
                <c:formatCode>General</c:formatCode>
                <c:ptCount val="2"/>
                <c:pt idx="0">
                  <c:v>0.22366113162471526</c:v>
                </c:pt>
                <c:pt idx="1">
                  <c:v>0.2236611316247152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9444451718676707</c:v>
                </c:pt>
                <c:pt idx="1">
                  <c:v>0.9444451718676707</c:v>
                </c:pt>
              </c:numCache>
            </c:numRef>
          </c:xVal>
          <c:yVal>
            <c:numRef>
              <c:f>Sheet1!$B$167:$B$168</c:f>
              <c:numCache>
                <c:formatCode>General</c:formatCode>
                <c:ptCount val="2"/>
                <c:pt idx="0">
                  <c:v>0.223661131624715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887294988220416</c:v>
                </c:pt>
              </c:numCache>
            </c:numRef>
          </c:xVal>
          <c:yVal>
            <c:numRef>
              <c:f>Sheet1!$B$171:$B$172</c:f>
              <c:numCache>
                <c:formatCode>General</c:formatCode>
                <c:ptCount val="2"/>
                <c:pt idx="0">
                  <c:v>0.19416200294751257</c:v>
                </c:pt>
                <c:pt idx="1">
                  <c:v>0.1941620029475125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887294988220416</c:v>
                </c:pt>
                <c:pt idx="1">
                  <c:v>0.7887294988220416</c:v>
                </c:pt>
              </c:numCache>
            </c:numRef>
          </c:xVal>
          <c:yVal>
            <c:numRef>
              <c:f>Sheet1!$B$175:$B$176</c:f>
              <c:numCache>
                <c:formatCode>General</c:formatCode>
                <c:ptCount val="2"/>
                <c:pt idx="0">
                  <c:v>0.1941620029475125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116049630887531</c:v>
                </c:pt>
              </c:numCache>
            </c:numRef>
          </c:xVal>
          <c:yVal>
            <c:numRef>
              <c:f>Sheet1!$B$179:$B$180</c:f>
              <c:numCache>
                <c:formatCode>General</c:formatCode>
                <c:ptCount val="2"/>
                <c:pt idx="0">
                  <c:v>0.17955135676612835</c:v>
                </c:pt>
                <c:pt idx="1">
                  <c:v>0.1795513567661283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116049630887531</c:v>
                </c:pt>
                <c:pt idx="1">
                  <c:v>0.7116049630887531</c:v>
                </c:pt>
              </c:numCache>
            </c:numRef>
          </c:xVal>
          <c:yVal>
            <c:numRef>
              <c:f>Sheet1!$B$183:$B$184</c:f>
              <c:numCache>
                <c:formatCode>General</c:formatCode>
                <c:ptCount val="2"/>
                <c:pt idx="0">
                  <c:v>0.1795513567661283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010410345632814</c:v>
                </c:pt>
                <c:pt idx="1">
                  <c:v>0.6941259569938617</c:v>
                </c:pt>
                <c:pt idx="2">
                  <c:v>0.6946974252341567</c:v>
                </c:pt>
                <c:pt idx="3">
                  <c:v>0.6602877512671479</c:v>
                </c:pt>
                <c:pt idx="4">
                  <c:v>0.6523359647876702</c:v>
                </c:pt>
                <c:pt idx="5">
                  <c:v>0.6881152846327125</c:v>
                </c:pt>
                <c:pt idx="6">
                  <c:v>0.682964828468874</c:v>
                </c:pt>
                <c:pt idx="7">
                  <c:v>0.6747362780931211</c:v>
                </c:pt>
                <c:pt idx="8">
                  <c:v>0.6922534331588983</c:v>
                </c:pt>
                <c:pt idx="9">
                  <c:v>0.6683979836452966</c:v>
                </c:pt>
                <c:pt idx="10">
                  <c:v>0.6837943509126482</c:v>
                </c:pt>
                <c:pt idx="11">
                  <c:v>0.6866718498662522</c:v>
                </c:pt>
                <c:pt idx="12">
                  <c:v>0.6970931957617112</c:v>
                </c:pt>
                <c:pt idx="13">
                  <c:v>0.6617923467309506</c:v>
                </c:pt>
                <c:pt idx="14">
                  <c:v>0.6696200261828059</c:v>
                </c:pt>
                <c:pt idx="15">
                  <c:v>0.6654775470134691</c:v>
                </c:pt>
                <c:pt idx="16">
                  <c:v>0.6812621706983515</c:v>
                </c:pt>
                <c:pt idx="17">
                  <c:v>0.6630058443873416</c:v>
                </c:pt>
                <c:pt idx="18">
                  <c:v>0.6845517795861407</c:v>
                </c:pt>
                <c:pt idx="19">
                  <c:v>0.6954670084332003</c:v>
                </c:pt>
                <c:pt idx="20">
                  <c:v>0.661041323767426</c:v>
                </c:pt>
                <c:pt idx="21">
                  <c:v>0.6282550772055434</c:v>
                </c:pt>
                <c:pt idx="22">
                  <c:v>0.6325931138872033</c:v>
                </c:pt>
                <c:pt idx="23">
                  <c:v>0.6327832126154983</c:v>
                </c:pt>
                <c:pt idx="24">
                  <c:v>0.6192427320527226</c:v>
                </c:pt>
                <c:pt idx="25">
                  <c:v>0.6556866427344928</c:v>
                </c:pt>
                <c:pt idx="26">
                  <c:v>0.6565662173211088</c:v>
                </c:pt>
                <c:pt idx="27">
                  <c:v>0.6752184240249359</c:v>
                </c:pt>
                <c:pt idx="28">
                  <c:v>0.6911241524403975</c:v>
                </c:pt>
                <c:pt idx="29">
                  <c:v>0.6500239992764244</c:v>
                </c:pt>
                <c:pt idx="30">
                  <c:v>0.652804214493088</c:v>
                </c:pt>
                <c:pt idx="31">
                  <c:v>0.6560184144252561</c:v>
                </c:pt>
                <c:pt idx="32">
                  <c:v>0.6608157578555564</c:v>
                </c:pt>
                <c:pt idx="33">
                  <c:v>0.6869175907464986</c:v>
                </c:pt>
                <c:pt idx="34">
                  <c:v>0.7095689245018726</c:v>
                </c:pt>
                <c:pt idx="35">
                  <c:v>0.6965901729577068</c:v>
                </c:pt>
                <c:pt idx="36">
                  <c:v>0.6531745590614485</c:v>
                </c:pt>
                <c:pt idx="37">
                  <c:v>0.6631348555116653</c:v>
                </c:pt>
                <c:pt idx="38">
                  <c:v>0.64870756552468</c:v>
                </c:pt>
                <c:pt idx="39">
                  <c:v>0.6819280516049</c:v>
                </c:pt>
                <c:pt idx="40">
                  <c:v>0.6631392325844765</c:v>
                </c:pt>
                <c:pt idx="41">
                  <c:v>0.6930338282192512</c:v>
                </c:pt>
                <c:pt idx="42">
                  <c:v>0.6544977443678796</c:v>
                </c:pt>
                <c:pt idx="43">
                  <c:v>0.7096180858001766</c:v>
                </c:pt>
                <c:pt idx="44">
                  <c:v>0.7411911063538457</c:v>
                </c:pt>
                <c:pt idx="45">
                  <c:v>0.7453039409552817</c:v>
                </c:pt>
                <c:pt idx="46">
                  <c:v>0.7204246159954917</c:v>
                </c:pt>
                <c:pt idx="47">
                  <c:v>0.7154450494827367</c:v>
                </c:pt>
                <c:pt idx="48">
                  <c:v>0.7576191389619533</c:v>
                </c:pt>
                <c:pt idx="49">
                  <c:v>0.772966896194907</c:v>
                </c:pt>
                <c:pt idx="50">
                  <c:v>0.7586520764331957</c:v>
                </c:pt>
                <c:pt idx="51">
                  <c:v>0.724396171848239</c:v>
                </c:pt>
                <c:pt idx="52">
                  <c:v>0.7887294988220416</c:v>
                </c:pt>
                <c:pt idx="53">
                  <c:v>0.9444451718676707</c:v>
                </c:pt>
                <c:pt idx="54">
                  <c:v>0.7116049630887531</c:v>
                </c:pt>
              </c:numCache>
            </c:numRef>
          </c:xVal>
          <c:yVal>
            <c:numRef>
              <c:f>Sheet1!$B$187:$B$241</c:f>
              <c:numCache>
                <c:formatCode>General</c:formatCode>
                <c:ptCount val="55"/>
                <c:pt idx="0">
                  <c:v>0.177550102294985</c:v>
                </c:pt>
                <c:pt idx="1">
                  <c:v>0.1762400943873457</c:v>
                </c:pt>
                <c:pt idx="2">
                  <c:v>0.17634835462105036</c:v>
                </c:pt>
                <c:pt idx="3">
                  <c:v>0.1698297082944475</c:v>
                </c:pt>
                <c:pt idx="4">
                  <c:v>0.16832330391020148</c:v>
                </c:pt>
                <c:pt idx="5">
                  <c:v>0.1751014190443307</c:v>
                </c:pt>
                <c:pt idx="6">
                  <c:v>0.1741257049999336</c:v>
                </c:pt>
                <c:pt idx="7">
                  <c:v>0.17256686983829866</c:v>
                </c:pt>
                <c:pt idx="8">
                  <c:v>0.1758853592442588</c:v>
                </c:pt>
                <c:pt idx="9">
                  <c:v>0.17136612902747747</c:v>
                </c:pt>
                <c:pt idx="10">
                  <c:v>0.17428285160458112</c:v>
                </c:pt>
                <c:pt idx="11">
                  <c:v>0.17482797150317994</c:v>
                </c:pt>
                <c:pt idx="12">
                  <c:v>0.1768022147989701</c:v>
                </c:pt>
                <c:pt idx="13">
                  <c:v>0.1701147422561916</c:v>
                </c:pt>
                <c:pt idx="14">
                  <c:v>0.17159763552491553</c:v>
                </c:pt>
                <c:pt idx="15">
                  <c:v>0.17081287491817113</c:v>
                </c:pt>
                <c:pt idx="16">
                  <c:v>0.17380314966761864</c:v>
                </c:pt>
                <c:pt idx="17">
                  <c:v>0.17034462999205796</c:v>
                </c:pt>
                <c:pt idx="18">
                  <c:v>0.1744263406026129</c:v>
                </c:pt>
                <c:pt idx="19">
                  <c:v>0.17649414619984505</c:v>
                </c:pt>
                <c:pt idx="20">
                  <c:v>0.16997246677031902</c:v>
                </c:pt>
                <c:pt idx="21">
                  <c:v>0.16376136619672385</c:v>
                </c:pt>
                <c:pt idx="22">
                  <c:v>0.1645831736601332</c:v>
                </c:pt>
                <c:pt idx="23">
                  <c:v>0.16461918639242704</c:v>
                </c:pt>
                <c:pt idx="24">
                  <c:v>0.1620540471828663</c:v>
                </c:pt>
                <c:pt idx="25">
                  <c:v>0.168958063905621</c:v>
                </c:pt>
                <c:pt idx="26">
                  <c:v>0.16912469250121634</c:v>
                </c:pt>
                <c:pt idx="27">
                  <c:v>0.17265820865221257</c:v>
                </c:pt>
                <c:pt idx="28">
                  <c:v>0.17567142575525171</c:v>
                </c:pt>
                <c:pt idx="29">
                  <c:v>0.16788531994378655</c:v>
                </c:pt>
                <c:pt idx="30">
                  <c:v>0.1684120101916118</c:v>
                </c:pt>
                <c:pt idx="31">
                  <c:v>0.16902091548379455</c:v>
                </c:pt>
                <c:pt idx="32">
                  <c:v>0.16992973505469086</c:v>
                </c:pt>
                <c:pt idx="33">
                  <c:v>0.17487452521036853</c:v>
                </c:pt>
                <c:pt idx="34">
                  <c:v>0.17916564501925406</c:v>
                </c:pt>
                <c:pt idx="35">
                  <c:v>0.1767069210232527</c:v>
                </c:pt>
                <c:pt idx="36">
                  <c:v>0.1684821691028074</c:v>
                </c:pt>
                <c:pt idx="37">
                  <c:v>0.17036907015073166</c:v>
                </c:pt>
                <c:pt idx="38">
                  <c:v>0.167635931761607</c:v>
                </c:pt>
                <c:pt idx="39">
                  <c:v>0.17392929564998363</c:v>
                </c:pt>
                <c:pt idx="40">
                  <c:v>0.17036989935328758</c:v>
                </c:pt>
                <c:pt idx="41">
                  <c:v>0.176033199046471</c:v>
                </c:pt>
                <c:pt idx="42">
                  <c:v>0.1687328363147505</c:v>
                </c:pt>
                <c:pt idx="43">
                  <c:v>0.17917495824660132</c:v>
                </c:pt>
                <c:pt idx="44">
                  <c:v>0.18515622254597425</c:v>
                </c:pt>
                <c:pt idx="45">
                  <c:v>0.1859353672188439</c:v>
                </c:pt>
                <c:pt idx="46">
                  <c:v>0.18122217172582678</c:v>
                </c:pt>
                <c:pt idx="47">
                  <c:v>0.18027883140276627</c:v>
                </c:pt>
                <c:pt idx="48">
                  <c:v>0.18826838613452868</c:v>
                </c:pt>
                <c:pt idx="49">
                  <c:v>0.19117589991696404</c:v>
                </c:pt>
                <c:pt idx="50">
                  <c:v>0.18846406814125097</c:v>
                </c:pt>
                <c:pt idx="51">
                  <c:v>0.18197455223356515</c:v>
                </c:pt>
                <c:pt idx="52">
                  <c:v>0.19416200294751257</c:v>
                </c:pt>
                <c:pt idx="53">
                  <c:v>0.22366113162471526</c:v>
                </c:pt>
                <c:pt idx="54">
                  <c:v>0.1795513567661283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20657699980694"/>
          <c:min val="0.11314170263568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9.4137</c:v>
                </c:pt>
                <c:pt idx="1">
                  <c:v>897.7513</c:v>
                </c:pt>
                <c:pt idx="2">
                  <c:v>929.3155</c:v>
                </c:pt>
                <c:pt idx="3">
                  <c:v>958.2186</c:v>
                </c:pt>
                <c:pt idx="4">
                  <c:v>945.1339</c:v>
                </c:pt>
                <c:pt idx="5">
                  <c:v>929.9001</c:v>
                </c:pt>
                <c:pt idx="6">
                  <c:v>892.9715</c:v>
                </c:pt>
                <c:pt idx="7">
                  <c:v>902.0136</c:v>
                </c:pt>
                <c:pt idx="8">
                  <c:v>906.6306</c:v>
                </c:pt>
                <c:pt idx="9">
                  <c:v>878.51</c:v>
                </c:pt>
                <c:pt idx="10">
                  <c:v>868.4945</c:v>
                </c:pt>
                <c:pt idx="11">
                  <c:v>914.4113</c:v>
                </c:pt>
                <c:pt idx="12">
                  <c:v>921.2473</c:v>
                </c:pt>
                <c:pt idx="13">
                  <c:v>929.9615</c:v>
                </c:pt>
                <c:pt idx="14">
                  <c:v>966.11</c:v>
                </c:pt>
                <c:pt idx="15">
                  <c:v>976.5391</c:v>
                </c:pt>
                <c:pt idx="16">
                  <c:v>1000.8444</c:v>
                </c:pt>
                <c:pt idx="17">
                  <c:v>1013.3609</c:v>
                </c:pt>
                <c:pt idx="18">
                  <c:v>1061.8215</c:v>
                </c:pt>
                <c:pt idx="19">
                  <c:v>1057.3236</c:v>
                </c:pt>
                <c:pt idx="20">
                  <c:v>1086.0927</c:v>
                </c:pt>
                <c:pt idx="21">
                  <c:v>1090.9295</c:v>
                </c:pt>
                <c:pt idx="22">
                  <c:v>1048.2189</c:v>
                </c:pt>
                <c:pt idx="23">
                  <c:v>1059.0827</c:v>
                </c:pt>
                <c:pt idx="24">
                  <c:v>1068.4637</c:v>
                </c:pt>
                <c:pt idx="25">
                  <c:v>1053.4514</c:v>
                </c:pt>
                <c:pt idx="26">
                  <c:v>1034.2451</c:v>
                </c:pt>
                <c:pt idx="27">
                  <c:v>1037.0432</c:v>
                </c:pt>
                <c:pt idx="28">
                  <c:v>1046.1112</c:v>
                </c:pt>
                <c:pt idx="29">
                  <c:v>1035.2358</c:v>
                </c:pt>
                <c:pt idx="30">
                  <c:v>1038.0835</c:v>
                </c:pt>
                <c:pt idx="31">
                  <c:v>1019.7049</c:v>
                </c:pt>
                <c:pt idx="32">
                  <c:v>1009.4108</c:v>
                </c:pt>
                <c:pt idx="33">
                  <c:v>977.3818</c:v>
                </c:pt>
                <c:pt idx="34">
                  <c:v>987.871</c:v>
                </c:pt>
                <c:pt idx="35">
                  <c:v>1033.9306</c:v>
                </c:pt>
                <c:pt idx="36">
                  <c:v>1083.6245</c:v>
                </c:pt>
                <c:pt idx="37">
                  <c:v>1071.7079</c:v>
                </c:pt>
                <c:pt idx="38">
                  <c:v>1108.0026</c:v>
                </c:pt>
                <c:pt idx="39">
                  <c:v>1165.3772</c:v>
                </c:pt>
                <c:pt idx="40">
                  <c:v>1167.785</c:v>
                </c:pt>
                <c:pt idx="41">
                  <c:v>1193.8357</c:v>
                </c:pt>
                <c:pt idx="42">
                  <c:v>1212.1279</c:v>
                </c:pt>
                <c:pt idx="43">
                  <c:v>1199.113</c:v>
                </c:pt>
                <c:pt idx="44">
                  <c:v>1155.1468</c:v>
                </c:pt>
                <c:pt idx="45">
                  <c:v>1120.0195</c:v>
                </c:pt>
                <c:pt idx="46">
                  <c:v>1109.1569</c:v>
                </c:pt>
                <c:pt idx="47">
                  <c:v>1095.2651</c:v>
                </c:pt>
                <c:pt idx="48">
                  <c:v>1093.2907</c:v>
                </c:pt>
                <c:pt idx="49">
                  <c:v>1048.022</c:v>
                </c:pt>
                <c:pt idx="50">
                  <c:v>1049.4572</c:v>
                </c:pt>
                <c:pt idx="51">
                  <c:v>1044.8197</c:v>
                </c:pt>
                <c:pt idx="52">
                  <c:v>1059.6912</c:v>
                </c:pt>
                <c:pt idx="53">
                  <c:v>1169.267</c:v>
                </c:pt>
                <c:pt idx="54">
                  <c:v>1148.3676</c:v>
                </c:pt>
                <c:pt idx="55">
                  <c:v>1170.5369</c:v>
                </c:pt>
                <c:pt idx="56">
                  <c:v>1173.6815</c:v>
                </c:pt>
                <c:pt idx="57">
                  <c:v>1147.0884</c:v>
                </c:pt>
                <c:pt idx="58">
                  <c:v>1131.2774</c:v>
                </c:pt>
                <c:pt idx="59">
                  <c:v>1107.5691</c:v>
                </c:pt>
                <c:pt idx="60">
                  <c:v>1125.5277</c:v>
                </c:pt>
                <c:pt idx="61">
                  <c:v>1145.755</c:v>
                </c:pt>
                <c:pt idx="62">
                  <c:v>1079.6264</c:v>
                </c:pt>
                <c:pt idx="63">
                  <c:v>1099.6892</c:v>
                </c:pt>
                <c:pt idx="64">
                  <c:v>1111.0568</c:v>
                </c:pt>
                <c:pt idx="65">
                  <c:v>1102.1999</c:v>
                </c:pt>
                <c:pt idx="66">
                  <c:v>1137.0865</c:v>
                </c:pt>
                <c:pt idx="67">
                  <c:v>1160.1286</c:v>
                </c:pt>
                <c:pt idx="68">
                  <c:v>1178.1686</c:v>
                </c:pt>
                <c:pt idx="69">
                  <c:v>1209.1537</c:v>
                </c:pt>
                <c:pt idx="70">
                  <c:v>1192.4151</c:v>
                </c:pt>
                <c:pt idx="71">
                  <c:v>1242.0309</c:v>
                </c:pt>
                <c:pt idx="72">
                  <c:v>1306.088</c:v>
                </c:pt>
                <c:pt idx="73">
                  <c:v>1282.7391</c:v>
                </c:pt>
                <c:pt idx="74">
                  <c:v>1279.1563</c:v>
                </c:pt>
                <c:pt idx="75">
                  <c:v>1243.3785</c:v>
                </c:pt>
                <c:pt idx="76">
                  <c:v>1213.4474</c:v>
                </c:pt>
                <c:pt idx="77">
                  <c:v>1211.1308</c:v>
                </c:pt>
                <c:pt idx="78">
                  <c:v>1257.3637</c:v>
                </c:pt>
                <c:pt idx="79">
                  <c:v>1258.6996</c:v>
                </c:pt>
                <c:pt idx="80">
                  <c:v>1256.1036</c:v>
                </c:pt>
                <c:pt idx="81">
                  <c:v>1242.1614</c:v>
                </c:pt>
                <c:pt idx="82">
                  <c:v>1269.8095</c:v>
                </c:pt>
                <c:pt idx="83">
                  <c:v>1214.4857</c:v>
                </c:pt>
                <c:pt idx="84">
                  <c:v>1238.9617</c:v>
                </c:pt>
                <c:pt idx="85">
                  <c:v>1216.6811</c:v>
                </c:pt>
                <c:pt idx="86">
                  <c:v>1217.773</c:v>
                </c:pt>
                <c:pt idx="87">
                  <c:v>1227.3918</c:v>
                </c:pt>
                <c:pt idx="88">
                  <c:v>1271.5976</c:v>
                </c:pt>
                <c:pt idx="89">
                  <c:v>1254.0704</c:v>
                </c:pt>
                <c:pt idx="90">
                  <c:v>1320.116</c:v>
                </c:pt>
                <c:pt idx="91">
                  <c:v>1309.8259</c:v>
                </c:pt>
                <c:pt idx="92">
                  <c:v>1260.9199</c:v>
                </c:pt>
                <c:pt idx="93">
                  <c:v>1290.5923</c:v>
                </c:pt>
                <c:pt idx="94">
                  <c:v>1278.0827</c:v>
                </c:pt>
                <c:pt idx="95">
                  <c:v>1247.8353</c:v>
                </c:pt>
                <c:pt idx="96">
                  <c:v>1202.3784</c:v>
                </c:pt>
                <c:pt idx="97">
                  <c:v>1191.1436</c:v>
                </c:pt>
                <c:pt idx="98">
                  <c:v>1173.328</c:v>
                </c:pt>
                <c:pt idx="99">
                  <c:v>1138.3719</c:v>
                </c:pt>
                <c:pt idx="100">
                  <c:v>1113.6608</c:v>
                </c:pt>
                <c:pt idx="101">
                  <c:v>1163.3122</c:v>
                </c:pt>
                <c:pt idx="102">
                  <c:v>1164.8555</c:v>
                </c:pt>
                <c:pt idx="103">
                  <c:v>1150.2562</c:v>
                </c:pt>
                <c:pt idx="104">
                  <c:v>1187.2692</c:v>
                </c:pt>
              </c:numCache>
            </c:numRef>
          </c:xVal>
          <c:yVal>
            <c:numRef>
              <c:f>Sheet1!$B$2:$B$106</c:f>
              <c:numCache>
                <c:formatCode>General</c:formatCode>
                <c:ptCount val="105"/>
                <c:pt idx="0">
                  <c:v>0.21020646867371848</c:v>
                </c:pt>
                <c:pt idx="1">
                  <c:v>0.19998409879945936</c:v>
                </c:pt>
                <c:pt idx="2">
                  <c:v>0.20379256370121374</c:v>
                </c:pt>
                <c:pt idx="3">
                  <c:v>0.20844547314027345</c:v>
                </c:pt>
                <c:pt idx="4">
                  <c:v>0.21889864325618516</c:v>
                </c:pt>
                <c:pt idx="5">
                  <c:v>0.22279337606142435</c:v>
                </c:pt>
                <c:pt idx="6">
                  <c:v>0.25172147499839115</c:v>
                </c:pt>
                <c:pt idx="7">
                  <c:v>0.25146799765120376</c:v>
                </c:pt>
                <c:pt idx="8">
                  <c:v>0.2456400883405681</c:v>
                </c:pt>
                <c:pt idx="9">
                  <c:v>0.23977286240932336</c:v>
                </c:pt>
                <c:pt idx="10">
                  <c:v>0.23185535944898839</c:v>
                </c:pt>
                <c:pt idx="11">
                  <c:v>0.2112331761187162</c:v>
                </c:pt>
                <c:pt idx="12">
                  <c:v>0.20288239509515088</c:v>
                </c:pt>
                <c:pt idx="13">
                  <c:v>0.19351573264347777</c:v>
                </c:pt>
                <c:pt idx="14">
                  <c:v>0.17355556174921263</c:v>
                </c:pt>
                <c:pt idx="15">
                  <c:v>0.17153731590269733</c:v>
                </c:pt>
                <c:pt idx="16">
                  <c:v>0.16137339055793992</c:v>
                </c:pt>
                <c:pt idx="17">
                  <c:v>0.15487087283425957</c:v>
                </c:pt>
                <c:pt idx="18">
                  <c:v>0.14542892212574443</c:v>
                </c:pt>
                <c:pt idx="19">
                  <c:v>0.14849703640982218</c:v>
                </c:pt>
                <c:pt idx="20">
                  <c:v>0.1512384780044559</c:v>
                </c:pt>
                <c:pt idx="21">
                  <c:v>0.1542627262881015</c:v>
                </c:pt>
                <c:pt idx="22">
                  <c:v>0.17664387164650183</c:v>
                </c:pt>
                <c:pt idx="23">
                  <c:v>0.17933842806939254</c:v>
                </c:pt>
                <c:pt idx="24">
                  <c:v>0.1833583752137195</c:v>
                </c:pt>
                <c:pt idx="25">
                  <c:v>0.18293678563097737</c:v>
                </c:pt>
                <c:pt idx="26">
                  <c:v>0.20214267049908544</c:v>
                </c:pt>
                <c:pt idx="27">
                  <c:v>0.211397612119996</c:v>
                </c:pt>
                <c:pt idx="28">
                  <c:v>0.206163927712077</c:v>
                </c:pt>
                <c:pt idx="29">
                  <c:v>0.20307498083772937</c:v>
                </c:pt>
                <c:pt idx="30">
                  <c:v>0.20531302679765157</c:v>
                </c:pt>
                <c:pt idx="31">
                  <c:v>0.20395755029847445</c:v>
                </c:pt>
                <c:pt idx="32">
                  <c:v>0.21359064071725345</c:v>
                </c:pt>
                <c:pt idx="33">
                  <c:v>0.20973176388220366</c:v>
                </c:pt>
                <c:pt idx="34">
                  <c:v>0.21168379383421967</c:v>
                </c:pt>
                <c:pt idx="35">
                  <c:v>0.23083929294292269</c:v>
                </c:pt>
                <c:pt idx="36">
                  <c:v>0.192742538864411</c:v>
                </c:pt>
                <c:pt idx="37">
                  <c:v>0.20033653846153845</c:v>
                </c:pt>
                <c:pt idx="38">
                  <c:v>0.18773207310604234</c:v>
                </c:pt>
                <c:pt idx="39">
                  <c:v>0.17446483180428135</c:v>
                </c:pt>
                <c:pt idx="40">
                  <c:v>0.17987973900806004</c:v>
                </c:pt>
                <c:pt idx="41">
                  <c:v>0.17108289631060816</c:v>
                </c:pt>
                <c:pt idx="42">
                  <c:v>0.1702286184855496</c:v>
                </c:pt>
                <c:pt idx="43">
                  <c:v>0.1728169656964292</c:v>
                </c:pt>
                <c:pt idx="44">
                  <c:v>0.17103670835014118</c:v>
                </c:pt>
                <c:pt idx="45">
                  <c:v>0.18516640952171037</c:v>
                </c:pt>
                <c:pt idx="46">
                  <c:v>0.19015579233348898</c:v>
                </c:pt>
                <c:pt idx="47">
                  <c:v>0.18210794275568484</c:v>
                </c:pt>
                <c:pt idx="48">
                  <c:v>0.18136631975163672</c:v>
                </c:pt>
                <c:pt idx="49">
                  <c:v>0.1898583998857532</c:v>
                </c:pt>
                <c:pt idx="50">
                  <c:v>0.18103877771319438</c:v>
                </c:pt>
                <c:pt idx="51">
                  <c:v>0.17596993753577383</c:v>
                </c:pt>
                <c:pt idx="52">
                  <c:v>0.17994396800615925</c:v>
                </c:pt>
                <c:pt idx="53">
                  <c:v>0.17098018353504454</c:v>
                </c:pt>
                <c:pt idx="54">
                  <c:v>0.17911866359447004</c:v>
                </c:pt>
                <c:pt idx="55">
                  <c:v>0.17743525405502286</c:v>
                </c:pt>
                <c:pt idx="56">
                  <c:v>0.17281342427717752</c:v>
                </c:pt>
                <c:pt idx="57">
                  <c:v>0.1709137574313176</c:v>
                </c:pt>
                <c:pt idx="58">
                  <c:v>0.18198158808812456</c:v>
                </c:pt>
                <c:pt idx="59">
                  <c:v>0.18307776384736554</c:v>
                </c:pt>
                <c:pt idx="60">
                  <c:v>0.18700290979631426</c:v>
                </c:pt>
                <c:pt idx="61">
                  <c:v>0.18054056646761157</c:v>
                </c:pt>
                <c:pt idx="62">
                  <c:v>0.19009002656136145</c:v>
                </c:pt>
                <c:pt idx="63">
                  <c:v>0.19600309105739921</c:v>
                </c:pt>
                <c:pt idx="64">
                  <c:v>0.18459062310570432</c:v>
                </c:pt>
                <c:pt idx="65">
                  <c:v>0.179037306101935</c:v>
                </c:pt>
                <c:pt idx="66">
                  <c:v>0.17705924002832193</c:v>
                </c:pt>
                <c:pt idx="67">
                  <c:v>0.165002435460302</c:v>
                </c:pt>
                <c:pt idx="68">
                  <c:v>0.1568587306229892</c:v>
                </c:pt>
                <c:pt idx="69">
                  <c:v>0.15326821938392185</c:v>
                </c:pt>
                <c:pt idx="70">
                  <c:v>0.1520919248528427</c:v>
                </c:pt>
                <c:pt idx="71">
                  <c:v>0.1501281857939979</c:v>
                </c:pt>
                <c:pt idx="72">
                  <c:v>0.1519796585543044</c:v>
                </c:pt>
                <c:pt idx="73">
                  <c:v>0.1523521632344606</c:v>
                </c:pt>
                <c:pt idx="74">
                  <c:v>0.1514309430149049</c:v>
                </c:pt>
                <c:pt idx="75">
                  <c:v>0.16235595390524968</c:v>
                </c:pt>
                <c:pt idx="76">
                  <c:v>0.16577613371694752</c:v>
                </c:pt>
                <c:pt idx="77">
                  <c:v>0.155979908593149</c:v>
                </c:pt>
                <c:pt idx="78">
                  <c:v>0.15918260413937646</c:v>
                </c:pt>
                <c:pt idx="79">
                  <c:v>0.15380752373995618</c:v>
                </c:pt>
                <c:pt idx="80">
                  <c:v>0.14142712829460924</c:v>
                </c:pt>
                <c:pt idx="81">
                  <c:v>0.148257712551385</c:v>
                </c:pt>
                <c:pt idx="82">
                  <c:v>0.1528003546623319</c:v>
                </c:pt>
                <c:pt idx="83">
                  <c:v>0.14571476869330027</c:v>
                </c:pt>
                <c:pt idx="84">
                  <c:v>0.1516840607210626</c:v>
                </c:pt>
                <c:pt idx="85">
                  <c:v>0.15782255512184828</c:v>
                </c:pt>
                <c:pt idx="86">
                  <c:v>0.1641406126011744</c:v>
                </c:pt>
                <c:pt idx="87">
                  <c:v>0.18383226647245965</c:v>
                </c:pt>
                <c:pt idx="88">
                  <c:v>0.16740838935706845</c:v>
                </c:pt>
                <c:pt idx="89">
                  <c:v>0.1644376120932616</c:v>
                </c:pt>
                <c:pt idx="90">
                  <c:v>0.1535372747926243</c:v>
                </c:pt>
                <c:pt idx="91">
                  <c:v>0.1452292565466038</c:v>
                </c:pt>
                <c:pt idx="92">
                  <c:v>0.15778172358260725</c:v>
                </c:pt>
                <c:pt idx="93">
                  <c:v>0.1529416470023597</c:v>
                </c:pt>
                <c:pt idx="94">
                  <c:v>0.15484930007751585</c:v>
                </c:pt>
                <c:pt idx="95">
                  <c:v>0.161292465048318</c:v>
                </c:pt>
                <c:pt idx="96">
                  <c:v>0.16254008052267413</c:v>
                </c:pt>
                <c:pt idx="97">
                  <c:v>0.1687336954197494</c:v>
                </c:pt>
                <c:pt idx="98">
                  <c:v>0.1752648592088791</c:v>
                </c:pt>
                <c:pt idx="99">
                  <c:v>0.17548869236040857</c:v>
                </c:pt>
                <c:pt idx="100">
                  <c:v>0.1780660101518093</c:v>
                </c:pt>
                <c:pt idx="101">
                  <c:v>0.16804971170328814</c:v>
                </c:pt>
                <c:pt idx="102">
                  <c:v>0.1605298013245033</c:v>
                </c:pt>
                <c:pt idx="103">
                  <c:v>0.1623502567027952</c:v>
                </c:pt>
                <c:pt idx="104">
                  <c:v>0.157237936772046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9.1581</c:v>
                </c:pt>
                <c:pt idx="1">
                  <c:v>1244.4935</c:v>
                </c:pt>
                <c:pt idx="2">
                  <c:v>1232.9451</c:v>
                </c:pt>
                <c:pt idx="3">
                  <c:v>1207.2554</c:v>
                </c:pt>
                <c:pt idx="4">
                  <c:v>1218.2851</c:v>
                </c:pt>
                <c:pt idx="5">
                  <c:v>1220.6369</c:v>
                </c:pt>
                <c:pt idx="6">
                  <c:v>1147.6067</c:v>
                </c:pt>
                <c:pt idx="7">
                  <c:v>1167.6036</c:v>
                </c:pt>
                <c:pt idx="8">
                  <c:v>1228.6224</c:v>
                </c:pt>
                <c:pt idx="9">
                  <c:v>1162.8742</c:v>
                </c:pt>
                <c:pt idx="10">
                  <c:v>1188.8372</c:v>
                </c:pt>
                <c:pt idx="11">
                  <c:v>1103.031</c:v>
                </c:pt>
                <c:pt idx="12">
                  <c:v>1145.8063</c:v>
                </c:pt>
                <c:pt idx="13">
                  <c:v>1171.8821</c:v>
                </c:pt>
                <c:pt idx="14">
                  <c:v>1177.0546</c:v>
                </c:pt>
                <c:pt idx="15">
                  <c:v>1188.0573</c:v>
                </c:pt>
                <c:pt idx="16">
                  <c:v>1232.2679</c:v>
                </c:pt>
                <c:pt idx="17">
                  <c:v>1186.695</c:v>
                </c:pt>
                <c:pt idx="18">
                  <c:v>1210.0574</c:v>
                </c:pt>
                <c:pt idx="19">
                  <c:v>1300.9369</c:v>
                </c:pt>
                <c:pt idx="20">
                  <c:v>1282.5496</c:v>
                </c:pt>
                <c:pt idx="21">
                  <c:v>1214.9475</c:v>
                </c:pt>
                <c:pt idx="22">
                  <c:v>1239.5719</c:v>
                </c:pt>
                <c:pt idx="23">
                  <c:v>1226.5287</c:v>
                </c:pt>
                <c:pt idx="24">
                  <c:v>1212.2118</c:v>
                </c:pt>
                <c:pt idx="25">
                  <c:v>1205.8278</c:v>
                </c:pt>
                <c:pt idx="26">
                  <c:v>1221.7157</c:v>
                </c:pt>
                <c:pt idx="27">
                  <c:v>1224.3866</c:v>
                </c:pt>
                <c:pt idx="28">
                  <c:v>1268.7454</c:v>
                </c:pt>
                <c:pt idx="29">
                  <c:v>1264.8765</c:v>
                </c:pt>
                <c:pt idx="30">
                  <c:v>1266.4469</c:v>
                </c:pt>
                <c:pt idx="31">
                  <c:v>1249.6481</c:v>
                </c:pt>
                <c:pt idx="32">
                  <c:v>1273.629</c:v>
                </c:pt>
                <c:pt idx="33">
                  <c:v>1269.1453</c:v>
                </c:pt>
                <c:pt idx="34">
                  <c:v>1281.3986</c:v>
                </c:pt>
                <c:pt idx="35">
                  <c:v>1309.0962</c:v>
                </c:pt>
                <c:pt idx="36">
                  <c:v>1316.1598</c:v>
                </c:pt>
                <c:pt idx="37">
                  <c:v>1322.4665</c:v>
                </c:pt>
                <c:pt idx="38">
                  <c:v>1324.7782</c:v>
                </c:pt>
                <c:pt idx="39">
                  <c:v>1289.4405</c:v>
                </c:pt>
                <c:pt idx="40">
                  <c:v>1308.8448</c:v>
                </c:pt>
                <c:pt idx="41">
                  <c:v>1339.8055</c:v>
                </c:pt>
                <c:pt idx="42">
                  <c:v>1325.9513</c:v>
                </c:pt>
                <c:pt idx="43">
                  <c:v>1333.1331</c:v>
                </c:pt>
                <c:pt idx="44">
                  <c:v>1260.8184</c:v>
                </c:pt>
                <c:pt idx="45">
                  <c:v>1223.2409</c:v>
                </c:pt>
                <c:pt idx="46">
                  <c:v>1217.7941</c:v>
                </c:pt>
                <c:pt idx="47">
                  <c:v>1192.622</c:v>
                </c:pt>
                <c:pt idx="48">
                  <c:v>1174.2261</c:v>
                </c:pt>
                <c:pt idx="49">
                  <c:v>1182.3423</c:v>
                </c:pt>
                <c:pt idx="50">
                  <c:v>1141.208</c:v>
                </c:pt>
                <c:pt idx="51">
                  <c:v>1122.0959</c:v>
                </c:pt>
              </c:numCache>
            </c:numRef>
          </c:xVal>
          <c:yVal>
            <c:numRef>
              <c:f>Sheet1!$B$109:$B$160</c:f>
              <c:numCache>
                <c:formatCode>General</c:formatCode>
                <c:ptCount val="52"/>
                <c:pt idx="0">
                  <c:v>0.17161046922895543</c:v>
                </c:pt>
                <c:pt idx="1">
                  <c:v>0.1659287583014691</c:v>
                </c:pt>
                <c:pt idx="2">
                  <c:v>0.18026123492875412</c:v>
                </c:pt>
                <c:pt idx="3">
                  <c:v>0.19833303052325582</c:v>
                </c:pt>
                <c:pt idx="4">
                  <c:v>0.18442565186751234</c:v>
                </c:pt>
                <c:pt idx="5">
                  <c:v>0.18051201671891326</c:v>
                </c:pt>
                <c:pt idx="6">
                  <c:v>0.1899355489804812</c:v>
                </c:pt>
                <c:pt idx="7">
                  <c:v>0.1877624104717214</c:v>
                </c:pt>
                <c:pt idx="8">
                  <c:v>0.17505425235093522</c:v>
                </c:pt>
                <c:pt idx="9">
                  <c:v>0.18160355085466048</c:v>
                </c:pt>
                <c:pt idx="10">
                  <c:v>0.1846767320102277</c:v>
                </c:pt>
                <c:pt idx="11">
                  <c:v>0.185658130921815</c:v>
                </c:pt>
                <c:pt idx="12">
                  <c:v>0.18300161097541964</c:v>
                </c:pt>
                <c:pt idx="13">
                  <c:v>0.18322615219721328</c:v>
                </c:pt>
                <c:pt idx="14">
                  <c:v>0.182059123343527</c:v>
                </c:pt>
                <c:pt idx="15">
                  <c:v>0.17592679055000468</c:v>
                </c:pt>
                <c:pt idx="16">
                  <c:v>0.16410665372213168</c:v>
                </c:pt>
                <c:pt idx="17">
                  <c:v>0.16779853896699828</c:v>
                </c:pt>
                <c:pt idx="18">
                  <c:v>0.16916015711196433</c:v>
                </c:pt>
                <c:pt idx="19">
                  <c:v>0.1675609756097561</c:v>
                </c:pt>
                <c:pt idx="20">
                  <c:v>0.15900841080123948</c:v>
                </c:pt>
                <c:pt idx="21">
                  <c:v>0.16135394456289978</c:v>
                </c:pt>
                <c:pt idx="22">
                  <c:v>0.15798345888426488</c:v>
                </c:pt>
                <c:pt idx="23">
                  <c:v>0.1678344646376177</c:v>
                </c:pt>
                <c:pt idx="24">
                  <c:v>0.17586403440592777</c:v>
                </c:pt>
                <c:pt idx="25">
                  <c:v>0.17423913043478262</c:v>
                </c:pt>
                <c:pt idx="26">
                  <c:v>0.1662018386530317</c:v>
                </c:pt>
                <c:pt idx="27">
                  <c:v>0.16683440073193045</c:v>
                </c:pt>
                <c:pt idx="28">
                  <c:v>0.1565824328301728</c:v>
                </c:pt>
                <c:pt idx="29">
                  <c:v>0.15659955257270694</c:v>
                </c:pt>
                <c:pt idx="30">
                  <c:v>0.1621467756960977</c:v>
                </c:pt>
                <c:pt idx="31">
                  <c:v>0.15702621895124194</c:v>
                </c:pt>
                <c:pt idx="32">
                  <c:v>0.1539289007273845</c:v>
                </c:pt>
                <c:pt idx="33">
                  <c:v>0.1701701274890206</c:v>
                </c:pt>
                <c:pt idx="34">
                  <c:v>0.1859032923899435</c:v>
                </c:pt>
                <c:pt idx="35">
                  <c:v>0.17813476832983816</c:v>
                </c:pt>
                <c:pt idx="36">
                  <c:v>0.16688650570625682</c:v>
                </c:pt>
                <c:pt idx="37">
                  <c:v>0.15823016246147417</c:v>
                </c:pt>
                <c:pt idx="38">
                  <c:v>0.1577463167587477</c:v>
                </c:pt>
                <c:pt idx="39">
                  <c:v>0.17152681641584425</c:v>
                </c:pt>
                <c:pt idx="40">
                  <c:v>0.16464266992835924</c:v>
                </c:pt>
                <c:pt idx="41">
                  <c:v>0.16797488226059654</c:v>
                </c:pt>
                <c:pt idx="42">
                  <c:v>0.16525791565769635</c:v>
                </c:pt>
                <c:pt idx="43">
                  <c:v>0.1640622305012246</c:v>
                </c:pt>
                <c:pt idx="44">
                  <c:v>0.1642367314009105</c:v>
                </c:pt>
                <c:pt idx="45">
                  <c:v>0.17864914170165067</c:v>
                </c:pt>
                <c:pt idx="46">
                  <c:v>0.1900123726538026</c:v>
                </c:pt>
                <c:pt idx="47">
                  <c:v>0.1911568656495334</c:v>
                </c:pt>
                <c:pt idx="48">
                  <c:v>0.18884271763972574</c:v>
                </c:pt>
                <c:pt idx="49">
                  <c:v>0.19380640258383205</c:v>
                </c:pt>
                <c:pt idx="50">
                  <c:v>0.20203557135368053</c:v>
                </c:pt>
                <c:pt idx="51">
                  <c:v>0.1919633202128119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84.3055979987197</c:v>
                </c:pt>
              </c:numCache>
            </c:numRef>
          </c:xVal>
          <c:yVal>
            <c:numRef>
              <c:f>Sheet1!$B$163:$B$164</c:f>
              <c:numCache>
                <c:formatCode>General</c:formatCode>
                <c:ptCount val="2"/>
                <c:pt idx="0">
                  <c:v>0.22366113162471526</c:v>
                </c:pt>
                <c:pt idx="1">
                  <c:v>0.2236611316247152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84.3055979987197</c:v>
                </c:pt>
                <c:pt idx="1">
                  <c:v>884.3055979987197</c:v>
                </c:pt>
              </c:numCache>
            </c:numRef>
          </c:xVal>
          <c:yVal>
            <c:numRef>
              <c:f>Sheet1!$B$167:$B$168</c:f>
              <c:numCache>
                <c:formatCode>General</c:formatCode>
                <c:ptCount val="2"/>
                <c:pt idx="0">
                  <c:v>0.223661131624715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0.3581514650969</c:v>
                </c:pt>
              </c:numCache>
            </c:numRef>
          </c:xVal>
          <c:yVal>
            <c:numRef>
              <c:f>Sheet1!$B$171:$B$172</c:f>
              <c:numCache>
                <c:formatCode>General</c:formatCode>
                <c:ptCount val="2"/>
                <c:pt idx="0">
                  <c:v>0.19416200294751257</c:v>
                </c:pt>
                <c:pt idx="1">
                  <c:v>0.1941620029475125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0.3581514650969</c:v>
                </c:pt>
                <c:pt idx="1">
                  <c:v>1090.3581514650969</c:v>
                </c:pt>
              </c:numCache>
            </c:numRef>
          </c:xVal>
          <c:yVal>
            <c:numRef>
              <c:f>Sheet1!$B$175:$B$176</c:f>
              <c:numCache>
                <c:formatCode>General</c:formatCode>
                <c:ptCount val="2"/>
                <c:pt idx="0">
                  <c:v>0.1941620029475125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92.4140795032217</c:v>
                </c:pt>
              </c:numCache>
            </c:numRef>
          </c:xVal>
          <c:yVal>
            <c:numRef>
              <c:f>Sheet1!$B$179:$B$180</c:f>
              <c:numCache>
                <c:formatCode>General</c:formatCode>
                <c:ptCount val="2"/>
                <c:pt idx="0">
                  <c:v>0.17955135676612835</c:v>
                </c:pt>
                <c:pt idx="1">
                  <c:v>0.1795513567661283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92.4140795032217</c:v>
                </c:pt>
                <c:pt idx="1">
                  <c:v>1192.4140795032217</c:v>
                </c:pt>
              </c:numCache>
            </c:numRef>
          </c:xVal>
          <c:yVal>
            <c:numRef>
              <c:f>Sheet1!$B$183:$B$184</c:f>
              <c:numCache>
                <c:formatCode>General</c:formatCode>
                <c:ptCount val="2"/>
                <c:pt idx="0">
                  <c:v>0.1795513567661283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9.1581</c:v>
                </c:pt>
                <c:pt idx="1">
                  <c:v>1244.4935</c:v>
                </c:pt>
                <c:pt idx="2">
                  <c:v>1232.9451</c:v>
                </c:pt>
                <c:pt idx="3">
                  <c:v>1207.2554</c:v>
                </c:pt>
                <c:pt idx="4">
                  <c:v>1218.2851</c:v>
                </c:pt>
                <c:pt idx="5">
                  <c:v>1220.6369</c:v>
                </c:pt>
                <c:pt idx="6">
                  <c:v>1147.6067</c:v>
                </c:pt>
                <c:pt idx="7">
                  <c:v>1167.6036</c:v>
                </c:pt>
                <c:pt idx="8">
                  <c:v>1228.6224</c:v>
                </c:pt>
                <c:pt idx="9">
                  <c:v>1162.8742</c:v>
                </c:pt>
                <c:pt idx="10">
                  <c:v>1188.8372</c:v>
                </c:pt>
                <c:pt idx="11">
                  <c:v>1103.031</c:v>
                </c:pt>
                <c:pt idx="12">
                  <c:v>1145.8063</c:v>
                </c:pt>
                <c:pt idx="13">
                  <c:v>1171.8821</c:v>
                </c:pt>
                <c:pt idx="14">
                  <c:v>1177.0546</c:v>
                </c:pt>
                <c:pt idx="15">
                  <c:v>1188.0573</c:v>
                </c:pt>
                <c:pt idx="16">
                  <c:v>1232.2679</c:v>
                </c:pt>
                <c:pt idx="17">
                  <c:v>1186.695</c:v>
                </c:pt>
                <c:pt idx="18">
                  <c:v>1210.0574</c:v>
                </c:pt>
                <c:pt idx="19">
                  <c:v>1300.9369</c:v>
                </c:pt>
                <c:pt idx="20">
                  <c:v>1282.5496</c:v>
                </c:pt>
                <c:pt idx="21">
                  <c:v>1214.9475</c:v>
                </c:pt>
                <c:pt idx="22">
                  <c:v>1239.5719</c:v>
                </c:pt>
                <c:pt idx="23">
                  <c:v>1226.5287</c:v>
                </c:pt>
                <c:pt idx="24">
                  <c:v>1212.2118</c:v>
                </c:pt>
                <c:pt idx="25">
                  <c:v>1205.8278</c:v>
                </c:pt>
                <c:pt idx="26">
                  <c:v>1221.7157</c:v>
                </c:pt>
                <c:pt idx="27">
                  <c:v>1224.3866</c:v>
                </c:pt>
                <c:pt idx="28">
                  <c:v>1268.7454</c:v>
                </c:pt>
                <c:pt idx="29">
                  <c:v>1264.8765</c:v>
                </c:pt>
                <c:pt idx="30">
                  <c:v>1266.4469</c:v>
                </c:pt>
                <c:pt idx="31">
                  <c:v>1249.6481</c:v>
                </c:pt>
                <c:pt idx="32">
                  <c:v>1273.629</c:v>
                </c:pt>
                <c:pt idx="33">
                  <c:v>1269.1453</c:v>
                </c:pt>
                <c:pt idx="34">
                  <c:v>1281.3986</c:v>
                </c:pt>
                <c:pt idx="35">
                  <c:v>1309.0962</c:v>
                </c:pt>
                <c:pt idx="36">
                  <c:v>1316.1598</c:v>
                </c:pt>
                <c:pt idx="37">
                  <c:v>1322.4665</c:v>
                </c:pt>
                <c:pt idx="38">
                  <c:v>1324.7782</c:v>
                </c:pt>
                <c:pt idx="39">
                  <c:v>1289.4405</c:v>
                </c:pt>
                <c:pt idx="40">
                  <c:v>1308.8448</c:v>
                </c:pt>
                <c:pt idx="41">
                  <c:v>1339.8055</c:v>
                </c:pt>
                <c:pt idx="42">
                  <c:v>1325.9513</c:v>
                </c:pt>
                <c:pt idx="43">
                  <c:v>1333.1331</c:v>
                </c:pt>
                <c:pt idx="44">
                  <c:v>1260.8184</c:v>
                </c:pt>
                <c:pt idx="45">
                  <c:v>1223.2409</c:v>
                </c:pt>
                <c:pt idx="46">
                  <c:v>1217.7941</c:v>
                </c:pt>
                <c:pt idx="47">
                  <c:v>1192.622</c:v>
                </c:pt>
                <c:pt idx="48">
                  <c:v>1174.2261</c:v>
                </c:pt>
                <c:pt idx="49">
                  <c:v>1182.3423</c:v>
                </c:pt>
                <c:pt idx="50">
                  <c:v>1141.208</c:v>
                </c:pt>
                <c:pt idx="51">
                  <c:v>1122.0959</c:v>
                </c:pt>
                <c:pt idx="52">
                  <c:v>1090.3581514650969</c:v>
                </c:pt>
                <c:pt idx="53">
                  <c:v>884.3055979987197</c:v>
                </c:pt>
                <c:pt idx="54">
                  <c:v>1192.4140795032217</c:v>
                </c:pt>
              </c:numCache>
            </c:numRef>
          </c:xVal>
          <c:yVal>
            <c:numRef>
              <c:f>Sheet1!$B$187:$B$241</c:f>
              <c:numCache>
                <c:formatCode>General</c:formatCode>
                <c:ptCount val="55"/>
                <c:pt idx="0">
                  <c:v>0.1757225990598622</c:v>
                </c:pt>
                <c:pt idx="1">
                  <c:v>0.172095503874117</c:v>
                </c:pt>
                <c:pt idx="2">
                  <c:v>0.1737488089746112</c:v>
                </c:pt>
                <c:pt idx="3">
                  <c:v>0.17742662685762225</c:v>
                </c:pt>
                <c:pt idx="4">
                  <c:v>0.17584758047310833</c:v>
                </c:pt>
                <c:pt idx="5">
                  <c:v>0.17551088942193743</c:v>
                </c:pt>
                <c:pt idx="6">
                  <c:v>0.18596612150171546</c:v>
                </c:pt>
                <c:pt idx="7">
                  <c:v>0.183103302690099</c:v>
                </c:pt>
                <c:pt idx="8">
                  <c:v>0.17436766024040612</c:v>
                </c:pt>
                <c:pt idx="9">
                  <c:v>0.18378037840121716</c:v>
                </c:pt>
                <c:pt idx="10">
                  <c:v>0.1800634340345404</c:v>
                </c:pt>
                <c:pt idx="11">
                  <c:v>0.19234771827426386</c:v>
                </c:pt>
                <c:pt idx="12">
                  <c:v>0.18622387240252683</c:v>
                </c:pt>
                <c:pt idx="13">
                  <c:v>0.18249077923468834</c:v>
                </c:pt>
                <c:pt idx="14">
                  <c:v>0.1817502679402834</c:v>
                </c:pt>
                <c:pt idx="15">
                  <c:v>0.18017508696030288</c:v>
                </c:pt>
                <c:pt idx="16">
                  <c:v>0.1738457590468337</c:v>
                </c:pt>
                <c:pt idx="17">
                  <c:v>0.18037011809348177</c:v>
                </c:pt>
                <c:pt idx="18">
                  <c:v>0.17702548376493543</c:v>
                </c:pt>
                <c:pt idx="19">
                  <c:v>0.16401489001338893</c:v>
                </c:pt>
                <c:pt idx="20">
                  <c:v>0.16664727344956332</c:v>
                </c:pt>
                <c:pt idx="21">
                  <c:v>0.17632540173868705</c:v>
                </c:pt>
                <c:pt idx="22">
                  <c:v>0.17280009553898767</c:v>
                </c:pt>
                <c:pt idx="23">
                  <c:v>0.17466740088750046</c:v>
                </c:pt>
                <c:pt idx="24">
                  <c:v>0.17671705311579747</c:v>
                </c:pt>
                <c:pt idx="25">
                  <c:v>0.1776310065432467</c:v>
                </c:pt>
                <c:pt idx="26">
                  <c:v>0.17535644503635905</c:v>
                </c:pt>
                <c:pt idx="27">
                  <c:v>0.17497407063012876</c:v>
                </c:pt>
                <c:pt idx="28">
                  <c:v>0.16862352594066524</c:v>
                </c:pt>
                <c:pt idx="29">
                  <c:v>0.16917740977767312</c:v>
                </c:pt>
                <c:pt idx="30">
                  <c:v>0.168952586396961</c:v>
                </c:pt>
                <c:pt idx="31">
                  <c:v>0.17135755519975457</c:v>
                </c:pt>
                <c:pt idx="32">
                  <c:v>0.16792437447476755</c:v>
                </c:pt>
                <c:pt idx="33">
                  <c:v>0.1685662750046319</c:v>
                </c:pt>
                <c:pt idx="34">
                  <c:v>0.1668120542131902</c:v>
                </c:pt>
                <c:pt idx="35">
                  <c:v>0.1628467790797131</c:v>
                </c:pt>
                <c:pt idx="36">
                  <c:v>0.16183553198852726</c:v>
                </c:pt>
                <c:pt idx="37">
                  <c:v>0.16093264507109398</c:v>
                </c:pt>
                <c:pt idx="38">
                  <c:v>0.16060169486147077</c:v>
                </c:pt>
                <c:pt idx="39">
                  <c:v>0.16566075063107807</c:v>
                </c:pt>
                <c:pt idx="40">
                  <c:v>0.16288277029081283</c:v>
                </c:pt>
                <c:pt idx="41">
                  <c:v>0.15845033954500654</c:v>
                </c:pt>
                <c:pt idx="42">
                  <c:v>0.16043375019265177</c:v>
                </c:pt>
                <c:pt idx="43">
                  <c:v>0.15940558121939752</c:v>
                </c:pt>
                <c:pt idx="44">
                  <c:v>0.16975838007904087</c:v>
                </c:pt>
                <c:pt idx="45">
                  <c:v>0.17513809262916208</c:v>
                </c:pt>
                <c:pt idx="46">
                  <c:v>0.17591787357036356</c:v>
                </c:pt>
                <c:pt idx="47">
                  <c:v>0.17952159021683833</c:v>
                </c:pt>
                <c:pt idx="48">
                  <c:v>0.18215520485593817</c:v>
                </c:pt>
                <c:pt idx="49">
                  <c:v>0.18099326425320267</c:v>
                </c:pt>
                <c:pt idx="50">
                  <c:v>0.18688217942718843</c:v>
                </c:pt>
                <c:pt idx="51">
                  <c:v>0.18961832750061458</c:v>
                </c:pt>
                <c:pt idx="52">
                  <c:v>0.19416200294751257</c:v>
                </c:pt>
                <c:pt idx="53">
                  <c:v>0.22366113162471526</c:v>
                </c:pt>
                <c:pt idx="54">
                  <c:v>0.1795513567661283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8.0"/>
          <c:min val="65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20657699980694"/>
          <c:min val="0.11314170263568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030075238997861</c:v>
                </c:pt>
                <c:pt idx="1">
                  <c:v>0.16700102166714903</c:v>
                </c:pt>
                <c:pt idx="2">
                  <c:v>0.16991765046333648</c:v>
                </c:pt>
                <c:pt idx="3">
                  <c:v>0.17585938687049613</c:v>
                </c:pt>
                <c:pt idx="4">
                  <c:v>0.16676994056967281</c:v>
                </c:pt>
                <c:pt idx="5">
                  <c:v>0.16271029940861576</c:v>
                </c:pt>
                <c:pt idx="6">
                  <c:v>0.16264170542537953</c:v>
                </c:pt>
                <c:pt idx="7">
                  <c:v>0.15820476014108356</c:v>
                </c:pt>
                <c:pt idx="8">
                  <c:v>0.15812933692045397</c:v>
                </c:pt>
                <c:pt idx="9">
                  <c:v>0.16209450956258153</c:v>
                </c:pt>
                <c:pt idx="10">
                  <c:v>0.1628785153757167</c:v>
                </c:pt>
                <c:pt idx="11">
                  <c:v>0.17471495437395604</c:v>
                </c:pt>
                <c:pt idx="12">
                  <c:v>0.18232771133629852</c:v>
                </c:pt>
                <c:pt idx="13">
                  <c:v>0.17904053212278953</c:v>
                </c:pt>
                <c:pt idx="14">
                  <c:v>0.19308400672207587</c:v>
                </c:pt>
                <c:pt idx="15">
                  <c:v>0.19061061035348353</c:v>
                </c:pt>
                <c:pt idx="16">
                  <c:v>0.17957525124303425</c:v>
                </c:pt>
                <c:pt idx="17">
                  <c:v>0.170731070380391</c:v>
                </c:pt>
                <c:pt idx="18">
                  <c:v>0.16581058677442023</c:v>
                </c:pt>
                <c:pt idx="19">
                  <c:v>0.16815705980039233</c:v>
                </c:pt>
                <c:pt idx="20">
                  <c:v>0.17929992919577983</c:v>
                </c:pt>
                <c:pt idx="21">
                  <c:v>0.1691161386892181</c:v>
                </c:pt>
                <c:pt idx="22">
                  <c:v>0.15124811643072655</c:v>
                </c:pt>
                <c:pt idx="23">
                  <c:v>0.15307510226251617</c:v>
                </c:pt>
                <c:pt idx="24">
                  <c:v>0.15791332086458035</c:v>
                </c:pt>
                <c:pt idx="25">
                  <c:v>0.1503491322142779</c:v>
                </c:pt>
                <c:pt idx="26">
                  <c:v>0.15534822033707624</c:v>
                </c:pt>
                <c:pt idx="27">
                  <c:v>0.15005485817599526</c:v>
                </c:pt>
                <c:pt idx="28">
                  <c:v>0.14663990198206636</c:v>
                </c:pt>
                <c:pt idx="29">
                  <c:v>0.1508093668432628</c:v>
                </c:pt>
                <c:pt idx="30">
                  <c:v>0.1458081273879603</c:v>
                </c:pt>
                <c:pt idx="31">
                  <c:v>0.13374021974421102</c:v>
                </c:pt>
                <c:pt idx="32">
                  <c:v>0.13363412118414558</c:v>
                </c:pt>
                <c:pt idx="33">
                  <c:v>0.13522701349771696</c:v>
                </c:pt>
                <c:pt idx="34">
                  <c:v>0.14707155034772895</c:v>
                </c:pt>
                <c:pt idx="35">
                  <c:v>0.15738959896980528</c:v>
                </c:pt>
                <c:pt idx="36">
                  <c:v>0.14994232899533894</c:v>
                </c:pt>
                <c:pt idx="37">
                  <c:v>0.13736136467157367</c:v>
                </c:pt>
                <c:pt idx="38">
                  <c:v>0.14701125883349175</c:v>
                </c:pt>
                <c:pt idx="39">
                  <c:v>0.15297984819281896</c:v>
                </c:pt>
                <c:pt idx="40">
                  <c:v>0.1611298084923206</c:v>
                </c:pt>
                <c:pt idx="41">
                  <c:v>0.16028108148661052</c:v>
                </c:pt>
                <c:pt idx="42">
                  <c:v>0.16275959531062278</c:v>
                </c:pt>
                <c:pt idx="43">
                  <c:v>0.17153246538932657</c:v>
                </c:pt>
                <c:pt idx="44">
                  <c:v>0.1916151919029431</c:v>
                </c:pt>
                <c:pt idx="45">
                  <c:v>0.18191453134938634</c:v>
                </c:pt>
                <c:pt idx="46">
                  <c:v>0.18881422882511348</c:v>
                </c:pt>
                <c:pt idx="47">
                  <c:v>0.17773604705259438</c:v>
                </c:pt>
                <c:pt idx="48">
                  <c:v>0.20159053017617223</c:v>
                </c:pt>
                <c:pt idx="49">
                  <c:v>0.21313868702206862</c:v>
                </c:pt>
                <c:pt idx="50">
                  <c:v>0.18104795520206146</c:v>
                </c:pt>
                <c:pt idx="51">
                  <c:v>0.1732739865640564</c:v>
                </c:pt>
                <c:pt idx="52">
                  <c:v>0.1872857758656494</c:v>
                </c:pt>
                <c:pt idx="53">
                  <c:v>0.19249190578571468</c:v>
                </c:pt>
                <c:pt idx="54">
                  <c:v>0.1921883571337983</c:v>
                </c:pt>
                <c:pt idx="55">
                  <c:v>0.18151191698655617</c:v>
                </c:pt>
                <c:pt idx="56">
                  <c:v>0.18383376103771776</c:v>
                </c:pt>
                <c:pt idx="57">
                  <c:v>0.18263245397037675</c:v>
                </c:pt>
                <c:pt idx="58">
                  <c:v>0.1879558764557775</c:v>
                </c:pt>
                <c:pt idx="59">
                  <c:v>0.2120270999481059</c:v>
                </c:pt>
                <c:pt idx="60">
                  <c:v>0.2109776970102675</c:v>
                </c:pt>
                <c:pt idx="61">
                  <c:v>0.20536057682742695</c:v>
                </c:pt>
                <c:pt idx="62">
                  <c:v>0.20014449129755177</c:v>
                </c:pt>
                <c:pt idx="63">
                  <c:v>0.20461519053383562</c:v>
                </c:pt>
                <c:pt idx="64">
                  <c:v>0.21274666916256238</c:v>
                </c:pt>
                <c:pt idx="65">
                  <c:v>0.20816910645905434</c:v>
                </c:pt>
                <c:pt idx="66">
                  <c:v>0.2072901782301055</c:v>
                </c:pt>
                <c:pt idx="67">
                  <c:v>0.2111161245632678</c:v>
                </c:pt>
                <c:pt idx="68">
                  <c:v>0.2029748932385111</c:v>
                </c:pt>
                <c:pt idx="69">
                  <c:v>0.19132275064295418</c:v>
                </c:pt>
                <c:pt idx="70">
                  <c:v>0.18418944271427912</c:v>
                </c:pt>
                <c:pt idx="71">
                  <c:v>0.1928145128152561</c:v>
                </c:pt>
                <c:pt idx="72">
                  <c:v>0.2125052473951679</c:v>
                </c:pt>
                <c:pt idx="73">
                  <c:v>0.2043766921565988</c:v>
                </c:pt>
                <c:pt idx="74">
                  <c:v>0.19920833783275294</c:v>
                </c:pt>
                <c:pt idx="75">
                  <c:v>0.18958131567438888</c:v>
                </c:pt>
                <c:pt idx="76">
                  <c:v>0.17745275972792207</c:v>
                </c:pt>
                <c:pt idx="77">
                  <c:v>0.17397866519308813</c:v>
                </c:pt>
                <c:pt idx="78">
                  <c:v>0.18196445987072163</c:v>
                </c:pt>
                <c:pt idx="79">
                  <c:v>0.177647891210751</c:v>
                </c:pt>
                <c:pt idx="80">
                  <c:v>0.16833734401501144</c:v>
                </c:pt>
                <c:pt idx="81">
                  <c:v>0.17748884544676383</c:v>
                </c:pt>
                <c:pt idx="82">
                  <c:v>0.17527925587734983</c:v>
                </c:pt>
                <c:pt idx="83">
                  <c:v>0.15677351732749858</c:v>
                </c:pt>
                <c:pt idx="84">
                  <c:v>0.15699351048087626</c:v>
                </c:pt>
                <c:pt idx="85">
                  <c:v>0.1545692606625386</c:v>
                </c:pt>
                <c:pt idx="86">
                  <c:v>0.16039474577942583</c:v>
                </c:pt>
                <c:pt idx="87">
                  <c:v>0.1792488261525814</c:v>
                </c:pt>
                <c:pt idx="88">
                  <c:v>0.1665419825941035</c:v>
                </c:pt>
                <c:pt idx="89">
                  <c:v>0.15971687226915718</c:v>
                </c:pt>
                <c:pt idx="90">
                  <c:v>0.16976732513325468</c:v>
                </c:pt>
                <c:pt idx="91">
                  <c:v>0.17442979776264983</c:v>
                </c:pt>
                <c:pt idx="92">
                  <c:v>0.17801709758835324</c:v>
                </c:pt>
                <c:pt idx="93">
                  <c:v>0.1786295474854454</c:v>
                </c:pt>
                <c:pt idx="94">
                  <c:v>0.1726210642310321</c:v>
                </c:pt>
                <c:pt idx="95">
                  <c:v>0.1790991184533772</c:v>
                </c:pt>
                <c:pt idx="96">
                  <c:v>0.18186513396254902</c:v>
                </c:pt>
                <c:pt idx="97">
                  <c:v>0.19046742170086317</c:v>
                </c:pt>
                <c:pt idx="98">
                  <c:v>0.1985835389260568</c:v>
                </c:pt>
                <c:pt idx="99">
                  <c:v>0.20533765909506846</c:v>
                </c:pt>
                <c:pt idx="100">
                  <c:v>0.21842983491364001</c:v>
                </c:pt>
                <c:pt idx="101">
                  <c:v>0.20981204515198762</c:v>
                </c:pt>
                <c:pt idx="102">
                  <c:v>0.19880956497426364</c:v>
                </c:pt>
                <c:pt idx="103">
                  <c:v>0.19373191820614288</c:v>
                </c:pt>
                <c:pt idx="104">
                  <c:v>0.2078169049338585</c:v>
                </c:pt>
              </c:numCache>
            </c:numRef>
          </c:xVal>
          <c:yVal>
            <c:numRef>
              <c:f>Sheet1!$B$2:$B$106</c:f>
              <c:numCache>
                <c:formatCode>General</c:formatCode>
                <c:ptCount val="105"/>
                <c:pt idx="0">
                  <c:v>0.21020646867371848</c:v>
                </c:pt>
                <c:pt idx="1">
                  <c:v>0.19998409879945936</c:v>
                </c:pt>
                <c:pt idx="2">
                  <c:v>0.20379256370121374</c:v>
                </c:pt>
                <c:pt idx="3">
                  <c:v>0.20844547314027345</c:v>
                </c:pt>
                <c:pt idx="4">
                  <c:v>0.21889864325618516</c:v>
                </c:pt>
                <c:pt idx="5">
                  <c:v>0.22279337606142435</c:v>
                </c:pt>
                <c:pt idx="6">
                  <c:v>0.25172147499839115</c:v>
                </c:pt>
                <c:pt idx="7">
                  <c:v>0.25146799765120376</c:v>
                </c:pt>
                <c:pt idx="8">
                  <c:v>0.2456400883405681</c:v>
                </c:pt>
                <c:pt idx="9">
                  <c:v>0.23977286240932336</c:v>
                </c:pt>
                <c:pt idx="10">
                  <c:v>0.23185535944898839</c:v>
                </c:pt>
                <c:pt idx="11">
                  <c:v>0.2112331761187162</c:v>
                </c:pt>
                <c:pt idx="12">
                  <c:v>0.20288239509515088</c:v>
                </c:pt>
                <c:pt idx="13">
                  <c:v>0.19351573264347777</c:v>
                </c:pt>
                <c:pt idx="14">
                  <c:v>0.17355556174921263</c:v>
                </c:pt>
                <c:pt idx="15">
                  <c:v>0.17153731590269733</c:v>
                </c:pt>
                <c:pt idx="16">
                  <c:v>0.16137339055793992</c:v>
                </c:pt>
                <c:pt idx="17">
                  <c:v>0.15487087283425957</c:v>
                </c:pt>
                <c:pt idx="18">
                  <c:v>0.14542892212574443</c:v>
                </c:pt>
                <c:pt idx="19">
                  <c:v>0.14849703640982218</c:v>
                </c:pt>
                <c:pt idx="20">
                  <c:v>0.1512384780044559</c:v>
                </c:pt>
                <c:pt idx="21">
                  <c:v>0.1542627262881015</c:v>
                </c:pt>
                <c:pt idx="22">
                  <c:v>0.17664387164650183</c:v>
                </c:pt>
                <c:pt idx="23">
                  <c:v>0.17933842806939254</c:v>
                </c:pt>
                <c:pt idx="24">
                  <c:v>0.1833583752137195</c:v>
                </c:pt>
                <c:pt idx="25">
                  <c:v>0.18293678563097737</c:v>
                </c:pt>
                <c:pt idx="26">
                  <c:v>0.20214267049908544</c:v>
                </c:pt>
                <c:pt idx="27">
                  <c:v>0.211397612119996</c:v>
                </c:pt>
                <c:pt idx="28">
                  <c:v>0.206163927712077</c:v>
                </c:pt>
                <c:pt idx="29">
                  <c:v>0.20307498083772937</c:v>
                </c:pt>
                <c:pt idx="30">
                  <c:v>0.20531302679765157</c:v>
                </c:pt>
                <c:pt idx="31">
                  <c:v>0.20395755029847445</c:v>
                </c:pt>
                <c:pt idx="32">
                  <c:v>0.21359064071725345</c:v>
                </c:pt>
                <c:pt idx="33">
                  <c:v>0.20973176388220366</c:v>
                </c:pt>
                <c:pt idx="34">
                  <c:v>0.21168379383421967</c:v>
                </c:pt>
                <c:pt idx="35">
                  <c:v>0.23083929294292269</c:v>
                </c:pt>
                <c:pt idx="36">
                  <c:v>0.192742538864411</c:v>
                </c:pt>
                <c:pt idx="37">
                  <c:v>0.20033653846153845</c:v>
                </c:pt>
                <c:pt idx="38">
                  <c:v>0.18773207310604234</c:v>
                </c:pt>
                <c:pt idx="39">
                  <c:v>0.17446483180428135</c:v>
                </c:pt>
                <c:pt idx="40">
                  <c:v>0.17987973900806004</c:v>
                </c:pt>
                <c:pt idx="41">
                  <c:v>0.17108289631060816</c:v>
                </c:pt>
                <c:pt idx="42">
                  <c:v>0.1702286184855496</c:v>
                </c:pt>
                <c:pt idx="43">
                  <c:v>0.1728169656964292</c:v>
                </c:pt>
                <c:pt idx="44">
                  <c:v>0.17103670835014118</c:v>
                </c:pt>
                <c:pt idx="45">
                  <c:v>0.18516640952171037</c:v>
                </c:pt>
                <c:pt idx="46">
                  <c:v>0.19015579233348898</c:v>
                </c:pt>
                <c:pt idx="47">
                  <c:v>0.18210794275568484</c:v>
                </c:pt>
                <c:pt idx="48">
                  <c:v>0.18136631975163672</c:v>
                </c:pt>
                <c:pt idx="49">
                  <c:v>0.1898583998857532</c:v>
                </c:pt>
                <c:pt idx="50">
                  <c:v>0.18103877771319438</c:v>
                </c:pt>
                <c:pt idx="51">
                  <c:v>0.17596993753577383</c:v>
                </c:pt>
                <c:pt idx="52">
                  <c:v>0.17994396800615925</c:v>
                </c:pt>
                <c:pt idx="53">
                  <c:v>0.17098018353504454</c:v>
                </c:pt>
                <c:pt idx="54">
                  <c:v>0.17911866359447004</c:v>
                </c:pt>
                <c:pt idx="55">
                  <c:v>0.17743525405502286</c:v>
                </c:pt>
                <c:pt idx="56">
                  <c:v>0.17281342427717752</c:v>
                </c:pt>
                <c:pt idx="57">
                  <c:v>0.1709137574313176</c:v>
                </c:pt>
                <c:pt idx="58">
                  <c:v>0.18198158808812456</c:v>
                </c:pt>
                <c:pt idx="59">
                  <c:v>0.18307776384736554</c:v>
                </c:pt>
                <c:pt idx="60">
                  <c:v>0.18700290979631426</c:v>
                </c:pt>
                <c:pt idx="61">
                  <c:v>0.18054056646761157</c:v>
                </c:pt>
                <c:pt idx="62">
                  <c:v>0.19009002656136145</c:v>
                </c:pt>
                <c:pt idx="63">
                  <c:v>0.19600309105739921</c:v>
                </c:pt>
                <c:pt idx="64">
                  <c:v>0.18459062310570432</c:v>
                </c:pt>
                <c:pt idx="65">
                  <c:v>0.179037306101935</c:v>
                </c:pt>
                <c:pt idx="66">
                  <c:v>0.17705924002832193</c:v>
                </c:pt>
                <c:pt idx="67">
                  <c:v>0.165002435460302</c:v>
                </c:pt>
                <c:pt idx="68">
                  <c:v>0.1568587306229892</c:v>
                </c:pt>
                <c:pt idx="69">
                  <c:v>0.15326821938392185</c:v>
                </c:pt>
                <c:pt idx="70">
                  <c:v>0.1520919248528427</c:v>
                </c:pt>
                <c:pt idx="71">
                  <c:v>0.1501281857939979</c:v>
                </c:pt>
                <c:pt idx="72">
                  <c:v>0.1519796585543044</c:v>
                </c:pt>
                <c:pt idx="73">
                  <c:v>0.1523521632344606</c:v>
                </c:pt>
                <c:pt idx="74">
                  <c:v>0.1514309430149049</c:v>
                </c:pt>
                <c:pt idx="75">
                  <c:v>0.16235595390524968</c:v>
                </c:pt>
                <c:pt idx="76">
                  <c:v>0.16577613371694752</c:v>
                </c:pt>
                <c:pt idx="77">
                  <c:v>0.155979908593149</c:v>
                </c:pt>
                <c:pt idx="78">
                  <c:v>0.15918260413937646</c:v>
                </c:pt>
                <c:pt idx="79">
                  <c:v>0.15380752373995618</c:v>
                </c:pt>
                <c:pt idx="80">
                  <c:v>0.14142712829460924</c:v>
                </c:pt>
                <c:pt idx="81">
                  <c:v>0.148257712551385</c:v>
                </c:pt>
                <c:pt idx="82">
                  <c:v>0.1528003546623319</c:v>
                </c:pt>
                <c:pt idx="83">
                  <c:v>0.14571476869330027</c:v>
                </c:pt>
                <c:pt idx="84">
                  <c:v>0.1516840607210626</c:v>
                </c:pt>
                <c:pt idx="85">
                  <c:v>0.15782255512184828</c:v>
                </c:pt>
                <c:pt idx="86">
                  <c:v>0.1641406126011744</c:v>
                </c:pt>
                <c:pt idx="87">
                  <c:v>0.18383226647245965</c:v>
                </c:pt>
                <c:pt idx="88">
                  <c:v>0.16740838935706845</c:v>
                </c:pt>
                <c:pt idx="89">
                  <c:v>0.1644376120932616</c:v>
                </c:pt>
                <c:pt idx="90">
                  <c:v>0.1535372747926243</c:v>
                </c:pt>
                <c:pt idx="91">
                  <c:v>0.1452292565466038</c:v>
                </c:pt>
                <c:pt idx="92">
                  <c:v>0.15778172358260725</c:v>
                </c:pt>
                <c:pt idx="93">
                  <c:v>0.1529416470023597</c:v>
                </c:pt>
                <c:pt idx="94">
                  <c:v>0.15484930007751585</c:v>
                </c:pt>
                <c:pt idx="95">
                  <c:v>0.161292465048318</c:v>
                </c:pt>
                <c:pt idx="96">
                  <c:v>0.16254008052267413</c:v>
                </c:pt>
                <c:pt idx="97">
                  <c:v>0.1687336954197494</c:v>
                </c:pt>
                <c:pt idx="98">
                  <c:v>0.1752648592088791</c:v>
                </c:pt>
                <c:pt idx="99">
                  <c:v>0.17548869236040857</c:v>
                </c:pt>
                <c:pt idx="100">
                  <c:v>0.1780660101518093</c:v>
                </c:pt>
                <c:pt idx="101">
                  <c:v>0.16804971170328814</c:v>
                </c:pt>
                <c:pt idx="102">
                  <c:v>0.1605298013245033</c:v>
                </c:pt>
                <c:pt idx="103">
                  <c:v>0.1623502567027952</c:v>
                </c:pt>
                <c:pt idx="104">
                  <c:v>0.157237936772046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0950140423348293</c:v>
                </c:pt>
                <c:pt idx="1">
                  <c:v>0.21903103648157407</c:v>
                </c:pt>
                <c:pt idx="2">
                  <c:v>0.2100946326763741</c:v>
                </c:pt>
                <c:pt idx="3">
                  <c:v>0.20628057244674575</c:v>
                </c:pt>
                <c:pt idx="4">
                  <c:v>0.20284660048965836</c:v>
                </c:pt>
                <c:pt idx="5">
                  <c:v>0.20318109116699323</c:v>
                </c:pt>
                <c:pt idx="6">
                  <c:v>0.19080726364229056</c:v>
                </c:pt>
                <c:pt idx="7">
                  <c:v>0.18400369531735836</c:v>
                </c:pt>
                <c:pt idx="8">
                  <c:v>0.19761894264791396</c:v>
                </c:pt>
                <c:pt idx="9">
                  <c:v>0.19370140804342578</c:v>
                </c:pt>
                <c:pt idx="10">
                  <c:v>0.20011046802535762</c:v>
                </c:pt>
                <c:pt idx="11">
                  <c:v>0.1909353836389904</c:v>
                </c:pt>
                <c:pt idx="12">
                  <c:v>0.19067152751582359</c:v>
                </c:pt>
                <c:pt idx="13">
                  <c:v>0.1911841440584986</c:v>
                </c:pt>
                <c:pt idx="14">
                  <c:v>0.18879193171829675</c:v>
                </c:pt>
                <c:pt idx="15">
                  <c:v>0.1824455209473675</c:v>
                </c:pt>
                <c:pt idx="16">
                  <c:v>0.1824299442919081</c:v>
                </c:pt>
                <c:pt idx="17">
                  <c:v>0.1715863243489409</c:v>
                </c:pt>
                <c:pt idx="18">
                  <c:v>0.16980191735720146</c:v>
                </c:pt>
                <c:pt idx="19">
                  <c:v>0.188012738025591</c:v>
                </c:pt>
                <c:pt idx="20">
                  <c:v>0.17270349424569498</c:v>
                </c:pt>
                <c:pt idx="21">
                  <c:v>0.1593634353221193</c:v>
                </c:pt>
                <c:pt idx="22">
                  <c:v>0.17340329831013704</c:v>
                </c:pt>
                <c:pt idx="23">
                  <c:v>0.15830792420458487</c:v>
                </c:pt>
                <c:pt idx="24">
                  <c:v>0.15430386353408518</c:v>
                </c:pt>
                <c:pt idx="25">
                  <c:v>0.15530063238664768</c:v>
                </c:pt>
                <c:pt idx="26">
                  <c:v>0.15420144437577812</c:v>
                </c:pt>
                <c:pt idx="27">
                  <c:v>0.15715185458288652</c:v>
                </c:pt>
                <c:pt idx="28">
                  <c:v>0.1665411975192327</c:v>
                </c:pt>
                <c:pt idx="29">
                  <c:v>0.15960268955149387</c:v>
                </c:pt>
                <c:pt idx="30">
                  <c:v>0.15528367532057857</c:v>
                </c:pt>
                <c:pt idx="31">
                  <c:v>0.15572583577852284</c:v>
                </c:pt>
                <c:pt idx="32">
                  <c:v>0.15436313663405657</c:v>
                </c:pt>
                <c:pt idx="33">
                  <c:v>0.16200303249253045</c:v>
                </c:pt>
                <c:pt idx="34">
                  <c:v>0.17817905203857415</c:v>
                </c:pt>
                <c:pt idx="35">
                  <c:v>0.17481173632064148</c:v>
                </c:pt>
                <c:pt idx="36">
                  <c:v>0.15657105064406174</c:v>
                </c:pt>
                <c:pt idx="37">
                  <c:v>0.16839647654458434</c:v>
                </c:pt>
                <c:pt idx="38">
                  <c:v>0.15954064928524903</c:v>
                </c:pt>
                <c:pt idx="39">
                  <c:v>0.1676722023239282</c:v>
                </c:pt>
                <c:pt idx="40">
                  <c:v>0.16705799334351312</c:v>
                </c:pt>
                <c:pt idx="41">
                  <c:v>0.1777895504521161</c:v>
                </c:pt>
                <c:pt idx="42">
                  <c:v>0.1730313641566928</c:v>
                </c:pt>
                <c:pt idx="43">
                  <c:v>0.18017829058094237</c:v>
                </c:pt>
                <c:pt idx="44">
                  <c:v>0.18048065758129875</c:v>
                </c:pt>
                <c:pt idx="45">
                  <c:v>0.1833425136419386</c:v>
                </c:pt>
                <c:pt idx="46">
                  <c:v>0.1729982982072968</c:v>
                </c:pt>
                <c:pt idx="47">
                  <c:v>0.16984459321261347</c:v>
                </c:pt>
                <c:pt idx="48">
                  <c:v>0.17464164493126536</c:v>
                </c:pt>
                <c:pt idx="49">
                  <c:v>0.19043508261152972</c:v>
                </c:pt>
                <c:pt idx="50">
                  <c:v>0.20434483640584378</c:v>
                </c:pt>
                <c:pt idx="51">
                  <c:v>0.17858238268888216</c:v>
                </c:pt>
              </c:numCache>
            </c:numRef>
          </c:xVal>
          <c:yVal>
            <c:numRef>
              <c:f>Sheet1!$B$109:$B$160</c:f>
              <c:numCache>
                <c:formatCode>General</c:formatCode>
                <c:ptCount val="52"/>
                <c:pt idx="0">
                  <c:v>0.17161046922895543</c:v>
                </c:pt>
                <c:pt idx="1">
                  <c:v>0.1659287583014691</c:v>
                </c:pt>
                <c:pt idx="2">
                  <c:v>0.18026123492875412</c:v>
                </c:pt>
                <c:pt idx="3">
                  <c:v>0.19833303052325582</c:v>
                </c:pt>
                <c:pt idx="4">
                  <c:v>0.18442565186751234</c:v>
                </c:pt>
                <c:pt idx="5">
                  <c:v>0.18051201671891326</c:v>
                </c:pt>
                <c:pt idx="6">
                  <c:v>0.1899355489804812</c:v>
                </c:pt>
                <c:pt idx="7">
                  <c:v>0.1877624104717214</c:v>
                </c:pt>
                <c:pt idx="8">
                  <c:v>0.17505425235093522</c:v>
                </c:pt>
                <c:pt idx="9">
                  <c:v>0.18160355085466048</c:v>
                </c:pt>
                <c:pt idx="10">
                  <c:v>0.1846767320102277</c:v>
                </c:pt>
                <c:pt idx="11">
                  <c:v>0.185658130921815</c:v>
                </c:pt>
                <c:pt idx="12">
                  <c:v>0.18300161097541964</c:v>
                </c:pt>
                <c:pt idx="13">
                  <c:v>0.18322615219721328</c:v>
                </c:pt>
                <c:pt idx="14">
                  <c:v>0.182059123343527</c:v>
                </c:pt>
                <c:pt idx="15">
                  <c:v>0.17592679055000468</c:v>
                </c:pt>
                <c:pt idx="16">
                  <c:v>0.16410665372213168</c:v>
                </c:pt>
                <c:pt idx="17">
                  <c:v>0.16779853896699828</c:v>
                </c:pt>
                <c:pt idx="18">
                  <c:v>0.16916015711196433</c:v>
                </c:pt>
                <c:pt idx="19">
                  <c:v>0.1675609756097561</c:v>
                </c:pt>
                <c:pt idx="20">
                  <c:v>0.15900841080123948</c:v>
                </c:pt>
                <c:pt idx="21">
                  <c:v>0.16135394456289978</c:v>
                </c:pt>
                <c:pt idx="22">
                  <c:v>0.15798345888426488</c:v>
                </c:pt>
                <c:pt idx="23">
                  <c:v>0.1678344646376177</c:v>
                </c:pt>
                <c:pt idx="24">
                  <c:v>0.17586403440592777</c:v>
                </c:pt>
                <c:pt idx="25">
                  <c:v>0.17423913043478262</c:v>
                </c:pt>
                <c:pt idx="26">
                  <c:v>0.1662018386530317</c:v>
                </c:pt>
                <c:pt idx="27">
                  <c:v>0.16683440073193045</c:v>
                </c:pt>
                <c:pt idx="28">
                  <c:v>0.1565824328301728</c:v>
                </c:pt>
                <c:pt idx="29">
                  <c:v>0.15659955257270694</c:v>
                </c:pt>
                <c:pt idx="30">
                  <c:v>0.1621467756960977</c:v>
                </c:pt>
                <c:pt idx="31">
                  <c:v>0.15702621895124194</c:v>
                </c:pt>
                <c:pt idx="32">
                  <c:v>0.1539289007273845</c:v>
                </c:pt>
                <c:pt idx="33">
                  <c:v>0.1701701274890206</c:v>
                </c:pt>
                <c:pt idx="34">
                  <c:v>0.1859032923899435</c:v>
                </c:pt>
                <c:pt idx="35">
                  <c:v>0.17813476832983816</c:v>
                </c:pt>
                <c:pt idx="36">
                  <c:v>0.16688650570625682</c:v>
                </c:pt>
                <c:pt idx="37">
                  <c:v>0.15823016246147417</c:v>
                </c:pt>
                <c:pt idx="38">
                  <c:v>0.1577463167587477</c:v>
                </c:pt>
                <c:pt idx="39">
                  <c:v>0.17152681641584425</c:v>
                </c:pt>
                <c:pt idx="40">
                  <c:v>0.16464266992835924</c:v>
                </c:pt>
                <c:pt idx="41">
                  <c:v>0.16797488226059654</c:v>
                </c:pt>
                <c:pt idx="42">
                  <c:v>0.16525791565769635</c:v>
                </c:pt>
                <c:pt idx="43">
                  <c:v>0.1640622305012246</c:v>
                </c:pt>
                <c:pt idx="44">
                  <c:v>0.1642367314009105</c:v>
                </c:pt>
                <c:pt idx="45">
                  <c:v>0.17864914170165067</c:v>
                </c:pt>
                <c:pt idx="46">
                  <c:v>0.1900123726538026</c:v>
                </c:pt>
                <c:pt idx="47">
                  <c:v>0.1911568656495334</c:v>
                </c:pt>
                <c:pt idx="48">
                  <c:v>0.18884271763972574</c:v>
                </c:pt>
                <c:pt idx="49">
                  <c:v>0.19380640258383205</c:v>
                </c:pt>
                <c:pt idx="50">
                  <c:v>0.20203557135368053</c:v>
                </c:pt>
                <c:pt idx="51">
                  <c:v>0.1919633202128119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0474786010603455</c:v>
                </c:pt>
              </c:numCache>
            </c:numRef>
          </c:xVal>
          <c:yVal>
            <c:numRef>
              <c:f>Sheet1!$B$163:$B$164</c:f>
              <c:numCache>
                <c:formatCode>General</c:formatCode>
                <c:ptCount val="2"/>
                <c:pt idx="0">
                  <c:v>0.22366113162471526</c:v>
                </c:pt>
                <c:pt idx="1">
                  <c:v>0.2236611316247152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0474786010603455</c:v>
                </c:pt>
                <c:pt idx="1">
                  <c:v>0.30474786010603455</c:v>
                </c:pt>
              </c:numCache>
            </c:numRef>
          </c:xVal>
          <c:yVal>
            <c:numRef>
              <c:f>Sheet1!$B$167:$B$168</c:f>
              <c:numCache>
                <c:formatCode>General</c:formatCode>
                <c:ptCount val="2"/>
                <c:pt idx="0">
                  <c:v>0.223661131624715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2968353846392708</c:v>
                </c:pt>
              </c:numCache>
            </c:numRef>
          </c:xVal>
          <c:yVal>
            <c:numRef>
              <c:f>Sheet1!$B$171:$B$172</c:f>
              <c:numCache>
                <c:formatCode>General</c:formatCode>
                <c:ptCount val="2"/>
                <c:pt idx="0">
                  <c:v>0.19416200294751257</c:v>
                </c:pt>
                <c:pt idx="1">
                  <c:v>0.1941620029475125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2968353846392708</c:v>
                </c:pt>
                <c:pt idx="1">
                  <c:v>0.22968353846392708</c:v>
                </c:pt>
              </c:numCache>
            </c:numRef>
          </c:xVal>
          <c:yVal>
            <c:numRef>
              <c:f>Sheet1!$B$175:$B$176</c:f>
              <c:numCache>
                <c:formatCode>General</c:formatCode>
                <c:ptCount val="2"/>
                <c:pt idx="0">
                  <c:v>0.1941620029475125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9250487273587702</c:v>
                </c:pt>
              </c:numCache>
            </c:numRef>
          </c:xVal>
          <c:yVal>
            <c:numRef>
              <c:f>Sheet1!$B$179:$B$180</c:f>
              <c:numCache>
                <c:formatCode>General</c:formatCode>
                <c:ptCount val="2"/>
                <c:pt idx="0">
                  <c:v>0.17955135676612835</c:v>
                </c:pt>
                <c:pt idx="1">
                  <c:v>0.1795513567661283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9250487273587702</c:v>
                </c:pt>
                <c:pt idx="1">
                  <c:v>0.19250487273587702</c:v>
                </c:pt>
              </c:numCache>
            </c:numRef>
          </c:xVal>
          <c:yVal>
            <c:numRef>
              <c:f>Sheet1!$B$183:$B$184</c:f>
              <c:numCache>
                <c:formatCode>General</c:formatCode>
                <c:ptCount val="2"/>
                <c:pt idx="0">
                  <c:v>0.1795513567661283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0950140423348293</c:v>
                </c:pt>
                <c:pt idx="1">
                  <c:v>0.21903103648157407</c:v>
                </c:pt>
                <c:pt idx="2">
                  <c:v>0.2100946326763741</c:v>
                </c:pt>
                <c:pt idx="3">
                  <c:v>0.20628057244674575</c:v>
                </c:pt>
                <c:pt idx="4">
                  <c:v>0.20284660048965836</c:v>
                </c:pt>
                <c:pt idx="5">
                  <c:v>0.20318109116699323</c:v>
                </c:pt>
                <c:pt idx="6">
                  <c:v>0.19080726364229056</c:v>
                </c:pt>
                <c:pt idx="7">
                  <c:v>0.18400369531735836</c:v>
                </c:pt>
                <c:pt idx="8">
                  <c:v>0.19761894264791396</c:v>
                </c:pt>
                <c:pt idx="9">
                  <c:v>0.19370140804342578</c:v>
                </c:pt>
                <c:pt idx="10">
                  <c:v>0.20011046802535762</c:v>
                </c:pt>
                <c:pt idx="11">
                  <c:v>0.1909353836389904</c:v>
                </c:pt>
                <c:pt idx="12">
                  <c:v>0.19067152751582359</c:v>
                </c:pt>
                <c:pt idx="13">
                  <c:v>0.1911841440584986</c:v>
                </c:pt>
                <c:pt idx="14">
                  <c:v>0.18879193171829675</c:v>
                </c:pt>
                <c:pt idx="15">
                  <c:v>0.1824455209473675</c:v>
                </c:pt>
                <c:pt idx="16">
                  <c:v>0.1824299442919081</c:v>
                </c:pt>
                <c:pt idx="17">
                  <c:v>0.1715863243489409</c:v>
                </c:pt>
                <c:pt idx="18">
                  <c:v>0.16980191735720146</c:v>
                </c:pt>
                <c:pt idx="19">
                  <c:v>0.188012738025591</c:v>
                </c:pt>
                <c:pt idx="20">
                  <c:v>0.17270349424569498</c:v>
                </c:pt>
                <c:pt idx="21">
                  <c:v>0.1593634353221193</c:v>
                </c:pt>
                <c:pt idx="22">
                  <c:v>0.17340329831013704</c:v>
                </c:pt>
                <c:pt idx="23">
                  <c:v>0.15830792420458487</c:v>
                </c:pt>
                <c:pt idx="24">
                  <c:v>0.15430386353408518</c:v>
                </c:pt>
                <c:pt idx="25">
                  <c:v>0.15530063238664768</c:v>
                </c:pt>
                <c:pt idx="26">
                  <c:v>0.15420144437577812</c:v>
                </c:pt>
                <c:pt idx="27">
                  <c:v>0.15715185458288652</c:v>
                </c:pt>
                <c:pt idx="28">
                  <c:v>0.1665411975192327</c:v>
                </c:pt>
                <c:pt idx="29">
                  <c:v>0.15960268955149387</c:v>
                </c:pt>
                <c:pt idx="30">
                  <c:v>0.15528367532057857</c:v>
                </c:pt>
                <c:pt idx="31">
                  <c:v>0.15572583577852284</c:v>
                </c:pt>
                <c:pt idx="32">
                  <c:v>0.15436313663405657</c:v>
                </c:pt>
                <c:pt idx="33">
                  <c:v>0.16200303249253045</c:v>
                </c:pt>
                <c:pt idx="34">
                  <c:v>0.17817905203857415</c:v>
                </c:pt>
                <c:pt idx="35">
                  <c:v>0.17481173632064148</c:v>
                </c:pt>
                <c:pt idx="36">
                  <c:v>0.15657105064406174</c:v>
                </c:pt>
                <c:pt idx="37">
                  <c:v>0.16839647654458434</c:v>
                </c:pt>
                <c:pt idx="38">
                  <c:v>0.15954064928524903</c:v>
                </c:pt>
                <c:pt idx="39">
                  <c:v>0.1676722023239282</c:v>
                </c:pt>
                <c:pt idx="40">
                  <c:v>0.16705799334351312</c:v>
                </c:pt>
                <c:pt idx="41">
                  <c:v>0.1777895504521161</c:v>
                </c:pt>
                <c:pt idx="42">
                  <c:v>0.1730313641566928</c:v>
                </c:pt>
                <c:pt idx="43">
                  <c:v>0.18017829058094237</c:v>
                </c:pt>
                <c:pt idx="44">
                  <c:v>0.18048065758129875</c:v>
                </c:pt>
                <c:pt idx="45">
                  <c:v>0.1833425136419386</c:v>
                </c:pt>
                <c:pt idx="46">
                  <c:v>0.1729982982072968</c:v>
                </c:pt>
                <c:pt idx="47">
                  <c:v>0.16984459321261347</c:v>
                </c:pt>
                <c:pt idx="48">
                  <c:v>0.17464164493126536</c:v>
                </c:pt>
                <c:pt idx="49">
                  <c:v>0.19043508261152972</c:v>
                </c:pt>
                <c:pt idx="50">
                  <c:v>0.20434483640584378</c:v>
                </c:pt>
                <c:pt idx="51">
                  <c:v>0.17858238268888216</c:v>
                </c:pt>
                <c:pt idx="52">
                  <c:v>0.22968353846392708</c:v>
                </c:pt>
                <c:pt idx="53">
                  <c:v>0.30474786010603455</c:v>
                </c:pt>
                <c:pt idx="54">
                  <c:v>0.19250487273587702</c:v>
                </c:pt>
              </c:numCache>
            </c:numRef>
          </c:xVal>
          <c:yVal>
            <c:numRef>
              <c:f>Sheet1!$B$187:$B$241</c:f>
              <c:numCache>
                <c:formatCode>General</c:formatCode>
                <c:ptCount val="55"/>
                <c:pt idx="0">
                  <c:v>0.1862307333160758</c:v>
                </c:pt>
                <c:pt idx="1">
                  <c:v>0.18997573282826974</c:v>
                </c:pt>
                <c:pt idx="2">
                  <c:v>0.1864638630079054</c:v>
                </c:pt>
                <c:pt idx="3">
                  <c:v>0.18496499575599257</c:v>
                </c:pt>
                <c:pt idx="4">
                  <c:v>0.1836154973735386</c:v>
                </c:pt>
                <c:pt idx="5">
                  <c:v>0.18374694708648043</c:v>
                </c:pt>
                <c:pt idx="6">
                  <c:v>0.17888422239390211</c:v>
                </c:pt>
                <c:pt idx="7">
                  <c:v>0.17621052424955314</c:v>
                </c:pt>
                <c:pt idx="8">
                  <c:v>0.18156110791153485</c:v>
                </c:pt>
                <c:pt idx="9">
                  <c:v>0.1800215768151749</c:v>
                </c:pt>
                <c:pt idx="10">
                  <c:v>0.18254023922324045</c:v>
                </c:pt>
                <c:pt idx="11">
                  <c:v>0.1789345715902459</c:v>
                </c:pt>
                <c:pt idx="12">
                  <c:v>0.17883088017521284</c:v>
                </c:pt>
                <c:pt idx="13">
                  <c:v>0.17903233062495555</c:v>
                </c:pt>
                <c:pt idx="14">
                  <c:v>0.17809222781575063</c:v>
                </c:pt>
                <c:pt idx="15">
                  <c:v>0.1755981855880379</c:v>
                </c:pt>
                <c:pt idx="16">
                  <c:v>0.1755920642010233</c:v>
                </c:pt>
                <c:pt idx="17">
                  <c:v>0.17133068765053125</c:v>
                </c:pt>
                <c:pt idx="18">
                  <c:v>0.1706294430337772</c:v>
                </c:pt>
                <c:pt idx="19">
                  <c:v>0.17778601662909416</c:v>
                </c:pt>
                <c:pt idx="20">
                  <c:v>0.17176971830874158</c:v>
                </c:pt>
                <c:pt idx="21">
                  <c:v>0.1665272794757597</c:v>
                </c:pt>
                <c:pt idx="22">
                  <c:v>0.17204473058746741</c:v>
                </c:pt>
                <c:pt idx="23">
                  <c:v>0.16611247977338153</c:v>
                </c:pt>
                <c:pt idx="24">
                  <c:v>0.16453894525836182</c:v>
                </c:pt>
                <c:pt idx="25">
                  <c:v>0.16493066015033622</c:v>
                </c:pt>
                <c:pt idx="26">
                  <c:v>0.16449869609785764</c:v>
                </c:pt>
                <c:pt idx="27">
                  <c:v>0.16565816211907858</c:v>
                </c:pt>
                <c:pt idx="28">
                  <c:v>0.1693480300805082</c:v>
                </c:pt>
                <c:pt idx="29">
                  <c:v>0.1666213027233491</c:v>
                </c:pt>
                <c:pt idx="30">
                  <c:v>0.1649239962830952</c:v>
                </c:pt>
                <c:pt idx="31">
                  <c:v>0.16509775857068446</c:v>
                </c:pt>
                <c:pt idx="32">
                  <c:v>0.16456223867878983</c:v>
                </c:pt>
                <c:pt idx="33">
                  <c:v>0.16756460073414914</c:v>
                </c:pt>
                <c:pt idx="34">
                  <c:v>0.17392152865456365</c:v>
                </c:pt>
                <c:pt idx="35">
                  <c:v>0.17259822515315237</c:v>
                </c:pt>
                <c:pt idx="36">
                  <c:v>0.16542991506704624</c:v>
                </c:pt>
                <c:pt idx="37">
                  <c:v>0.17007712632095517</c:v>
                </c:pt>
                <c:pt idx="38">
                  <c:v>0.16659692184895913</c:v>
                </c:pt>
                <c:pt idx="39">
                  <c:v>0.16979249764563614</c:v>
                </c:pt>
                <c:pt idx="40">
                  <c:v>0.16955112292390956</c:v>
                </c:pt>
                <c:pt idx="41">
                  <c:v>0.17376846049691502</c:v>
                </c:pt>
                <c:pt idx="42">
                  <c:v>0.17189856616192037</c:v>
                </c:pt>
                <c:pt idx="43">
                  <c:v>0.17470719878023172</c:v>
                </c:pt>
                <c:pt idx="44">
                  <c:v>0.1748260243801456</c:v>
                </c:pt>
                <c:pt idx="45">
                  <c:v>0.17595068997815044</c:v>
                </c:pt>
                <c:pt idx="46">
                  <c:v>0.17188557175026475</c:v>
                </c:pt>
                <c:pt idx="47">
                  <c:v>0.17064621399130628</c:v>
                </c:pt>
                <c:pt idx="48">
                  <c:v>0.1725313818423447</c:v>
                </c:pt>
                <c:pt idx="49">
                  <c:v>0.17873796094935093</c:v>
                </c:pt>
                <c:pt idx="50">
                  <c:v>0.18420428114076004</c:v>
                </c:pt>
                <c:pt idx="51">
                  <c:v>0.17408003142249145</c:v>
                </c:pt>
                <c:pt idx="52">
                  <c:v>0.19416200294751257</c:v>
                </c:pt>
                <c:pt idx="53">
                  <c:v>0.22366113162471526</c:v>
                </c:pt>
                <c:pt idx="54">
                  <c:v>0.1795513567661283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20657699980694"/>
          <c:min val="0.11314170263568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9.4137</c:v>
                </c:pt>
                <c:pt idx="1">
                  <c:v>897.7513</c:v>
                </c:pt>
                <c:pt idx="2">
                  <c:v>929.3155</c:v>
                </c:pt>
                <c:pt idx="3">
                  <c:v>958.2186</c:v>
                </c:pt>
                <c:pt idx="4">
                  <c:v>945.1339</c:v>
                </c:pt>
                <c:pt idx="5">
                  <c:v>929.9001</c:v>
                </c:pt>
                <c:pt idx="6">
                  <c:v>892.9715</c:v>
                </c:pt>
                <c:pt idx="7">
                  <c:v>902.0136</c:v>
                </c:pt>
                <c:pt idx="8">
                  <c:v>906.6306</c:v>
                </c:pt>
                <c:pt idx="9">
                  <c:v>878.51</c:v>
                </c:pt>
                <c:pt idx="10">
                  <c:v>868.4945</c:v>
                </c:pt>
                <c:pt idx="11">
                  <c:v>914.4113</c:v>
                </c:pt>
                <c:pt idx="12">
                  <c:v>921.2473</c:v>
                </c:pt>
                <c:pt idx="13">
                  <c:v>929.9615</c:v>
                </c:pt>
                <c:pt idx="14">
                  <c:v>966.11</c:v>
                </c:pt>
                <c:pt idx="15">
                  <c:v>976.5391</c:v>
                </c:pt>
                <c:pt idx="16">
                  <c:v>1000.8444</c:v>
                </c:pt>
                <c:pt idx="17">
                  <c:v>1013.3609</c:v>
                </c:pt>
                <c:pt idx="18">
                  <c:v>1061.8215</c:v>
                </c:pt>
                <c:pt idx="19">
                  <c:v>1057.3236</c:v>
                </c:pt>
                <c:pt idx="20">
                  <c:v>1086.0927</c:v>
                </c:pt>
                <c:pt idx="21">
                  <c:v>1090.9295</c:v>
                </c:pt>
                <c:pt idx="22">
                  <c:v>1048.2189</c:v>
                </c:pt>
                <c:pt idx="23">
                  <c:v>1059.0827</c:v>
                </c:pt>
                <c:pt idx="24">
                  <c:v>1068.4637</c:v>
                </c:pt>
                <c:pt idx="25">
                  <c:v>1053.4514</c:v>
                </c:pt>
                <c:pt idx="26">
                  <c:v>1034.2451</c:v>
                </c:pt>
                <c:pt idx="27">
                  <c:v>1037.0432</c:v>
                </c:pt>
                <c:pt idx="28">
                  <c:v>1046.1112</c:v>
                </c:pt>
                <c:pt idx="29">
                  <c:v>1035.2358</c:v>
                </c:pt>
                <c:pt idx="30">
                  <c:v>1038.0835</c:v>
                </c:pt>
                <c:pt idx="31">
                  <c:v>1019.7049</c:v>
                </c:pt>
                <c:pt idx="32">
                  <c:v>1009.4108</c:v>
                </c:pt>
                <c:pt idx="33">
                  <c:v>977.3818</c:v>
                </c:pt>
                <c:pt idx="34">
                  <c:v>987.871</c:v>
                </c:pt>
                <c:pt idx="35">
                  <c:v>1033.9306</c:v>
                </c:pt>
                <c:pt idx="36">
                  <c:v>1083.6245</c:v>
                </c:pt>
                <c:pt idx="37">
                  <c:v>1071.7079</c:v>
                </c:pt>
                <c:pt idx="38">
                  <c:v>1108.0026</c:v>
                </c:pt>
                <c:pt idx="39">
                  <c:v>1165.3772</c:v>
                </c:pt>
                <c:pt idx="40">
                  <c:v>1167.785</c:v>
                </c:pt>
                <c:pt idx="41">
                  <c:v>1193.8357</c:v>
                </c:pt>
                <c:pt idx="42">
                  <c:v>1212.1279</c:v>
                </c:pt>
                <c:pt idx="43">
                  <c:v>1199.113</c:v>
                </c:pt>
                <c:pt idx="44">
                  <c:v>1155.1468</c:v>
                </c:pt>
                <c:pt idx="45">
                  <c:v>1120.0195</c:v>
                </c:pt>
                <c:pt idx="46">
                  <c:v>1109.1569</c:v>
                </c:pt>
                <c:pt idx="47">
                  <c:v>1095.2651</c:v>
                </c:pt>
                <c:pt idx="48">
                  <c:v>1093.2907</c:v>
                </c:pt>
                <c:pt idx="49">
                  <c:v>1048.022</c:v>
                </c:pt>
                <c:pt idx="50">
                  <c:v>1049.4572</c:v>
                </c:pt>
                <c:pt idx="51">
                  <c:v>1044.8197</c:v>
                </c:pt>
                <c:pt idx="52">
                  <c:v>1059.6912</c:v>
                </c:pt>
                <c:pt idx="53">
                  <c:v>1169.267</c:v>
                </c:pt>
                <c:pt idx="54">
                  <c:v>1148.3676</c:v>
                </c:pt>
                <c:pt idx="55">
                  <c:v>1170.5369</c:v>
                </c:pt>
                <c:pt idx="56">
                  <c:v>1173.6815</c:v>
                </c:pt>
                <c:pt idx="57">
                  <c:v>1147.0884</c:v>
                </c:pt>
                <c:pt idx="58">
                  <c:v>1131.2774</c:v>
                </c:pt>
                <c:pt idx="59">
                  <c:v>1107.5691</c:v>
                </c:pt>
                <c:pt idx="60">
                  <c:v>1125.5277</c:v>
                </c:pt>
                <c:pt idx="61">
                  <c:v>1145.755</c:v>
                </c:pt>
                <c:pt idx="62">
                  <c:v>1079.6264</c:v>
                </c:pt>
                <c:pt idx="63">
                  <c:v>1099.6892</c:v>
                </c:pt>
                <c:pt idx="64">
                  <c:v>1111.0568</c:v>
                </c:pt>
                <c:pt idx="65">
                  <c:v>1102.1999</c:v>
                </c:pt>
                <c:pt idx="66">
                  <c:v>1137.0865</c:v>
                </c:pt>
                <c:pt idx="67">
                  <c:v>1160.1286</c:v>
                </c:pt>
                <c:pt idx="68">
                  <c:v>1178.1686</c:v>
                </c:pt>
                <c:pt idx="69">
                  <c:v>1209.1537</c:v>
                </c:pt>
                <c:pt idx="70">
                  <c:v>1192.4151</c:v>
                </c:pt>
                <c:pt idx="71">
                  <c:v>1242.0309</c:v>
                </c:pt>
                <c:pt idx="72">
                  <c:v>1306.088</c:v>
                </c:pt>
                <c:pt idx="73">
                  <c:v>1282.7391</c:v>
                </c:pt>
                <c:pt idx="74">
                  <c:v>1279.1563</c:v>
                </c:pt>
                <c:pt idx="75">
                  <c:v>1243.3785</c:v>
                </c:pt>
                <c:pt idx="76">
                  <c:v>1213.4474</c:v>
                </c:pt>
                <c:pt idx="77">
                  <c:v>1211.1308</c:v>
                </c:pt>
                <c:pt idx="78">
                  <c:v>1257.3637</c:v>
                </c:pt>
                <c:pt idx="79">
                  <c:v>1258.6996</c:v>
                </c:pt>
                <c:pt idx="80">
                  <c:v>1256.1036</c:v>
                </c:pt>
                <c:pt idx="81">
                  <c:v>1242.1614</c:v>
                </c:pt>
                <c:pt idx="82">
                  <c:v>1269.8095</c:v>
                </c:pt>
                <c:pt idx="83">
                  <c:v>1214.4857</c:v>
                </c:pt>
                <c:pt idx="84">
                  <c:v>1238.9617</c:v>
                </c:pt>
                <c:pt idx="85">
                  <c:v>1216.6811</c:v>
                </c:pt>
                <c:pt idx="86">
                  <c:v>1217.773</c:v>
                </c:pt>
                <c:pt idx="87">
                  <c:v>1227.3918</c:v>
                </c:pt>
                <c:pt idx="88">
                  <c:v>1271.5976</c:v>
                </c:pt>
                <c:pt idx="89">
                  <c:v>1254.0704</c:v>
                </c:pt>
                <c:pt idx="90">
                  <c:v>1320.116</c:v>
                </c:pt>
                <c:pt idx="91">
                  <c:v>1309.8259</c:v>
                </c:pt>
                <c:pt idx="92">
                  <c:v>1260.9199</c:v>
                </c:pt>
                <c:pt idx="93">
                  <c:v>1290.5923</c:v>
                </c:pt>
                <c:pt idx="94">
                  <c:v>1278.0827</c:v>
                </c:pt>
                <c:pt idx="95">
                  <c:v>1247.8353</c:v>
                </c:pt>
                <c:pt idx="96">
                  <c:v>1202.3784</c:v>
                </c:pt>
                <c:pt idx="97">
                  <c:v>1191.1436</c:v>
                </c:pt>
                <c:pt idx="98">
                  <c:v>1173.328</c:v>
                </c:pt>
                <c:pt idx="99">
                  <c:v>1138.3719</c:v>
                </c:pt>
                <c:pt idx="100">
                  <c:v>1113.6608</c:v>
                </c:pt>
                <c:pt idx="101">
                  <c:v>1163.3122</c:v>
                </c:pt>
                <c:pt idx="102">
                  <c:v>1164.8555</c:v>
                </c:pt>
                <c:pt idx="103">
                  <c:v>1150.2562</c:v>
                </c:pt>
                <c:pt idx="104">
                  <c:v>1187.2692</c:v>
                </c:pt>
              </c:numCache>
            </c:numRef>
          </c:xVal>
          <c:yVal>
            <c:numRef>
              <c:f>Sheet1!$B$2:$B$106</c:f>
              <c:numCache>
                <c:formatCode>General</c:formatCode>
                <c:ptCount val="105"/>
                <c:pt idx="0">
                  <c:v>0.21020646867371848</c:v>
                </c:pt>
                <c:pt idx="1">
                  <c:v>0.19998409879945936</c:v>
                </c:pt>
                <c:pt idx="2">
                  <c:v>0.20379256370121374</c:v>
                </c:pt>
                <c:pt idx="3">
                  <c:v>0.20844547314027345</c:v>
                </c:pt>
                <c:pt idx="4">
                  <c:v>0.21889864325618516</c:v>
                </c:pt>
                <c:pt idx="5">
                  <c:v>0.22279337606142435</c:v>
                </c:pt>
                <c:pt idx="6">
                  <c:v>0.25172147499839115</c:v>
                </c:pt>
                <c:pt idx="7">
                  <c:v>0.25146799765120376</c:v>
                </c:pt>
                <c:pt idx="8">
                  <c:v>0.2456400883405681</c:v>
                </c:pt>
                <c:pt idx="9">
                  <c:v>0.23977286240932336</c:v>
                </c:pt>
                <c:pt idx="10">
                  <c:v>0.23185535944898839</c:v>
                </c:pt>
                <c:pt idx="11">
                  <c:v>0.2112331761187162</c:v>
                </c:pt>
                <c:pt idx="12">
                  <c:v>0.20288239509515088</c:v>
                </c:pt>
                <c:pt idx="13">
                  <c:v>0.19351573264347777</c:v>
                </c:pt>
                <c:pt idx="14">
                  <c:v>0.17355556174921263</c:v>
                </c:pt>
                <c:pt idx="15">
                  <c:v>0.17153731590269733</c:v>
                </c:pt>
                <c:pt idx="16">
                  <c:v>0.16137339055793992</c:v>
                </c:pt>
                <c:pt idx="17">
                  <c:v>0.15487087283425957</c:v>
                </c:pt>
                <c:pt idx="18">
                  <c:v>0.14542892212574443</c:v>
                </c:pt>
                <c:pt idx="19">
                  <c:v>0.14849703640982218</c:v>
                </c:pt>
                <c:pt idx="20">
                  <c:v>0.1512384780044559</c:v>
                </c:pt>
                <c:pt idx="21">
                  <c:v>0.1542627262881015</c:v>
                </c:pt>
                <c:pt idx="22">
                  <c:v>0.17664387164650183</c:v>
                </c:pt>
                <c:pt idx="23">
                  <c:v>0.17933842806939254</c:v>
                </c:pt>
                <c:pt idx="24">
                  <c:v>0.1833583752137195</c:v>
                </c:pt>
                <c:pt idx="25">
                  <c:v>0.18293678563097737</c:v>
                </c:pt>
                <c:pt idx="26">
                  <c:v>0.20214267049908544</c:v>
                </c:pt>
                <c:pt idx="27">
                  <c:v>0.211397612119996</c:v>
                </c:pt>
                <c:pt idx="28">
                  <c:v>0.206163927712077</c:v>
                </c:pt>
                <c:pt idx="29">
                  <c:v>0.20307498083772937</c:v>
                </c:pt>
                <c:pt idx="30">
                  <c:v>0.20531302679765157</c:v>
                </c:pt>
                <c:pt idx="31">
                  <c:v>0.20395755029847445</c:v>
                </c:pt>
                <c:pt idx="32">
                  <c:v>0.21359064071725345</c:v>
                </c:pt>
                <c:pt idx="33">
                  <c:v>0.20973176388220366</c:v>
                </c:pt>
                <c:pt idx="34">
                  <c:v>0.21168379383421967</c:v>
                </c:pt>
                <c:pt idx="35">
                  <c:v>0.23083929294292269</c:v>
                </c:pt>
                <c:pt idx="36">
                  <c:v>0.192742538864411</c:v>
                </c:pt>
                <c:pt idx="37">
                  <c:v>0.20033653846153845</c:v>
                </c:pt>
                <c:pt idx="38">
                  <c:v>0.18773207310604234</c:v>
                </c:pt>
                <c:pt idx="39">
                  <c:v>0.17446483180428135</c:v>
                </c:pt>
                <c:pt idx="40">
                  <c:v>0.17987973900806004</c:v>
                </c:pt>
                <c:pt idx="41">
                  <c:v>0.17108289631060816</c:v>
                </c:pt>
                <c:pt idx="42">
                  <c:v>0.1702286184855496</c:v>
                </c:pt>
                <c:pt idx="43">
                  <c:v>0.1728169656964292</c:v>
                </c:pt>
                <c:pt idx="44">
                  <c:v>0.17103670835014118</c:v>
                </c:pt>
                <c:pt idx="45">
                  <c:v>0.18516640952171037</c:v>
                </c:pt>
                <c:pt idx="46">
                  <c:v>0.19015579233348898</c:v>
                </c:pt>
                <c:pt idx="47">
                  <c:v>0.18210794275568484</c:v>
                </c:pt>
                <c:pt idx="48">
                  <c:v>0.18136631975163672</c:v>
                </c:pt>
                <c:pt idx="49">
                  <c:v>0.1898583998857532</c:v>
                </c:pt>
                <c:pt idx="50">
                  <c:v>0.18103877771319438</c:v>
                </c:pt>
                <c:pt idx="51">
                  <c:v>0.17596993753577383</c:v>
                </c:pt>
                <c:pt idx="52">
                  <c:v>0.17994396800615925</c:v>
                </c:pt>
                <c:pt idx="53">
                  <c:v>0.17098018353504454</c:v>
                </c:pt>
                <c:pt idx="54">
                  <c:v>0.17911866359447004</c:v>
                </c:pt>
                <c:pt idx="55">
                  <c:v>0.17743525405502286</c:v>
                </c:pt>
                <c:pt idx="56">
                  <c:v>0.17281342427717752</c:v>
                </c:pt>
                <c:pt idx="57">
                  <c:v>0.1709137574313176</c:v>
                </c:pt>
                <c:pt idx="58">
                  <c:v>0.18198158808812456</c:v>
                </c:pt>
                <c:pt idx="59">
                  <c:v>0.18307776384736554</c:v>
                </c:pt>
                <c:pt idx="60">
                  <c:v>0.18700290979631426</c:v>
                </c:pt>
                <c:pt idx="61">
                  <c:v>0.18054056646761157</c:v>
                </c:pt>
                <c:pt idx="62">
                  <c:v>0.19009002656136145</c:v>
                </c:pt>
                <c:pt idx="63">
                  <c:v>0.19600309105739921</c:v>
                </c:pt>
                <c:pt idx="64">
                  <c:v>0.18459062310570432</c:v>
                </c:pt>
                <c:pt idx="65">
                  <c:v>0.179037306101935</c:v>
                </c:pt>
                <c:pt idx="66">
                  <c:v>0.17705924002832193</c:v>
                </c:pt>
                <c:pt idx="67">
                  <c:v>0.165002435460302</c:v>
                </c:pt>
                <c:pt idx="68">
                  <c:v>0.1568587306229892</c:v>
                </c:pt>
                <c:pt idx="69">
                  <c:v>0.15326821938392185</c:v>
                </c:pt>
                <c:pt idx="70">
                  <c:v>0.1520919248528427</c:v>
                </c:pt>
                <c:pt idx="71">
                  <c:v>0.1501281857939979</c:v>
                </c:pt>
                <c:pt idx="72">
                  <c:v>0.1519796585543044</c:v>
                </c:pt>
                <c:pt idx="73">
                  <c:v>0.1523521632344606</c:v>
                </c:pt>
                <c:pt idx="74">
                  <c:v>0.1514309430149049</c:v>
                </c:pt>
                <c:pt idx="75">
                  <c:v>0.16235595390524968</c:v>
                </c:pt>
                <c:pt idx="76">
                  <c:v>0.16577613371694752</c:v>
                </c:pt>
                <c:pt idx="77">
                  <c:v>0.155979908593149</c:v>
                </c:pt>
                <c:pt idx="78">
                  <c:v>0.15918260413937646</c:v>
                </c:pt>
                <c:pt idx="79">
                  <c:v>0.15380752373995618</c:v>
                </c:pt>
                <c:pt idx="80">
                  <c:v>0.14142712829460924</c:v>
                </c:pt>
                <c:pt idx="81">
                  <c:v>0.148257712551385</c:v>
                </c:pt>
                <c:pt idx="82">
                  <c:v>0.1528003546623319</c:v>
                </c:pt>
                <c:pt idx="83">
                  <c:v>0.14571476869330027</c:v>
                </c:pt>
                <c:pt idx="84">
                  <c:v>0.1516840607210626</c:v>
                </c:pt>
                <c:pt idx="85">
                  <c:v>0.15782255512184828</c:v>
                </c:pt>
                <c:pt idx="86">
                  <c:v>0.1641406126011744</c:v>
                </c:pt>
                <c:pt idx="87">
                  <c:v>0.18383226647245965</c:v>
                </c:pt>
                <c:pt idx="88">
                  <c:v>0.16740838935706845</c:v>
                </c:pt>
                <c:pt idx="89">
                  <c:v>0.1644376120932616</c:v>
                </c:pt>
                <c:pt idx="90">
                  <c:v>0.1535372747926243</c:v>
                </c:pt>
                <c:pt idx="91">
                  <c:v>0.1452292565466038</c:v>
                </c:pt>
                <c:pt idx="92">
                  <c:v>0.15778172358260725</c:v>
                </c:pt>
                <c:pt idx="93">
                  <c:v>0.1529416470023597</c:v>
                </c:pt>
                <c:pt idx="94">
                  <c:v>0.15484930007751585</c:v>
                </c:pt>
                <c:pt idx="95">
                  <c:v>0.161292465048318</c:v>
                </c:pt>
                <c:pt idx="96">
                  <c:v>0.16254008052267413</c:v>
                </c:pt>
                <c:pt idx="97">
                  <c:v>0.1687336954197494</c:v>
                </c:pt>
                <c:pt idx="98">
                  <c:v>0.1752648592088791</c:v>
                </c:pt>
                <c:pt idx="99">
                  <c:v>0.17548869236040857</c:v>
                </c:pt>
                <c:pt idx="100">
                  <c:v>0.1780660101518093</c:v>
                </c:pt>
                <c:pt idx="101">
                  <c:v>0.16804971170328814</c:v>
                </c:pt>
                <c:pt idx="102">
                  <c:v>0.1605298013245033</c:v>
                </c:pt>
                <c:pt idx="103">
                  <c:v>0.1623502567027952</c:v>
                </c:pt>
                <c:pt idx="104">
                  <c:v>0.157237936772046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9.1581</c:v>
                </c:pt>
                <c:pt idx="1">
                  <c:v>1244.4935</c:v>
                </c:pt>
                <c:pt idx="2">
                  <c:v>1232.9451</c:v>
                </c:pt>
                <c:pt idx="3">
                  <c:v>1207.2554</c:v>
                </c:pt>
                <c:pt idx="4">
                  <c:v>1218.2851</c:v>
                </c:pt>
                <c:pt idx="5">
                  <c:v>1220.6369</c:v>
                </c:pt>
                <c:pt idx="6">
                  <c:v>1147.6067</c:v>
                </c:pt>
                <c:pt idx="7">
                  <c:v>1167.6036</c:v>
                </c:pt>
                <c:pt idx="8">
                  <c:v>1228.6224</c:v>
                </c:pt>
                <c:pt idx="9">
                  <c:v>1162.8742</c:v>
                </c:pt>
                <c:pt idx="10">
                  <c:v>1188.8372</c:v>
                </c:pt>
                <c:pt idx="11">
                  <c:v>1103.031</c:v>
                </c:pt>
                <c:pt idx="12">
                  <c:v>1145.8063</c:v>
                </c:pt>
                <c:pt idx="13">
                  <c:v>1171.8821</c:v>
                </c:pt>
                <c:pt idx="14">
                  <c:v>1177.0546</c:v>
                </c:pt>
                <c:pt idx="15">
                  <c:v>1188.0573</c:v>
                </c:pt>
                <c:pt idx="16">
                  <c:v>1232.2679</c:v>
                </c:pt>
                <c:pt idx="17">
                  <c:v>1186.695</c:v>
                </c:pt>
                <c:pt idx="18">
                  <c:v>1210.0574</c:v>
                </c:pt>
                <c:pt idx="19">
                  <c:v>1300.9369</c:v>
                </c:pt>
                <c:pt idx="20">
                  <c:v>1282.5496</c:v>
                </c:pt>
                <c:pt idx="21">
                  <c:v>1214.9475</c:v>
                </c:pt>
                <c:pt idx="22">
                  <c:v>1239.5719</c:v>
                </c:pt>
                <c:pt idx="23">
                  <c:v>1226.5287</c:v>
                </c:pt>
                <c:pt idx="24">
                  <c:v>1212.2118</c:v>
                </c:pt>
                <c:pt idx="25">
                  <c:v>1205.8278</c:v>
                </c:pt>
                <c:pt idx="26">
                  <c:v>1221.7157</c:v>
                </c:pt>
                <c:pt idx="27">
                  <c:v>1224.3866</c:v>
                </c:pt>
                <c:pt idx="28">
                  <c:v>1268.7454</c:v>
                </c:pt>
                <c:pt idx="29">
                  <c:v>1264.8765</c:v>
                </c:pt>
                <c:pt idx="30">
                  <c:v>1266.4469</c:v>
                </c:pt>
                <c:pt idx="31">
                  <c:v>1249.6481</c:v>
                </c:pt>
                <c:pt idx="32">
                  <c:v>1273.629</c:v>
                </c:pt>
                <c:pt idx="33">
                  <c:v>1269.1453</c:v>
                </c:pt>
                <c:pt idx="34">
                  <c:v>1281.3986</c:v>
                </c:pt>
                <c:pt idx="35">
                  <c:v>1309.0962</c:v>
                </c:pt>
                <c:pt idx="36">
                  <c:v>1316.1598</c:v>
                </c:pt>
                <c:pt idx="37">
                  <c:v>1322.4665</c:v>
                </c:pt>
                <c:pt idx="38">
                  <c:v>1324.7782</c:v>
                </c:pt>
                <c:pt idx="39">
                  <c:v>1289.4405</c:v>
                </c:pt>
                <c:pt idx="40">
                  <c:v>1308.8448</c:v>
                </c:pt>
                <c:pt idx="41">
                  <c:v>1339.8055</c:v>
                </c:pt>
                <c:pt idx="42">
                  <c:v>1325.9513</c:v>
                </c:pt>
                <c:pt idx="43">
                  <c:v>1333.1331</c:v>
                </c:pt>
                <c:pt idx="44">
                  <c:v>1260.8184</c:v>
                </c:pt>
                <c:pt idx="45">
                  <c:v>1223.2409</c:v>
                </c:pt>
                <c:pt idx="46">
                  <c:v>1217.7941</c:v>
                </c:pt>
                <c:pt idx="47">
                  <c:v>1192.622</c:v>
                </c:pt>
                <c:pt idx="48">
                  <c:v>1174.2261</c:v>
                </c:pt>
                <c:pt idx="49">
                  <c:v>1182.3423</c:v>
                </c:pt>
                <c:pt idx="50">
                  <c:v>1141.208</c:v>
                </c:pt>
                <c:pt idx="51">
                  <c:v>1122.0959</c:v>
                </c:pt>
              </c:numCache>
            </c:numRef>
          </c:xVal>
          <c:yVal>
            <c:numRef>
              <c:f>Sheet1!$B$109:$B$160</c:f>
              <c:numCache>
                <c:formatCode>General</c:formatCode>
                <c:ptCount val="52"/>
                <c:pt idx="0">
                  <c:v>0.17161046922895543</c:v>
                </c:pt>
                <c:pt idx="1">
                  <c:v>0.1659287583014691</c:v>
                </c:pt>
                <c:pt idx="2">
                  <c:v>0.18026123492875412</c:v>
                </c:pt>
                <c:pt idx="3">
                  <c:v>0.19833303052325582</c:v>
                </c:pt>
                <c:pt idx="4">
                  <c:v>0.18442565186751234</c:v>
                </c:pt>
                <c:pt idx="5">
                  <c:v>0.18051201671891326</c:v>
                </c:pt>
                <c:pt idx="6">
                  <c:v>0.1899355489804812</c:v>
                </c:pt>
                <c:pt idx="7">
                  <c:v>0.1877624104717214</c:v>
                </c:pt>
                <c:pt idx="8">
                  <c:v>0.17505425235093522</c:v>
                </c:pt>
                <c:pt idx="9">
                  <c:v>0.18160355085466048</c:v>
                </c:pt>
                <c:pt idx="10">
                  <c:v>0.1846767320102277</c:v>
                </c:pt>
                <c:pt idx="11">
                  <c:v>0.185658130921815</c:v>
                </c:pt>
                <c:pt idx="12">
                  <c:v>0.18300161097541964</c:v>
                </c:pt>
                <c:pt idx="13">
                  <c:v>0.18322615219721328</c:v>
                </c:pt>
                <c:pt idx="14">
                  <c:v>0.182059123343527</c:v>
                </c:pt>
                <c:pt idx="15">
                  <c:v>0.17592679055000468</c:v>
                </c:pt>
                <c:pt idx="16">
                  <c:v>0.16410665372213168</c:v>
                </c:pt>
                <c:pt idx="17">
                  <c:v>0.16779853896699828</c:v>
                </c:pt>
                <c:pt idx="18">
                  <c:v>0.16916015711196433</c:v>
                </c:pt>
                <c:pt idx="19">
                  <c:v>0.1675609756097561</c:v>
                </c:pt>
                <c:pt idx="20">
                  <c:v>0.15900841080123948</c:v>
                </c:pt>
                <c:pt idx="21">
                  <c:v>0.16135394456289978</c:v>
                </c:pt>
                <c:pt idx="22">
                  <c:v>0.15798345888426488</c:v>
                </c:pt>
                <c:pt idx="23">
                  <c:v>0.1678344646376177</c:v>
                </c:pt>
                <c:pt idx="24">
                  <c:v>0.17586403440592777</c:v>
                </c:pt>
                <c:pt idx="25">
                  <c:v>0.17423913043478262</c:v>
                </c:pt>
                <c:pt idx="26">
                  <c:v>0.1662018386530317</c:v>
                </c:pt>
                <c:pt idx="27">
                  <c:v>0.16683440073193045</c:v>
                </c:pt>
                <c:pt idx="28">
                  <c:v>0.1565824328301728</c:v>
                </c:pt>
                <c:pt idx="29">
                  <c:v>0.15659955257270694</c:v>
                </c:pt>
                <c:pt idx="30">
                  <c:v>0.1621467756960977</c:v>
                </c:pt>
                <c:pt idx="31">
                  <c:v>0.15702621895124194</c:v>
                </c:pt>
                <c:pt idx="32">
                  <c:v>0.1539289007273845</c:v>
                </c:pt>
                <c:pt idx="33">
                  <c:v>0.1701701274890206</c:v>
                </c:pt>
                <c:pt idx="34">
                  <c:v>0.1859032923899435</c:v>
                </c:pt>
                <c:pt idx="35">
                  <c:v>0.17813476832983816</c:v>
                </c:pt>
                <c:pt idx="36">
                  <c:v>0.16688650570625682</c:v>
                </c:pt>
                <c:pt idx="37">
                  <c:v>0.15823016246147417</c:v>
                </c:pt>
                <c:pt idx="38">
                  <c:v>0.1577463167587477</c:v>
                </c:pt>
                <c:pt idx="39">
                  <c:v>0.17152681641584425</c:v>
                </c:pt>
                <c:pt idx="40">
                  <c:v>0.16464266992835924</c:v>
                </c:pt>
                <c:pt idx="41">
                  <c:v>0.16797488226059654</c:v>
                </c:pt>
                <c:pt idx="42">
                  <c:v>0.16525791565769635</c:v>
                </c:pt>
                <c:pt idx="43">
                  <c:v>0.1640622305012246</c:v>
                </c:pt>
                <c:pt idx="44">
                  <c:v>0.1642367314009105</c:v>
                </c:pt>
                <c:pt idx="45">
                  <c:v>0.17864914170165067</c:v>
                </c:pt>
                <c:pt idx="46">
                  <c:v>0.1900123726538026</c:v>
                </c:pt>
                <c:pt idx="47">
                  <c:v>0.1911568656495334</c:v>
                </c:pt>
                <c:pt idx="48">
                  <c:v>0.18884271763972574</c:v>
                </c:pt>
                <c:pt idx="49">
                  <c:v>0.19380640258383205</c:v>
                </c:pt>
                <c:pt idx="50">
                  <c:v>0.20203557135368053</c:v>
                </c:pt>
                <c:pt idx="51">
                  <c:v>0.1919633202128119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84.3055979987197</c:v>
                </c:pt>
              </c:numCache>
            </c:numRef>
          </c:xVal>
          <c:yVal>
            <c:numRef>
              <c:f>Sheet1!$B$163:$B$164</c:f>
              <c:numCache>
                <c:formatCode>General</c:formatCode>
                <c:ptCount val="2"/>
                <c:pt idx="0">
                  <c:v>0.22366113162471526</c:v>
                </c:pt>
                <c:pt idx="1">
                  <c:v>0.2236611316247152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84.3055979987197</c:v>
                </c:pt>
                <c:pt idx="1">
                  <c:v>884.3055979987197</c:v>
                </c:pt>
              </c:numCache>
            </c:numRef>
          </c:xVal>
          <c:yVal>
            <c:numRef>
              <c:f>Sheet1!$B$167:$B$168</c:f>
              <c:numCache>
                <c:formatCode>General</c:formatCode>
                <c:ptCount val="2"/>
                <c:pt idx="0">
                  <c:v>0.223661131624715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0.3581514650969</c:v>
                </c:pt>
              </c:numCache>
            </c:numRef>
          </c:xVal>
          <c:yVal>
            <c:numRef>
              <c:f>Sheet1!$B$171:$B$172</c:f>
              <c:numCache>
                <c:formatCode>General</c:formatCode>
                <c:ptCount val="2"/>
                <c:pt idx="0">
                  <c:v>0.19416200294751257</c:v>
                </c:pt>
                <c:pt idx="1">
                  <c:v>0.1941620029475125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0.3581514650969</c:v>
                </c:pt>
                <c:pt idx="1">
                  <c:v>1090.3581514650969</c:v>
                </c:pt>
              </c:numCache>
            </c:numRef>
          </c:xVal>
          <c:yVal>
            <c:numRef>
              <c:f>Sheet1!$B$175:$B$176</c:f>
              <c:numCache>
                <c:formatCode>General</c:formatCode>
                <c:ptCount val="2"/>
                <c:pt idx="0">
                  <c:v>0.1941620029475125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92.4140795032217</c:v>
                </c:pt>
              </c:numCache>
            </c:numRef>
          </c:xVal>
          <c:yVal>
            <c:numRef>
              <c:f>Sheet1!$B$179:$B$180</c:f>
              <c:numCache>
                <c:formatCode>General</c:formatCode>
                <c:ptCount val="2"/>
                <c:pt idx="0">
                  <c:v>0.17955135676612835</c:v>
                </c:pt>
                <c:pt idx="1">
                  <c:v>0.1795513567661283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92.4140795032217</c:v>
                </c:pt>
                <c:pt idx="1">
                  <c:v>1192.4140795032217</c:v>
                </c:pt>
              </c:numCache>
            </c:numRef>
          </c:xVal>
          <c:yVal>
            <c:numRef>
              <c:f>Sheet1!$B$183:$B$184</c:f>
              <c:numCache>
                <c:formatCode>General</c:formatCode>
                <c:ptCount val="2"/>
                <c:pt idx="0">
                  <c:v>0.1795513567661283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9.1581</c:v>
                </c:pt>
                <c:pt idx="1">
                  <c:v>1244.4935</c:v>
                </c:pt>
                <c:pt idx="2">
                  <c:v>1232.9451</c:v>
                </c:pt>
                <c:pt idx="3">
                  <c:v>1207.2554</c:v>
                </c:pt>
                <c:pt idx="4">
                  <c:v>1218.2851</c:v>
                </c:pt>
                <c:pt idx="5">
                  <c:v>1220.6369</c:v>
                </c:pt>
                <c:pt idx="6">
                  <c:v>1147.6067</c:v>
                </c:pt>
                <c:pt idx="7">
                  <c:v>1167.6036</c:v>
                </c:pt>
                <c:pt idx="8">
                  <c:v>1228.6224</c:v>
                </c:pt>
                <c:pt idx="9">
                  <c:v>1162.8742</c:v>
                </c:pt>
                <c:pt idx="10">
                  <c:v>1188.8372</c:v>
                </c:pt>
                <c:pt idx="11">
                  <c:v>1103.031</c:v>
                </c:pt>
                <c:pt idx="12">
                  <c:v>1145.8063</c:v>
                </c:pt>
                <c:pt idx="13">
                  <c:v>1171.8821</c:v>
                </c:pt>
                <c:pt idx="14">
                  <c:v>1177.0546</c:v>
                </c:pt>
                <c:pt idx="15">
                  <c:v>1188.0573</c:v>
                </c:pt>
                <c:pt idx="16">
                  <c:v>1232.2679</c:v>
                </c:pt>
                <c:pt idx="17">
                  <c:v>1186.695</c:v>
                </c:pt>
                <c:pt idx="18">
                  <c:v>1210.0574</c:v>
                </c:pt>
                <c:pt idx="19">
                  <c:v>1300.9369</c:v>
                </c:pt>
                <c:pt idx="20">
                  <c:v>1282.5496</c:v>
                </c:pt>
                <c:pt idx="21">
                  <c:v>1214.9475</c:v>
                </c:pt>
                <c:pt idx="22">
                  <c:v>1239.5719</c:v>
                </c:pt>
                <c:pt idx="23">
                  <c:v>1226.5287</c:v>
                </c:pt>
                <c:pt idx="24">
                  <c:v>1212.2118</c:v>
                </c:pt>
                <c:pt idx="25">
                  <c:v>1205.8278</c:v>
                </c:pt>
                <c:pt idx="26">
                  <c:v>1221.7157</c:v>
                </c:pt>
                <c:pt idx="27">
                  <c:v>1224.3866</c:v>
                </c:pt>
                <c:pt idx="28">
                  <c:v>1268.7454</c:v>
                </c:pt>
                <c:pt idx="29">
                  <c:v>1264.8765</c:v>
                </c:pt>
                <c:pt idx="30">
                  <c:v>1266.4469</c:v>
                </c:pt>
                <c:pt idx="31">
                  <c:v>1249.6481</c:v>
                </c:pt>
                <c:pt idx="32">
                  <c:v>1273.629</c:v>
                </c:pt>
                <c:pt idx="33">
                  <c:v>1269.1453</c:v>
                </c:pt>
                <c:pt idx="34">
                  <c:v>1281.3986</c:v>
                </c:pt>
                <c:pt idx="35">
                  <c:v>1309.0962</c:v>
                </c:pt>
                <c:pt idx="36">
                  <c:v>1316.1598</c:v>
                </c:pt>
                <c:pt idx="37">
                  <c:v>1322.4665</c:v>
                </c:pt>
                <c:pt idx="38">
                  <c:v>1324.7782</c:v>
                </c:pt>
                <c:pt idx="39">
                  <c:v>1289.4405</c:v>
                </c:pt>
                <c:pt idx="40">
                  <c:v>1308.8448</c:v>
                </c:pt>
                <c:pt idx="41">
                  <c:v>1339.8055</c:v>
                </c:pt>
                <c:pt idx="42">
                  <c:v>1325.9513</c:v>
                </c:pt>
                <c:pt idx="43">
                  <c:v>1333.1331</c:v>
                </c:pt>
                <c:pt idx="44">
                  <c:v>1260.8184</c:v>
                </c:pt>
                <c:pt idx="45">
                  <c:v>1223.2409</c:v>
                </c:pt>
                <c:pt idx="46">
                  <c:v>1217.7941</c:v>
                </c:pt>
                <c:pt idx="47">
                  <c:v>1192.622</c:v>
                </c:pt>
                <c:pt idx="48">
                  <c:v>1174.2261</c:v>
                </c:pt>
                <c:pt idx="49">
                  <c:v>1182.3423</c:v>
                </c:pt>
                <c:pt idx="50">
                  <c:v>1141.208</c:v>
                </c:pt>
                <c:pt idx="51">
                  <c:v>1122.0959</c:v>
                </c:pt>
                <c:pt idx="52">
                  <c:v>1090.3581514650969</c:v>
                </c:pt>
                <c:pt idx="53">
                  <c:v>884.3055979987197</c:v>
                </c:pt>
                <c:pt idx="54">
                  <c:v>1192.4140795032217</c:v>
                </c:pt>
              </c:numCache>
            </c:numRef>
          </c:xVal>
          <c:yVal>
            <c:numRef>
              <c:f>Sheet1!$B$187:$B$241</c:f>
              <c:numCache>
                <c:formatCode>General</c:formatCode>
                <c:ptCount val="55"/>
                <c:pt idx="0">
                  <c:v>0.1757225990598622</c:v>
                </c:pt>
                <c:pt idx="1">
                  <c:v>0.172095503874117</c:v>
                </c:pt>
                <c:pt idx="2">
                  <c:v>0.1737488089746112</c:v>
                </c:pt>
                <c:pt idx="3">
                  <c:v>0.17742662685762225</c:v>
                </c:pt>
                <c:pt idx="4">
                  <c:v>0.17584758047310833</c:v>
                </c:pt>
                <c:pt idx="5">
                  <c:v>0.17551088942193743</c:v>
                </c:pt>
                <c:pt idx="6">
                  <c:v>0.18596612150171546</c:v>
                </c:pt>
                <c:pt idx="7">
                  <c:v>0.183103302690099</c:v>
                </c:pt>
                <c:pt idx="8">
                  <c:v>0.17436766024040612</c:v>
                </c:pt>
                <c:pt idx="9">
                  <c:v>0.18378037840121716</c:v>
                </c:pt>
                <c:pt idx="10">
                  <c:v>0.1800634340345404</c:v>
                </c:pt>
                <c:pt idx="11">
                  <c:v>0.19234771827426386</c:v>
                </c:pt>
                <c:pt idx="12">
                  <c:v>0.18622387240252683</c:v>
                </c:pt>
                <c:pt idx="13">
                  <c:v>0.18249077923468834</c:v>
                </c:pt>
                <c:pt idx="14">
                  <c:v>0.1817502679402834</c:v>
                </c:pt>
                <c:pt idx="15">
                  <c:v>0.18017508696030288</c:v>
                </c:pt>
                <c:pt idx="16">
                  <c:v>0.1738457590468337</c:v>
                </c:pt>
                <c:pt idx="17">
                  <c:v>0.18037011809348177</c:v>
                </c:pt>
                <c:pt idx="18">
                  <c:v>0.17702548376493543</c:v>
                </c:pt>
                <c:pt idx="19">
                  <c:v>0.16401489001338893</c:v>
                </c:pt>
                <c:pt idx="20">
                  <c:v>0.16664727344956332</c:v>
                </c:pt>
                <c:pt idx="21">
                  <c:v>0.17632540173868705</c:v>
                </c:pt>
                <c:pt idx="22">
                  <c:v>0.17280009553898767</c:v>
                </c:pt>
                <c:pt idx="23">
                  <c:v>0.17466740088750046</c:v>
                </c:pt>
                <c:pt idx="24">
                  <c:v>0.17671705311579747</c:v>
                </c:pt>
                <c:pt idx="25">
                  <c:v>0.1776310065432467</c:v>
                </c:pt>
                <c:pt idx="26">
                  <c:v>0.17535644503635905</c:v>
                </c:pt>
                <c:pt idx="27">
                  <c:v>0.17497407063012876</c:v>
                </c:pt>
                <c:pt idx="28">
                  <c:v>0.16862352594066524</c:v>
                </c:pt>
                <c:pt idx="29">
                  <c:v>0.16917740977767312</c:v>
                </c:pt>
                <c:pt idx="30">
                  <c:v>0.168952586396961</c:v>
                </c:pt>
                <c:pt idx="31">
                  <c:v>0.17135755519975457</c:v>
                </c:pt>
                <c:pt idx="32">
                  <c:v>0.16792437447476755</c:v>
                </c:pt>
                <c:pt idx="33">
                  <c:v>0.1685662750046319</c:v>
                </c:pt>
                <c:pt idx="34">
                  <c:v>0.1668120542131902</c:v>
                </c:pt>
                <c:pt idx="35">
                  <c:v>0.1628467790797131</c:v>
                </c:pt>
                <c:pt idx="36">
                  <c:v>0.16183553198852726</c:v>
                </c:pt>
                <c:pt idx="37">
                  <c:v>0.16093264507109398</c:v>
                </c:pt>
                <c:pt idx="38">
                  <c:v>0.16060169486147077</c:v>
                </c:pt>
                <c:pt idx="39">
                  <c:v>0.16566075063107807</c:v>
                </c:pt>
                <c:pt idx="40">
                  <c:v>0.16288277029081283</c:v>
                </c:pt>
                <c:pt idx="41">
                  <c:v>0.15845033954500654</c:v>
                </c:pt>
                <c:pt idx="42">
                  <c:v>0.16043375019265177</c:v>
                </c:pt>
                <c:pt idx="43">
                  <c:v>0.15940558121939752</c:v>
                </c:pt>
                <c:pt idx="44">
                  <c:v>0.16975838007904087</c:v>
                </c:pt>
                <c:pt idx="45">
                  <c:v>0.17513809262916208</c:v>
                </c:pt>
                <c:pt idx="46">
                  <c:v>0.17591787357036356</c:v>
                </c:pt>
                <c:pt idx="47">
                  <c:v>0.17952159021683833</c:v>
                </c:pt>
                <c:pt idx="48">
                  <c:v>0.18215520485593817</c:v>
                </c:pt>
                <c:pt idx="49">
                  <c:v>0.18099326425320267</c:v>
                </c:pt>
                <c:pt idx="50">
                  <c:v>0.18688217942718843</c:v>
                </c:pt>
                <c:pt idx="51">
                  <c:v>0.18961832750061458</c:v>
                </c:pt>
                <c:pt idx="52">
                  <c:v>0.19416200294751257</c:v>
                </c:pt>
                <c:pt idx="53">
                  <c:v>0.22366113162471526</c:v>
                </c:pt>
                <c:pt idx="54">
                  <c:v>0.1795513567661283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8.0"/>
          <c:min val="65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20657699980694"/>
          <c:min val="0.11314170263568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989724514654472</c:v>
                </c:pt>
                <c:pt idx="1">
                  <c:v>0.11131059715646627</c:v>
                </c:pt>
                <c:pt idx="2">
                  <c:v>0.11287606289903673</c:v>
                </c:pt>
                <c:pt idx="3">
                  <c:v>0.11173686323234967</c:v>
                </c:pt>
                <c:pt idx="4">
                  <c:v>0.11283115714856203</c:v>
                </c:pt>
                <c:pt idx="5">
                  <c:v>0.1123854995044838</c:v>
                </c:pt>
                <c:pt idx="6">
                  <c:v>0.11134936923494557</c:v>
                </c:pt>
                <c:pt idx="7">
                  <c:v>0.110886479907556</c:v>
                </c:pt>
                <c:pt idx="8">
                  <c:v>0.10885793438415037</c:v>
                </c:pt>
                <c:pt idx="9">
                  <c:v>0.10818042703777496</c:v>
                </c:pt>
                <c:pt idx="10">
                  <c:v>0.1074478695451628</c:v>
                </c:pt>
                <c:pt idx="11">
                  <c:v>0.10942163958977251</c:v>
                </c:pt>
                <c:pt idx="12">
                  <c:v>0.1099308248189149</c:v>
                </c:pt>
                <c:pt idx="13">
                  <c:v>0.10652906558549011</c:v>
                </c:pt>
                <c:pt idx="14">
                  <c:v>0.11248372067939463</c:v>
                </c:pt>
                <c:pt idx="15">
                  <c:v>0.11028088744315975</c:v>
                </c:pt>
                <c:pt idx="16">
                  <c:v>0.10755130554271282</c:v>
                </c:pt>
                <c:pt idx="17">
                  <c:v>0.10214724947989984</c:v>
                </c:pt>
                <c:pt idx="18">
                  <c:v>0.10891638474429305</c:v>
                </c:pt>
                <c:pt idx="19">
                  <c:v>0.10949415770628063</c:v>
                </c:pt>
                <c:pt idx="20">
                  <c:v>0.11156629217901373</c:v>
                </c:pt>
                <c:pt idx="21">
                  <c:v>0.10951584103954055</c:v>
                </c:pt>
                <c:pt idx="22">
                  <c:v>0.09981326628653753</c:v>
                </c:pt>
                <c:pt idx="23">
                  <c:v>0.10097286287339939</c:v>
                </c:pt>
                <c:pt idx="24">
                  <c:v>0.10064807979029144</c:v>
                </c:pt>
                <c:pt idx="25">
                  <c:v>0.09983419272726238</c:v>
                </c:pt>
                <c:pt idx="26">
                  <c:v>0.10503439101731275</c:v>
                </c:pt>
                <c:pt idx="27">
                  <c:v>0.10132115523972202</c:v>
                </c:pt>
                <c:pt idx="28">
                  <c:v>0.10298154010931028</c:v>
                </c:pt>
                <c:pt idx="29">
                  <c:v>0.10445767289288678</c:v>
                </c:pt>
                <c:pt idx="30">
                  <c:v>0.10389456586653868</c:v>
                </c:pt>
                <c:pt idx="31">
                  <c:v>0.10111370002938995</c:v>
                </c:pt>
                <c:pt idx="32">
                  <c:v>0.09660193273957117</c:v>
                </c:pt>
                <c:pt idx="33">
                  <c:v>0.09822360597189339</c:v>
                </c:pt>
                <c:pt idx="34">
                  <c:v>0.0995952145751103</c:v>
                </c:pt>
                <c:pt idx="35">
                  <c:v>0.10647788511333997</c:v>
                </c:pt>
                <c:pt idx="36">
                  <c:v>0.10417075827579797</c:v>
                </c:pt>
                <c:pt idx="37">
                  <c:v>0.10430381705652166</c:v>
                </c:pt>
                <c:pt idx="38">
                  <c:v>0.1093545685458192</c:v>
                </c:pt>
                <c:pt idx="39">
                  <c:v>0.11537517321836194</c:v>
                </c:pt>
                <c:pt idx="40">
                  <c:v>0.11941119442688794</c:v>
                </c:pt>
                <c:pt idx="41">
                  <c:v>0.11997368697359076</c:v>
                </c:pt>
                <c:pt idx="42">
                  <c:v>0.12062300262244752</c:v>
                </c:pt>
                <c:pt idx="43">
                  <c:v>0.12812211461916673</c:v>
                </c:pt>
                <c:pt idx="44">
                  <c:v>0.12771061882104956</c:v>
                </c:pt>
                <c:pt idx="45">
                  <c:v>0.12323612970425243</c:v>
                </c:pt>
                <c:pt idx="46">
                  <c:v>0.12375387490648085</c:v>
                </c:pt>
                <c:pt idx="47">
                  <c:v>0.11831260391503082</c:v>
                </c:pt>
                <c:pt idx="48">
                  <c:v>0.12157693734936892</c:v>
                </c:pt>
                <c:pt idx="49">
                  <c:v>0.12712114246224382</c:v>
                </c:pt>
                <c:pt idx="50">
                  <c:v>0.1143296844135616</c:v>
                </c:pt>
                <c:pt idx="51">
                  <c:v>0.11116199556234957</c:v>
                </c:pt>
                <c:pt idx="52">
                  <c:v>0.11490246741245931</c:v>
                </c:pt>
                <c:pt idx="53">
                  <c:v>0.12961643117594498</c:v>
                </c:pt>
                <c:pt idx="54">
                  <c:v>0.12293475638218153</c:v>
                </c:pt>
                <c:pt idx="55">
                  <c:v>0.12146724233441081</c:v>
                </c:pt>
                <c:pt idx="56">
                  <c:v>0.12042353101189249</c:v>
                </c:pt>
                <c:pt idx="57">
                  <c:v>0.11724922382549174</c:v>
                </c:pt>
                <c:pt idx="58">
                  <c:v>0.11740963778958391</c:v>
                </c:pt>
                <c:pt idx="59">
                  <c:v>0.11721440264848441</c:v>
                </c:pt>
                <c:pt idx="60">
                  <c:v>0.11859275098866306</c:v>
                </c:pt>
                <c:pt idx="61">
                  <c:v>0.12021033543127388</c:v>
                </c:pt>
                <c:pt idx="62">
                  <c:v>0.10977836203239602</c:v>
                </c:pt>
                <c:pt idx="63">
                  <c:v>0.11208022450428602</c:v>
                </c:pt>
                <c:pt idx="64">
                  <c:v>0.11875170696851872</c:v>
                </c:pt>
                <c:pt idx="65">
                  <c:v>0.11415256173306265</c:v>
                </c:pt>
                <c:pt idx="66">
                  <c:v>0.1178300518156836</c:v>
                </c:pt>
                <c:pt idx="67">
                  <c:v>0.12050230596111801</c:v>
                </c:pt>
                <c:pt idx="68">
                  <c:v>0.11935690181342531</c:v>
                </c:pt>
                <c:pt idx="69">
                  <c:v>0.1179590565333499</c:v>
                </c:pt>
                <c:pt idx="70">
                  <c:v>0.11598843344215849</c:v>
                </c:pt>
                <c:pt idx="71">
                  <c:v>0.11913115036910267</c:v>
                </c:pt>
                <c:pt idx="72">
                  <c:v>0.12573935124194816</c:v>
                </c:pt>
                <c:pt idx="73">
                  <c:v>0.12223899292243795</c:v>
                </c:pt>
                <c:pt idx="74">
                  <c:v>0.1206575066455392</c:v>
                </c:pt>
                <c:pt idx="75">
                  <c:v>0.11554231490791216</c:v>
                </c:pt>
                <c:pt idx="76">
                  <c:v>0.1139865673947012</c:v>
                </c:pt>
                <c:pt idx="77">
                  <c:v>0.11394802799939786</c:v>
                </c:pt>
                <c:pt idx="78">
                  <c:v>0.11524989288618336</c:v>
                </c:pt>
                <c:pt idx="79">
                  <c:v>0.1141328938558128</c:v>
                </c:pt>
                <c:pt idx="80">
                  <c:v>0.11276722719595501</c:v>
                </c:pt>
                <c:pt idx="81">
                  <c:v>0.11471827131056694</c:v>
                </c:pt>
                <c:pt idx="82">
                  <c:v>0.1161523657735585</c:v>
                </c:pt>
                <c:pt idx="83">
                  <c:v>0.10736048552793229</c:v>
                </c:pt>
                <c:pt idx="84">
                  <c:v>0.11233130392414932</c:v>
                </c:pt>
                <c:pt idx="85">
                  <c:v>0.10816891593850217</c:v>
                </c:pt>
                <c:pt idx="86">
                  <c:v>0.11158762778603798</c:v>
                </c:pt>
                <c:pt idx="87">
                  <c:v>0.11003000278429582</c:v>
                </c:pt>
                <c:pt idx="88">
                  <c:v>0.11395648578253939</c:v>
                </c:pt>
                <c:pt idx="89">
                  <c:v>0.10984489903801505</c:v>
                </c:pt>
                <c:pt idx="90">
                  <c:v>0.11650499591743235</c:v>
                </c:pt>
                <c:pt idx="91">
                  <c:v>0.11790780420356865</c:v>
                </c:pt>
                <c:pt idx="92">
                  <c:v>0.11435904476614785</c:v>
                </c:pt>
                <c:pt idx="93">
                  <c:v>0.11634948141727858</c:v>
                </c:pt>
                <c:pt idx="94">
                  <c:v>0.11375985706989965</c:v>
                </c:pt>
                <c:pt idx="95">
                  <c:v>0.11147334207591457</c:v>
                </c:pt>
                <c:pt idx="96">
                  <c:v>0.11206308452284446</c:v>
                </c:pt>
                <c:pt idx="97">
                  <c:v>0.11154716225594216</c:v>
                </c:pt>
                <c:pt idx="98">
                  <c:v>0.11081799303892982</c:v>
                </c:pt>
                <c:pt idx="99">
                  <c:v>0.11022458901523857</c:v>
                </c:pt>
                <c:pt idx="100">
                  <c:v>0.11173256280600369</c:v>
                </c:pt>
                <c:pt idx="101">
                  <c:v>0.11376676578931044</c:v>
                </c:pt>
                <c:pt idx="102">
                  <c:v>0.11145686587509525</c:v>
                </c:pt>
                <c:pt idx="103">
                  <c:v>0.11021587525291665</c:v>
                </c:pt>
                <c:pt idx="104">
                  <c:v>0.11187220882881665</c:v>
                </c:pt>
              </c:numCache>
            </c:numRef>
          </c:xVal>
          <c:yVal>
            <c:numRef>
              <c:f>Sheet1!$B$2:$B$106</c:f>
              <c:numCache>
                <c:formatCode>General</c:formatCode>
                <c:ptCount val="105"/>
                <c:pt idx="0">
                  <c:v>0.21020646867371848</c:v>
                </c:pt>
                <c:pt idx="1">
                  <c:v>0.19998409879945936</c:v>
                </c:pt>
                <c:pt idx="2">
                  <c:v>0.20379256370121374</c:v>
                </c:pt>
                <c:pt idx="3">
                  <c:v>0.20844547314027345</c:v>
                </c:pt>
                <c:pt idx="4">
                  <c:v>0.21889864325618516</c:v>
                </c:pt>
                <c:pt idx="5">
                  <c:v>0.22279337606142435</c:v>
                </c:pt>
                <c:pt idx="6">
                  <c:v>0.25172147499839115</c:v>
                </c:pt>
                <c:pt idx="7">
                  <c:v>0.25146799765120376</c:v>
                </c:pt>
                <c:pt idx="8">
                  <c:v>0.2456400883405681</c:v>
                </c:pt>
                <c:pt idx="9">
                  <c:v>0.23977286240932336</c:v>
                </c:pt>
                <c:pt idx="10">
                  <c:v>0.23185535944898839</c:v>
                </c:pt>
                <c:pt idx="11">
                  <c:v>0.2112331761187162</c:v>
                </c:pt>
                <c:pt idx="12">
                  <c:v>0.20288239509515088</c:v>
                </c:pt>
                <c:pt idx="13">
                  <c:v>0.19351573264347777</c:v>
                </c:pt>
                <c:pt idx="14">
                  <c:v>0.17355556174921263</c:v>
                </c:pt>
                <c:pt idx="15">
                  <c:v>0.17153731590269733</c:v>
                </c:pt>
                <c:pt idx="16">
                  <c:v>0.16137339055793992</c:v>
                </c:pt>
                <c:pt idx="17">
                  <c:v>0.15487087283425957</c:v>
                </c:pt>
                <c:pt idx="18">
                  <c:v>0.14542892212574443</c:v>
                </c:pt>
                <c:pt idx="19">
                  <c:v>0.14849703640982218</c:v>
                </c:pt>
                <c:pt idx="20">
                  <c:v>0.1512384780044559</c:v>
                </c:pt>
                <c:pt idx="21">
                  <c:v>0.1542627262881015</c:v>
                </c:pt>
                <c:pt idx="22">
                  <c:v>0.17664387164650183</c:v>
                </c:pt>
                <c:pt idx="23">
                  <c:v>0.17933842806939254</c:v>
                </c:pt>
                <c:pt idx="24">
                  <c:v>0.1833583752137195</c:v>
                </c:pt>
                <c:pt idx="25">
                  <c:v>0.18293678563097737</c:v>
                </c:pt>
                <c:pt idx="26">
                  <c:v>0.20214267049908544</c:v>
                </c:pt>
                <c:pt idx="27">
                  <c:v>0.211397612119996</c:v>
                </c:pt>
                <c:pt idx="28">
                  <c:v>0.206163927712077</c:v>
                </c:pt>
                <c:pt idx="29">
                  <c:v>0.20307498083772937</c:v>
                </c:pt>
                <c:pt idx="30">
                  <c:v>0.20531302679765157</c:v>
                </c:pt>
                <c:pt idx="31">
                  <c:v>0.20395755029847445</c:v>
                </c:pt>
                <c:pt idx="32">
                  <c:v>0.21359064071725345</c:v>
                </c:pt>
                <c:pt idx="33">
                  <c:v>0.20973176388220366</c:v>
                </c:pt>
                <c:pt idx="34">
                  <c:v>0.21168379383421967</c:v>
                </c:pt>
                <c:pt idx="35">
                  <c:v>0.23083929294292269</c:v>
                </c:pt>
                <c:pt idx="36">
                  <c:v>0.192742538864411</c:v>
                </c:pt>
                <c:pt idx="37">
                  <c:v>0.20033653846153845</c:v>
                </c:pt>
                <c:pt idx="38">
                  <c:v>0.18773207310604234</c:v>
                </c:pt>
                <c:pt idx="39">
                  <c:v>0.17446483180428135</c:v>
                </c:pt>
                <c:pt idx="40">
                  <c:v>0.17987973900806004</c:v>
                </c:pt>
                <c:pt idx="41">
                  <c:v>0.17108289631060816</c:v>
                </c:pt>
                <c:pt idx="42">
                  <c:v>0.1702286184855496</c:v>
                </c:pt>
                <c:pt idx="43">
                  <c:v>0.1728169656964292</c:v>
                </c:pt>
                <c:pt idx="44">
                  <c:v>0.17103670835014118</c:v>
                </c:pt>
                <c:pt idx="45">
                  <c:v>0.18516640952171037</c:v>
                </c:pt>
                <c:pt idx="46">
                  <c:v>0.19015579233348898</c:v>
                </c:pt>
                <c:pt idx="47">
                  <c:v>0.18210794275568484</c:v>
                </c:pt>
                <c:pt idx="48">
                  <c:v>0.18136631975163672</c:v>
                </c:pt>
                <c:pt idx="49">
                  <c:v>0.1898583998857532</c:v>
                </c:pt>
                <c:pt idx="50">
                  <c:v>0.18103877771319438</c:v>
                </c:pt>
                <c:pt idx="51">
                  <c:v>0.17596993753577383</c:v>
                </c:pt>
                <c:pt idx="52">
                  <c:v>0.17994396800615925</c:v>
                </c:pt>
                <c:pt idx="53">
                  <c:v>0.17098018353504454</c:v>
                </c:pt>
                <c:pt idx="54">
                  <c:v>0.17911866359447004</c:v>
                </c:pt>
                <c:pt idx="55">
                  <c:v>0.17743525405502286</c:v>
                </c:pt>
                <c:pt idx="56">
                  <c:v>0.17281342427717752</c:v>
                </c:pt>
                <c:pt idx="57">
                  <c:v>0.1709137574313176</c:v>
                </c:pt>
                <c:pt idx="58">
                  <c:v>0.18198158808812456</c:v>
                </c:pt>
                <c:pt idx="59">
                  <c:v>0.18307776384736554</c:v>
                </c:pt>
                <c:pt idx="60">
                  <c:v>0.18700290979631426</c:v>
                </c:pt>
                <c:pt idx="61">
                  <c:v>0.18054056646761157</c:v>
                </c:pt>
                <c:pt idx="62">
                  <c:v>0.19009002656136145</c:v>
                </c:pt>
                <c:pt idx="63">
                  <c:v>0.19600309105739921</c:v>
                </c:pt>
                <c:pt idx="64">
                  <c:v>0.18459062310570432</c:v>
                </c:pt>
                <c:pt idx="65">
                  <c:v>0.179037306101935</c:v>
                </c:pt>
                <c:pt idx="66">
                  <c:v>0.17705924002832193</c:v>
                </c:pt>
                <c:pt idx="67">
                  <c:v>0.165002435460302</c:v>
                </c:pt>
                <c:pt idx="68">
                  <c:v>0.1568587306229892</c:v>
                </c:pt>
                <c:pt idx="69">
                  <c:v>0.15326821938392185</c:v>
                </c:pt>
                <c:pt idx="70">
                  <c:v>0.1520919248528427</c:v>
                </c:pt>
                <c:pt idx="71">
                  <c:v>0.1501281857939979</c:v>
                </c:pt>
                <c:pt idx="72">
                  <c:v>0.1519796585543044</c:v>
                </c:pt>
                <c:pt idx="73">
                  <c:v>0.1523521632344606</c:v>
                </c:pt>
                <c:pt idx="74">
                  <c:v>0.1514309430149049</c:v>
                </c:pt>
                <c:pt idx="75">
                  <c:v>0.16235595390524968</c:v>
                </c:pt>
                <c:pt idx="76">
                  <c:v>0.16577613371694752</c:v>
                </c:pt>
                <c:pt idx="77">
                  <c:v>0.155979908593149</c:v>
                </c:pt>
                <c:pt idx="78">
                  <c:v>0.15918260413937646</c:v>
                </c:pt>
                <c:pt idx="79">
                  <c:v>0.15380752373995618</c:v>
                </c:pt>
                <c:pt idx="80">
                  <c:v>0.14142712829460924</c:v>
                </c:pt>
                <c:pt idx="81">
                  <c:v>0.148257712551385</c:v>
                </c:pt>
                <c:pt idx="82">
                  <c:v>0.1528003546623319</c:v>
                </c:pt>
                <c:pt idx="83">
                  <c:v>0.14571476869330027</c:v>
                </c:pt>
                <c:pt idx="84">
                  <c:v>0.1516840607210626</c:v>
                </c:pt>
                <c:pt idx="85">
                  <c:v>0.15782255512184828</c:v>
                </c:pt>
                <c:pt idx="86">
                  <c:v>0.1641406126011744</c:v>
                </c:pt>
                <c:pt idx="87">
                  <c:v>0.18383226647245965</c:v>
                </c:pt>
                <c:pt idx="88">
                  <c:v>0.16740838935706845</c:v>
                </c:pt>
                <c:pt idx="89">
                  <c:v>0.1644376120932616</c:v>
                </c:pt>
                <c:pt idx="90">
                  <c:v>0.1535372747926243</c:v>
                </c:pt>
                <c:pt idx="91">
                  <c:v>0.1452292565466038</c:v>
                </c:pt>
                <c:pt idx="92">
                  <c:v>0.15778172358260725</c:v>
                </c:pt>
                <c:pt idx="93">
                  <c:v>0.1529416470023597</c:v>
                </c:pt>
                <c:pt idx="94">
                  <c:v>0.15484930007751585</c:v>
                </c:pt>
                <c:pt idx="95">
                  <c:v>0.161292465048318</c:v>
                </c:pt>
                <c:pt idx="96">
                  <c:v>0.16254008052267413</c:v>
                </c:pt>
                <c:pt idx="97">
                  <c:v>0.1687336954197494</c:v>
                </c:pt>
                <c:pt idx="98">
                  <c:v>0.1752648592088791</c:v>
                </c:pt>
                <c:pt idx="99">
                  <c:v>0.17548869236040857</c:v>
                </c:pt>
                <c:pt idx="100">
                  <c:v>0.1780660101518093</c:v>
                </c:pt>
                <c:pt idx="101">
                  <c:v>0.16804971170328814</c:v>
                </c:pt>
                <c:pt idx="102">
                  <c:v>0.1605298013245033</c:v>
                </c:pt>
                <c:pt idx="103">
                  <c:v>0.1623502567027952</c:v>
                </c:pt>
                <c:pt idx="104">
                  <c:v>0.157237936772046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839445349535803</c:v>
                </c:pt>
                <c:pt idx="1">
                  <c:v>0.12311261172874109</c:v>
                </c:pt>
                <c:pt idx="2">
                  <c:v>0.11981617223401961</c:v>
                </c:pt>
                <c:pt idx="3">
                  <c:v>0.11832707271814698</c:v>
                </c:pt>
                <c:pt idx="4">
                  <c:v>0.1184745015987203</c:v>
                </c:pt>
                <c:pt idx="5">
                  <c:v>0.11750947515449127</c:v>
                </c:pt>
                <c:pt idx="6">
                  <c:v>0.11080845914717476</c:v>
                </c:pt>
                <c:pt idx="7">
                  <c:v>0.11307940048616826</c:v>
                </c:pt>
                <c:pt idx="8">
                  <c:v>0.11846267714154868</c:v>
                </c:pt>
                <c:pt idx="9">
                  <c:v>0.11542772927794269</c:v>
                </c:pt>
                <c:pt idx="10">
                  <c:v>0.1169778881712213</c:v>
                </c:pt>
                <c:pt idx="11">
                  <c:v>0.10766297559295254</c:v>
                </c:pt>
                <c:pt idx="12">
                  <c:v>0.11154957374823238</c:v>
                </c:pt>
                <c:pt idx="13">
                  <c:v>0.11241216987617475</c:v>
                </c:pt>
                <c:pt idx="14">
                  <c:v>0.11112608143815743</c:v>
                </c:pt>
                <c:pt idx="15">
                  <c:v>0.10911712549536716</c:v>
                </c:pt>
                <c:pt idx="16">
                  <c:v>0.11303408701719656</c:v>
                </c:pt>
                <c:pt idx="17">
                  <c:v>0.10866011785941174</c:v>
                </c:pt>
                <c:pt idx="18">
                  <c:v>0.10935190911830656</c:v>
                </c:pt>
                <c:pt idx="19">
                  <c:v>0.12066485161603023</c:v>
                </c:pt>
                <c:pt idx="20">
                  <c:v>0.11749888204022868</c:v>
                </c:pt>
                <c:pt idx="21">
                  <c:v>0.11383996838204209</c:v>
                </c:pt>
                <c:pt idx="22">
                  <c:v>0.11594806576263912</c:v>
                </c:pt>
                <c:pt idx="23">
                  <c:v>0.11671333758725178</c:v>
                </c:pt>
                <c:pt idx="24">
                  <c:v>0.11254087110056919</c:v>
                </c:pt>
                <c:pt idx="25">
                  <c:v>0.11154331530485992</c:v>
                </c:pt>
                <c:pt idx="26">
                  <c:v>0.1113841508762949</c:v>
                </c:pt>
                <c:pt idx="27">
                  <c:v>0.11145814870940994</c:v>
                </c:pt>
                <c:pt idx="28">
                  <c:v>0.11714533957124641</c:v>
                </c:pt>
                <c:pt idx="29">
                  <c:v>0.11747936080826857</c:v>
                </c:pt>
                <c:pt idx="30">
                  <c:v>0.11947153313129329</c:v>
                </c:pt>
                <c:pt idx="31">
                  <c:v>0.11687237179972608</c:v>
                </c:pt>
                <c:pt idx="32">
                  <c:v>0.12016662890001814</c:v>
                </c:pt>
                <c:pt idx="33">
                  <c:v>0.12197962354631518</c:v>
                </c:pt>
                <c:pt idx="34">
                  <c:v>0.11909611323359275</c:v>
                </c:pt>
                <c:pt idx="35">
                  <c:v>0.11837840091684161</c:v>
                </c:pt>
                <c:pt idx="36">
                  <c:v>0.1194616213463035</c:v>
                </c:pt>
                <c:pt idx="37">
                  <c:v>0.11900521787883217</c:v>
                </c:pt>
                <c:pt idx="38">
                  <c:v>0.11871977045412745</c:v>
                </c:pt>
                <c:pt idx="39">
                  <c:v>0.1167705930639595</c:v>
                </c:pt>
                <c:pt idx="40">
                  <c:v>0.12012184607888836</c:v>
                </c:pt>
                <c:pt idx="41">
                  <c:v>0.1241132155029646</c:v>
                </c:pt>
                <c:pt idx="42">
                  <c:v>0.12112207629937016</c:v>
                </c:pt>
                <c:pt idx="43">
                  <c:v>0.12510731714362283</c:v>
                </c:pt>
                <c:pt idx="44">
                  <c:v>0.12172819930261033</c:v>
                </c:pt>
                <c:pt idx="45">
                  <c:v>0.12103243428199127</c:v>
                </c:pt>
                <c:pt idx="46">
                  <c:v>0.11935486159953657</c:v>
                </c:pt>
                <c:pt idx="47">
                  <c:v>0.11560372924198416</c:v>
                </c:pt>
                <c:pt idx="48">
                  <c:v>0.11415058507290587</c:v>
                </c:pt>
                <c:pt idx="49">
                  <c:v>0.11839549532022071</c:v>
                </c:pt>
                <c:pt idx="50">
                  <c:v>0.11872034924926655</c:v>
                </c:pt>
                <c:pt idx="51">
                  <c:v>0.11095702828522629</c:v>
                </c:pt>
              </c:numCache>
            </c:numRef>
          </c:xVal>
          <c:yVal>
            <c:numRef>
              <c:f>Sheet1!$B$109:$B$160</c:f>
              <c:numCache>
                <c:formatCode>General</c:formatCode>
                <c:ptCount val="52"/>
                <c:pt idx="0">
                  <c:v>0.17161046922895543</c:v>
                </c:pt>
                <c:pt idx="1">
                  <c:v>0.1659287583014691</c:v>
                </c:pt>
                <c:pt idx="2">
                  <c:v>0.18026123492875412</c:v>
                </c:pt>
                <c:pt idx="3">
                  <c:v>0.19833303052325582</c:v>
                </c:pt>
                <c:pt idx="4">
                  <c:v>0.18442565186751234</c:v>
                </c:pt>
                <c:pt idx="5">
                  <c:v>0.18051201671891326</c:v>
                </c:pt>
                <c:pt idx="6">
                  <c:v>0.1899355489804812</c:v>
                </c:pt>
                <c:pt idx="7">
                  <c:v>0.1877624104717214</c:v>
                </c:pt>
                <c:pt idx="8">
                  <c:v>0.17505425235093522</c:v>
                </c:pt>
                <c:pt idx="9">
                  <c:v>0.18160355085466048</c:v>
                </c:pt>
                <c:pt idx="10">
                  <c:v>0.1846767320102277</c:v>
                </c:pt>
                <c:pt idx="11">
                  <c:v>0.185658130921815</c:v>
                </c:pt>
                <c:pt idx="12">
                  <c:v>0.18300161097541964</c:v>
                </c:pt>
                <c:pt idx="13">
                  <c:v>0.18322615219721328</c:v>
                </c:pt>
                <c:pt idx="14">
                  <c:v>0.182059123343527</c:v>
                </c:pt>
                <c:pt idx="15">
                  <c:v>0.17592679055000468</c:v>
                </c:pt>
                <c:pt idx="16">
                  <c:v>0.16410665372213168</c:v>
                </c:pt>
                <c:pt idx="17">
                  <c:v>0.16779853896699828</c:v>
                </c:pt>
                <c:pt idx="18">
                  <c:v>0.16916015711196433</c:v>
                </c:pt>
                <c:pt idx="19">
                  <c:v>0.1675609756097561</c:v>
                </c:pt>
                <c:pt idx="20">
                  <c:v>0.15900841080123948</c:v>
                </c:pt>
                <c:pt idx="21">
                  <c:v>0.16135394456289978</c:v>
                </c:pt>
                <c:pt idx="22">
                  <c:v>0.15798345888426488</c:v>
                </c:pt>
                <c:pt idx="23">
                  <c:v>0.1678344646376177</c:v>
                </c:pt>
                <c:pt idx="24">
                  <c:v>0.17586403440592777</c:v>
                </c:pt>
                <c:pt idx="25">
                  <c:v>0.17423913043478262</c:v>
                </c:pt>
                <c:pt idx="26">
                  <c:v>0.1662018386530317</c:v>
                </c:pt>
                <c:pt idx="27">
                  <c:v>0.16683440073193045</c:v>
                </c:pt>
                <c:pt idx="28">
                  <c:v>0.1565824328301728</c:v>
                </c:pt>
                <c:pt idx="29">
                  <c:v>0.15659955257270694</c:v>
                </c:pt>
                <c:pt idx="30">
                  <c:v>0.1621467756960977</c:v>
                </c:pt>
                <c:pt idx="31">
                  <c:v>0.15702621895124194</c:v>
                </c:pt>
                <c:pt idx="32">
                  <c:v>0.1539289007273845</c:v>
                </c:pt>
                <c:pt idx="33">
                  <c:v>0.1701701274890206</c:v>
                </c:pt>
                <c:pt idx="34">
                  <c:v>0.1859032923899435</c:v>
                </c:pt>
                <c:pt idx="35">
                  <c:v>0.17813476832983816</c:v>
                </c:pt>
                <c:pt idx="36">
                  <c:v>0.16688650570625682</c:v>
                </c:pt>
                <c:pt idx="37">
                  <c:v>0.15823016246147417</c:v>
                </c:pt>
                <c:pt idx="38">
                  <c:v>0.1577463167587477</c:v>
                </c:pt>
                <c:pt idx="39">
                  <c:v>0.17152681641584425</c:v>
                </c:pt>
                <c:pt idx="40">
                  <c:v>0.16464266992835924</c:v>
                </c:pt>
                <c:pt idx="41">
                  <c:v>0.16797488226059654</c:v>
                </c:pt>
                <c:pt idx="42">
                  <c:v>0.16525791565769635</c:v>
                </c:pt>
                <c:pt idx="43">
                  <c:v>0.1640622305012246</c:v>
                </c:pt>
                <c:pt idx="44">
                  <c:v>0.1642367314009105</c:v>
                </c:pt>
                <c:pt idx="45">
                  <c:v>0.17864914170165067</c:v>
                </c:pt>
                <c:pt idx="46">
                  <c:v>0.1900123726538026</c:v>
                </c:pt>
                <c:pt idx="47">
                  <c:v>0.1911568656495334</c:v>
                </c:pt>
                <c:pt idx="48">
                  <c:v>0.18884271763972574</c:v>
                </c:pt>
                <c:pt idx="49">
                  <c:v>0.19380640258383205</c:v>
                </c:pt>
                <c:pt idx="50">
                  <c:v>0.20203557135368053</c:v>
                </c:pt>
                <c:pt idx="51">
                  <c:v>0.1919633202128119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4400749628131492</c:v>
                </c:pt>
              </c:numCache>
            </c:numRef>
          </c:xVal>
          <c:yVal>
            <c:numRef>
              <c:f>Sheet1!$B$163:$B$164</c:f>
              <c:numCache>
                <c:formatCode>General</c:formatCode>
                <c:ptCount val="2"/>
                <c:pt idx="0">
                  <c:v>0.22366113162471526</c:v>
                </c:pt>
                <c:pt idx="1">
                  <c:v>0.2236611316247152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4400749628131492</c:v>
                </c:pt>
                <c:pt idx="1">
                  <c:v>0.04400749628131492</c:v>
                </c:pt>
              </c:numCache>
            </c:numRef>
          </c:xVal>
          <c:yVal>
            <c:numRef>
              <c:f>Sheet1!$B$167:$B$168</c:f>
              <c:numCache>
                <c:formatCode>General</c:formatCode>
                <c:ptCount val="2"/>
                <c:pt idx="0">
                  <c:v>0.223661131624715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70471846962209</c:v>
                </c:pt>
              </c:numCache>
            </c:numRef>
          </c:xVal>
          <c:yVal>
            <c:numRef>
              <c:f>Sheet1!$B$171:$B$172</c:f>
              <c:numCache>
                <c:formatCode>General</c:formatCode>
                <c:ptCount val="2"/>
                <c:pt idx="0">
                  <c:v>0.19416200294751257</c:v>
                </c:pt>
                <c:pt idx="1">
                  <c:v>0.1941620029475125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70471846962209</c:v>
                </c:pt>
                <c:pt idx="1">
                  <c:v>0.0870471846962209</c:v>
                </c:pt>
              </c:numCache>
            </c:numRef>
          </c:xVal>
          <c:yVal>
            <c:numRef>
              <c:f>Sheet1!$B$175:$B$176</c:f>
              <c:numCache>
                <c:formatCode>General</c:formatCode>
                <c:ptCount val="2"/>
                <c:pt idx="0">
                  <c:v>0.1941620029475125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083643451475798</c:v>
                </c:pt>
              </c:numCache>
            </c:numRef>
          </c:xVal>
          <c:yVal>
            <c:numRef>
              <c:f>Sheet1!$B$179:$B$180</c:f>
              <c:numCache>
                <c:formatCode>General</c:formatCode>
                <c:ptCount val="2"/>
                <c:pt idx="0">
                  <c:v>0.17955135676612835</c:v>
                </c:pt>
                <c:pt idx="1">
                  <c:v>0.1795513567661283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083643451475798</c:v>
                </c:pt>
                <c:pt idx="1">
                  <c:v>0.1083643451475798</c:v>
                </c:pt>
              </c:numCache>
            </c:numRef>
          </c:xVal>
          <c:yVal>
            <c:numRef>
              <c:f>Sheet1!$B$183:$B$184</c:f>
              <c:numCache>
                <c:formatCode>General</c:formatCode>
                <c:ptCount val="2"/>
                <c:pt idx="0">
                  <c:v>0.1795513567661283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839445349535803</c:v>
                </c:pt>
                <c:pt idx="1">
                  <c:v>0.12311261172874109</c:v>
                </c:pt>
                <c:pt idx="2">
                  <c:v>0.11981617223401961</c:v>
                </c:pt>
                <c:pt idx="3">
                  <c:v>0.11832707271814698</c:v>
                </c:pt>
                <c:pt idx="4">
                  <c:v>0.1184745015987203</c:v>
                </c:pt>
                <c:pt idx="5">
                  <c:v>0.11750947515449127</c:v>
                </c:pt>
                <c:pt idx="6">
                  <c:v>0.11080845914717476</c:v>
                </c:pt>
                <c:pt idx="7">
                  <c:v>0.11307940048616826</c:v>
                </c:pt>
                <c:pt idx="8">
                  <c:v>0.11846267714154868</c:v>
                </c:pt>
                <c:pt idx="9">
                  <c:v>0.11542772927794269</c:v>
                </c:pt>
                <c:pt idx="10">
                  <c:v>0.1169778881712213</c:v>
                </c:pt>
                <c:pt idx="11">
                  <c:v>0.10766297559295254</c:v>
                </c:pt>
                <c:pt idx="12">
                  <c:v>0.11154957374823238</c:v>
                </c:pt>
                <c:pt idx="13">
                  <c:v>0.11241216987617475</c:v>
                </c:pt>
                <c:pt idx="14">
                  <c:v>0.11112608143815743</c:v>
                </c:pt>
                <c:pt idx="15">
                  <c:v>0.10911712549536716</c:v>
                </c:pt>
                <c:pt idx="16">
                  <c:v>0.11303408701719656</c:v>
                </c:pt>
                <c:pt idx="17">
                  <c:v>0.10866011785941174</c:v>
                </c:pt>
                <c:pt idx="18">
                  <c:v>0.10935190911830656</c:v>
                </c:pt>
                <c:pt idx="19">
                  <c:v>0.12066485161603023</c:v>
                </c:pt>
                <c:pt idx="20">
                  <c:v>0.11749888204022868</c:v>
                </c:pt>
                <c:pt idx="21">
                  <c:v>0.11383996838204209</c:v>
                </c:pt>
                <c:pt idx="22">
                  <c:v>0.11594806576263912</c:v>
                </c:pt>
                <c:pt idx="23">
                  <c:v>0.11671333758725178</c:v>
                </c:pt>
                <c:pt idx="24">
                  <c:v>0.11254087110056919</c:v>
                </c:pt>
                <c:pt idx="25">
                  <c:v>0.11154331530485992</c:v>
                </c:pt>
                <c:pt idx="26">
                  <c:v>0.1113841508762949</c:v>
                </c:pt>
                <c:pt idx="27">
                  <c:v>0.11145814870940994</c:v>
                </c:pt>
                <c:pt idx="28">
                  <c:v>0.11714533957124641</c:v>
                </c:pt>
                <c:pt idx="29">
                  <c:v>0.11747936080826857</c:v>
                </c:pt>
                <c:pt idx="30">
                  <c:v>0.11947153313129329</c:v>
                </c:pt>
                <c:pt idx="31">
                  <c:v>0.11687237179972608</c:v>
                </c:pt>
                <c:pt idx="32">
                  <c:v>0.12016662890001814</c:v>
                </c:pt>
                <c:pt idx="33">
                  <c:v>0.12197962354631518</c:v>
                </c:pt>
                <c:pt idx="34">
                  <c:v>0.11909611323359275</c:v>
                </c:pt>
                <c:pt idx="35">
                  <c:v>0.11837840091684161</c:v>
                </c:pt>
                <c:pt idx="36">
                  <c:v>0.1194616213463035</c:v>
                </c:pt>
                <c:pt idx="37">
                  <c:v>0.11900521787883217</c:v>
                </c:pt>
                <c:pt idx="38">
                  <c:v>0.11871977045412745</c:v>
                </c:pt>
                <c:pt idx="39">
                  <c:v>0.1167705930639595</c:v>
                </c:pt>
                <c:pt idx="40">
                  <c:v>0.12012184607888836</c:v>
                </c:pt>
                <c:pt idx="41">
                  <c:v>0.1241132155029646</c:v>
                </c:pt>
                <c:pt idx="42">
                  <c:v>0.12112207629937016</c:v>
                </c:pt>
                <c:pt idx="43">
                  <c:v>0.12510731714362283</c:v>
                </c:pt>
                <c:pt idx="44">
                  <c:v>0.12172819930261033</c:v>
                </c:pt>
                <c:pt idx="45">
                  <c:v>0.12103243428199127</c:v>
                </c:pt>
                <c:pt idx="46">
                  <c:v>0.11935486159953657</c:v>
                </c:pt>
                <c:pt idx="47">
                  <c:v>0.11560372924198416</c:v>
                </c:pt>
                <c:pt idx="48">
                  <c:v>0.11415058507290587</c:v>
                </c:pt>
                <c:pt idx="49">
                  <c:v>0.11839549532022071</c:v>
                </c:pt>
                <c:pt idx="50">
                  <c:v>0.11872034924926655</c:v>
                </c:pt>
                <c:pt idx="51">
                  <c:v>0.11095702828522629</c:v>
                </c:pt>
                <c:pt idx="52">
                  <c:v>0.0870471846962209</c:v>
                </c:pt>
                <c:pt idx="53">
                  <c:v>0.04400749628131492</c:v>
                </c:pt>
                <c:pt idx="54">
                  <c:v>0.1083643451475798</c:v>
                </c:pt>
              </c:numCache>
            </c:numRef>
          </c:xVal>
          <c:yVal>
            <c:numRef>
              <c:f>Sheet1!$B$187:$B$241</c:f>
              <c:numCache>
                <c:formatCode>General</c:formatCode>
                <c:ptCount val="55"/>
                <c:pt idx="0">
                  <c:v>0.17267678430303118</c:v>
                </c:pt>
                <c:pt idx="1">
                  <c:v>0.16944298866064061</c:v>
                </c:pt>
                <c:pt idx="2">
                  <c:v>0.17170234732267323</c:v>
                </c:pt>
                <c:pt idx="3">
                  <c:v>0.172722966659143</c:v>
                </c:pt>
                <c:pt idx="4">
                  <c:v>0.1726219198421483</c:v>
                </c:pt>
                <c:pt idx="5">
                  <c:v>0.17328334282878305</c:v>
                </c:pt>
                <c:pt idx="6">
                  <c:v>0.1778761765770721</c:v>
                </c:pt>
                <c:pt idx="7">
                  <c:v>0.17631968782809343</c:v>
                </c:pt>
                <c:pt idx="8">
                  <c:v>0.172630024249882</c:v>
                </c:pt>
                <c:pt idx="9">
                  <c:v>0.1747101582112168</c:v>
                </c:pt>
                <c:pt idx="10">
                  <c:v>0.1736476891658531</c:v>
                </c:pt>
                <c:pt idx="11">
                  <c:v>0.18003207099767135</c:v>
                </c:pt>
                <c:pt idx="12">
                  <c:v>0.17736822134351188</c:v>
                </c:pt>
                <c:pt idx="13">
                  <c:v>0.17677700344413194</c:v>
                </c:pt>
                <c:pt idx="14">
                  <c:v>0.17765848027913142</c:v>
                </c:pt>
                <c:pt idx="15">
                  <c:v>0.17903540590396183</c:v>
                </c:pt>
                <c:pt idx="16">
                  <c:v>0.17635074539150145</c:v>
                </c:pt>
                <c:pt idx="17">
                  <c:v>0.17934863603075907</c:v>
                </c:pt>
                <c:pt idx="18">
                  <c:v>0.17887448670218642</c:v>
                </c:pt>
                <c:pt idx="19">
                  <c:v>0.17112066787243468</c:v>
                </c:pt>
                <c:pt idx="20">
                  <c:v>0.1732906032819191</c:v>
                </c:pt>
                <c:pt idx="21">
                  <c:v>0.1757983994300027</c:v>
                </c:pt>
                <c:pt idx="22">
                  <c:v>0.17435352289430806</c:v>
                </c:pt>
                <c:pt idx="23">
                  <c:v>0.17382901045337998</c:v>
                </c:pt>
                <c:pt idx="24">
                  <c:v>0.17668879244356134</c:v>
                </c:pt>
                <c:pt idx="25">
                  <c:v>0.1773725108407913</c:v>
                </c:pt>
                <c:pt idx="26">
                  <c:v>0.17748160112773326</c:v>
                </c:pt>
                <c:pt idx="27">
                  <c:v>0.17743088348359393</c:v>
                </c:pt>
                <c:pt idx="28">
                  <c:v>0.17353291904138335</c:v>
                </c:pt>
                <c:pt idx="29">
                  <c:v>0.1733039830101359</c:v>
                </c:pt>
                <c:pt idx="30">
                  <c:v>0.1719385607715373</c:v>
                </c:pt>
                <c:pt idx="31">
                  <c:v>0.17372000941571836</c:v>
                </c:pt>
                <c:pt idx="32">
                  <c:v>0.17146214655294614</c:v>
                </c:pt>
                <c:pt idx="33">
                  <c:v>0.17021953155428193</c:v>
                </c:pt>
                <c:pt idx="34">
                  <c:v>0.17219587118148938</c:v>
                </c:pt>
                <c:pt idx="35">
                  <c:v>0.17268778663824075</c:v>
                </c:pt>
                <c:pt idx="36">
                  <c:v>0.17194535424592344</c:v>
                </c:pt>
                <c:pt idx="37">
                  <c:v>0.1722581702794846</c:v>
                </c:pt>
                <c:pt idx="38">
                  <c:v>0.1724538141287329</c:v>
                </c:pt>
                <c:pt idx="39">
                  <c:v>0.1737897679138292</c:v>
                </c:pt>
                <c:pt idx="40">
                  <c:v>0.17149284041369858</c:v>
                </c:pt>
                <c:pt idx="41">
                  <c:v>0.16875718119832425</c:v>
                </c:pt>
                <c:pt idx="42">
                  <c:v>0.17080728898274072</c:v>
                </c:pt>
                <c:pt idx="43">
                  <c:v>0.16807583025699543</c:v>
                </c:pt>
                <c:pt idx="44">
                  <c:v>0.17039185613168406</c:v>
                </c:pt>
                <c:pt idx="45">
                  <c:v>0.1708687290512666</c:v>
                </c:pt>
                <c:pt idx="46">
                  <c:v>0.1720185266972912</c:v>
                </c:pt>
                <c:pt idx="47">
                  <c:v>0.17458952895534505</c:v>
                </c:pt>
                <c:pt idx="48">
                  <c:v>0.17558550472582302</c:v>
                </c:pt>
                <c:pt idx="49">
                  <c:v>0.17267607024289702</c:v>
                </c:pt>
                <c:pt idx="50">
                  <c:v>0.1724534174262261</c:v>
                </c:pt>
                <c:pt idx="51">
                  <c:v>0.17777434823485472</c:v>
                </c:pt>
                <c:pt idx="52">
                  <c:v>0.19416200294751257</c:v>
                </c:pt>
                <c:pt idx="53">
                  <c:v>0.22366113162471526</c:v>
                </c:pt>
                <c:pt idx="54">
                  <c:v>0.1795513567661283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20657699980694"/>
          <c:min val="0.11314170263568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9.4137</c:v>
                </c:pt>
                <c:pt idx="1">
                  <c:v>897.7513</c:v>
                </c:pt>
                <c:pt idx="2">
                  <c:v>929.3155</c:v>
                </c:pt>
                <c:pt idx="3">
                  <c:v>958.2186</c:v>
                </c:pt>
                <c:pt idx="4">
                  <c:v>945.1339</c:v>
                </c:pt>
                <c:pt idx="5">
                  <c:v>929.9001</c:v>
                </c:pt>
                <c:pt idx="6">
                  <c:v>892.9715</c:v>
                </c:pt>
                <c:pt idx="7">
                  <c:v>902.0136</c:v>
                </c:pt>
                <c:pt idx="8">
                  <c:v>906.6306</c:v>
                </c:pt>
                <c:pt idx="9">
                  <c:v>878.51</c:v>
                </c:pt>
                <c:pt idx="10">
                  <c:v>868.4945</c:v>
                </c:pt>
                <c:pt idx="11">
                  <c:v>914.4113</c:v>
                </c:pt>
                <c:pt idx="12">
                  <c:v>921.2473</c:v>
                </c:pt>
                <c:pt idx="13">
                  <c:v>929.9615</c:v>
                </c:pt>
                <c:pt idx="14">
                  <c:v>966.11</c:v>
                </c:pt>
                <c:pt idx="15">
                  <c:v>976.5391</c:v>
                </c:pt>
                <c:pt idx="16">
                  <c:v>1000.8444</c:v>
                </c:pt>
                <c:pt idx="17">
                  <c:v>1013.3609</c:v>
                </c:pt>
                <c:pt idx="18">
                  <c:v>1061.8215</c:v>
                </c:pt>
                <c:pt idx="19">
                  <c:v>1057.3236</c:v>
                </c:pt>
                <c:pt idx="20">
                  <c:v>1086.0927</c:v>
                </c:pt>
                <c:pt idx="21">
                  <c:v>1090.9295</c:v>
                </c:pt>
                <c:pt idx="22">
                  <c:v>1048.2189</c:v>
                </c:pt>
                <c:pt idx="23">
                  <c:v>1059.0827</c:v>
                </c:pt>
                <c:pt idx="24">
                  <c:v>1068.4637</c:v>
                </c:pt>
                <c:pt idx="25">
                  <c:v>1053.4514</c:v>
                </c:pt>
                <c:pt idx="26">
                  <c:v>1034.2451</c:v>
                </c:pt>
                <c:pt idx="27">
                  <c:v>1037.0432</c:v>
                </c:pt>
                <c:pt idx="28">
                  <c:v>1046.1112</c:v>
                </c:pt>
                <c:pt idx="29">
                  <c:v>1035.2358</c:v>
                </c:pt>
                <c:pt idx="30">
                  <c:v>1038.0835</c:v>
                </c:pt>
                <c:pt idx="31">
                  <c:v>1019.7049</c:v>
                </c:pt>
                <c:pt idx="32">
                  <c:v>1009.4108</c:v>
                </c:pt>
                <c:pt idx="33">
                  <c:v>977.3818</c:v>
                </c:pt>
                <c:pt idx="34">
                  <c:v>987.871</c:v>
                </c:pt>
                <c:pt idx="35">
                  <c:v>1033.9306</c:v>
                </c:pt>
                <c:pt idx="36">
                  <c:v>1083.6245</c:v>
                </c:pt>
                <c:pt idx="37">
                  <c:v>1071.7079</c:v>
                </c:pt>
                <c:pt idx="38">
                  <c:v>1108.0026</c:v>
                </c:pt>
                <c:pt idx="39">
                  <c:v>1165.3772</c:v>
                </c:pt>
                <c:pt idx="40">
                  <c:v>1167.785</c:v>
                </c:pt>
                <c:pt idx="41">
                  <c:v>1193.8357</c:v>
                </c:pt>
                <c:pt idx="42">
                  <c:v>1212.1279</c:v>
                </c:pt>
                <c:pt idx="43">
                  <c:v>1199.113</c:v>
                </c:pt>
                <c:pt idx="44">
                  <c:v>1155.1468</c:v>
                </c:pt>
                <c:pt idx="45">
                  <c:v>1120.0195</c:v>
                </c:pt>
                <c:pt idx="46">
                  <c:v>1109.1569</c:v>
                </c:pt>
                <c:pt idx="47">
                  <c:v>1095.2651</c:v>
                </c:pt>
                <c:pt idx="48">
                  <c:v>1093.2907</c:v>
                </c:pt>
                <c:pt idx="49">
                  <c:v>1048.022</c:v>
                </c:pt>
                <c:pt idx="50">
                  <c:v>1049.4572</c:v>
                </c:pt>
                <c:pt idx="51">
                  <c:v>1044.8197</c:v>
                </c:pt>
                <c:pt idx="52">
                  <c:v>1059.6912</c:v>
                </c:pt>
                <c:pt idx="53">
                  <c:v>1169.267</c:v>
                </c:pt>
                <c:pt idx="54">
                  <c:v>1148.3676</c:v>
                </c:pt>
                <c:pt idx="55">
                  <c:v>1170.5369</c:v>
                </c:pt>
                <c:pt idx="56">
                  <c:v>1173.6815</c:v>
                </c:pt>
                <c:pt idx="57">
                  <c:v>1147.0884</c:v>
                </c:pt>
                <c:pt idx="58">
                  <c:v>1131.2774</c:v>
                </c:pt>
                <c:pt idx="59">
                  <c:v>1107.5691</c:v>
                </c:pt>
                <c:pt idx="60">
                  <c:v>1125.5277</c:v>
                </c:pt>
                <c:pt idx="61">
                  <c:v>1145.755</c:v>
                </c:pt>
                <c:pt idx="62">
                  <c:v>1079.6264</c:v>
                </c:pt>
                <c:pt idx="63">
                  <c:v>1099.6892</c:v>
                </c:pt>
                <c:pt idx="64">
                  <c:v>1111.0568</c:v>
                </c:pt>
                <c:pt idx="65">
                  <c:v>1102.1999</c:v>
                </c:pt>
                <c:pt idx="66">
                  <c:v>1137.0865</c:v>
                </c:pt>
                <c:pt idx="67">
                  <c:v>1160.1286</c:v>
                </c:pt>
                <c:pt idx="68">
                  <c:v>1178.1686</c:v>
                </c:pt>
                <c:pt idx="69">
                  <c:v>1209.1537</c:v>
                </c:pt>
                <c:pt idx="70">
                  <c:v>1192.4151</c:v>
                </c:pt>
                <c:pt idx="71">
                  <c:v>1242.0309</c:v>
                </c:pt>
                <c:pt idx="72">
                  <c:v>1306.088</c:v>
                </c:pt>
                <c:pt idx="73">
                  <c:v>1282.7391</c:v>
                </c:pt>
                <c:pt idx="74">
                  <c:v>1279.1563</c:v>
                </c:pt>
                <c:pt idx="75">
                  <c:v>1243.3785</c:v>
                </c:pt>
                <c:pt idx="76">
                  <c:v>1213.4474</c:v>
                </c:pt>
                <c:pt idx="77">
                  <c:v>1211.1308</c:v>
                </c:pt>
                <c:pt idx="78">
                  <c:v>1257.3637</c:v>
                </c:pt>
                <c:pt idx="79">
                  <c:v>1258.6996</c:v>
                </c:pt>
                <c:pt idx="80">
                  <c:v>1256.1036</c:v>
                </c:pt>
                <c:pt idx="81">
                  <c:v>1242.1614</c:v>
                </c:pt>
                <c:pt idx="82">
                  <c:v>1269.8095</c:v>
                </c:pt>
                <c:pt idx="83">
                  <c:v>1214.4857</c:v>
                </c:pt>
                <c:pt idx="84">
                  <c:v>1238.9617</c:v>
                </c:pt>
                <c:pt idx="85">
                  <c:v>1216.6811</c:v>
                </c:pt>
                <c:pt idx="86">
                  <c:v>1217.773</c:v>
                </c:pt>
                <c:pt idx="87">
                  <c:v>1227.3918</c:v>
                </c:pt>
                <c:pt idx="88">
                  <c:v>1271.5976</c:v>
                </c:pt>
                <c:pt idx="89">
                  <c:v>1254.0704</c:v>
                </c:pt>
                <c:pt idx="90">
                  <c:v>1320.116</c:v>
                </c:pt>
                <c:pt idx="91">
                  <c:v>1309.8259</c:v>
                </c:pt>
                <c:pt idx="92">
                  <c:v>1260.9199</c:v>
                </c:pt>
                <c:pt idx="93">
                  <c:v>1290.5923</c:v>
                </c:pt>
                <c:pt idx="94">
                  <c:v>1278.0827</c:v>
                </c:pt>
                <c:pt idx="95">
                  <c:v>1247.8353</c:v>
                </c:pt>
                <c:pt idx="96">
                  <c:v>1202.3784</c:v>
                </c:pt>
                <c:pt idx="97">
                  <c:v>1191.1436</c:v>
                </c:pt>
                <c:pt idx="98">
                  <c:v>1173.328</c:v>
                </c:pt>
                <c:pt idx="99">
                  <c:v>1138.3719</c:v>
                </c:pt>
                <c:pt idx="100">
                  <c:v>1113.6608</c:v>
                </c:pt>
                <c:pt idx="101">
                  <c:v>1163.3122</c:v>
                </c:pt>
                <c:pt idx="102">
                  <c:v>1164.8555</c:v>
                </c:pt>
                <c:pt idx="103">
                  <c:v>1150.2562</c:v>
                </c:pt>
                <c:pt idx="104">
                  <c:v>1187.2692</c:v>
                </c:pt>
              </c:numCache>
            </c:numRef>
          </c:xVal>
          <c:yVal>
            <c:numRef>
              <c:f>Sheet1!$B$2:$B$106</c:f>
              <c:numCache>
                <c:formatCode>General</c:formatCode>
                <c:ptCount val="105"/>
                <c:pt idx="0">
                  <c:v>0.21020646867371848</c:v>
                </c:pt>
                <c:pt idx="1">
                  <c:v>0.19998409879945936</c:v>
                </c:pt>
                <c:pt idx="2">
                  <c:v>0.20379256370121374</c:v>
                </c:pt>
                <c:pt idx="3">
                  <c:v>0.20844547314027345</c:v>
                </c:pt>
                <c:pt idx="4">
                  <c:v>0.21889864325618516</c:v>
                </c:pt>
                <c:pt idx="5">
                  <c:v>0.22279337606142435</c:v>
                </c:pt>
                <c:pt idx="6">
                  <c:v>0.25172147499839115</c:v>
                </c:pt>
                <c:pt idx="7">
                  <c:v>0.25146799765120376</c:v>
                </c:pt>
                <c:pt idx="8">
                  <c:v>0.2456400883405681</c:v>
                </c:pt>
                <c:pt idx="9">
                  <c:v>0.23977286240932336</c:v>
                </c:pt>
                <c:pt idx="10">
                  <c:v>0.23185535944898839</c:v>
                </c:pt>
                <c:pt idx="11">
                  <c:v>0.2112331761187162</c:v>
                </c:pt>
                <c:pt idx="12">
                  <c:v>0.20288239509515088</c:v>
                </c:pt>
                <c:pt idx="13">
                  <c:v>0.19351573264347777</c:v>
                </c:pt>
                <c:pt idx="14">
                  <c:v>0.17355556174921263</c:v>
                </c:pt>
                <c:pt idx="15">
                  <c:v>0.17153731590269733</c:v>
                </c:pt>
                <c:pt idx="16">
                  <c:v>0.16137339055793992</c:v>
                </c:pt>
                <c:pt idx="17">
                  <c:v>0.15487087283425957</c:v>
                </c:pt>
                <c:pt idx="18">
                  <c:v>0.14542892212574443</c:v>
                </c:pt>
                <c:pt idx="19">
                  <c:v>0.14849703640982218</c:v>
                </c:pt>
                <c:pt idx="20">
                  <c:v>0.1512384780044559</c:v>
                </c:pt>
                <c:pt idx="21">
                  <c:v>0.1542627262881015</c:v>
                </c:pt>
                <c:pt idx="22">
                  <c:v>0.17664387164650183</c:v>
                </c:pt>
                <c:pt idx="23">
                  <c:v>0.17933842806939254</c:v>
                </c:pt>
                <c:pt idx="24">
                  <c:v>0.1833583752137195</c:v>
                </c:pt>
                <c:pt idx="25">
                  <c:v>0.18293678563097737</c:v>
                </c:pt>
                <c:pt idx="26">
                  <c:v>0.20214267049908544</c:v>
                </c:pt>
                <c:pt idx="27">
                  <c:v>0.211397612119996</c:v>
                </c:pt>
                <c:pt idx="28">
                  <c:v>0.206163927712077</c:v>
                </c:pt>
                <c:pt idx="29">
                  <c:v>0.20307498083772937</c:v>
                </c:pt>
                <c:pt idx="30">
                  <c:v>0.20531302679765157</c:v>
                </c:pt>
                <c:pt idx="31">
                  <c:v>0.20395755029847445</c:v>
                </c:pt>
                <c:pt idx="32">
                  <c:v>0.21359064071725345</c:v>
                </c:pt>
                <c:pt idx="33">
                  <c:v>0.20973176388220366</c:v>
                </c:pt>
                <c:pt idx="34">
                  <c:v>0.21168379383421967</c:v>
                </c:pt>
                <c:pt idx="35">
                  <c:v>0.23083929294292269</c:v>
                </c:pt>
                <c:pt idx="36">
                  <c:v>0.192742538864411</c:v>
                </c:pt>
                <c:pt idx="37">
                  <c:v>0.20033653846153845</c:v>
                </c:pt>
                <c:pt idx="38">
                  <c:v>0.18773207310604234</c:v>
                </c:pt>
                <c:pt idx="39">
                  <c:v>0.17446483180428135</c:v>
                </c:pt>
                <c:pt idx="40">
                  <c:v>0.17987973900806004</c:v>
                </c:pt>
                <c:pt idx="41">
                  <c:v>0.17108289631060816</c:v>
                </c:pt>
                <c:pt idx="42">
                  <c:v>0.1702286184855496</c:v>
                </c:pt>
                <c:pt idx="43">
                  <c:v>0.1728169656964292</c:v>
                </c:pt>
                <c:pt idx="44">
                  <c:v>0.17103670835014118</c:v>
                </c:pt>
                <c:pt idx="45">
                  <c:v>0.18516640952171037</c:v>
                </c:pt>
                <c:pt idx="46">
                  <c:v>0.19015579233348898</c:v>
                </c:pt>
                <c:pt idx="47">
                  <c:v>0.18210794275568484</c:v>
                </c:pt>
                <c:pt idx="48">
                  <c:v>0.18136631975163672</c:v>
                </c:pt>
                <c:pt idx="49">
                  <c:v>0.1898583998857532</c:v>
                </c:pt>
                <c:pt idx="50">
                  <c:v>0.18103877771319438</c:v>
                </c:pt>
                <c:pt idx="51">
                  <c:v>0.17596993753577383</c:v>
                </c:pt>
                <c:pt idx="52">
                  <c:v>0.17994396800615925</c:v>
                </c:pt>
                <c:pt idx="53">
                  <c:v>0.17098018353504454</c:v>
                </c:pt>
                <c:pt idx="54">
                  <c:v>0.17911866359447004</c:v>
                </c:pt>
                <c:pt idx="55">
                  <c:v>0.17743525405502286</c:v>
                </c:pt>
                <c:pt idx="56">
                  <c:v>0.17281342427717752</c:v>
                </c:pt>
                <c:pt idx="57">
                  <c:v>0.1709137574313176</c:v>
                </c:pt>
                <c:pt idx="58">
                  <c:v>0.18198158808812456</c:v>
                </c:pt>
                <c:pt idx="59">
                  <c:v>0.18307776384736554</c:v>
                </c:pt>
                <c:pt idx="60">
                  <c:v>0.18700290979631426</c:v>
                </c:pt>
                <c:pt idx="61">
                  <c:v>0.18054056646761157</c:v>
                </c:pt>
                <c:pt idx="62">
                  <c:v>0.19009002656136145</c:v>
                </c:pt>
                <c:pt idx="63">
                  <c:v>0.19600309105739921</c:v>
                </c:pt>
                <c:pt idx="64">
                  <c:v>0.18459062310570432</c:v>
                </c:pt>
                <c:pt idx="65">
                  <c:v>0.179037306101935</c:v>
                </c:pt>
                <c:pt idx="66">
                  <c:v>0.17705924002832193</c:v>
                </c:pt>
                <c:pt idx="67">
                  <c:v>0.165002435460302</c:v>
                </c:pt>
                <c:pt idx="68">
                  <c:v>0.1568587306229892</c:v>
                </c:pt>
                <c:pt idx="69">
                  <c:v>0.15326821938392185</c:v>
                </c:pt>
                <c:pt idx="70">
                  <c:v>0.1520919248528427</c:v>
                </c:pt>
                <c:pt idx="71">
                  <c:v>0.1501281857939979</c:v>
                </c:pt>
                <c:pt idx="72">
                  <c:v>0.1519796585543044</c:v>
                </c:pt>
                <c:pt idx="73">
                  <c:v>0.1523521632344606</c:v>
                </c:pt>
                <c:pt idx="74">
                  <c:v>0.1514309430149049</c:v>
                </c:pt>
                <c:pt idx="75">
                  <c:v>0.16235595390524968</c:v>
                </c:pt>
                <c:pt idx="76">
                  <c:v>0.16577613371694752</c:v>
                </c:pt>
                <c:pt idx="77">
                  <c:v>0.155979908593149</c:v>
                </c:pt>
                <c:pt idx="78">
                  <c:v>0.15918260413937646</c:v>
                </c:pt>
                <c:pt idx="79">
                  <c:v>0.15380752373995618</c:v>
                </c:pt>
                <c:pt idx="80">
                  <c:v>0.14142712829460924</c:v>
                </c:pt>
                <c:pt idx="81">
                  <c:v>0.148257712551385</c:v>
                </c:pt>
                <c:pt idx="82">
                  <c:v>0.1528003546623319</c:v>
                </c:pt>
                <c:pt idx="83">
                  <c:v>0.14571476869330027</c:v>
                </c:pt>
                <c:pt idx="84">
                  <c:v>0.1516840607210626</c:v>
                </c:pt>
                <c:pt idx="85">
                  <c:v>0.15782255512184828</c:v>
                </c:pt>
                <c:pt idx="86">
                  <c:v>0.1641406126011744</c:v>
                </c:pt>
                <c:pt idx="87">
                  <c:v>0.18383226647245965</c:v>
                </c:pt>
                <c:pt idx="88">
                  <c:v>0.16740838935706845</c:v>
                </c:pt>
                <c:pt idx="89">
                  <c:v>0.1644376120932616</c:v>
                </c:pt>
                <c:pt idx="90">
                  <c:v>0.1535372747926243</c:v>
                </c:pt>
                <c:pt idx="91">
                  <c:v>0.1452292565466038</c:v>
                </c:pt>
                <c:pt idx="92">
                  <c:v>0.15778172358260725</c:v>
                </c:pt>
                <c:pt idx="93">
                  <c:v>0.1529416470023597</c:v>
                </c:pt>
                <c:pt idx="94">
                  <c:v>0.15484930007751585</c:v>
                </c:pt>
                <c:pt idx="95">
                  <c:v>0.161292465048318</c:v>
                </c:pt>
                <c:pt idx="96">
                  <c:v>0.16254008052267413</c:v>
                </c:pt>
                <c:pt idx="97">
                  <c:v>0.1687336954197494</c:v>
                </c:pt>
                <c:pt idx="98">
                  <c:v>0.1752648592088791</c:v>
                </c:pt>
                <c:pt idx="99">
                  <c:v>0.17548869236040857</c:v>
                </c:pt>
                <c:pt idx="100">
                  <c:v>0.1780660101518093</c:v>
                </c:pt>
                <c:pt idx="101">
                  <c:v>0.16804971170328814</c:v>
                </c:pt>
                <c:pt idx="102">
                  <c:v>0.1605298013245033</c:v>
                </c:pt>
                <c:pt idx="103">
                  <c:v>0.1623502567027952</c:v>
                </c:pt>
                <c:pt idx="104">
                  <c:v>0.157237936772046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9.1581</c:v>
                </c:pt>
                <c:pt idx="1">
                  <c:v>1244.4935</c:v>
                </c:pt>
                <c:pt idx="2">
                  <c:v>1232.9451</c:v>
                </c:pt>
                <c:pt idx="3">
                  <c:v>1207.2554</c:v>
                </c:pt>
                <c:pt idx="4">
                  <c:v>1218.2851</c:v>
                </c:pt>
                <c:pt idx="5">
                  <c:v>1220.6369</c:v>
                </c:pt>
                <c:pt idx="6">
                  <c:v>1147.6067</c:v>
                </c:pt>
                <c:pt idx="7">
                  <c:v>1167.6036</c:v>
                </c:pt>
                <c:pt idx="8">
                  <c:v>1228.6224</c:v>
                </c:pt>
                <c:pt idx="9">
                  <c:v>1162.8742</c:v>
                </c:pt>
                <c:pt idx="10">
                  <c:v>1188.8372</c:v>
                </c:pt>
                <c:pt idx="11">
                  <c:v>1103.031</c:v>
                </c:pt>
                <c:pt idx="12">
                  <c:v>1145.8063</c:v>
                </c:pt>
                <c:pt idx="13">
                  <c:v>1171.8821</c:v>
                </c:pt>
                <c:pt idx="14">
                  <c:v>1177.0546</c:v>
                </c:pt>
                <c:pt idx="15">
                  <c:v>1188.0573</c:v>
                </c:pt>
                <c:pt idx="16">
                  <c:v>1232.2679</c:v>
                </c:pt>
                <c:pt idx="17">
                  <c:v>1186.695</c:v>
                </c:pt>
                <c:pt idx="18">
                  <c:v>1210.0574</c:v>
                </c:pt>
                <c:pt idx="19">
                  <c:v>1300.9369</c:v>
                </c:pt>
                <c:pt idx="20">
                  <c:v>1282.5496</c:v>
                </c:pt>
                <c:pt idx="21">
                  <c:v>1214.9475</c:v>
                </c:pt>
                <c:pt idx="22">
                  <c:v>1239.5719</c:v>
                </c:pt>
                <c:pt idx="23">
                  <c:v>1226.5287</c:v>
                </c:pt>
                <c:pt idx="24">
                  <c:v>1212.2118</c:v>
                </c:pt>
                <c:pt idx="25">
                  <c:v>1205.8278</c:v>
                </c:pt>
                <c:pt idx="26">
                  <c:v>1221.7157</c:v>
                </c:pt>
                <c:pt idx="27">
                  <c:v>1224.3866</c:v>
                </c:pt>
                <c:pt idx="28">
                  <c:v>1268.7454</c:v>
                </c:pt>
                <c:pt idx="29">
                  <c:v>1264.8765</c:v>
                </c:pt>
                <c:pt idx="30">
                  <c:v>1266.4469</c:v>
                </c:pt>
                <c:pt idx="31">
                  <c:v>1249.6481</c:v>
                </c:pt>
                <c:pt idx="32">
                  <c:v>1273.629</c:v>
                </c:pt>
                <c:pt idx="33">
                  <c:v>1269.1453</c:v>
                </c:pt>
                <c:pt idx="34">
                  <c:v>1281.3986</c:v>
                </c:pt>
                <c:pt idx="35">
                  <c:v>1309.0962</c:v>
                </c:pt>
                <c:pt idx="36">
                  <c:v>1316.1598</c:v>
                </c:pt>
                <c:pt idx="37">
                  <c:v>1322.4665</c:v>
                </c:pt>
                <c:pt idx="38">
                  <c:v>1324.7782</c:v>
                </c:pt>
                <c:pt idx="39">
                  <c:v>1289.4405</c:v>
                </c:pt>
                <c:pt idx="40">
                  <c:v>1308.8448</c:v>
                </c:pt>
                <c:pt idx="41">
                  <c:v>1339.8055</c:v>
                </c:pt>
                <c:pt idx="42">
                  <c:v>1325.9513</c:v>
                </c:pt>
                <c:pt idx="43">
                  <c:v>1333.1331</c:v>
                </c:pt>
                <c:pt idx="44">
                  <c:v>1260.8184</c:v>
                </c:pt>
                <c:pt idx="45">
                  <c:v>1223.2409</c:v>
                </c:pt>
                <c:pt idx="46">
                  <c:v>1217.7941</c:v>
                </c:pt>
                <c:pt idx="47">
                  <c:v>1192.622</c:v>
                </c:pt>
                <c:pt idx="48">
                  <c:v>1174.2261</c:v>
                </c:pt>
                <c:pt idx="49">
                  <c:v>1182.3423</c:v>
                </c:pt>
                <c:pt idx="50">
                  <c:v>1141.208</c:v>
                </c:pt>
                <c:pt idx="51">
                  <c:v>1122.0959</c:v>
                </c:pt>
              </c:numCache>
            </c:numRef>
          </c:xVal>
          <c:yVal>
            <c:numRef>
              <c:f>Sheet1!$B$109:$B$160</c:f>
              <c:numCache>
                <c:formatCode>General</c:formatCode>
                <c:ptCount val="52"/>
                <c:pt idx="0">
                  <c:v>0.17161046922895543</c:v>
                </c:pt>
                <c:pt idx="1">
                  <c:v>0.1659287583014691</c:v>
                </c:pt>
                <c:pt idx="2">
                  <c:v>0.18026123492875412</c:v>
                </c:pt>
                <c:pt idx="3">
                  <c:v>0.19833303052325582</c:v>
                </c:pt>
                <c:pt idx="4">
                  <c:v>0.18442565186751234</c:v>
                </c:pt>
                <c:pt idx="5">
                  <c:v>0.18051201671891326</c:v>
                </c:pt>
                <c:pt idx="6">
                  <c:v>0.1899355489804812</c:v>
                </c:pt>
                <c:pt idx="7">
                  <c:v>0.1877624104717214</c:v>
                </c:pt>
                <c:pt idx="8">
                  <c:v>0.17505425235093522</c:v>
                </c:pt>
                <c:pt idx="9">
                  <c:v>0.18160355085466048</c:v>
                </c:pt>
                <c:pt idx="10">
                  <c:v>0.1846767320102277</c:v>
                </c:pt>
                <c:pt idx="11">
                  <c:v>0.185658130921815</c:v>
                </c:pt>
                <c:pt idx="12">
                  <c:v>0.18300161097541964</c:v>
                </c:pt>
                <c:pt idx="13">
                  <c:v>0.18322615219721328</c:v>
                </c:pt>
                <c:pt idx="14">
                  <c:v>0.182059123343527</c:v>
                </c:pt>
                <c:pt idx="15">
                  <c:v>0.17592679055000468</c:v>
                </c:pt>
                <c:pt idx="16">
                  <c:v>0.16410665372213168</c:v>
                </c:pt>
                <c:pt idx="17">
                  <c:v>0.16779853896699828</c:v>
                </c:pt>
                <c:pt idx="18">
                  <c:v>0.16916015711196433</c:v>
                </c:pt>
                <c:pt idx="19">
                  <c:v>0.1675609756097561</c:v>
                </c:pt>
                <c:pt idx="20">
                  <c:v>0.15900841080123948</c:v>
                </c:pt>
                <c:pt idx="21">
                  <c:v>0.16135394456289978</c:v>
                </c:pt>
                <c:pt idx="22">
                  <c:v>0.15798345888426488</c:v>
                </c:pt>
                <c:pt idx="23">
                  <c:v>0.1678344646376177</c:v>
                </c:pt>
                <c:pt idx="24">
                  <c:v>0.17586403440592777</c:v>
                </c:pt>
                <c:pt idx="25">
                  <c:v>0.17423913043478262</c:v>
                </c:pt>
                <c:pt idx="26">
                  <c:v>0.1662018386530317</c:v>
                </c:pt>
                <c:pt idx="27">
                  <c:v>0.16683440073193045</c:v>
                </c:pt>
                <c:pt idx="28">
                  <c:v>0.1565824328301728</c:v>
                </c:pt>
                <c:pt idx="29">
                  <c:v>0.15659955257270694</c:v>
                </c:pt>
                <c:pt idx="30">
                  <c:v>0.1621467756960977</c:v>
                </c:pt>
                <c:pt idx="31">
                  <c:v>0.15702621895124194</c:v>
                </c:pt>
                <c:pt idx="32">
                  <c:v>0.1539289007273845</c:v>
                </c:pt>
                <c:pt idx="33">
                  <c:v>0.1701701274890206</c:v>
                </c:pt>
                <c:pt idx="34">
                  <c:v>0.1859032923899435</c:v>
                </c:pt>
                <c:pt idx="35">
                  <c:v>0.17813476832983816</c:v>
                </c:pt>
                <c:pt idx="36">
                  <c:v>0.16688650570625682</c:v>
                </c:pt>
                <c:pt idx="37">
                  <c:v>0.15823016246147417</c:v>
                </c:pt>
                <c:pt idx="38">
                  <c:v>0.1577463167587477</c:v>
                </c:pt>
                <c:pt idx="39">
                  <c:v>0.17152681641584425</c:v>
                </c:pt>
                <c:pt idx="40">
                  <c:v>0.16464266992835924</c:v>
                </c:pt>
                <c:pt idx="41">
                  <c:v>0.16797488226059654</c:v>
                </c:pt>
                <c:pt idx="42">
                  <c:v>0.16525791565769635</c:v>
                </c:pt>
                <c:pt idx="43">
                  <c:v>0.1640622305012246</c:v>
                </c:pt>
                <c:pt idx="44">
                  <c:v>0.1642367314009105</c:v>
                </c:pt>
                <c:pt idx="45">
                  <c:v>0.17864914170165067</c:v>
                </c:pt>
                <c:pt idx="46">
                  <c:v>0.1900123726538026</c:v>
                </c:pt>
                <c:pt idx="47">
                  <c:v>0.1911568656495334</c:v>
                </c:pt>
                <c:pt idx="48">
                  <c:v>0.18884271763972574</c:v>
                </c:pt>
                <c:pt idx="49">
                  <c:v>0.19380640258383205</c:v>
                </c:pt>
                <c:pt idx="50">
                  <c:v>0.20203557135368053</c:v>
                </c:pt>
                <c:pt idx="51">
                  <c:v>0.1919633202128119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84.3055979987197</c:v>
                </c:pt>
              </c:numCache>
            </c:numRef>
          </c:xVal>
          <c:yVal>
            <c:numRef>
              <c:f>Sheet1!$B$163:$B$164</c:f>
              <c:numCache>
                <c:formatCode>General</c:formatCode>
                <c:ptCount val="2"/>
                <c:pt idx="0">
                  <c:v>0.22366113162471526</c:v>
                </c:pt>
                <c:pt idx="1">
                  <c:v>0.2236611316247152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84.3055979987197</c:v>
                </c:pt>
                <c:pt idx="1">
                  <c:v>884.3055979987197</c:v>
                </c:pt>
              </c:numCache>
            </c:numRef>
          </c:xVal>
          <c:yVal>
            <c:numRef>
              <c:f>Sheet1!$B$167:$B$168</c:f>
              <c:numCache>
                <c:formatCode>General</c:formatCode>
                <c:ptCount val="2"/>
                <c:pt idx="0">
                  <c:v>0.223661131624715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0.3581514650969</c:v>
                </c:pt>
              </c:numCache>
            </c:numRef>
          </c:xVal>
          <c:yVal>
            <c:numRef>
              <c:f>Sheet1!$B$171:$B$172</c:f>
              <c:numCache>
                <c:formatCode>General</c:formatCode>
                <c:ptCount val="2"/>
                <c:pt idx="0">
                  <c:v>0.19416200294751257</c:v>
                </c:pt>
                <c:pt idx="1">
                  <c:v>0.1941620029475125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0.3581514650969</c:v>
                </c:pt>
                <c:pt idx="1">
                  <c:v>1090.3581514650969</c:v>
                </c:pt>
              </c:numCache>
            </c:numRef>
          </c:xVal>
          <c:yVal>
            <c:numRef>
              <c:f>Sheet1!$B$175:$B$176</c:f>
              <c:numCache>
                <c:formatCode>General</c:formatCode>
                <c:ptCount val="2"/>
                <c:pt idx="0">
                  <c:v>0.1941620029475125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92.4140795032217</c:v>
                </c:pt>
              </c:numCache>
            </c:numRef>
          </c:xVal>
          <c:yVal>
            <c:numRef>
              <c:f>Sheet1!$B$179:$B$180</c:f>
              <c:numCache>
                <c:formatCode>General</c:formatCode>
                <c:ptCount val="2"/>
                <c:pt idx="0">
                  <c:v>0.17955135676612835</c:v>
                </c:pt>
                <c:pt idx="1">
                  <c:v>0.1795513567661283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92.4140795032217</c:v>
                </c:pt>
                <c:pt idx="1">
                  <c:v>1192.4140795032217</c:v>
                </c:pt>
              </c:numCache>
            </c:numRef>
          </c:xVal>
          <c:yVal>
            <c:numRef>
              <c:f>Sheet1!$B$183:$B$184</c:f>
              <c:numCache>
                <c:formatCode>General</c:formatCode>
                <c:ptCount val="2"/>
                <c:pt idx="0">
                  <c:v>0.1795513567661283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9.1581</c:v>
                </c:pt>
                <c:pt idx="1">
                  <c:v>1244.4935</c:v>
                </c:pt>
                <c:pt idx="2">
                  <c:v>1232.9451</c:v>
                </c:pt>
                <c:pt idx="3">
                  <c:v>1207.2554</c:v>
                </c:pt>
                <c:pt idx="4">
                  <c:v>1218.2851</c:v>
                </c:pt>
                <c:pt idx="5">
                  <c:v>1220.6369</c:v>
                </c:pt>
                <c:pt idx="6">
                  <c:v>1147.6067</c:v>
                </c:pt>
                <c:pt idx="7">
                  <c:v>1167.6036</c:v>
                </c:pt>
                <c:pt idx="8">
                  <c:v>1228.6224</c:v>
                </c:pt>
                <c:pt idx="9">
                  <c:v>1162.8742</c:v>
                </c:pt>
                <c:pt idx="10">
                  <c:v>1188.8372</c:v>
                </c:pt>
                <c:pt idx="11">
                  <c:v>1103.031</c:v>
                </c:pt>
                <c:pt idx="12">
                  <c:v>1145.8063</c:v>
                </c:pt>
                <c:pt idx="13">
                  <c:v>1171.8821</c:v>
                </c:pt>
                <c:pt idx="14">
                  <c:v>1177.0546</c:v>
                </c:pt>
                <c:pt idx="15">
                  <c:v>1188.0573</c:v>
                </c:pt>
                <c:pt idx="16">
                  <c:v>1232.2679</c:v>
                </c:pt>
                <c:pt idx="17">
                  <c:v>1186.695</c:v>
                </c:pt>
                <c:pt idx="18">
                  <c:v>1210.0574</c:v>
                </c:pt>
                <c:pt idx="19">
                  <c:v>1300.9369</c:v>
                </c:pt>
                <c:pt idx="20">
                  <c:v>1282.5496</c:v>
                </c:pt>
                <c:pt idx="21">
                  <c:v>1214.9475</c:v>
                </c:pt>
                <c:pt idx="22">
                  <c:v>1239.5719</c:v>
                </c:pt>
                <c:pt idx="23">
                  <c:v>1226.5287</c:v>
                </c:pt>
                <c:pt idx="24">
                  <c:v>1212.2118</c:v>
                </c:pt>
                <c:pt idx="25">
                  <c:v>1205.8278</c:v>
                </c:pt>
                <c:pt idx="26">
                  <c:v>1221.7157</c:v>
                </c:pt>
                <c:pt idx="27">
                  <c:v>1224.3866</c:v>
                </c:pt>
                <c:pt idx="28">
                  <c:v>1268.7454</c:v>
                </c:pt>
                <c:pt idx="29">
                  <c:v>1264.8765</c:v>
                </c:pt>
                <c:pt idx="30">
                  <c:v>1266.4469</c:v>
                </c:pt>
                <c:pt idx="31">
                  <c:v>1249.6481</c:v>
                </c:pt>
                <c:pt idx="32">
                  <c:v>1273.629</c:v>
                </c:pt>
                <c:pt idx="33">
                  <c:v>1269.1453</c:v>
                </c:pt>
                <c:pt idx="34">
                  <c:v>1281.3986</c:v>
                </c:pt>
                <c:pt idx="35">
                  <c:v>1309.0962</c:v>
                </c:pt>
                <c:pt idx="36">
                  <c:v>1316.1598</c:v>
                </c:pt>
                <c:pt idx="37">
                  <c:v>1322.4665</c:v>
                </c:pt>
                <c:pt idx="38">
                  <c:v>1324.7782</c:v>
                </c:pt>
                <c:pt idx="39">
                  <c:v>1289.4405</c:v>
                </c:pt>
                <c:pt idx="40">
                  <c:v>1308.8448</c:v>
                </c:pt>
                <c:pt idx="41">
                  <c:v>1339.8055</c:v>
                </c:pt>
                <c:pt idx="42">
                  <c:v>1325.9513</c:v>
                </c:pt>
                <c:pt idx="43">
                  <c:v>1333.1331</c:v>
                </c:pt>
                <c:pt idx="44">
                  <c:v>1260.8184</c:v>
                </c:pt>
                <c:pt idx="45">
                  <c:v>1223.2409</c:v>
                </c:pt>
                <c:pt idx="46">
                  <c:v>1217.7941</c:v>
                </c:pt>
                <c:pt idx="47">
                  <c:v>1192.622</c:v>
                </c:pt>
                <c:pt idx="48">
                  <c:v>1174.2261</c:v>
                </c:pt>
                <c:pt idx="49">
                  <c:v>1182.3423</c:v>
                </c:pt>
                <c:pt idx="50">
                  <c:v>1141.208</c:v>
                </c:pt>
                <c:pt idx="51">
                  <c:v>1122.0959</c:v>
                </c:pt>
                <c:pt idx="52">
                  <c:v>1090.3581514650969</c:v>
                </c:pt>
                <c:pt idx="53">
                  <c:v>884.3055979987197</c:v>
                </c:pt>
                <c:pt idx="54">
                  <c:v>1192.4140795032217</c:v>
                </c:pt>
              </c:numCache>
            </c:numRef>
          </c:xVal>
          <c:yVal>
            <c:numRef>
              <c:f>Sheet1!$B$187:$B$241</c:f>
              <c:numCache>
                <c:formatCode>General</c:formatCode>
                <c:ptCount val="55"/>
                <c:pt idx="0">
                  <c:v>0.1757225990598622</c:v>
                </c:pt>
                <c:pt idx="1">
                  <c:v>0.172095503874117</c:v>
                </c:pt>
                <c:pt idx="2">
                  <c:v>0.1737488089746112</c:v>
                </c:pt>
                <c:pt idx="3">
                  <c:v>0.17742662685762225</c:v>
                </c:pt>
                <c:pt idx="4">
                  <c:v>0.17584758047310833</c:v>
                </c:pt>
                <c:pt idx="5">
                  <c:v>0.17551088942193743</c:v>
                </c:pt>
                <c:pt idx="6">
                  <c:v>0.18596612150171546</c:v>
                </c:pt>
                <c:pt idx="7">
                  <c:v>0.183103302690099</c:v>
                </c:pt>
                <c:pt idx="8">
                  <c:v>0.17436766024040612</c:v>
                </c:pt>
                <c:pt idx="9">
                  <c:v>0.18378037840121716</c:v>
                </c:pt>
                <c:pt idx="10">
                  <c:v>0.1800634340345404</c:v>
                </c:pt>
                <c:pt idx="11">
                  <c:v>0.19234771827426386</c:v>
                </c:pt>
                <c:pt idx="12">
                  <c:v>0.18622387240252683</c:v>
                </c:pt>
                <c:pt idx="13">
                  <c:v>0.18249077923468834</c:v>
                </c:pt>
                <c:pt idx="14">
                  <c:v>0.1817502679402834</c:v>
                </c:pt>
                <c:pt idx="15">
                  <c:v>0.18017508696030288</c:v>
                </c:pt>
                <c:pt idx="16">
                  <c:v>0.1738457590468337</c:v>
                </c:pt>
                <c:pt idx="17">
                  <c:v>0.18037011809348177</c:v>
                </c:pt>
                <c:pt idx="18">
                  <c:v>0.17702548376493543</c:v>
                </c:pt>
                <c:pt idx="19">
                  <c:v>0.16401489001338893</c:v>
                </c:pt>
                <c:pt idx="20">
                  <c:v>0.16664727344956332</c:v>
                </c:pt>
                <c:pt idx="21">
                  <c:v>0.17632540173868705</c:v>
                </c:pt>
                <c:pt idx="22">
                  <c:v>0.17280009553898767</c:v>
                </c:pt>
                <c:pt idx="23">
                  <c:v>0.17466740088750046</c:v>
                </c:pt>
                <c:pt idx="24">
                  <c:v>0.17671705311579747</c:v>
                </c:pt>
                <c:pt idx="25">
                  <c:v>0.1776310065432467</c:v>
                </c:pt>
                <c:pt idx="26">
                  <c:v>0.17535644503635905</c:v>
                </c:pt>
                <c:pt idx="27">
                  <c:v>0.17497407063012876</c:v>
                </c:pt>
                <c:pt idx="28">
                  <c:v>0.16862352594066524</c:v>
                </c:pt>
                <c:pt idx="29">
                  <c:v>0.16917740977767312</c:v>
                </c:pt>
                <c:pt idx="30">
                  <c:v>0.168952586396961</c:v>
                </c:pt>
                <c:pt idx="31">
                  <c:v>0.17135755519975457</c:v>
                </c:pt>
                <c:pt idx="32">
                  <c:v>0.16792437447476755</c:v>
                </c:pt>
                <c:pt idx="33">
                  <c:v>0.1685662750046319</c:v>
                </c:pt>
                <c:pt idx="34">
                  <c:v>0.1668120542131902</c:v>
                </c:pt>
                <c:pt idx="35">
                  <c:v>0.1628467790797131</c:v>
                </c:pt>
                <c:pt idx="36">
                  <c:v>0.16183553198852726</c:v>
                </c:pt>
                <c:pt idx="37">
                  <c:v>0.16093264507109398</c:v>
                </c:pt>
                <c:pt idx="38">
                  <c:v>0.16060169486147077</c:v>
                </c:pt>
                <c:pt idx="39">
                  <c:v>0.16566075063107807</c:v>
                </c:pt>
                <c:pt idx="40">
                  <c:v>0.16288277029081283</c:v>
                </c:pt>
                <c:pt idx="41">
                  <c:v>0.15845033954500654</c:v>
                </c:pt>
                <c:pt idx="42">
                  <c:v>0.16043375019265177</c:v>
                </c:pt>
                <c:pt idx="43">
                  <c:v>0.15940558121939752</c:v>
                </c:pt>
                <c:pt idx="44">
                  <c:v>0.16975838007904087</c:v>
                </c:pt>
                <c:pt idx="45">
                  <c:v>0.17513809262916208</c:v>
                </c:pt>
                <c:pt idx="46">
                  <c:v>0.17591787357036356</c:v>
                </c:pt>
                <c:pt idx="47">
                  <c:v>0.17952159021683833</c:v>
                </c:pt>
                <c:pt idx="48">
                  <c:v>0.18215520485593817</c:v>
                </c:pt>
                <c:pt idx="49">
                  <c:v>0.18099326425320267</c:v>
                </c:pt>
                <c:pt idx="50">
                  <c:v>0.18688217942718843</c:v>
                </c:pt>
                <c:pt idx="51">
                  <c:v>0.18961832750061458</c:v>
                </c:pt>
                <c:pt idx="52">
                  <c:v>0.19416200294751257</c:v>
                </c:pt>
                <c:pt idx="53">
                  <c:v>0.22366113162471526</c:v>
                </c:pt>
                <c:pt idx="54">
                  <c:v>0.1795513567661283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8.0"/>
          <c:min val="65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20657699980694"/>
          <c:min val="0.11314170263568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609118024695493</c:v>
                </c:pt>
                <c:pt idx="1">
                  <c:v>0.7163282100858942</c:v>
                </c:pt>
                <c:pt idx="2">
                  <c:v>0.705595459339295</c:v>
                </c:pt>
                <c:pt idx="3">
                  <c:v>0.7136558086718279</c:v>
                </c:pt>
                <c:pt idx="4">
                  <c:v>0.7142074789638536</c:v>
                </c:pt>
                <c:pt idx="5">
                  <c:v>0.7280092029609502</c:v>
                </c:pt>
                <c:pt idx="6">
                  <c:v>0.6855613482420886</c:v>
                </c:pt>
                <c:pt idx="7">
                  <c:v>0.6845888971112929</c:v>
                </c:pt>
                <c:pt idx="8">
                  <c:v>0.6939672274242183</c:v>
                </c:pt>
                <c:pt idx="9">
                  <c:v>0.710336864379408</c:v>
                </c:pt>
                <c:pt idx="10">
                  <c:v>0.7122996734156637</c:v>
                </c:pt>
                <c:pt idx="11">
                  <c:v>0.7255497001822472</c:v>
                </c:pt>
                <c:pt idx="12">
                  <c:v>0.7323451591403972</c:v>
                </c:pt>
                <c:pt idx="13">
                  <c:v>0.7214825870639383</c:v>
                </c:pt>
                <c:pt idx="14">
                  <c:v>0.7486650088517147</c:v>
                </c:pt>
                <c:pt idx="15">
                  <c:v>0.7423398264910104</c:v>
                </c:pt>
                <c:pt idx="16">
                  <c:v>0.7586628029455009</c:v>
                </c:pt>
                <c:pt idx="17">
                  <c:v>0.7265930510340493</c:v>
                </c:pt>
                <c:pt idx="18">
                  <c:v>0.7620246692700955</c:v>
                </c:pt>
                <c:pt idx="19">
                  <c:v>0.7609425950020267</c:v>
                </c:pt>
                <c:pt idx="20">
                  <c:v>0.7783692358995039</c:v>
                </c:pt>
                <c:pt idx="21">
                  <c:v>0.7082418841017284</c:v>
                </c:pt>
                <c:pt idx="22">
                  <c:v>0.6638130692906169</c:v>
                </c:pt>
                <c:pt idx="23">
                  <c:v>0.6436074833669098</c:v>
                </c:pt>
                <c:pt idx="24">
                  <c:v>0.6381627806970647</c:v>
                </c:pt>
                <c:pt idx="25">
                  <c:v>0.6015964471360544</c:v>
                </c:pt>
                <c:pt idx="26">
                  <c:v>0.6223028271872288</c:v>
                </c:pt>
                <c:pt idx="27">
                  <c:v>0.6560001878796191</c:v>
                </c:pt>
                <c:pt idx="28">
                  <c:v>0.617593734756457</c:v>
                </c:pt>
                <c:pt idx="29">
                  <c:v>0.5815249645760721</c:v>
                </c:pt>
                <c:pt idx="30">
                  <c:v>0.5980928993575919</c:v>
                </c:pt>
                <c:pt idx="31">
                  <c:v>0.59657839457234</c:v>
                </c:pt>
                <c:pt idx="32">
                  <c:v>0.5805921584627668</c:v>
                </c:pt>
                <c:pt idx="33">
                  <c:v>0.5526991045750981</c:v>
                </c:pt>
                <c:pt idx="34">
                  <c:v>0.6227401437071649</c:v>
                </c:pt>
                <c:pt idx="35">
                  <c:v>0.6854077789332509</c:v>
                </c:pt>
                <c:pt idx="36">
                  <c:v>0.7269643694828724</c:v>
                </c:pt>
                <c:pt idx="37">
                  <c:v>0.6934710418154282</c:v>
                </c:pt>
                <c:pt idx="38">
                  <c:v>0.7260798884720837</c:v>
                </c:pt>
                <c:pt idx="39">
                  <c:v>0.7403954355672451</c:v>
                </c:pt>
                <c:pt idx="40">
                  <c:v>0.7501655635023404</c:v>
                </c:pt>
                <c:pt idx="41">
                  <c:v>0.735743369624929</c:v>
                </c:pt>
                <c:pt idx="42">
                  <c:v>0.7627224378883337</c:v>
                </c:pt>
                <c:pt idx="43">
                  <c:v>0.7875202208778969</c:v>
                </c:pt>
                <c:pt idx="44">
                  <c:v>0.7203011090892979</c:v>
                </c:pt>
                <c:pt idx="45">
                  <c:v>0.708295088613196</c:v>
                </c:pt>
                <c:pt idx="46">
                  <c:v>0.7112081143433557</c:v>
                </c:pt>
                <c:pt idx="47">
                  <c:v>0.7057162356473233</c:v>
                </c:pt>
                <c:pt idx="48">
                  <c:v>0.708941689622749</c:v>
                </c:pt>
                <c:pt idx="49">
                  <c:v>0.7101780214281215</c:v>
                </c:pt>
                <c:pt idx="50">
                  <c:v>0.6731231994544521</c:v>
                </c:pt>
                <c:pt idx="51">
                  <c:v>0.6808750103249718</c:v>
                </c:pt>
                <c:pt idx="52">
                  <c:v>0.680670769017217</c:v>
                </c:pt>
                <c:pt idx="53">
                  <c:v>0.674224200751478</c:v>
                </c:pt>
                <c:pt idx="54">
                  <c:v>0.6526804292884189</c:v>
                </c:pt>
                <c:pt idx="55">
                  <c:v>0.6748275289902498</c:v>
                </c:pt>
                <c:pt idx="56">
                  <c:v>0.6483049175162673</c:v>
                </c:pt>
                <c:pt idx="57">
                  <c:v>0.6659024268634557</c:v>
                </c:pt>
                <c:pt idx="58">
                  <c:v>0.6384511520984724</c:v>
                </c:pt>
                <c:pt idx="59">
                  <c:v>0.6675777047671801</c:v>
                </c:pt>
                <c:pt idx="60">
                  <c:v>0.6776031024084156</c:v>
                </c:pt>
                <c:pt idx="61">
                  <c:v>0.6743018313345849</c:v>
                </c:pt>
                <c:pt idx="62">
                  <c:v>0.6656505298953963</c:v>
                </c:pt>
                <c:pt idx="63">
                  <c:v>0.677969109672246</c:v>
                </c:pt>
                <c:pt idx="64">
                  <c:v>0.7315277404939762</c:v>
                </c:pt>
                <c:pt idx="65">
                  <c:v>0.7211680976873944</c:v>
                </c:pt>
                <c:pt idx="66">
                  <c:v>0.7268903605280141</c:v>
                </c:pt>
                <c:pt idx="67">
                  <c:v>0.7179380813176557</c:v>
                </c:pt>
                <c:pt idx="68">
                  <c:v>0.7183758044935689</c:v>
                </c:pt>
                <c:pt idx="69">
                  <c:v>0.713755087970347</c:v>
                </c:pt>
                <c:pt idx="70">
                  <c:v>0.6948180103777903</c:v>
                </c:pt>
                <c:pt idx="71">
                  <c:v>0.6575775928724598</c:v>
                </c:pt>
                <c:pt idx="72">
                  <c:v>0.6797423026121219</c:v>
                </c:pt>
                <c:pt idx="73">
                  <c:v>0.6900395067694539</c:v>
                </c:pt>
                <c:pt idx="74">
                  <c:v>0.635502822475777</c:v>
                </c:pt>
                <c:pt idx="75">
                  <c:v>0.6398225550031004</c:v>
                </c:pt>
                <c:pt idx="76">
                  <c:v>0.6447302250363598</c:v>
                </c:pt>
                <c:pt idx="77">
                  <c:v>0.6132107374271331</c:v>
                </c:pt>
                <c:pt idx="78">
                  <c:v>0.6513765526975256</c:v>
                </c:pt>
                <c:pt idx="79">
                  <c:v>0.4772647337116249</c:v>
                </c:pt>
                <c:pt idx="80">
                  <c:v>0.481480861534107</c:v>
                </c:pt>
                <c:pt idx="81">
                  <c:v>0.5991202030541747</c:v>
                </c:pt>
                <c:pt idx="82">
                  <c:v>0.6038686258402417</c:v>
                </c:pt>
                <c:pt idx="83">
                  <c:v>0.6196858162086277</c:v>
                </c:pt>
                <c:pt idx="84">
                  <c:v>0.6132570162045915</c:v>
                </c:pt>
                <c:pt idx="85">
                  <c:v>0.6263134814729864</c:v>
                </c:pt>
                <c:pt idx="86">
                  <c:v>0.6959467191330301</c:v>
                </c:pt>
                <c:pt idx="87">
                  <c:v>0.7283634603262984</c:v>
                </c:pt>
                <c:pt idx="88">
                  <c:v>0.6929372346647465</c:v>
                </c:pt>
                <c:pt idx="89">
                  <c:v>0.6458188760934785</c:v>
                </c:pt>
                <c:pt idx="90">
                  <c:v>0.6570226509426407</c:v>
                </c:pt>
                <c:pt idx="91">
                  <c:v>0.7073099459259491</c:v>
                </c:pt>
                <c:pt idx="92">
                  <c:v>0.7136058760439732</c:v>
                </c:pt>
                <c:pt idx="93">
                  <c:v>0.7302536821016484</c:v>
                </c:pt>
                <c:pt idx="94">
                  <c:v>0.741482378558882</c:v>
                </c:pt>
                <c:pt idx="95">
                  <c:v>0.7779995549500035</c:v>
                </c:pt>
                <c:pt idx="96">
                  <c:v>0.7528781626870029</c:v>
                </c:pt>
                <c:pt idx="97">
                  <c:v>0.8137832942499479</c:v>
                </c:pt>
                <c:pt idx="98">
                  <c:v>0.8212027964348598</c:v>
                </c:pt>
                <c:pt idx="99">
                  <c:v>0.8042978753714253</c:v>
                </c:pt>
                <c:pt idx="100">
                  <c:v>0.796480614541105</c:v>
                </c:pt>
                <c:pt idx="101">
                  <c:v>0.769357186307233</c:v>
                </c:pt>
                <c:pt idx="102">
                  <c:v>0.7556304070207761</c:v>
                </c:pt>
                <c:pt idx="103">
                  <c:v>0.7004703184652596</c:v>
                </c:pt>
                <c:pt idx="104">
                  <c:v>0.7310545144910264</c:v>
                </c:pt>
              </c:numCache>
            </c:numRef>
          </c:xVal>
          <c:yVal>
            <c:numRef>
              <c:f>Sheet1!$B$2:$B$106</c:f>
              <c:numCache>
                <c:formatCode>General</c:formatCode>
                <c:ptCount val="105"/>
                <c:pt idx="0">
                  <c:v>0.2104353132628153</c:v>
                </c:pt>
                <c:pt idx="1">
                  <c:v>0.20936580711843744</c:v>
                </c:pt>
                <c:pt idx="2">
                  <c:v>0.1951964281132124</c:v>
                </c:pt>
                <c:pt idx="3">
                  <c:v>0.19280869846054474</c:v>
                </c:pt>
                <c:pt idx="4">
                  <c:v>0.18282521947326416</c:v>
                </c:pt>
                <c:pt idx="5">
                  <c:v>0.17047857630868335</c:v>
                </c:pt>
                <c:pt idx="6">
                  <c:v>0.18916918720638393</c:v>
                </c:pt>
                <c:pt idx="7">
                  <c:v>0.17825161479741633</c:v>
                </c:pt>
                <c:pt idx="8">
                  <c:v>0.18962759881197166</c:v>
                </c:pt>
                <c:pt idx="9">
                  <c:v>0.19161017956950885</c:v>
                </c:pt>
                <c:pt idx="10">
                  <c:v>0.20396039603960395</c:v>
                </c:pt>
                <c:pt idx="11">
                  <c:v>0.19627861497756816</c:v>
                </c:pt>
                <c:pt idx="12">
                  <c:v>0.2090399978766887</c:v>
                </c:pt>
                <c:pt idx="13">
                  <c:v>0.21092146331861766</c:v>
                </c:pt>
                <c:pt idx="14">
                  <c:v>0.20510605089328018</c:v>
                </c:pt>
                <c:pt idx="15">
                  <c:v>0.1997352308456065</c:v>
                </c:pt>
                <c:pt idx="16">
                  <c:v>0.19186415376002985</c:v>
                </c:pt>
                <c:pt idx="17">
                  <c:v>0.1788574697613599</c:v>
                </c:pt>
                <c:pt idx="18">
                  <c:v>0.17484202391235168</c:v>
                </c:pt>
                <c:pt idx="19">
                  <c:v>0.14627434377646062</c:v>
                </c:pt>
                <c:pt idx="20">
                  <c:v>0.16460617710017036</c:v>
                </c:pt>
                <c:pt idx="21">
                  <c:v>0.16421682397235546</c:v>
                </c:pt>
                <c:pt idx="22">
                  <c:v>0.1563387690689111</c:v>
                </c:pt>
                <c:pt idx="23">
                  <c:v>0.16137669437161822</c:v>
                </c:pt>
                <c:pt idx="24">
                  <c:v>0.1694212735091446</c:v>
                </c:pt>
                <c:pt idx="25">
                  <c:v>0.16806624679262888</c:v>
                </c:pt>
                <c:pt idx="26">
                  <c:v>0.1631565194669454</c:v>
                </c:pt>
                <c:pt idx="27">
                  <c:v>0.1644426607805759</c:v>
                </c:pt>
                <c:pt idx="28">
                  <c:v>0.15609481390467414</c:v>
                </c:pt>
                <c:pt idx="29">
                  <c:v>0.1752558726723477</c:v>
                </c:pt>
                <c:pt idx="30">
                  <c:v>0.1553217462070569</c:v>
                </c:pt>
                <c:pt idx="31">
                  <c:v>0.1508401503426929</c:v>
                </c:pt>
                <c:pt idx="32">
                  <c:v>0.15629783511917777</c:v>
                </c:pt>
                <c:pt idx="33">
                  <c:v>0.17726337898744146</c:v>
                </c:pt>
                <c:pt idx="34">
                  <c:v>0.17377744012155624</c:v>
                </c:pt>
                <c:pt idx="35">
                  <c:v>0.192956416138173</c:v>
                </c:pt>
                <c:pt idx="36">
                  <c:v>0.15716185884113393</c:v>
                </c:pt>
                <c:pt idx="37">
                  <c:v>0.1293269230769231</c:v>
                </c:pt>
                <c:pt idx="38">
                  <c:v>0.12359550561797752</c:v>
                </c:pt>
                <c:pt idx="39">
                  <c:v>0.12543323139653414</c:v>
                </c:pt>
                <c:pt idx="40">
                  <c:v>0.13096507313744724</c:v>
                </c:pt>
                <c:pt idx="41">
                  <c:v>0.1206642745422762</c:v>
                </c:pt>
                <c:pt idx="42">
                  <c:v>0.12140700364691581</c:v>
                </c:pt>
                <c:pt idx="43">
                  <c:v>0.13300094800042134</c:v>
                </c:pt>
                <c:pt idx="44">
                  <c:v>0.14654865576726858</c:v>
                </c:pt>
                <c:pt idx="45">
                  <c:v>0.16731320255675555</c:v>
                </c:pt>
                <c:pt idx="46">
                  <c:v>0.1764019187502653</c:v>
                </c:pt>
                <c:pt idx="47">
                  <c:v>0.1716687701884613</c:v>
                </c:pt>
                <c:pt idx="48">
                  <c:v>0.19153248508050896</c:v>
                </c:pt>
                <c:pt idx="49">
                  <c:v>0.22133119486768243</c:v>
                </c:pt>
                <c:pt idx="50">
                  <c:v>0.1820144482271859</c:v>
                </c:pt>
                <c:pt idx="51">
                  <c:v>0.1671104696015728</c:v>
                </c:pt>
                <c:pt idx="52">
                  <c:v>0.1823606150687568</c:v>
                </c:pt>
                <c:pt idx="53">
                  <c:v>0.165633727889347</c:v>
                </c:pt>
                <c:pt idx="54">
                  <c:v>0.15941820276497695</c:v>
                </c:pt>
                <c:pt idx="55">
                  <c:v>0.1570630582190758</c:v>
                </c:pt>
                <c:pt idx="56">
                  <c:v>0.17284360475644353</c:v>
                </c:pt>
                <c:pt idx="57">
                  <c:v>0.16677579027315823</c:v>
                </c:pt>
                <c:pt idx="58">
                  <c:v>0.1796740265733926</c:v>
                </c:pt>
                <c:pt idx="59">
                  <c:v>0.1848297810782139</c:v>
                </c:pt>
                <c:pt idx="60">
                  <c:v>0.1911824354113394</c:v>
                </c:pt>
                <c:pt idx="61">
                  <c:v>0.1938988416432837</c:v>
                </c:pt>
                <c:pt idx="62">
                  <c:v>0.1979644124767882</c:v>
                </c:pt>
                <c:pt idx="63">
                  <c:v>0.21463529815824497</c:v>
                </c:pt>
                <c:pt idx="64">
                  <c:v>0.20133358416421063</c:v>
                </c:pt>
                <c:pt idx="65">
                  <c:v>0.1998720672560711</c:v>
                </c:pt>
                <c:pt idx="66">
                  <c:v>0.19738022185508614</c:v>
                </c:pt>
                <c:pt idx="67">
                  <c:v>0.193351193375548</c:v>
                </c:pt>
                <c:pt idx="68">
                  <c:v>0.1764843521497514</c:v>
                </c:pt>
                <c:pt idx="69">
                  <c:v>0.15879038317054847</c:v>
                </c:pt>
                <c:pt idx="70">
                  <c:v>0.14821472630502977</c:v>
                </c:pt>
                <c:pt idx="71">
                  <c:v>0.15706529935153069</c:v>
                </c:pt>
                <c:pt idx="72">
                  <c:v>0.15622956774427896</c:v>
                </c:pt>
                <c:pt idx="73">
                  <c:v>0.16183638768184394</c:v>
                </c:pt>
                <c:pt idx="74">
                  <c:v>0.1592623335378397</c:v>
                </c:pt>
                <c:pt idx="75">
                  <c:v>0.15497225778915918</c:v>
                </c:pt>
                <c:pt idx="76">
                  <c:v>0.1459560670411472</c:v>
                </c:pt>
                <c:pt idx="77">
                  <c:v>0.15498438843386578</c:v>
                </c:pt>
                <c:pt idx="78">
                  <c:v>0.1446161907257008</c:v>
                </c:pt>
                <c:pt idx="79">
                  <c:v>0.18320854638422207</c:v>
                </c:pt>
                <c:pt idx="80">
                  <c:v>0.1774726788502158</c:v>
                </c:pt>
                <c:pt idx="81">
                  <c:v>0.1575934534557609</c:v>
                </c:pt>
                <c:pt idx="82">
                  <c:v>0.14378602039308408</c:v>
                </c:pt>
                <c:pt idx="83">
                  <c:v>0.1329802220093537</c:v>
                </c:pt>
                <c:pt idx="84">
                  <c:v>0.12998102466793168</c:v>
                </c:pt>
                <c:pt idx="85">
                  <c:v>0.1331891549741534</c:v>
                </c:pt>
                <c:pt idx="86">
                  <c:v>0.13664497698777972</c:v>
                </c:pt>
                <c:pt idx="87">
                  <c:v>0.15707769558051285</c:v>
                </c:pt>
                <c:pt idx="88">
                  <c:v>0.14278950856926428</c:v>
                </c:pt>
                <c:pt idx="89">
                  <c:v>0.12795285677683832</c:v>
                </c:pt>
                <c:pt idx="90">
                  <c:v>0.12505943889681406</c:v>
                </c:pt>
                <c:pt idx="91">
                  <c:v>0.11934383465435938</c:v>
                </c:pt>
                <c:pt idx="92">
                  <c:v>0.13114754098360656</c:v>
                </c:pt>
                <c:pt idx="93">
                  <c:v>0.11910570731512218</c:v>
                </c:pt>
                <c:pt idx="94">
                  <c:v>0.12265742556198987</c:v>
                </c:pt>
                <c:pt idx="95">
                  <c:v>0.13306545345863913</c:v>
                </c:pt>
                <c:pt idx="96">
                  <c:v>0.12835410689746618</c:v>
                </c:pt>
                <c:pt idx="97">
                  <c:v>0.13635974853526067</c:v>
                </c:pt>
                <c:pt idx="98">
                  <c:v>0.15405743754554457</c:v>
                </c:pt>
                <c:pt idx="99">
                  <c:v>0.1593022876350227</c:v>
                </c:pt>
                <c:pt idx="100">
                  <c:v>0.18337582746602418</c:v>
                </c:pt>
                <c:pt idx="101">
                  <c:v>0.15571918341904317</c:v>
                </c:pt>
                <c:pt idx="102">
                  <c:v>0.1313907284768212</c:v>
                </c:pt>
                <c:pt idx="103">
                  <c:v>0.15021106674272675</c:v>
                </c:pt>
                <c:pt idx="104">
                  <c:v>0.1544821131447587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254110405452208</c:v>
                </c:pt>
                <c:pt idx="1">
                  <c:v>0.6947815455122834</c:v>
                </c:pt>
                <c:pt idx="2">
                  <c:v>0.6951723534850008</c:v>
                </c:pt>
                <c:pt idx="3">
                  <c:v>0.6917161590846355</c:v>
                </c:pt>
                <c:pt idx="4">
                  <c:v>0.6745426992924668</c:v>
                </c:pt>
                <c:pt idx="5">
                  <c:v>0.7146263146925648</c:v>
                </c:pt>
                <c:pt idx="6">
                  <c:v>0.7132113763803385</c:v>
                </c:pt>
                <c:pt idx="7">
                  <c:v>0.7128734962372993</c:v>
                </c:pt>
                <c:pt idx="8">
                  <c:v>0.7452303081125203</c:v>
                </c:pt>
                <c:pt idx="9">
                  <c:v>0.7194567560935837</c:v>
                </c:pt>
                <c:pt idx="10">
                  <c:v>0.7362738101154223</c:v>
                </c:pt>
                <c:pt idx="11">
                  <c:v>0.7230057303427655</c:v>
                </c:pt>
                <c:pt idx="12">
                  <c:v>0.7308548190636966</c:v>
                </c:pt>
                <c:pt idx="13">
                  <c:v>0.699870638204248</c:v>
                </c:pt>
                <c:pt idx="14">
                  <c:v>0.7085247379273167</c:v>
                </c:pt>
                <c:pt idx="15">
                  <c:v>0.7095014687691831</c:v>
                </c:pt>
                <c:pt idx="16">
                  <c:v>0.7052671291202632</c:v>
                </c:pt>
                <c:pt idx="17">
                  <c:v>0.7125001906561874</c:v>
                </c:pt>
                <c:pt idx="18">
                  <c:v>0.7085931159533844</c:v>
                </c:pt>
                <c:pt idx="19">
                  <c:v>0.7096019784510241</c:v>
                </c:pt>
                <c:pt idx="20">
                  <c:v>0.6757785992527147</c:v>
                </c:pt>
                <c:pt idx="21">
                  <c:v>0.6673683605241642</c:v>
                </c:pt>
                <c:pt idx="22">
                  <c:v>0.6440513924661739</c:v>
                </c:pt>
                <c:pt idx="23">
                  <c:v>0.6194279041013041</c:v>
                </c:pt>
                <c:pt idx="24">
                  <c:v>0.6150491172403273</c:v>
                </c:pt>
                <c:pt idx="25">
                  <c:v>0.6397528676249324</c:v>
                </c:pt>
                <c:pt idx="26">
                  <c:v>0.6643347409619719</c:v>
                </c:pt>
                <c:pt idx="27">
                  <c:v>0.7191748303787424</c:v>
                </c:pt>
                <c:pt idx="28">
                  <c:v>0.7112004626286094</c:v>
                </c:pt>
                <c:pt idx="29">
                  <c:v>0.6738756827203154</c:v>
                </c:pt>
                <c:pt idx="30">
                  <c:v>0.6608904086746343</c:v>
                </c:pt>
                <c:pt idx="31">
                  <c:v>0.626891026547932</c:v>
                </c:pt>
                <c:pt idx="32">
                  <c:v>0.6326987290949008</c:v>
                </c:pt>
                <c:pt idx="33">
                  <c:v>0.6852782160503058</c:v>
                </c:pt>
                <c:pt idx="34">
                  <c:v>0.7313573214480316</c:v>
                </c:pt>
                <c:pt idx="35">
                  <c:v>0.6956932393362223</c:v>
                </c:pt>
                <c:pt idx="36">
                  <c:v>0.6235559944814443</c:v>
                </c:pt>
                <c:pt idx="37">
                  <c:v>0.6649076892898075</c:v>
                </c:pt>
                <c:pt idx="38">
                  <c:v>0.6279689032445656</c:v>
                </c:pt>
                <c:pt idx="39">
                  <c:v>0.6893295467965169</c:v>
                </c:pt>
                <c:pt idx="40">
                  <c:v>0.6778458481041596</c:v>
                </c:pt>
                <c:pt idx="41">
                  <c:v>0.7128441793958133</c:v>
                </c:pt>
                <c:pt idx="42">
                  <c:v>0.68264785750735</c:v>
                </c:pt>
                <c:pt idx="43">
                  <c:v>0.7324080723799927</c:v>
                </c:pt>
                <c:pt idx="44">
                  <c:v>0.7725367189345345</c:v>
                </c:pt>
                <c:pt idx="45">
                  <c:v>0.7832994011629448</c:v>
                </c:pt>
                <c:pt idx="46">
                  <c:v>0.7621225428213404</c:v>
                </c:pt>
                <c:pt idx="47">
                  <c:v>0.7550713116266614</c:v>
                </c:pt>
                <c:pt idx="48">
                  <c:v>0.7934507210416328</c:v>
                </c:pt>
                <c:pt idx="49">
                  <c:v>0.806589393662735</c:v>
                </c:pt>
                <c:pt idx="50">
                  <c:v>0.7539763473990556</c:v>
                </c:pt>
                <c:pt idx="51">
                  <c:v>0.7256984886978678</c:v>
                </c:pt>
              </c:numCache>
            </c:numRef>
          </c:xVal>
          <c:yVal>
            <c:numRef>
              <c:f>Sheet1!$B$109:$B$160</c:f>
              <c:numCache>
                <c:formatCode>General</c:formatCode>
                <c:ptCount val="52"/>
                <c:pt idx="0">
                  <c:v>0.15453902381513793</c:v>
                </c:pt>
                <c:pt idx="1">
                  <c:v>0.15065908633527872</c:v>
                </c:pt>
                <c:pt idx="2">
                  <c:v>0.15922999634636464</c:v>
                </c:pt>
                <c:pt idx="3">
                  <c:v>0.16322220203488372</c:v>
                </c:pt>
                <c:pt idx="4">
                  <c:v>0.1516795865633075</c:v>
                </c:pt>
                <c:pt idx="5">
                  <c:v>0.1499715018523796</c:v>
                </c:pt>
                <c:pt idx="6">
                  <c:v>0.15807702011514024</c:v>
                </c:pt>
                <c:pt idx="7">
                  <c:v>0.15210545813781182</c:v>
                </c:pt>
                <c:pt idx="8">
                  <c:v>0.15225104198959732</c:v>
                </c:pt>
                <c:pt idx="9">
                  <c:v>0.16813044983788208</c:v>
                </c:pt>
                <c:pt idx="10">
                  <c:v>0.1647083891391696</c:v>
                </c:pt>
                <c:pt idx="11">
                  <c:v>0.18933902887914386</c:v>
                </c:pt>
                <c:pt idx="12">
                  <c:v>0.17624590760276465</c:v>
                </c:pt>
                <c:pt idx="13">
                  <c:v>0.16931939978563773</c:v>
                </c:pt>
                <c:pt idx="14">
                  <c:v>0.1727391874180865</c:v>
                </c:pt>
                <c:pt idx="15">
                  <c:v>0.15765555451800667</c:v>
                </c:pt>
                <c:pt idx="16">
                  <c:v>0.15561180264207206</c:v>
                </c:pt>
                <c:pt idx="17">
                  <c:v>0.13336514812231562</c:v>
                </c:pt>
                <c:pt idx="18">
                  <c:v>0.1307206849375524</c:v>
                </c:pt>
                <c:pt idx="19">
                  <c:v>0.14154471544715447</c:v>
                </c:pt>
                <c:pt idx="20">
                  <c:v>0.13488269145639664</c:v>
                </c:pt>
                <c:pt idx="21">
                  <c:v>0.14243070362473348</c:v>
                </c:pt>
                <c:pt idx="22">
                  <c:v>0.14002001791076227</c:v>
                </c:pt>
                <c:pt idx="23">
                  <c:v>0.14325596671775784</c:v>
                </c:pt>
                <c:pt idx="24">
                  <c:v>0.1437380175138608</c:v>
                </c:pt>
                <c:pt idx="25">
                  <c:v>0.14956521739130435</c:v>
                </c:pt>
                <c:pt idx="26">
                  <c:v>0.1334056399132321</c:v>
                </c:pt>
                <c:pt idx="27">
                  <c:v>0.11880146386093321</c:v>
                </c:pt>
                <c:pt idx="28">
                  <c:v>0.129798595635538</c:v>
                </c:pt>
                <c:pt idx="29">
                  <c:v>0.1199602286850609</c:v>
                </c:pt>
                <c:pt idx="30">
                  <c:v>0.14040989545595695</c:v>
                </c:pt>
                <c:pt idx="31">
                  <c:v>0.12741490340386386</c:v>
                </c:pt>
                <c:pt idx="32">
                  <c:v>0.1301096199159922</c:v>
                </c:pt>
                <c:pt idx="33">
                  <c:v>0.14949047030230675</c:v>
                </c:pt>
                <c:pt idx="34">
                  <c:v>0.17020268669847394</c:v>
                </c:pt>
                <c:pt idx="35">
                  <c:v>0.16325723103707515</c:v>
                </c:pt>
                <c:pt idx="36">
                  <c:v>0.14331593737454837</c:v>
                </c:pt>
                <c:pt idx="37">
                  <c:v>0.13059604032805724</c:v>
                </c:pt>
                <c:pt idx="38">
                  <c:v>0.12966160220994474</c:v>
                </c:pt>
                <c:pt idx="39">
                  <c:v>0.14714419684722904</c:v>
                </c:pt>
                <c:pt idx="40">
                  <c:v>0.12842914555303162</c:v>
                </c:pt>
                <c:pt idx="41">
                  <c:v>0.13137238701148476</c:v>
                </c:pt>
                <c:pt idx="42">
                  <c:v>0.12623932014437794</c:v>
                </c:pt>
                <c:pt idx="43">
                  <c:v>0.12546138190348063</c:v>
                </c:pt>
                <c:pt idx="44">
                  <c:v>0.12657753702529823</c:v>
                </c:pt>
                <c:pt idx="45">
                  <c:v>0.141745609600633</c:v>
                </c:pt>
                <c:pt idx="46">
                  <c:v>0.13399320820280622</c:v>
                </c:pt>
                <c:pt idx="47">
                  <c:v>0.13891769120624106</c:v>
                </c:pt>
                <c:pt idx="48">
                  <c:v>0.13187201329731976</c:v>
                </c:pt>
                <c:pt idx="49">
                  <c:v>0.144998575092619</c:v>
                </c:pt>
                <c:pt idx="50">
                  <c:v>0.1826004679768313</c:v>
                </c:pt>
                <c:pt idx="51">
                  <c:v>0.1620312297244690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27078325067742</c:v>
                </c:pt>
              </c:numCache>
            </c:numRef>
          </c:xVal>
          <c:yVal>
            <c:numRef>
              <c:f>Sheet1!$B$163:$B$164</c:f>
              <c:numCache>
                <c:formatCode>General</c:formatCode>
                <c:ptCount val="2"/>
                <c:pt idx="0">
                  <c:v>0.19090649372808102</c:v>
                </c:pt>
                <c:pt idx="1">
                  <c:v>0.1909064937280810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27078325067742</c:v>
                </c:pt>
                <c:pt idx="1">
                  <c:v>1.27078325067742</c:v>
                </c:pt>
              </c:numCache>
            </c:numRef>
          </c:xVal>
          <c:yVal>
            <c:numRef>
              <c:f>Sheet1!$B$167:$B$168</c:f>
              <c:numCache>
                <c:formatCode>General</c:formatCode>
                <c:ptCount val="2"/>
                <c:pt idx="0">
                  <c:v>0.19090649372808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325503174944487</c:v>
                </c:pt>
              </c:numCache>
            </c:numRef>
          </c:xVal>
          <c:yVal>
            <c:numRef>
              <c:f>Sheet1!$B$171:$B$172</c:f>
              <c:numCache>
                <c:formatCode>General</c:formatCode>
                <c:ptCount val="2"/>
                <c:pt idx="0">
                  <c:v>0.1566687433393012</c:v>
                </c:pt>
                <c:pt idx="1">
                  <c:v>0.156668743339301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325503174944487</c:v>
                </c:pt>
                <c:pt idx="1">
                  <c:v>0.8325503174944487</c:v>
                </c:pt>
              </c:numCache>
            </c:numRef>
          </c:xVal>
          <c:yVal>
            <c:numRef>
              <c:f>Sheet1!$B$175:$B$176</c:f>
              <c:numCache>
                <c:formatCode>General</c:formatCode>
                <c:ptCount val="2"/>
                <c:pt idx="0">
                  <c:v>0.156668743339301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205568619908878</c:v>
                </c:pt>
              </c:numCache>
            </c:numRef>
          </c:xVal>
          <c:yVal>
            <c:numRef>
              <c:f>Sheet1!$B$179:$B$180</c:f>
              <c:numCache>
                <c:formatCode>General</c:formatCode>
                <c:ptCount val="2"/>
                <c:pt idx="0">
                  <c:v>0.1401063664296786</c:v>
                </c:pt>
                <c:pt idx="1">
                  <c:v>0.140106366429678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205568619908878</c:v>
                </c:pt>
                <c:pt idx="1">
                  <c:v>0.6205568619908878</c:v>
                </c:pt>
              </c:numCache>
            </c:numRef>
          </c:xVal>
          <c:yVal>
            <c:numRef>
              <c:f>Sheet1!$B$183:$B$184</c:f>
              <c:numCache>
                <c:formatCode>General</c:formatCode>
                <c:ptCount val="2"/>
                <c:pt idx="0">
                  <c:v>0.14010636642967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254110405452208</c:v>
                </c:pt>
                <c:pt idx="1">
                  <c:v>0.6947815455122834</c:v>
                </c:pt>
                <c:pt idx="2">
                  <c:v>0.6951723534850008</c:v>
                </c:pt>
                <c:pt idx="3">
                  <c:v>0.6917161590846355</c:v>
                </c:pt>
                <c:pt idx="4">
                  <c:v>0.6745426992924668</c:v>
                </c:pt>
                <c:pt idx="5">
                  <c:v>0.7146263146925648</c:v>
                </c:pt>
                <c:pt idx="6">
                  <c:v>0.7132113763803385</c:v>
                </c:pt>
                <c:pt idx="7">
                  <c:v>0.7128734962372993</c:v>
                </c:pt>
                <c:pt idx="8">
                  <c:v>0.7452303081125203</c:v>
                </c:pt>
                <c:pt idx="9">
                  <c:v>0.7194567560935837</c:v>
                </c:pt>
                <c:pt idx="10">
                  <c:v>0.7362738101154223</c:v>
                </c:pt>
                <c:pt idx="11">
                  <c:v>0.7230057303427655</c:v>
                </c:pt>
                <c:pt idx="12">
                  <c:v>0.7308548190636966</c:v>
                </c:pt>
                <c:pt idx="13">
                  <c:v>0.699870638204248</c:v>
                </c:pt>
                <c:pt idx="14">
                  <c:v>0.7085247379273167</c:v>
                </c:pt>
                <c:pt idx="15">
                  <c:v>0.7095014687691831</c:v>
                </c:pt>
                <c:pt idx="16">
                  <c:v>0.7052671291202632</c:v>
                </c:pt>
                <c:pt idx="17">
                  <c:v>0.7125001906561874</c:v>
                </c:pt>
                <c:pt idx="18">
                  <c:v>0.7085931159533844</c:v>
                </c:pt>
                <c:pt idx="19">
                  <c:v>0.7096019784510241</c:v>
                </c:pt>
                <c:pt idx="20">
                  <c:v>0.6757785992527147</c:v>
                </c:pt>
                <c:pt idx="21">
                  <c:v>0.6673683605241642</c:v>
                </c:pt>
                <c:pt idx="22">
                  <c:v>0.6440513924661739</c:v>
                </c:pt>
                <c:pt idx="23">
                  <c:v>0.6194279041013041</c:v>
                </c:pt>
                <c:pt idx="24">
                  <c:v>0.6150491172403273</c:v>
                </c:pt>
                <c:pt idx="25">
                  <c:v>0.6397528676249324</c:v>
                </c:pt>
                <c:pt idx="26">
                  <c:v>0.6643347409619719</c:v>
                </c:pt>
                <c:pt idx="27">
                  <c:v>0.7191748303787424</c:v>
                </c:pt>
                <c:pt idx="28">
                  <c:v>0.7112004626286094</c:v>
                </c:pt>
                <c:pt idx="29">
                  <c:v>0.6738756827203154</c:v>
                </c:pt>
                <c:pt idx="30">
                  <c:v>0.6608904086746343</c:v>
                </c:pt>
                <c:pt idx="31">
                  <c:v>0.626891026547932</c:v>
                </c:pt>
                <c:pt idx="32">
                  <c:v>0.6326987290949008</c:v>
                </c:pt>
                <c:pt idx="33">
                  <c:v>0.6852782160503058</c:v>
                </c:pt>
                <c:pt idx="34">
                  <c:v>0.7313573214480316</c:v>
                </c:pt>
                <c:pt idx="35">
                  <c:v>0.6956932393362223</c:v>
                </c:pt>
                <c:pt idx="36">
                  <c:v>0.6235559944814443</c:v>
                </c:pt>
                <c:pt idx="37">
                  <c:v>0.6649076892898075</c:v>
                </c:pt>
                <c:pt idx="38">
                  <c:v>0.6279689032445656</c:v>
                </c:pt>
                <c:pt idx="39">
                  <c:v>0.6893295467965169</c:v>
                </c:pt>
                <c:pt idx="40">
                  <c:v>0.6778458481041596</c:v>
                </c:pt>
                <c:pt idx="41">
                  <c:v>0.7128441793958133</c:v>
                </c:pt>
                <c:pt idx="42">
                  <c:v>0.68264785750735</c:v>
                </c:pt>
                <c:pt idx="43">
                  <c:v>0.7324080723799927</c:v>
                </c:pt>
                <c:pt idx="44">
                  <c:v>0.7725367189345345</c:v>
                </c:pt>
                <c:pt idx="45">
                  <c:v>0.7832994011629448</c:v>
                </c:pt>
                <c:pt idx="46">
                  <c:v>0.7621225428213404</c:v>
                </c:pt>
                <c:pt idx="47">
                  <c:v>0.7550713116266614</c:v>
                </c:pt>
                <c:pt idx="48">
                  <c:v>0.7934507210416328</c:v>
                </c:pt>
                <c:pt idx="49">
                  <c:v>0.806589393662735</c:v>
                </c:pt>
                <c:pt idx="50">
                  <c:v>0.7539763473990556</c:v>
                </c:pt>
                <c:pt idx="51">
                  <c:v>0.7256984886978678</c:v>
                </c:pt>
                <c:pt idx="52">
                  <c:v>0.8325503174944487</c:v>
                </c:pt>
                <c:pt idx="53">
                  <c:v>1.27078325067742</c:v>
                </c:pt>
                <c:pt idx="54">
                  <c:v>0.6205568619908878</c:v>
                </c:pt>
              </c:numCache>
            </c:numRef>
          </c:xVal>
          <c:yVal>
            <c:numRef>
              <c:f>Sheet1!$B$187:$B$241</c:f>
              <c:numCache>
                <c:formatCode>General</c:formatCode>
                <c:ptCount val="55"/>
                <c:pt idx="0">
                  <c:v>0.14829829113622484</c:v>
                </c:pt>
                <c:pt idx="1">
                  <c:v>0.1459053057486245</c:v>
                </c:pt>
                <c:pt idx="2">
                  <c:v>0.14593583833713322</c:v>
                </c:pt>
                <c:pt idx="3">
                  <c:v>0.14566581682068686</c:v>
                </c:pt>
                <c:pt idx="4">
                  <c:v>0.14432410882670885</c:v>
                </c:pt>
                <c:pt idx="5">
                  <c:v>0.14745571468020002</c:v>
                </c:pt>
                <c:pt idx="6">
                  <c:v>0.14734517003354908</c:v>
                </c:pt>
                <c:pt idx="7">
                  <c:v>0.1473187725286544</c:v>
                </c:pt>
                <c:pt idx="8">
                  <c:v>0.1498467077075881</c:v>
                </c:pt>
                <c:pt idx="9">
                  <c:v>0.1478331017600676</c:v>
                </c:pt>
                <c:pt idx="10">
                  <c:v>0.14914696490059504</c:v>
                </c:pt>
                <c:pt idx="11">
                  <c:v>0.14811037187209947</c:v>
                </c:pt>
                <c:pt idx="12">
                  <c:v>0.14872359630152504</c:v>
                </c:pt>
                <c:pt idx="13">
                  <c:v>0.14630290043423455</c:v>
                </c:pt>
                <c:pt idx="14">
                  <c:v>0.14697901782232303</c:v>
                </c:pt>
                <c:pt idx="15">
                  <c:v>0.1470553267079149</c:v>
                </c:pt>
                <c:pt idx="16">
                  <c:v>0.14672451116900034</c:v>
                </c:pt>
                <c:pt idx="17">
                  <c:v>0.14728960734653992</c:v>
                </c:pt>
                <c:pt idx="18">
                  <c:v>0.14698435998082213</c:v>
                </c:pt>
                <c:pt idx="19">
                  <c:v>0.14706317921086015</c:v>
                </c:pt>
                <c:pt idx="20">
                  <c:v>0.14442066577425985</c:v>
                </c:pt>
                <c:pt idx="21">
                  <c:v>0.14376360047292172</c:v>
                </c:pt>
                <c:pt idx="22">
                  <c:v>0.14194191964580025</c:v>
                </c:pt>
                <c:pt idx="23">
                  <c:v>0.14001816452722854</c:v>
                </c:pt>
                <c:pt idx="24">
                  <c:v>0.13967606378536304</c:v>
                </c:pt>
                <c:pt idx="25">
                  <c:v>0.14160608952120085</c:v>
                </c:pt>
                <c:pt idx="26">
                  <c:v>0.14352659338951868</c:v>
                </c:pt>
                <c:pt idx="27">
                  <c:v>0.14781107579733857</c:v>
                </c:pt>
                <c:pt idx="28">
                  <c:v>0.147188063714348</c:v>
                </c:pt>
                <c:pt idx="29">
                  <c:v>0.1442719969355814</c:v>
                </c:pt>
                <c:pt idx="30">
                  <c:v>0.14325749862237427</c:v>
                </c:pt>
                <c:pt idx="31">
                  <c:v>0.14060123463470003</c:v>
                </c:pt>
                <c:pt idx="32">
                  <c:v>0.14105497203113707</c:v>
                </c:pt>
                <c:pt idx="33">
                  <c:v>0.1451628407320903</c:v>
                </c:pt>
                <c:pt idx="34">
                  <c:v>0.14876285522047406</c:v>
                </c:pt>
                <c:pt idx="35">
                  <c:v>0.14597653349809622</c:v>
                </c:pt>
                <c:pt idx="36">
                  <c:v>0.14034067914745804</c:v>
                </c:pt>
                <c:pt idx="37">
                  <c:v>0.143571356026803</c:v>
                </c:pt>
                <c:pt idx="38">
                  <c:v>0.14068544572541197</c:v>
                </c:pt>
                <c:pt idx="39">
                  <c:v>0.1454793583653583</c:v>
                </c:pt>
                <c:pt idx="40">
                  <c:v>0.14458217337628598</c:v>
                </c:pt>
                <c:pt idx="41">
                  <c:v>0.14731648209672887</c:v>
                </c:pt>
                <c:pt idx="42">
                  <c:v>0.14495733915425907</c:v>
                </c:pt>
                <c:pt idx="43">
                  <c:v>0.14884494706114876</c:v>
                </c:pt>
                <c:pt idx="44">
                  <c:v>0.15198007105604108</c:v>
                </c:pt>
                <c:pt idx="45">
                  <c:v>0.15282092531355582</c:v>
                </c:pt>
                <c:pt idx="46">
                  <c:v>0.15116644447695543</c:v>
                </c:pt>
                <c:pt idx="47">
                  <c:v>0.1506155541277899</c:v>
                </c:pt>
                <c:pt idx="48">
                  <c:v>0.1536140157679833</c:v>
                </c:pt>
                <c:pt idx="49">
                  <c:v>0.15464049862579576</c:v>
                </c:pt>
                <c:pt idx="50">
                  <c:v>0.1505300080424304</c:v>
                </c:pt>
                <c:pt idx="51">
                  <c:v>0.14832074854952</c:v>
                </c:pt>
                <c:pt idx="52">
                  <c:v>0.1566687433393012</c:v>
                </c:pt>
                <c:pt idx="53">
                  <c:v>0.19090649372808102</c:v>
                </c:pt>
                <c:pt idx="54">
                  <c:v>0.140106366429678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55974338412189"/>
          <c:min val="0.0950411710887465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72.2873</c:v>
                </c:pt>
                <c:pt idx="1">
                  <c:v>974.8146</c:v>
                </c:pt>
                <c:pt idx="2">
                  <c:v>1009.843</c:v>
                </c:pt>
                <c:pt idx="3">
                  <c:v>1028.4172</c:v>
                </c:pt>
                <c:pt idx="4">
                  <c:v>1029.7472</c:v>
                </c:pt>
                <c:pt idx="5">
                  <c:v>1038.6931</c:v>
                </c:pt>
                <c:pt idx="6">
                  <c:v>1005.2735</c:v>
                </c:pt>
                <c:pt idx="7">
                  <c:v>1025.658</c:v>
                </c:pt>
                <c:pt idx="8">
                  <c:v>1014.4635</c:v>
                </c:pt>
                <c:pt idx="9">
                  <c:v>984.1789</c:v>
                </c:pt>
                <c:pt idx="10">
                  <c:v>966.8416</c:v>
                </c:pt>
                <c:pt idx="11">
                  <c:v>987.0812</c:v>
                </c:pt>
                <c:pt idx="12">
                  <c:v>980.5964</c:v>
                </c:pt>
                <c:pt idx="13">
                  <c:v>972.298</c:v>
                </c:pt>
                <c:pt idx="14">
                  <c:v>1024.5843</c:v>
                </c:pt>
                <c:pt idx="15">
                  <c:v>1021.2441</c:v>
                </c:pt>
                <c:pt idx="16">
                  <c:v>1060.9479</c:v>
                </c:pt>
                <c:pt idx="17">
                  <c:v>1040.8933</c:v>
                </c:pt>
                <c:pt idx="18">
                  <c:v>1101.4316</c:v>
                </c:pt>
                <c:pt idx="19">
                  <c:v>1108.5796</c:v>
                </c:pt>
                <c:pt idx="20">
                  <c:v>1108.2622</c:v>
                </c:pt>
                <c:pt idx="21">
                  <c:v>1108.1297</c:v>
                </c:pt>
                <c:pt idx="22">
                  <c:v>1095.8183</c:v>
                </c:pt>
                <c:pt idx="23">
                  <c:v>1078.1905</c:v>
                </c:pt>
                <c:pt idx="24">
                  <c:v>1088.3722</c:v>
                </c:pt>
                <c:pt idx="25">
                  <c:v>1048.203</c:v>
                </c:pt>
                <c:pt idx="26">
                  <c:v>1075.5551</c:v>
                </c:pt>
                <c:pt idx="27">
                  <c:v>1131.2779</c:v>
                </c:pt>
                <c:pt idx="28">
                  <c:v>1089.8563</c:v>
                </c:pt>
                <c:pt idx="29">
                  <c:v>1002.7813</c:v>
                </c:pt>
                <c:pt idx="30">
                  <c:v>1040.2253</c:v>
                </c:pt>
                <c:pt idx="31">
                  <c:v>1035.9483</c:v>
                </c:pt>
                <c:pt idx="32">
                  <c:v>1023.1375</c:v>
                </c:pt>
                <c:pt idx="33">
                  <c:v>961.9561</c:v>
                </c:pt>
                <c:pt idx="34">
                  <c:v>1036.1498</c:v>
                </c:pt>
                <c:pt idx="35">
                  <c:v>1066.676</c:v>
                </c:pt>
                <c:pt idx="36">
                  <c:v>1172.338</c:v>
                </c:pt>
                <c:pt idx="37">
                  <c:v>1168.4175</c:v>
                </c:pt>
                <c:pt idx="38">
                  <c:v>1214.1444</c:v>
                </c:pt>
                <c:pt idx="39">
                  <c:v>1238.2702</c:v>
                </c:pt>
                <c:pt idx="40">
                  <c:v>1266.41</c:v>
                </c:pt>
                <c:pt idx="41">
                  <c:v>1280.9089</c:v>
                </c:pt>
                <c:pt idx="42">
                  <c:v>1317.1437</c:v>
                </c:pt>
                <c:pt idx="43">
                  <c:v>1345.386</c:v>
                </c:pt>
                <c:pt idx="44">
                  <c:v>1168.0343</c:v>
                </c:pt>
                <c:pt idx="45">
                  <c:v>1134.5861</c:v>
                </c:pt>
                <c:pt idx="46">
                  <c:v>1107.3622</c:v>
                </c:pt>
                <c:pt idx="47">
                  <c:v>1088.3397</c:v>
                </c:pt>
                <c:pt idx="48">
                  <c:v>1072.3698</c:v>
                </c:pt>
                <c:pt idx="49">
                  <c:v>1034.8761</c:v>
                </c:pt>
                <c:pt idx="50">
                  <c:v>1047.4876</c:v>
                </c:pt>
                <c:pt idx="51">
                  <c:v>1074.8952</c:v>
                </c:pt>
                <c:pt idx="52">
                  <c:v>1067.0342</c:v>
                </c:pt>
                <c:pt idx="53">
                  <c:v>1175.4004</c:v>
                </c:pt>
                <c:pt idx="54">
                  <c:v>1169.3527</c:v>
                </c:pt>
                <c:pt idx="55">
                  <c:v>1218.8749</c:v>
                </c:pt>
                <c:pt idx="56">
                  <c:v>1192.5897</c:v>
                </c:pt>
                <c:pt idx="57">
                  <c:v>1199.3229</c:v>
                </c:pt>
                <c:pt idx="58">
                  <c:v>1166.6559</c:v>
                </c:pt>
                <c:pt idx="59">
                  <c:v>1158.4297</c:v>
                </c:pt>
                <c:pt idx="60">
                  <c:v>1184.8412</c:v>
                </c:pt>
                <c:pt idx="61">
                  <c:v>1163.1625</c:v>
                </c:pt>
                <c:pt idx="62">
                  <c:v>1122.7847</c:v>
                </c:pt>
                <c:pt idx="63">
                  <c:v>1143.7606</c:v>
                </c:pt>
                <c:pt idx="64">
                  <c:v>1159.791</c:v>
                </c:pt>
                <c:pt idx="65">
                  <c:v>1126.0592</c:v>
                </c:pt>
                <c:pt idx="66">
                  <c:v>1144.4196</c:v>
                </c:pt>
                <c:pt idx="67">
                  <c:v>1123.3883</c:v>
                </c:pt>
                <c:pt idx="68">
                  <c:v>1119.53</c:v>
                </c:pt>
                <c:pt idx="69">
                  <c:v>1140.4296</c:v>
                </c:pt>
                <c:pt idx="70">
                  <c:v>1125.9118</c:v>
                </c:pt>
                <c:pt idx="71">
                  <c:v>1147.5211</c:v>
                </c:pt>
                <c:pt idx="72">
                  <c:v>1200.2097</c:v>
                </c:pt>
                <c:pt idx="73">
                  <c:v>1219.9904</c:v>
                </c:pt>
                <c:pt idx="74">
                  <c:v>1156.535</c:v>
                </c:pt>
                <c:pt idx="75">
                  <c:v>1173.1096</c:v>
                </c:pt>
                <c:pt idx="76">
                  <c:v>1158.8285</c:v>
                </c:pt>
                <c:pt idx="77">
                  <c:v>1099.788</c:v>
                </c:pt>
                <c:pt idx="78">
                  <c:v>1185.15</c:v>
                </c:pt>
                <c:pt idx="79">
                  <c:v>869.9457</c:v>
                </c:pt>
                <c:pt idx="80">
                  <c:v>860.0657</c:v>
                </c:pt>
                <c:pt idx="81">
                  <c:v>1047.4902</c:v>
                </c:pt>
                <c:pt idx="82">
                  <c:v>1061.5598</c:v>
                </c:pt>
                <c:pt idx="83">
                  <c:v>1095.0504</c:v>
                </c:pt>
                <c:pt idx="84">
                  <c:v>1091.7007</c:v>
                </c:pt>
                <c:pt idx="85">
                  <c:v>1118.4574</c:v>
                </c:pt>
                <c:pt idx="86">
                  <c:v>1209.6632</c:v>
                </c:pt>
                <c:pt idx="87">
                  <c:v>1234.3443</c:v>
                </c:pt>
                <c:pt idx="88">
                  <c:v>1242.7241</c:v>
                </c:pt>
                <c:pt idx="89">
                  <c:v>1200.0669</c:v>
                </c:pt>
                <c:pt idx="90">
                  <c:v>1237.9561</c:v>
                </c:pt>
                <c:pt idx="91">
                  <c:v>1272.2123</c:v>
                </c:pt>
                <c:pt idx="92">
                  <c:v>1260.3089</c:v>
                </c:pt>
                <c:pt idx="93">
                  <c:v>1301.7424</c:v>
                </c:pt>
                <c:pt idx="94">
                  <c:v>1288.9335</c:v>
                </c:pt>
                <c:pt idx="95">
                  <c:v>1294.6556</c:v>
                </c:pt>
                <c:pt idx="96">
                  <c:v>1213.2673</c:v>
                </c:pt>
                <c:pt idx="97">
                  <c:v>1239.8987</c:v>
                </c:pt>
                <c:pt idx="98">
                  <c:v>1220.4183</c:v>
                </c:pt>
                <c:pt idx="99">
                  <c:v>1178.8639</c:v>
                </c:pt>
                <c:pt idx="100">
                  <c:v>1160.521</c:v>
                </c:pt>
                <c:pt idx="101">
                  <c:v>1220.4967</c:v>
                </c:pt>
                <c:pt idx="102">
                  <c:v>1252.7527</c:v>
                </c:pt>
                <c:pt idx="103">
                  <c:v>1121.6468</c:v>
                </c:pt>
                <c:pt idx="104">
                  <c:v>1208.1548</c:v>
                </c:pt>
              </c:numCache>
            </c:numRef>
          </c:xVal>
          <c:yVal>
            <c:numRef>
              <c:f>Sheet1!$B$2:$B$106</c:f>
              <c:numCache>
                <c:formatCode>General</c:formatCode>
                <c:ptCount val="105"/>
                <c:pt idx="0">
                  <c:v>0.2104353132628153</c:v>
                </c:pt>
                <c:pt idx="1">
                  <c:v>0.20936580711843744</c:v>
                </c:pt>
                <c:pt idx="2">
                  <c:v>0.1951964281132124</c:v>
                </c:pt>
                <c:pt idx="3">
                  <c:v>0.19280869846054474</c:v>
                </c:pt>
                <c:pt idx="4">
                  <c:v>0.18282521947326416</c:v>
                </c:pt>
                <c:pt idx="5">
                  <c:v>0.17047857630868335</c:v>
                </c:pt>
                <c:pt idx="6">
                  <c:v>0.18916918720638393</c:v>
                </c:pt>
                <c:pt idx="7">
                  <c:v>0.17825161479741633</c:v>
                </c:pt>
                <c:pt idx="8">
                  <c:v>0.18962759881197166</c:v>
                </c:pt>
                <c:pt idx="9">
                  <c:v>0.19161017956950885</c:v>
                </c:pt>
                <c:pt idx="10">
                  <c:v>0.20396039603960395</c:v>
                </c:pt>
                <c:pt idx="11">
                  <c:v>0.19627861497756816</c:v>
                </c:pt>
                <c:pt idx="12">
                  <c:v>0.2090399978766887</c:v>
                </c:pt>
                <c:pt idx="13">
                  <c:v>0.21092146331861766</c:v>
                </c:pt>
                <c:pt idx="14">
                  <c:v>0.20510605089328018</c:v>
                </c:pt>
                <c:pt idx="15">
                  <c:v>0.1997352308456065</c:v>
                </c:pt>
                <c:pt idx="16">
                  <c:v>0.19186415376002985</c:v>
                </c:pt>
                <c:pt idx="17">
                  <c:v>0.1788574697613599</c:v>
                </c:pt>
                <c:pt idx="18">
                  <c:v>0.17484202391235168</c:v>
                </c:pt>
                <c:pt idx="19">
                  <c:v>0.14627434377646062</c:v>
                </c:pt>
                <c:pt idx="20">
                  <c:v>0.16460617710017036</c:v>
                </c:pt>
                <c:pt idx="21">
                  <c:v>0.16421682397235546</c:v>
                </c:pt>
                <c:pt idx="22">
                  <c:v>0.1563387690689111</c:v>
                </c:pt>
                <c:pt idx="23">
                  <c:v>0.16137669437161822</c:v>
                </c:pt>
                <c:pt idx="24">
                  <c:v>0.1694212735091446</c:v>
                </c:pt>
                <c:pt idx="25">
                  <c:v>0.16806624679262888</c:v>
                </c:pt>
                <c:pt idx="26">
                  <c:v>0.1631565194669454</c:v>
                </c:pt>
                <c:pt idx="27">
                  <c:v>0.1644426607805759</c:v>
                </c:pt>
                <c:pt idx="28">
                  <c:v>0.15609481390467414</c:v>
                </c:pt>
                <c:pt idx="29">
                  <c:v>0.1752558726723477</c:v>
                </c:pt>
                <c:pt idx="30">
                  <c:v>0.1553217462070569</c:v>
                </c:pt>
                <c:pt idx="31">
                  <c:v>0.1508401503426929</c:v>
                </c:pt>
                <c:pt idx="32">
                  <c:v>0.15629783511917777</c:v>
                </c:pt>
                <c:pt idx="33">
                  <c:v>0.17726337898744146</c:v>
                </c:pt>
                <c:pt idx="34">
                  <c:v>0.17377744012155624</c:v>
                </c:pt>
                <c:pt idx="35">
                  <c:v>0.192956416138173</c:v>
                </c:pt>
                <c:pt idx="36">
                  <c:v>0.15716185884113393</c:v>
                </c:pt>
                <c:pt idx="37">
                  <c:v>0.1293269230769231</c:v>
                </c:pt>
                <c:pt idx="38">
                  <c:v>0.12359550561797752</c:v>
                </c:pt>
                <c:pt idx="39">
                  <c:v>0.12543323139653414</c:v>
                </c:pt>
                <c:pt idx="40">
                  <c:v>0.13096507313744724</c:v>
                </c:pt>
                <c:pt idx="41">
                  <c:v>0.1206642745422762</c:v>
                </c:pt>
                <c:pt idx="42">
                  <c:v>0.12140700364691581</c:v>
                </c:pt>
                <c:pt idx="43">
                  <c:v>0.13300094800042134</c:v>
                </c:pt>
                <c:pt idx="44">
                  <c:v>0.14654865576726858</c:v>
                </c:pt>
                <c:pt idx="45">
                  <c:v>0.16731320255675555</c:v>
                </c:pt>
                <c:pt idx="46">
                  <c:v>0.1764019187502653</c:v>
                </c:pt>
                <c:pt idx="47">
                  <c:v>0.1716687701884613</c:v>
                </c:pt>
                <c:pt idx="48">
                  <c:v>0.19153248508050896</c:v>
                </c:pt>
                <c:pt idx="49">
                  <c:v>0.22133119486768243</c:v>
                </c:pt>
                <c:pt idx="50">
                  <c:v>0.1820144482271859</c:v>
                </c:pt>
                <c:pt idx="51">
                  <c:v>0.1671104696015728</c:v>
                </c:pt>
                <c:pt idx="52">
                  <c:v>0.1823606150687568</c:v>
                </c:pt>
                <c:pt idx="53">
                  <c:v>0.165633727889347</c:v>
                </c:pt>
                <c:pt idx="54">
                  <c:v>0.15941820276497695</c:v>
                </c:pt>
                <c:pt idx="55">
                  <c:v>0.1570630582190758</c:v>
                </c:pt>
                <c:pt idx="56">
                  <c:v>0.17284360475644353</c:v>
                </c:pt>
                <c:pt idx="57">
                  <c:v>0.16677579027315823</c:v>
                </c:pt>
                <c:pt idx="58">
                  <c:v>0.1796740265733926</c:v>
                </c:pt>
                <c:pt idx="59">
                  <c:v>0.1848297810782139</c:v>
                </c:pt>
                <c:pt idx="60">
                  <c:v>0.1911824354113394</c:v>
                </c:pt>
                <c:pt idx="61">
                  <c:v>0.1938988416432837</c:v>
                </c:pt>
                <c:pt idx="62">
                  <c:v>0.1979644124767882</c:v>
                </c:pt>
                <c:pt idx="63">
                  <c:v>0.21463529815824497</c:v>
                </c:pt>
                <c:pt idx="64">
                  <c:v>0.20133358416421063</c:v>
                </c:pt>
                <c:pt idx="65">
                  <c:v>0.1998720672560711</c:v>
                </c:pt>
                <c:pt idx="66">
                  <c:v>0.19738022185508614</c:v>
                </c:pt>
                <c:pt idx="67">
                  <c:v>0.193351193375548</c:v>
                </c:pt>
                <c:pt idx="68">
                  <c:v>0.1764843521497514</c:v>
                </c:pt>
                <c:pt idx="69">
                  <c:v>0.15879038317054847</c:v>
                </c:pt>
                <c:pt idx="70">
                  <c:v>0.14821472630502977</c:v>
                </c:pt>
                <c:pt idx="71">
                  <c:v>0.15706529935153069</c:v>
                </c:pt>
                <c:pt idx="72">
                  <c:v>0.15622956774427896</c:v>
                </c:pt>
                <c:pt idx="73">
                  <c:v>0.16183638768184394</c:v>
                </c:pt>
                <c:pt idx="74">
                  <c:v>0.1592623335378397</c:v>
                </c:pt>
                <c:pt idx="75">
                  <c:v>0.15497225778915918</c:v>
                </c:pt>
                <c:pt idx="76">
                  <c:v>0.1459560670411472</c:v>
                </c:pt>
                <c:pt idx="77">
                  <c:v>0.15498438843386578</c:v>
                </c:pt>
                <c:pt idx="78">
                  <c:v>0.1446161907257008</c:v>
                </c:pt>
                <c:pt idx="79">
                  <c:v>0.18320854638422207</c:v>
                </c:pt>
                <c:pt idx="80">
                  <c:v>0.1774726788502158</c:v>
                </c:pt>
                <c:pt idx="81">
                  <c:v>0.1575934534557609</c:v>
                </c:pt>
                <c:pt idx="82">
                  <c:v>0.14378602039308408</c:v>
                </c:pt>
                <c:pt idx="83">
                  <c:v>0.1329802220093537</c:v>
                </c:pt>
                <c:pt idx="84">
                  <c:v>0.12998102466793168</c:v>
                </c:pt>
                <c:pt idx="85">
                  <c:v>0.1331891549741534</c:v>
                </c:pt>
                <c:pt idx="86">
                  <c:v>0.13664497698777972</c:v>
                </c:pt>
                <c:pt idx="87">
                  <c:v>0.15707769558051285</c:v>
                </c:pt>
                <c:pt idx="88">
                  <c:v>0.14278950856926428</c:v>
                </c:pt>
                <c:pt idx="89">
                  <c:v>0.12795285677683832</c:v>
                </c:pt>
                <c:pt idx="90">
                  <c:v>0.12505943889681406</c:v>
                </c:pt>
                <c:pt idx="91">
                  <c:v>0.11934383465435938</c:v>
                </c:pt>
                <c:pt idx="92">
                  <c:v>0.13114754098360656</c:v>
                </c:pt>
                <c:pt idx="93">
                  <c:v>0.11910570731512218</c:v>
                </c:pt>
                <c:pt idx="94">
                  <c:v>0.12265742556198987</c:v>
                </c:pt>
                <c:pt idx="95">
                  <c:v>0.13306545345863913</c:v>
                </c:pt>
                <c:pt idx="96">
                  <c:v>0.12835410689746618</c:v>
                </c:pt>
                <c:pt idx="97">
                  <c:v>0.13635974853526067</c:v>
                </c:pt>
                <c:pt idx="98">
                  <c:v>0.15405743754554457</c:v>
                </c:pt>
                <c:pt idx="99">
                  <c:v>0.1593022876350227</c:v>
                </c:pt>
                <c:pt idx="100">
                  <c:v>0.18337582746602418</c:v>
                </c:pt>
                <c:pt idx="101">
                  <c:v>0.15571918341904317</c:v>
                </c:pt>
                <c:pt idx="102">
                  <c:v>0.1313907284768212</c:v>
                </c:pt>
                <c:pt idx="103">
                  <c:v>0.15021106674272675</c:v>
                </c:pt>
                <c:pt idx="104">
                  <c:v>0.1544821131447587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61.5392</c:v>
                </c:pt>
                <c:pt idx="1">
                  <c:v>1245.6689</c:v>
                </c:pt>
                <c:pt idx="2">
                  <c:v>1233.788</c:v>
                </c:pt>
                <c:pt idx="3">
                  <c:v>1264.7184</c:v>
                </c:pt>
                <c:pt idx="4">
                  <c:v>1259.7578</c:v>
                </c:pt>
                <c:pt idx="5">
                  <c:v>1267.6644</c:v>
                </c:pt>
                <c:pt idx="6">
                  <c:v>1198.4309</c:v>
                </c:pt>
                <c:pt idx="7">
                  <c:v>1233.5985</c:v>
                </c:pt>
                <c:pt idx="8">
                  <c:v>1322.6466</c:v>
                </c:pt>
                <c:pt idx="9">
                  <c:v>1251.7059</c:v>
                </c:pt>
                <c:pt idx="10">
                  <c:v>1280.0774</c:v>
                </c:pt>
                <c:pt idx="11">
                  <c:v>1161.3957</c:v>
                </c:pt>
                <c:pt idx="12">
                  <c:v>1201.3</c:v>
                </c:pt>
                <c:pt idx="13">
                  <c:v>1239.31</c:v>
                </c:pt>
                <c:pt idx="14">
                  <c:v>1245.4411</c:v>
                </c:pt>
                <c:pt idx="15">
                  <c:v>1266.6519</c:v>
                </c:pt>
                <c:pt idx="16">
                  <c:v>1275.6881</c:v>
                </c:pt>
                <c:pt idx="17">
                  <c:v>1275.2835</c:v>
                </c:pt>
                <c:pt idx="18">
                  <c:v>1252.5544</c:v>
                </c:pt>
                <c:pt idx="19">
                  <c:v>1327.3777</c:v>
                </c:pt>
                <c:pt idx="20">
                  <c:v>1311.1428</c:v>
                </c:pt>
                <c:pt idx="21">
                  <c:v>1290.5865</c:v>
                </c:pt>
                <c:pt idx="22">
                  <c:v>1262.0245</c:v>
                </c:pt>
                <c:pt idx="23">
                  <c:v>1200.642</c:v>
                </c:pt>
                <c:pt idx="24">
                  <c:v>1204.0025</c:v>
                </c:pt>
                <c:pt idx="25">
                  <c:v>1176.5251</c:v>
                </c:pt>
                <c:pt idx="26">
                  <c:v>1236.1711</c:v>
                </c:pt>
                <c:pt idx="27">
                  <c:v>1304.0936</c:v>
                </c:pt>
                <c:pt idx="28">
                  <c:v>1305.6009</c:v>
                </c:pt>
                <c:pt idx="29">
                  <c:v>1311.2893</c:v>
                </c:pt>
                <c:pt idx="30">
                  <c:v>1282.1342</c:v>
                </c:pt>
                <c:pt idx="31">
                  <c:v>1194.1634</c:v>
                </c:pt>
                <c:pt idx="32">
                  <c:v>1219.4374</c:v>
                </c:pt>
                <c:pt idx="33">
                  <c:v>1266.1164</c:v>
                </c:pt>
                <c:pt idx="34">
                  <c:v>1320.7459</c:v>
                </c:pt>
                <c:pt idx="35">
                  <c:v>1307.4106</c:v>
                </c:pt>
                <c:pt idx="36">
                  <c:v>1256.4778</c:v>
                </c:pt>
                <c:pt idx="37">
                  <c:v>1326.002</c:v>
                </c:pt>
                <c:pt idx="38">
                  <c:v>1282.4261</c:v>
                </c:pt>
                <c:pt idx="39">
                  <c:v>1303.4358</c:v>
                </c:pt>
                <c:pt idx="40">
                  <c:v>1337.8714</c:v>
                </c:pt>
                <c:pt idx="41">
                  <c:v>1378.1038</c:v>
                </c:pt>
                <c:pt idx="42">
                  <c:v>1382.9808</c:v>
                </c:pt>
                <c:pt idx="43">
                  <c:v>1375.9478</c:v>
                </c:pt>
                <c:pt idx="44">
                  <c:v>1314.1395</c:v>
                </c:pt>
                <c:pt idx="45">
                  <c:v>1285.6015</c:v>
                </c:pt>
                <c:pt idx="46">
                  <c:v>1288.2796</c:v>
                </c:pt>
                <c:pt idx="47">
                  <c:v>1258.6776</c:v>
                </c:pt>
                <c:pt idx="48">
                  <c:v>1229.7611</c:v>
                </c:pt>
                <c:pt idx="49">
                  <c:v>1233.7718</c:v>
                </c:pt>
                <c:pt idx="50">
                  <c:v>1134.1745</c:v>
                </c:pt>
                <c:pt idx="51">
                  <c:v>1124.1132</c:v>
                </c:pt>
              </c:numCache>
            </c:numRef>
          </c:xVal>
          <c:yVal>
            <c:numRef>
              <c:f>Sheet1!$B$109:$B$160</c:f>
              <c:numCache>
                <c:formatCode>General</c:formatCode>
                <c:ptCount val="52"/>
                <c:pt idx="0">
                  <c:v>0.15453902381513793</c:v>
                </c:pt>
                <c:pt idx="1">
                  <c:v>0.15065908633527872</c:v>
                </c:pt>
                <c:pt idx="2">
                  <c:v>0.15922999634636464</c:v>
                </c:pt>
                <c:pt idx="3">
                  <c:v>0.16322220203488372</c:v>
                </c:pt>
                <c:pt idx="4">
                  <c:v>0.1516795865633075</c:v>
                </c:pt>
                <c:pt idx="5">
                  <c:v>0.1499715018523796</c:v>
                </c:pt>
                <c:pt idx="6">
                  <c:v>0.15807702011514024</c:v>
                </c:pt>
                <c:pt idx="7">
                  <c:v>0.15210545813781182</c:v>
                </c:pt>
                <c:pt idx="8">
                  <c:v>0.15225104198959732</c:v>
                </c:pt>
                <c:pt idx="9">
                  <c:v>0.16813044983788208</c:v>
                </c:pt>
                <c:pt idx="10">
                  <c:v>0.1647083891391696</c:v>
                </c:pt>
                <c:pt idx="11">
                  <c:v>0.18933902887914386</c:v>
                </c:pt>
                <c:pt idx="12">
                  <c:v>0.17624590760276465</c:v>
                </c:pt>
                <c:pt idx="13">
                  <c:v>0.16931939978563773</c:v>
                </c:pt>
                <c:pt idx="14">
                  <c:v>0.1727391874180865</c:v>
                </c:pt>
                <c:pt idx="15">
                  <c:v>0.15765555451800667</c:v>
                </c:pt>
                <c:pt idx="16">
                  <c:v>0.15561180264207206</c:v>
                </c:pt>
                <c:pt idx="17">
                  <c:v>0.13336514812231562</c:v>
                </c:pt>
                <c:pt idx="18">
                  <c:v>0.1307206849375524</c:v>
                </c:pt>
                <c:pt idx="19">
                  <c:v>0.14154471544715447</c:v>
                </c:pt>
                <c:pt idx="20">
                  <c:v>0.13488269145639664</c:v>
                </c:pt>
                <c:pt idx="21">
                  <c:v>0.14243070362473348</c:v>
                </c:pt>
                <c:pt idx="22">
                  <c:v>0.14002001791076227</c:v>
                </c:pt>
                <c:pt idx="23">
                  <c:v>0.14325596671775784</c:v>
                </c:pt>
                <c:pt idx="24">
                  <c:v>0.1437380175138608</c:v>
                </c:pt>
                <c:pt idx="25">
                  <c:v>0.14956521739130435</c:v>
                </c:pt>
                <c:pt idx="26">
                  <c:v>0.1334056399132321</c:v>
                </c:pt>
                <c:pt idx="27">
                  <c:v>0.11880146386093321</c:v>
                </c:pt>
                <c:pt idx="28">
                  <c:v>0.129798595635538</c:v>
                </c:pt>
                <c:pt idx="29">
                  <c:v>0.1199602286850609</c:v>
                </c:pt>
                <c:pt idx="30">
                  <c:v>0.14040989545595695</c:v>
                </c:pt>
                <c:pt idx="31">
                  <c:v>0.12741490340386386</c:v>
                </c:pt>
                <c:pt idx="32">
                  <c:v>0.1301096199159922</c:v>
                </c:pt>
                <c:pt idx="33">
                  <c:v>0.14949047030230675</c:v>
                </c:pt>
                <c:pt idx="34">
                  <c:v>0.17020268669847394</c:v>
                </c:pt>
                <c:pt idx="35">
                  <c:v>0.16325723103707515</c:v>
                </c:pt>
                <c:pt idx="36">
                  <c:v>0.14331593737454837</c:v>
                </c:pt>
                <c:pt idx="37">
                  <c:v>0.13059604032805724</c:v>
                </c:pt>
                <c:pt idx="38">
                  <c:v>0.12966160220994474</c:v>
                </c:pt>
                <c:pt idx="39">
                  <c:v>0.14714419684722904</c:v>
                </c:pt>
                <c:pt idx="40">
                  <c:v>0.12842914555303162</c:v>
                </c:pt>
                <c:pt idx="41">
                  <c:v>0.13137238701148476</c:v>
                </c:pt>
                <c:pt idx="42">
                  <c:v>0.12623932014437794</c:v>
                </c:pt>
                <c:pt idx="43">
                  <c:v>0.12546138190348063</c:v>
                </c:pt>
                <c:pt idx="44">
                  <c:v>0.12657753702529823</c:v>
                </c:pt>
                <c:pt idx="45">
                  <c:v>0.141745609600633</c:v>
                </c:pt>
                <c:pt idx="46">
                  <c:v>0.13399320820280622</c:v>
                </c:pt>
                <c:pt idx="47">
                  <c:v>0.13891769120624106</c:v>
                </c:pt>
                <c:pt idx="48">
                  <c:v>0.13187201329731976</c:v>
                </c:pt>
                <c:pt idx="49">
                  <c:v>0.144998575092619</c:v>
                </c:pt>
                <c:pt idx="50">
                  <c:v>0.1826004679768313</c:v>
                </c:pt>
                <c:pt idx="51">
                  <c:v>0.1620312297244690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73.4147618369257</c:v>
                </c:pt>
              </c:numCache>
            </c:numRef>
          </c:xVal>
          <c:yVal>
            <c:numRef>
              <c:f>Sheet1!$B$163:$B$164</c:f>
              <c:numCache>
                <c:formatCode>General</c:formatCode>
                <c:ptCount val="2"/>
                <c:pt idx="0">
                  <c:v>0.19090649372808102</c:v>
                </c:pt>
                <c:pt idx="1">
                  <c:v>0.1909064937280810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73.4147618369257</c:v>
                </c:pt>
                <c:pt idx="1">
                  <c:v>973.4147618369257</c:v>
                </c:pt>
              </c:numCache>
            </c:numRef>
          </c:xVal>
          <c:yVal>
            <c:numRef>
              <c:f>Sheet1!$B$167:$B$168</c:f>
              <c:numCache>
                <c:formatCode>General</c:formatCode>
                <c:ptCount val="2"/>
                <c:pt idx="0">
                  <c:v>0.19090649372808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97.5546668827026</c:v>
                </c:pt>
              </c:numCache>
            </c:numRef>
          </c:xVal>
          <c:yVal>
            <c:numRef>
              <c:f>Sheet1!$B$171:$B$172</c:f>
              <c:numCache>
                <c:formatCode>General</c:formatCode>
                <c:ptCount val="2"/>
                <c:pt idx="0">
                  <c:v>0.1566687433393012</c:v>
                </c:pt>
                <c:pt idx="1">
                  <c:v>0.156668743339301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97.5546668827026</c:v>
                </c:pt>
                <c:pt idx="1">
                  <c:v>1197.5546668827026</c:v>
                </c:pt>
              </c:numCache>
            </c:numRef>
          </c:xVal>
          <c:yVal>
            <c:numRef>
              <c:f>Sheet1!$B$175:$B$176</c:f>
              <c:numCache>
                <c:formatCode>General</c:formatCode>
                <c:ptCount val="2"/>
                <c:pt idx="0">
                  <c:v>0.156668743339301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05.981463202584</c:v>
                </c:pt>
              </c:numCache>
            </c:numRef>
          </c:xVal>
          <c:yVal>
            <c:numRef>
              <c:f>Sheet1!$B$179:$B$180</c:f>
              <c:numCache>
                <c:formatCode>General</c:formatCode>
                <c:ptCount val="2"/>
                <c:pt idx="0">
                  <c:v>0.1401063664296786</c:v>
                </c:pt>
                <c:pt idx="1">
                  <c:v>0.140106366429678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05.981463202584</c:v>
                </c:pt>
                <c:pt idx="1">
                  <c:v>1305.981463202584</c:v>
                </c:pt>
              </c:numCache>
            </c:numRef>
          </c:xVal>
          <c:yVal>
            <c:numRef>
              <c:f>Sheet1!$B$183:$B$184</c:f>
              <c:numCache>
                <c:formatCode>General</c:formatCode>
                <c:ptCount val="2"/>
                <c:pt idx="0">
                  <c:v>0.14010636642967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61.5392</c:v>
                </c:pt>
                <c:pt idx="1">
                  <c:v>1245.6689</c:v>
                </c:pt>
                <c:pt idx="2">
                  <c:v>1233.788</c:v>
                </c:pt>
                <c:pt idx="3">
                  <c:v>1264.7184</c:v>
                </c:pt>
                <c:pt idx="4">
                  <c:v>1259.7578</c:v>
                </c:pt>
                <c:pt idx="5">
                  <c:v>1267.6644</c:v>
                </c:pt>
                <c:pt idx="6">
                  <c:v>1198.4309</c:v>
                </c:pt>
                <c:pt idx="7">
                  <c:v>1233.5985</c:v>
                </c:pt>
                <c:pt idx="8">
                  <c:v>1322.6466</c:v>
                </c:pt>
                <c:pt idx="9">
                  <c:v>1251.7059</c:v>
                </c:pt>
                <c:pt idx="10">
                  <c:v>1280.0774</c:v>
                </c:pt>
                <c:pt idx="11">
                  <c:v>1161.3957</c:v>
                </c:pt>
                <c:pt idx="12">
                  <c:v>1201.3</c:v>
                </c:pt>
                <c:pt idx="13">
                  <c:v>1239.31</c:v>
                </c:pt>
                <c:pt idx="14">
                  <c:v>1245.4411</c:v>
                </c:pt>
                <c:pt idx="15">
                  <c:v>1266.6519</c:v>
                </c:pt>
                <c:pt idx="16">
                  <c:v>1275.6881</c:v>
                </c:pt>
                <c:pt idx="17">
                  <c:v>1275.2835</c:v>
                </c:pt>
                <c:pt idx="18">
                  <c:v>1252.5544</c:v>
                </c:pt>
                <c:pt idx="19">
                  <c:v>1327.3777</c:v>
                </c:pt>
                <c:pt idx="20">
                  <c:v>1311.1428</c:v>
                </c:pt>
                <c:pt idx="21">
                  <c:v>1290.5865</c:v>
                </c:pt>
                <c:pt idx="22">
                  <c:v>1262.0245</c:v>
                </c:pt>
                <c:pt idx="23">
                  <c:v>1200.642</c:v>
                </c:pt>
                <c:pt idx="24">
                  <c:v>1204.0025</c:v>
                </c:pt>
                <c:pt idx="25">
                  <c:v>1176.5251</c:v>
                </c:pt>
                <c:pt idx="26">
                  <c:v>1236.1711</c:v>
                </c:pt>
                <c:pt idx="27">
                  <c:v>1304.0936</c:v>
                </c:pt>
                <c:pt idx="28">
                  <c:v>1305.6009</c:v>
                </c:pt>
                <c:pt idx="29">
                  <c:v>1311.2893</c:v>
                </c:pt>
                <c:pt idx="30">
                  <c:v>1282.1342</c:v>
                </c:pt>
                <c:pt idx="31">
                  <c:v>1194.1634</c:v>
                </c:pt>
                <c:pt idx="32">
                  <c:v>1219.4374</c:v>
                </c:pt>
                <c:pt idx="33">
                  <c:v>1266.1164</c:v>
                </c:pt>
                <c:pt idx="34">
                  <c:v>1320.7459</c:v>
                </c:pt>
                <c:pt idx="35">
                  <c:v>1307.4106</c:v>
                </c:pt>
                <c:pt idx="36">
                  <c:v>1256.4778</c:v>
                </c:pt>
                <c:pt idx="37">
                  <c:v>1326.002</c:v>
                </c:pt>
                <c:pt idx="38">
                  <c:v>1282.4261</c:v>
                </c:pt>
                <c:pt idx="39">
                  <c:v>1303.4358</c:v>
                </c:pt>
                <c:pt idx="40">
                  <c:v>1337.8714</c:v>
                </c:pt>
                <c:pt idx="41">
                  <c:v>1378.1038</c:v>
                </c:pt>
                <c:pt idx="42">
                  <c:v>1382.9808</c:v>
                </c:pt>
                <c:pt idx="43">
                  <c:v>1375.9478</c:v>
                </c:pt>
                <c:pt idx="44">
                  <c:v>1314.1395</c:v>
                </c:pt>
                <c:pt idx="45">
                  <c:v>1285.6015</c:v>
                </c:pt>
                <c:pt idx="46">
                  <c:v>1288.2796</c:v>
                </c:pt>
                <c:pt idx="47">
                  <c:v>1258.6776</c:v>
                </c:pt>
                <c:pt idx="48">
                  <c:v>1229.7611</c:v>
                </c:pt>
                <c:pt idx="49">
                  <c:v>1233.7718</c:v>
                </c:pt>
                <c:pt idx="50">
                  <c:v>1134.1745</c:v>
                </c:pt>
                <c:pt idx="51">
                  <c:v>1124.1132</c:v>
                </c:pt>
                <c:pt idx="52">
                  <c:v>1197.5546668827026</c:v>
                </c:pt>
                <c:pt idx="53">
                  <c:v>973.4147618369257</c:v>
                </c:pt>
                <c:pt idx="54">
                  <c:v>1305.981463202584</c:v>
                </c:pt>
              </c:numCache>
            </c:numRef>
          </c:xVal>
          <c:yVal>
            <c:numRef>
              <c:f>Sheet1!$B$187:$B$241</c:f>
              <c:numCache>
                <c:formatCode>General</c:formatCode>
                <c:ptCount val="55"/>
                <c:pt idx="0">
                  <c:v>0.14689499745873064</c:v>
                </c:pt>
                <c:pt idx="1">
                  <c:v>0.1493192126821826</c:v>
                </c:pt>
                <c:pt idx="2">
                  <c:v>0.15113404029403055</c:v>
                </c:pt>
                <c:pt idx="3">
                  <c:v>0.14640936927032847</c:v>
                </c:pt>
                <c:pt idx="4">
                  <c:v>0.14716710932801205</c:v>
                </c:pt>
                <c:pt idx="5">
                  <c:v>0.14595936277717528</c:v>
                </c:pt>
                <c:pt idx="6">
                  <c:v>0.1565348972455131</c:v>
                </c:pt>
                <c:pt idx="7">
                  <c:v>0.15116298674021264</c:v>
                </c:pt>
                <c:pt idx="8">
                  <c:v>0.13756073853825845</c:v>
                </c:pt>
                <c:pt idx="9">
                  <c:v>0.14839705070011674</c:v>
                </c:pt>
                <c:pt idx="10">
                  <c:v>0.14406325598847503</c:v>
                </c:pt>
                <c:pt idx="11">
                  <c:v>0.16219208681619474</c:v>
                </c:pt>
                <c:pt idx="12">
                  <c:v>0.15609663735769713</c:v>
                </c:pt>
                <c:pt idx="13">
                  <c:v>0.15029054543483433</c:v>
                </c:pt>
                <c:pt idx="14">
                  <c:v>0.1493540095182791</c:v>
                </c:pt>
                <c:pt idx="15">
                  <c:v>0.14611402386825387</c:v>
                </c:pt>
                <c:pt idx="16">
                  <c:v>0.14473372900286652</c:v>
                </c:pt>
                <c:pt idx="17">
                  <c:v>0.14479553233862003</c:v>
                </c:pt>
                <c:pt idx="18">
                  <c:v>0.14826744088700047</c:v>
                </c:pt>
                <c:pt idx="19">
                  <c:v>0.1368380549945527</c:v>
                </c:pt>
                <c:pt idx="20">
                  <c:v>0.13931796348596245</c:v>
                </c:pt>
                <c:pt idx="21">
                  <c:v>0.14245797315168057</c:v>
                </c:pt>
                <c:pt idx="22">
                  <c:v>0.1468208670611993</c:v>
                </c:pt>
                <c:pt idx="23">
                  <c:v>0.15619714797293635</c:v>
                </c:pt>
                <c:pt idx="24">
                  <c:v>0.15568382590225022</c:v>
                </c:pt>
                <c:pt idx="25">
                  <c:v>0.15988104532348857</c:v>
                </c:pt>
                <c:pt idx="26">
                  <c:v>0.1507700177299323</c:v>
                </c:pt>
                <c:pt idx="27">
                  <c:v>0.14039474073359848</c:v>
                </c:pt>
                <c:pt idx="28">
                  <c:v>0.14016449810388706</c:v>
                </c:pt>
                <c:pt idx="29">
                  <c:v>0.13929558536266073</c:v>
                </c:pt>
                <c:pt idx="30">
                  <c:v>0.1437490763024202</c:v>
                </c:pt>
                <c:pt idx="31">
                  <c:v>0.15718676510346674</c:v>
                </c:pt>
                <c:pt idx="32">
                  <c:v>0.15332611876675442</c:v>
                </c:pt>
                <c:pt idx="33">
                  <c:v>0.14619582240086879</c:v>
                </c:pt>
                <c:pt idx="34">
                  <c:v>0.1378510736847406</c:v>
                </c:pt>
                <c:pt idx="35">
                  <c:v>0.13988806336164014</c:v>
                </c:pt>
                <c:pt idx="36">
                  <c:v>0.14766813488725938</c:v>
                </c:pt>
                <c:pt idx="37">
                  <c:v>0.13704819550121627</c:v>
                </c:pt>
                <c:pt idx="38">
                  <c:v>0.14370448808268108</c:v>
                </c:pt>
                <c:pt idx="39">
                  <c:v>0.14049522079849874</c:v>
                </c:pt>
                <c:pt idx="40">
                  <c:v>0.13523512453385958</c:v>
                </c:pt>
                <c:pt idx="41">
                  <c:v>0.12908955724426774</c:v>
                </c:pt>
                <c:pt idx="42">
                  <c:v>0.12834458722827716</c:v>
                </c:pt>
                <c:pt idx="43">
                  <c:v>0.12941888989845593</c:v>
                </c:pt>
                <c:pt idx="44">
                  <c:v>0.1388602124818782</c:v>
                </c:pt>
                <c:pt idx="45">
                  <c:v>0.1432194403507195</c:v>
                </c:pt>
                <c:pt idx="46">
                  <c:v>0.14281035603662798</c:v>
                </c:pt>
                <c:pt idx="47">
                  <c:v>0.14733211170883492</c:v>
                </c:pt>
                <c:pt idx="48">
                  <c:v>0.15174915609419304</c:v>
                </c:pt>
                <c:pt idx="49">
                  <c:v>0.1511365148714878</c:v>
                </c:pt>
                <c:pt idx="50">
                  <c:v>0.16635017125320165</c:v>
                </c:pt>
                <c:pt idx="51">
                  <c:v>0.16788705188102326</c:v>
                </c:pt>
                <c:pt idx="52">
                  <c:v>0.1566687433393012</c:v>
                </c:pt>
                <c:pt idx="53">
                  <c:v>0.19090649372808102</c:v>
                </c:pt>
                <c:pt idx="54">
                  <c:v>0.140106366429678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60.0"/>
          <c:min val="68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55974338412189"/>
          <c:min val="0.0950411710887465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999907920775916</c:v>
                </c:pt>
                <c:pt idx="1">
                  <c:v>0.1813364504579979</c:v>
                </c:pt>
                <c:pt idx="2">
                  <c:v>0.18464143759234306</c:v>
                </c:pt>
                <c:pt idx="3">
                  <c:v>0.18874275477336008</c:v>
                </c:pt>
                <c:pt idx="4">
                  <c:v>0.18170005260184507</c:v>
                </c:pt>
                <c:pt idx="5">
                  <c:v>0.18174647501883617</c:v>
                </c:pt>
                <c:pt idx="6">
                  <c:v>0.1830958731145846</c:v>
                </c:pt>
                <c:pt idx="7">
                  <c:v>0.1798908329949609</c:v>
                </c:pt>
                <c:pt idx="8">
                  <c:v>0.17693693615128694</c:v>
                </c:pt>
                <c:pt idx="9">
                  <c:v>0.18159155401457125</c:v>
                </c:pt>
                <c:pt idx="10">
                  <c:v>0.18132265018544452</c:v>
                </c:pt>
                <c:pt idx="11">
                  <c:v>0.18859986400145076</c:v>
                </c:pt>
                <c:pt idx="12">
                  <c:v>0.19407372738743822</c:v>
                </c:pt>
                <c:pt idx="13">
                  <c:v>0.1871913528699027</c:v>
                </c:pt>
                <c:pt idx="14">
                  <c:v>0.2047705146086195</c:v>
                </c:pt>
                <c:pt idx="15">
                  <c:v>0.19933657671351201</c:v>
                </c:pt>
                <c:pt idx="16">
                  <c:v>0.19035924635065107</c:v>
                </c:pt>
                <c:pt idx="17">
                  <c:v>0.17536972983739302</c:v>
                </c:pt>
                <c:pt idx="18">
                  <c:v>0.17199597096865007</c:v>
                </c:pt>
                <c:pt idx="19">
                  <c:v>0.1763088292843317</c:v>
                </c:pt>
                <c:pt idx="20">
                  <c:v>0.1829598283740966</c:v>
                </c:pt>
                <c:pt idx="21">
                  <c:v>0.1717825175970048</c:v>
                </c:pt>
                <c:pt idx="22">
                  <c:v>0.15811626161798917</c:v>
                </c:pt>
                <c:pt idx="23">
                  <c:v>0.1558368586758838</c:v>
                </c:pt>
                <c:pt idx="24">
                  <c:v>0.16085569255997112</c:v>
                </c:pt>
                <c:pt idx="25">
                  <c:v>0.1496000778340631</c:v>
                </c:pt>
                <c:pt idx="26">
                  <c:v>0.16155316632340444</c:v>
                </c:pt>
                <c:pt idx="27">
                  <c:v>0.163690138310668</c:v>
                </c:pt>
                <c:pt idx="28">
                  <c:v>0.152771924252926</c:v>
                </c:pt>
                <c:pt idx="29">
                  <c:v>0.1460815139268406</c:v>
                </c:pt>
                <c:pt idx="30">
                  <c:v>0.14610896238556845</c:v>
                </c:pt>
                <c:pt idx="31">
                  <c:v>0.1358706359905124</c:v>
                </c:pt>
                <c:pt idx="32">
                  <c:v>0.1354513748644692</c:v>
                </c:pt>
                <c:pt idx="33">
                  <c:v>0.13309276939565598</c:v>
                </c:pt>
                <c:pt idx="34">
                  <c:v>0.15425916691398905</c:v>
                </c:pt>
                <c:pt idx="35">
                  <c:v>0.16237425207331713</c:v>
                </c:pt>
                <c:pt idx="36">
                  <c:v>0.1622177147985651</c:v>
                </c:pt>
                <c:pt idx="37">
                  <c:v>0.1497566849196021</c:v>
                </c:pt>
                <c:pt idx="38">
                  <c:v>0.1610942940473556</c:v>
                </c:pt>
                <c:pt idx="39">
                  <c:v>0.1625485612878745</c:v>
                </c:pt>
                <c:pt idx="40">
                  <c:v>0.17473798753431471</c:v>
                </c:pt>
                <c:pt idx="41">
                  <c:v>0.1719712886604284</c:v>
                </c:pt>
                <c:pt idx="42">
                  <c:v>0.17686068902294583</c:v>
                </c:pt>
                <c:pt idx="43">
                  <c:v>0.19245673883969608</c:v>
                </c:pt>
                <c:pt idx="44">
                  <c:v>0.1937529641632733</c:v>
                </c:pt>
                <c:pt idx="45">
                  <c:v>0.18428045106092167</c:v>
                </c:pt>
                <c:pt idx="46">
                  <c:v>0.18850871308025138</c:v>
                </c:pt>
                <c:pt idx="47">
                  <c:v>0.17661221573517358</c:v>
                </c:pt>
                <c:pt idx="48">
                  <c:v>0.19773295110524197</c:v>
                </c:pt>
                <c:pt idx="49">
                  <c:v>0.21046517457125805</c:v>
                </c:pt>
                <c:pt idx="50">
                  <c:v>0.18070816806966006</c:v>
                </c:pt>
                <c:pt idx="51">
                  <c:v>0.17826173878858592</c:v>
                </c:pt>
                <c:pt idx="52">
                  <c:v>0.18858354964369103</c:v>
                </c:pt>
                <c:pt idx="53">
                  <c:v>0.19350162371579063</c:v>
                </c:pt>
                <c:pt idx="54">
                  <c:v>0.1957003788011533</c:v>
                </c:pt>
                <c:pt idx="55">
                  <c:v>0.1890075568448948</c:v>
                </c:pt>
                <c:pt idx="56">
                  <c:v>0.18679535284985196</c:v>
                </c:pt>
                <c:pt idx="57">
                  <c:v>0.1909489140766036</c:v>
                </c:pt>
                <c:pt idx="58">
                  <c:v>0.19383383085952563</c:v>
                </c:pt>
                <c:pt idx="59">
                  <c:v>0.22176358096732232</c:v>
                </c:pt>
                <c:pt idx="60">
                  <c:v>0.2220958824015453</c:v>
                </c:pt>
                <c:pt idx="61">
                  <c:v>0.2084806280086336</c:v>
                </c:pt>
                <c:pt idx="62">
                  <c:v>0.20814531083917015</c:v>
                </c:pt>
                <c:pt idx="63">
                  <c:v>0.21281539647210698</c:v>
                </c:pt>
                <c:pt idx="64">
                  <c:v>0.22207836014748963</c:v>
                </c:pt>
                <c:pt idx="65">
                  <c:v>0.21267533909592765</c:v>
                </c:pt>
                <c:pt idx="66">
                  <c:v>0.20862699790563521</c:v>
                </c:pt>
                <c:pt idx="67">
                  <c:v>0.20443025391815844</c:v>
                </c:pt>
                <c:pt idx="68">
                  <c:v>0.1928726348905499</c:v>
                </c:pt>
                <c:pt idx="69">
                  <c:v>0.18044862947253434</c:v>
                </c:pt>
                <c:pt idx="70">
                  <c:v>0.17391684069367364</c:v>
                </c:pt>
                <c:pt idx="71">
                  <c:v>0.17814268698284944</c:v>
                </c:pt>
                <c:pt idx="72">
                  <c:v>0.19527846456332212</c:v>
                </c:pt>
                <c:pt idx="73">
                  <c:v>0.19437904591417365</c:v>
                </c:pt>
                <c:pt idx="74">
                  <c:v>0.18011201210939032</c:v>
                </c:pt>
                <c:pt idx="75">
                  <c:v>0.1788672245806535</c:v>
                </c:pt>
                <c:pt idx="76">
                  <c:v>0.16946537227437164</c:v>
                </c:pt>
                <c:pt idx="77">
                  <c:v>0.15798429718357093</c:v>
                </c:pt>
                <c:pt idx="78">
                  <c:v>0.1715137629754905</c:v>
                </c:pt>
                <c:pt idx="79">
                  <c:v>0.12278070087005719</c:v>
                </c:pt>
                <c:pt idx="80">
                  <c:v>0.1152621293469835</c:v>
                </c:pt>
                <c:pt idx="81">
                  <c:v>0.14967284139951517</c:v>
                </c:pt>
                <c:pt idx="82">
                  <c:v>0.1465333278836773</c:v>
                </c:pt>
                <c:pt idx="83">
                  <c:v>0.1413560512560043</c:v>
                </c:pt>
                <c:pt idx="84">
                  <c:v>0.13833351368926897</c:v>
                </c:pt>
                <c:pt idx="85">
                  <c:v>0.14209075278686023</c:v>
                </c:pt>
                <c:pt idx="86">
                  <c:v>0.15932659160839233</c:v>
                </c:pt>
                <c:pt idx="87">
                  <c:v>0.18026417224160188</c:v>
                </c:pt>
                <c:pt idx="88">
                  <c:v>0.16276040111390025</c:v>
                </c:pt>
                <c:pt idx="89">
                  <c:v>0.15283905256175684</c:v>
                </c:pt>
                <c:pt idx="90">
                  <c:v>0.15920153662965675</c:v>
                </c:pt>
                <c:pt idx="91">
                  <c:v>0.1694207865336573</c:v>
                </c:pt>
                <c:pt idx="92">
                  <c:v>0.1779308364018762</c:v>
                </c:pt>
                <c:pt idx="93">
                  <c:v>0.18017282131205778</c:v>
                </c:pt>
                <c:pt idx="94">
                  <c:v>0.17408660057211403</c:v>
                </c:pt>
                <c:pt idx="95">
                  <c:v>0.18581913547463205</c:v>
                </c:pt>
                <c:pt idx="96">
                  <c:v>0.18351212899938998</c:v>
                </c:pt>
                <c:pt idx="97">
                  <c:v>0.19826350790891376</c:v>
                </c:pt>
                <c:pt idx="98">
                  <c:v>0.20655348290002631</c:v>
                </c:pt>
                <c:pt idx="99">
                  <c:v>0.21264153974433386</c:v>
                </c:pt>
                <c:pt idx="100">
                  <c:v>0.22762084329789858</c:v>
                </c:pt>
                <c:pt idx="101">
                  <c:v>0.220125696892246</c:v>
                </c:pt>
                <c:pt idx="102">
                  <c:v>0.21381125753995603</c:v>
                </c:pt>
                <c:pt idx="103">
                  <c:v>0.1889133795703791</c:v>
                </c:pt>
                <c:pt idx="104">
                  <c:v>0.21147267293465105</c:v>
                </c:pt>
              </c:numCache>
            </c:numRef>
          </c:xVal>
          <c:yVal>
            <c:numRef>
              <c:f>Sheet1!$B$2:$B$106</c:f>
              <c:numCache>
                <c:formatCode>General</c:formatCode>
                <c:ptCount val="105"/>
                <c:pt idx="0">
                  <c:v>0.2104353132628153</c:v>
                </c:pt>
                <c:pt idx="1">
                  <c:v>0.20936580711843744</c:v>
                </c:pt>
                <c:pt idx="2">
                  <c:v>0.1951964281132124</c:v>
                </c:pt>
                <c:pt idx="3">
                  <c:v>0.19280869846054474</c:v>
                </c:pt>
                <c:pt idx="4">
                  <c:v>0.18282521947326416</c:v>
                </c:pt>
                <c:pt idx="5">
                  <c:v>0.17047857630868335</c:v>
                </c:pt>
                <c:pt idx="6">
                  <c:v>0.18916918720638393</c:v>
                </c:pt>
                <c:pt idx="7">
                  <c:v>0.17825161479741633</c:v>
                </c:pt>
                <c:pt idx="8">
                  <c:v>0.18962759881197166</c:v>
                </c:pt>
                <c:pt idx="9">
                  <c:v>0.19161017956950885</c:v>
                </c:pt>
                <c:pt idx="10">
                  <c:v>0.20396039603960395</c:v>
                </c:pt>
                <c:pt idx="11">
                  <c:v>0.19627861497756816</c:v>
                </c:pt>
                <c:pt idx="12">
                  <c:v>0.2090399978766887</c:v>
                </c:pt>
                <c:pt idx="13">
                  <c:v>0.21092146331861766</c:v>
                </c:pt>
                <c:pt idx="14">
                  <c:v>0.20510605089328018</c:v>
                </c:pt>
                <c:pt idx="15">
                  <c:v>0.1997352308456065</c:v>
                </c:pt>
                <c:pt idx="16">
                  <c:v>0.19186415376002985</c:v>
                </c:pt>
                <c:pt idx="17">
                  <c:v>0.1788574697613599</c:v>
                </c:pt>
                <c:pt idx="18">
                  <c:v>0.17484202391235168</c:v>
                </c:pt>
                <c:pt idx="19">
                  <c:v>0.14627434377646062</c:v>
                </c:pt>
                <c:pt idx="20">
                  <c:v>0.16460617710017036</c:v>
                </c:pt>
                <c:pt idx="21">
                  <c:v>0.16421682397235546</c:v>
                </c:pt>
                <c:pt idx="22">
                  <c:v>0.1563387690689111</c:v>
                </c:pt>
                <c:pt idx="23">
                  <c:v>0.16137669437161822</c:v>
                </c:pt>
                <c:pt idx="24">
                  <c:v>0.1694212735091446</c:v>
                </c:pt>
                <c:pt idx="25">
                  <c:v>0.16806624679262888</c:v>
                </c:pt>
                <c:pt idx="26">
                  <c:v>0.1631565194669454</c:v>
                </c:pt>
                <c:pt idx="27">
                  <c:v>0.1644426607805759</c:v>
                </c:pt>
                <c:pt idx="28">
                  <c:v>0.15609481390467414</c:v>
                </c:pt>
                <c:pt idx="29">
                  <c:v>0.1752558726723477</c:v>
                </c:pt>
                <c:pt idx="30">
                  <c:v>0.1553217462070569</c:v>
                </c:pt>
                <c:pt idx="31">
                  <c:v>0.1508401503426929</c:v>
                </c:pt>
                <c:pt idx="32">
                  <c:v>0.15629783511917777</c:v>
                </c:pt>
                <c:pt idx="33">
                  <c:v>0.17726337898744146</c:v>
                </c:pt>
                <c:pt idx="34">
                  <c:v>0.17377744012155624</c:v>
                </c:pt>
                <c:pt idx="35">
                  <c:v>0.192956416138173</c:v>
                </c:pt>
                <c:pt idx="36">
                  <c:v>0.15716185884113393</c:v>
                </c:pt>
                <c:pt idx="37">
                  <c:v>0.1293269230769231</c:v>
                </c:pt>
                <c:pt idx="38">
                  <c:v>0.12359550561797752</c:v>
                </c:pt>
                <c:pt idx="39">
                  <c:v>0.12543323139653414</c:v>
                </c:pt>
                <c:pt idx="40">
                  <c:v>0.13096507313744724</c:v>
                </c:pt>
                <c:pt idx="41">
                  <c:v>0.1206642745422762</c:v>
                </c:pt>
                <c:pt idx="42">
                  <c:v>0.12140700364691581</c:v>
                </c:pt>
                <c:pt idx="43">
                  <c:v>0.13300094800042134</c:v>
                </c:pt>
                <c:pt idx="44">
                  <c:v>0.14654865576726858</c:v>
                </c:pt>
                <c:pt idx="45">
                  <c:v>0.16731320255675555</c:v>
                </c:pt>
                <c:pt idx="46">
                  <c:v>0.1764019187502653</c:v>
                </c:pt>
                <c:pt idx="47">
                  <c:v>0.1716687701884613</c:v>
                </c:pt>
                <c:pt idx="48">
                  <c:v>0.19153248508050896</c:v>
                </c:pt>
                <c:pt idx="49">
                  <c:v>0.22133119486768243</c:v>
                </c:pt>
                <c:pt idx="50">
                  <c:v>0.1820144482271859</c:v>
                </c:pt>
                <c:pt idx="51">
                  <c:v>0.1671104696015728</c:v>
                </c:pt>
                <c:pt idx="52">
                  <c:v>0.1823606150687568</c:v>
                </c:pt>
                <c:pt idx="53">
                  <c:v>0.165633727889347</c:v>
                </c:pt>
                <c:pt idx="54">
                  <c:v>0.15941820276497695</c:v>
                </c:pt>
                <c:pt idx="55">
                  <c:v>0.1570630582190758</c:v>
                </c:pt>
                <c:pt idx="56">
                  <c:v>0.17284360475644353</c:v>
                </c:pt>
                <c:pt idx="57">
                  <c:v>0.16677579027315823</c:v>
                </c:pt>
                <c:pt idx="58">
                  <c:v>0.1796740265733926</c:v>
                </c:pt>
                <c:pt idx="59">
                  <c:v>0.1848297810782139</c:v>
                </c:pt>
                <c:pt idx="60">
                  <c:v>0.1911824354113394</c:v>
                </c:pt>
                <c:pt idx="61">
                  <c:v>0.1938988416432837</c:v>
                </c:pt>
                <c:pt idx="62">
                  <c:v>0.1979644124767882</c:v>
                </c:pt>
                <c:pt idx="63">
                  <c:v>0.21463529815824497</c:v>
                </c:pt>
                <c:pt idx="64">
                  <c:v>0.20133358416421063</c:v>
                </c:pt>
                <c:pt idx="65">
                  <c:v>0.1998720672560711</c:v>
                </c:pt>
                <c:pt idx="66">
                  <c:v>0.19738022185508614</c:v>
                </c:pt>
                <c:pt idx="67">
                  <c:v>0.193351193375548</c:v>
                </c:pt>
                <c:pt idx="68">
                  <c:v>0.1764843521497514</c:v>
                </c:pt>
                <c:pt idx="69">
                  <c:v>0.15879038317054847</c:v>
                </c:pt>
                <c:pt idx="70">
                  <c:v>0.14821472630502977</c:v>
                </c:pt>
                <c:pt idx="71">
                  <c:v>0.15706529935153069</c:v>
                </c:pt>
                <c:pt idx="72">
                  <c:v>0.15622956774427896</c:v>
                </c:pt>
                <c:pt idx="73">
                  <c:v>0.16183638768184394</c:v>
                </c:pt>
                <c:pt idx="74">
                  <c:v>0.1592623335378397</c:v>
                </c:pt>
                <c:pt idx="75">
                  <c:v>0.15497225778915918</c:v>
                </c:pt>
                <c:pt idx="76">
                  <c:v>0.1459560670411472</c:v>
                </c:pt>
                <c:pt idx="77">
                  <c:v>0.15498438843386578</c:v>
                </c:pt>
                <c:pt idx="78">
                  <c:v>0.1446161907257008</c:v>
                </c:pt>
                <c:pt idx="79">
                  <c:v>0.18320854638422207</c:v>
                </c:pt>
                <c:pt idx="80">
                  <c:v>0.1774726788502158</c:v>
                </c:pt>
                <c:pt idx="81">
                  <c:v>0.1575934534557609</c:v>
                </c:pt>
                <c:pt idx="82">
                  <c:v>0.14378602039308408</c:v>
                </c:pt>
                <c:pt idx="83">
                  <c:v>0.1329802220093537</c:v>
                </c:pt>
                <c:pt idx="84">
                  <c:v>0.12998102466793168</c:v>
                </c:pt>
                <c:pt idx="85">
                  <c:v>0.1331891549741534</c:v>
                </c:pt>
                <c:pt idx="86">
                  <c:v>0.13664497698777972</c:v>
                </c:pt>
                <c:pt idx="87">
                  <c:v>0.15707769558051285</c:v>
                </c:pt>
                <c:pt idx="88">
                  <c:v>0.14278950856926428</c:v>
                </c:pt>
                <c:pt idx="89">
                  <c:v>0.12795285677683832</c:v>
                </c:pt>
                <c:pt idx="90">
                  <c:v>0.12505943889681406</c:v>
                </c:pt>
                <c:pt idx="91">
                  <c:v>0.11934383465435938</c:v>
                </c:pt>
                <c:pt idx="92">
                  <c:v>0.13114754098360656</c:v>
                </c:pt>
                <c:pt idx="93">
                  <c:v>0.11910570731512218</c:v>
                </c:pt>
                <c:pt idx="94">
                  <c:v>0.12265742556198987</c:v>
                </c:pt>
                <c:pt idx="95">
                  <c:v>0.13306545345863913</c:v>
                </c:pt>
                <c:pt idx="96">
                  <c:v>0.12835410689746618</c:v>
                </c:pt>
                <c:pt idx="97">
                  <c:v>0.13635974853526067</c:v>
                </c:pt>
                <c:pt idx="98">
                  <c:v>0.15405743754554457</c:v>
                </c:pt>
                <c:pt idx="99">
                  <c:v>0.1593022876350227</c:v>
                </c:pt>
                <c:pt idx="100">
                  <c:v>0.18337582746602418</c:v>
                </c:pt>
                <c:pt idx="101">
                  <c:v>0.15571918341904317</c:v>
                </c:pt>
                <c:pt idx="102">
                  <c:v>0.1313907284768212</c:v>
                </c:pt>
                <c:pt idx="103">
                  <c:v>0.15021106674272675</c:v>
                </c:pt>
                <c:pt idx="104">
                  <c:v>0.1544821131447587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678421682600857</c:v>
                </c:pt>
                <c:pt idx="1">
                  <c:v>0.21923790705203539</c:v>
                </c:pt>
                <c:pt idx="2">
                  <c:v>0.21023826337483986</c:v>
                </c:pt>
                <c:pt idx="3">
                  <c:v>0.21609912495395123</c:v>
                </c:pt>
                <c:pt idx="4">
                  <c:v>0.2097518775944407</c:v>
                </c:pt>
                <c:pt idx="5">
                  <c:v>0.21100905275397766</c:v>
                </c:pt>
                <c:pt idx="6">
                  <c:v>0.19925756854971963</c:v>
                </c:pt>
                <c:pt idx="7">
                  <c:v>0.19440389061660165</c:v>
                </c:pt>
                <c:pt idx="8">
                  <c:v>0.2127423548430001</c:v>
                </c:pt>
                <c:pt idx="9">
                  <c:v>0.2084982152723515</c:v>
                </c:pt>
                <c:pt idx="10">
                  <c:v>0.21546843219801912</c:v>
                </c:pt>
                <c:pt idx="11">
                  <c:v>0.2010383511761445</c:v>
                </c:pt>
                <c:pt idx="12">
                  <c:v>0.1999061324804715</c:v>
                </c:pt>
                <c:pt idx="13">
                  <c:v>0.2021845214404571</c:v>
                </c:pt>
                <c:pt idx="14">
                  <c:v>0.19976068324303767</c:v>
                </c:pt>
                <c:pt idx="15">
                  <c:v>0.1945150000378541</c:v>
                </c:pt>
                <c:pt idx="16">
                  <c:v>0.1888580470341312</c:v>
                </c:pt>
                <c:pt idx="17">
                  <c:v>0.1843954919063892</c:v>
                </c:pt>
                <c:pt idx="18">
                  <c:v>0.17576533040019346</c:v>
                </c:pt>
                <c:pt idx="19">
                  <c:v>0.19183398962018183</c:v>
                </c:pt>
                <c:pt idx="20">
                  <c:v>0.1765537512273088</c:v>
                </c:pt>
                <c:pt idx="21">
                  <c:v>0.16928492648476604</c:v>
                </c:pt>
                <c:pt idx="22">
                  <c:v>0.17654418501113292</c:v>
                </c:pt>
                <c:pt idx="23">
                  <c:v>0.15496673068705297</c:v>
                </c:pt>
                <c:pt idx="24">
                  <c:v>0.1532588920968245</c:v>
                </c:pt>
                <c:pt idx="25">
                  <c:v>0.15152668735018707</c:v>
                </c:pt>
                <c:pt idx="26">
                  <c:v>0.15602596341816222</c:v>
                </c:pt>
                <c:pt idx="27">
                  <c:v>0.1673823674562209</c:v>
                </c:pt>
                <c:pt idx="28">
                  <c:v>0.17137901533923824</c:v>
                </c:pt>
                <c:pt idx="29">
                  <c:v>0.1654590776728761</c:v>
                </c:pt>
                <c:pt idx="30">
                  <c:v>0.15720715241216174</c:v>
                </c:pt>
                <c:pt idx="31">
                  <c:v>0.14881156824959157</c:v>
                </c:pt>
                <c:pt idx="32">
                  <c:v>0.1477951444202972</c:v>
                </c:pt>
                <c:pt idx="33">
                  <c:v>0.16161640143845288</c:v>
                </c:pt>
                <c:pt idx="34">
                  <c:v>0.18365031181229122</c:v>
                </c:pt>
                <c:pt idx="35">
                  <c:v>0.17458664769633558</c:v>
                </c:pt>
                <c:pt idx="36">
                  <c:v>0.1494712490511709</c:v>
                </c:pt>
                <c:pt idx="37">
                  <c:v>0.16884666998451145</c:v>
                </c:pt>
                <c:pt idx="38">
                  <c:v>0.15444026226756274</c:v>
                </c:pt>
                <c:pt idx="39">
                  <c:v>0.1694920790636336</c:v>
                </c:pt>
                <c:pt idx="40">
                  <c:v>0.1707628829909219</c:v>
                </c:pt>
                <c:pt idx="41">
                  <c:v>0.18287165941500685</c:v>
                </c:pt>
                <c:pt idx="42">
                  <c:v>0.18047348679134317</c:v>
                </c:pt>
                <c:pt idx="43">
                  <c:v>0.18596486917368443</c:v>
                </c:pt>
                <c:pt idx="44">
                  <c:v>0.18811334059969234</c:v>
                </c:pt>
                <c:pt idx="45">
                  <c:v>0.19268928185106196</c:v>
                </c:pt>
                <c:pt idx="46">
                  <c:v>0.18301137968658004</c:v>
                </c:pt>
                <c:pt idx="47">
                  <c:v>0.17925175366363238</c:v>
                </c:pt>
                <c:pt idx="48">
                  <c:v>0.1829013180481019</c:v>
                </c:pt>
                <c:pt idx="49">
                  <c:v>0.19871862374946386</c:v>
                </c:pt>
                <c:pt idx="50">
                  <c:v>0.20308541708275762</c:v>
                </c:pt>
                <c:pt idx="51">
                  <c:v>0.17890343745844176</c:v>
                </c:pt>
              </c:numCache>
            </c:numRef>
          </c:xVal>
          <c:yVal>
            <c:numRef>
              <c:f>Sheet1!$B$109:$B$160</c:f>
              <c:numCache>
                <c:formatCode>General</c:formatCode>
                <c:ptCount val="52"/>
                <c:pt idx="0">
                  <c:v>0.15453902381513793</c:v>
                </c:pt>
                <c:pt idx="1">
                  <c:v>0.15065908633527872</c:v>
                </c:pt>
                <c:pt idx="2">
                  <c:v>0.15922999634636464</c:v>
                </c:pt>
                <c:pt idx="3">
                  <c:v>0.16322220203488372</c:v>
                </c:pt>
                <c:pt idx="4">
                  <c:v>0.1516795865633075</c:v>
                </c:pt>
                <c:pt idx="5">
                  <c:v>0.1499715018523796</c:v>
                </c:pt>
                <c:pt idx="6">
                  <c:v>0.15807702011514024</c:v>
                </c:pt>
                <c:pt idx="7">
                  <c:v>0.15210545813781182</c:v>
                </c:pt>
                <c:pt idx="8">
                  <c:v>0.15225104198959732</c:v>
                </c:pt>
                <c:pt idx="9">
                  <c:v>0.16813044983788208</c:v>
                </c:pt>
                <c:pt idx="10">
                  <c:v>0.1647083891391696</c:v>
                </c:pt>
                <c:pt idx="11">
                  <c:v>0.18933902887914386</c:v>
                </c:pt>
                <c:pt idx="12">
                  <c:v>0.17624590760276465</c:v>
                </c:pt>
                <c:pt idx="13">
                  <c:v>0.16931939978563773</c:v>
                </c:pt>
                <c:pt idx="14">
                  <c:v>0.1727391874180865</c:v>
                </c:pt>
                <c:pt idx="15">
                  <c:v>0.15765555451800667</c:v>
                </c:pt>
                <c:pt idx="16">
                  <c:v>0.15561180264207206</c:v>
                </c:pt>
                <c:pt idx="17">
                  <c:v>0.13336514812231562</c:v>
                </c:pt>
                <c:pt idx="18">
                  <c:v>0.1307206849375524</c:v>
                </c:pt>
                <c:pt idx="19">
                  <c:v>0.14154471544715447</c:v>
                </c:pt>
                <c:pt idx="20">
                  <c:v>0.13488269145639664</c:v>
                </c:pt>
                <c:pt idx="21">
                  <c:v>0.14243070362473348</c:v>
                </c:pt>
                <c:pt idx="22">
                  <c:v>0.14002001791076227</c:v>
                </c:pt>
                <c:pt idx="23">
                  <c:v>0.14325596671775784</c:v>
                </c:pt>
                <c:pt idx="24">
                  <c:v>0.1437380175138608</c:v>
                </c:pt>
                <c:pt idx="25">
                  <c:v>0.14956521739130435</c:v>
                </c:pt>
                <c:pt idx="26">
                  <c:v>0.1334056399132321</c:v>
                </c:pt>
                <c:pt idx="27">
                  <c:v>0.11880146386093321</c:v>
                </c:pt>
                <c:pt idx="28">
                  <c:v>0.129798595635538</c:v>
                </c:pt>
                <c:pt idx="29">
                  <c:v>0.1199602286850609</c:v>
                </c:pt>
                <c:pt idx="30">
                  <c:v>0.14040989545595695</c:v>
                </c:pt>
                <c:pt idx="31">
                  <c:v>0.12741490340386386</c:v>
                </c:pt>
                <c:pt idx="32">
                  <c:v>0.1301096199159922</c:v>
                </c:pt>
                <c:pt idx="33">
                  <c:v>0.14949047030230675</c:v>
                </c:pt>
                <c:pt idx="34">
                  <c:v>0.17020268669847394</c:v>
                </c:pt>
                <c:pt idx="35">
                  <c:v>0.16325723103707515</c:v>
                </c:pt>
                <c:pt idx="36">
                  <c:v>0.14331593737454837</c:v>
                </c:pt>
                <c:pt idx="37">
                  <c:v>0.13059604032805724</c:v>
                </c:pt>
                <c:pt idx="38">
                  <c:v>0.12966160220994474</c:v>
                </c:pt>
                <c:pt idx="39">
                  <c:v>0.14714419684722904</c:v>
                </c:pt>
                <c:pt idx="40">
                  <c:v>0.12842914555303162</c:v>
                </c:pt>
                <c:pt idx="41">
                  <c:v>0.13137238701148476</c:v>
                </c:pt>
                <c:pt idx="42">
                  <c:v>0.12623932014437794</c:v>
                </c:pt>
                <c:pt idx="43">
                  <c:v>0.12546138190348063</c:v>
                </c:pt>
                <c:pt idx="44">
                  <c:v>0.12657753702529823</c:v>
                </c:pt>
                <c:pt idx="45">
                  <c:v>0.141745609600633</c:v>
                </c:pt>
                <c:pt idx="46">
                  <c:v>0.13399320820280622</c:v>
                </c:pt>
                <c:pt idx="47">
                  <c:v>0.13891769120624106</c:v>
                </c:pt>
                <c:pt idx="48">
                  <c:v>0.13187201329731976</c:v>
                </c:pt>
                <c:pt idx="49">
                  <c:v>0.144998575092619</c:v>
                </c:pt>
                <c:pt idx="50">
                  <c:v>0.1826004679768313</c:v>
                </c:pt>
                <c:pt idx="51">
                  <c:v>0.1620312297244690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7994634719964884</c:v>
                </c:pt>
              </c:numCache>
            </c:numRef>
          </c:xVal>
          <c:yVal>
            <c:numRef>
              <c:f>Sheet1!$B$163:$B$164</c:f>
              <c:numCache>
                <c:formatCode>General</c:formatCode>
                <c:ptCount val="2"/>
                <c:pt idx="0">
                  <c:v>0.19090649372808102</c:v>
                </c:pt>
                <c:pt idx="1">
                  <c:v>0.1909064937280810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7994634719964884</c:v>
                </c:pt>
                <c:pt idx="1">
                  <c:v>0.27994634719964884</c:v>
                </c:pt>
              </c:numCache>
            </c:numRef>
          </c:xVal>
          <c:yVal>
            <c:numRef>
              <c:f>Sheet1!$B$167:$B$168</c:f>
              <c:numCache>
                <c:formatCode>General</c:formatCode>
                <c:ptCount val="2"/>
                <c:pt idx="0">
                  <c:v>0.19090649372808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0567506648617148</c:v>
                </c:pt>
              </c:numCache>
            </c:numRef>
          </c:xVal>
          <c:yVal>
            <c:numRef>
              <c:f>Sheet1!$B$171:$B$172</c:f>
              <c:numCache>
                <c:formatCode>General</c:formatCode>
                <c:ptCount val="2"/>
                <c:pt idx="0">
                  <c:v>0.1566687433393012</c:v>
                </c:pt>
                <c:pt idx="1">
                  <c:v>0.156668743339301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0567506648617148</c:v>
                </c:pt>
                <c:pt idx="1">
                  <c:v>0.20567506648617148</c:v>
                </c:pt>
              </c:numCache>
            </c:numRef>
          </c:xVal>
          <c:yVal>
            <c:numRef>
              <c:f>Sheet1!$B$175:$B$176</c:f>
              <c:numCache>
                <c:formatCode>General</c:formatCode>
                <c:ptCount val="2"/>
                <c:pt idx="0">
                  <c:v>0.156668743339301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6974662694885545</c:v>
                </c:pt>
              </c:numCache>
            </c:numRef>
          </c:xVal>
          <c:yVal>
            <c:numRef>
              <c:f>Sheet1!$B$179:$B$180</c:f>
              <c:numCache>
                <c:formatCode>General</c:formatCode>
                <c:ptCount val="2"/>
                <c:pt idx="0">
                  <c:v>0.1401063664296786</c:v>
                </c:pt>
                <c:pt idx="1">
                  <c:v>0.140106366429678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6974662694885545</c:v>
                </c:pt>
                <c:pt idx="1">
                  <c:v>0.16974662694885545</c:v>
                </c:pt>
              </c:numCache>
            </c:numRef>
          </c:xVal>
          <c:yVal>
            <c:numRef>
              <c:f>Sheet1!$B$183:$B$184</c:f>
              <c:numCache>
                <c:formatCode>General</c:formatCode>
                <c:ptCount val="2"/>
                <c:pt idx="0">
                  <c:v>0.14010636642967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678421682600857</c:v>
                </c:pt>
                <c:pt idx="1">
                  <c:v>0.21923790705203539</c:v>
                </c:pt>
                <c:pt idx="2">
                  <c:v>0.21023826337483986</c:v>
                </c:pt>
                <c:pt idx="3">
                  <c:v>0.21609912495395123</c:v>
                </c:pt>
                <c:pt idx="4">
                  <c:v>0.2097518775944407</c:v>
                </c:pt>
                <c:pt idx="5">
                  <c:v>0.21100905275397766</c:v>
                </c:pt>
                <c:pt idx="6">
                  <c:v>0.19925756854971963</c:v>
                </c:pt>
                <c:pt idx="7">
                  <c:v>0.19440389061660165</c:v>
                </c:pt>
                <c:pt idx="8">
                  <c:v>0.2127423548430001</c:v>
                </c:pt>
                <c:pt idx="9">
                  <c:v>0.2084982152723515</c:v>
                </c:pt>
                <c:pt idx="10">
                  <c:v>0.21546843219801912</c:v>
                </c:pt>
                <c:pt idx="11">
                  <c:v>0.2010383511761445</c:v>
                </c:pt>
                <c:pt idx="12">
                  <c:v>0.1999061324804715</c:v>
                </c:pt>
                <c:pt idx="13">
                  <c:v>0.2021845214404571</c:v>
                </c:pt>
                <c:pt idx="14">
                  <c:v>0.19976068324303767</c:v>
                </c:pt>
                <c:pt idx="15">
                  <c:v>0.1945150000378541</c:v>
                </c:pt>
                <c:pt idx="16">
                  <c:v>0.1888580470341312</c:v>
                </c:pt>
                <c:pt idx="17">
                  <c:v>0.1843954919063892</c:v>
                </c:pt>
                <c:pt idx="18">
                  <c:v>0.17576533040019346</c:v>
                </c:pt>
                <c:pt idx="19">
                  <c:v>0.19183398962018183</c:v>
                </c:pt>
                <c:pt idx="20">
                  <c:v>0.1765537512273088</c:v>
                </c:pt>
                <c:pt idx="21">
                  <c:v>0.16928492648476604</c:v>
                </c:pt>
                <c:pt idx="22">
                  <c:v>0.17654418501113292</c:v>
                </c:pt>
                <c:pt idx="23">
                  <c:v>0.15496673068705297</c:v>
                </c:pt>
                <c:pt idx="24">
                  <c:v>0.1532588920968245</c:v>
                </c:pt>
                <c:pt idx="25">
                  <c:v>0.15152668735018707</c:v>
                </c:pt>
                <c:pt idx="26">
                  <c:v>0.15602596341816222</c:v>
                </c:pt>
                <c:pt idx="27">
                  <c:v>0.1673823674562209</c:v>
                </c:pt>
                <c:pt idx="28">
                  <c:v>0.17137901533923824</c:v>
                </c:pt>
                <c:pt idx="29">
                  <c:v>0.1654590776728761</c:v>
                </c:pt>
                <c:pt idx="30">
                  <c:v>0.15720715241216174</c:v>
                </c:pt>
                <c:pt idx="31">
                  <c:v>0.14881156824959157</c:v>
                </c:pt>
                <c:pt idx="32">
                  <c:v>0.1477951444202972</c:v>
                </c:pt>
                <c:pt idx="33">
                  <c:v>0.16161640143845288</c:v>
                </c:pt>
                <c:pt idx="34">
                  <c:v>0.18365031181229122</c:v>
                </c:pt>
                <c:pt idx="35">
                  <c:v>0.17458664769633558</c:v>
                </c:pt>
                <c:pt idx="36">
                  <c:v>0.1494712490511709</c:v>
                </c:pt>
                <c:pt idx="37">
                  <c:v>0.16884666998451145</c:v>
                </c:pt>
                <c:pt idx="38">
                  <c:v>0.15444026226756274</c:v>
                </c:pt>
                <c:pt idx="39">
                  <c:v>0.1694920790636336</c:v>
                </c:pt>
                <c:pt idx="40">
                  <c:v>0.1707628829909219</c:v>
                </c:pt>
                <c:pt idx="41">
                  <c:v>0.18287165941500685</c:v>
                </c:pt>
                <c:pt idx="42">
                  <c:v>0.18047348679134317</c:v>
                </c:pt>
                <c:pt idx="43">
                  <c:v>0.18596486917368443</c:v>
                </c:pt>
                <c:pt idx="44">
                  <c:v>0.18811334059969234</c:v>
                </c:pt>
                <c:pt idx="45">
                  <c:v>0.19268928185106196</c:v>
                </c:pt>
                <c:pt idx="46">
                  <c:v>0.18301137968658004</c:v>
                </c:pt>
                <c:pt idx="47">
                  <c:v>0.17925175366363238</c:v>
                </c:pt>
                <c:pt idx="48">
                  <c:v>0.1829013180481019</c:v>
                </c:pt>
                <c:pt idx="49">
                  <c:v>0.19871862374946386</c:v>
                </c:pt>
                <c:pt idx="50">
                  <c:v>0.20308541708275762</c:v>
                </c:pt>
                <c:pt idx="51">
                  <c:v>0.17890343745844176</c:v>
                </c:pt>
                <c:pt idx="52">
                  <c:v>0.20567506648617148</c:v>
                </c:pt>
                <c:pt idx="53">
                  <c:v>0.27994634719964884</c:v>
                </c:pt>
                <c:pt idx="54">
                  <c:v>0.16974662694885545</c:v>
                </c:pt>
              </c:numCache>
            </c:numRef>
          </c:xVal>
          <c:yVal>
            <c:numRef>
              <c:f>Sheet1!$B$187:$B$241</c:f>
              <c:numCache>
                <c:formatCode>General</c:formatCode>
                <c:ptCount val="55"/>
                <c:pt idx="0">
                  <c:v>0.1617898656992897</c:v>
                </c:pt>
                <c:pt idx="1">
                  <c:v>0.16292097361453062</c:v>
                </c:pt>
                <c:pt idx="2">
                  <c:v>0.15877229661788003</c:v>
                </c:pt>
                <c:pt idx="3">
                  <c:v>0.16147405043013646</c:v>
                </c:pt>
                <c:pt idx="4">
                  <c:v>0.1585480813521409</c:v>
                </c:pt>
                <c:pt idx="5">
                  <c:v>0.15912761692623786</c:v>
                </c:pt>
                <c:pt idx="6">
                  <c:v>0.1537103899844374</c:v>
                </c:pt>
                <c:pt idx="7">
                  <c:v>0.151472930067963</c:v>
                </c:pt>
                <c:pt idx="8">
                  <c:v>0.15992663861675158</c:v>
                </c:pt>
                <c:pt idx="9">
                  <c:v>0.15797016513414683</c:v>
                </c:pt>
                <c:pt idx="10">
                  <c:v>0.16118331219400833</c:v>
                </c:pt>
                <c:pt idx="11">
                  <c:v>0.154531299365217</c:v>
                </c:pt>
                <c:pt idx="12">
                  <c:v>0.15400936651694005</c:v>
                </c:pt>
                <c:pt idx="13">
                  <c:v>0.15505966364055468</c:v>
                </c:pt>
                <c:pt idx="14">
                  <c:v>0.15394231698396232</c:v>
                </c:pt>
                <c:pt idx="15">
                  <c:v>0.15152414955137758</c:v>
                </c:pt>
                <c:pt idx="16">
                  <c:v>0.14891639399577186</c:v>
                </c:pt>
                <c:pt idx="17">
                  <c:v>0.14685923479382915</c:v>
                </c:pt>
                <c:pt idx="18">
                  <c:v>0.1428808825609671</c:v>
                </c:pt>
                <c:pt idx="19">
                  <c:v>0.1502882510373329</c:v>
                </c:pt>
                <c:pt idx="20">
                  <c:v>0.14324433065585357</c:v>
                </c:pt>
                <c:pt idx="21">
                  <c:v>0.13989353065935092</c:v>
                </c:pt>
                <c:pt idx="22">
                  <c:v>0.1432399207989284</c:v>
                </c:pt>
                <c:pt idx="23">
                  <c:v>0.13329309494543143</c:v>
                </c:pt>
                <c:pt idx="24">
                  <c:v>0.13250581147872856</c:v>
                </c:pt>
                <c:pt idx="25">
                  <c:v>0.13170729564369907</c:v>
                </c:pt>
                <c:pt idx="26">
                  <c:v>0.13378138255139382</c:v>
                </c:pt>
                <c:pt idx="27">
                  <c:v>0.13901648450512422</c:v>
                </c:pt>
                <c:pt idx="28">
                  <c:v>0.1408588686850669</c:v>
                </c:pt>
                <c:pt idx="29">
                  <c:v>0.1381298818385904</c:v>
                </c:pt>
                <c:pt idx="30">
                  <c:v>0.13432588984344582</c:v>
                </c:pt>
                <c:pt idx="31">
                  <c:v>0.13045567362844643</c:v>
                </c:pt>
                <c:pt idx="32">
                  <c:v>0.1299871201711439</c:v>
                </c:pt>
                <c:pt idx="33">
                  <c:v>0.1363584758728494</c:v>
                </c:pt>
                <c:pt idx="34">
                  <c:v>0.1465157199141701</c:v>
                </c:pt>
                <c:pt idx="35">
                  <c:v>0.14233753062446367</c:v>
                </c:pt>
                <c:pt idx="36">
                  <c:v>0.1307597748423177</c:v>
                </c:pt>
                <c:pt idx="37">
                  <c:v>0.1396915021428391</c:v>
                </c:pt>
                <c:pt idx="38">
                  <c:v>0.13305040229006146</c:v>
                </c:pt>
                <c:pt idx="39">
                  <c:v>0.13998902434438673</c:v>
                </c:pt>
                <c:pt idx="40">
                  <c:v>0.14057484254002858</c:v>
                </c:pt>
                <c:pt idx="41">
                  <c:v>0.14615677489313708</c:v>
                </c:pt>
                <c:pt idx="42">
                  <c:v>0.1450512596133487</c:v>
                </c:pt>
                <c:pt idx="43">
                  <c:v>0.14758269003288402</c:v>
                </c:pt>
                <c:pt idx="44">
                  <c:v>0.1485730974648611</c:v>
                </c:pt>
                <c:pt idx="45">
                  <c:v>0.15068252566985615</c:v>
                </c:pt>
                <c:pt idx="46">
                  <c:v>0.14622118347390237</c:v>
                </c:pt>
                <c:pt idx="47">
                  <c:v>0.14448806219078594</c:v>
                </c:pt>
                <c:pt idx="48">
                  <c:v>0.14617044699986564</c:v>
                </c:pt>
                <c:pt idx="49">
                  <c:v>0.15346194593759682</c:v>
                </c:pt>
                <c:pt idx="50">
                  <c:v>0.15547496064137545</c:v>
                </c:pt>
                <c:pt idx="51">
                  <c:v>0.14432749456390348</c:v>
                </c:pt>
                <c:pt idx="52">
                  <c:v>0.1566687433393012</c:v>
                </c:pt>
                <c:pt idx="53">
                  <c:v>0.19090649372808102</c:v>
                </c:pt>
                <c:pt idx="54">
                  <c:v>0.140106366429678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55974338412189"/>
          <c:min val="0.0950411710887465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0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xml"/></Relationships>
</file>

<file path=ppt/notesSlides/_rels/notesSlide1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xml"/></Relationships>
</file>

<file path=ppt/notesSlides/_rels/notesSlide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xml"/></Relationships>
</file>

<file path=ppt/notesSlides/_rels/notesSlide1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xml"/></Relationships>
</file>

<file path=ppt/notesSlides/_rels/notesSlide1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7.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xml"/></Relationships>
</file>

<file path=ppt/notesSlides/_rels/notesSlide1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xml"/></Relationships>
</file>

<file path=ppt/notesSlides/_rels/notesSlide1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3.xml"/></Relationships>
</file>

<file path=ppt/notesSlides/_rels/notesSlide1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xml"/></Relationships>
</file>

<file path=ppt/notesSlides/_rels/notesSlide1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xml"/></Relationships>
</file>

<file path=ppt/notesSlides/_rels/notesSlide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xml"/></Relationships>
</file>

<file path=ppt/notesSlides/_rels/notesSlide1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xml"/></Relationships>
</file>

<file path=ppt/notesSlides/_rels/notesSlide1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xml"/></Relationships>
</file>

<file path=ppt/notesSlides/_rels/notesSlide1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2.xml"/></Relationships>
</file>

<file path=ppt/notesSlides/_rels/notesSlide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xml"/></Relationships>
</file>

<file path=ppt/notesSlides/_rels/notesSlide1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7.xml"/></Relationships>
</file>

<file path=ppt/notesSlides/_rels/notesSlide1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xml"/></Relationships>
</file>

<file path=ppt/notesSlides/_rels/notesSlide1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xml"/></Relationships>
</file>

<file path=ppt/notesSlides/_rels/notesSlide1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xml"/></Relationships>
</file>

<file path=ppt/notesSlides/_rels/notesSlide1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xml"/></Relationships>
</file>

<file path=ppt/notesSlides/_rels/notesSlide1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3.xml"/></Relationships>
</file>

<file path=ppt/notesSlides/_rels/notesSlide1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xml"/></Relationships>
</file>

<file path=ppt/notesSlides/_rels/notesSlide1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xml"/></Relationships>
</file>

<file path=ppt/notesSlides/_rels/notesSlide1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6.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_rels/notesSlide1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xml"/></Relationships>
</file>

<file path=ppt/notesSlides/_rels/notesSlide1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xml"/></Relationships>
</file>

<file path=ppt/notesSlides/_rels/notesSlide1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xml"/></Relationships>
</file>

<file path=ppt/notesSlides/_rels/notesSlide1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2.xml"/></Relationships>
</file>

<file path=ppt/notesSlides/_rels/notesSlide1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xml"/></Relationships>
</file>

<file path=ppt/notesSlides/_rels/notesSlide1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xml"/></Relationships>
</file>

<file path=ppt/notesSlides/_rels/notesSlide1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5.xml"/></Relationships>
</file>

<file path=ppt/notesSlides/_rels/notesSlide1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xml"/></Relationships>
</file>

<file path=ppt/notesSlides/_rels/notesSlide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xml"/></Relationships>
</file>

<file path=ppt/notesSlides/_rels/notesSlide1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xml"/></Relationships>
</file>

<file path=ppt/notesSlides/_rels/notesSlide1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xml"/></Relationships>
</file>

<file path=ppt/notesSlides/_rels/notesSlide2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xml"/></Relationships>
</file>

<file path=ppt/notesSlides/_rels/notesSlide2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2.xml"/></Relationships>
</file>

<file path=ppt/notesSlides/_rels/notesSlide2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xml"/></Relationships>
</file>

<file path=ppt/notesSlides/_rels/notesSlide2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4.xml"/></Relationships>
</file>

<file path=ppt/notesSlides/_rels/notesSlide2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5.xml"/></Relationships>
</file>

<file path=ppt/notesSlides/_rels/notesSlide2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xml"/></Relationships>
</file>

<file path=ppt/notesSlides/_rels/notesSlide2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7.xml"/></Relationships>
</file>

<file path=ppt/notesSlides/_rels/notesSlide2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xml"/></Relationships>
</file>

<file path=ppt/notesSlides/_rels/notesSlide2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9.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0.xml"/></Relationships>
</file>

<file path=ppt/notesSlides/_rels/notesSlide2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1.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3.xml"/></Relationships>
</file>

<file path=ppt/notesSlides/_rels/notesSlide2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4.xml"/></Relationships>
</file>

<file path=ppt/notesSlides/_rels/notesSlide2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5.xml"/></Relationships>
</file>

<file path=ppt/notesSlides/_rels/notesSlide2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6.xml"/></Relationships>
</file>

<file path=ppt/notesSlides/_rels/notesSlide2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7.xml"/></Relationships>
</file>

<file path=ppt/notesSlides/_rels/notesSlide2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8.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 Id="rId7" Type="http://schemas.openxmlformats.org/officeDocument/2006/relationships/chart" Target="../charts/chart2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3.xml"/><Relationship Id="rId7" Type="http://schemas.openxmlformats.org/officeDocument/2006/relationships/chart" Target="../charts/chart204.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7.xml"/><Relationship Id="rId7" Type="http://schemas.openxmlformats.org/officeDocument/2006/relationships/chart" Target="../charts/chart208.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1.xml"/><Relationship Id="rId7" Type="http://schemas.openxmlformats.org/officeDocument/2006/relationships/chart" Target="../charts/chart212.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3.xml"/><Relationship Id="rId7" Type="http://schemas.openxmlformats.org/officeDocument/2006/relationships/chart" Target="../charts/chart214.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5.xml"/><Relationship Id="rId7" Type="http://schemas.openxmlformats.org/officeDocument/2006/relationships/chart" Target="../charts/chart216.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notesSlide" Target="../notesSlides/notesSlide1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 Id="rId7" Type="http://schemas.openxmlformats.org/officeDocument/2006/relationships/chart" Target="../charts/chart22.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notesSlide" Target="../notesSlides/notesSlide1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9.xml"/><Relationship Id="rId7" Type="http://schemas.openxmlformats.org/officeDocument/2006/relationships/chart" Target="../charts/chart22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notesSlide" Target="../notesSlides/notesSlide1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notesSlide" Target="../notesSlides/notesSlide1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3.xml"/><Relationship Id="rId7" Type="http://schemas.openxmlformats.org/officeDocument/2006/relationships/chart" Target="../charts/chart224.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notesSlide" Target="../notesSlides/notesSlide1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notesSlide" Target="../notesSlides/notesSlide1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7.xml"/><Relationship Id="rId7" Type="http://schemas.openxmlformats.org/officeDocument/2006/relationships/chart" Target="../charts/chart228.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notesSlide" Target="../notesSlides/notesSlide1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notesSlide" Target="../notesSlides/notesSlide1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1.xml"/><Relationship Id="rId7" Type="http://schemas.openxmlformats.org/officeDocument/2006/relationships/chart" Target="../charts/chart232.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notesSlide" Target="../notesSlides/notesSlide1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notesSlide" Target="../notesSlides/notesSlide1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5.xml"/><Relationship Id="rId7" Type="http://schemas.openxmlformats.org/officeDocument/2006/relationships/chart" Target="../charts/chart236.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notesSlide" Target="../notesSlides/notesSlide1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7.xml"/><Relationship Id="rId7" Type="http://schemas.openxmlformats.org/officeDocument/2006/relationships/chart" Target="../charts/chart23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notesSlide" Target="../notesSlides/notesSlide1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9.xml"/><Relationship Id="rId7" Type="http://schemas.openxmlformats.org/officeDocument/2006/relationships/chart" Target="../charts/chart24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notesSlide" Target="../notesSlides/notesSlide1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notesSlide" Target="../notesSlides/notesSlide1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5.xml"/><Relationship Id="rId7" Type="http://schemas.openxmlformats.org/officeDocument/2006/relationships/chart" Target="../charts/chart246.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notesSlide" Target="../notesSlides/notesSlide1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7.xml"/><Relationship Id="rId7" Type="http://schemas.openxmlformats.org/officeDocument/2006/relationships/chart" Target="../charts/chart248.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notesSlide" Target="../notesSlides/notesSlide1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notesSlide" Target="../notesSlides/notesSlide1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1.xml"/><Relationship Id="rId7" Type="http://schemas.openxmlformats.org/officeDocument/2006/relationships/chart" Target="../charts/chart252.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notesSlide" Target="../notesSlides/notesSlide1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notesSlide" Target="../notesSlides/notesSlide1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5.xml"/><Relationship Id="rId7" Type="http://schemas.openxmlformats.org/officeDocument/2006/relationships/chart" Target="../charts/chart256.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notesSlide" Target="../notesSlides/notesSlide1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9.xml"/><Relationship Id="rId7" Type="http://schemas.openxmlformats.org/officeDocument/2006/relationships/chart" Target="../charts/chart26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notesSlide" Target="../notesSlides/notesSlide1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1.xml"/><Relationship Id="rId7" Type="http://schemas.openxmlformats.org/officeDocument/2006/relationships/chart" Target="../charts/chart262.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notesSlide" Target="../notesSlides/notesSlide1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3.xml"/><Relationship Id="rId7" Type="http://schemas.openxmlformats.org/officeDocument/2006/relationships/chart" Target="../charts/chart264.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notesSlide" Target="../notesSlides/notesSlide1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notesSlide" Target="../notesSlides/notesSlide1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7.xml"/><Relationship Id="rId7" Type="http://schemas.openxmlformats.org/officeDocument/2006/relationships/chart" Target="../charts/chart268.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notesSlide" Target="../notesSlides/notesSlide1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9.xml"/><Relationship Id="rId7" Type="http://schemas.openxmlformats.org/officeDocument/2006/relationships/chart" Target="../charts/chart270.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notesSlide" Target="../notesSlides/notesSlide1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1.xml"/><Relationship Id="rId7" Type="http://schemas.openxmlformats.org/officeDocument/2006/relationships/chart" Target="../charts/chart272.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notesSlide" Target="../notesSlides/notesSlide1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notesSlide" Target="../notesSlides/notesSlide1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5.xml"/><Relationship Id="rId7" Type="http://schemas.openxmlformats.org/officeDocument/2006/relationships/chart" Target="../charts/chart276.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notesSlide" Target="../notesSlides/notesSlide1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 Id="rId7" Type="http://schemas.openxmlformats.org/officeDocument/2006/relationships/chart" Target="../charts/chart28.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notesSlide" Target="../notesSlides/notesSlide1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9.xml"/><Relationship Id="rId7" Type="http://schemas.openxmlformats.org/officeDocument/2006/relationships/chart" Target="../charts/chart28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notesSlide" Target="../notesSlides/notesSlide1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notesSlide" Target="../notesSlides/notesSlide1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3.xml"/><Relationship Id="rId7" Type="http://schemas.openxmlformats.org/officeDocument/2006/relationships/chart" Target="../charts/chart284.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notesSlide" Target="../notesSlides/notesSlide1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5.xml"/><Relationship Id="rId7" Type="http://schemas.openxmlformats.org/officeDocument/2006/relationships/chart" Target="../charts/chart286.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notesSlide" Target="../notesSlides/notesSlide1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notesSlide" Target="../notesSlides/notesSlide1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notesSlide" Target="../notesSlides/notesSlide1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1.xml"/><Relationship Id="rId7" Type="http://schemas.openxmlformats.org/officeDocument/2006/relationships/chart" Target="../charts/chart292.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notesSlide" Target="../notesSlides/notesSlide1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3.xml"/><Relationship Id="rId7" Type="http://schemas.openxmlformats.org/officeDocument/2006/relationships/chart" Target="../charts/chart294.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notesSlide" Target="../notesSlides/notesSlide1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5.xml"/><Relationship Id="rId7" Type="http://schemas.openxmlformats.org/officeDocument/2006/relationships/chart" Target="../charts/chart296.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notesSlide" Target="../notesSlides/notesSlide1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7.xml"/><Relationship Id="rId7" Type="http://schemas.openxmlformats.org/officeDocument/2006/relationships/chart" Target="../charts/chart29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 Id="rId7" Type="http://schemas.openxmlformats.org/officeDocument/2006/relationships/chart" Target="../charts/chart30.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notesSlide" Target="../notesSlides/notesSlide1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9.xml"/><Relationship Id="rId7" Type="http://schemas.openxmlformats.org/officeDocument/2006/relationships/chart" Target="../charts/chart30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notesSlide" Target="../notesSlides/notesSlide1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notesSlide" Target="../notesSlides/notesSlide1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3.xml"/><Relationship Id="rId7" Type="http://schemas.openxmlformats.org/officeDocument/2006/relationships/chart" Target="../charts/chart304.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notesSlide" Target="../notesSlides/notesSlide1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5.xml"/><Relationship Id="rId7" Type="http://schemas.openxmlformats.org/officeDocument/2006/relationships/chart" Target="../charts/chart306.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notesSlide" Target="../notesSlides/notesSlide1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7.xml"/><Relationship Id="rId7" Type="http://schemas.openxmlformats.org/officeDocument/2006/relationships/chart" Target="../charts/chart308.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notesSlide" Target="../notesSlides/notesSlide1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9.xml"/><Relationship Id="rId7" Type="http://schemas.openxmlformats.org/officeDocument/2006/relationships/chart" Target="../charts/chart310.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notesSlide" Target="../notesSlides/notesSlide1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1.xml"/><Relationship Id="rId7" Type="http://schemas.openxmlformats.org/officeDocument/2006/relationships/chart" Target="../charts/chart312.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notesSlide" Target="../notesSlides/notesSlide1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notesSlide" Target="../notesSlides/notesSlide1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5.xml"/><Relationship Id="rId7" Type="http://schemas.openxmlformats.org/officeDocument/2006/relationships/chart" Target="../charts/chart316.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notesSlide" Target="../notesSlides/notesSlide1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7.xml"/><Relationship Id="rId7" Type="http://schemas.openxmlformats.org/officeDocument/2006/relationships/chart" Target="../charts/chart318.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 Id="rId7" Type="http://schemas.openxmlformats.org/officeDocument/2006/relationships/chart" Target="../charts/chart32.xml"/></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notesSlide" Target="../notesSlides/notesSlide1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9.xml"/><Relationship Id="rId7" Type="http://schemas.openxmlformats.org/officeDocument/2006/relationships/chart" Target="../charts/chart320.xml"/></Relationships>
</file>

<file path=ppt/slides/_rels/slide161.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notesSlide" Target="../notesSlides/notesSlide1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1.xml"/><Relationship Id="rId7" Type="http://schemas.openxmlformats.org/officeDocument/2006/relationships/chart" Target="../charts/chart322.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notesSlide" Target="../notesSlides/notesSlide1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3.xml"/><Relationship Id="rId7" Type="http://schemas.openxmlformats.org/officeDocument/2006/relationships/chart" Target="../charts/chart324.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notesSlide" Target="../notesSlides/notesSlide1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notesSlide" Target="../notesSlides/notesSlide1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7.xml"/><Relationship Id="rId7" Type="http://schemas.openxmlformats.org/officeDocument/2006/relationships/chart" Target="../charts/chart328.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notesSlide" Target="../notesSlides/notesSlide1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9.xml"/><Relationship Id="rId7" Type="http://schemas.openxmlformats.org/officeDocument/2006/relationships/chart" Target="../charts/chart330.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notesSlide" Target="../notesSlides/notesSlide1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1.xml"/><Relationship Id="rId7" Type="http://schemas.openxmlformats.org/officeDocument/2006/relationships/chart" Target="../charts/chart332.xml"/></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notesSlide" Target="../notesSlides/notesSlide1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3.xml"/><Relationship Id="rId7" Type="http://schemas.openxmlformats.org/officeDocument/2006/relationships/chart" Target="../charts/chart334.xml"/></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notesSlide" Target="../notesSlides/notesSlide1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5.xml"/><Relationship Id="rId7" Type="http://schemas.openxmlformats.org/officeDocument/2006/relationships/chart" Target="../charts/chart336.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notesSlide" Target="../notesSlides/notesSlide1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notesSlide" Target="../notesSlides/notesSlide1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9.xml"/><Relationship Id="rId7" Type="http://schemas.openxmlformats.org/officeDocument/2006/relationships/chart" Target="../charts/chart340.xml"/></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notesSlide" Target="../notesSlides/notesSlide1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1.xml"/><Relationship Id="rId7" Type="http://schemas.openxmlformats.org/officeDocument/2006/relationships/chart" Target="../charts/chart342.xml"/></Relationships>
</file>

<file path=ppt/slides/_rels/slide172.xml.rels><?xml version='1.0' encoding='UTF-8' standalone='yes'?>
<Relationships xmlns="http://schemas.openxmlformats.org/package/2006/relationships"><Relationship Id="rId1" Type="http://schemas.openxmlformats.org/officeDocument/2006/relationships/tags" Target="../tags/tag199.xml"/><Relationship Id="rId2" Type="http://schemas.openxmlformats.org/officeDocument/2006/relationships/slideLayout" Target="../slideLayouts/slideLayout7.xml"/><Relationship Id="rId3" Type="http://schemas.openxmlformats.org/officeDocument/2006/relationships/notesSlide" Target="../notesSlides/notesSlide1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3.xml"/><Relationship Id="rId7" Type="http://schemas.openxmlformats.org/officeDocument/2006/relationships/chart" Target="../charts/chart344.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notesSlide" Target="../notesSlides/notesSlide1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5.xml"/><Relationship Id="rId7" Type="http://schemas.openxmlformats.org/officeDocument/2006/relationships/chart" Target="../charts/chart346.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notesSlide" Target="../notesSlides/notesSlide1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7.xml"/><Relationship Id="rId7" Type="http://schemas.openxmlformats.org/officeDocument/2006/relationships/chart" Target="../charts/chart348.xml"/></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notesSlide" Target="../notesSlides/notesSlide1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notesSlide" Target="../notesSlides/notesSlide1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1.xml"/><Relationship Id="rId7" Type="http://schemas.openxmlformats.org/officeDocument/2006/relationships/chart" Target="../charts/chart352.xml"/></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notesSlide" Target="../notesSlides/notesSlide1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3.xml"/><Relationship Id="rId7" Type="http://schemas.openxmlformats.org/officeDocument/2006/relationships/chart" Target="../charts/chart354.xml"/></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notesSlide" Target="../notesSlides/notesSlide1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5.xml"/><Relationship Id="rId7" Type="http://schemas.openxmlformats.org/officeDocument/2006/relationships/chart" Target="../charts/chart356.xml"/></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notesSlide" Target="../notesSlides/notesSlide1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7.xml"/><Relationship Id="rId7" Type="http://schemas.openxmlformats.org/officeDocument/2006/relationships/chart" Target="../charts/chart358.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 Id="rId7" Type="http://schemas.openxmlformats.org/officeDocument/2006/relationships/chart" Target="../charts/chart36.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notesSlide" Target="../notesSlides/notesSlide1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9.xml"/><Relationship Id="rId7" Type="http://schemas.openxmlformats.org/officeDocument/2006/relationships/chart" Target="../charts/chart36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notesSlide" Target="../notesSlides/notesSlide1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notesSlide" Target="../notesSlides/notesSlide1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3.xml"/><Relationship Id="rId7" Type="http://schemas.openxmlformats.org/officeDocument/2006/relationships/chart" Target="../charts/chart364.xml"/></Relationships>
</file>

<file path=ppt/slides/_rels/slide183.xml.rels><?xml version='1.0' encoding='UTF-8' standalone='yes'?>
<Relationships xmlns="http://schemas.openxmlformats.org/package/2006/relationships"><Relationship Id="rId1" Type="http://schemas.openxmlformats.org/officeDocument/2006/relationships/tags" Target="../tags/tag210.xml"/><Relationship Id="rId2" Type="http://schemas.openxmlformats.org/officeDocument/2006/relationships/slideLayout" Target="../slideLayouts/slideLayout7.xml"/><Relationship Id="rId3" Type="http://schemas.openxmlformats.org/officeDocument/2006/relationships/notesSlide" Target="../notesSlides/notesSlide1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5.xml"/><Relationship Id="rId7" Type="http://schemas.openxmlformats.org/officeDocument/2006/relationships/chart" Target="../charts/chart366.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notesSlide" Target="../notesSlides/notesSlide1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7.xml"/><Relationship Id="rId7" Type="http://schemas.openxmlformats.org/officeDocument/2006/relationships/chart" Target="../charts/chart368.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notesSlide" Target="../notesSlides/notesSlide1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9.xml"/><Relationship Id="rId7" Type="http://schemas.openxmlformats.org/officeDocument/2006/relationships/chart" Target="../charts/chart370.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notesSlide" Target="../notesSlides/notesSlide1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1.xml"/><Relationship Id="rId7" Type="http://schemas.openxmlformats.org/officeDocument/2006/relationships/chart" Target="../charts/chart372.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notesSlide" Target="../notesSlides/notesSlide1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notesSlide" Target="../notesSlides/notesSlide1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5.xml"/><Relationship Id="rId7" Type="http://schemas.openxmlformats.org/officeDocument/2006/relationships/chart" Target="../charts/chart376.xml"/></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notesSlide" Target="../notesSlides/notesSlide1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7.xml"/><Relationship Id="rId7" Type="http://schemas.openxmlformats.org/officeDocument/2006/relationships/chart" Target="../charts/chart37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s>
</file>

<file path=ppt/slides/_rels/slide190.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notesSlide" Target="../notesSlides/notesSlide1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9.xml"/><Relationship Id="rId7" Type="http://schemas.openxmlformats.org/officeDocument/2006/relationships/chart" Target="../charts/chart380.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notesSlide" Target="../notesSlides/notesSlide1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1.xml"/><Relationship Id="rId7" Type="http://schemas.openxmlformats.org/officeDocument/2006/relationships/chart" Target="../charts/chart382.xml"/></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notesSlide" Target="../notesSlides/notesSlide1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3.xml"/><Relationship Id="rId7" Type="http://schemas.openxmlformats.org/officeDocument/2006/relationships/chart" Target="../charts/chart384.xml"/></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notesSlide" Target="../notesSlides/notesSlide1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notesSlide" Target="../notesSlides/notesSlide1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7.xml"/><Relationship Id="rId7" Type="http://schemas.openxmlformats.org/officeDocument/2006/relationships/chart" Target="../charts/chart388.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notesSlide" Target="../notesSlides/notesSlide1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9.xml"/><Relationship Id="rId7" Type="http://schemas.openxmlformats.org/officeDocument/2006/relationships/chart" Target="../charts/chart390.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notesSlide" Target="../notesSlides/notesSlide1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1.xml"/><Relationship Id="rId7" Type="http://schemas.openxmlformats.org/officeDocument/2006/relationships/chart" Target="../charts/chart392.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notesSlide" Target="../notesSlides/notesSlide1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3.xml"/><Relationship Id="rId7" Type="http://schemas.openxmlformats.org/officeDocument/2006/relationships/chart" Target="../charts/chart394.xml"/></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notesSlide" Target="../notesSlides/notesSlide1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5.xml"/><Relationship Id="rId7" Type="http://schemas.openxmlformats.org/officeDocument/2006/relationships/chart" Target="../charts/chart396.xml"/></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notesSlide" Target="../notesSlides/notesSlide1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 Id="rId7" Type="http://schemas.openxmlformats.org/officeDocument/2006/relationships/chart" Target="../charts/chart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 Id="rId7" Type="http://schemas.openxmlformats.org/officeDocument/2006/relationships/chart" Target="../charts/chart40.xml"/></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notesSlide" Target="../notesSlides/notesSlide2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9.xml"/><Relationship Id="rId7" Type="http://schemas.openxmlformats.org/officeDocument/2006/relationships/chart" Target="../charts/chart400.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notesSlide" Target="../notesSlides/notesSlide2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1.xml"/><Relationship Id="rId7" Type="http://schemas.openxmlformats.org/officeDocument/2006/relationships/chart" Target="../charts/chart402.xml"/></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notesSlide" Target="../notesSlides/notesSlide2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3.xml"/><Relationship Id="rId7" Type="http://schemas.openxmlformats.org/officeDocument/2006/relationships/chart" Target="../charts/chart404.xml"/></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notesSlide" Target="../notesSlides/notesSlide2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5.xml"/><Relationship Id="rId7" Type="http://schemas.openxmlformats.org/officeDocument/2006/relationships/chart" Target="../charts/chart406.xml"/></Relationships>
</file>

<file path=ppt/slides/_rels/slide204.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notesSlide" Target="../notesSlides/notesSlide2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7.xml"/><Relationship Id="rId7" Type="http://schemas.openxmlformats.org/officeDocument/2006/relationships/chart" Target="../charts/chart408.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notesSlide" Target="../notesSlides/notesSlide2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s>
</file>

<file path=ppt/slides/_rels/slide206.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notesSlide" Target="../notesSlides/notesSlide2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1.xml"/><Relationship Id="rId7" Type="http://schemas.openxmlformats.org/officeDocument/2006/relationships/chart" Target="../charts/chart412.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notesSlide" Target="../notesSlides/notesSlide2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3.xml"/><Relationship Id="rId7" Type="http://schemas.openxmlformats.org/officeDocument/2006/relationships/chart" Target="../charts/chart414.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notesSlide" Target="../notesSlides/notesSlide2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5.xml"/><Relationship Id="rId7" Type="http://schemas.openxmlformats.org/officeDocument/2006/relationships/chart" Target="../charts/chart416.xml"/></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notesSlide" Target="../notesSlides/notesSlide2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7.xml"/><Relationship Id="rId7" Type="http://schemas.openxmlformats.org/officeDocument/2006/relationships/chart" Target="../charts/chart418.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notesSlide" Target="../notesSlides/notesSlide2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9.xml"/><Relationship Id="rId7" Type="http://schemas.openxmlformats.org/officeDocument/2006/relationships/chart" Target="../charts/chart420.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notesSlide" Target="../notesSlides/notesSlide2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notesSlide" Target="../notesSlides/notesSlide2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3.xml"/><Relationship Id="rId7" Type="http://schemas.openxmlformats.org/officeDocument/2006/relationships/chart" Target="../charts/chart424.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notesSlide" Target="../notesSlides/notesSlide2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5.xml"/><Relationship Id="rId7" Type="http://schemas.openxmlformats.org/officeDocument/2006/relationships/chart" Target="../charts/chart426.xml"/></Relationships>
</file>

<file path=ppt/slides/_rels/slide214.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slideLayout" Target="../slideLayouts/slideLayout7.xml"/><Relationship Id="rId3" Type="http://schemas.openxmlformats.org/officeDocument/2006/relationships/notesSlide" Target="../notesSlides/notesSlide2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7.xml"/><Relationship Id="rId7" Type="http://schemas.openxmlformats.org/officeDocument/2006/relationships/chart" Target="../charts/chart428.xml"/></Relationships>
</file>

<file path=ppt/slides/_rels/slide215.xml.rels><?xml version='1.0' encoding='UTF-8' standalone='yes'?>
<Relationships xmlns="http://schemas.openxmlformats.org/package/2006/relationships"><Relationship Id="rId1" Type="http://schemas.openxmlformats.org/officeDocument/2006/relationships/tags" Target="../tags/tag242.xml"/><Relationship Id="rId2" Type="http://schemas.openxmlformats.org/officeDocument/2006/relationships/slideLayout" Target="../slideLayouts/slideLayout7.xml"/><Relationship Id="rId3" Type="http://schemas.openxmlformats.org/officeDocument/2006/relationships/notesSlide" Target="../notesSlides/notesSlide2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9.xml"/><Relationship Id="rId7" Type="http://schemas.openxmlformats.org/officeDocument/2006/relationships/chart" Target="../charts/chart430.xml"/></Relationships>
</file>

<file path=ppt/slides/_rels/slide216.xml.rels><?xml version='1.0' encoding='UTF-8' standalone='yes'?>
<Relationships xmlns="http://schemas.openxmlformats.org/package/2006/relationships"><Relationship Id="rId1" Type="http://schemas.openxmlformats.org/officeDocument/2006/relationships/tags" Target="../tags/tag243.xml"/><Relationship Id="rId2" Type="http://schemas.openxmlformats.org/officeDocument/2006/relationships/slideLayout" Target="../slideLayouts/slideLayout7.xml"/><Relationship Id="rId3" Type="http://schemas.openxmlformats.org/officeDocument/2006/relationships/notesSlide" Target="../notesSlides/notesSlide2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1.xml"/><Relationship Id="rId7" Type="http://schemas.openxmlformats.org/officeDocument/2006/relationships/chart" Target="../charts/chart432.xml"/></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notesSlide" Target="../notesSlides/notesSlide2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notesSlide" Target="../notesSlides/notesSlide2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5.xml"/><Relationship Id="rId7" Type="http://schemas.openxmlformats.org/officeDocument/2006/relationships/chart" Target="../charts/chart436.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 Id="rId7" Type="http://schemas.openxmlformats.org/officeDocument/2006/relationships/chart" Target="../charts/chart4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 Id="rId7" Type="http://schemas.openxmlformats.org/officeDocument/2006/relationships/chart" Target="../charts/chart4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 Id="rId7" Type="http://schemas.openxmlformats.org/officeDocument/2006/relationships/chart" Target="../charts/chart5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 Id="rId7" Type="http://schemas.openxmlformats.org/officeDocument/2006/relationships/chart" Target="../charts/chart5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 Id="rId7" Type="http://schemas.openxmlformats.org/officeDocument/2006/relationships/chart" Target="../charts/chart5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 Id="rId7" Type="http://schemas.openxmlformats.org/officeDocument/2006/relationships/chart" Target="../charts/chart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xml"/><Relationship Id="rId7" Type="http://schemas.openxmlformats.org/officeDocument/2006/relationships/chart" Target="../charts/chart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 Id="rId7" Type="http://schemas.openxmlformats.org/officeDocument/2006/relationships/chart" Target="../charts/chart6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xml"/><Relationship Id="rId7" Type="http://schemas.openxmlformats.org/officeDocument/2006/relationships/chart" Target="../charts/chart7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xml"/><Relationship Id="rId7" Type="http://schemas.openxmlformats.org/officeDocument/2006/relationships/chart" Target="../charts/chart7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xml"/><Relationship Id="rId7" Type="http://schemas.openxmlformats.org/officeDocument/2006/relationships/chart" Target="../charts/chart7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xml"/><Relationship Id="rId7" Type="http://schemas.openxmlformats.org/officeDocument/2006/relationships/chart" Target="../charts/chart7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 Id="rId7" Type="http://schemas.openxmlformats.org/officeDocument/2006/relationships/chart" Target="../charts/chart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xml"/><Relationship Id="rId7" Type="http://schemas.openxmlformats.org/officeDocument/2006/relationships/chart" Target="../charts/chart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xml"/><Relationship Id="rId7" Type="http://schemas.openxmlformats.org/officeDocument/2006/relationships/chart" Target="../charts/chart8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xml"/><Relationship Id="rId7" Type="http://schemas.openxmlformats.org/officeDocument/2006/relationships/chart" Target="../charts/chart8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xml"/><Relationship Id="rId7" Type="http://schemas.openxmlformats.org/officeDocument/2006/relationships/chart" Target="../charts/chart9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xml"/><Relationship Id="rId7" Type="http://schemas.openxmlformats.org/officeDocument/2006/relationships/chart" Target="../charts/chart9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xml"/><Relationship Id="rId7" Type="http://schemas.openxmlformats.org/officeDocument/2006/relationships/chart" Target="../charts/chart96.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xml"/><Relationship Id="rId7" Type="http://schemas.openxmlformats.org/officeDocument/2006/relationships/chart" Target="../charts/chart10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xml"/><Relationship Id="rId7" Type="http://schemas.openxmlformats.org/officeDocument/2006/relationships/chart" Target="../charts/chart102.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xml"/><Relationship Id="rId7" Type="http://schemas.openxmlformats.org/officeDocument/2006/relationships/chart" Target="../charts/chart104.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xml"/><Relationship Id="rId7" Type="http://schemas.openxmlformats.org/officeDocument/2006/relationships/chart" Target="../charts/chart108.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xml"/><Relationship Id="rId7" Type="http://schemas.openxmlformats.org/officeDocument/2006/relationships/chart" Target="../charts/chart116.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7.xml"/><Relationship Id="rId7" Type="http://schemas.openxmlformats.org/officeDocument/2006/relationships/chart" Target="../charts/chart118.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 Id="rId7" Type="http://schemas.openxmlformats.org/officeDocument/2006/relationships/chart" Target="../charts/chart12.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9.xml"/><Relationship Id="rId7" Type="http://schemas.openxmlformats.org/officeDocument/2006/relationships/chart" Target="../charts/chart12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3.xml"/><Relationship Id="rId7" Type="http://schemas.openxmlformats.org/officeDocument/2006/relationships/chart" Target="../charts/chart124.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5.xml"/><Relationship Id="rId7" Type="http://schemas.openxmlformats.org/officeDocument/2006/relationships/chart" Target="../charts/chart126.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xml"/><Relationship Id="rId7" Type="http://schemas.openxmlformats.org/officeDocument/2006/relationships/chart" Target="../charts/chart128.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1.xml"/><Relationship Id="rId7" Type="http://schemas.openxmlformats.org/officeDocument/2006/relationships/chart" Target="../charts/chart132.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5.xml"/><Relationship Id="rId7" Type="http://schemas.openxmlformats.org/officeDocument/2006/relationships/chart" Target="../charts/chart136.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9.xml"/><Relationship Id="rId7" Type="http://schemas.openxmlformats.org/officeDocument/2006/relationships/chart" Target="../charts/chart14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1.xml"/><Relationship Id="rId7" Type="http://schemas.openxmlformats.org/officeDocument/2006/relationships/chart" Target="../charts/chart142.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3.xml"/><Relationship Id="rId7" Type="http://schemas.openxmlformats.org/officeDocument/2006/relationships/chart" Target="../charts/chart144.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7.xml"/><Relationship Id="rId7" Type="http://schemas.openxmlformats.org/officeDocument/2006/relationships/chart" Target="../charts/chart148.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9.xml"/><Relationship Id="rId7" Type="http://schemas.openxmlformats.org/officeDocument/2006/relationships/chart" Target="../charts/chart150.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xml"/><Relationship Id="rId7" Type="http://schemas.openxmlformats.org/officeDocument/2006/relationships/chart" Target="../charts/chart152.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 Id="rId7" Type="http://schemas.openxmlformats.org/officeDocument/2006/relationships/chart" Target="../charts/chart16.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9.xml"/><Relationship Id="rId7" Type="http://schemas.openxmlformats.org/officeDocument/2006/relationships/chart" Target="../charts/chart16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3.xml"/><Relationship Id="rId7" Type="http://schemas.openxmlformats.org/officeDocument/2006/relationships/chart" Target="../charts/chart164.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5.xml"/><Relationship Id="rId7" Type="http://schemas.openxmlformats.org/officeDocument/2006/relationships/chart" Target="../charts/chart166.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7.xml"/><Relationship Id="rId7" Type="http://schemas.openxmlformats.org/officeDocument/2006/relationships/chart" Target="../charts/chart168.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1.xml"/><Relationship Id="rId7" Type="http://schemas.openxmlformats.org/officeDocument/2006/relationships/chart" Target="../charts/chart172.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3.xml"/><Relationship Id="rId7" Type="http://schemas.openxmlformats.org/officeDocument/2006/relationships/chart" Target="../charts/chart174.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5.xml"/><Relationship Id="rId7" Type="http://schemas.openxmlformats.org/officeDocument/2006/relationships/chart" Target="../charts/chart176.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9.xml"/><Relationship Id="rId7" Type="http://schemas.openxmlformats.org/officeDocument/2006/relationships/chart" Target="../charts/chart18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3.xml"/><Relationship Id="rId7" Type="http://schemas.openxmlformats.org/officeDocument/2006/relationships/chart" Target="../charts/chart184.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7.xml"/><Relationship Id="rId7" Type="http://schemas.openxmlformats.org/officeDocument/2006/relationships/chart" Target="../charts/chart188.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9.xml"/><Relationship Id="rId7" Type="http://schemas.openxmlformats.org/officeDocument/2006/relationships/chart" Target="../charts/chart190.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1.xml"/><Relationship Id="rId7" Type="http://schemas.openxmlformats.org/officeDocument/2006/relationships/chart" Target="../charts/chart192.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5.xml"/><Relationship Id="rId7" Type="http://schemas.openxmlformats.org/officeDocument/2006/relationships/chart" Target="../charts/chart196.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7.xml"/><Relationship Id="rId7" Type="http://schemas.openxmlformats.org/officeDocument/2006/relationships/chart" Target="../charts/chart19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094437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5789050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National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2662161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National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354374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vene | National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2732972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National | Sunscreen Emuls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1206892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National | Sunscreen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0595219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National | Sunscreen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0606758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vene | National | Sunscreen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5644961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National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2938009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National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9725863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oreal Paris | National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61983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7620170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National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3878170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National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9382775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oreal Paris | National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2437306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National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0243770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Others Marca Unif. | National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0144124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oreal Paris | National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1677785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National | Sunscreen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1360439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National | Sunscreen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374890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National | Sunscreen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8018592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Eclipsol | National | Sunscreen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785056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400789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Photoderm | National | Sunscreen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9993778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National | Sunscreen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381180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National | Sunscreen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6104093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Canal Moderno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8703100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Canal Moderno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3230062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Canal Moderno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9087228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Canal Moderno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6879670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Canal Moderno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7119388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anal Moderno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3069765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Canal Moderno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605239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5982135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Canal Moderno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2633383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vene | Canal Moderno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9685110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Canal Moderno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0511848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Canal Moderno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8827906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vene | Canal Moderno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6467614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Canal Moderno | Sunscreen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1266333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Canal Moderno | Sunscreen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8698849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vene | Canal Moderno | Sunscreen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3623261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Canal Moderno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6237002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Canal Moderno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944293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6976508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oreal Paris | Canal Moderno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3896405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Canal Moderno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8322611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anal Moderno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5407629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oreal Paris | Canal Moderno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2714965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Canal Moderno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6146829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Others Marca Unif. | Canal Moderno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8447806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oreal Paris | Canal Moderno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5363015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Canal Moderno | Sunscreen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564866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Canal Moderno | Sunscreen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0001383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Canal Moderno | Sunscreen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496181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5808434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Eclipsol | Canal Moderno | Sunscreen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6902060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Photoderm | Canal Moderno | Sunscreen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7762182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Canal Moderno | Sunscreen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72022815"/>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Canal Moderno | Sunscreen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2029680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Convenience + Farmacias Cad + Hard Discounters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11468634"/>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Convenience + Farmacias Cad + Hard Discounters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758855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Heliocare | Convenience + Farmacias Cad + Hard Discounters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002117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Convenience + Farmacias Cad + Hard Discounters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134468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vene | Convenience + Farmacias Cad + Hard Discounters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0164686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Convenience + Farmacias Cad + Hard Discounters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60914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4943166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Convenience + Farmacias Cad + Hard Discounters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1487844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vene | Convenience + Farmacias Cad + Hard Discounters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441455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Convenience + Farmacias Cad + Hard Discounters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9097527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Convenience + Farmacias Cad + Hard Discounters | Sunscreen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07708040"/>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Convenience + Farmacias Cad + Hard Discounters | Sunscreen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89051611"/>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vene | Convenience + Farmacias Cad + Hard Discounters | Sunscreen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56036611"/>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Convenience + Farmacias Cad + Hard Discounters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4116743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Convenience + Farmacias Cad + Hard Discounters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5426803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Convenience + Farmacias Cad + Hard Discounters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1489382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Convenience + Farmacias Cad + Hard Discounters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510486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3036897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onvenience + Farmacias Cad + Hard Discounters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09684073"/>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Convenience + Farmacias Cad + Hard Discounters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4610458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Convenience + Farmacias Cad + Hard Discounters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7860433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Others Marca Unif. | Convenience + Farmacias Cad + Hard Discounters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4343508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Convenience + Farmacias Cad + Hard Discounters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9483974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Convenience + Farmacias Cad + Hard Discounters | Sunscreen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1474607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Convenience + Farmacias Cad + Hard Discounters | Sunscreen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2572772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Eclipsol | Convenience + Farmacias Cad + Hard Discounters | Sunscreen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3071612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Photoderm | Convenience + Farmacias Cad + Hard Discounters | Sunscreen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7116256"/>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Canal Tradicional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873485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a Roche-Posay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51166353"/>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Canal Tradicional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35764820"/>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Canal Tradicional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2535556"/>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anal Tradicional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2130997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Canal Tradicional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3339301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Canal Tradicional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7418243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Canal Tradicional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0705655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Eucerin | Canal Tradicional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2961297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Canal Tradicional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237660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Canal Tradicional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30090157"/>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anal Tradicional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634695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3442852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Canal Tradicional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675542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2864583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5785829"/>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Autos Scanning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6425823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91696198"/>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9010593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eutrogena | Autos Scanning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9966091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8892538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45267521"/>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eutrogena | Autos Scanning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841161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020452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85952628"/>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 Sunscreen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8019178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Autos Scanning | Sunscreen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71527434"/>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Sunscreen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2225906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5887993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oreal Paris | Autos Scanning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6947633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17732479"/>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1123671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oreal Paris | Autos Scanning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1535786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06357545"/>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590780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Eucerin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00195473"/>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oreal Paris | Autos Scanning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4879104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Autos Scanning | Sunscreen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2181681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 Sunscreen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1542573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 Sunscreen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6601230"/>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Autos Scanning | Sunscreen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6243496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Eclipsol | Autos Scanning | Sunscreen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558831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Photoderm | Autos Scanning | Sunscreen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4869016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Autos Scanning | Sunscreen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7002212"/>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cean Potion | Autos Scanning | Sunscreen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863245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417630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840746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Eucerin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53945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631931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a Roche-Posay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612002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Eucerin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923343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111336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827968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797828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100943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741125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362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07057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871108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Others Marca Unif.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025775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aribbean Beach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48032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5210218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910877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45871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2583743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515796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302537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589004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560768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599912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aribbean Beach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473810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085938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60508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750612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755912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680549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306728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4329963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5659766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931498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a Roche-Posay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608957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8019440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460248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534761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474629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694793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9732671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9290980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1863977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680335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a Roche-Posay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5841477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1532143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5342453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Eucerin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1983706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837783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4798642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Eucerin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13699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4989412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2856834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a Roche-Posay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253676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Eucerin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3756240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1886895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703098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464275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302555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7053232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2828220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933453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796870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Others Marca Unif.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8192151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aribbean Beach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4272403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9496345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177907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eutrogena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4111252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0045521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156350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eutrogena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8558632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6779359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435253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a Roche-Posay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3324161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eutrogena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2667228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National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4012896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National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2476947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National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4877791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National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5200090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National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6363099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National | Sunscreen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6207075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National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858387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National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9971658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vene | National | Sunscreen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072767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28</TotalTime>
  <Words>15478</Words>
  <Application>Microsoft Office PowerPoint</Application>
  <PresentationFormat>On-screen Show (16:9)</PresentationFormat>
  <Paragraphs>2834</Paragraphs>
  <Slides>218</Slides>
  <Notes>21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8</vt:i4>
      </vt:variant>
    </vt:vector>
  </HeadingPairs>
  <TitlesOfParts>
    <vt:vector size="227"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0</cp:revision>
  <dcterms:created xsi:type="dcterms:W3CDTF">2024-07-05T14:56:51Z</dcterms:created>
  <dcterms:modified xsi:type="dcterms:W3CDTF">2025-07-01T12:3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